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435" r:id="rId2"/>
    <p:sldId id="342" r:id="rId3"/>
    <p:sldId id="263" r:id="rId4"/>
    <p:sldId id="367" r:id="rId5"/>
    <p:sldId id="438" r:id="rId6"/>
    <p:sldId id="439" r:id="rId7"/>
    <p:sldId id="440" r:id="rId8"/>
    <p:sldId id="441" r:id="rId9"/>
    <p:sldId id="442" r:id="rId10"/>
    <p:sldId id="443" r:id="rId11"/>
    <p:sldId id="415" r:id="rId12"/>
    <p:sldId id="416" r:id="rId13"/>
    <p:sldId id="417" r:id="rId14"/>
    <p:sldId id="418" r:id="rId15"/>
    <p:sldId id="419" r:id="rId16"/>
    <p:sldId id="420" r:id="rId17"/>
    <p:sldId id="421" r:id="rId18"/>
    <p:sldId id="422" r:id="rId19"/>
    <p:sldId id="423" r:id="rId20"/>
    <p:sldId id="424" r:id="rId21"/>
    <p:sldId id="425" r:id="rId22"/>
    <p:sldId id="426" r:id="rId23"/>
    <p:sldId id="427" r:id="rId24"/>
    <p:sldId id="428" r:id="rId25"/>
    <p:sldId id="429" r:id="rId26"/>
    <p:sldId id="430" r:id="rId27"/>
    <p:sldId id="431" r:id="rId28"/>
    <p:sldId id="432" r:id="rId29"/>
    <p:sldId id="433" r:id="rId30"/>
    <p:sldId id="434" r:id="rId31"/>
  </p:sldIdLst>
  <p:sldSz cx="10691813" cy="7559675"/>
  <p:notesSz cx="7315200" cy="9601200"/>
  <p:custDataLst>
    <p:tags r:id="rId34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32" userDrawn="1">
          <p15:clr>
            <a:srgbClr val="A4A3A4"/>
          </p15:clr>
        </p15:guide>
        <p15:guide id="11" orient="horz" pos="2357" userDrawn="1">
          <p15:clr>
            <a:srgbClr val="A4A3A4"/>
          </p15:clr>
        </p15:guide>
        <p15:guide id="12" orient="horz" pos="154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6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91C"/>
    <a:srgbClr val="000000"/>
    <a:srgbClr val="FFCD00"/>
    <a:srgbClr val="ED8B00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4878" autoAdjust="0"/>
  </p:normalViewPr>
  <p:slideViewPr>
    <p:cSldViewPr snapToGrid="0" showGuides="1">
      <p:cViewPr varScale="1">
        <p:scale>
          <a:sx n="67" d="100"/>
          <a:sy n="67" d="100"/>
        </p:scale>
        <p:origin x="848" y="48"/>
      </p:cViewPr>
      <p:guideLst>
        <p:guide pos="32"/>
        <p:guide orient="horz" pos="2357"/>
        <p:guide orient="horz" pos="1541"/>
        <p:guide orient="horz" pos="2903"/>
        <p:guide orient="horz" pos="36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2940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22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41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239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004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298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667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191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666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011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964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46700" y="784072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8300" y="646423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 algn="l">
              <a:buNone/>
              <a:defRPr sz="1800" b="0"/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34698"/>
            <a:ext cx="4783902" cy="3289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3388" y="1874170"/>
            <a:ext cx="9823450" cy="51577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733"/>
            </a:lvl1pPr>
            <a:lvl2pPr marL="194691" indent="-194691" algn="l">
              <a:buClrTx/>
              <a:buSzPct val="100000"/>
              <a:buFont typeface="Arial" panose="020B0604020202020204" pitchFamily="34" charset="0"/>
              <a:buChar char="•"/>
              <a:defRPr sz="1733"/>
            </a:lvl2pPr>
            <a:lvl3pPr marL="414782" indent="-194691" algn="l">
              <a:buClrTx/>
              <a:buSzPct val="100000"/>
              <a:buFont typeface="Arial" panose="020B0604020202020204" pitchFamily="34" charset="0"/>
              <a:buChar char="−"/>
              <a:defRPr sz="1733"/>
            </a:lvl3pPr>
            <a:lvl4pPr marL="634873" indent="-194691" algn="l">
              <a:buClrTx/>
              <a:buSzPct val="100000"/>
              <a:buFont typeface="Arial" panose="020B0604020202020204" pitchFamily="34" charset="0"/>
              <a:buChar char="◦"/>
              <a:defRPr sz="1733"/>
            </a:lvl4pPr>
            <a:lvl5pPr marL="854964" indent="-194691" algn="l">
              <a:buClrTx/>
              <a:buSzPct val="100000"/>
              <a:buFont typeface="Arial" panose="020B0604020202020204" pitchFamily="34" charset="0"/>
              <a:buChar char="−"/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705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49990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33388" y="2261955"/>
            <a:ext cx="9823450" cy="44853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1836738"/>
            <a:ext cx="9823450" cy="40387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3749" y="2261950"/>
            <a:ext cx="3136392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35673"/>
            <a:ext cx="3136392" cy="43223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36392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5" y="1835674"/>
            <a:ext cx="3136392" cy="43223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13281" y="2261950"/>
            <a:ext cx="3136392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113281" y="1828900"/>
            <a:ext cx="3136392" cy="43900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33389" y="1835676"/>
            <a:ext cx="4648602" cy="51990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448137" algn="r"/>
              </a:tabLst>
              <a:defRPr/>
            </a:lvl1pPr>
            <a:lvl2pPr marL="101600" indent="-101600" algn="l">
              <a:buClrTx/>
              <a:buSzPct val="100000"/>
              <a:buFont typeface="Arial" panose="020B0604020202020204" pitchFamily="34" charset="0"/>
              <a:buChar char="•"/>
              <a:tabLst>
                <a:tab pos="5448137" algn="r"/>
              </a:tabLst>
              <a:defRPr/>
            </a:lvl2pPr>
            <a:lvl3pPr marL="228600" indent="-101600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/>
            </a:lvl3pPr>
            <a:lvl4pPr marL="355600" indent="-101600" algn="l">
              <a:buClrTx/>
              <a:buSzPct val="100000"/>
              <a:buFont typeface="Arial" panose="020B0604020202020204" pitchFamily="34" charset="0"/>
              <a:buChar char="◦"/>
              <a:tabLst>
                <a:tab pos="5448137" algn="r"/>
              </a:tabLst>
              <a:defRPr/>
            </a:lvl4pPr>
            <a:lvl5pPr marL="482600" indent="-101600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612282" y="1835676"/>
            <a:ext cx="4644556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87"/>
            <a:ext cx="9823450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6"/>
            <a:ext cx="4659283" cy="5199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448137" algn="r"/>
              </a:tabLst>
              <a:defRPr sz="1733"/>
            </a:lvl1pPr>
            <a:lvl2pPr marL="194691" indent="-194691" algn="l">
              <a:buClrTx/>
              <a:buSzPct val="100000"/>
              <a:buFont typeface="Arial" panose="020B0604020202020204" pitchFamily="34" charset="0"/>
              <a:buChar char="•"/>
              <a:tabLst>
                <a:tab pos="5448137" algn="r"/>
              </a:tabLst>
              <a:defRPr sz="1733"/>
            </a:lvl2pPr>
            <a:lvl3pPr marL="414782" indent="-194691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 sz="1733"/>
            </a:lvl3pPr>
            <a:lvl4pPr marL="634873" indent="-194691" algn="l">
              <a:buClrTx/>
              <a:buSzPct val="100000"/>
              <a:buFont typeface="Arial" panose="020B0604020202020204" pitchFamily="34" charset="0"/>
              <a:buChar char="◦"/>
              <a:tabLst>
                <a:tab pos="5448137" algn="r"/>
              </a:tabLst>
              <a:defRPr sz="1733"/>
            </a:lvl4pPr>
            <a:lvl5pPr marL="854964" indent="-194691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5598468" y="1835676"/>
            <a:ext cx="4658369" cy="5199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448137" algn="r"/>
              </a:tabLst>
              <a:defRPr sz="1733"/>
            </a:lvl1pPr>
            <a:lvl2pPr marL="194691" indent="-194691" algn="l">
              <a:buClrTx/>
              <a:buSzPct val="100000"/>
              <a:buFont typeface="Arial" panose="020B0604020202020204" pitchFamily="34" charset="0"/>
              <a:buChar char="•"/>
              <a:tabLst>
                <a:tab pos="5448137" algn="r"/>
              </a:tabLst>
              <a:defRPr sz="1733"/>
            </a:lvl2pPr>
            <a:lvl3pPr marL="414782" indent="-194691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 sz="1733"/>
            </a:lvl3pPr>
            <a:lvl4pPr marL="634873" indent="-194691" algn="l">
              <a:buClrTx/>
              <a:buSzPct val="100000"/>
              <a:buFont typeface="Arial" panose="020B0604020202020204" pitchFamily="34" charset="0"/>
              <a:buChar char="◦"/>
              <a:tabLst>
                <a:tab pos="5448137" algn="r"/>
              </a:tabLst>
              <a:defRPr sz="1733"/>
            </a:lvl4pPr>
            <a:lvl5pPr marL="854964" indent="-194691" algn="l">
              <a:buClrTx/>
              <a:buSzPct val="100000"/>
              <a:buFont typeface="Arial" panose="020B0604020202020204" pitchFamily="34" charset="0"/>
              <a:buChar char="−"/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6"/>
            <a:ext cx="4684044" cy="4911612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0872" cy="44048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0872" cy="46372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33389" y="2342434"/>
            <a:ext cx="4690872" cy="44048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3384" y="1835673"/>
            <a:ext cx="4690872" cy="46372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4" y="349990"/>
            <a:ext cx="9823449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3389" y="1874176"/>
            <a:ext cx="3917486" cy="5160528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79704" y="1874176"/>
            <a:ext cx="5477134" cy="5160528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2" y="349987"/>
            <a:ext cx="9823451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645448" y="1828388"/>
            <a:ext cx="3611390" cy="52063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2383">
                <a:solidFill>
                  <a:schemeClr val="accent3"/>
                </a:solidFill>
              </a:defRPr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33388" y="1835672"/>
            <a:ext cx="5712303" cy="5199026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94" y="349987"/>
            <a:ext cx="9823449" cy="3682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7101" y="1874172"/>
            <a:ext cx="2377440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19746" y="1874172"/>
            <a:ext cx="2377440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5402391" y="1874172"/>
            <a:ext cx="2377440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885037" y="1874172"/>
            <a:ext cx="2377440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3388" y="3439833"/>
            <a:ext cx="2377440" cy="3590843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405486" y="3439834"/>
            <a:ext cx="2377440" cy="359486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19437" y="3443858"/>
            <a:ext cx="2377440" cy="3590844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891534" y="3439833"/>
            <a:ext cx="2377440" cy="3590843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 bwMode="gray">
          <a:xfrm>
            <a:off x="3276700" y="1709838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8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8300" y="646423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95286" indent="0" algn="ctr">
              <a:buNone/>
              <a:defRPr sz="2167"/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34698"/>
            <a:ext cx="4783902" cy="3289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05109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87"/>
            <a:ext cx="9823391" cy="3682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3388" y="1881842"/>
            <a:ext cx="482833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35599" y="1874170"/>
            <a:ext cx="4827600" cy="67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32441" y="4481101"/>
            <a:ext cx="48276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447600" y="4481101"/>
            <a:ext cx="48276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33388" y="2072587"/>
            <a:ext cx="1703488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458231" y="2072587"/>
            <a:ext cx="1725844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33388" y="4691687"/>
            <a:ext cx="1703489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458231" y="4691687"/>
            <a:ext cx="1725844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53289" y="2072587"/>
            <a:ext cx="2880360" cy="21429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63391" y="2072587"/>
            <a:ext cx="2880360" cy="2142900"/>
          </a:xfrm>
        </p:spPr>
        <p:txBody>
          <a:bodyPr/>
          <a:lstStyle>
            <a:lvl1pPr marL="0" indent="0">
              <a:spcAft>
                <a:spcPts val="0"/>
              </a:spcAft>
              <a:defRPr b="1"/>
            </a:lvl1pPr>
            <a:lvl2pPr marL="101600" indent="-1016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53289" y="4691687"/>
            <a:ext cx="2880360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63391" y="4691687"/>
            <a:ext cx="2880360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92"/>
            <a:ext cx="9823391" cy="36827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41943" y="1874173"/>
            <a:ext cx="3205601" cy="2173406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057708" y="1874173"/>
            <a:ext cx="3205601" cy="2173406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749825" y="1874176"/>
            <a:ext cx="3205601" cy="2173406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41944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749826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7057708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89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 marL="0" indent="0">
              <a:spcAft>
                <a:spcPts val="1083"/>
              </a:spcAft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 marL="0" indent="0">
              <a:spcAft>
                <a:spcPts val="1083"/>
              </a:spcAft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257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41800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7571" y="2054627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3733" y="2047988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 marL="0" indent="0">
              <a:spcAft>
                <a:spcPts val="1083"/>
              </a:spcAft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>
              <a:spcAft>
                <a:spcPts val="1083"/>
              </a:spcAft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 marL="0" indent="0">
              <a:spcAft>
                <a:spcPts val="1083"/>
              </a:spcAft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>
              <a:spcAft>
                <a:spcPts val="1083"/>
              </a:spcAft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432257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441800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3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7571" y="2054627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4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3733" y="2047988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56321" y="4590656"/>
            <a:ext cx="4811558" cy="1868920"/>
          </a:xfrm>
        </p:spPr>
        <p:txBody>
          <a:bodyPr/>
          <a:lstStyle>
            <a:lvl1pPr marL="0" indent="0" algn="l">
              <a:spcAft>
                <a:spcPts val="108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>
              <a:spcAft>
                <a:spcPts val="1083"/>
              </a:spcAft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5449884" y="4590656"/>
            <a:ext cx="4814976" cy="1868920"/>
          </a:xfrm>
        </p:spPr>
        <p:txBody>
          <a:bodyPr/>
          <a:lstStyle>
            <a:lvl1pPr marL="0" indent="0">
              <a:spcAft>
                <a:spcPts val="1083"/>
              </a:spcAft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440279" y="4422538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449822" y="4422538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195593" y="4597301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31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9141755" y="4590662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7"/>
            <a:ext cx="9823450" cy="3682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64376" y="1880515"/>
            <a:ext cx="31680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33387" y="1874175"/>
            <a:ext cx="3168000" cy="658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092674" y="1880515"/>
            <a:ext cx="31680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93450" y="2040871"/>
            <a:ext cx="3104920" cy="4239231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2040871"/>
            <a:ext cx="3121953" cy="4239231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58954" y="2040871"/>
            <a:ext cx="3097884" cy="4239231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924" y="718270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927" y="349989"/>
            <a:ext cx="9816912" cy="368282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4340" y="2817517"/>
            <a:ext cx="2273063" cy="3742138"/>
          </a:xfrm>
        </p:spPr>
        <p:txBody>
          <a:bodyPr/>
          <a:lstStyle>
            <a:lvl1pPr marL="0" indent="0">
              <a:defRPr b="0">
                <a:solidFill>
                  <a:schemeClr val="tx1"/>
                </a:solidFill>
              </a:defRPr>
            </a:lvl1pPr>
            <a:lvl2pPr marL="101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2pPr>
            <a:lvl3pPr marL="228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="0">
                <a:solidFill>
                  <a:schemeClr val="tx1"/>
                </a:solidFill>
              </a:defRPr>
            </a:lvl3pPr>
            <a:lvl4pPr marL="355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◦"/>
              <a:defRPr b="0">
                <a:solidFill>
                  <a:schemeClr val="tx1"/>
                </a:solidFill>
              </a:defRPr>
            </a:lvl4pPr>
            <a:lvl5pPr marL="482600" indent="-101600" algn="l"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−"/>
              <a:defRPr b="0" baseline="0">
                <a:solidFill>
                  <a:schemeClr val="tx1"/>
                </a:solidFill>
              </a:defRPr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52698" y="2817517"/>
            <a:ext cx="2273063" cy="3742138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60460" y="2817517"/>
            <a:ext cx="2273063" cy="3742138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56578" y="2817517"/>
            <a:ext cx="2273063" cy="3742138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smtClean="0"/>
            </a:lvl1pPr>
            <a:lvl2pPr>
              <a:defRPr lang="en-US" b="0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926" y="718270"/>
            <a:ext cx="9816912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33389" y="1835675"/>
            <a:ext cx="4912520" cy="5199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6"/>
            <a:ext cx="9823450" cy="7629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21954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21954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9740" y="179542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tx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803868" y="423814"/>
            <a:ext cx="2453976" cy="1132915"/>
          </a:xfrm>
        </p:spPr>
        <p:txBody>
          <a:bodyPr/>
          <a:lstStyle>
            <a:lvl1pPr>
              <a:spcBef>
                <a:spcPts val="200"/>
              </a:spcBef>
              <a:defRPr sz="1000">
                <a:solidFill>
                  <a:schemeClr val="tx1"/>
                </a:solidFill>
              </a:defRPr>
            </a:lvl1pPr>
            <a:lvl2pPr>
              <a:defRPr sz="105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48297" y="1846879"/>
            <a:ext cx="2422452" cy="5133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000"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347295" y="1846873"/>
            <a:ext cx="6910551" cy="5134281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12012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32000" y="1835675"/>
            <a:ext cx="8156375" cy="5199027"/>
          </a:xfrm>
          <a:prstGeom prst="rect">
            <a:avLst/>
          </a:prstGeom>
        </p:spPr>
        <p:txBody>
          <a:bodyPr/>
          <a:lstStyle>
            <a:lvl1pPr>
              <a:tabLst>
                <a:tab pos="7289979" algn="r"/>
              </a:tabLst>
              <a:defRPr/>
            </a:lvl1pPr>
            <a:lvl2pPr>
              <a:tabLst>
                <a:tab pos="7289979" algn="r"/>
              </a:tabLst>
              <a:defRPr/>
            </a:lvl2pPr>
            <a:lvl3pPr>
              <a:tabLst>
                <a:tab pos="7289979" algn="r"/>
              </a:tabLst>
              <a:defRPr/>
            </a:lvl3pPr>
            <a:lvl4pPr>
              <a:tabLst>
                <a:tab pos="7289979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  <a:lvl6pPr>
              <a:tabLst>
                <a:tab pos="7289979" algn="r"/>
              </a:tabLst>
              <a:defRPr/>
            </a:lvl6pPr>
            <a:lvl7pPr>
              <a:tabLst>
                <a:tab pos="7289979" algn="r"/>
              </a:tabLst>
              <a:defRPr/>
            </a:lvl7pPr>
            <a:lvl8pPr>
              <a:tabLst>
                <a:tab pos="7289979" algn="r"/>
              </a:tabLst>
              <a:defRPr/>
            </a:lvl8pPr>
            <a:lvl9pPr>
              <a:tabLst>
                <a:tab pos="7289979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000" y="349990"/>
            <a:ext cx="9824838" cy="769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250"/>
            <a:ext cx="9823450" cy="769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75924"/>
            <a:ext cx="5446057" cy="515877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5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6"/>
            <a:ext cx="9823450" cy="7699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33388" y="1835675"/>
            <a:ext cx="9823450" cy="5199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3388" y="1836738"/>
            <a:ext cx="9823450" cy="5195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044136678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49986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1]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787481" rtl="0" eaLnBrk="1" latinLnBrk="0" hangingPunct="1">
              <a:spcBef>
                <a:spcPts val="65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19 Deloitte Development LLC. All rights reserved.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33388" y="1835673"/>
            <a:ext cx="9823450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55" r:id="rId2"/>
    <p:sldLayoutId id="2147483713" r:id="rId3"/>
    <p:sldLayoutId id="2147483753" r:id="rId4"/>
    <p:sldLayoutId id="2147483754" r:id="rId5"/>
    <p:sldLayoutId id="2147483679" r:id="rId6"/>
    <p:sldLayoutId id="2147483712" r:id="rId7"/>
    <p:sldLayoutId id="2147483678" r:id="rId8"/>
    <p:sldLayoutId id="2147483681" r:id="rId9"/>
    <p:sldLayoutId id="2147483735" r:id="rId10"/>
    <p:sldLayoutId id="2147483699" r:id="rId11"/>
    <p:sldLayoutId id="2147483714" r:id="rId12"/>
    <p:sldLayoutId id="2147483697" r:id="rId13"/>
    <p:sldLayoutId id="2147483715" r:id="rId14"/>
    <p:sldLayoutId id="2147483716" r:id="rId15"/>
    <p:sldLayoutId id="2147483717" r:id="rId16"/>
    <p:sldLayoutId id="2147483718" r:id="rId17"/>
    <p:sldLayoutId id="2147483728" r:id="rId18"/>
    <p:sldLayoutId id="2147483720" r:id="rId19"/>
    <p:sldLayoutId id="2147483721" r:id="rId20"/>
    <p:sldLayoutId id="2147483722" r:id="rId21"/>
    <p:sldLayoutId id="2147483695" r:id="rId22"/>
    <p:sldLayoutId id="2147483751" r:id="rId23"/>
    <p:sldLayoutId id="2147483724" r:id="rId24"/>
    <p:sldLayoutId id="2147483725" r:id="rId25"/>
    <p:sldLayoutId id="2147483726" r:id="rId26"/>
    <p:sldLayoutId id="2147483698" r:id="rId27"/>
    <p:sldLayoutId id="2147483752" r:id="rId28"/>
    <p:sldLayoutId id="2147483696" r:id="rId29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Tx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01600" indent="-10160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10160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−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5600" indent="-10160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◦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2600" indent="-101600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F26B43"/>
          </p15:clr>
        </p15:guide>
        <p15:guide id="2" orient="horz" pos="2381" userDrawn="1">
          <p15:clr>
            <a:srgbClr val="F26B43"/>
          </p15:clr>
        </p15:guide>
        <p15:guide id="3" orient="horz" pos="4431" userDrawn="1">
          <p15:clr>
            <a:srgbClr val="F26B43"/>
          </p15:clr>
        </p15:guide>
        <p15:guide id="4" pos="273" userDrawn="1">
          <p15:clr>
            <a:srgbClr val="F26B43"/>
          </p15:clr>
        </p15:guide>
        <p15:guide id="5" pos="6461" userDrawn="1">
          <p15:clr>
            <a:srgbClr val="F26B43"/>
          </p15:clr>
        </p15:guide>
        <p15:guide id="6" orient="horz" pos="1180" userDrawn="1">
          <p15:clr>
            <a:srgbClr val="F26B43"/>
          </p15:clr>
        </p15:guide>
        <p15:guide id="7" orient="horz" pos="220" userDrawn="1">
          <p15:clr>
            <a:srgbClr val="F26B43"/>
          </p15:clr>
        </p15:guide>
        <p15:guide id="8" orient="horz" pos="4497" userDrawn="1">
          <p15:clr>
            <a:srgbClr val="F26B43"/>
          </p15:clr>
        </p15:guide>
        <p15:guide id="10" pos="4361" userDrawn="1">
          <p15:clr>
            <a:srgbClr val="F26B43"/>
          </p15:clr>
        </p15:guide>
        <p15:guide id="11" orient="horz" pos="260" userDrawn="1">
          <p15:clr>
            <a:srgbClr val="F26B43"/>
          </p15:clr>
        </p15:guide>
        <p15:guide id="12" pos="1210" userDrawn="1">
          <p15:clr>
            <a:srgbClr val="F26B43"/>
          </p15:clr>
        </p15:guide>
        <p15:guide id="13" pos="1323" userDrawn="1">
          <p15:clr>
            <a:srgbClr val="F26B43"/>
          </p15:clr>
        </p15:guide>
        <p15:guide id="14" pos="2260" userDrawn="1">
          <p15:clr>
            <a:srgbClr val="F26B43"/>
          </p15:clr>
        </p15:guide>
        <p15:guide id="15" pos="2373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3306" userDrawn="1">
          <p15:clr>
            <a:srgbClr val="F26B43"/>
          </p15:clr>
        </p15:guide>
        <p15:guide id="18" pos="3424" userDrawn="1">
          <p15:clr>
            <a:srgbClr val="F26B43"/>
          </p15:clr>
        </p15:guide>
        <p15:guide id="19" pos="3368" userDrawn="1">
          <p15:clr>
            <a:srgbClr val="F26B43"/>
          </p15:clr>
        </p15:guide>
        <p15:guide id="20" pos="5525" userDrawn="1">
          <p15:clr>
            <a:srgbClr val="F26B43"/>
          </p15:clr>
        </p15:guide>
        <p15:guide id="21" orient="horz" pos="1157" userDrawn="1">
          <p15:clr>
            <a:srgbClr val="F26B43"/>
          </p15:clr>
        </p15:guide>
        <p15:guide id="22" orient="horz" pos="7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1646" y="1709838"/>
            <a:ext cx="5135054" cy="4140000"/>
          </a:xfrm>
        </p:spPr>
        <p:txBody>
          <a:bodyPr/>
          <a:lstStyle/>
          <a:p>
            <a:r>
              <a:rPr lang="en-US" dirty="0"/>
              <a:t>GIT</a:t>
            </a:r>
            <a:br>
              <a:rPr lang="en-US" dirty="0"/>
            </a:br>
            <a:r>
              <a:rPr lang="en-US" dirty="0"/>
              <a:t>Know How'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Vijay Boyina, Deloitte Consulting LLP.</a:t>
            </a:r>
          </a:p>
          <a:p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F8FB890-6C10-454A-8072-03CBB065DA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63495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5" y="1636198"/>
            <a:ext cx="3765997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pPr lvl="1"/>
            <a:r>
              <a:rPr lang="en-US" dirty="0"/>
              <a:t>To raise a Pull Request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2657352"/>
            <a:ext cx="5996133" cy="41840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Now that the changes are available in your feature branch its time to raise a pull request for a review so that the changes can be subsequently merged into the develop branch based on the outcome of the review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Log onto bit bucket 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From the left navigation select Create pull request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Select the source branch as ABCD-1234 and destination as develop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Click on continue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Search for the destined reviewer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Click on create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9C28A98-1A37-44D9-AED1-063AAA643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90ECFB-C30A-447E-BC78-0688B92A3F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26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General u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28110" y="246407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us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14488" y="2464075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nus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1568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ick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1370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ross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5409743" y="246407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urger menu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441172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Navigation 1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9401819" y="246407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st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3421677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ock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4418554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nlock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424800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ar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840380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n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740578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arget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6407763" y="24640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lag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8406062" y="3335164"/>
            <a:ext cx="819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xit</a:t>
            </a:r>
            <a:r>
              <a:rPr lang="en-US" sz="1200" dirty="0"/>
              <a:t> </a:t>
            </a:r>
            <a:endParaRPr lang="en-US" sz="1000" dirty="0"/>
          </a:p>
        </p:txBody>
      </p:sp>
      <p:sp>
        <p:nvSpPr>
          <p:cNvPr id="523" name="TextBox 522"/>
          <p:cNvSpPr txBox="1"/>
          <p:nvPr/>
        </p:nvSpPr>
        <p:spPr>
          <a:xfrm>
            <a:off x="9391298" y="3335165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nter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448611" y="4162298"/>
            <a:ext cx="8307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Navigation</a:t>
            </a:r>
            <a:r>
              <a:rPr lang="en-US" sz="1200" dirty="0"/>
              <a:t> </a:t>
            </a:r>
            <a:r>
              <a:rPr lang="en-US" sz="1000" dirty="0"/>
              <a:t>2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2442667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ech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3439695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ech 1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1445639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are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5415431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lobal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6430779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vide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7409185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splay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6412308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opwatch</a:t>
            </a:r>
          </a:p>
        </p:txBody>
      </p:sp>
      <p:sp>
        <p:nvSpPr>
          <p:cNvPr id="629" name="TextBox 628"/>
          <p:cNvSpPr txBox="1"/>
          <p:nvPr/>
        </p:nvSpPr>
        <p:spPr>
          <a:xfrm>
            <a:off x="5433751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ce 2</a:t>
            </a:r>
          </a:p>
        </p:txBody>
      </p:sp>
      <p:sp>
        <p:nvSpPr>
          <p:cNvPr id="630" name="TextBox 629"/>
          <p:cNvSpPr txBox="1"/>
          <p:nvPr/>
        </p:nvSpPr>
        <p:spPr>
          <a:xfrm>
            <a:off x="4436723" y="416229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art</a:t>
            </a:r>
          </a:p>
        </p:txBody>
      </p:sp>
      <p:sp>
        <p:nvSpPr>
          <p:cNvPr id="672" name="TextBox 671"/>
          <p:cNvSpPr txBox="1"/>
          <p:nvPr/>
        </p:nvSpPr>
        <p:spPr>
          <a:xfrm>
            <a:off x="7427807" y="4138220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quals</a:t>
            </a:r>
          </a:p>
        </p:txBody>
      </p:sp>
      <p:sp>
        <p:nvSpPr>
          <p:cNvPr id="673" name="TextBox 672"/>
          <p:cNvSpPr txBox="1"/>
          <p:nvPr/>
        </p:nvSpPr>
        <p:spPr>
          <a:xfrm>
            <a:off x="8413193" y="413822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raser</a:t>
            </a:r>
          </a:p>
        </p:txBody>
      </p:sp>
      <p:sp>
        <p:nvSpPr>
          <p:cNvPr id="674" name="TextBox 673"/>
          <p:cNvSpPr txBox="1"/>
          <p:nvPr/>
        </p:nvSpPr>
        <p:spPr>
          <a:xfrm>
            <a:off x="9413394" y="41513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lert error</a:t>
            </a:r>
          </a:p>
        </p:txBody>
      </p:sp>
      <p:sp>
        <p:nvSpPr>
          <p:cNvPr id="675" name="TextBox 674"/>
          <p:cNvSpPr txBox="1"/>
          <p:nvPr/>
        </p:nvSpPr>
        <p:spPr>
          <a:xfrm>
            <a:off x="1433370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xclamation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438828" y="491768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mmenting</a:t>
            </a:r>
          </a:p>
        </p:txBody>
      </p:sp>
      <p:sp>
        <p:nvSpPr>
          <p:cNvPr id="679" name="TextBox 678"/>
          <p:cNvSpPr txBox="1"/>
          <p:nvPr/>
        </p:nvSpPr>
        <p:spPr>
          <a:xfrm>
            <a:off x="3422454" y="491768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quote marks</a:t>
            </a:r>
          </a:p>
        </p:txBody>
      </p:sp>
      <p:sp>
        <p:nvSpPr>
          <p:cNvPr id="680" name="TextBox 679"/>
          <p:cNvSpPr txBox="1"/>
          <p:nvPr/>
        </p:nvSpPr>
        <p:spPr>
          <a:xfrm>
            <a:off x="2427912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yedropper</a:t>
            </a:r>
          </a:p>
        </p:txBody>
      </p:sp>
      <p:grpSp>
        <p:nvGrpSpPr>
          <p:cNvPr id="683" name="Group 444"/>
          <p:cNvGrpSpPr>
            <a:grpSpLocks noChangeAspect="1"/>
          </p:cNvGrpSpPr>
          <p:nvPr/>
        </p:nvGrpSpPr>
        <p:grpSpPr bwMode="auto">
          <a:xfrm>
            <a:off x="939317" y="2051054"/>
            <a:ext cx="369021" cy="369021"/>
            <a:chOff x="2630" y="1597"/>
            <a:chExt cx="340" cy="340"/>
          </a:xfrm>
          <a:solidFill>
            <a:schemeClr val="accent5"/>
          </a:solidFill>
        </p:grpSpPr>
        <p:sp>
          <p:nvSpPr>
            <p:cNvPr id="684" name="Freeform 445"/>
            <p:cNvSpPr>
              <a:spLocks noEditPoints="1"/>
            </p:cNvSpPr>
            <p:nvPr/>
          </p:nvSpPr>
          <p:spPr bwMode="auto">
            <a:xfrm>
              <a:off x="2630" y="1597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5" name="Freeform 446"/>
            <p:cNvSpPr>
              <a:spLocks/>
            </p:cNvSpPr>
            <p:nvPr/>
          </p:nvSpPr>
          <p:spPr bwMode="auto">
            <a:xfrm>
              <a:off x="2694" y="1661"/>
              <a:ext cx="212" cy="212"/>
            </a:xfrm>
            <a:custGeom>
              <a:avLst/>
              <a:gdLst>
                <a:gd name="T0" fmla="*/ 309 w 320"/>
                <a:gd name="T1" fmla="*/ 150 h 320"/>
                <a:gd name="T2" fmla="*/ 171 w 320"/>
                <a:gd name="T3" fmla="*/ 150 h 320"/>
                <a:gd name="T4" fmla="*/ 171 w 320"/>
                <a:gd name="T5" fmla="*/ 11 h 320"/>
                <a:gd name="T6" fmla="*/ 160 w 320"/>
                <a:gd name="T7" fmla="*/ 0 h 320"/>
                <a:gd name="T8" fmla="*/ 149 w 320"/>
                <a:gd name="T9" fmla="*/ 11 h 320"/>
                <a:gd name="T10" fmla="*/ 149 w 320"/>
                <a:gd name="T11" fmla="*/ 150 h 320"/>
                <a:gd name="T12" fmla="*/ 11 w 320"/>
                <a:gd name="T13" fmla="*/ 150 h 320"/>
                <a:gd name="T14" fmla="*/ 0 w 320"/>
                <a:gd name="T15" fmla="*/ 160 h 320"/>
                <a:gd name="T16" fmla="*/ 11 w 320"/>
                <a:gd name="T17" fmla="*/ 171 h 320"/>
                <a:gd name="T18" fmla="*/ 149 w 320"/>
                <a:gd name="T19" fmla="*/ 171 h 320"/>
                <a:gd name="T20" fmla="*/ 149 w 320"/>
                <a:gd name="T21" fmla="*/ 310 h 320"/>
                <a:gd name="T22" fmla="*/ 160 w 320"/>
                <a:gd name="T23" fmla="*/ 320 h 320"/>
                <a:gd name="T24" fmla="*/ 171 w 320"/>
                <a:gd name="T25" fmla="*/ 310 h 320"/>
                <a:gd name="T26" fmla="*/ 171 w 320"/>
                <a:gd name="T27" fmla="*/ 171 h 320"/>
                <a:gd name="T28" fmla="*/ 309 w 320"/>
                <a:gd name="T29" fmla="*/ 171 h 320"/>
                <a:gd name="T30" fmla="*/ 320 w 320"/>
                <a:gd name="T31" fmla="*/ 160 h 320"/>
                <a:gd name="T32" fmla="*/ 309 w 320"/>
                <a:gd name="T33" fmla="*/ 15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320">
                  <a:moveTo>
                    <a:pt x="309" y="150"/>
                  </a:moveTo>
                  <a:cubicBezTo>
                    <a:pt x="171" y="150"/>
                    <a:pt x="171" y="150"/>
                    <a:pt x="171" y="150"/>
                  </a:cubicBezTo>
                  <a:cubicBezTo>
                    <a:pt x="171" y="11"/>
                    <a:pt x="171" y="11"/>
                    <a:pt x="171" y="11"/>
                  </a:cubicBezTo>
                  <a:cubicBezTo>
                    <a:pt x="171" y="5"/>
                    <a:pt x="166" y="0"/>
                    <a:pt x="160" y="0"/>
                  </a:cubicBezTo>
                  <a:cubicBezTo>
                    <a:pt x="154" y="0"/>
                    <a:pt x="149" y="5"/>
                    <a:pt x="149" y="11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5" y="150"/>
                    <a:pt x="0" y="154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ubicBezTo>
                    <a:pt x="149" y="171"/>
                    <a:pt x="149" y="171"/>
                    <a:pt x="149" y="171"/>
                  </a:cubicBezTo>
                  <a:cubicBezTo>
                    <a:pt x="149" y="310"/>
                    <a:pt x="149" y="310"/>
                    <a:pt x="149" y="310"/>
                  </a:cubicBezTo>
                  <a:cubicBezTo>
                    <a:pt x="149" y="316"/>
                    <a:pt x="154" y="320"/>
                    <a:pt x="160" y="320"/>
                  </a:cubicBezTo>
                  <a:cubicBezTo>
                    <a:pt x="166" y="320"/>
                    <a:pt x="171" y="316"/>
                    <a:pt x="171" y="310"/>
                  </a:cubicBezTo>
                  <a:cubicBezTo>
                    <a:pt x="171" y="171"/>
                    <a:pt x="171" y="171"/>
                    <a:pt x="171" y="171"/>
                  </a:cubicBezTo>
                  <a:cubicBezTo>
                    <a:pt x="309" y="171"/>
                    <a:pt x="309" y="171"/>
                    <a:pt x="309" y="171"/>
                  </a:cubicBezTo>
                  <a:cubicBezTo>
                    <a:pt x="315" y="171"/>
                    <a:pt x="320" y="166"/>
                    <a:pt x="320" y="160"/>
                  </a:cubicBezTo>
                  <a:cubicBezTo>
                    <a:pt x="320" y="154"/>
                    <a:pt x="315" y="150"/>
                    <a:pt x="309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86" name="Group 449"/>
          <p:cNvGrpSpPr>
            <a:grpSpLocks noChangeAspect="1"/>
          </p:cNvGrpSpPr>
          <p:nvPr/>
        </p:nvGrpSpPr>
        <p:grpSpPr bwMode="auto">
          <a:xfrm>
            <a:off x="441298" y="2051050"/>
            <a:ext cx="369021" cy="369021"/>
            <a:chOff x="2276" y="1587"/>
            <a:chExt cx="340" cy="340"/>
          </a:xfrm>
          <a:solidFill>
            <a:schemeClr val="accent5"/>
          </a:solidFill>
        </p:grpSpPr>
        <p:sp>
          <p:nvSpPr>
            <p:cNvPr id="687" name="Freeform 450"/>
            <p:cNvSpPr>
              <a:spLocks noEditPoints="1"/>
            </p:cNvSpPr>
            <p:nvPr/>
          </p:nvSpPr>
          <p:spPr bwMode="auto">
            <a:xfrm>
              <a:off x="2276" y="1587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266 w 512"/>
                <a:gd name="T13" fmla="*/ 266 h 512"/>
                <a:gd name="T14" fmla="*/ 266 w 512"/>
                <a:gd name="T15" fmla="*/ 405 h 512"/>
                <a:gd name="T16" fmla="*/ 256 w 512"/>
                <a:gd name="T17" fmla="*/ 416 h 512"/>
                <a:gd name="T18" fmla="*/ 245 w 512"/>
                <a:gd name="T19" fmla="*/ 405 h 512"/>
                <a:gd name="T20" fmla="*/ 245 w 512"/>
                <a:gd name="T21" fmla="*/ 266 h 512"/>
                <a:gd name="T22" fmla="*/ 106 w 512"/>
                <a:gd name="T23" fmla="*/ 266 h 512"/>
                <a:gd name="T24" fmla="*/ 96 w 512"/>
                <a:gd name="T25" fmla="*/ 256 h 512"/>
                <a:gd name="T26" fmla="*/ 106 w 512"/>
                <a:gd name="T27" fmla="*/ 245 h 512"/>
                <a:gd name="T28" fmla="*/ 245 w 512"/>
                <a:gd name="T29" fmla="*/ 245 h 512"/>
                <a:gd name="T30" fmla="*/ 245 w 512"/>
                <a:gd name="T31" fmla="*/ 106 h 512"/>
                <a:gd name="T32" fmla="*/ 256 w 512"/>
                <a:gd name="T33" fmla="*/ 96 h 512"/>
                <a:gd name="T34" fmla="*/ 266 w 512"/>
                <a:gd name="T35" fmla="*/ 106 h 512"/>
                <a:gd name="T36" fmla="*/ 266 w 512"/>
                <a:gd name="T37" fmla="*/ 245 h 512"/>
                <a:gd name="T38" fmla="*/ 405 w 512"/>
                <a:gd name="T39" fmla="*/ 245 h 512"/>
                <a:gd name="T40" fmla="*/ 416 w 512"/>
                <a:gd name="T41" fmla="*/ 256 h 512"/>
                <a:gd name="T42" fmla="*/ 405 w 512"/>
                <a:gd name="T43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266" y="266"/>
                    <a:pt x="266" y="266"/>
                    <a:pt x="266" y="266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8" name="Freeform 451"/>
            <p:cNvSpPr>
              <a:spLocks noEditPoints="1"/>
            </p:cNvSpPr>
            <p:nvPr/>
          </p:nvSpPr>
          <p:spPr bwMode="auto">
            <a:xfrm>
              <a:off x="2276" y="1587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266 w 512"/>
                <a:gd name="T13" fmla="*/ 266 h 512"/>
                <a:gd name="T14" fmla="*/ 266 w 512"/>
                <a:gd name="T15" fmla="*/ 405 h 512"/>
                <a:gd name="T16" fmla="*/ 256 w 512"/>
                <a:gd name="T17" fmla="*/ 416 h 512"/>
                <a:gd name="T18" fmla="*/ 245 w 512"/>
                <a:gd name="T19" fmla="*/ 405 h 512"/>
                <a:gd name="T20" fmla="*/ 245 w 512"/>
                <a:gd name="T21" fmla="*/ 266 h 512"/>
                <a:gd name="T22" fmla="*/ 106 w 512"/>
                <a:gd name="T23" fmla="*/ 266 h 512"/>
                <a:gd name="T24" fmla="*/ 96 w 512"/>
                <a:gd name="T25" fmla="*/ 256 h 512"/>
                <a:gd name="T26" fmla="*/ 106 w 512"/>
                <a:gd name="T27" fmla="*/ 245 h 512"/>
                <a:gd name="T28" fmla="*/ 245 w 512"/>
                <a:gd name="T29" fmla="*/ 245 h 512"/>
                <a:gd name="T30" fmla="*/ 245 w 512"/>
                <a:gd name="T31" fmla="*/ 106 h 512"/>
                <a:gd name="T32" fmla="*/ 256 w 512"/>
                <a:gd name="T33" fmla="*/ 96 h 512"/>
                <a:gd name="T34" fmla="*/ 266 w 512"/>
                <a:gd name="T35" fmla="*/ 106 h 512"/>
                <a:gd name="T36" fmla="*/ 266 w 512"/>
                <a:gd name="T37" fmla="*/ 245 h 512"/>
                <a:gd name="T38" fmla="*/ 405 w 512"/>
                <a:gd name="T39" fmla="*/ 245 h 512"/>
                <a:gd name="T40" fmla="*/ 416 w 512"/>
                <a:gd name="T41" fmla="*/ 256 h 512"/>
                <a:gd name="T42" fmla="*/ 405 w 512"/>
                <a:gd name="T43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266" y="266"/>
                    <a:pt x="266" y="266"/>
                    <a:pt x="266" y="266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89" name="Group 878"/>
          <p:cNvGrpSpPr>
            <a:grpSpLocks noChangeAspect="1"/>
          </p:cNvGrpSpPr>
          <p:nvPr/>
        </p:nvGrpSpPr>
        <p:grpSpPr bwMode="auto">
          <a:xfrm>
            <a:off x="1933375" y="2051054"/>
            <a:ext cx="367041" cy="367041"/>
            <a:chOff x="2950" y="3735"/>
            <a:chExt cx="340" cy="340"/>
          </a:xfrm>
          <a:solidFill>
            <a:schemeClr val="accent4"/>
          </a:solidFill>
        </p:grpSpPr>
        <p:sp>
          <p:nvSpPr>
            <p:cNvPr id="690" name="Freeform 879"/>
            <p:cNvSpPr>
              <a:spLocks/>
            </p:cNvSpPr>
            <p:nvPr/>
          </p:nvSpPr>
          <p:spPr bwMode="auto">
            <a:xfrm>
              <a:off x="3014" y="3898"/>
              <a:ext cx="212" cy="14"/>
            </a:xfrm>
            <a:custGeom>
              <a:avLst/>
              <a:gdLst>
                <a:gd name="T0" fmla="*/ 309 w 320"/>
                <a:gd name="T1" fmla="*/ 21 h 21"/>
                <a:gd name="T2" fmla="*/ 10 w 320"/>
                <a:gd name="T3" fmla="*/ 21 h 21"/>
                <a:gd name="T4" fmla="*/ 0 w 320"/>
                <a:gd name="T5" fmla="*/ 11 h 21"/>
                <a:gd name="T6" fmla="*/ 10 w 320"/>
                <a:gd name="T7" fmla="*/ 0 h 21"/>
                <a:gd name="T8" fmla="*/ 309 w 320"/>
                <a:gd name="T9" fmla="*/ 0 h 21"/>
                <a:gd name="T10" fmla="*/ 320 w 320"/>
                <a:gd name="T11" fmla="*/ 11 h 21"/>
                <a:gd name="T12" fmla="*/ 309 w 32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17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5" y="0"/>
                    <a:pt x="320" y="5"/>
                    <a:pt x="320" y="11"/>
                  </a:cubicBezTo>
                  <a:cubicBezTo>
                    <a:pt x="320" y="17"/>
                    <a:pt x="315" y="21"/>
                    <a:pt x="30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1" name="Freeform 880"/>
            <p:cNvSpPr>
              <a:spLocks noEditPoints="1"/>
            </p:cNvSpPr>
            <p:nvPr/>
          </p:nvSpPr>
          <p:spPr bwMode="auto">
            <a:xfrm>
              <a:off x="2950" y="373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2" name="Freeform 884"/>
          <p:cNvSpPr>
            <a:spLocks noChangeAspect="1" noEditPoints="1"/>
          </p:cNvSpPr>
          <p:nvPr/>
        </p:nvSpPr>
        <p:spPr bwMode="auto">
          <a:xfrm>
            <a:off x="1437336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266 h 512"/>
              <a:gd name="T12" fmla="*/ 106 w 512"/>
              <a:gd name="T13" fmla="*/ 266 h 512"/>
              <a:gd name="T14" fmla="*/ 96 w 512"/>
              <a:gd name="T15" fmla="*/ 256 h 512"/>
              <a:gd name="T16" fmla="*/ 106 w 512"/>
              <a:gd name="T17" fmla="*/ 245 h 512"/>
              <a:gd name="T18" fmla="*/ 405 w 512"/>
              <a:gd name="T19" fmla="*/ 245 h 512"/>
              <a:gd name="T20" fmla="*/ 416 w 512"/>
              <a:gd name="T21" fmla="*/ 256 h 512"/>
              <a:gd name="T22" fmla="*/ 405 w 512"/>
              <a:gd name="T2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66"/>
                </a:move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93" name="Group 592"/>
          <p:cNvGrpSpPr>
            <a:grpSpLocks noChangeAspect="1"/>
          </p:cNvGrpSpPr>
          <p:nvPr/>
        </p:nvGrpSpPr>
        <p:grpSpPr bwMode="auto">
          <a:xfrm>
            <a:off x="2928088" y="2051051"/>
            <a:ext cx="370763" cy="369676"/>
            <a:chOff x="373" y="1933"/>
            <a:chExt cx="341" cy="340"/>
          </a:xfrm>
          <a:solidFill>
            <a:schemeClr val="accent6"/>
          </a:solidFill>
        </p:grpSpPr>
        <p:sp>
          <p:nvSpPr>
            <p:cNvPr id="694" name="Freeform 693"/>
            <p:cNvSpPr>
              <a:spLocks/>
            </p:cNvSpPr>
            <p:nvPr/>
          </p:nvSpPr>
          <p:spPr bwMode="auto">
            <a:xfrm>
              <a:off x="436" y="2031"/>
              <a:ext cx="207" cy="157"/>
            </a:xfrm>
            <a:custGeom>
              <a:avLst/>
              <a:gdLst>
                <a:gd name="T0" fmla="*/ 307 w 311"/>
                <a:gd name="T1" fmla="*/ 4 h 236"/>
                <a:gd name="T2" fmla="*/ 292 w 311"/>
                <a:gd name="T3" fmla="*/ 4 h 236"/>
                <a:gd name="T4" fmla="*/ 86 w 311"/>
                <a:gd name="T5" fmla="*/ 210 h 236"/>
                <a:gd name="T6" fmla="*/ 19 w 311"/>
                <a:gd name="T7" fmla="*/ 143 h 236"/>
                <a:gd name="T8" fmla="*/ 4 w 311"/>
                <a:gd name="T9" fmla="*/ 143 h 236"/>
                <a:gd name="T10" fmla="*/ 4 w 311"/>
                <a:gd name="T11" fmla="*/ 158 h 236"/>
                <a:gd name="T12" fmla="*/ 78 w 311"/>
                <a:gd name="T13" fmla="*/ 233 h 236"/>
                <a:gd name="T14" fmla="*/ 86 w 311"/>
                <a:gd name="T15" fmla="*/ 236 h 236"/>
                <a:gd name="T16" fmla="*/ 94 w 311"/>
                <a:gd name="T17" fmla="*/ 233 h 236"/>
                <a:gd name="T18" fmla="*/ 307 w 311"/>
                <a:gd name="T19" fmla="*/ 19 h 236"/>
                <a:gd name="T20" fmla="*/ 307 w 311"/>
                <a:gd name="T21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36">
                  <a:moveTo>
                    <a:pt x="307" y="4"/>
                  </a:moveTo>
                  <a:cubicBezTo>
                    <a:pt x="303" y="0"/>
                    <a:pt x="296" y="0"/>
                    <a:pt x="292" y="4"/>
                  </a:cubicBezTo>
                  <a:cubicBezTo>
                    <a:pt x="86" y="210"/>
                    <a:pt x="86" y="210"/>
                    <a:pt x="86" y="210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5" y="139"/>
                    <a:pt x="8" y="139"/>
                    <a:pt x="4" y="143"/>
                  </a:cubicBezTo>
                  <a:cubicBezTo>
                    <a:pt x="0" y="147"/>
                    <a:pt x="0" y="154"/>
                    <a:pt x="4" y="158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81" y="235"/>
                    <a:pt x="83" y="236"/>
                    <a:pt x="86" y="236"/>
                  </a:cubicBezTo>
                  <a:cubicBezTo>
                    <a:pt x="89" y="236"/>
                    <a:pt x="91" y="235"/>
                    <a:pt x="94" y="233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11" y="15"/>
                    <a:pt x="311" y="8"/>
                    <a:pt x="30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5" name="Freeform 694"/>
            <p:cNvSpPr>
              <a:spLocks noEditPoints="1"/>
            </p:cNvSpPr>
            <p:nvPr/>
          </p:nvSpPr>
          <p:spPr bwMode="auto">
            <a:xfrm>
              <a:off x="373" y="193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6" name="Freeform 598"/>
          <p:cNvSpPr>
            <a:spLocks noChangeAspect="1" noEditPoints="1"/>
          </p:cNvSpPr>
          <p:nvPr/>
        </p:nvSpPr>
        <p:spPr bwMode="auto">
          <a:xfrm>
            <a:off x="2429414" y="2051051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2 w 512"/>
              <a:gd name="T11" fmla="*/ 167 h 512"/>
              <a:gd name="T12" fmla="*/ 189 w 512"/>
              <a:gd name="T13" fmla="*/ 381 h 512"/>
              <a:gd name="T14" fmla="*/ 181 w 512"/>
              <a:gd name="T15" fmla="*/ 384 h 512"/>
              <a:gd name="T16" fmla="*/ 173 w 512"/>
              <a:gd name="T17" fmla="*/ 381 h 512"/>
              <a:gd name="T18" fmla="*/ 99 w 512"/>
              <a:gd name="T19" fmla="*/ 306 h 512"/>
              <a:gd name="T20" fmla="*/ 99 w 512"/>
              <a:gd name="T21" fmla="*/ 291 h 512"/>
              <a:gd name="T22" fmla="*/ 114 w 512"/>
              <a:gd name="T23" fmla="*/ 291 h 512"/>
              <a:gd name="T24" fmla="*/ 181 w 512"/>
              <a:gd name="T25" fmla="*/ 358 h 512"/>
              <a:gd name="T26" fmla="*/ 387 w 512"/>
              <a:gd name="T27" fmla="*/ 152 h 512"/>
              <a:gd name="T28" fmla="*/ 402 w 512"/>
              <a:gd name="T29" fmla="*/ 152 h 512"/>
              <a:gd name="T30" fmla="*/ 402 w 512"/>
              <a:gd name="T31" fmla="*/ 1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167"/>
                </a:moveTo>
                <a:cubicBezTo>
                  <a:pt x="189" y="381"/>
                  <a:pt x="189" y="381"/>
                  <a:pt x="189" y="381"/>
                </a:cubicBezTo>
                <a:cubicBezTo>
                  <a:pt x="186" y="383"/>
                  <a:pt x="184" y="384"/>
                  <a:pt x="181" y="384"/>
                </a:cubicBezTo>
                <a:cubicBezTo>
                  <a:pt x="178" y="384"/>
                  <a:pt x="176" y="383"/>
                  <a:pt x="173" y="381"/>
                </a:cubicBezTo>
                <a:cubicBezTo>
                  <a:pt x="99" y="306"/>
                  <a:pt x="99" y="306"/>
                  <a:pt x="99" y="306"/>
                </a:cubicBezTo>
                <a:cubicBezTo>
                  <a:pt x="95" y="302"/>
                  <a:pt x="95" y="295"/>
                  <a:pt x="99" y="291"/>
                </a:cubicBezTo>
                <a:cubicBezTo>
                  <a:pt x="103" y="287"/>
                  <a:pt x="110" y="287"/>
                  <a:pt x="114" y="291"/>
                </a:cubicBezTo>
                <a:cubicBezTo>
                  <a:pt x="181" y="358"/>
                  <a:pt x="181" y="358"/>
                  <a:pt x="181" y="358"/>
                </a:cubicBezTo>
                <a:cubicBezTo>
                  <a:pt x="387" y="152"/>
                  <a:pt x="387" y="152"/>
                  <a:pt x="387" y="152"/>
                </a:cubicBezTo>
                <a:cubicBezTo>
                  <a:pt x="391" y="148"/>
                  <a:pt x="398" y="148"/>
                  <a:pt x="402" y="152"/>
                </a:cubicBezTo>
                <a:cubicBezTo>
                  <a:pt x="406" y="156"/>
                  <a:pt x="406" y="163"/>
                  <a:pt x="402" y="16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97" name="Freeform 132"/>
          <p:cNvSpPr>
            <a:spLocks noChangeAspect="1" noEditPoints="1"/>
          </p:cNvSpPr>
          <p:nvPr/>
        </p:nvSpPr>
        <p:spPr bwMode="auto">
          <a:xfrm>
            <a:off x="3427849" y="205105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1 w 512"/>
              <a:gd name="T11" fmla="*/ 365 h 512"/>
              <a:gd name="T12" fmla="*/ 381 w 512"/>
              <a:gd name="T13" fmla="*/ 381 h 512"/>
              <a:gd name="T14" fmla="*/ 373 w 512"/>
              <a:gd name="T15" fmla="*/ 384 h 512"/>
              <a:gd name="T16" fmla="*/ 365 w 512"/>
              <a:gd name="T17" fmla="*/ 381 h 512"/>
              <a:gd name="T18" fmla="*/ 256 w 512"/>
              <a:gd name="T19" fmla="*/ 271 h 512"/>
              <a:gd name="T20" fmla="*/ 146 w 512"/>
              <a:gd name="T21" fmla="*/ 381 h 512"/>
              <a:gd name="T22" fmla="*/ 138 w 512"/>
              <a:gd name="T23" fmla="*/ 384 h 512"/>
              <a:gd name="T24" fmla="*/ 131 w 512"/>
              <a:gd name="T25" fmla="*/ 381 h 512"/>
              <a:gd name="T26" fmla="*/ 131 w 512"/>
              <a:gd name="T27" fmla="*/ 365 h 512"/>
              <a:gd name="T28" fmla="*/ 241 w 512"/>
              <a:gd name="T29" fmla="*/ 256 h 512"/>
              <a:gd name="T30" fmla="*/ 131 w 512"/>
              <a:gd name="T31" fmla="*/ 146 h 512"/>
              <a:gd name="T32" fmla="*/ 131 w 512"/>
              <a:gd name="T33" fmla="*/ 131 h 512"/>
              <a:gd name="T34" fmla="*/ 146 w 512"/>
              <a:gd name="T35" fmla="*/ 131 h 512"/>
              <a:gd name="T36" fmla="*/ 256 w 512"/>
              <a:gd name="T37" fmla="*/ 241 h 512"/>
              <a:gd name="T38" fmla="*/ 365 w 512"/>
              <a:gd name="T39" fmla="*/ 131 h 512"/>
              <a:gd name="T40" fmla="*/ 381 w 512"/>
              <a:gd name="T41" fmla="*/ 131 h 512"/>
              <a:gd name="T42" fmla="*/ 381 w 512"/>
              <a:gd name="T43" fmla="*/ 146 h 512"/>
              <a:gd name="T44" fmla="*/ 271 w 512"/>
              <a:gd name="T45" fmla="*/ 256 h 512"/>
              <a:gd name="T46" fmla="*/ 381 w 512"/>
              <a:gd name="T47" fmla="*/ 3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365"/>
                </a:moveTo>
                <a:cubicBezTo>
                  <a:pt x="385" y="370"/>
                  <a:pt x="385" y="376"/>
                  <a:pt x="381" y="381"/>
                </a:cubicBezTo>
                <a:cubicBezTo>
                  <a:pt x="378" y="383"/>
                  <a:pt x="376" y="384"/>
                  <a:pt x="373" y="384"/>
                </a:cubicBezTo>
                <a:cubicBezTo>
                  <a:pt x="370" y="384"/>
                  <a:pt x="368" y="383"/>
                  <a:pt x="365" y="381"/>
                </a:cubicBezTo>
                <a:cubicBezTo>
                  <a:pt x="256" y="271"/>
                  <a:pt x="256" y="271"/>
                  <a:pt x="256" y="271"/>
                </a:cubicBezTo>
                <a:cubicBezTo>
                  <a:pt x="146" y="381"/>
                  <a:pt x="146" y="381"/>
                  <a:pt x="146" y="381"/>
                </a:cubicBezTo>
                <a:cubicBezTo>
                  <a:pt x="144" y="383"/>
                  <a:pt x="141" y="384"/>
                  <a:pt x="138" y="384"/>
                </a:cubicBezTo>
                <a:cubicBezTo>
                  <a:pt x="136" y="384"/>
                  <a:pt x="133" y="383"/>
                  <a:pt x="131" y="381"/>
                </a:cubicBezTo>
                <a:cubicBezTo>
                  <a:pt x="127" y="376"/>
                  <a:pt x="127" y="370"/>
                  <a:pt x="131" y="365"/>
                </a:cubicBezTo>
                <a:cubicBezTo>
                  <a:pt x="241" y="256"/>
                  <a:pt x="241" y="256"/>
                  <a:pt x="241" y="2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27" y="142"/>
                  <a:pt x="127" y="135"/>
                  <a:pt x="131" y="131"/>
                </a:cubicBezTo>
                <a:cubicBezTo>
                  <a:pt x="135" y="127"/>
                  <a:pt x="142" y="127"/>
                  <a:pt x="146" y="131"/>
                </a:cubicBezTo>
                <a:cubicBezTo>
                  <a:pt x="256" y="241"/>
                  <a:pt x="256" y="241"/>
                  <a:pt x="256" y="241"/>
                </a:cubicBezTo>
                <a:cubicBezTo>
                  <a:pt x="365" y="131"/>
                  <a:pt x="365" y="131"/>
                  <a:pt x="365" y="131"/>
                </a:cubicBezTo>
                <a:cubicBezTo>
                  <a:pt x="370" y="127"/>
                  <a:pt x="376" y="127"/>
                  <a:pt x="381" y="131"/>
                </a:cubicBezTo>
                <a:cubicBezTo>
                  <a:pt x="385" y="135"/>
                  <a:pt x="385" y="142"/>
                  <a:pt x="381" y="146"/>
                </a:cubicBezTo>
                <a:cubicBezTo>
                  <a:pt x="271" y="256"/>
                  <a:pt x="271" y="256"/>
                  <a:pt x="271" y="256"/>
                </a:cubicBezTo>
                <a:lnTo>
                  <a:pt x="381" y="36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98" name="Group 135"/>
          <p:cNvGrpSpPr>
            <a:grpSpLocks noChangeAspect="1"/>
          </p:cNvGrpSpPr>
          <p:nvPr/>
        </p:nvGrpSpPr>
        <p:grpSpPr bwMode="auto">
          <a:xfrm>
            <a:off x="3924478" y="2051054"/>
            <a:ext cx="367631" cy="367631"/>
            <a:chOff x="3038" y="915"/>
            <a:chExt cx="340" cy="340"/>
          </a:xfrm>
          <a:solidFill>
            <a:schemeClr val="accent2"/>
          </a:solidFill>
        </p:grpSpPr>
        <p:sp>
          <p:nvSpPr>
            <p:cNvPr id="699" name="Freeform 136"/>
            <p:cNvSpPr>
              <a:spLocks/>
            </p:cNvSpPr>
            <p:nvPr/>
          </p:nvSpPr>
          <p:spPr bwMode="auto">
            <a:xfrm>
              <a:off x="3122" y="999"/>
              <a:ext cx="172" cy="171"/>
            </a:xfrm>
            <a:custGeom>
              <a:avLst/>
              <a:gdLst>
                <a:gd name="T0" fmla="*/ 144 w 258"/>
                <a:gd name="T1" fmla="*/ 129 h 257"/>
                <a:gd name="T2" fmla="*/ 254 w 258"/>
                <a:gd name="T3" fmla="*/ 19 h 257"/>
                <a:gd name="T4" fmla="*/ 254 w 258"/>
                <a:gd name="T5" fmla="*/ 4 h 257"/>
                <a:gd name="T6" fmla="*/ 238 w 258"/>
                <a:gd name="T7" fmla="*/ 4 h 257"/>
                <a:gd name="T8" fmla="*/ 129 w 258"/>
                <a:gd name="T9" fmla="*/ 114 h 257"/>
                <a:gd name="T10" fmla="*/ 19 w 258"/>
                <a:gd name="T11" fmla="*/ 4 h 257"/>
                <a:gd name="T12" fmla="*/ 4 w 258"/>
                <a:gd name="T13" fmla="*/ 4 h 257"/>
                <a:gd name="T14" fmla="*/ 4 w 258"/>
                <a:gd name="T15" fmla="*/ 19 h 257"/>
                <a:gd name="T16" fmla="*/ 114 w 258"/>
                <a:gd name="T17" fmla="*/ 129 h 257"/>
                <a:gd name="T18" fmla="*/ 4 w 258"/>
                <a:gd name="T19" fmla="*/ 238 h 257"/>
                <a:gd name="T20" fmla="*/ 4 w 258"/>
                <a:gd name="T21" fmla="*/ 254 h 257"/>
                <a:gd name="T22" fmla="*/ 11 w 258"/>
                <a:gd name="T23" fmla="*/ 257 h 257"/>
                <a:gd name="T24" fmla="*/ 19 w 258"/>
                <a:gd name="T25" fmla="*/ 254 h 257"/>
                <a:gd name="T26" fmla="*/ 129 w 258"/>
                <a:gd name="T27" fmla="*/ 144 h 257"/>
                <a:gd name="T28" fmla="*/ 238 w 258"/>
                <a:gd name="T29" fmla="*/ 254 h 257"/>
                <a:gd name="T30" fmla="*/ 246 w 258"/>
                <a:gd name="T31" fmla="*/ 257 h 257"/>
                <a:gd name="T32" fmla="*/ 254 w 258"/>
                <a:gd name="T33" fmla="*/ 254 h 257"/>
                <a:gd name="T34" fmla="*/ 254 w 258"/>
                <a:gd name="T35" fmla="*/ 238 h 257"/>
                <a:gd name="T36" fmla="*/ 144 w 258"/>
                <a:gd name="T3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8" h="257">
                  <a:moveTo>
                    <a:pt x="144" y="129"/>
                  </a:moveTo>
                  <a:cubicBezTo>
                    <a:pt x="254" y="19"/>
                    <a:pt x="254" y="19"/>
                    <a:pt x="254" y="19"/>
                  </a:cubicBezTo>
                  <a:cubicBezTo>
                    <a:pt x="258" y="15"/>
                    <a:pt x="258" y="8"/>
                    <a:pt x="254" y="4"/>
                  </a:cubicBezTo>
                  <a:cubicBezTo>
                    <a:pt x="249" y="0"/>
                    <a:pt x="243" y="0"/>
                    <a:pt x="238" y="4"/>
                  </a:cubicBezTo>
                  <a:cubicBezTo>
                    <a:pt x="129" y="114"/>
                    <a:pt x="129" y="114"/>
                    <a:pt x="129" y="11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ubicBezTo>
                    <a:pt x="114" y="129"/>
                    <a:pt x="114" y="129"/>
                    <a:pt x="114" y="129"/>
                  </a:cubicBezTo>
                  <a:cubicBezTo>
                    <a:pt x="4" y="238"/>
                    <a:pt x="4" y="238"/>
                    <a:pt x="4" y="238"/>
                  </a:cubicBezTo>
                  <a:cubicBezTo>
                    <a:pt x="0" y="243"/>
                    <a:pt x="0" y="249"/>
                    <a:pt x="4" y="254"/>
                  </a:cubicBezTo>
                  <a:cubicBezTo>
                    <a:pt x="6" y="256"/>
                    <a:pt x="9" y="257"/>
                    <a:pt x="11" y="257"/>
                  </a:cubicBezTo>
                  <a:cubicBezTo>
                    <a:pt x="14" y="257"/>
                    <a:pt x="17" y="256"/>
                    <a:pt x="19" y="254"/>
                  </a:cubicBezTo>
                  <a:cubicBezTo>
                    <a:pt x="129" y="144"/>
                    <a:pt x="129" y="144"/>
                    <a:pt x="129" y="144"/>
                  </a:cubicBezTo>
                  <a:cubicBezTo>
                    <a:pt x="238" y="254"/>
                    <a:pt x="238" y="254"/>
                    <a:pt x="238" y="254"/>
                  </a:cubicBezTo>
                  <a:cubicBezTo>
                    <a:pt x="241" y="256"/>
                    <a:pt x="243" y="257"/>
                    <a:pt x="246" y="257"/>
                  </a:cubicBezTo>
                  <a:cubicBezTo>
                    <a:pt x="249" y="257"/>
                    <a:pt x="251" y="256"/>
                    <a:pt x="254" y="254"/>
                  </a:cubicBezTo>
                  <a:cubicBezTo>
                    <a:pt x="258" y="249"/>
                    <a:pt x="258" y="243"/>
                    <a:pt x="254" y="238"/>
                  </a:cubicBezTo>
                  <a:lnTo>
                    <a:pt x="144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0" name="Freeform 137"/>
            <p:cNvSpPr>
              <a:spLocks noEditPoints="1"/>
            </p:cNvSpPr>
            <p:nvPr/>
          </p:nvSpPr>
          <p:spPr bwMode="auto">
            <a:xfrm>
              <a:off x="3038" y="91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17" name="Freeform 974"/>
          <p:cNvSpPr>
            <a:spLocks noChangeAspect="1" noEditPoints="1"/>
          </p:cNvSpPr>
          <p:nvPr/>
        </p:nvSpPr>
        <p:spPr bwMode="auto">
          <a:xfrm>
            <a:off x="4421107" y="2051054"/>
            <a:ext cx="367041" cy="367041"/>
          </a:xfrm>
          <a:custGeom>
            <a:avLst/>
            <a:gdLst>
              <a:gd name="T0" fmla="*/ 288 w 512"/>
              <a:gd name="T1" fmla="*/ 213 h 512"/>
              <a:gd name="T2" fmla="*/ 256 w 512"/>
              <a:gd name="T3" fmla="*/ 245 h 512"/>
              <a:gd name="T4" fmla="*/ 224 w 512"/>
              <a:gd name="T5" fmla="*/ 213 h 512"/>
              <a:gd name="T6" fmla="*/ 256 w 512"/>
              <a:gd name="T7" fmla="*/ 181 h 512"/>
              <a:gd name="T8" fmla="*/ 288 w 512"/>
              <a:gd name="T9" fmla="*/ 213 h 512"/>
              <a:gd name="T10" fmla="*/ 351 w 512"/>
              <a:gd name="T11" fmla="*/ 213 h 512"/>
              <a:gd name="T12" fmla="*/ 339 w 512"/>
              <a:gd name="T13" fmla="*/ 260 h 512"/>
              <a:gd name="T14" fmla="*/ 256 w 512"/>
              <a:gd name="T15" fmla="*/ 386 h 512"/>
              <a:gd name="T16" fmla="*/ 173 w 512"/>
              <a:gd name="T17" fmla="*/ 261 h 512"/>
              <a:gd name="T18" fmla="*/ 160 w 512"/>
              <a:gd name="T19" fmla="*/ 213 h 512"/>
              <a:gd name="T20" fmla="*/ 255 w 512"/>
              <a:gd name="T21" fmla="*/ 117 h 512"/>
              <a:gd name="T22" fmla="*/ 256 w 512"/>
              <a:gd name="T23" fmla="*/ 117 h 512"/>
              <a:gd name="T24" fmla="*/ 256 w 512"/>
              <a:gd name="T25" fmla="*/ 117 h 512"/>
              <a:gd name="T26" fmla="*/ 351 w 512"/>
              <a:gd name="T27" fmla="*/ 213 h 512"/>
              <a:gd name="T28" fmla="*/ 309 w 512"/>
              <a:gd name="T29" fmla="*/ 213 h 512"/>
              <a:gd name="T30" fmla="*/ 256 w 512"/>
              <a:gd name="T31" fmla="*/ 160 h 512"/>
              <a:gd name="T32" fmla="*/ 202 w 512"/>
              <a:gd name="T33" fmla="*/ 213 h 512"/>
              <a:gd name="T34" fmla="*/ 256 w 512"/>
              <a:gd name="T35" fmla="*/ 266 h 512"/>
              <a:gd name="T36" fmla="*/ 309 w 512"/>
              <a:gd name="T37" fmla="*/ 213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373 w 512"/>
              <a:gd name="T49" fmla="*/ 213 h 512"/>
              <a:gd name="T50" fmla="*/ 256 w 512"/>
              <a:gd name="T51" fmla="*/ 96 h 512"/>
              <a:gd name="T52" fmla="*/ 256 w 512"/>
              <a:gd name="T53" fmla="*/ 96 h 512"/>
              <a:gd name="T54" fmla="*/ 255 w 512"/>
              <a:gd name="T55" fmla="*/ 96 h 512"/>
              <a:gd name="T56" fmla="*/ 138 w 512"/>
              <a:gd name="T57" fmla="*/ 213 h 512"/>
              <a:gd name="T58" fmla="*/ 155 w 512"/>
              <a:gd name="T59" fmla="*/ 272 h 512"/>
              <a:gd name="T60" fmla="*/ 247 w 512"/>
              <a:gd name="T61" fmla="*/ 411 h 512"/>
              <a:gd name="T62" fmla="*/ 255 w 512"/>
              <a:gd name="T63" fmla="*/ 416 h 512"/>
              <a:gd name="T64" fmla="*/ 256 w 512"/>
              <a:gd name="T65" fmla="*/ 416 h 512"/>
              <a:gd name="T66" fmla="*/ 256 w 512"/>
              <a:gd name="T67" fmla="*/ 416 h 512"/>
              <a:gd name="T68" fmla="*/ 265 w 512"/>
              <a:gd name="T69" fmla="*/ 411 h 512"/>
              <a:gd name="T70" fmla="*/ 357 w 512"/>
              <a:gd name="T71" fmla="*/ 272 h 512"/>
              <a:gd name="T72" fmla="*/ 373 w 512"/>
              <a:gd name="T73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88" y="213"/>
                </a:moveTo>
                <a:cubicBezTo>
                  <a:pt x="288" y="231"/>
                  <a:pt x="273" y="245"/>
                  <a:pt x="256" y="245"/>
                </a:cubicBezTo>
                <a:cubicBezTo>
                  <a:pt x="238" y="245"/>
                  <a:pt x="224" y="231"/>
                  <a:pt x="224" y="213"/>
                </a:cubicBezTo>
                <a:cubicBezTo>
                  <a:pt x="224" y="195"/>
                  <a:pt x="238" y="181"/>
                  <a:pt x="256" y="181"/>
                </a:cubicBezTo>
                <a:cubicBezTo>
                  <a:pt x="273" y="181"/>
                  <a:pt x="288" y="195"/>
                  <a:pt x="288" y="213"/>
                </a:cubicBezTo>
                <a:close/>
                <a:moveTo>
                  <a:pt x="351" y="213"/>
                </a:moveTo>
                <a:cubicBezTo>
                  <a:pt x="351" y="231"/>
                  <a:pt x="348" y="245"/>
                  <a:pt x="339" y="260"/>
                </a:cubicBezTo>
                <a:cubicBezTo>
                  <a:pt x="256" y="386"/>
                  <a:pt x="256" y="386"/>
                  <a:pt x="256" y="386"/>
                </a:cubicBezTo>
                <a:cubicBezTo>
                  <a:pt x="173" y="261"/>
                  <a:pt x="173" y="261"/>
                  <a:pt x="173" y="261"/>
                </a:cubicBezTo>
                <a:cubicBezTo>
                  <a:pt x="163" y="245"/>
                  <a:pt x="160" y="231"/>
                  <a:pt x="160" y="213"/>
                </a:cubicBezTo>
                <a:cubicBezTo>
                  <a:pt x="160" y="160"/>
                  <a:pt x="203" y="117"/>
                  <a:pt x="255" y="117"/>
                </a:cubicBezTo>
                <a:cubicBezTo>
                  <a:pt x="255" y="117"/>
                  <a:pt x="256" y="117"/>
                  <a:pt x="256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08" y="117"/>
                  <a:pt x="351" y="160"/>
                  <a:pt x="351" y="213"/>
                </a:cubicBezTo>
                <a:close/>
                <a:moveTo>
                  <a:pt x="309" y="213"/>
                </a:moveTo>
                <a:cubicBezTo>
                  <a:pt x="309" y="184"/>
                  <a:pt x="285" y="160"/>
                  <a:pt x="256" y="160"/>
                </a:cubicBezTo>
                <a:cubicBezTo>
                  <a:pt x="226" y="160"/>
                  <a:pt x="202" y="184"/>
                  <a:pt x="202" y="213"/>
                </a:cubicBezTo>
                <a:cubicBezTo>
                  <a:pt x="202" y="242"/>
                  <a:pt x="226" y="266"/>
                  <a:pt x="256" y="266"/>
                </a:cubicBezTo>
                <a:cubicBezTo>
                  <a:pt x="285" y="266"/>
                  <a:pt x="309" y="242"/>
                  <a:pt x="309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148"/>
                  <a:pt x="32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5" y="96"/>
                  <a:pt x="255" y="96"/>
                </a:cubicBezTo>
                <a:cubicBezTo>
                  <a:pt x="191" y="96"/>
                  <a:pt x="138" y="148"/>
                  <a:pt x="138" y="213"/>
                </a:cubicBezTo>
                <a:cubicBezTo>
                  <a:pt x="138" y="235"/>
                  <a:pt x="143" y="252"/>
                  <a:pt x="155" y="272"/>
                </a:cubicBezTo>
                <a:cubicBezTo>
                  <a:pt x="247" y="411"/>
                  <a:pt x="247" y="411"/>
                  <a:pt x="247" y="411"/>
                </a:cubicBezTo>
                <a:cubicBezTo>
                  <a:pt x="249" y="414"/>
                  <a:pt x="252" y="416"/>
                  <a:pt x="255" y="416"/>
                </a:cubicBezTo>
                <a:cubicBezTo>
                  <a:pt x="255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9" y="416"/>
                  <a:pt x="263" y="414"/>
                  <a:pt x="265" y="411"/>
                </a:cubicBezTo>
                <a:cubicBezTo>
                  <a:pt x="357" y="272"/>
                  <a:pt x="357" y="272"/>
                  <a:pt x="357" y="272"/>
                </a:cubicBezTo>
                <a:cubicBezTo>
                  <a:pt x="368" y="252"/>
                  <a:pt x="373" y="235"/>
                  <a:pt x="373" y="21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18" name="Group 977"/>
          <p:cNvGrpSpPr>
            <a:grpSpLocks noChangeAspect="1"/>
          </p:cNvGrpSpPr>
          <p:nvPr/>
        </p:nvGrpSpPr>
        <p:grpSpPr bwMode="auto">
          <a:xfrm>
            <a:off x="4917146" y="2051054"/>
            <a:ext cx="367041" cy="367041"/>
            <a:chOff x="1925" y="3985"/>
            <a:chExt cx="340" cy="340"/>
          </a:xfrm>
          <a:solidFill>
            <a:schemeClr val="accent5"/>
          </a:solidFill>
        </p:grpSpPr>
        <p:sp>
          <p:nvSpPr>
            <p:cNvPr id="719" name="Freeform 978"/>
            <p:cNvSpPr>
              <a:spLocks noEditPoints="1"/>
            </p:cNvSpPr>
            <p:nvPr/>
          </p:nvSpPr>
          <p:spPr bwMode="auto">
            <a:xfrm>
              <a:off x="2017" y="4049"/>
              <a:ext cx="156" cy="212"/>
            </a:xfrm>
            <a:custGeom>
              <a:avLst/>
              <a:gdLst>
                <a:gd name="T0" fmla="*/ 118 w 235"/>
                <a:gd name="T1" fmla="*/ 0 h 320"/>
                <a:gd name="T2" fmla="*/ 118 w 235"/>
                <a:gd name="T3" fmla="*/ 0 h 320"/>
                <a:gd name="T4" fmla="*/ 117 w 235"/>
                <a:gd name="T5" fmla="*/ 0 h 320"/>
                <a:gd name="T6" fmla="*/ 0 w 235"/>
                <a:gd name="T7" fmla="*/ 117 h 320"/>
                <a:gd name="T8" fmla="*/ 17 w 235"/>
                <a:gd name="T9" fmla="*/ 176 h 320"/>
                <a:gd name="T10" fmla="*/ 109 w 235"/>
                <a:gd name="T11" fmla="*/ 315 h 320"/>
                <a:gd name="T12" fmla="*/ 117 w 235"/>
                <a:gd name="T13" fmla="*/ 320 h 320"/>
                <a:gd name="T14" fmla="*/ 118 w 235"/>
                <a:gd name="T15" fmla="*/ 320 h 320"/>
                <a:gd name="T16" fmla="*/ 118 w 235"/>
                <a:gd name="T17" fmla="*/ 320 h 320"/>
                <a:gd name="T18" fmla="*/ 127 w 235"/>
                <a:gd name="T19" fmla="*/ 315 h 320"/>
                <a:gd name="T20" fmla="*/ 219 w 235"/>
                <a:gd name="T21" fmla="*/ 176 h 320"/>
                <a:gd name="T22" fmla="*/ 235 w 235"/>
                <a:gd name="T23" fmla="*/ 117 h 320"/>
                <a:gd name="T24" fmla="*/ 118 w 235"/>
                <a:gd name="T25" fmla="*/ 0 h 320"/>
                <a:gd name="T26" fmla="*/ 201 w 235"/>
                <a:gd name="T27" fmla="*/ 164 h 320"/>
                <a:gd name="T28" fmla="*/ 118 w 235"/>
                <a:gd name="T29" fmla="*/ 290 h 320"/>
                <a:gd name="T30" fmla="*/ 35 w 235"/>
                <a:gd name="T31" fmla="*/ 165 h 320"/>
                <a:gd name="T32" fmla="*/ 22 w 235"/>
                <a:gd name="T33" fmla="*/ 117 h 320"/>
                <a:gd name="T34" fmla="*/ 117 w 235"/>
                <a:gd name="T35" fmla="*/ 21 h 320"/>
                <a:gd name="T36" fmla="*/ 118 w 235"/>
                <a:gd name="T37" fmla="*/ 21 h 320"/>
                <a:gd name="T38" fmla="*/ 118 w 235"/>
                <a:gd name="T39" fmla="*/ 21 h 320"/>
                <a:gd name="T40" fmla="*/ 213 w 235"/>
                <a:gd name="T41" fmla="*/ 117 h 320"/>
                <a:gd name="T42" fmla="*/ 201 w 235"/>
                <a:gd name="T43" fmla="*/ 1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20">
                  <a:moveTo>
                    <a:pt x="118" y="0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53" y="0"/>
                    <a:pt x="0" y="52"/>
                    <a:pt x="0" y="117"/>
                  </a:cubicBezTo>
                  <a:cubicBezTo>
                    <a:pt x="0" y="139"/>
                    <a:pt x="5" y="156"/>
                    <a:pt x="17" y="176"/>
                  </a:cubicBezTo>
                  <a:cubicBezTo>
                    <a:pt x="109" y="315"/>
                    <a:pt x="109" y="315"/>
                    <a:pt x="109" y="315"/>
                  </a:cubicBezTo>
                  <a:cubicBezTo>
                    <a:pt x="111" y="318"/>
                    <a:pt x="114" y="320"/>
                    <a:pt x="117" y="320"/>
                  </a:cubicBezTo>
                  <a:cubicBezTo>
                    <a:pt x="117" y="320"/>
                    <a:pt x="118" y="320"/>
                    <a:pt x="118" y="320"/>
                  </a:cubicBezTo>
                  <a:cubicBezTo>
                    <a:pt x="118" y="320"/>
                    <a:pt x="118" y="320"/>
                    <a:pt x="118" y="320"/>
                  </a:cubicBezTo>
                  <a:cubicBezTo>
                    <a:pt x="121" y="320"/>
                    <a:pt x="125" y="318"/>
                    <a:pt x="127" y="315"/>
                  </a:cubicBezTo>
                  <a:cubicBezTo>
                    <a:pt x="219" y="176"/>
                    <a:pt x="219" y="176"/>
                    <a:pt x="219" y="176"/>
                  </a:cubicBezTo>
                  <a:cubicBezTo>
                    <a:pt x="230" y="156"/>
                    <a:pt x="235" y="139"/>
                    <a:pt x="235" y="117"/>
                  </a:cubicBezTo>
                  <a:cubicBezTo>
                    <a:pt x="235" y="52"/>
                    <a:pt x="182" y="0"/>
                    <a:pt x="118" y="0"/>
                  </a:cubicBezTo>
                  <a:close/>
                  <a:moveTo>
                    <a:pt x="201" y="164"/>
                  </a:moveTo>
                  <a:cubicBezTo>
                    <a:pt x="118" y="290"/>
                    <a:pt x="118" y="290"/>
                    <a:pt x="118" y="290"/>
                  </a:cubicBezTo>
                  <a:cubicBezTo>
                    <a:pt x="35" y="165"/>
                    <a:pt x="35" y="165"/>
                    <a:pt x="35" y="165"/>
                  </a:cubicBezTo>
                  <a:cubicBezTo>
                    <a:pt x="25" y="149"/>
                    <a:pt x="22" y="135"/>
                    <a:pt x="22" y="117"/>
                  </a:cubicBezTo>
                  <a:cubicBezTo>
                    <a:pt x="22" y="64"/>
                    <a:pt x="65" y="21"/>
                    <a:pt x="117" y="21"/>
                  </a:cubicBezTo>
                  <a:cubicBezTo>
                    <a:pt x="117" y="21"/>
                    <a:pt x="118" y="21"/>
                    <a:pt x="118" y="21"/>
                  </a:cubicBezTo>
                  <a:cubicBezTo>
                    <a:pt x="118" y="21"/>
                    <a:pt x="118" y="21"/>
                    <a:pt x="118" y="21"/>
                  </a:cubicBezTo>
                  <a:cubicBezTo>
                    <a:pt x="170" y="21"/>
                    <a:pt x="213" y="64"/>
                    <a:pt x="213" y="117"/>
                  </a:cubicBezTo>
                  <a:cubicBezTo>
                    <a:pt x="213" y="135"/>
                    <a:pt x="210" y="149"/>
                    <a:pt x="20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0" name="Freeform 979"/>
            <p:cNvSpPr>
              <a:spLocks noEditPoints="1"/>
            </p:cNvSpPr>
            <p:nvPr/>
          </p:nvSpPr>
          <p:spPr bwMode="auto">
            <a:xfrm>
              <a:off x="2059" y="4091"/>
              <a:ext cx="71" cy="71"/>
            </a:xfrm>
            <a:custGeom>
              <a:avLst/>
              <a:gdLst>
                <a:gd name="T0" fmla="*/ 54 w 107"/>
                <a:gd name="T1" fmla="*/ 0 h 106"/>
                <a:gd name="T2" fmla="*/ 0 w 107"/>
                <a:gd name="T3" fmla="*/ 53 h 106"/>
                <a:gd name="T4" fmla="*/ 54 w 107"/>
                <a:gd name="T5" fmla="*/ 106 h 106"/>
                <a:gd name="T6" fmla="*/ 107 w 107"/>
                <a:gd name="T7" fmla="*/ 53 h 106"/>
                <a:gd name="T8" fmla="*/ 54 w 107"/>
                <a:gd name="T9" fmla="*/ 0 h 106"/>
                <a:gd name="T10" fmla="*/ 54 w 107"/>
                <a:gd name="T11" fmla="*/ 85 h 106"/>
                <a:gd name="T12" fmla="*/ 22 w 107"/>
                <a:gd name="T13" fmla="*/ 53 h 106"/>
                <a:gd name="T14" fmla="*/ 54 w 107"/>
                <a:gd name="T15" fmla="*/ 21 h 106"/>
                <a:gd name="T16" fmla="*/ 86 w 107"/>
                <a:gd name="T17" fmla="*/ 53 h 106"/>
                <a:gd name="T18" fmla="*/ 54 w 107"/>
                <a:gd name="T19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4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4" y="106"/>
                  </a:cubicBez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5"/>
                    <a:pt x="36" y="21"/>
                    <a:pt x="54" y="21"/>
                  </a:cubicBezTo>
                  <a:cubicBezTo>
                    <a:pt x="71" y="21"/>
                    <a:pt x="86" y="35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1" name="Freeform 980"/>
            <p:cNvSpPr>
              <a:spLocks noEditPoints="1"/>
            </p:cNvSpPr>
            <p:nvPr/>
          </p:nvSpPr>
          <p:spPr bwMode="auto">
            <a:xfrm>
              <a:off x="1925" y="39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22" name="Freeform 603"/>
          <p:cNvSpPr>
            <a:spLocks noChangeAspect="1" noEditPoints="1"/>
          </p:cNvSpPr>
          <p:nvPr/>
        </p:nvSpPr>
        <p:spPr bwMode="auto">
          <a:xfrm>
            <a:off x="5413185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362 h 512"/>
              <a:gd name="T12" fmla="*/ 106 w 512"/>
              <a:gd name="T13" fmla="*/ 362 h 512"/>
              <a:gd name="T14" fmla="*/ 96 w 512"/>
              <a:gd name="T15" fmla="*/ 352 h 512"/>
              <a:gd name="T16" fmla="*/ 106 w 512"/>
              <a:gd name="T17" fmla="*/ 341 h 512"/>
              <a:gd name="T18" fmla="*/ 405 w 512"/>
              <a:gd name="T19" fmla="*/ 341 h 512"/>
              <a:gd name="T20" fmla="*/ 416 w 512"/>
              <a:gd name="T21" fmla="*/ 352 h 512"/>
              <a:gd name="T22" fmla="*/ 405 w 512"/>
              <a:gd name="T23" fmla="*/ 362 h 512"/>
              <a:gd name="T24" fmla="*/ 405 w 512"/>
              <a:gd name="T25" fmla="*/ 298 h 512"/>
              <a:gd name="T26" fmla="*/ 106 w 512"/>
              <a:gd name="T27" fmla="*/ 298 h 512"/>
              <a:gd name="T28" fmla="*/ 96 w 512"/>
              <a:gd name="T29" fmla="*/ 288 h 512"/>
              <a:gd name="T30" fmla="*/ 106 w 512"/>
              <a:gd name="T31" fmla="*/ 277 h 512"/>
              <a:gd name="T32" fmla="*/ 405 w 512"/>
              <a:gd name="T33" fmla="*/ 277 h 512"/>
              <a:gd name="T34" fmla="*/ 416 w 512"/>
              <a:gd name="T35" fmla="*/ 288 h 512"/>
              <a:gd name="T36" fmla="*/ 405 w 512"/>
              <a:gd name="T37" fmla="*/ 298 h 512"/>
              <a:gd name="T38" fmla="*/ 405 w 512"/>
              <a:gd name="T39" fmla="*/ 234 h 512"/>
              <a:gd name="T40" fmla="*/ 106 w 512"/>
              <a:gd name="T41" fmla="*/ 234 h 512"/>
              <a:gd name="T42" fmla="*/ 96 w 512"/>
              <a:gd name="T43" fmla="*/ 224 h 512"/>
              <a:gd name="T44" fmla="*/ 106 w 512"/>
              <a:gd name="T45" fmla="*/ 213 h 512"/>
              <a:gd name="T46" fmla="*/ 405 w 512"/>
              <a:gd name="T47" fmla="*/ 213 h 512"/>
              <a:gd name="T48" fmla="*/ 416 w 512"/>
              <a:gd name="T49" fmla="*/ 224 h 512"/>
              <a:gd name="T50" fmla="*/ 405 w 512"/>
              <a:gd name="T51" fmla="*/ 234 h 512"/>
              <a:gd name="T52" fmla="*/ 405 w 512"/>
              <a:gd name="T53" fmla="*/ 170 h 512"/>
              <a:gd name="T54" fmla="*/ 106 w 512"/>
              <a:gd name="T55" fmla="*/ 170 h 512"/>
              <a:gd name="T56" fmla="*/ 96 w 512"/>
              <a:gd name="T57" fmla="*/ 160 h 512"/>
              <a:gd name="T58" fmla="*/ 106 w 512"/>
              <a:gd name="T59" fmla="*/ 149 h 512"/>
              <a:gd name="T60" fmla="*/ 405 w 512"/>
              <a:gd name="T61" fmla="*/ 149 h 512"/>
              <a:gd name="T62" fmla="*/ 416 w 512"/>
              <a:gd name="T63" fmla="*/ 160 h 512"/>
              <a:gd name="T64" fmla="*/ 405 w 512"/>
              <a:gd name="T65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362"/>
                </a:moveTo>
                <a:cubicBezTo>
                  <a:pt x="106" y="362"/>
                  <a:pt x="106" y="362"/>
                  <a:pt x="106" y="362"/>
                </a:cubicBezTo>
                <a:cubicBezTo>
                  <a:pt x="100" y="362"/>
                  <a:pt x="96" y="358"/>
                  <a:pt x="96" y="352"/>
                </a:cubicBezTo>
                <a:cubicBezTo>
                  <a:pt x="96" y="346"/>
                  <a:pt x="100" y="341"/>
                  <a:pt x="106" y="341"/>
                </a:cubicBezTo>
                <a:cubicBezTo>
                  <a:pt x="405" y="341"/>
                  <a:pt x="405" y="341"/>
                  <a:pt x="405" y="341"/>
                </a:cubicBezTo>
                <a:cubicBezTo>
                  <a:pt x="411" y="341"/>
                  <a:pt x="416" y="346"/>
                  <a:pt x="416" y="352"/>
                </a:cubicBezTo>
                <a:cubicBezTo>
                  <a:pt x="416" y="358"/>
                  <a:pt x="411" y="362"/>
                  <a:pt x="405" y="362"/>
                </a:cubicBezTo>
                <a:close/>
                <a:moveTo>
                  <a:pt x="405" y="298"/>
                </a:moveTo>
                <a:cubicBezTo>
                  <a:pt x="106" y="298"/>
                  <a:pt x="106" y="298"/>
                  <a:pt x="106" y="298"/>
                </a:cubicBezTo>
                <a:cubicBezTo>
                  <a:pt x="100" y="298"/>
                  <a:pt x="96" y="294"/>
                  <a:pt x="96" y="288"/>
                </a:cubicBezTo>
                <a:cubicBezTo>
                  <a:pt x="96" y="282"/>
                  <a:pt x="100" y="277"/>
                  <a:pt x="106" y="277"/>
                </a:cubicBezTo>
                <a:cubicBezTo>
                  <a:pt x="405" y="277"/>
                  <a:pt x="405" y="277"/>
                  <a:pt x="405" y="277"/>
                </a:cubicBezTo>
                <a:cubicBezTo>
                  <a:pt x="411" y="277"/>
                  <a:pt x="416" y="282"/>
                  <a:pt x="416" y="288"/>
                </a:cubicBezTo>
                <a:cubicBezTo>
                  <a:pt x="416" y="294"/>
                  <a:pt x="411" y="298"/>
                  <a:pt x="405" y="298"/>
                </a:cubicBezTo>
                <a:close/>
                <a:moveTo>
                  <a:pt x="405" y="234"/>
                </a:moveTo>
                <a:cubicBezTo>
                  <a:pt x="106" y="234"/>
                  <a:pt x="106" y="234"/>
                  <a:pt x="106" y="234"/>
                </a:cubicBezTo>
                <a:cubicBezTo>
                  <a:pt x="100" y="234"/>
                  <a:pt x="96" y="230"/>
                  <a:pt x="96" y="224"/>
                </a:cubicBezTo>
                <a:cubicBezTo>
                  <a:pt x="96" y="218"/>
                  <a:pt x="100" y="213"/>
                  <a:pt x="106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cubicBezTo>
                  <a:pt x="416" y="230"/>
                  <a:pt x="411" y="234"/>
                  <a:pt x="405" y="234"/>
                </a:cubicBezTo>
                <a:close/>
                <a:moveTo>
                  <a:pt x="405" y="170"/>
                </a:move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cubicBezTo>
                  <a:pt x="416" y="166"/>
                  <a:pt x="411" y="170"/>
                  <a:pt x="405" y="1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3" name="Freeform 607"/>
          <p:cNvSpPr>
            <a:spLocks noChangeAspect="1" noEditPoints="1"/>
          </p:cNvSpPr>
          <p:nvPr/>
        </p:nvSpPr>
        <p:spPr bwMode="auto">
          <a:xfrm>
            <a:off x="5909224" y="2051054"/>
            <a:ext cx="367041" cy="36704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5 w 512"/>
              <a:gd name="T21" fmla="*/ 170 h 512"/>
              <a:gd name="T22" fmla="*/ 106 w 512"/>
              <a:gd name="T23" fmla="*/ 170 h 512"/>
              <a:gd name="T24" fmla="*/ 96 w 512"/>
              <a:gd name="T25" fmla="*/ 160 h 512"/>
              <a:gd name="T26" fmla="*/ 106 w 512"/>
              <a:gd name="T27" fmla="*/ 149 h 512"/>
              <a:gd name="T28" fmla="*/ 405 w 512"/>
              <a:gd name="T29" fmla="*/ 149 h 512"/>
              <a:gd name="T30" fmla="*/ 416 w 512"/>
              <a:gd name="T31" fmla="*/ 160 h 512"/>
              <a:gd name="T32" fmla="*/ 405 w 512"/>
              <a:gd name="T33" fmla="*/ 170 h 512"/>
              <a:gd name="T34" fmla="*/ 416 w 512"/>
              <a:gd name="T35" fmla="*/ 224 h 512"/>
              <a:gd name="T36" fmla="*/ 405 w 512"/>
              <a:gd name="T37" fmla="*/ 213 h 512"/>
              <a:gd name="T38" fmla="*/ 106 w 512"/>
              <a:gd name="T39" fmla="*/ 213 h 512"/>
              <a:gd name="T40" fmla="*/ 96 w 512"/>
              <a:gd name="T41" fmla="*/ 224 h 512"/>
              <a:gd name="T42" fmla="*/ 106 w 512"/>
              <a:gd name="T43" fmla="*/ 234 h 512"/>
              <a:gd name="T44" fmla="*/ 405 w 512"/>
              <a:gd name="T45" fmla="*/ 234 h 512"/>
              <a:gd name="T46" fmla="*/ 416 w 512"/>
              <a:gd name="T47" fmla="*/ 224 h 512"/>
              <a:gd name="T48" fmla="*/ 416 w 512"/>
              <a:gd name="T49" fmla="*/ 288 h 512"/>
              <a:gd name="T50" fmla="*/ 405 w 512"/>
              <a:gd name="T51" fmla="*/ 277 h 512"/>
              <a:gd name="T52" fmla="*/ 106 w 512"/>
              <a:gd name="T53" fmla="*/ 277 h 512"/>
              <a:gd name="T54" fmla="*/ 96 w 512"/>
              <a:gd name="T55" fmla="*/ 288 h 512"/>
              <a:gd name="T56" fmla="*/ 106 w 512"/>
              <a:gd name="T57" fmla="*/ 298 h 512"/>
              <a:gd name="T58" fmla="*/ 405 w 512"/>
              <a:gd name="T59" fmla="*/ 298 h 512"/>
              <a:gd name="T60" fmla="*/ 416 w 512"/>
              <a:gd name="T61" fmla="*/ 288 h 512"/>
              <a:gd name="T62" fmla="*/ 416 w 512"/>
              <a:gd name="T63" fmla="*/ 352 h 512"/>
              <a:gd name="T64" fmla="*/ 405 w 512"/>
              <a:gd name="T65" fmla="*/ 341 h 512"/>
              <a:gd name="T66" fmla="*/ 106 w 512"/>
              <a:gd name="T67" fmla="*/ 341 h 512"/>
              <a:gd name="T68" fmla="*/ 96 w 512"/>
              <a:gd name="T69" fmla="*/ 352 h 512"/>
              <a:gd name="T70" fmla="*/ 106 w 512"/>
              <a:gd name="T71" fmla="*/ 362 h 512"/>
              <a:gd name="T72" fmla="*/ 405 w 512"/>
              <a:gd name="T73" fmla="*/ 362 h 512"/>
              <a:gd name="T74" fmla="*/ 416 w 512"/>
              <a:gd name="T75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170"/>
                </a:move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cubicBezTo>
                  <a:pt x="416" y="166"/>
                  <a:pt x="411" y="170"/>
                  <a:pt x="405" y="170"/>
                </a:cubicBezTo>
                <a:close/>
                <a:moveTo>
                  <a:pt x="416" y="224"/>
                </a:moveTo>
                <a:cubicBezTo>
                  <a:pt x="416" y="218"/>
                  <a:pt x="411" y="213"/>
                  <a:pt x="405" y="213"/>
                </a:cubicBezTo>
                <a:cubicBezTo>
                  <a:pt x="106" y="213"/>
                  <a:pt x="106" y="213"/>
                  <a:pt x="106" y="213"/>
                </a:cubicBezTo>
                <a:cubicBezTo>
                  <a:pt x="100" y="213"/>
                  <a:pt x="96" y="218"/>
                  <a:pt x="96" y="224"/>
                </a:cubicBezTo>
                <a:cubicBezTo>
                  <a:pt x="96" y="230"/>
                  <a:pt x="100" y="234"/>
                  <a:pt x="106" y="234"/>
                </a:cubicBezTo>
                <a:cubicBezTo>
                  <a:pt x="405" y="234"/>
                  <a:pt x="405" y="234"/>
                  <a:pt x="405" y="234"/>
                </a:cubicBezTo>
                <a:cubicBezTo>
                  <a:pt x="411" y="234"/>
                  <a:pt x="416" y="230"/>
                  <a:pt x="416" y="224"/>
                </a:cubicBezTo>
                <a:close/>
                <a:moveTo>
                  <a:pt x="416" y="288"/>
                </a:moveTo>
                <a:cubicBezTo>
                  <a:pt x="416" y="282"/>
                  <a:pt x="411" y="277"/>
                  <a:pt x="405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82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  <a:moveTo>
                  <a:pt x="416" y="352"/>
                </a:moveTo>
                <a:cubicBezTo>
                  <a:pt x="416" y="346"/>
                  <a:pt x="411" y="341"/>
                  <a:pt x="405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46"/>
                  <a:pt x="96" y="352"/>
                </a:cubicBezTo>
                <a:cubicBezTo>
                  <a:pt x="96" y="358"/>
                  <a:pt x="100" y="362"/>
                  <a:pt x="106" y="362"/>
                </a:cubicBezTo>
                <a:cubicBezTo>
                  <a:pt x="405" y="362"/>
                  <a:pt x="405" y="362"/>
                  <a:pt x="405" y="362"/>
                </a:cubicBezTo>
                <a:cubicBezTo>
                  <a:pt x="411" y="362"/>
                  <a:pt x="416" y="358"/>
                  <a:pt x="416" y="3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6" name="Freeform 611"/>
          <p:cNvSpPr>
            <a:spLocks noChangeAspect="1" noEditPoints="1"/>
          </p:cNvSpPr>
          <p:nvPr/>
        </p:nvSpPr>
        <p:spPr bwMode="auto">
          <a:xfrm>
            <a:off x="9390911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49 w 512"/>
              <a:gd name="T11" fmla="*/ 362 h 512"/>
              <a:gd name="T12" fmla="*/ 128 w 512"/>
              <a:gd name="T13" fmla="*/ 362 h 512"/>
              <a:gd name="T14" fmla="*/ 117 w 512"/>
              <a:gd name="T15" fmla="*/ 352 h 512"/>
              <a:gd name="T16" fmla="*/ 128 w 512"/>
              <a:gd name="T17" fmla="*/ 341 h 512"/>
              <a:gd name="T18" fmla="*/ 149 w 512"/>
              <a:gd name="T19" fmla="*/ 341 h 512"/>
              <a:gd name="T20" fmla="*/ 160 w 512"/>
              <a:gd name="T21" fmla="*/ 352 h 512"/>
              <a:gd name="T22" fmla="*/ 149 w 512"/>
              <a:gd name="T23" fmla="*/ 362 h 512"/>
              <a:gd name="T24" fmla="*/ 149 w 512"/>
              <a:gd name="T25" fmla="*/ 298 h 512"/>
              <a:gd name="T26" fmla="*/ 128 w 512"/>
              <a:gd name="T27" fmla="*/ 298 h 512"/>
              <a:gd name="T28" fmla="*/ 117 w 512"/>
              <a:gd name="T29" fmla="*/ 288 h 512"/>
              <a:gd name="T30" fmla="*/ 128 w 512"/>
              <a:gd name="T31" fmla="*/ 277 h 512"/>
              <a:gd name="T32" fmla="*/ 149 w 512"/>
              <a:gd name="T33" fmla="*/ 277 h 512"/>
              <a:gd name="T34" fmla="*/ 160 w 512"/>
              <a:gd name="T35" fmla="*/ 288 h 512"/>
              <a:gd name="T36" fmla="*/ 149 w 512"/>
              <a:gd name="T37" fmla="*/ 298 h 512"/>
              <a:gd name="T38" fmla="*/ 149 w 512"/>
              <a:gd name="T39" fmla="*/ 234 h 512"/>
              <a:gd name="T40" fmla="*/ 128 w 512"/>
              <a:gd name="T41" fmla="*/ 234 h 512"/>
              <a:gd name="T42" fmla="*/ 117 w 512"/>
              <a:gd name="T43" fmla="*/ 224 h 512"/>
              <a:gd name="T44" fmla="*/ 128 w 512"/>
              <a:gd name="T45" fmla="*/ 213 h 512"/>
              <a:gd name="T46" fmla="*/ 149 w 512"/>
              <a:gd name="T47" fmla="*/ 213 h 512"/>
              <a:gd name="T48" fmla="*/ 160 w 512"/>
              <a:gd name="T49" fmla="*/ 224 h 512"/>
              <a:gd name="T50" fmla="*/ 149 w 512"/>
              <a:gd name="T51" fmla="*/ 234 h 512"/>
              <a:gd name="T52" fmla="*/ 149 w 512"/>
              <a:gd name="T53" fmla="*/ 170 h 512"/>
              <a:gd name="T54" fmla="*/ 128 w 512"/>
              <a:gd name="T55" fmla="*/ 170 h 512"/>
              <a:gd name="T56" fmla="*/ 117 w 512"/>
              <a:gd name="T57" fmla="*/ 160 h 512"/>
              <a:gd name="T58" fmla="*/ 128 w 512"/>
              <a:gd name="T59" fmla="*/ 149 h 512"/>
              <a:gd name="T60" fmla="*/ 149 w 512"/>
              <a:gd name="T61" fmla="*/ 149 h 512"/>
              <a:gd name="T62" fmla="*/ 160 w 512"/>
              <a:gd name="T63" fmla="*/ 160 h 512"/>
              <a:gd name="T64" fmla="*/ 149 w 512"/>
              <a:gd name="T65" fmla="*/ 170 h 512"/>
              <a:gd name="T66" fmla="*/ 384 w 512"/>
              <a:gd name="T67" fmla="*/ 362 h 512"/>
              <a:gd name="T68" fmla="*/ 202 w 512"/>
              <a:gd name="T69" fmla="*/ 362 h 512"/>
              <a:gd name="T70" fmla="*/ 192 w 512"/>
              <a:gd name="T71" fmla="*/ 352 h 512"/>
              <a:gd name="T72" fmla="*/ 202 w 512"/>
              <a:gd name="T73" fmla="*/ 341 h 512"/>
              <a:gd name="T74" fmla="*/ 384 w 512"/>
              <a:gd name="T75" fmla="*/ 341 h 512"/>
              <a:gd name="T76" fmla="*/ 394 w 512"/>
              <a:gd name="T77" fmla="*/ 352 h 512"/>
              <a:gd name="T78" fmla="*/ 384 w 512"/>
              <a:gd name="T79" fmla="*/ 362 h 512"/>
              <a:gd name="T80" fmla="*/ 384 w 512"/>
              <a:gd name="T81" fmla="*/ 298 h 512"/>
              <a:gd name="T82" fmla="*/ 202 w 512"/>
              <a:gd name="T83" fmla="*/ 298 h 512"/>
              <a:gd name="T84" fmla="*/ 192 w 512"/>
              <a:gd name="T85" fmla="*/ 288 h 512"/>
              <a:gd name="T86" fmla="*/ 202 w 512"/>
              <a:gd name="T87" fmla="*/ 277 h 512"/>
              <a:gd name="T88" fmla="*/ 384 w 512"/>
              <a:gd name="T89" fmla="*/ 277 h 512"/>
              <a:gd name="T90" fmla="*/ 394 w 512"/>
              <a:gd name="T91" fmla="*/ 288 h 512"/>
              <a:gd name="T92" fmla="*/ 384 w 512"/>
              <a:gd name="T93" fmla="*/ 298 h 512"/>
              <a:gd name="T94" fmla="*/ 384 w 512"/>
              <a:gd name="T95" fmla="*/ 234 h 512"/>
              <a:gd name="T96" fmla="*/ 202 w 512"/>
              <a:gd name="T97" fmla="*/ 234 h 512"/>
              <a:gd name="T98" fmla="*/ 192 w 512"/>
              <a:gd name="T99" fmla="*/ 224 h 512"/>
              <a:gd name="T100" fmla="*/ 202 w 512"/>
              <a:gd name="T101" fmla="*/ 213 h 512"/>
              <a:gd name="T102" fmla="*/ 384 w 512"/>
              <a:gd name="T103" fmla="*/ 213 h 512"/>
              <a:gd name="T104" fmla="*/ 394 w 512"/>
              <a:gd name="T105" fmla="*/ 224 h 512"/>
              <a:gd name="T106" fmla="*/ 384 w 512"/>
              <a:gd name="T107" fmla="*/ 234 h 512"/>
              <a:gd name="T108" fmla="*/ 384 w 512"/>
              <a:gd name="T109" fmla="*/ 170 h 512"/>
              <a:gd name="T110" fmla="*/ 202 w 512"/>
              <a:gd name="T111" fmla="*/ 170 h 512"/>
              <a:gd name="T112" fmla="*/ 192 w 512"/>
              <a:gd name="T113" fmla="*/ 160 h 512"/>
              <a:gd name="T114" fmla="*/ 202 w 512"/>
              <a:gd name="T115" fmla="*/ 149 h 512"/>
              <a:gd name="T116" fmla="*/ 384 w 512"/>
              <a:gd name="T117" fmla="*/ 149 h 512"/>
              <a:gd name="T118" fmla="*/ 394 w 512"/>
              <a:gd name="T119" fmla="*/ 160 h 512"/>
              <a:gd name="T120" fmla="*/ 384 w 512"/>
              <a:gd name="T121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49" y="362"/>
                </a:moveTo>
                <a:cubicBezTo>
                  <a:pt x="128" y="362"/>
                  <a:pt x="128" y="362"/>
                  <a:pt x="128" y="362"/>
                </a:cubicBezTo>
                <a:cubicBezTo>
                  <a:pt x="122" y="362"/>
                  <a:pt x="117" y="358"/>
                  <a:pt x="117" y="352"/>
                </a:cubicBezTo>
                <a:cubicBezTo>
                  <a:pt x="117" y="346"/>
                  <a:pt x="122" y="341"/>
                  <a:pt x="128" y="341"/>
                </a:cubicBezTo>
                <a:cubicBezTo>
                  <a:pt x="149" y="341"/>
                  <a:pt x="149" y="341"/>
                  <a:pt x="149" y="341"/>
                </a:cubicBezTo>
                <a:cubicBezTo>
                  <a:pt x="155" y="341"/>
                  <a:pt x="160" y="346"/>
                  <a:pt x="160" y="352"/>
                </a:cubicBezTo>
                <a:cubicBezTo>
                  <a:pt x="160" y="358"/>
                  <a:pt x="155" y="362"/>
                  <a:pt x="149" y="362"/>
                </a:cubicBezTo>
                <a:close/>
                <a:moveTo>
                  <a:pt x="149" y="298"/>
                </a:moveTo>
                <a:cubicBezTo>
                  <a:pt x="128" y="298"/>
                  <a:pt x="128" y="298"/>
                  <a:pt x="128" y="298"/>
                </a:cubicBezTo>
                <a:cubicBezTo>
                  <a:pt x="122" y="298"/>
                  <a:pt x="117" y="294"/>
                  <a:pt x="117" y="288"/>
                </a:cubicBezTo>
                <a:cubicBezTo>
                  <a:pt x="117" y="282"/>
                  <a:pt x="122" y="277"/>
                  <a:pt x="128" y="277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55" y="277"/>
                  <a:pt x="160" y="282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lose/>
                <a:moveTo>
                  <a:pt x="149" y="234"/>
                </a:moveTo>
                <a:cubicBezTo>
                  <a:pt x="128" y="234"/>
                  <a:pt x="128" y="234"/>
                  <a:pt x="128" y="234"/>
                </a:cubicBezTo>
                <a:cubicBezTo>
                  <a:pt x="122" y="234"/>
                  <a:pt x="117" y="230"/>
                  <a:pt x="117" y="224"/>
                </a:cubicBezTo>
                <a:cubicBezTo>
                  <a:pt x="117" y="218"/>
                  <a:pt x="122" y="213"/>
                  <a:pt x="128" y="213"/>
                </a:cubicBezTo>
                <a:cubicBezTo>
                  <a:pt x="149" y="213"/>
                  <a:pt x="149" y="213"/>
                  <a:pt x="149" y="213"/>
                </a:cubicBezTo>
                <a:cubicBezTo>
                  <a:pt x="155" y="213"/>
                  <a:pt x="160" y="218"/>
                  <a:pt x="160" y="224"/>
                </a:cubicBezTo>
                <a:cubicBezTo>
                  <a:pt x="160" y="230"/>
                  <a:pt x="155" y="234"/>
                  <a:pt x="149" y="234"/>
                </a:cubicBezTo>
                <a:close/>
                <a:moveTo>
                  <a:pt x="149" y="170"/>
                </a:moveTo>
                <a:cubicBezTo>
                  <a:pt x="128" y="170"/>
                  <a:pt x="128" y="170"/>
                  <a:pt x="128" y="170"/>
                </a:cubicBezTo>
                <a:cubicBezTo>
                  <a:pt x="122" y="170"/>
                  <a:pt x="117" y="166"/>
                  <a:pt x="117" y="160"/>
                </a:cubicBezTo>
                <a:cubicBezTo>
                  <a:pt x="117" y="154"/>
                  <a:pt x="122" y="149"/>
                  <a:pt x="128" y="149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55" y="149"/>
                  <a:pt x="160" y="154"/>
                  <a:pt x="160" y="160"/>
                </a:cubicBezTo>
                <a:cubicBezTo>
                  <a:pt x="160" y="166"/>
                  <a:pt x="155" y="170"/>
                  <a:pt x="149" y="170"/>
                </a:cubicBezTo>
                <a:close/>
                <a:moveTo>
                  <a:pt x="384" y="362"/>
                </a:moveTo>
                <a:cubicBezTo>
                  <a:pt x="202" y="362"/>
                  <a:pt x="202" y="362"/>
                  <a:pt x="202" y="362"/>
                </a:cubicBezTo>
                <a:cubicBezTo>
                  <a:pt x="196" y="362"/>
                  <a:pt x="192" y="358"/>
                  <a:pt x="192" y="352"/>
                </a:cubicBezTo>
                <a:cubicBezTo>
                  <a:pt x="192" y="346"/>
                  <a:pt x="196" y="341"/>
                  <a:pt x="202" y="341"/>
                </a:cubicBezTo>
                <a:cubicBezTo>
                  <a:pt x="384" y="341"/>
                  <a:pt x="384" y="341"/>
                  <a:pt x="384" y="341"/>
                </a:cubicBezTo>
                <a:cubicBezTo>
                  <a:pt x="390" y="341"/>
                  <a:pt x="394" y="346"/>
                  <a:pt x="394" y="352"/>
                </a:cubicBezTo>
                <a:cubicBezTo>
                  <a:pt x="394" y="358"/>
                  <a:pt x="390" y="362"/>
                  <a:pt x="384" y="362"/>
                </a:cubicBezTo>
                <a:close/>
                <a:moveTo>
                  <a:pt x="384" y="298"/>
                </a:moveTo>
                <a:cubicBezTo>
                  <a:pt x="202" y="298"/>
                  <a:pt x="202" y="298"/>
                  <a:pt x="202" y="298"/>
                </a:cubicBezTo>
                <a:cubicBezTo>
                  <a:pt x="196" y="298"/>
                  <a:pt x="192" y="294"/>
                  <a:pt x="192" y="288"/>
                </a:cubicBezTo>
                <a:cubicBezTo>
                  <a:pt x="192" y="282"/>
                  <a:pt x="196" y="277"/>
                  <a:pt x="202" y="277"/>
                </a:cubicBezTo>
                <a:cubicBezTo>
                  <a:pt x="384" y="277"/>
                  <a:pt x="384" y="277"/>
                  <a:pt x="384" y="277"/>
                </a:cubicBezTo>
                <a:cubicBezTo>
                  <a:pt x="390" y="277"/>
                  <a:pt x="394" y="282"/>
                  <a:pt x="394" y="288"/>
                </a:cubicBezTo>
                <a:cubicBezTo>
                  <a:pt x="394" y="294"/>
                  <a:pt x="390" y="298"/>
                  <a:pt x="384" y="298"/>
                </a:cubicBezTo>
                <a:close/>
                <a:moveTo>
                  <a:pt x="384" y="234"/>
                </a:moveTo>
                <a:cubicBezTo>
                  <a:pt x="202" y="234"/>
                  <a:pt x="202" y="234"/>
                  <a:pt x="202" y="234"/>
                </a:cubicBezTo>
                <a:cubicBezTo>
                  <a:pt x="196" y="234"/>
                  <a:pt x="192" y="230"/>
                  <a:pt x="192" y="224"/>
                </a:cubicBezTo>
                <a:cubicBezTo>
                  <a:pt x="192" y="218"/>
                  <a:pt x="196" y="213"/>
                  <a:pt x="202" y="213"/>
                </a:cubicBezTo>
                <a:cubicBezTo>
                  <a:pt x="384" y="213"/>
                  <a:pt x="384" y="213"/>
                  <a:pt x="384" y="213"/>
                </a:cubicBezTo>
                <a:cubicBezTo>
                  <a:pt x="390" y="213"/>
                  <a:pt x="394" y="218"/>
                  <a:pt x="394" y="224"/>
                </a:cubicBezTo>
                <a:cubicBezTo>
                  <a:pt x="394" y="230"/>
                  <a:pt x="390" y="234"/>
                  <a:pt x="384" y="234"/>
                </a:cubicBezTo>
                <a:close/>
                <a:moveTo>
                  <a:pt x="384" y="170"/>
                </a:moveTo>
                <a:cubicBezTo>
                  <a:pt x="202" y="170"/>
                  <a:pt x="202" y="170"/>
                  <a:pt x="202" y="170"/>
                </a:cubicBezTo>
                <a:cubicBezTo>
                  <a:pt x="196" y="170"/>
                  <a:pt x="192" y="166"/>
                  <a:pt x="192" y="160"/>
                </a:cubicBezTo>
                <a:cubicBezTo>
                  <a:pt x="192" y="154"/>
                  <a:pt x="196" y="149"/>
                  <a:pt x="202" y="149"/>
                </a:cubicBezTo>
                <a:cubicBezTo>
                  <a:pt x="384" y="149"/>
                  <a:pt x="384" y="149"/>
                  <a:pt x="384" y="149"/>
                </a:cubicBezTo>
                <a:cubicBezTo>
                  <a:pt x="390" y="149"/>
                  <a:pt x="394" y="154"/>
                  <a:pt x="394" y="160"/>
                </a:cubicBezTo>
                <a:cubicBezTo>
                  <a:pt x="394" y="166"/>
                  <a:pt x="390" y="170"/>
                  <a:pt x="384" y="1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27" name="Group 614"/>
          <p:cNvGrpSpPr>
            <a:grpSpLocks noChangeAspect="1"/>
          </p:cNvGrpSpPr>
          <p:nvPr/>
        </p:nvGrpSpPr>
        <p:grpSpPr bwMode="auto">
          <a:xfrm>
            <a:off x="9886951" y="2051054"/>
            <a:ext cx="367041" cy="367041"/>
            <a:chOff x="3780" y="2658"/>
            <a:chExt cx="340" cy="340"/>
          </a:xfrm>
          <a:solidFill>
            <a:schemeClr val="accent1"/>
          </a:solidFill>
        </p:grpSpPr>
        <p:sp>
          <p:nvSpPr>
            <p:cNvPr id="728" name="Freeform 615"/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9" name="Freeform 616"/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0" name="Freeform 617"/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1" name="Freeform 618"/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2" name="Freeform 619"/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3" name="Freeform 620"/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4" name="Freeform 621"/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5" name="Freeform 622"/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6" name="Freeform 623"/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39" name="Freeform 858"/>
          <p:cNvSpPr>
            <a:spLocks noChangeAspect="1" noEditPoints="1"/>
          </p:cNvSpPr>
          <p:nvPr/>
        </p:nvSpPr>
        <p:spPr bwMode="auto">
          <a:xfrm>
            <a:off x="6405263" y="2051054"/>
            <a:ext cx="367631" cy="367631"/>
          </a:xfrm>
          <a:custGeom>
            <a:avLst/>
            <a:gdLst>
              <a:gd name="T0" fmla="*/ 352 w 512"/>
              <a:gd name="T1" fmla="*/ 146 h 512"/>
              <a:gd name="T2" fmla="*/ 352 w 512"/>
              <a:gd name="T3" fmla="*/ 260 h 512"/>
              <a:gd name="T4" fmla="*/ 263 w 512"/>
              <a:gd name="T5" fmla="*/ 259 h 512"/>
              <a:gd name="T6" fmla="*/ 208 w 512"/>
              <a:gd name="T7" fmla="*/ 236 h 512"/>
              <a:gd name="T8" fmla="*/ 160 w 512"/>
              <a:gd name="T9" fmla="*/ 248 h 512"/>
              <a:gd name="T10" fmla="*/ 160 w 512"/>
              <a:gd name="T11" fmla="*/ 134 h 512"/>
              <a:gd name="T12" fmla="*/ 248 w 512"/>
              <a:gd name="T13" fmla="*/ 135 h 512"/>
              <a:gd name="T14" fmla="*/ 352 w 512"/>
              <a:gd name="T15" fmla="*/ 146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73 w 512"/>
              <a:gd name="T27" fmla="*/ 128 h 512"/>
              <a:gd name="T28" fmla="*/ 367 w 512"/>
              <a:gd name="T29" fmla="*/ 118 h 512"/>
              <a:gd name="T30" fmla="*/ 356 w 512"/>
              <a:gd name="T31" fmla="*/ 119 h 512"/>
              <a:gd name="T32" fmla="*/ 263 w 512"/>
              <a:gd name="T33" fmla="*/ 120 h 512"/>
              <a:gd name="T34" fmla="*/ 143 w 512"/>
              <a:gd name="T35" fmla="*/ 119 h 512"/>
              <a:gd name="T36" fmla="*/ 138 w 512"/>
              <a:gd name="T37" fmla="*/ 128 h 512"/>
              <a:gd name="T38" fmla="*/ 138 w 512"/>
              <a:gd name="T39" fmla="*/ 384 h 512"/>
              <a:gd name="T40" fmla="*/ 149 w 512"/>
              <a:gd name="T41" fmla="*/ 394 h 512"/>
              <a:gd name="T42" fmla="*/ 160 w 512"/>
              <a:gd name="T43" fmla="*/ 384 h 512"/>
              <a:gd name="T44" fmla="*/ 160 w 512"/>
              <a:gd name="T45" fmla="*/ 272 h 512"/>
              <a:gd name="T46" fmla="*/ 248 w 512"/>
              <a:gd name="T47" fmla="*/ 274 h 512"/>
              <a:gd name="T48" fmla="*/ 368 w 512"/>
              <a:gd name="T49" fmla="*/ 275 h 512"/>
              <a:gd name="T50" fmla="*/ 373 w 512"/>
              <a:gd name="T51" fmla="*/ 266 h 512"/>
              <a:gd name="T52" fmla="*/ 373 w 512"/>
              <a:gd name="T53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352" y="146"/>
                </a:moveTo>
                <a:cubicBezTo>
                  <a:pt x="352" y="260"/>
                  <a:pt x="352" y="260"/>
                  <a:pt x="352" y="260"/>
                </a:cubicBezTo>
                <a:cubicBezTo>
                  <a:pt x="337" y="268"/>
                  <a:pt x="293" y="288"/>
                  <a:pt x="263" y="259"/>
                </a:cubicBezTo>
                <a:cubicBezTo>
                  <a:pt x="247" y="242"/>
                  <a:pt x="227" y="236"/>
                  <a:pt x="208" y="236"/>
                </a:cubicBezTo>
                <a:cubicBezTo>
                  <a:pt x="191" y="236"/>
                  <a:pt x="173" y="242"/>
                  <a:pt x="160" y="248"/>
                </a:cubicBezTo>
                <a:cubicBezTo>
                  <a:pt x="160" y="134"/>
                  <a:pt x="160" y="134"/>
                  <a:pt x="160" y="134"/>
                </a:cubicBezTo>
                <a:cubicBezTo>
                  <a:pt x="174" y="126"/>
                  <a:pt x="218" y="105"/>
                  <a:pt x="248" y="135"/>
                </a:cubicBezTo>
                <a:cubicBezTo>
                  <a:pt x="280" y="167"/>
                  <a:pt x="323" y="159"/>
                  <a:pt x="352" y="14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28"/>
                </a:moveTo>
                <a:cubicBezTo>
                  <a:pt x="373" y="124"/>
                  <a:pt x="371" y="120"/>
                  <a:pt x="367" y="118"/>
                </a:cubicBezTo>
                <a:cubicBezTo>
                  <a:pt x="364" y="116"/>
                  <a:pt x="360" y="117"/>
                  <a:pt x="356" y="119"/>
                </a:cubicBezTo>
                <a:cubicBezTo>
                  <a:pt x="356" y="119"/>
                  <a:pt x="299" y="156"/>
                  <a:pt x="263" y="120"/>
                </a:cubicBezTo>
                <a:cubicBezTo>
                  <a:pt x="224" y="81"/>
                  <a:pt x="167" y="102"/>
                  <a:pt x="143" y="119"/>
                </a:cubicBezTo>
                <a:cubicBezTo>
                  <a:pt x="140" y="121"/>
                  <a:pt x="138" y="124"/>
                  <a:pt x="138" y="128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8" y="390"/>
                  <a:pt x="143" y="394"/>
                  <a:pt x="149" y="394"/>
                </a:cubicBezTo>
                <a:cubicBezTo>
                  <a:pt x="155" y="394"/>
                  <a:pt x="160" y="390"/>
                  <a:pt x="160" y="384"/>
                </a:cubicBezTo>
                <a:cubicBezTo>
                  <a:pt x="160" y="272"/>
                  <a:pt x="160" y="272"/>
                  <a:pt x="160" y="272"/>
                </a:cubicBezTo>
                <a:cubicBezTo>
                  <a:pt x="174" y="264"/>
                  <a:pt x="217" y="243"/>
                  <a:pt x="248" y="274"/>
                </a:cubicBezTo>
                <a:cubicBezTo>
                  <a:pt x="286" y="312"/>
                  <a:pt x="343" y="292"/>
                  <a:pt x="368" y="275"/>
                </a:cubicBezTo>
                <a:cubicBezTo>
                  <a:pt x="371" y="273"/>
                  <a:pt x="373" y="270"/>
                  <a:pt x="373" y="266"/>
                </a:cubicBezTo>
                <a:lnTo>
                  <a:pt x="373" y="1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0" name="Group 861"/>
          <p:cNvGrpSpPr>
            <a:grpSpLocks noChangeAspect="1"/>
          </p:cNvGrpSpPr>
          <p:nvPr/>
        </p:nvGrpSpPr>
        <p:grpSpPr bwMode="auto">
          <a:xfrm>
            <a:off x="6901892" y="2051054"/>
            <a:ext cx="367631" cy="367631"/>
            <a:chOff x="5813" y="3162"/>
            <a:chExt cx="340" cy="340"/>
          </a:xfrm>
          <a:solidFill>
            <a:schemeClr val="accent3"/>
          </a:solidFill>
        </p:grpSpPr>
        <p:sp>
          <p:nvSpPr>
            <p:cNvPr id="741" name="Freeform 862"/>
            <p:cNvSpPr>
              <a:spLocks noEditPoints="1"/>
            </p:cNvSpPr>
            <p:nvPr/>
          </p:nvSpPr>
          <p:spPr bwMode="auto">
            <a:xfrm>
              <a:off x="5813" y="316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2" name="Freeform 863"/>
            <p:cNvSpPr>
              <a:spLocks noEditPoints="1"/>
            </p:cNvSpPr>
            <p:nvPr/>
          </p:nvSpPr>
          <p:spPr bwMode="auto">
            <a:xfrm>
              <a:off x="5905" y="3216"/>
              <a:ext cx="156" cy="208"/>
            </a:xfrm>
            <a:custGeom>
              <a:avLst/>
              <a:gdLst>
                <a:gd name="T0" fmla="*/ 11 w 235"/>
                <a:gd name="T1" fmla="*/ 313 h 313"/>
                <a:gd name="T2" fmla="*/ 0 w 235"/>
                <a:gd name="T3" fmla="*/ 303 h 313"/>
                <a:gd name="T4" fmla="*/ 0 w 235"/>
                <a:gd name="T5" fmla="*/ 47 h 313"/>
                <a:gd name="T6" fmla="*/ 5 w 235"/>
                <a:gd name="T7" fmla="*/ 38 h 313"/>
                <a:gd name="T8" fmla="*/ 125 w 235"/>
                <a:gd name="T9" fmla="*/ 39 h 313"/>
                <a:gd name="T10" fmla="*/ 218 w 235"/>
                <a:gd name="T11" fmla="*/ 38 h 313"/>
                <a:gd name="T12" fmla="*/ 229 w 235"/>
                <a:gd name="T13" fmla="*/ 37 h 313"/>
                <a:gd name="T14" fmla="*/ 235 w 235"/>
                <a:gd name="T15" fmla="*/ 47 h 313"/>
                <a:gd name="T16" fmla="*/ 235 w 235"/>
                <a:gd name="T17" fmla="*/ 185 h 313"/>
                <a:gd name="T18" fmla="*/ 230 w 235"/>
                <a:gd name="T19" fmla="*/ 194 h 313"/>
                <a:gd name="T20" fmla="*/ 110 w 235"/>
                <a:gd name="T21" fmla="*/ 193 h 313"/>
                <a:gd name="T22" fmla="*/ 22 w 235"/>
                <a:gd name="T23" fmla="*/ 191 h 313"/>
                <a:gd name="T24" fmla="*/ 22 w 235"/>
                <a:gd name="T25" fmla="*/ 303 h 313"/>
                <a:gd name="T26" fmla="*/ 11 w 235"/>
                <a:gd name="T27" fmla="*/ 313 h 313"/>
                <a:gd name="T28" fmla="*/ 70 w 235"/>
                <a:gd name="T29" fmla="*/ 155 h 313"/>
                <a:gd name="T30" fmla="*/ 125 w 235"/>
                <a:gd name="T31" fmla="*/ 178 h 313"/>
                <a:gd name="T32" fmla="*/ 214 w 235"/>
                <a:gd name="T33" fmla="*/ 179 h 313"/>
                <a:gd name="T34" fmla="*/ 214 w 235"/>
                <a:gd name="T35" fmla="*/ 65 h 313"/>
                <a:gd name="T36" fmla="*/ 110 w 235"/>
                <a:gd name="T37" fmla="*/ 54 h 313"/>
                <a:gd name="T38" fmla="*/ 22 w 235"/>
                <a:gd name="T39" fmla="*/ 53 h 313"/>
                <a:gd name="T40" fmla="*/ 22 w 235"/>
                <a:gd name="T41" fmla="*/ 167 h 313"/>
                <a:gd name="T42" fmla="*/ 70 w 235"/>
                <a:gd name="T43" fmla="*/ 15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13">
                  <a:moveTo>
                    <a:pt x="11" y="313"/>
                  </a:moveTo>
                  <a:cubicBezTo>
                    <a:pt x="5" y="313"/>
                    <a:pt x="0" y="309"/>
                    <a:pt x="0" y="30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3"/>
                    <a:pt x="2" y="40"/>
                    <a:pt x="5" y="38"/>
                  </a:cubicBezTo>
                  <a:cubicBezTo>
                    <a:pt x="29" y="21"/>
                    <a:pt x="86" y="0"/>
                    <a:pt x="125" y="39"/>
                  </a:cubicBezTo>
                  <a:cubicBezTo>
                    <a:pt x="161" y="75"/>
                    <a:pt x="218" y="38"/>
                    <a:pt x="218" y="38"/>
                  </a:cubicBezTo>
                  <a:cubicBezTo>
                    <a:pt x="222" y="36"/>
                    <a:pt x="226" y="35"/>
                    <a:pt x="229" y="37"/>
                  </a:cubicBezTo>
                  <a:cubicBezTo>
                    <a:pt x="233" y="39"/>
                    <a:pt x="235" y="43"/>
                    <a:pt x="235" y="47"/>
                  </a:cubicBezTo>
                  <a:cubicBezTo>
                    <a:pt x="235" y="185"/>
                    <a:pt x="235" y="185"/>
                    <a:pt x="235" y="185"/>
                  </a:cubicBezTo>
                  <a:cubicBezTo>
                    <a:pt x="235" y="189"/>
                    <a:pt x="233" y="192"/>
                    <a:pt x="230" y="194"/>
                  </a:cubicBezTo>
                  <a:cubicBezTo>
                    <a:pt x="205" y="211"/>
                    <a:pt x="148" y="231"/>
                    <a:pt x="110" y="193"/>
                  </a:cubicBezTo>
                  <a:cubicBezTo>
                    <a:pt x="79" y="162"/>
                    <a:pt x="36" y="183"/>
                    <a:pt x="22" y="191"/>
                  </a:cubicBezTo>
                  <a:cubicBezTo>
                    <a:pt x="22" y="303"/>
                    <a:pt x="22" y="303"/>
                    <a:pt x="22" y="303"/>
                  </a:cubicBezTo>
                  <a:cubicBezTo>
                    <a:pt x="22" y="309"/>
                    <a:pt x="17" y="313"/>
                    <a:pt x="11" y="313"/>
                  </a:cubicBezTo>
                  <a:close/>
                  <a:moveTo>
                    <a:pt x="70" y="155"/>
                  </a:moveTo>
                  <a:cubicBezTo>
                    <a:pt x="89" y="155"/>
                    <a:pt x="109" y="161"/>
                    <a:pt x="125" y="178"/>
                  </a:cubicBezTo>
                  <a:cubicBezTo>
                    <a:pt x="155" y="207"/>
                    <a:pt x="199" y="187"/>
                    <a:pt x="214" y="179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185" y="78"/>
                    <a:pt x="142" y="86"/>
                    <a:pt x="110" y="54"/>
                  </a:cubicBezTo>
                  <a:cubicBezTo>
                    <a:pt x="80" y="24"/>
                    <a:pt x="36" y="45"/>
                    <a:pt x="22" y="53"/>
                  </a:cubicBezTo>
                  <a:cubicBezTo>
                    <a:pt x="22" y="167"/>
                    <a:pt x="22" y="167"/>
                    <a:pt x="22" y="167"/>
                  </a:cubicBezTo>
                  <a:cubicBezTo>
                    <a:pt x="35" y="161"/>
                    <a:pt x="53" y="155"/>
                    <a:pt x="70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43" name="Group 360"/>
          <p:cNvGrpSpPr>
            <a:grpSpLocks noChangeAspect="1"/>
          </p:cNvGrpSpPr>
          <p:nvPr/>
        </p:nvGrpSpPr>
        <p:grpSpPr bwMode="auto">
          <a:xfrm>
            <a:off x="2923863" y="2919409"/>
            <a:ext cx="370763" cy="369676"/>
            <a:chOff x="1935" y="1199"/>
            <a:chExt cx="341" cy="340"/>
          </a:xfrm>
          <a:solidFill>
            <a:schemeClr val="accent4"/>
          </a:solidFill>
        </p:grpSpPr>
        <p:sp>
          <p:nvSpPr>
            <p:cNvPr id="744" name="Freeform 361"/>
            <p:cNvSpPr>
              <a:spLocks noEditPoints="1"/>
            </p:cNvSpPr>
            <p:nvPr/>
          </p:nvSpPr>
          <p:spPr bwMode="auto">
            <a:xfrm>
              <a:off x="1998" y="1263"/>
              <a:ext cx="214" cy="206"/>
            </a:xfrm>
            <a:custGeom>
              <a:avLst/>
              <a:gdLst>
                <a:gd name="T0" fmla="*/ 257 w 321"/>
                <a:gd name="T1" fmla="*/ 309 h 310"/>
                <a:gd name="T2" fmla="*/ 251 w 321"/>
                <a:gd name="T3" fmla="*/ 308 h 310"/>
                <a:gd name="T4" fmla="*/ 161 w 321"/>
                <a:gd name="T5" fmla="*/ 257 h 310"/>
                <a:gd name="T6" fmla="*/ 70 w 321"/>
                <a:gd name="T7" fmla="*/ 308 h 310"/>
                <a:gd name="T8" fmla="*/ 58 w 321"/>
                <a:gd name="T9" fmla="*/ 307 h 310"/>
                <a:gd name="T10" fmla="*/ 54 w 321"/>
                <a:gd name="T11" fmla="*/ 296 h 310"/>
                <a:gd name="T12" fmla="*/ 74 w 321"/>
                <a:gd name="T13" fmla="*/ 195 h 310"/>
                <a:gd name="T14" fmla="*/ 4 w 321"/>
                <a:gd name="T15" fmla="*/ 125 h 310"/>
                <a:gd name="T16" fmla="*/ 1 w 321"/>
                <a:gd name="T17" fmla="*/ 113 h 310"/>
                <a:gd name="T18" fmla="*/ 10 w 321"/>
                <a:gd name="T19" fmla="*/ 106 h 310"/>
                <a:gd name="T20" fmla="*/ 111 w 321"/>
                <a:gd name="T21" fmla="*/ 96 h 310"/>
                <a:gd name="T22" fmla="*/ 151 w 321"/>
                <a:gd name="T23" fmla="*/ 6 h 310"/>
                <a:gd name="T24" fmla="*/ 161 w 321"/>
                <a:gd name="T25" fmla="*/ 0 h 310"/>
                <a:gd name="T26" fmla="*/ 170 w 321"/>
                <a:gd name="T27" fmla="*/ 6 h 310"/>
                <a:gd name="T28" fmla="*/ 211 w 321"/>
                <a:gd name="T29" fmla="*/ 96 h 310"/>
                <a:gd name="T30" fmla="*/ 311 w 321"/>
                <a:gd name="T31" fmla="*/ 106 h 310"/>
                <a:gd name="T32" fmla="*/ 320 w 321"/>
                <a:gd name="T33" fmla="*/ 113 h 310"/>
                <a:gd name="T34" fmla="*/ 318 w 321"/>
                <a:gd name="T35" fmla="*/ 125 h 310"/>
                <a:gd name="T36" fmla="*/ 247 w 321"/>
                <a:gd name="T37" fmla="*/ 195 h 310"/>
                <a:gd name="T38" fmla="*/ 267 w 321"/>
                <a:gd name="T39" fmla="*/ 296 h 310"/>
                <a:gd name="T40" fmla="*/ 263 w 321"/>
                <a:gd name="T41" fmla="*/ 307 h 310"/>
                <a:gd name="T42" fmla="*/ 257 w 321"/>
                <a:gd name="T43" fmla="*/ 309 h 310"/>
                <a:gd name="T44" fmla="*/ 161 w 321"/>
                <a:gd name="T45" fmla="*/ 234 h 310"/>
                <a:gd name="T46" fmla="*/ 166 w 321"/>
                <a:gd name="T47" fmla="*/ 236 h 310"/>
                <a:gd name="T48" fmla="*/ 242 w 321"/>
                <a:gd name="T49" fmla="*/ 278 h 310"/>
                <a:gd name="T50" fmla="*/ 225 w 321"/>
                <a:gd name="T51" fmla="*/ 194 h 310"/>
                <a:gd name="T52" fmla="*/ 228 w 321"/>
                <a:gd name="T53" fmla="*/ 184 h 310"/>
                <a:gd name="T54" fmla="*/ 287 w 321"/>
                <a:gd name="T55" fmla="*/ 125 h 310"/>
                <a:gd name="T56" fmla="*/ 202 w 321"/>
                <a:gd name="T57" fmla="*/ 117 h 310"/>
                <a:gd name="T58" fmla="*/ 194 w 321"/>
                <a:gd name="T59" fmla="*/ 111 h 310"/>
                <a:gd name="T60" fmla="*/ 161 w 321"/>
                <a:gd name="T61" fmla="*/ 37 h 310"/>
                <a:gd name="T62" fmla="*/ 128 w 321"/>
                <a:gd name="T63" fmla="*/ 111 h 310"/>
                <a:gd name="T64" fmla="*/ 119 w 321"/>
                <a:gd name="T65" fmla="*/ 117 h 310"/>
                <a:gd name="T66" fmla="*/ 35 w 321"/>
                <a:gd name="T67" fmla="*/ 125 h 310"/>
                <a:gd name="T68" fmla="*/ 94 w 321"/>
                <a:gd name="T69" fmla="*/ 184 h 310"/>
                <a:gd name="T70" fmla="*/ 96 w 321"/>
                <a:gd name="T71" fmla="*/ 194 h 310"/>
                <a:gd name="T72" fmla="*/ 80 w 321"/>
                <a:gd name="T73" fmla="*/ 278 h 310"/>
                <a:gd name="T74" fmla="*/ 155 w 321"/>
                <a:gd name="T75" fmla="*/ 236 h 310"/>
                <a:gd name="T76" fmla="*/ 161 w 321"/>
                <a:gd name="T77" fmla="*/ 23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1" h="310">
                  <a:moveTo>
                    <a:pt x="257" y="309"/>
                  </a:moveTo>
                  <a:cubicBezTo>
                    <a:pt x="255" y="309"/>
                    <a:pt x="253" y="309"/>
                    <a:pt x="251" y="308"/>
                  </a:cubicBezTo>
                  <a:cubicBezTo>
                    <a:pt x="161" y="257"/>
                    <a:pt x="161" y="257"/>
                    <a:pt x="161" y="257"/>
                  </a:cubicBezTo>
                  <a:cubicBezTo>
                    <a:pt x="70" y="308"/>
                    <a:pt x="70" y="308"/>
                    <a:pt x="70" y="308"/>
                  </a:cubicBezTo>
                  <a:cubicBezTo>
                    <a:pt x="66" y="310"/>
                    <a:pt x="62" y="309"/>
                    <a:pt x="58" y="307"/>
                  </a:cubicBezTo>
                  <a:cubicBezTo>
                    <a:pt x="55" y="305"/>
                    <a:pt x="53" y="300"/>
                    <a:pt x="54" y="296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" y="122"/>
                    <a:pt x="0" y="117"/>
                    <a:pt x="1" y="113"/>
                  </a:cubicBezTo>
                  <a:cubicBezTo>
                    <a:pt x="3" y="110"/>
                    <a:pt x="6" y="107"/>
                    <a:pt x="10" y="10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3" y="2"/>
                    <a:pt x="156" y="0"/>
                    <a:pt x="161" y="0"/>
                  </a:cubicBezTo>
                  <a:cubicBezTo>
                    <a:pt x="165" y="0"/>
                    <a:pt x="169" y="2"/>
                    <a:pt x="170" y="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311" y="106"/>
                    <a:pt x="311" y="106"/>
                    <a:pt x="311" y="106"/>
                  </a:cubicBezTo>
                  <a:cubicBezTo>
                    <a:pt x="315" y="107"/>
                    <a:pt x="319" y="110"/>
                    <a:pt x="320" y="113"/>
                  </a:cubicBezTo>
                  <a:cubicBezTo>
                    <a:pt x="321" y="117"/>
                    <a:pt x="320" y="122"/>
                    <a:pt x="318" y="125"/>
                  </a:cubicBezTo>
                  <a:cubicBezTo>
                    <a:pt x="247" y="195"/>
                    <a:pt x="247" y="195"/>
                    <a:pt x="247" y="195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300"/>
                    <a:pt x="266" y="305"/>
                    <a:pt x="263" y="307"/>
                  </a:cubicBezTo>
                  <a:cubicBezTo>
                    <a:pt x="261" y="308"/>
                    <a:pt x="259" y="309"/>
                    <a:pt x="257" y="309"/>
                  </a:cubicBezTo>
                  <a:close/>
                  <a:moveTo>
                    <a:pt x="161" y="234"/>
                  </a:moveTo>
                  <a:cubicBezTo>
                    <a:pt x="162" y="234"/>
                    <a:pt x="164" y="235"/>
                    <a:pt x="166" y="236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4" y="190"/>
                    <a:pt x="225" y="187"/>
                    <a:pt x="228" y="184"/>
                  </a:cubicBezTo>
                  <a:cubicBezTo>
                    <a:pt x="287" y="125"/>
                    <a:pt x="287" y="125"/>
                    <a:pt x="287" y="125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98" y="117"/>
                    <a:pt x="195" y="114"/>
                    <a:pt x="194" y="111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6" y="114"/>
                    <a:pt x="123" y="117"/>
                    <a:pt x="119" y="117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6" y="187"/>
                    <a:pt x="97" y="190"/>
                    <a:pt x="96" y="194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155" y="236"/>
                    <a:pt x="155" y="236"/>
                    <a:pt x="155" y="236"/>
                  </a:cubicBezTo>
                  <a:cubicBezTo>
                    <a:pt x="157" y="235"/>
                    <a:pt x="159" y="234"/>
                    <a:pt x="16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5" name="Freeform 362"/>
            <p:cNvSpPr>
              <a:spLocks noEditPoints="1"/>
            </p:cNvSpPr>
            <p:nvPr/>
          </p:nvSpPr>
          <p:spPr bwMode="auto">
            <a:xfrm>
              <a:off x="1935" y="119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6" name="Freeform 375"/>
          <p:cNvSpPr>
            <a:spLocks noChangeAspect="1" noEditPoints="1"/>
          </p:cNvSpPr>
          <p:nvPr/>
        </p:nvSpPr>
        <p:spPr bwMode="auto">
          <a:xfrm>
            <a:off x="2425291" y="2919409"/>
            <a:ext cx="369676" cy="369676"/>
          </a:xfrm>
          <a:custGeom>
            <a:avLst/>
            <a:gdLst>
              <a:gd name="T0" fmla="*/ 297 w 512"/>
              <a:gd name="T1" fmla="*/ 213 h 512"/>
              <a:gd name="T2" fmla="*/ 382 w 512"/>
              <a:gd name="T3" fmla="*/ 221 h 512"/>
              <a:gd name="T4" fmla="*/ 323 w 512"/>
              <a:gd name="T5" fmla="*/ 280 h 512"/>
              <a:gd name="T6" fmla="*/ 320 w 512"/>
              <a:gd name="T7" fmla="*/ 290 h 512"/>
              <a:gd name="T8" fmla="*/ 337 w 512"/>
              <a:gd name="T9" fmla="*/ 374 h 512"/>
              <a:gd name="T10" fmla="*/ 261 w 512"/>
              <a:gd name="T11" fmla="*/ 332 h 512"/>
              <a:gd name="T12" fmla="*/ 256 w 512"/>
              <a:gd name="T13" fmla="*/ 330 h 512"/>
              <a:gd name="T14" fmla="*/ 250 w 512"/>
              <a:gd name="T15" fmla="*/ 332 h 512"/>
              <a:gd name="T16" fmla="*/ 175 w 512"/>
              <a:gd name="T17" fmla="*/ 374 h 512"/>
              <a:gd name="T18" fmla="*/ 191 w 512"/>
              <a:gd name="T19" fmla="*/ 290 h 512"/>
              <a:gd name="T20" fmla="*/ 189 w 512"/>
              <a:gd name="T21" fmla="*/ 280 h 512"/>
              <a:gd name="T22" fmla="*/ 130 w 512"/>
              <a:gd name="T23" fmla="*/ 221 h 512"/>
              <a:gd name="T24" fmla="*/ 214 w 512"/>
              <a:gd name="T25" fmla="*/ 213 h 512"/>
              <a:gd name="T26" fmla="*/ 223 w 512"/>
              <a:gd name="T27" fmla="*/ 207 h 512"/>
              <a:gd name="T28" fmla="*/ 256 w 512"/>
              <a:gd name="T29" fmla="*/ 133 h 512"/>
              <a:gd name="T30" fmla="*/ 289 w 512"/>
              <a:gd name="T31" fmla="*/ 207 h 512"/>
              <a:gd name="T32" fmla="*/ 297 w 512"/>
              <a:gd name="T33" fmla="*/ 213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5 w 512"/>
              <a:gd name="T45" fmla="*/ 209 h 512"/>
              <a:gd name="T46" fmla="*/ 406 w 512"/>
              <a:gd name="T47" fmla="*/ 202 h 512"/>
              <a:gd name="T48" fmla="*/ 306 w 512"/>
              <a:gd name="T49" fmla="*/ 192 h 512"/>
              <a:gd name="T50" fmla="*/ 265 w 512"/>
              <a:gd name="T51" fmla="*/ 102 h 512"/>
              <a:gd name="T52" fmla="*/ 256 w 512"/>
              <a:gd name="T53" fmla="*/ 96 h 512"/>
              <a:gd name="T54" fmla="*/ 246 w 512"/>
              <a:gd name="T55" fmla="*/ 102 h 512"/>
              <a:gd name="T56" fmla="*/ 206 w 512"/>
              <a:gd name="T57" fmla="*/ 192 h 512"/>
              <a:gd name="T58" fmla="*/ 105 w 512"/>
              <a:gd name="T59" fmla="*/ 202 h 512"/>
              <a:gd name="T60" fmla="*/ 96 w 512"/>
              <a:gd name="T61" fmla="*/ 209 h 512"/>
              <a:gd name="T62" fmla="*/ 99 w 512"/>
              <a:gd name="T63" fmla="*/ 221 h 512"/>
              <a:gd name="T64" fmla="*/ 169 w 512"/>
              <a:gd name="T65" fmla="*/ 291 h 512"/>
              <a:gd name="T66" fmla="*/ 149 w 512"/>
              <a:gd name="T67" fmla="*/ 392 h 512"/>
              <a:gd name="T68" fmla="*/ 153 w 512"/>
              <a:gd name="T69" fmla="*/ 403 h 512"/>
              <a:gd name="T70" fmla="*/ 165 w 512"/>
              <a:gd name="T71" fmla="*/ 404 h 512"/>
              <a:gd name="T72" fmla="*/ 256 w 512"/>
              <a:gd name="T73" fmla="*/ 353 h 512"/>
              <a:gd name="T74" fmla="*/ 346 w 512"/>
              <a:gd name="T75" fmla="*/ 404 h 512"/>
              <a:gd name="T76" fmla="*/ 352 w 512"/>
              <a:gd name="T77" fmla="*/ 405 h 512"/>
              <a:gd name="T78" fmla="*/ 358 w 512"/>
              <a:gd name="T79" fmla="*/ 403 h 512"/>
              <a:gd name="T80" fmla="*/ 362 w 512"/>
              <a:gd name="T81" fmla="*/ 392 h 512"/>
              <a:gd name="T82" fmla="*/ 342 w 512"/>
              <a:gd name="T83" fmla="*/ 291 h 512"/>
              <a:gd name="T84" fmla="*/ 413 w 512"/>
              <a:gd name="T85" fmla="*/ 221 h 512"/>
              <a:gd name="T86" fmla="*/ 415 w 512"/>
              <a:gd name="T87" fmla="*/ 2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97" y="213"/>
                </a:moveTo>
                <a:cubicBezTo>
                  <a:pt x="382" y="221"/>
                  <a:pt x="382" y="221"/>
                  <a:pt x="382" y="221"/>
                </a:cubicBezTo>
                <a:cubicBezTo>
                  <a:pt x="323" y="280"/>
                  <a:pt x="323" y="280"/>
                  <a:pt x="323" y="280"/>
                </a:cubicBezTo>
                <a:cubicBezTo>
                  <a:pt x="320" y="283"/>
                  <a:pt x="319" y="286"/>
                  <a:pt x="320" y="290"/>
                </a:cubicBezTo>
                <a:cubicBezTo>
                  <a:pt x="337" y="374"/>
                  <a:pt x="337" y="374"/>
                  <a:pt x="337" y="374"/>
                </a:cubicBezTo>
                <a:cubicBezTo>
                  <a:pt x="261" y="332"/>
                  <a:pt x="261" y="332"/>
                  <a:pt x="261" y="332"/>
                </a:cubicBezTo>
                <a:cubicBezTo>
                  <a:pt x="259" y="331"/>
                  <a:pt x="257" y="330"/>
                  <a:pt x="256" y="330"/>
                </a:cubicBezTo>
                <a:cubicBezTo>
                  <a:pt x="254" y="330"/>
                  <a:pt x="252" y="331"/>
                  <a:pt x="250" y="332"/>
                </a:cubicBezTo>
                <a:cubicBezTo>
                  <a:pt x="175" y="374"/>
                  <a:pt x="175" y="374"/>
                  <a:pt x="175" y="374"/>
                </a:cubicBezTo>
                <a:cubicBezTo>
                  <a:pt x="191" y="290"/>
                  <a:pt x="191" y="290"/>
                  <a:pt x="191" y="290"/>
                </a:cubicBezTo>
                <a:cubicBezTo>
                  <a:pt x="192" y="286"/>
                  <a:pt x="191" y="283"/>
                  <a:pt x="189" y="280"/>
                </a:cubicBezTo>
                <a:cubicBezTo>
                  <a:pt x="130" y="221"/>
                  <a:pt x="130" y="221"/>
                  <a:pt x="130" y="221"/>
                </a:cubicBezTo>
                <a:cubicBezTo>
                  <a:pt x="214" y="213"/>
                  <a:pt x="214" y="213"/>
                  <a:pt x="214" y="213"/>
                </a:cubicBezTo>
                <a:cubicBezTo>
                  <a:pt x="218" y="213"/>
                  <a:pt x="221" y="210"/>
                  <a:pt x="223" y="207"/>
                </a:cubicBezTo>
                <a:cubicBezTo>
                  <a:pt x="256" y="133"/>
                  <a:pt x="256" y="133"/>
                  <a:pt x="256" y="133"/>
                </a:cubicBezTo>
                <a:cubicBezTo>
                  <a:pt x="289" y="207"/>
                  <a:pt x="289" y="207"/>
                  <a:pt x="289" y="207"/>
                </a:cubicBezTo>
                <a:cubicBezTo>
                  <a:pt x="290" y="210"/>
                  <a:pt x="293" y="213"/>
                  <a:pt x="297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09"/>
                </a:moveTo>
                <a:cubicBezTo>
                  <a:pt x="414" y="206"/>
                  <a:pt x="410" y="203"/>
                  <a:pt x="406" y="202"/>
                </a:cubicBezTo>
                <a:cubicBezTo>
                  <a:pt x="306" y="192"/>
                  <a:pt x="306" y="192"/>
                  <a:pt x="306" y="192"/>
                </a:cubicBezTo>
                <a:cubicBezTo>
                  <a:pt x="265" y="102"/>
                  <a:pt x="265" y="102"/>
                  <a:pt x="265" y="102"/>
                </a:cubicBezTo>
                <a:cubicBezTo>
                  <a:pt x="264" y="98"/>
                  <a:pt x="260" y="96"/>
                  <a:pt x="256" y="96"/>
                </a:cubicBezTo>
                <a:cubicBezTo>
                  <a:pt x="251" y="96"/>
                  <a:pt x="248" y="98"/>
                  <a:pt x="246" y="102"/>
                </a:cubicBezTo>
                <a:cubicBezTo>
                  <a:pt x="206" y="192"/>
                  <a:pt x="206" y="192"/>
                  <a:pt x="206" y="19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1" y="203"/>
                  <a:pt x="98" y="206"/>
                  <a:pt x="96" y="209"/>
                </a:cubicBezTo>
                <a:cubicBezTo>
                  <a:pt x="95" y="213"/>
                  <a:pt x="96" y="218"/>
                  <a:pt x="99" y="221"/>
                </a:cubicBezTo>
                <a:cubicBezTo>
                  <a:pt x="169" y="291"/>
                  <a:pt x="169" y="291"/>
                  <a:pt x="169" y="291"/>
                </a:cubicBezTo>
                <a:cubicBezTo>
                  <a:pt x="149" y="392"/>
                  <a:pt x="149" y="392"/>
                  <a:pt x="149" y="392"/>
                </a:cubicBezTo>
                <a:cubicBezTo>
                  <a:pt x="148" y="396"/>
                  <a:pt x="150" y="401"/>
                  <a:pt x="153" y="403"/>
                </a:cubicBezTo>
                <a:cubicBezTo>
                  <a:pt x="157" y="405"/>
                  <a:pt x="161" y="406"/>
                  <a:pt x="165" y="404"/>
                </a:cubicBezTo>
                <a:cubicBezTo>
                  <a:pt x="256" y="353"/>
                  <a:pt x="256" y="353"/>
                  <a:pt x="256" y="353"/>
                </a:cubicBezTo>
                <a:cubicBezTo>
                  <a:pt x="346" y="404"/>
                  <a:pt x="346" y="404"/>
                  <a:pt x="346" y="404"/>
                </a:cubicBezTo>
                <a:cubicBezTo>
                  <a:pt x="348" y="405"/>
                  <a:pt x="350" y="405"/>
                  <a:pt x="352" y="405"/>
                </a:cubicBezTo>
                <a:cubicBezTo>
                  <a:pt x="354" y="405"/>
                  <a:pt x="356" y="404"/>
                  <a:pt x="358" y="403"/>
                </a:cubicBezTo>
                <a:cubicBezTo>
                  <a:pt x="361" y="401"/>
                  <a:pt x="363" y="396"/>
                  <a:pt x="362" y="392"/>
                </a:cubicBezTo>
                <a:cubicBezTo>
                  <a:pt x="342" y="291"/>
                  <a:pt x="342" y="291"/>
                  <a:pt x="342" y="291"/>
                </a:cubicBezTo>
                <a:cubicBezTo>
                  <a:pt x="413" y="221"/>
                  <a:pt x="413" y="221"/>
                  <a:pt x="413" y="221"/>
                </a:cubicBezTo>
                <a:cubicBezTo>
                  <a:pt x="415" y="218"/>
                  <a:pt x="416" y="213"/>
                  <a:pt x="415" y="20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7" name="Group 601"/>
          <p:cNvGrpSpPr>
            <a:grpSpLocks noChangeAspect="1"/>
          </p:cNvGrpSpPr>
          <p:nvPr/>
        </p:nvGrpSpPr>
        <p:grpSpPr bwMode="auto">
          <a:xfrm>
            <a:off x="4913968" y="2919409"/>
            <a:ext cx="370763" cy="369676"/>
            <a:chOff x="7347" y="2263"/>
            <a:chExt cx="341" cy="340"/>
          </a:xfrm>
          <a:solidFill>
            <a:schemeClr val="accent1"/>
          </a:solidFill>
        </p:grpSpPr>
        <p:sp>
          <p:nvSpPr>
            <p:cNvPr id="748" name="Freeform 602"/>
            <p:cNvSpPr>
              <a:spLocks noEditPoints="1"/>
            </p:cNvSpPr>
            <p:nvPr/>
          </p:nvSpPr>
          <p:spPr bwMode="auto">
            <a:xfrm>
              <a:off x="7439" y="2327"/>
              <a:ext cx="156" cy="212"/>
            </a:xfrm>
            <a:custGeom>
              <a:avLst/>
              <a:gdLst>
                <a:gd name="T0" fmla="*/ 224 w 235"/>
                <a:gd name="T1" fmla="*/ 149 h 320"/>
                <a:gd name="T2" fmla="*/ 43 w 235"/>
                <a:gd name="T3" fmla="*/ 149 h 320"/>
                <a:gd name="T4" fmla="*/ 43 w 235"/>
                <a:gd name="T5" fmla="*/ 96 h 320"/>
                <a:gd name="T6" fmla="*/ 118 w 235"/>
                <a:gd name="T7" fmla="*/ 21 h 320"/>
                <a:gd name="T8" fmla="*/ 192 w 235"/>
                <a:gd name="T9" fmla="*/ 96 h 320"/>
                <a:gd name="T10" fmla="*/ 192 w 235"/>
                <a:gd name="T11" fmla="*/ 106 h 320"/>
                <a:gd name="T12" fmla="*/ 203 w 235"/>
                <a:gd name="T13" fmla="*/ 117 h 320"/>
                <a:gd name="T14" fmla="*/ 214 w 235"/>
                <a:gd name="T15" fmla="*/ 106 h 320"/>
                <a:gd name="T16" fmla="*/ 214 w 235"/>
                <a:gd name="T17" fmla="*/ 96 h 320"/>
                <a:gd name="T18" fmla="*/ 118 w 235"/>
                <a:gd name="T19" fmla="*/ 0 h 320"/>
                <a:gd name="T20" fmla="*/ 22 w 235"/>
                <a:gd name="T21" fmla="*/ 96 h 320"/>
                <a:gd name="T22" fmla="*/ 22 w 235"/>
                <a:gd name="T23" fmla="*/ 149 h 320"/>
                <a:gd name="T24" fmla="*/ 11 w 235"/>
                <a:gd name="T25" fmla="*/ 149 h 320"/>
                <a:gd name="T26" fmla="*/ 0 w 235"/>
                <a:gd name="T27" fmla="*/ 160 h 320"/>
                <a:gd name="T28" fmla="*/ 0 w 235"/>
                <a:gd name="T29" fmla="*/ 309 h 320"/>
                <a:gd name="T30" fmla="*/ 11 w 235"/>
                <a:gd name="T31" fmla="*/ 320 h 320"/>
                <a:gd name="T32" fmla="*/ 224 w 235"/>
                <a:gd name="T33" fmla="*/ 320 h 320"/>
                <a:gd name="T34" fmla="*/ 235 w 235"/>
                <a:gd name="T35" fmla="*/ 309 h 320"/>
                <a:gd name="T36" fmla="*/ 235 w 235"/>
                <a:gd name="T37" fmla="*/ 160 h 320"/>
                <a:gd name="T38" fmla="*/ 224 w 235"/>
                <a:gd name="T39" fmla="*/ 149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170 h 320"/>
                <a:gd name="T46" fmla="*/ 214 w 235"/>
                <a:gd name="T47" fmla="*/ 170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24" y="149"/>
                  </a:moveTo>
                  <a:cubicBezTo>
                    <a:pt x="43" y="149"/>
                    <a:pt x="43" y="149"/>
                    <a:pt x="43" y="149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06"/>
                    <a:pt x="192" y="106"/>
                    <a:pt x="192" y="106"/>
                  </a:cubicBezTo>
                  <a:cubicBezTo>
                    <a:pt x="192" y="112"/>
                    <a:pt x="197" y="117"/>
                    <a:pt x="203" y="117"/>
                  </a:cubicBezTo>
                  <a:cubicBezTo>
                    <a:pt x="209" y="117"/>
                    <a:pt x="214" y="112"/>
                    <a:pt x="214" y="10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54"/>
                    <a:pt x="230" y="149"/>
                    <a:pt x="224" y="149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14" y="170"/>
                    <a:pt x="214" y="170"/>
                    <a:pt x="214" y="170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9" name="Freeform 603"/>
            <p:cNvSpPr>
              <a:spLocks noEditPoints="1"/>
            </p:cNvSpPr>
            <p:nvPr/>
          </p:nvSpPr>
          <p:spPr bwMode="auto">
            <a:xfrm>
              <a:off x="7347" y="226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0" name="Group 606"/>
          <p:cNvGrpSpPr>
            <a:grpSpLocks noChangeAspect="1"/>
          </p:cNvGrpSpPr>
          <p:nvPr/>
        </p:nvGrpSpPr>
        <p:grpSpPr bwMode="auto">
          <a:xfrm>
            <a:off x="4415396" y="2919409"/>
            <a:ext cx="369676" cy="369676"/>
            <a:chOff x="6986" y="2266"/>
            <a:chExt cx="340" cy="340"/>
          </a:xfrm>
          <a:solidFill>
            <a:schemeClr val="accent1"/>
          </a:solidFill>
        </p:grpSpPr>
        <p:sp>
          <p:nvSpPr>
            <p:cNvPr id="751" name="Freeform 607"/>
            <p:cNvSpPr>
              <a:spLocks noEditPoints="1"/>
            </p:cNvSpPr>
            <p:nvPr/>
          </p:nvSpPr>
          <p:spPr bwMode="auto">
            <a:xfrm>
              <a:off x="6986" y="226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405 h 512"/>
                <a:gd name="T12" fmla="*/ 362 w 512"/>
                <a:gd name="T13" fmla="*/ 416 h 512"/>
                <a:gd name="T14" fmla="*/ 149 w 512"/>
                <a:gd name="T15" fmla="*/ 416 h 512"/>
                <a:gd name="T16" fmla="*/ 138 w 512"/>
                <a:gd name="T17" fmla="*/ 405 h 512"/>
                <a:gd name="T18" fmla="*/ 138 w 512"/>
                <a:gd name="T19" fmla="*/ 256 h 512"/>
                <a:gd name="T20" fmla="*/ 149 w 512"/>
                <a:gd name="T21" fmla="*/ 245 h 512"/>
                <a:gd name="T22" fmla="*/ 160 w 512"/>
                <a:gd name="T23" fmla="*/ 245 h 512"/>
                <a:gd name="T24" fmla="*/ 160 w 512"/>
                <a:gd name="T25" fmla="*/ 192 h 512"/>
                <a:gd name="T26" fmla="*/ 256 w 512"/>
                <a:gd name="T27" fmla="*/ 96 h 512"/>
                <a:gd name="T28" fmla="*/ 352 w 512"/>
                <a:gd name="T29" fmla="*/ 192 h 512"/>
                <a:gd name="T30" fmla="*/ 352 w 512"/>
                <a:gd name="T31" fmla="*/ 202 h 512"/>
                <a:gd name="T32" fmla="*/ 341 w 512"/>
                <a:gd name="T33" fmla="*/ 213 h 512"/>
                <a:gd name="T34" fmla="*/ 330 w 512"/>
                <a:gd name="T35" fmla="*/ 202 h 512"/>
                <a:gd name="T36" fmla="*/ 330 w 512"/>
                <a:gd name="T37" fmla="*/ 192 h 512"/>
                <a:gd name="T38" fmla="*/ 256 w 512"/>
                <a:gd name="T39" fmla="*/ 117 h 512"/>
                <a:gd name="T40" fmla="*/ 181 w 512"/>
                <a:gd name="T41" fmla="*/ 192 h 512"/>
                <a:gd name="T42" fmla="*/ 181 w 512"/>
                <a:gd name="T43" fmla="*/ 245 h 512"/>
                <a:gd name="T44" fmla="*/ 362 w 512"/>
                <a:gd name="T45" fmla="*/ 245 h 512"/>
                <a:gd name="T46" fmla="*/ 373 w 512"/>
                <a:gd name="T47" fmla="*/ 256 h 512"/>
                <a:gd name="T48" fmla="*/ 373 w 512"/>
                <a:gd name="T4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256"/>
                    <a:pt x="138" y="256"/>
                    <a:pt x="138" y="256"/>
                  </a:cubicBezTo>
                  <a:cubicBezTo>
                    <a:pt x="138" y="250"/>
                    <a:pt x="143" y="245"/>
                    <a:pt x="149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160" y="139"/>
                    <a:pt x="203" y="96"/>
                    <a:pt x="256" y="96"/>
                  </a:cubicBezTo>
                  <a:cubicBezTo>
                    <a:pt x="309" y="96"/>
                    <a:pt x="352" y="139"/>
                    <a:pt x="352" y="192"/>
                  </a:cubicBezTo>
                  <a:cubicBezTo>
                    <a:pt x="352" y="202"/>
                    <a:pt x="352" y="202"/>
                    <a:pt x="352" y="202"/>
                  </a:cubicBezTo>
                  <a:cubicBezTo>
                    <a:pt x="352" y="208"/>
                    <a:pt x="347" y="213"/>
                    <a:pt x="341" y="213"/>
                  </a:cubicBezTo>
                  <a:cubicBezTo>
                    <a:pt x="335" y="213"/>
                    <a:pt x="330" y="208"/>
                    <a:pt x="330" y="202"/>
                  </a:cubicBezTo>
                  <a:cubicBezTo>
                    <a:pt x="330" y="192"/>
                    <a:pt x="330" y="192"/>
                    <a:pt x="330" y="192"/>
                  </a:cubicBezTo>
                  <a:cubicBezTo>
                    <a:pt x="330" y="150"/>
                    <a:pt x="297" y="117"/>
                    <a:pt x="256" y="117"/>
                  </a:cubicBezTo>
                  <a:cubicBezTo>
                    <a:pt x="214" y="117"/>
                    <a:pt x="181" y="150"/>
                    <a:pt x="181" y="192"/>
                  </a:cubicBezTo>
                  <a:cubicBezTo>
                    <a:pt x="181" y="245"/>
                    <a:pt x="181" y="245"/>
                    <a:pt x="181" y="245"/>
                  </a:cubicBezTo>
                  <a:cubicBezTo>
                    <a:pt x="362" y="245"/>
                    <a:pt x="362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2" name="Rectangle 608"/>
            <p:cNvSpPr>
              <a:spLocks noChangeArrowheads="1"/>
            </p:cNvSpPr>
            <p:nvPr/>
          </p:nvSpPr>
          <p:spPr bwMode="auto">
            <a:xfrm>
              <a:off x="7092" y="2443"/>
              <a:ext cx="128" cy="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3" name="Freeform 627"/>
          <p:cNvSpPr>
            <a:spLocks noChangeAspect="1" noEditPoints="1"/>
          </p:cNvSpPr>
          <p:nvPr/>
        </p:nvSpPr>
        <p:spPr bwMode="auto">
          <a:xfrm>
            <a:off x="3423522" y="2922047"/>
            <a:ext cx="367041" cy="367041"/>
          </a:xfrm>
          <a:custGeom>
            <a:avLst/>
            <a:gdLst>
              <a:gd name="T0" fmla="*/ 330 w 512"/>
              <a:gd name="T1" fmla="*/ 245 h 512"/>
              <a:gd name="T2" fmla="*/ 181 w 512"/>
              <a:gd name="T3" fmla="*/ 245 h 512"/>
              <a:gd name="T4" fmla="*/ 181 w 512"/>
              <a:gd name="T5" fmla="*/ 192 h 512"/>
              <a:gd name="T6" fmla="*/ 256 w 512"/>
              <a:gd name="T7" fmla="*/ 117 h 512"/>
              <a:gd name="T8" fmla="*/ 330 w 512"/>
              <a:gd name="T9" fmla="*/ 192 h 512"/>
              <a:gd name="T10" fmla="*/ 330 w 512"/>
              <a:gd name="T11" fmla="*/ 245 h 512"/>
              <a:gd name="T12" fmla="*/ 160 w 512"/>
              <a:gd name="T13" fmla="*/ 394 h 512"/>
              <a:gd name="T14" fmla="*/ 352 w 512"/>
              <a:gd name="T15" fmla="*/ 394 h 512"/>
              <a:gd name="T16" fmla="*/ 352 w 512"/>
              <a:gd name="T17" fmla="*/ 266 h 512"/>
              <a:gd name="T18" fmla="*/ 160 w 512"/>
              <a:gd name="T19" fmla="*/ 266 h 512"/>
              <a:gd name="T20" fmla="*/ 160 w 512"/>
              <a:gd name="T21" fmla="*/ 394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73 w 512"/>
              <a:gd name="T33" fmla="*/ 256 h 512"/>
              <a:gd name="T34" fmla="*/ 362 w 512"/>
              <a:gd name="T35" fmla="*/ 245 h 512"/>
              <a:gd name="T36" fmla="*/ 352 w 512"/>
              <a:gd name="T37" fmla="*/ 245 h 512"/>
              <a:gd name="T38" fmla="*/ 352 w 512"/>
              <a:gd name="T39" fmla="*/ 192 h 512"/>
              <a:gd name="T40" fmla="*/ 256 w 512"/>
              <a:gd name="T41" fmla="*/ 96 h 512"/>
              <a:gd name="T42" fmla="*/ 160 w 512"/>
              <a:gd name="T43" fmla="*/ 192 h 512"/>
              <a:gd name="T44" fmla="*/ 160 w 512"/>
              <a:gd name="T45" fmla="*/ 245 h 512"/>
              <a:gd name="T46" fmla="*/ 149 w 512"/>
              <a:gd name="T47" fmla="*/ 245 h 512"/>
              <a:gd name="T48" fmla="*/ 138 w 512"/>
              <a:gd name="T49" fmla="*/ 256 h 512"/>
              <a:gd name="T50" fmla="*/ 138 w 512"/>
              <a:gd name="T51" fmla="*/ 405 h 512"/>
              <a:gd name="T52" fmla="*/ 149 w 512"/>
              <a:gd name="T53" fmla="*/ 416 h 512"/>
              <a:gd name="T54" fmla="*/ 362 w 512"/>
              <a:gd name="T55" fmla="*/ 416 h 512"/>
              <a:gd name="T56" fmla="*/ 373 w 512"/>
              <a:gd name="T57" fmla="*/ 405 h 512"/>
              <a:gd name="T58" fmla="*/ 373 w 512"/>
              <a:gd name="T5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330" y="245"/>
                </a:moveTo>
                <a:cubicBezTo>
                  <a:pt x="181" y="245"/>
                  <a:pt x="181" y="245"/>
                  <a:pt x="181" y="245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181" y="150"/>
                  <a:pt x="214" y="117"/>
                  <a:pt x="256" y="117"/>
                </a:cubicBezTo>
                <a:cubicBezTo>
                  <a:pt x="297" y="117"/>
                  <a:pt x="330" y="150"/>
                  <a:pt x="330" y="192"/>
                </a:cubicBezTo>
                <a:lnTo>
                  <a:pt x="330" y="245"/>
                </a:lnTo>
                <a:close/>
                <a:moveTo>
                  <a:pt x="160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160" y="266"/>
                  <a:pt x="160" y="266"/>
                  <a:pt x="160" y="266"/>
                </a:cubicBezTo>
                <a:lnTo>
                  <a:pt x="160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56"/>
                </a:moveTo>
                <a:cubicBezTo>
                  <a:pt x="373" y="250"/>
                  <a:pt x="368" y="245"/>
                  <a:pt x="362" y="245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352" y="139"/>
                  <a:pt x="309" y="96"/>
                  <a:pt x="256" y="96"/>
                </a:cubicBezTo>
                <a:cubicBezTo>
                  <a:pt x="203" y="96"/>
                  <a:pt x="160" y="139"/>
                  <a:pt x="160" y="192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43" y="245"/>
                  <a:pt x="138" y="250"/>
                  <a:pt x="138" y="25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2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54" name="Group 630"/>
          <p:cNvGrpSpPr>
            <a:grpSpLocks noChangeAspect="1"/>
          </p:cNvGrpSpPr>
          <p:nvPr/>
        </p:nvGrpSpPr>
        <p:grpSpPr bwMode="auto">
          <a:xfrm>
            <a:off x="3919459" y="2922047"/>
            <a:ext cx="367041" cy="367041"/>
            <a:chOff x="4593" y="2664"/>
            <a:chExt cx="340" cy="340"/>
          </a:xfrm>
          <a:solidFill>
            <a:schemeClr val="accent1"/>
          </a:solidFill>
        </p:grpSpPr>
        <p:sp>
          <p:nvSpPr>
            <p:cNvPr id="755" name="Freeform 631"/>
            <p:cNvSpPr>
              <a:spLocks noEditPoints="1"/>
            </p:cNvSpPr>
            <p:nvPr/>
          </p:nvSpPr>
          <p:spPr bwMode="auto">
            <a:xfrm>
              <a:off x="4685" y="2728"/>
              <a:ext cx="156" cy="212"/>
            </a:xfrm>
            <a:custGeom>
              <a:avLst/>
              <a:gdLst>
                <a:gd name="T0" fmla="*/ 224 w 235"/>
                <a:gd name="T1" fmla="*/ 149 h 320"/>
                <a:gd name="T2" fmla="*/ 214 w 235"/>
                <a:gd name="T3" fmla="*/ 149 h 320"/>
                <a:gd name="T4" fmla="*/ 214 w 235"/>
                <a:gd name="T5" fmla="*/ 96 h 320"/>
                <a:gd name="T6" fmla="*/ 118 w 235"/>
                <a:gd name="T7" fmla="*/ 0 h 320"/>
                <a:gd name="T8" fmla="*/ 22 w 235"/>
                <a:gd name="T9" fmla="*/ 96 h 320"/>
                <a:gd name="T10" fmla="*/ 22 w 235"/>
                <a:gd name="T11" fmla="*/ 149 h 320"/>
                <a:gd name="T12" fmla="*/ 11 w 235"/>
                <a:gd name="T13" fmla="*/ 149 h 320"/>
                <a:gd name="T14" fmla="*/ 0 w 235"/>
                <a:gd name="T15" fmla="*/ 160 h 320"/>
                <a:gd name="T16" fmla="*/ 0 w 235"/>
                <a:gd name="T17" fmla="*/ 309 h 320"/>
                <a:gd name="T18" fmla="*/ 11 w 235"/>
                <a:gd name="T19" fmla="*/ 320 h 320"/>
                <a:gd name="T20" fmla="*/ 224 w 235"/>
                <a:gd name="T21" fmla="*/ 320 h 320"/>
                <a:gd name="T22" fmla="*/ 235 w 235"/>
                <a:gd name="T23" fmla="*/ 309 h 320"/>
                <a:gd name="T24" fmla="*/ 235 w 235"/>
                <a:gd name="T25" fmla="*/ 160 h 320"/>
                <a:gd name="T26" fmla="*/ 224 w 235"/>
                <a:gd name="T27" fmla="*/ 149 h 320"/>
                <a:gd name="T28" fmla="*/ 43 w 235"/>
                <a:gd name="T29" fmla="*/ 96 h 320"/>
                <a:gd name="T30" fmla="*/ 118 w 235"/>
                <a:gd name="T31" fmla="*/ 21 h 320"/>
                <a:gd name="T32" fmla="*/ 192 w 235"/>
                <a:gd name="T33" fmla="*/ 96 h 320"/>
                <a:gd name="T34" fmla="*/ 192 w 235"/>
                <a:gd name="T35" fmla="*/ 149 h 320"/>
                <a:gd name="T36" fmla="*/ 43 w 235"/>
                <a:gd name="T37" fmla="*/ 149 h 320"/>
                <a:gd name="T38" fmla="*/ 43 w 235"/>
                <a:gd name="T39" fmla="*/ 96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170 h 320"/>
                <a:gd name="T46" fmla="*/ 214 w 235"/>
                <a:gd name="T47" fmla="*/ 170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24" y="149"/>
                  </a:moveTo>
                  <a:cubicBezTo>
                    <a:pt x="214" y="149"/>
                    <a:pt x="214" y="149"/>
                    <a:pt x="214" y="149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54"/>
                    <a:pt x="230" y="149"/>
                    <a:pt x="224" y="149"/>
                  </a:cubicBezTo>
                  <a:close/>
                  <a:moveTo>
                    <a:pt x="43" y="96"/>
                  </a:move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43" y="149"/>
                    <a:pt x="43" y="149"/>
                    <a:pt x="43" y="149"/>
                  </a:cubicBezTo>
                  <a:lnTo>
                    <a:pt x="43" y="9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14" y="170"/>
                    <a:pt x="214" y="170"/>
                    <a:pt x="214" y="170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6" name="Freeform 632"/>
            <p:cNvSpPr>
              <a:spLocks noEditPoints="1"/>
            </p:cNvSpPr>
            <p:nvPr/>
          </p:nvSpPr>
          <p:spPr bwMode="auto">
            <a:xfrm>
              <a:off x="4593" y="26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66" name="Group 432"/>
          <p:cNvGrpSpPr>
            <a:grpSpLocks noChangeAspect="1"/>
          </p:cNvGrpSpPr>
          <p:nvPr/>
        </p:nvGrpSpPr>
        <p:grpSpPr bwMode="auto">
          <a:xfrm>
            <a:off x="7897195" y="2051054"/>
            <a:ext cx="369676" cy="370763"/>
            <a:chOff x="3505" y="1546"/>
            <a:chExt cx="340" cy="341"/>
          </a:xfrm>
          <a:solidFill>
            <a:schemeClr val="accent5"/>
          </a:solidFill>
        </p:grpSpPr>
        <p:sp>
          <p:nvSpPr>
            <p:cNvPr id="767" name="Freeform 433"/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8" name="Freeform 434"/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69" name="Group 437"/>
          <p:cNvGrpSpPr>
            <a:grpSpLocks noChangeAspect="1"/>
          </p:cNvGrpSpPr>
          <p:nvPr/>
        </p:nvGrpSpPr>
        <p:grpSpPr bwMode="auto">
          <a:xfrm>
            <a:off x="7398521" y="2051051"/>
            <a:ext cx="369676" cy="369676"/>
            <a:chOff x="3130" y="1561"/>
            <a:chExt cx="340" cy="340"/>
          </a:xfrm>
          <a:solidFill>
            <a:schemeClr val="accent5"/>
          </a:solidFill>
        </p:grpSpPr>
        <p:sp>
          <p:nvSpPr>
            <p:cNvPr id="770" name="Freeform 438"/>
            <p:cNvSpPr>
              <a:spLocks/>
            </p:cNvSpPr>
            <p:nvPr/>
          </p:nvSpPr>
          <p:spPr bwMode="auto">
            <a:xfrm>
              <a:off x="3307" y="1696"/>
              <a:ext cx="28" cy="28"/>
            </a:xfrm>
            <a:custGeom>
              <a:avLst/>
              <a:gdLst>
                <a:gd name="T0" fmla="*/ 0 w 42"/>
                <a:gd name="T1" fmla="*/ 0 h 42"/>
                <a:gd name="T2" fmla="*/ 0 w 42"/>
                <a:gd name="T3" fmla="*/ 42 h 42"/>
                <a:gd name="T4" fmla="*/ 42 w 42"/>
                <a:gd name="T5" fmla="*/ 42 h 42"/>
                <a:gd name="T6" fmla="*/ 0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38" y="21"/>
                    <a:pt x="2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1" name="Freeform 439"/>
            <p:cNvSpPr>
              <a:spLocks/>
            </p:cNvSpPr>
            <p:nvPr/>
          </p:nvSpPr>
          <p:spPr bwMode="auto">
            <a:xfrm>
              <a:off x="3265" y="1696"/>
              <a:ext cx="28" cy="28"/>
            </a:xfrm>
            <a:custGeom>
              <a:avLst/>
              <a:gdLst>
                <a:gd name="T0" fmla="*/ 0 w 42"/>
                <a:gd name="T1" fmla="*/ 42 h 42"/>
                <a:gd name="T2" fmla="*/ 42 w 42"/>
                <a:gd name="T3" fmla="*/ 42 h 42"/>
                <a:gd name="T4" fmla="*/ 42 w 42"/>
                <a:gd name="T5" fmla="*/ 0 h 42"/>
                <a:gd name="T6" fmla="*/ 0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1" y="5"/>
                    <a:pt x="5" y="21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2" name="Freeform 440"/>
            <p:cNvSpPr>
              <a:spLocks/>
            </p:cNvSpPr>
            <p:nvPr/>
          </p:nvSpPr>
          <p:spPr bwMode="auto">
            <a:xfrm>
              <a:off x="3230" y="1661"/>
              <a:ext cx="63" cy="63"/>
            </a:xfrm>
            <a:custGeom>
              <a:avLst/>
              <a:gdLst>
                <a:gd name="T0" fmla="*/ 0 w 95"/>
                <a:gd name="T1" fmla="*/ 95 h 95"/>
                <a:gd name="T2" fmla="*/ 32 w 95"/>
                <a:gd name="T3" fmla="*/ 95 h 95"/>
                <a:gd name="T4" fmla="*/ 95 w 95"/>
                <a:gd name="T5" fmla="*/ 32 h 95"/>
                <a:gd name="T6" fmla="*/ 95 w 95"/>
                <a:gd name="T7" fmla="*/ 0 h 95"/>
                <a:gd name="T8" fmla="*/ 0 w 95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0" y="95"/>
                  </a:moveTo>
                  <a:cubicBezTo>
                    <a:pt x="32" y="95"/>
                    <a:pt x="32" y="95"/>
                    <a:pt x="32" y="95"/>
                  </a:cubicBezTo>
                  <a:cubicBezTo>
                    <a:pt x="37" y="62"/>
                    <a:pt x="62" y="37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5" y="5"/>
                    <a:pt x="5" y="45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3" name="Freeform 441"/>
            <p:cNvSpPr>
              <a:spLocks/>
            </p:cNvSpPr>
            <p:nvPr/>
          </p:nvSpPr>
          <p:spPr bwMode="auto">
            <a:xfrm>
              <a:off x="3265" y="1738"/>
              <a:ext cx="28" cy="28"/>
            </a:xfrm>
            <a:custGeom>
              <a:avLst/>
              <a:gdLst>
                <a:gd name="T0" fmla="*/ 42 w 42"/>
                <a:gd name="T1" fmla="*/ 42 h 42"/>
                <a:gd name="T2" fmla="*/ 42 w 42"/>
                <a:gd name="T3" fmla="*/ 0 h 42"/>
                <a:gd name="T4" fmla="*/ 0 w 42"/>
                <a:gd name="T5" fmla="*/ 0 h 42"/>
                <a:gd name="T6" fmla="*/ 42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42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21"/>
                    <a:pt x="21" y="38"/>
                    <a:pt x="4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4" name="Freeform 442"/>
            <p:cNvSpPr>
              <a:spLocks/>
            </p:cNvSpPr>
            <p:nvPr/>
          </p:nvSpPr>
          <p:spPr bwMode="auto">
            <a:xfrm>
              <a:off x="3230" y="1738"/>
              <a:ext cx="63" cy="63"/>
            </a:xfrm>
            <a:custGeom>
              <a:avLst/>
              <a:gdLst>
                <a:gd name="T0" fmla="*/ 32 w 95"/>
                <a:gd name="T1" fmla="*/ 0 h 96"/>
                <a:gd name="T2" fmla="*/ 0 w 95"/>
                <a:gd name="T3" fmla="*/ 0 h 96"/>
                <a:gd name="T4" fmla="*/ 95 w 95"/>
                <a:gd name="T5" fmla="*/ 96 h 96"/>
                <a:gd name="T6" fmla="*/ 95 w 95"/>
                <a:gd name="T7" fmla="*/ 63 h 96"/>
                <a:gd name="T8" fmla="*/ 32 w 95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6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51"/>
                    <a:pt x="45" y="91"/>
                    <a:pt x="95" y="96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62" y="59"/>
                    <a:pt x="37" y="33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5" name="Freeform 443"/>
            <p:cNvSpPr>
              <a:spLocks/>
            </p:cNvSpPr>
            <p:nvPr/>
          </p:nvSpPr>
          <p:spPr bwMode="auto">
            <a:xfrm>
              <a:off x="3307" y="1738"/>
              <a:ext cx="28" cy="28"/>
            </a:xfrm>
            <a:custGeom>
              <a:avLst/>
              <a:gdLst>
                <a:gd name="T0" fmla="*/ 42 w 42"/>
                <a:gd name="T1" fmla="*/ 0 h 42"/>
                <a:gd name="T2" fmla="*/ 0 w 42"/>
                <a:gd name="T3" fmla="*/ 0 h 42"/>
                <a:gd name="T4" fmla="*/ 0 w 42"/>
                <a:gd name="T5" fmla="*/ 42 h 42"/>
                <a:gd name="T6" fmla="*/ 42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1" y="38"/>
                    <a:pt x="38" y="21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6" name="Freeform 444"/>
            <p:cNvSpPr>
              <a:spLocks noEditPoints="1"/>
            </p:cNvSpPr>
            <p:nvPr/>
          </p:nvSpPr>
          <p:spPr bwMode="auto">
            <a:xfrm>
              <a:off x="3130" y="156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383 w 512"/>
                <a:gd name="T13" fmla="*/ 266 h 512"/>
                <a:gd name="T14" fmla="*/ 266 w 512"/>
                <a:gd name="T15" fmla="*/ 383 h 512"/>
                <a:gd name="T16" fmla="*/ 266 w 512"/>
                <a:gd name="T17" fmla="*/ 405 h 512"/>
                <a:gd name="T18" fmla="*/ 256 w 512"/>
                <a:gd name="T19" fmla="*/ 416 h 512"/>
                <a:gd name="T20" fmla="*/ 245 w 512"/>
                <a:gd name="T21" fmla="*/ 405 h 512"/>
                <a:gd name="T22" fmla="*/ 245 w 512"/>
                <a:gd name="T23" fmla="*/ 383 h 512"/>
                <a:gd name="T24" fmla="*/ 128 w 512"/>
                <a:gd name="T25" fmla="*/ 266 h 512"/>
                <a:gd name="T26" fmla="*/ 106 w 512"/>
                <a:gd name="T27" fmla="*/ 266 h 512"/>
                <a:gd name="T28" fmla="*/ 96 w 512"/>
                <a:gd name="T29" fmla="*/ 256 h 512"/>
                <a:gd name="T30" fmla="*/ 106 w 512"/>
                <a:gd name="T31" fmla="*/ 245 h 512"/>
                <a:gd name="T32" fmla="*/ 128 w 512"/>
                <a:gd name="T33" fmla="*/ 245 h 512"/>
                <a:gd name="T34" fmla="*/ 245 w 512"/>
                <a:gd name="T35" fmla="*/ 128 h 512"/>
                <a:gd name="T36" fmla="*/ 245 w 512"/>
                <a:gd name="T37" fmla="*/ 106 h 512"/>
                <a:gd name="T38" fmla="*/ 256 w 512"/>
                <a:gd name="T39" fmla="*/ 96 h 512"/>
                <a:gd name="T40" fmla="*/ 266 w 512"/>
                <a:gd name="T41" fmla="*/ 106 h 512"/>
                <a:gd name="T42" fmla="*/ 266 w 512"/>
                <a:gd name="T43" fmla="*/ 128 h 512"/>
                <a:gd name="T44" fmla="*/ 383 w 512"/>
                <a:gd name="T45" fmla="*/ 245 h 512"/>
                <a:gd name="T46" fmla="*/ 405 w 512"/>
                <a:gd name="T47" fmla="*/ 245 h 512"/>
                <a:gd name="T48" fmla="*/ 416 w 512"/>
                <a:gd name="T49" fmla="*/ 256 h 512"/>
                <a:gd name="T50" fmla="*/ 405 w 512"/>
                <a:gd name="T51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383" y="266"/>
                    <a:pt x="383" y="266"/>
                    <a:pt x="383" y="266"/>
                  </a:cubicBezTo>
                  <a:cubicBezTo>
                    <a:pt x="378" y="328"/>
                    <a:pt x="328" y="378"/>
                    <a:pt x="266" y="383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83"/>
                    <a:pt x="245" y="383"/>
                    <a:pt x="245" y="383"/>
                  </a:cubicBezTo>
                  <a:cubicBezTo>
                    <a:pt x="183" y="378"/>
                    <a:pt x="133" y="328"/>
                    <a:pt x="128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33" y="183"/>
                    <a:pt x="183" y="133"/>
                    <a:pt x="245" y="128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328" y="133"/>
                    <a:pt x="378" y="183"/>
                    <a:pt x="383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7" name="Freeform 445"/>
            <p:cNvSpPr>
              <a:spLocks/>
            </p:cNvSpPr>
            <p:nvPr/>
          </p:nvSpPr>
          <p:spPr bwMode="auto">
            <a:xfrm>
              <a:off x="3307" y="1661"/>
              <a:ext cx="63" cy="63"/>
            </a:xfrm>
            <a:custGeom>
              <a:avLst/>
              <a:gdLst>
                <a:gd name="T0" fmla="*/ 0 w 96"/>
                <a:gd name="T1" fmla="*/ 0 h 95"/>
                <a:gd name="T2" fmla="*/ 0 w 96"/>
                <a:gd name="T3" fmla="*/ 32 h 95"/>
                <a:gd name="T4" fmla="*/ 63 w 96"/>
                <a:gd name="T5" fmla="*/ 95 h 95"/>
                <a:gd name="T6" fmla="*/ 96 w 96"/>
                <a:gd name="T7" fmla="*/ 95 h 95"/>
                <a:gd name="T8" fmla="*/ 0 w 9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5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33" y="37"/>
                    <a:pt x="59" y="62"/>
                    <a:pt x="63" y="95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1" y="45"/>
                    <a:pt x="5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8" name="Freeform 446"/>
            <p:cNvSpPr>
              <a:spLocks/>
            </p:cNvSpPr>
            <p:nvPr/>
          </p:nvSpPr>
          <p:spPr bwMode="auto">
            <a:xfrm>
              <a:off x="3307" y="1738"/>
              <a:ext cx="63" cy="63"/>
            </a:xfrm>
            <a:custGeom>
              <a:avLst/>
              <a:gdLst>
                <a:gd name="T0" fmla="*/ 0 w 96"/>
                <a:gd name="T1" fmla="*/ 63 h 96"/>
                <a:gd name="T2" fmla="*/ 0 w 96"/>
                <a:gd name="T3" fmla="*/ 96 h 96"/>
                <a:gd name="T4" fmla="*/ 96 w 96"/>
                <a:gd name="T5" fmla="*/ 0 h 96"/>
                <a:gd name="T6" fmla="*/ 63 w 96"/>
                <a:gd name="T7" fmla="*/ 0 h 96"/>
                <a:gd name="T8" fmla="*/ 0 w 96"/>
                <a:gd name="T9" fmla="*/ 6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0" y="63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51" y="91"/>
                    <a:pt x="91" y="51"/>
                    <a:pt x="9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33"/>
                    <a:pt x="33" y="59"/>
                    <a:pt x="0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79" name="Freeform 507"/>
          <p:cNvSpPr>
            <a:spLocks noChangeAspect="1" noEditPoints="1"/>
          </p:cNvSpPr>
          <p:nvPr/>
        </p:nvSpPr>
        <p:spPr bwMode="auto">
          <a:xfrm>
            <a:off x="8395869" y="2051050"/>
            <a:ext cx="367982" cy="369064"/>
          </a:xfrm>
          <a:custGeom>
            <a:avLst/>
            <a:gdLst>
              <a:gd name="T0" fmla="*/ 181 w 512"/>
              <a:gd name="T1" fmla="*/ 394 h 512"/>
              <a:gd name="T2" fmla="*/ 330 w 512"/>
              <a:gd name="T3" fmla="*/ 394 h 512"/>
              <a:gd name="T4" fmla="*/ 330 w 512"/>
              <a:gd name="T5" fmla="*/ 202 h 512"/>
              <a:gd name="T6" fmla="*/ 181 w 512"/>
              <a:gd name="T7" fmla="*/ 202 h 512"/>
              <a:gd name="T8" fmla="*/ 181 w 512"/>
              <a:gd name="T9" fmla="*/ 394 h 512"/>
              <a:gd name="T10" fmla="*/ 288 w 512"/>
              <a:gd name="T11" fmla="*/ 234 h 512"/>
              <a:gd name="T12" fmla="*/ 298 w 512"/>
              <a:gd name="T13" fmla="*/ 224 h 512"/>
              <a:gd name="T14" fmla="*/ 309 w 512"/>
              <a:gd name="T15" fmla="*/ 234 h 512"/>
              <a:gd name="T16" fmla="*/ 309 w 512"/>
              <a:gd name="T17" fmla="*/ 362 h 512"/>
              <a:gd name="T18" fmla="*/ 298 w 512"/>
              <a:gd name="T19" fmla="*/ 373 h 512"/>
              <a:gd name="T20" fmla="*/ 288 w 512"/>
              <a:gd name="T21" fmla="*/ 362 h 512"/>
              <a:gd name="T22" fmla="*/ 288 w 512"/>
              <a:gd name="T23" fmla="*/ 234 h 512"/>
              <a:gd name="T24" fmla="*/ 245 w 512"/>
              <a:gd name="T25" fmla="*/ 234 h 512"/>
              <a:gd name="T26" fmla="*/ 256 w 512"/>
              <a:gd name="T27" fmla="*/ 224 h 512"/>
              <a:gd name="T28" fmla="*/ 266 w 512"/>
              <a:gd name="T29" fmla="*/ 234 h 512"/>
              <a:gd name="T30" fmla="*/ 266 w 512"/>
              <a:gd name="T31" fmla="*/ 362 h 512"/>
              <a:gd name="T32" fmla="*/ 256 w 512"/>
              <a:gd name="T33" fmla="*/ 373 h 512"/>
              <a:gd name="T34" fmla="*/ 245 w 512"/>
              <a:gd name="T35" fmla="*/ 362 h 512"/>
              <a:gd name="T36" fmla="*/ 245 w 512"/>
              <a:gd name="T37" fmla="*/ 234 h 512"/>
              <a:gd name="T38" fmla="*/ 202 w 512"/>
              <a:gd name="T39" fmla="*/ 234 h 512"/>
              <a:gd name="T40" fmla="*/ 213 w 512"/>
              <a:gd name="T41" fmla="*/ 224 h 512"/>
              <a:gd name="T42" fmla="*/ 224 w 512"/>
              <a:gd name="T43" fmla="*/ 234 h 512"/>
              <a:gd name="T44" fmla="*/ 224 w 512"/>
              <a:gd name="T45" fmla="*/ 362 h 512"/>
              <a:gd name="T46" fmla="*/ 213 w 512"/>
              <a:gd name="T47" fmla="*/ 373 h 512"/>
              <a:gd name="T48" fmla="*/ 202 w 512"/>
              <a:gd name="T49" fmla="*/ 362 h 512"/>
              <a:gd name="T50" fmla="*/ 202 w 512"/>
              <a:gd name="T51" fmla="*/ 234 h 512"/>
              <a:gd name="T52" fmla="*/ 293 w 512"/>
              <a:gd name="T53" fmla="*/ 138 h 512"/>
              <a:gd name="T54" fmla="*/ 219 w 512"/>
              <a:gd name="T55" fmla="*/ 138 h 512"/>
              <a:gd name="T56" fmla="*/ 256 w 512"/>
              <a:gd name="T57" fmla="*/ 117 h 512"/>
              <a:gd name="T58" fmla="*/ 293 w 512"/>
              <a:gd name="T59" fmla="*/ 138 h 512"/>
              <a:gd name="T60" fmla="*/ 256 w 512"/>
              <a:gd name="T61" fmla="*/ 0 h 512"/>
              <a:gd name="T62" fmla="*/ 0 w 512"/>
              <a:gd name="T63" fmla="*/ 256 h 512"/>
              <a:gd name="T64" fmla="*/ 256 w 512"/>
              <a:gd name="T65" fmla="*/ 512 h 512"/>
              <a:gd name="T66" fmla="*/ 512 w 512"/>
              <a:gd name="T67" fmla="*/ 256 h 512"/>
              <a:gd name="T68" fmla="*/ 256 w 512"/>
              <a:gd name="T69" fmla="*/ 0 h 512"/>
              <a:gd name="T70" fmla="*/ 352 w 512"/>
              <a:gd name="T71" fmla="*/ 202 h 512"/>
              <a:gd name="T72" fmla="*/ 352 w 512"/>
              <a:gd name="T73" fmla="*/ 405 h 512"/>
              <a:gd name="T74" fmla="*/ 341 w 512"/>
              <a:gd name="T75" fmla="*/ 416 h 512"/>
              <a:gd name="T76" fmla="*/ 170 w 512"/>
              <a:gd name="T77" fmla="*/ 416 h 512"/>
              <a:gd name="T78" fmla="*/ 160 w 512"/>
              <a:gd name="T79" fmla="*/ 405 h 512"/>
              <a:gd name="T80" fmla="*/ 160 w 512"/>
              <a:gd name="T81" fmla="*/ 202 h 512"/>
              <a:gd name="T82" fmla="*/ 149 w 512"/>
              <a:gd name="T83" fmla="*/ 192 h 512"/>
              <a:gd name="T84" fmla="*/ 160 w 512"/>
              <a:gd name="T85" fmla="*/ 181 h 512"/>
              <a:gd name="T86" fmla="*/ 170 w 512"/>
              <a:gd name="T87" fmla="*/ 181 h 512"/>
              <a:gd name="T88" fmla="*/ 341 w 512"/>
              <a:gd name="T89" fmla="*/ 181 h 512"/>
              <a:gd name="T90" fmla="*/ 352 w 512"/>
              <a:gd name="T91" fmla="*/ 181 h 512"/>
              <a:gd name="T92" fmla="*/ 362 w 512"/>
              <a:gd name="T93" fmla="*/ 192 h 512"/>
              <a:gd name="T94" fmla="*/ 352 w 512"/>
              <a:gd name="T95" fmla="*/ 202 h 512"/>
              <a:gd name="T96" fmla="*/ 352 w 512"/>
              <a:gd name="T97" fmla="*/ 160 h 512"/>
              <a:gd name="T98" fmla="*/ 160 w 512"/>
              <a:gd name="T99" fmla="*/ 160 h 512"/>
              <a:gd name="T100" fmla="*/ 149 w 512"/>
              <a:gd name="T101" fmla="*/ 149 h 512"/>
              <a:gd name="T102" fmla="*/ 160 w 512"/>
              <a:gd name="T103" fmla="*/ 138 h 512"/>
              <a:gd name="T104" fmla="*/ 195 w 512"/>
              <a:gd name="T105" fmla="*/ 138 h 512"/>
              <a:gd name="T106" fmla="*/ 197 w 512"/>
              <a:gd name="T107" fmla="*/ 134 h 512"/>
              <a:gd name="T108" fmla="*/ 197 w 512"/>
              <a:gd name="T109" fmla="*/ 134 h 512"/>
              <a:gd name="T110" fmla="*/ 256 w 512"/>
              <a:gd name="T111" fmla="*/ 96 h 512"/>
              <a:gd name="T112" fmla="*/ 316 w 512"/>
              <a:gd name="T113" fmla="*/ 138 h 512"/>
              <a:gd name="T114" fmla="*/ 352 w 512"/>
              <a:gd name="T115" fmla="*/ 138 h 512"/>
              <a:gd name="T116" fmla="*/ 362 w 512"/>
              <a:gd name="T117" fmla="*/ 149 h 512"/>
              <a:gd name="T118" fmla="*/ 352 w 512"/>
              <a:gd name="T119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181" y="394"/>
                </a:moveTo>
                <a:cubicBezTo>
                  <a:pt x="330" y="394"/>
                  <a:pt x="330" y="394"/>
                  <a:pt x="330" y="394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181" y="202"/>
                  <a:pt x="181" y="202"/>
                  <a:pt x="181" y="202"/>
                </a:cubicBezTo>
                <a:lnTo>
                  <a:pt x="181" y="394"/>
                </a:lnTo>
                <a:close/>
                <a:moveTo>
                  <a:pt x="288" y="234"/>
                </a:moveTo>
                <a:cubicBezTo>
                  <a:pt x="288" y="228"/>
                  <a:pt x="292" y="224"/>
                  <a:pt x="298" y="224"/>
                </a:cubicBezTo>
                <a:cubicBezTo>
                  <a:pt x="304" y="224"/>
                  <a:pt x="309" y="228"/>
                  <a:pt x="309" y="234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68"/>
                  <a:pt x="304" y="373"/>
                  <a:pt x="298" y="373"/>
                </a:cubicBezTo>
                <a:cubicBezTo>
                  <a:pt x="292" y="373"/>
                  <a:pt x="288" y="368"/>
                  <a:pt x="288" y="362"/>
                </a:cubicBezTo>
                <a:lnTo>
                  <a:pt x="288" y="234"/>
                </a:lnTo>
                <a:close/>
                <a:moveTo>
                  <a:pt x="245" y="234"/>
                </a:moveTo>
                <a:cubicBezTo>
                  <a:pt x="245" y="228"/>
                  <a:pt x="250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362"/>
                  <a:pt x="266" y="362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lnTo>
                  <a:pt x="245" y="234"/>
                </a:lnTo>
                <a:close/>
                <a:moveTo>
                  <a:pt x="202" y="234"/>
                </a:moveTo>
                <a:cubicBezTo>
                  <a:pt x="202" y="228"/>
                  <a:pt x="207" y="224"/>
                  <a:pt x="213" y="224"/>
                </a:cubicBezTo>
                <a:cubicBezTo>
                  <a:pt x="219" y="224"/>
                  <a:pt x="224" y="228"/>
                  <a:pt x="224" y="234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19" y="373"/>
                  <a:pt x="213" y="373"/>
                </a:cubicBezTo>
                <a:cubicBezTo>
                  <a:pt x="207" y="373"/>
                  <a:pt x="202" y="368"/>
                  <a:pt x="202" y="362"/>
                </a:cubicBezTo>
                <a:lnTo>
                  <a:pt x="202" y="234"/>
                </a:lnTo>
                <a:close/>
                <a:moveTo>
                  <a:pt x="293" y="138"/>
                </a:moveTo>
                <a:cubicBezTo>
                  <a:pt x="219" y="138"/>
                  <a:pt x="219" y="138"/>
                  <a:pt x="219" y="138"/>
                </a:cubicBezTo>
                <a:cubicBezTo>
                  <a:pt x="226" y="125"/>
                  <a:pt x="240" y="117"/>
                  <a:pt x="256" y="117"/>
                </a:cubicBezTo>
                <a:cubicBezTo>
                  <a:pt x="271" y="117"/>
                  <a:pt x="285" y="125"/>
                  <a:pt x="293" y="138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02"/>
                </a:moveTo>
                <a:cubicBezTo>
                  <a:pt x="352" y="405"/>
                  <a:pt x="352" y="405"/>
                  <a:pt x="352" y="405"/>
                </a:cubicBezTo>
                <a:cubicBezTo>
                  <a:pt x="352" y="411"/>
                  <a:pt x="347" y="416"/>
                  <a:pt x="341" y="416"/>
                </a:cubicBezTo>
                <a:cubicBezTo>
                  <a:pt x="170" y="416"/>
                  <a:pt x="170" y="416"/>
                  <a:pt x="170" y="416"/>
                </a:cubicBezTo>
                <a:cubicBezTo>
                  <a:pt x="164" y="416"/>
                  <a:pt x="160" y="411"/>
                  <a:pt x="160" y="405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54" y="202"/>
                  <a:pt x="149" y="198"/>
                  <a:pt x="149" y="192"/>
                </a:cubicBezTo>
                <a:cubicBezTo>
                  <a:pt x="149" y="186"/>
                  <a:pt x="154" y="181"/>
                  <a:pt x="160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8" y="181"/>
                  <a:pt x="362" y="186"/>
                  <a:pt x="362" y="192"/>
                </a:cubicBezTo>
                <a:cubicBezTo>
                  <a:pt x="362" y="198"/>
                  <a:pt x="358" y="202"/>
                  <a:pt x="352" y="202"/>
                </a:cubicBezTo>
                <a:close/>
                <a:moveTo>
                  <a:pt x="352" y="160"/>
                </a:moveTo>
                <a:cubicBezTo>
                  <a:pt x="160" y="160"/>
                  <a:pt x="160" y="160"/>
                  <a:pt x="160" y="160"/>
                </a:cubicBezTo>
                <a:cubicBezTo>
                  <a:pt x="154" y="160"/>
                  <a:pt x="149" y="155"/>
                  <a:pt x="149" y="149"/>
                </a:cubicBezTo>
                <a:cubicBezTo>
                  <a:pt x="149" y="143"/>
                  <a:pt x="154" y="138"/>
                  <a:pt x="160" y="138"/>
                </a:cubicBezTo>
                <a:cubicBezTo>
                  <a:pt x="195" y="138"/>
                  <a:pt x="195" y="138"/>
                  <a:pt x="195" y="138"/>
                </a:cubicBezTo>
                <a:cubicBezTo>
                  <a:pt x="196" y="137"/>
                  <a:pt x="196" y="135"/>
                  <a:pt x="197" y="134"/>
                </a:cubicBezTo>
                <a:cubicBezTo>
                  <a:pt x="197" y="134"/>
                  <a:pt x="197" y="134"/>
                  <a:pt x="197" y="134"/>
                </a:cubicBezTo>
                <a:cubicBezTo>
                  <a:pt x="207" y="111"/>
                  <a:pt x="230" y="96"/>
                  <a:pt x="256" y="96"/>
                </a:cubicBezTo>
                <a:cubicBezTo>
                  <a:pt x="283" y="96"/>
                  <a:pt x="307" y="113"/>
                  <a:pt x="316" y="138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358" y="138"/>
                  <a:pt x="362" y="143"/>
                  <a:pt x="362" y="149"/>
                </a:cubicBezTo>
                <a:cubicBezTo>
                  <a:pt x="362" y="155"/>
                  <a:pt x="358" y="160"/>
                  <a:pt x="352" y="16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0" name="Group 510"/>
          <p:cNvGrpSpPr>
            <a:grpSpLocks noChangeAspect="1"/>
          </p:cNvGrpSpPr>
          <p:nvPr/>
        </p:nvGrpSpPr>
        <p:grpSpPr bwMode="auto">
          <a:xfrm>
            <a:off x="8892849" y="2051050"/>
            <a:ext cx="369064" cy="367982"/>
            <a:chOff x="4155" y="3088"/>
            <a:chExt cx="341" cy="340"/>
          </a:xfrm>
          <a:solidFill>
            <a:schemeClr val="accent6"/>
          </a:solidFill>
        </p:grpSpPr>
        <p:sp>
          <p:nvSpPr>
            <p:cNvPr id="781" name="Freeform 511"/>
            <p:cNvSpPr>
              <a:spLocks noEditPoints="1"/>
            </p:cNvSpPr>
            <p:nvPr/>
          </p:nvSpPr>
          <p:spPr bwMode="auto">
            <a:xfrm>
              <a:off x="4254" y="3152"/>
              <a:ext cx="142" cy="212"/>
            </a:xfrm>
            <a:custGeom>
              <a:avLst/>
              <a:gdLst>
                <a:gd name="T0" fmla="*/ 11 w 213"/>
                <a:gd name="T1" fmla="*/ 64 h 320"/>
                <a:gd name="T2" fmla="*/ 203 w 213"/>
                <a:gd name="T3" fmla="*/ 64 h 320"/>
                <a:gd name="T4" fmla="*/ 213 w 213"/>
                <a:gd name="T5" fmla="*/ 53 h 320"/>
                <a:gd name="T6" fmla="*/ 203 w 213"/>
                <a:gd name="T7" fmla="*/ 42 h 320"/>
                <a:gd name="T8" fmla="*/ 167 w 213"/>
                <a:gd name="T9" fmla="*/ 42 h 320"/>
                <a:gd name="T10" fmla="*/ 107 w 213"/>
                <a:gd name="T11" fmla="*/ 0 h 320"/>
                <a:gd name="T12" fmla="*/ 48 w 213"/>
                <a:gd name="T13" fmla="*/ 38 h 320"/>
                <a:gd name="T14" fmla="*/ 48 w 213"/>
                <a:gd name="T15" fmla="*/ 38 h 320"/>
                <a:gd name="T16" fmla="*/ 46 w 213"/>
                <a:gd name="T17" fmla="*/ 42 h 320"/>
                <a:gd name="T18" fmla="*/ 11 w 213"/>
                <a:gd name="T19" fmla="*/ 42 h 320"/>
                <a:gd name="T20" fmla="*/ 0 w 213"/>
                <a:gd name="T21" fmla="*/ 53 h 320"/>
                <a:gd name="T22" fmla="*/ 11 w 213"/>
                <a:gd name="T23" fmla="*/ 64 h 320"/>
                <a:gd name="T24" fmla="*/ 107 w 213"/>
                <a:gd name="T25" fmla="*/ 21 h 320"/>
                <a:gd name="T26" fmla="*/ 144 w 213"/>
                <a:gd name="T27" fmla="*/ 42 h 320"/>
                <a:gd name="T28" fmla="*/ 70 w 213"/>
                <a:gd name="T29" fmla="*/ 42 h 320"/>
                <a:gd name="T30" fmla="*/ 107 w 213"/>
                <a:gd name="T31" fmla="*/ 21 h 320"/>
                <a:gd name="T32" fmla="*/ 203 w 213"/>
                <a:gd name="T33" fmla="*/ 85 h 320"/>
                <a:gd name="T34" fmla="*/ 192 w 213"/>
                <a:gd name="T35" fmla="*/ 85 h 320"/>
                <a:gd name="T36" fmla="*/ 21 w 213"/>
                <a:gd name="T37" fmla="*/ 85 h 320"/>
                <a:gd name="T38" fmla="*/ 11 w 213"/>
                <a:gd name="T39" fmla="*/ 85 h 320"/>
                <a:gd name="T40" fmla="*/ 0 w 213"/>
                <a:gd name="T41" fmla="*/ 96 h 320"/>
                <a:gd name="T42" fmla="*/ 11 w 213"/>
                <a:gd name="T43" fmla="*/ 106 h 320"/>
                <a:gd name="T44" fmla="*/ 11 w 213"/>
                <a:gd name="T45" fmla="*/ 309 h 320"/>
                <a:gd name="T46" fmla="*/ 21 w 213"/>
                <a:gd name="T47" fmla="*/ 320 h 320"/>
                <a:gd name="T48" fmla="*/ 192 w 213"/>
                <a:gd name="T49" fmla="*/ 320 h 320"/>
                <a:gd name="T50" fmla="*/ 203 w 213"/>
                <a:gd name="T51" fmla="*/ 309 h 320"/>
                <a:gd name="T52" fmla="*/ 203 w 213"/>
                <a:gd name="T53" fmla="*/ 106 h 320"/>
                <a:gd name="T54" fmla="*/ 213 w 213"/>
                <a:gd name="T55" fmla="*/ 96 h 320"/>
                <a:gd name="T56" fmla="*/ 203 w 213"/>
                <a:gd name="T57" fmla="*/ 85 h 320"/>
                <a:gd name="T58" fmla="*/ 181 w 213"/>
                <a:gd name="T59" fmla="*/ 298 h 320"/>
                <a:gd name="T60" fmla="*/ 32 w 213"/>
                <a:gd name="T61" fmla="*/ 298 h 320"/>
                <a:gd name="T62" fmla="*/ 32 w 213"/>
                <a:gd name="T63" fmla="*/ 106 h 320"/>
                <a:gd name="T64" fmla="*/ 181 w 213"/>
                <a:gd name="T65" fmla="*/ 106 h 320"/>
                <a:gd name="T66" fmla="*/ 181 w 213"/>
                <a:gd name="T67" fmla="*/ 298 h 320"/>
                <a:gd name="T68" fmla="*/ 53 w 213"/>
                <a:gd name="T69" fmla="*/ 266 h 320"/>
                <a:gd name="T70" fmla="*/ 53 w 213"/>
                <a:gd name="T71" fmla="*/ 138 h 320"/>
                <a:gd name="T72" fmla="*/ 64 w 213"/>
                <a:gd name="T73" fmla="*/ 128 h 320"/>
                <a:gd name="T74" fmla="*/ 75 w 213"/>
                <a:gd name="T75" fmla="*/ 138 h 320"/>
                <a:gd name="T76" fmla="*/ 75 w 213"/>
                <a:gd name="T77" fmla="*/ 266 h 320"/>
                <a:gd name="T78" fmla="*/ 64 w 213"/>
                <a:gd name="T79" fmla="*/ 277 h 320"/>
                <a:gd name="T80" fmla="*/ 53 w 213"/>
                <a:gd name="T81" fmla="*/ 266 h 320"/>
                <a:gd name="T82" fmla="*/ 96 w 213"/>
                <a:gd name="T83" fmla="*/ 266 h 320"/>
                <a:gd name="T84" fmla="*/ 96 w 213"/>
                <a:gd name="T85" fmla="*/ 138 h 320"/>
                <a:gd name="T86" fmla="*/ 107 w 213"/>
                <a:gd name="T87" fmla="*/ 128 h 320"/>
                <a:gd name="T88" fmla="*/ 117 w 213"/>
                <a:gd name="T89" fmla="*/ 138 h 320"/>
                <a:gd name="T90" fmla="*/ 117 w 213"/>
                <a:gd name="T91" fmla="*/ 266 h 320"/>
                <a:gd name="T92" fmla="*/ 107 w 213"/>
                <a:gd name="T93" fmla="*/ 277 h 320"/>
                <a:gd name="T94" fmla="*/ 96 w 213"/>
                <a:gd name="T95" fmla="*/ 266 h 320"/>
                <a:gd name="T96" fmla="*/ 139 w 213"/>
                <a:gd name="T97" fmla="*/ 266 h 320"/>
                <a:gd name="T98" fmla="*/ 139 w 213"/>
                <a:gd name="T99" fmla="*/ 138 h 320"/>
                <a:gd name="T100" fmla="*/ 149 w 213"/>
                <a:gd name="T101" fmla="*/ 128 h 320"/>
                <a:gd name="T102" fmla="*/ 160 w 213"/>
                <a:gd name="T103" fmla="*/ 138 h 320"/>
                <a:gd name="T104" fmla="*/ 160 w 213"/>
                <a:gd name="T105" fmla="*/ 266 h 320"/>
                <a:gd name="T106" fmla="*/ 149 w 213"/>
                <a:gd name="T107" fmla="*/ 277 h 320"/>
                <a:gd name="T108" fmla="*/ 139 w 213"/>
                <a:gd name="T109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3" h="320">
                  <a:moveTo>
                    <a:pt x="11" y="64"/>
                  </a:moveTo>
                  <a:cubicBezTo>
                    <a:pt x="203" y="64"/>
                    <a:pt x="203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7"/>
                    <a:pt x="209" y="42"/>
                    <a:pt x="203" y="42"/>
                  </a:cubicBezTo>
                  <a:cubicBezTo>
                    <a:pt x="167" y="42"/>
                    <a:pt x="167" y="42"/>
                    <a:pt x="167" y="42"/>
                  </a:cubicBezTo>
                  <a:cubicBezTo>
                    <a:pt x="158" y="17"/>
                    <a:pt x="134" y="0"/>
                    <a:pt x="107" y="0"/>
                  </a:cubicBezTo>
                  <a:cubicBezTo>
                    <a:pt x="81" y="0"/>
                    <a:pt x="58" y="15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9"/>
                    <a:pt x="47" y="41"/>
                    <a:pt x="46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47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lose/>
                  <a:moveTo>
                    <a:pt x="107" y="21"/>
                  </a:moveTo>
                  <a:cubicBezTo>
                    <a:pt x="122" y="21"/>
                    <a:pt x="136" y="29"/>
                    <a:pt x="144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7" y="29"/>
                    <a:pt x="91" y="21"/>
                    <a:pt x="107" y="21"/>
                  </a:cubicBezTo>
                  <a:close/>
                  <a:moveTo>
                    <a:pt x="203" y="85"/>
                  </a:moveTo>
                  <a:cubicBezTo>
                    <a:pt x="192" y="85"/>
                    <a:pt x="192" y="85"/>
                    <a:pt x="19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" y="85"/>
                    <a:pt x="0" y="90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11" y="309"/>
                    <a:pt x="11" y="309"/>
                    <a:pt x="11" y="309"/>
                  </a:cubicBezTo>
                  <a:cubicBezTo>
                    <a:pt x="11" y="315"/>
                    <a:pt x="15" y="320"/>
                    <a:pt x="21" y="320"/>
                  </a:cubicBezTo>
                  <a:cubicBezTo>
                    <a:pt x="192" y="320"/>
                    <a:pt x="192" y="320"/>
                    <a:pt x="192" y="320"/>
                  </a:cubicBezTo>
                  <a:cubicBezTo>
                    <a:pt x="198" y="320"/>
                    <a:pt x="203" y="315"/>
                    <a:pt x="203" y="309"/>
                  </a:cubicBezTo>
                  <a:cubicBezTo>
                    <a:pt x="203" y="106"/>
                    <a:pt x="203" y="106"/>
                    <a:pt x="203" y="106"/>
                  </a:cubicBezTo>
                  <a:cubicBezTo>
                    <a:pt x="209" y="106"/>
                    <a:pt x="213" y="102"/>
                    <a:pt x="213" y="96"/>
                  </a:cubicBezTo>
                  <a:cubicBezTo>
                    <a:pt x="213" y="90"/>
                    <a:pt x="209" y="85"/>
                    <a:pt x="203" y="85"/>
                  </a:cubicBezTo>
                  <a:close/>
                  <a:moveTo>
                    <a:pt x="181" y="298"/>
                  </a:moveTo>
                  <a:cubicBezTo>
                    <a:pt x="32" y="298"/>
                    <a:pt x="32" y="298"/>
                    <a:pt x="32" y="29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181" y="106"/>
                    <a:pt x="181" y="106"/>
                    <a:pt x="181" y="106"/>
                  </a:cubicBezTo>
                  <a:lnTo>
                    <a:pt x="181" y="298"/>
                  </a:lnTo>
                  <a:close/>
                  <a:moveTo>
                    <a:pt x="53" y="266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3" y="132"/>
                    <a:pt x="58" y="128"/>
                    <a:pt x="64" y="128"/>
                  </a:cubicBezTo>
                  <a:cubicBezTo>
                    <a:pt x="70" y="128"/>
                    <a:pt x="75" y="132"/>
                    <a:pt x="75" y="138"/>
                  </a:cubicBezTo>
                  <a:cubicBezTo>
                    <a:pt x="75" y="266"/>
                    <a:pt x="75" y="266"/>
                    <a:pt x="75" y="266"/>
                  </a:cubicBezTo>
                  <a:cubicBezTo>
                    <a:pt x="75" y="272"/>
                    <a:pt x="70" y="277"/>
                    <a:pt x="64" y="277"/>
                  </a:cubicBezTo>
                  <a:cubicBezTo>
                    <a:pt x="58" y="277"/>
                    <a:pt x="53" y="272"/>
                    <a:pt x="53" y="266"/>
                  </a:cubicBezTo>
                  <a:close/>
                  <a:moveTo>
                    <a:pt x="96" y="266"/>
                  </a:moveTo>
                  <a:cubicBezTo>
                    <a:pt x="96" y="138"/>
                    <a:pt x="96" y="138"/>
                    <a:pt x="96" y="138"/>
                  </a:cubicBezTo>
                  <a:cubicBezTo>
                    <a:pt x="96" y="132"/>
                    <a:pt x="101" y="128"/>
                    <a:pt x="107" y="128"/>
                  </a:cubicBezTo>
                  <a:cubicBezTo>
                    <a:pt x="113" y="128"/>
                    <a:pt x="117" y="132"/>
                    <a:pt x="117" y="138"/>
                  </a:cubicBezTo>
                  <a:cubicBezTo>
                    <a:pt x="117" y="266"/>
                    <a:pt x="117" y="266"/>
                    <a:pt x="117" y="266"/>
                  </a:cubicBezTo>
                  <a:cubicBezTo>
                    <a:pt x="117" y="272"/>
                    <a:pt x="113" y="277"/>
                    <a:pt x="107" y="277"/>
                  </a:cubicBezTo>
                  <a:cubicBezTo>
                    <a:pt x="101" y="277"/>
                    <a:pt x="96" y="272"/>
                    <a:pt x="96" y="266"/>
                  </a:cubicBezTo>
                  <a:close/>
                  <a:moveTo>
                    <a:pt x="139" y="266"/>
                  </a:moveTo>
                  <a:cubicBezTo>
                    <a:pt x="139" y="138"/>
                    <a:pt x="139" y="138"/>
                    <a:pt x="139" y="138"/>
                  </a:cubicBezTo>
                  <a:cubicBezTo>
                    <a:pt x="139" y="132"/>
                    <a:pt x="143" y="128"/>
                    <a:pt x="149" y="128"/>
                  </a:cubicBezTo>
                  <a:cubicBezTo>
                    <a:pt x="155" y="128"/>
                    <a:pt x="160" y="132"/>
                    <a:pt x="160" y="138"/>
                  </a:cubicBezTo>
                  <a:cubicBezTo>
                    <a:pt x="160" y="266"/>
                    <a:pt x="160" y="266"/>
                    <a:pt x="160" y="266"/>
                  </a:cubicBezTo>
                  <a:cubicBezTo>
                    <a:pt x="160" y="272"/>
                    <a:pt x="155" y="277"/>
                    <a:pt x="149" y="277"/>
                  </a:cubicBezTo>
                  <a:cubicBezTo>
                    <a:pt x="143" y="277"/>
                    <a:pt x="139" y="272"/>
                    <a:pt x="139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2" name="Freeform 512"/>
            <p:cNvSpPr>
              <a:spLocks noEditPoints="1"/>
            </p:cNvSpPr>
            <p:nvPr/>
          </p:nvSpPr>
          <p:spPr bwMode="auto">
            <a:xfrm>
              <a:off x="4155" y="308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3" name="Freeform 528"/>
          <p:cNvSpPr>
            <a:spLocks noChangeAspect="1" noEditPoints="1"/>
          </p:cNvSpPr>
          <p:nvPr/>
        </p:nvSpPr>
        <p:spPr bwMode="auto">
          <a:xfrm>
            <a:off x="8396781" y="2921457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256 h 512"/>
              <a:gd name="T12" fmla="*/ 117 w 512"/>
              <a:gd name="T13" fmla="*/ 245 h 512"/>
              <a:gd name="T14" fmla="*/ 273 w 512"/>
              <a:gd name="T15" fmla="*/ 245 h 512"/>
              <a:gd name="T16" fmla="*/ 248 w 512"/>
              <a:gd name="T17" fmla="*/ 221 h 512"/>
              <a:gd name="T18" fmla="*/ 248 w 512"/>
              <a:gd name="T19" fmla="*/ 205 h 512"/>
              <a:gd name="T20" fmla="*/ 263 w 512"/>
              <a:gd name="T21" fmla="*/ 205 h 512"/>
              <a:gd name="T22" fmla="*/ 306 w 512"/>
              <a:gd name="T23" fmla="*/ 248 h 512"/>
              <a:gd name="T24" fmla="*/ 308 w 512"/>
              <a:gd name="T25" fmla="*/ 252 h 512"/>
              <a:gd name="T26" fmla="*/ 308 w 512"/>
              <a:gd name="T27" fmla="*/ 260 h 512"/>
              <a:gd name="T28" fmla="*/ 306 w 512"/>
              <a:gd name="T29" fmla="*/ 263 h 512"/>
              <a:gd name="T30" fmla="*/ 263 w 512"/>
              <a:gd name="T31" fmla="*/ 306 h 512"/>
              <a:gd name="T32" fmla="*/ 256 w 512"/>
              <a:gd name="T33" fmla="*/ 309 h 512"/>
              <a:gd name="T34" fmla="*/ 248 w 512"/>
              <a:gd name="T35" fmla="*/ 306 h 512"/>
              <a:gd name="T36" fmla="*/ 248 w 512"/>
              <a:gd name="T37" fmla="*/ 291 h 512"/>
              <a:gd name="T38" fmla="*/ 273 w 512"/>
              <a:gd name="T39" fmla="*/ 266 h 512"/>
              <a:gd name="T40" fmla="*/ 117 w 512"/>
              <a:gd name="T41" fmla="*/ 266 h 512"/>
              <a:gd name="T42" fmla="*/ 106 w 512"/>
              <a:gd name="T43" fmla="*/ 256 h 512"/>
              <a:gd name="T44" fmla="*/ 373 w 512"/>
              <a:gd name="T45" fmla="*/ 405 h 512"/>
              <a:gd name="T46" fmla="*/ 362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192 w 512"/>
              <a:gd name="T53" fmla="*/ 309 h 512"/>
              <a:gd name="T54" fmla="*/ 202 w 512"/>
              <a:gd name="T55" fmla="*/ 298 h 512"/>
              <a:gd name="T56" fmla="*/ 213 w 512"/>
              <a:gd name="T57" fmla="*/ 309 h 512"/>
              <a:gd name="T58" fmla="*/ 213 w 512"/>
              <a:gd name="T59" fmla="*/ 394 h 512"/>
              <a:gd name="T60" fmla="*/ 352 w 512"/>
              <a:gd name="T61" fmla="*/ 394 h 512"/>
              <a:gd name="T62" fmla="*/ 352 w 512"/>
              <a:gd name="T63" fmla="*/ 117 h 512"/>
              <a:gd name="T64" fmla="*/ 213 w 512"/>
              <a:gd name="T65" fmla="*/ 117 h 512"/>
              <a:gd name="T66" fmla="*/ 213 w 512"/>
              <a:gd name="T67" fmla="*/ 202 h 512"/>
              <a:gd name="T68" fmla="*/ 202 w 512"/>
              <a:gd name="T69" fmla="*/ 213 h 512"/>
              <a:gd name="T70" fmla="*/ 192 w 512"/>
              <a:gd name="T71" fmla="*/ 202 h 512"/>
              <a:gd name="T72" fmla="*/ 192 w 512"/>
              <a:gd name="T73" fmla="*/ 106 h 512"/>
              <a:gd name="T74" fmla="*/ 202 w 512"/>
              <a:gd name="T75" fmla="*/ 96 h 512"/>
              <a:gd name="T76" fmla="*/ 362 w 512"/>
              <a:gd name="T77" fmla="*/ 96 h 512"/>
              <a:gd name="T78" fmla="*/ 373 w 512"/>
              <a:gd name="T79" fmla="*/ 106 h 512"/>
              <a:gd name="T80" fmla="*/ 373 w 512"/>
              <a:gd name="T8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256"/>
                </a:moveTo>
                <a:cubicBezTo>
                  <a:pt x="106" y="250"/>
                  <a:pt x="111" y="245"/>
                  <a:pt x="117" y="245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21"/>
                  <a:pt x="248" y="221"/>
                  <a:pt x="248" y="221"/>
                </a:cubicBezTo>
                <a:cubicBezTo>
                  <a:pt x="244" y="216"/>
                  <a:pt x="244" y="210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07" y="249"/>
                  <a:pt x="308" y="250"/>
                  <a:pt x="308" y="252"/>
                </a:cubicBezTo>
                <a:cubicBezTo>
                  <a:pt x="309" y="254"/>
                  <a:pt x="309" y="257"/>
                  <a:pt x="308" y="260"/>
                </a:cubicBezTo>
                <a:cubicBezTo>
                  <a:pt x="308" y="261"/>
                  <a:pt x="307" y="262"/>
                  <a:pt x="306" y="263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244" y="302"/>
                  <a:pt x="244" y="295"/>
                  <a:pt x="248" y="291"/>
                </a:cubicBezTo>
                <a:cubicBezTo>
                  <a:pt x="273" y="266"/>
                  <a:pt x="273" y="266"/>
                  <a:pt x="273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ubicBezTo>
                  <a:pt x="196" y="213"/>
                  <a:pt x="192" y="208"/>
                  <a:pt x="192" y="202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8" y="96"/>
                  <a:pt x="373" y="100"/>
                  <a:pt x="373" y="106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4" name="Group 531"/>
          <p:cNvGrpSpPr>
            <a:grpSpLocks noChangeAspect="1"/>
          </p:cNvGrpSpPr>
          <p:nvPr/>
        </p:nvGrpSpPr>
        <p:grpSpPr bwMode="auto">
          <a:xfrm>
            <a:off x="8893308" y="2921457"/>
            <a:ext cx="367631" cy="367631"/>
            <a:chOff x="4216" y="2000"/>
            <a:chExt cx="340" cy="340"/>
          </a:xfrm>
          <a:solidFill>
            <a:schemeClr val="accent6"/>
          </a:solidFill>
        </p:grpSpPr>
        <p:sp>
          <p:nvSpPr>
            <p:cNvPr id="785" name="Freeform 532"/>
            <p:cNvSpPr>
              <a:spLocks noEditPoints="1"/>
            </p:cNvSpPr>
            <p:nvPr/>
          </p:nvSpPr>
          <p:spPr bwMode="auto">
            <a:xfrm>
              <a:off x="4216" y="200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6" name="Freeform 533"/>
            <p:cNvSpPr>
              <a:spLocks noEditPoints="1"/>
            </p:cNvSpPr>
            <p:nvPr/>
          </p:nvSpPr>
          <p:spPr bwMode="auto">
            <a:xfrm>
              <a:off x="4286" y="2064"/>
              <a:ext cx="178" cy="212"/>
            </a:xfrm>
            <a:custGeom>
              <a:avLst/>
              <a:gdLst>
                <a:gd name="T0" fmla="*/ 267 w 267"/>
                <a:gd name="T1" fmla="*/ 10 h 320"/>
                <a:gd name="T2" fmla="*/ 267 w 267"/>
                <a:gd name="T3" fmla="*/ 309 h 320"/>
                <a:gd name="T4" fmla="*/ 256 w 267"/>
                <a:gd name="T5" fmla="*/ 320 h 320"/>
                <a:gd name="T6" fmla="*/ 96 w 267"/>
                <a:gd name="T7" fmla="*/ 320 h 320"/>
                <a:gd name="T8" fmla="*/ 86 w 267"/>
                <a:gd name="T9" fmla="*/ 309 h 320"/>
                <a:gd name="T10" fmla="*/ 86 w 267"/>
                <a:gd name="T11" fmla="*/ 213 h 320"/>
                <a:gd name="T12" fmla="*/ 96 w 267"/>
                <a:gd name="T13" fmla="*/ 202 h 320"/>
                <a:gd name="T14" fmla="*/ 107 w 267"/>
                <a:gd name="T15" fmla="*/ 213 h 320"/>
                <a:gd name="T16" fmla="*/ 107 w 267"/>
                <a:gd name="T17" fmla="*/ 298 h 320"/>
                <a:gd name="T18" fmla="*/ 246 w 267"/>
                <a:gd name="T19" fmla="*/ 298 h 320"/>
                <a:gd name="T20" fmla="*/ 246 w 267"/>
                <a:gd name="T21" fmla="*/ 21 h 320"/>
                <a:gd name="T22" fmla="*/ 107 w 267"/>
                <a:gd name="T23" fmla="*/ 21 h 320"/>
                <a:gd name="T24" fmla="*/ 107 w 267"/>
                <a:gd name="T25" fmla="*/ 106 h 320"/>
                <a:gd name="T26" fmla="*/ 96 w 267"/>
                <a:gd name="T27" fmla="*/ 117 h 320"/>
                <a:gd name="T28" fmla="*/ 86 w 267"/>
                <a:gd name="T29" fmla="*/ 106 h 320"/>
                <a:gd name="T30" fmla="*/ 86 w 267"/>
                <a:gd name="T31" fmla="*/ 10 h 320"/>
                <a:gd name="T32" fmla="*/ 96 w 267"/>
                <a:gd name="T33" fmla="*/ 0 h 320"/>
                <a:gd name="T34" fmla="*/ 256 w 267"/>
                <a:gd name="T35" fmla="*/ 0 h 320"/>
                <a:gd name="T36" fmla="*/ 267 w 267"/>
                <a:gd name="T37" fmla="*/ 10 h 320"/>
                <a:gd name="T38" fmla="*/ 142 w 267"/>
                <a:gd name="T39" fmla="*/ 195 h 320"/>
                <a:gd name="T40" fmla="*/ 142 w 267"/>
                <a:gd name="T41" fmla="*/ 210 h 320"/>
                <a:gd name="T42" fmla="*/ 150 w 267"/>
                <a:gd name="T43" fmla="*/ 213 h 320"/>
                <a:gd name="T44" fmla="*/ 157 w 267"/>
                <a:gd name="T45" fmla="*/ 210 h 320"/>
                <a:gd name="T46" fmla="*/ 200 w 267"/>
                <a:gd name="T47" fmla="*/ 167 h 320"/>
                <a:gd name="T48" fmla="*/ 202 w 267"/>
                <a:gd name="T49" fmla="*/ 164 h 320"/>
                <a:gd name="T50" fmla="*/ 202 w 267"/>
                <a:gd name="T51" fmla="*/ 156 h 320"/>
                <a:gd name="T52" fmla="*/ 200 w 267"/>
                <a:gd name="T53" fmla="*/ 152 h 320"/>
                <a:gd name="T54" fmla="*/ 157 w 267"/>
                <a:gd name="T55" fmla="*/ 109 h 320"/>
                <a:gd name="T56" fmla="*/ 142 w 267"/>
                <a:gd name="T57" fmla="*/ 109 h 320"/>
                <a:gd name="T58" fmla="*/ 142 w 267"/>
                <a:gd name="T59" fmla="*/ 125 h 320"/>
                <a:gd name="T60" fmla="*/ 167 w 267"/>
                <a:gd name="T61" fmla="*/ 149 h 320"/>
                <a:gd name="T62" fmla="*/ 11 w 267"/>
                <a:gd name="T63" fmla="*/ 149 h 320"/>
                <a:gd name="T64" fmla="*/ 0 w 267"/>
                <a:gd name="T65" fmla="*/ 160 h 320"/>
                <a:gd name="T66" fmla="*/ 11 w 267"/>
                <a:gd name="T67" fmla="*/ 170 h 320"/>
                <a:gd name="T68" fmla="*/ 167 w 267"/>
                <a:gd name="T69" fmla="*/ 170 h 320"/>
                <a:gd name="T70" fmla="*/ 142 w 267"/>
                <a:gd name="T71" fmla="*/ 19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7" h="320">
                  <a:moveTo>
                    <a:pt x="267" y="10"/>
                  </a:moveTo>
                  <a:cubicBezTo>
                    <a:pt x="267" y="309"/>
                    <a:pt x="267" y="309"/>
                    <a:pt x="267" y="309"/>
                  </a:cubicBezTo>
                  <a:cubicBezTo>
                    <a:pt x="267" y="315"/>
                    <a:pt x="262" y="320"/>
                    <a:pt x="256" y="320"/>
                  </a:cubicBezTo>
                  <a:cubicBezTo>
                    <a:pt x="96" y="320"/>
                    <a:pt x="96" y="320"/>
                    <a:pt x="96" y="320"/>
                  </a:cubicBezTo>
                  <a:cubicBezTo>
                    <a:pt x="90" y="320"/>
                    <a:pt x="86" y="315"/>
                    <a:pt x="86" y="309"/>
                  </a:cubicBezTo>
                  <a:cubicBezTo>
                    <a:pt x="86" y="213"/>
                    <a:pt x="86" y="213"/>
                    <a:pt x="86" y="213"/>
                  </a:cubicBezTo>
                  <a:cubicBezTo>
                    <a:pt x="86" y="207"/>
                    <a:pt x="90" y="202"/>
                    <a:pt x="96" y="202"/>
                  </a:cubicBezTo>
                  <a:cubicBezTo>
                    <a:pt x="102" y="202"/>
                    <a:pt x="107" y="207"/>
                    <a:pt x="107" y="213"/>
                  </a:cubicBezTo>
                  <a:cubicBezTo>
                    <a:pt x="107" y="298"/>
                    <a:pt x="107" y="298"/>
                    <a:pt x="107" y="298"/>
                  </a:cubicBezTo>
                  <a:cubicBezTo>
                    <a:pt x="246" y="298"/>
                    <a:pt x="246" y="298"/>
                    <a:pt x="246" y="298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106"/>
                    <a:pt x="107" y="106"/>
                    <a:pt x="107" y="106"/>
                  </a:cubicBezTo>
                  <a:cubicBezTo>
                    <a:pt x="107" y="112"/>
                    <a:pt x="102" y="117"/>
                    <a:pt x="96" y="117"/>
                  </a:cubicBezTo>
                  <a:cubicBezTo>
                    <a:pt x="90" y="117"/>
                    <a:pt x="86" y="112"/>
                    <a:pt x="86" y="106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4"/>
                    <a:pt x="90" y="0"/>
                    <a:pt x="96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62" y="0"/>
                    <a:pt x="267" y="4"/>
                    <a:pt x="267" y="10"/>
                  </a:cubicBezTo>
                  <a:close/>
                  <a:moveTo>
                    <a:pt x="142" y="195"/>
                  </a:moveTo>
                  <a:cubicBezTo>
                    <a:pt x="138" y="199"/>
                    <a:pt x="138" y="206"/>
                    <a:pt x="142" y="210"/>
                  </a:cubicBezTo>
                  <a:cubicBezTo>
                    <a:pt x="144" y="212"/>
                    <a:pt x="147" y="213"/>
                    <a:pt x="150" y="213"/>
                  </a:cubicBezTo>
                  <a:cubicBezTo>
                    <a:pt x="152" y="213"/>
                    <a:pt x="155" y="212"/>
                    <a:pt x="157" y="210"/>
                  </a:cubicBezTo>
                  <a:cubicBezTo>
                    <a:pt x="200" y="167"/>
                    <a:pt x="200" y="167"/>
                    <a:pt x="200" y="167"/>
                  </a:cubicBezTo>
                  <a:cubicBezTo>
                    <a:pt x="201" y="166"/>
                    <a:pt x="202" y="165"/>
                    <a:pt x="202" y="164"/>
                  </a:cubicBezTo>
                  <a:cubicBezTo>
                    <a:pt x="203" y="161"/>
                    <a:pt x="203" y="158"/>
                    <a:pt x="202" y="156"/>
                  </a:cubicBezTo>
                  <a:cubicBezTo>
                    <a:pt x="202" y="154"/>
                    <a:pt x="201" y="153"/>
                    <a:pt x="200" y="152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53" y="105"/>
                    <a:pt x="146" y="105"/>
                    <a:pt x="142" y="109"/>
                  </a:cubicBezTo>
                  <a:cubicBezTo>
                    <a:pt x="138" y="114"/>
                    <a:pt x="138" y="120"/>
                    <a:pt x="142" y="125"/>
                  </a:cubicBezTo>
                  <a:cubicBezTo>
                    <a:pt x="167" y="149"/>
                    <a:pt x="167" y="149"/>
                    <a:pt x="167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166"/>
                    <a:pt x="5" y="170"/>
                    <a:pt x="11" y="170"/>
                  </a:cubicBezTo>
                  <a:cubicBezTo>
                    <a:pt x="167" y="170"/>
                    <a:pt x="167" y="170"/>
                    <a:pt x="167" y="170"/>
                  </a:cubicBezTo>
                  <a:lnTo>
                    <a:pt x="142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7" name="Freeform 472"/>
          <p:cNvSpPr>
            <a:spLocks noChangeAspect="1" noEditPoints="1"/>
          </p:cNvSpPr>
          <p:nvPr/>
        </p:nvSpPr>
        <p:spPr bwMode="auto">
          <a:xfrm>
            <a:off x="9389835" y="2921457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20 w 512"/>
              <a:gd name="T11" fmla="*/ 405 h 512"/>
              <a:gd name="T12" fmla="*/ 309 w 512"/>
              <a:gd name="T13" fmla="*/ 416 h 512"/>
              <a:gd name="T14" fmla="*/ 149 w 512"/>
              <a:gd name="T15" fmla="*/ 416 h 512"/>
              <a:gd name="T16" fmla="*/ 138 w 512"/>
              <a:gd name="T17" fmla="*/ 405 h 512"/>
              <a:gd name="T18" fmla="*/ 138 w 512"/>
              <a:gd name="T19" fmla="*/ 106 h 512"/>
              <a:gd name="T20" fmla="*/ 149 w 512"/>
              <a:gd name="T21" fmla="*/ 96 h 512"/>
              <a:gd name="T22" fmla="*/ 309 w 512"/>
              <a:gd name="T23" fmla="*/ 96 h 512"/>
              <a:gd name="T24" fmla="*/ 320 w 512"/>
              <a:gd name="T25" fmla="*/ 106 h 512"/>
              <a:gd name="T26" fmla="*/ 320 w 512"/>
              <a:gd name="T27" fmla="*/ 202 h 512"/>
              <a:gd name="T28" fmla="*/ 309 w 512"/>
              <a:gd name="T29" fmla="*/ 213 h 512"/>
              <a:gd name="T30" fmla="*/ 298 w 512"/>
              <a:gd name="T31" fmla="*/ 202 h 512"/>
              <a:gd name="T32" fmla="*/ 298 w 512"/>
              <a:gd name="T33" fmla="*/ 117 h 512"/>
              <a:gd name="T34" fmla="*/ 160 w 512"/>
              <a:gd name="T35" fmla="*/ 117 h 512"/>
              <a:gd name="T36" fmla="*/ 160 w 512"/>
              <a:gd name="T37" fmla="*/ 394 h 512"/>
              <a:gd name="T38" fmla="*/ 298 w 512"/>
              <a:gd name="T39" fmla="*/ 394 h 512"/>
              <a:gd name="T40" fmla="*/ 298 w 512"/>
              <a:gd name="T41" fmla="*/ 309 h 512"/>
              <a:gd name="T42" fmla="*/ 309 w 512"/>
              <a:gd name="T43" fmla="*/ 298 h 512"/>
              <a:gd name="T44" fmla="*/ 320 w 512"/>
              <a:gd name="T45" fmla="*/ 309 h 512"/>
              <a:gd name="T46" fmla="*/ 320 w 512"/>
              <a:gd name="T47" fmla="*/ 405 h 512"/>
              <a:gd name="T48" fmla="*/ 415 w 512"/>
              <a:gd name="T49" fmla="*/ 260 h 512"/>
              <a:gd name="T50" fmla="*/ 413 w 512"/>
              <a:gd name="T51" fmla="*/ 263 h 512"/>
              <a:gd name="T52" fmla="*/ 370 w 512"/>
              <a:gd name="T53" fmla="*/ 306 h 512"/>
              <a:gd name="T54" fmla="*/ 362 w 512"/>
              <a:gd name="T55" fmla="*/ 309 h 512"/>
              <a:gd name="T56" fmla="*/ 355 w 512"/>
              <a:gd name="T57" fmla="*/ 306 h 512"/>
              <a:gd name="T58" fmla="*/ 355 w 512"/>
              <a:gd name="T59" fmla="*/ 291 h 512"/>
              <a:gd name="T60" fmla="*/ 379 w 512"/>
              <a:gd name="T61" fmla="*/ 266 h 512"/>
              <a:gd name="T62" fmla="*/ 224 w 512"/>
              <a:gd name="T63" fmla="*/ 266 h 512"/>
              <a:gd name="T64" fmla="*/ 213 w 512"/>
              <a:gd name="T65" fmla="*/ 256 h 512"/>
              <a:gd name="T66" fmla="*/ 224 w 512"/>
              <a:gd name="T67" fmla="*/ 245 h 512"/>
              <a:gd name="T68" fmla="*/ 379 w 512"/>
              <a:gd name="T69" fmla="*/ 245 h 512"/>
              <a:gd name="T70" fmla="*/ 355 w 512"/>
              <a:gd name="T71" fmla="*/ 221 h 512"/>
              <a:gd name="T72" fmla="*/ 355 w 512"/>
              <a:gd name="T73" fmla="*/ 205 h 512"/>
              <a:gd name="T74" fmla="*/ 370 w 512"/>
              <a:gd name="T75" fmla="*/ 205 h 512"/>
              <a:gd name="T76" fmla="*/ 413 w 512"/>
              <a:gd name="T77" fmla="*/ 248 h 512"/>
              <a:gd name="T78" fmla="*/ 415 w 512"/>
              <a:gd name="T79" fmla="*/ 252 h 512"/>
              <a:gd name="T80" fmla="*/ 415 w 512"/>
              <a:gd name="T81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0" y="405"/>
                </a:moveTo>
                <a:cubicBezTo>
                  <a:pt x="320" y="411"/>
                  <a:pt x="315" y="416"/>
                  <a:pt x="309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06"/>
                  <a:pt x="138" y="106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309" y="96"/>
                  <a:pt x="309" y="96"/>
                  <a:pt x="309" y="96"/>
                </a:cubicBezTo>
                <a:cubicBezTo>
                  <a:pt x="315" y="96"/>
                  <a:pt x="320" y="100"/>
                  <a:pt x="320" y="106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20" y="208"/>
                  <a:pt x="315" y="213"/>
                  <a:pt x="309" y="213"/>
                </a:cubicBezTo>
                <a:cubicBezTo>
                  <a:pt x="303" y="213"/>
                  <a:pt x="298" y="208"/>
                  <a:pt x="298" y="202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15" y="298"/>
                  <a:pt x="320" y="303"/>
                  <a:pt x="320" y="309"/>
                </a:cubicBezTo>
                <a:lnTo>
                  <a:pt x="320" y="405"/>
                </a:lnTo>
                <a:close/>
                <a:moveTo>
                  <a:pt x="415" y="260"/>
                </a:moveTo>
                <a:cubicBezTo>
                  <a:pt x="414" y="261"/>
                  <a:pt x="414" y="262"/>
                  <a:pt x="413" y="263"/>
                </a:cubicBezTo>
                <a:cubicBezTo>
                  <a:pt x="370" y="306"/>
                  <a:pt x="370" y="306"/>
                  <a:pt x="370" y="306"/>
                </a:cubicBezTo>
                <a:cubicBezTo>
                  <a:pt x="368" y="308"/>
                  <a:pt x="365" y="309"/>
                  <a:pt x="362" y="309"/>
                </a:cubicBezTo>
                <a:cubicBezTo>
                  <a:pt x="360" y="309"/>
                  <a:pt x="357" y="308"/>
                  <a:pt x="355" y="306"/>
                </a:cubicBezTo>
                <a:cubicBezTo>
                  <a:pt x="351" y="302"/>
                  <a:pt x="351" y="295"/>
                  <a:pt x="355" y="291"/>
                </a:cubicBezTo>
                <a:cubicBezTo>
                  <a:pt x="379" y="266"/>
                  <a:pt x="379" y="266"/>
                  <a:pt x="379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18" y="266"/>
                  <a:pt x="213" y="262"/>
                  <a:pt x="213" y="256"/>
                </a:cubicBezTo>
                <a:cubicBezTo>
                  <a:pt x="213" y="250"/>
                  <a:pt x="218" y="245"/>
                  <a:pt x="224" y="245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355" y="221"/>
                  <a:pt x="355" y="221"/>
                  <a:pt x="355" y="221"/>
                </a:cubicBezTo>
                <a:cubicBezTo>
                  <a:pt x="351" y="216"/>
                  <a:pt x="351" y="210"/>
                  <a:pt x="355" y="205"/>
                </a:cubicBezTo>
                <a:cubicBezTo>
                  <a:pt x="359" y="201"/>
                  <a:pt x="366" y="201"/>
                  <a:pt x="370" y="205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4" y="249"/>
                  <a:pt x="414" y="250"/>
                  <a:pt x="415" y="252"/>
                </a:cubicBezTo>
                <a:cubicBezTo>
                  <a:pt x="416" y="254"/>
                  <a:pt x="416" y="257"/>
                  <a:pt x="415" y="2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8" name="Group 475"/>
          <p:cNvGrpSpPr>
            <a:grpSpLocks noChangeAspect="1"/>
          </p:cNvGrpSpPr>
          <p:nvPr/>
        </p:nvGrpSpPr>
        <p:grpSpPr bwMode="auto">
          <a:xfrm>
            <a:off x="9886361" y="2920374"/>
            <a:ext cx="367631" cy="368713"/>
            <a:chOff x="5414" y="3704"/>
            <a:chExt cx="340" cy="341"/>
          </a:xfrm>
          <a:solidFill>
            <a:schemeClr val="accent5"/>
          </a:solidFill>
        </p:grpSpPr>
        <p:sp>
          <p:nvSpPr>
            <p:cNvPr id="789" name="Freeform 476"/>
            <p:cNvSpPr>
              <a:spLocks noEditPoints="1"/>
            </p:cNvSpPr>
            <p:nvPr/>
          </p:nvSpPr>
          <p:spPr bwMode="auto">
            <a:xfrm>
              <a:off x="5506" y="3768"/>
              <a:ext cx="184" cy="213"/>
            </a:xfrm>
            <a:custGeom>
              <a:avLst/>
              <a:gdLst>
                <a:gd name="T0" fmla="*/ 182 w 278"/>
                <a:gd name="T1" fmla="*/ 213 h 320"/>
                <a:gd name="T2" fmla="*/ 182 w 278"/>
                <a:gd name="T3" fmla="*/ 309 h 320"/>
                <a:gd name="T4" fmla="*/ 171 w 278"/>
                <a:gd name="T5" fmla="*/ 320 h 320"/>
                <a:gd name="T6" fmla="*/ 11 w 278"/>
                <a:gd name="T7" fmla="*/ 320 h 320"/>
                <a:gd name="T8" fmla="*/ 0 w 278"/>
                <a:gd name="T9" fmla="*/ 309 h 320"/>
                <a:gd name="T10" fmla="*/ 0 w 278"/>
                <a:gd name="T11" fmla="*/ 10 h 320"/>
                <a:gd name="T12" fmla="*/ 11 w 278"/>
                <a:gd name="T13" fmla="*/ 0 h 320"/>
                <a:gd name="T14" fmla="*/ 171 w 278"/>
                <a:gd name="T15" fmla="*/ 0 h 320"/>
                <a:gd name="T16" fmla="*/ 182 w 278"/>
                <a:gd name="T17" fmla="*/ 10 h 320"/>
                <a:gd name="T18" fmla="*/ 182 w 278"/>
                <a:gd name="T19" fmla="*/ 106 h 320"/>
                <a:gd name="T20" fmla="*/ 171 w 278"/>
                <a:gd name="T21" fmla="*/ 117 h 320"/>
                <a:gd name="T22" fmla="*/ 160 w 278"/>
                <a:gd name="T23" fmla="*/ 106 h 320"/>
                <a:gd name="T24" fmla="*/ 160 w 278"/>
                <a:gd name="T25" fmla="*/ 21 h 320"/>
                <a:gd name="T26" fmla="*/ 22 w 278"/>
                <a:gd name="T27" fmla="*/ 21 h 320"/>
                <a:gd name="T28" fmla="*/ 22 w 278"/>
                <a:gd name="T29" fmla="*/ 298 h 320"/>
                <a:gd name="T30" fmla="*/ 160 w 278"/>
                <a:gd name="T31" fmla="*/ 298 h 320"/>
                <a:gd name="T32" fmla="*/ 160 w 278"/>
                <a:gd name="T33" fmla="*/ 213 h 320"/>
                <a:gd name="T34" fmla="*/ 171 w 278"/>
                <a:gd name="T35" fmla="*/ 202 h 320"/>
                <a:gd name="T36" fmla="*/ 182 w 278"/>
                <a:gd name="T37" fmla="*/ 213 h 320"/>
                <a:gd name="T38" fmla="*/ 277 w 278"/>
                <a:gd name="T39" fmla="*/ 156 h 320"/>
                <a:gd name="T40" fmla="*/ 275 w 278"/>
                <a:gd name="T41" fmla="*/ 152 h 320"/>
                <a:gd name="T42" fmla="*/ 232 w 278"/>
                <a:gd name="T43" fmla="*/ 109 h 320"/>
                <a:gd name="T44" fmla="*/ 217 w 278"/>
                <a:gd name="T45" fmla="*/ 109 h 320"/>
                <a:gd name="T46" fmla="*/ 217 w 278"/>
                <a:gd name="T47" fmla="*/ 125 h 320"/>
                <a:gd name="T48" fmla="*/ 241 w 278"/>
                <a:gd name="T49" fmla="*/ 149 h 320"/>
                <a:gd name="T50" fmla="*/ 86 w 278"/>
                <a:gd name="T51" fmla="*/ 149 h 320"/>
                <a:gd name="T52" fmla="*/ 75 w 278"/>
                <a:gd name="T53" fmla="*/ 160 h 320"/>
                <a:gd name="T54" fmla="*/ 86 w 278"/>
                <a:gd name="T55" fmla="*/ 170 h 320"/>
                <a:gd name="T56" fmla="*/ 241 w 278"/>
                <a:gd name="T57" fmla="*/ 170 h 320"/>
                <a:gd name="T58" fmla="*/ 217 w 278"/>
                <a:gd name="T59" fmla="*/ 195 h 320"/>
                <a:gd name="T60" fmla="*/ 217 w 278"/>
                <a:gd name="T61" fmla="*/ 210 h 320"/>
                <a:gd name="T62" fmla="*/ 224 w 278"/>
                <a:gd name="T63" fmla="*/ 213 h 320"/>
                <a:gd name="T64" fmla="*/ 232 w 278"/>
                <a:gd name="T65" fmla="*/ 210 h 320"/>
                <a:gd name="T66" fmla="*/ 275 w 278"/>
                <a:gd name="T67" fmla="*/ 167 h 320"/>
                <a:gd name="T68" fmla="*/ 277 w 278"/>
                <a:gd name="T69" fmla="*/ 164 h 320"/>
                <a:gd name="T70" fmla="*/ 277 w 278"/>
                <a:gd name="T71" fmla="*/ 1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8" h="320">
                  <a:moveTo>
                    <a:pt x="182" y="213"/>
                  </a:moveTo>
                  <a:cubicBezTo>
                    <a:pt x="182" y="309"/>
                    <a:pt x="182" y="309"/>
                    <a:pt x="182" y="309"/>
                  </a:cubicBezTo>
                  <a:cubicBezTo>
                    <a:pt x="182" y="315"/>
                    <a:pt x="177" y="320"/>
                    <a:pt x="171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7" y="0"/>
                    <a:pt x="182" y="4"/>
                    <a:pt x="182" y="10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182" y="112"/>
                    <a:pt x="177" y="117"/>
                    <a:pt x="171" y="117"/>
                  </a:cubicBezTo>
                  <a:cubicBezTo>
                    <a:pt x="165" y="117"/>
                    <a:pt x="160" y="112"/>
                    <a:pt x="160" y="106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98"/>
                    <a:pt x="22" y="298"/>
                    <a:pt x="22" y="298"/>
                  </a:cubicBezTo>
                  <a:cubicBezTo>
                    <a:pt x="160" y="298"/>
                    <a:pt x="160" y="298"/>
                    <a:pt x="160" y="298"/>
                  </a:cubicBezTo>
                  <a:cubicBezTo>
                    <a:pt x="160" y="213"/>
                    <a:pt x="160" y="213"/>
                    <a:pt x="160" y="213"/>
                  </a:cubicBezTo>
                  <a:cubicBezTo>
                    <a:pt x="160" y="207"/>
                    <a:pt x="165" y="202"/>
                    <a:pt x="171" y="202"/>
                  </a:cubicBezTo>
                  <a:cubicBezTo>
                    <a:pt x="177" y="202"/>
                    <a:pt x="182" y="207"/>
                    <a:pt x="182" y="213"/>
                  </a:cubicBezTo>
                  <a:close/>
                  <a:moveTo>
                    <a:pt x="277" y="156"/>
                  </a:moveTo>
                  <a:cubicBezTo>
                    <a:pt x="276" y="154"/>
                    <a:pt x="276" y="153"/>
                    <a:pt x="275" y="152"/>
                  </a:cubicBezTo>
                  <a:cubicBezTo>
                    <a:pt x="232" y="109"/>
                    <a:pt x="232" y="109"/>
                    <a:pt x="232" y="109"/>
                  </a:cubicBezTo>
                  <a:cubicBezTo>
                    <a:pt x="228" y="105"/>
                    <a:pt x="221" y="105"/>
                    <a:pt x="217" y="109"/>
                  </a:cubicBezTo>
                  <a:cubicBezTo>
                    <a:pt x="213" y="114"/>
                    <a:pt x="213" y="120"/>
                    <a:pt x="217" y="125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0" y="149"/>
                    <a:pt x="75" y="154"/>
                    <a:pt x="75" y="160"/>
                  </a:cubicBezTo>
                  <a:cubicBezTo>
                    <a:pt x="75" y="166"/>
                    <a:pt x="80" y="170"/>
                    <a:pt x="86" y="170"/>
                  </a:cubicBezTo>
                  <a:cubicBezTo>
                    <a:pt x="241" y="170"/>
                    <a:pt x="241" y="170"/>
                    <a:pt x="241" y="170"/>
                  </a:cubicBezTo>
                  <a:cubicBezTo>
                    <a:pt x="217" y="195"/>
                    <a:pt x="217" y="195"/>
                    <a:pt x="217" y="195"/>
                  </a:cubicBezTo>
                  <a:cubicBezTo>
                    <a:pt x="213" y="199"/>
                    <a:pt x="213" y="206"/>
                    <a:pt x="217" y="210"/>
                  </a:cubicBezTo>
                  <a:cubicBezTo>
                    <a:pt x="219" y="212"/>
                    <a:pt x="222" y="213"/>
                    <a:pt x="224" y="213"/>
                  </a:cubicBezTo>
                  <a:cubicBezTo>
                    <a:pt x="227" y="213"/>
                    <a:pt x="230" y="212"/>
                    <a:pt x="232" y="210"/>
                  </a:cubicBezTo>
                  <a:cubicBezTo>
                    <a:pt x="275" y="167"/>
                    <a:pt x="275" y="167"/>
                    <a:pt x="275" y="167"/>
                  </a:cubicBezTo>
                  <a:cubicBezTo>
                    <a:pt x="276" y="166"/>
                    <a:pt x="276" y="165"/>
                    <a:pt x="277" y="164"/>
                  </a:cubicBezTo>
                  <a:cubicBezTo>
                    <a:pt x="278" y="161"/>
                    <a:pt x="278" y="158"/>
                    <a:pt x="27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0" name="Freeform 477"/>
            <p:cNvSpPr>
              <a:spLocks noEditPoints="1"/>
            </p:cNvSpPr>
            <p:nvPr/>
          </p:nvSpPr>
          <p:spPr bwMode="auto">
            <a:xfrm>
              <a:off x="5414" y="3704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91" name="Freeform 984"/>
          <p:cNvSpPr>
            <a:spLocks noChangeAspect="1" noEditPoints="1"/>
          </p:cNvSpPr>
          <p:nvPr/>
        </p:nvSpPr>
        <p:spPr bwMode="auto">
          <a:xfrm>
            <a:off x="428110" y="3738092"/>
            <a:ext cx="368120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3 w 512"/>
              <a:gd name="T11" fmla="*/ 132 h 512"/>
              <a:gd name="T12" fmla="*/ 255 w 512"/>
              <a:gd name="T13" fmla="*/ 410 h 512"/>
              <a:gd name="T14" fmla="*/ 245 w 512"/>
              <a:gd name="T15" fmla="*/ 416 h 512"/>
              <a:gd name="T16" fmla="*/ 244 w 512"/>
              <a:gd name="T17" fmla="*/ 416 h 512"/>
              <a:gd name="T18" fmla="*/ 235 w 512"/>
              <a:gd name="T19" fmla="*/ 409 h 512"/>
              <a:gd name="T20" fmla="*/ 200 w 512"/>
              <a:gd name="T21" fmla="*/ 312 h 512"/>
              <a:gd name="T22" fmla="*/ 103 w 512"/>
              <a:gd name="T23" fmla="*/ 276 h 512"/>
              <a:gd name="T24" fmla="*/ 96 w 512"/>
              <a:gd name="T25" fmla="*/ 267 h 512"/>
              <a:gd name="T26" fmla="*/ 102 w 512"/>
              <a:gd name="T27" fmla="*/ 257 h 512"/>
              <a:gd name="T28" fmla="*/ 379 w 512"/>
              <a:gd name="T29" fmla="*/ 118 h 512"/>
              <a:gd name="T30" fmla="*/ 391 w 512"/>
              <a:gd name="T31" fmla="*/ 120 h 512"/>
              <a:gd name="T32" fmla="*/ 393 w 512"/>
              <a:gd name="T33" fmla="*/ 132 h 512"/>
              <a:gd name="T34" fmla="*/ 133 w 512"/>
              <a:gd name="T35" fmla="*/ 265 h 512"/>
              <a:gd name="T36" fmla="*/ 360 w 512"/>
              <a:gd name="T37" fmla="*/ 152 h 512"/>
              <a:gd name="T38" fmla="*/ 247 w 512"/>
              <a:gd name="T39" fmla="*/ 378 h 512"/>
              <a:gd name="T40" fmla="*/ 218 w 512"/>
              <a:gd name="T41" fmla="*/ 300 h 512"/>
              <a:gd name="T42" fmla="*/ 212 w 512"/>
              <a:gd name="T43" fmla="*/ 294 h 512"/>
              <a:gd name="T44" fmla="*/ 133 w 512"/>
              <a:gd name="T45" fmla="*/ 2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3" y="132"/>
                </a:moveTo>
                <a:cubicBezTo>
                  <a:pt x="255" y="410"/>
                  <a:pt x="255" y="410"/>
                  <a:pt x="255" y="410"/>
                </a:cubicBezTo>
                <a:cubicBezTo>
                  <a:pt x="253" y="413"/>
                  <a:pt x="249" y="416"/>
                  <a:pt x="245" y="416"/>
                </a:cubicBezTo>
                <a:cubicBezTo>
                  <a:pt x="245" y="416"/>
                  <a:pt x="245" y="416"/>
                  <a:pt x="244" y="416"/>
                </a:cubicBezTo>
                <a:cubicBezTo>
                  <a:pt x="240" y="415"/>
                  <a:pt x="236" y="413"/>
                  <a:pt x="235" y="409"/>
                </a:cubicBezTo>
                <a:cubicBezTo>
                  <a:pt x="200" y="312"/>
                  <a:pt x="200" y="312"/>
                  <a:pt x="200" y="312"/>
                </a:cubicBezTo>
                <a:cubicBezTo>
                  <a:pt x="103" y="276"/>
                  <a:pt x="103" y="276"/>
                  <a:pt x="103" y="276"/>
                </a:cubicBezTo>
                <a:cubicBezTo>
                  <a:pt x="99" y="275"/>
                  <a:pt x="96" y="271"/>
                  <a:pt x="96" y="267"/>
                </a:cubicBezTo>
                <a:cubicBezTo>
                  <a:pt x="95" y="263"/>
                  <a:pt x="98" y="259"/>
                  <a:pt x="102" y="257"/>
                </a:cubicBezTo>
                <a:cubicBezTo>
                  <a:pt x="379" y="118"/>
                  <a:pt x="379" y="118"/>
                  <a:pt x="379" y="118"/>
                </a:cubicBezTo>
                <a:cubicBezTo>
                  <a:pt x="383" y="116"/>
                  <a:pt x="388" y="117"/>
                  <a:pt x="391" y="120"/>
                </a:cubicBezTo>
                <a:cubicBezTo>
                  <a:pt x="394" y="123"/>
                  <a:pt x="395" y="128"/>
                  <a:pt x="393" y="132"/>
                </a:cubicBezTo>
                <a:close/>
                <a:moveTo>
                  <a:pt x="133" y="265"/>
                </a:moveTo>
                <a:cubicBezTo>
                  <a:pt x="360" y="152"/>
                  <a:pt x="360" y="152"/>
                  <a:pt x="360" y="152"/>
                </a:cubicBezTo>
                <a:cubicBezTo>
                  <a:pt x="247" y="378"/>
                  <a:pt x="247" y="378"/>
                  <a:pt x="247" y="378"/>
                </a:cubicBezTo>
                <a:cubicBezTo>
                  <a:pt x="218" y="300"/>
                  <a:pt x="218" y="300"/>
                  <a:pt x="218" y="300"/>
                </a:cubicBezTo>
                <a:cubicBezTo>
                  <a:pt x="217" y="297"/>
                  <a:pt x="215" y="295"/>
                  <a:pt x="212" y="294"/>
                </a:cubicBezTo>
                <a:lnTo>
                  <a:pt x="133" y="2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92" name="Group 987"/>
          <p:cNvGrpSpPr>
            <a:grpSpLocks noChangeAspect="1"/>
          </p:cNvGrpSpPr>
          <p:nvPr/>
        </p:nvGrpSpPr>
        <p:grpSpPr bwMode="auto">
          <a:xfrm>
            <a:off x="925721" y="3738096"/>
            <a:ext cx="367041" cy="367041"/>
            <a:chOff x="2699" y="3996"/>
            <a:chExt cx="340" cy="340"/>
          </a:xfrm>
          <a:solidFill>
            <a:schemeClr val="accent5"/>
          </a:solidFill>
        </p:grpSpPr>
        <p:sp>
          <p:nvSpPr>
            <p:cNvPr id="793" name="Freeform 988"/>
            <p:cNvSpPr>
              <a:spLocks noEditPoints="1"/>
            </p:cNvSpPr>
            <p:nvPr/>
          </p:nvSpPr>
          <p:spPr bwMode="auto">
            <a:xfrm>
              <a:off x="2762" y="4073"/>
              <a:ext cx="199" cy="199"/>
            </a:xfrm>
            <a:custGeom>
              <a:avLst/>
              <a:gdLst>
                <a:gd name="T0" fmla="*/ 150 w 300"/>
                <a:gd name="T1" fmla="*/ 300 h 300"/>
                <a:gd name="T2" fmla="*/ 149 w 300"/>
                <a:gd name="T3" fmla="*/ 300 h 300"/>
                <a:gd name="T4" fmla="*/ 140 w 300"/>
                <a:gd name="T5" fmla="*/ 293 h 300"/>
                <a:gd name="T6" fmla="*/ 105 w 300"/>
                <a:gd name="T7" fmla="*/ 196 h 300"/>
                <a:gd name="T8" fmla="*/ 8 w 300"/>
                <a:gd name="T9" fmla="*/ 160 h 300"/>
                <a:gd name="T10" fmla="*/ 1 w 300"/>
                <a:gd name="T11" fmla="*/ 151 h 300"/>
                <a:gd name="T12" fmla="*/ 7 w 300"/>
                <a:gd name="T13" fmla="*/ 141 h 300"/>
                <a:gd name="T14" fmla="*/ 284 w 300"/>
                <a:gd name="T15" fmla="*/ 2 h 300"/>
                <a:gd name="T16" fmla="*/ 296 w 300"/>
                <a:gd name="T17" fmla="*/ 4 h 300"/>
                <a:gd name="T18" fmla="*/ 298 w 300"/>
                <a:gd name="T19" fmla="*/ 16 h 300"/>
                <a:gd name="T20" fmla="*/ 160 w 300"/>
                <a:gd name="T21" fmla="*/ 294 h 300"/>
                <a:gd name="T22" fmla="*/ 150 w 300"/>
                <a:gd name="T23" fmla="*/ 300 h 300"/>
                <a:gd name="T24" fmla="*/ 38 w 300"/>
                <a:gd name="T25" fmla="*/ 149 h 300"/>
                <a:gd name="T26" fmla="*/ 117 w 300"/>
                <a:gd name="T27" fmla="*/ 178 h 300"/>
                <a:gd name="T28" fmla="*/ 123 w 300"/>
                <a:gd name="T29" fmla="*/ 184 h 300"/>
                <a:gd name="T30" fmla="*/ 152 w 300"/>
                <a:gd name="T31" fmla="*/ 262 h 300"/>
                <a:gd name="T32" fmla="*/ 265 w 300"/>
                <a:gd name="T33" fmla="*/ 36 h 300"/>
                <a:gd name="T34" fmla="*/ 38 w 300"/>
                <a:gd name="T35" fmla="*/ 14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0" h="300">
                  <a:moveTo>
                    <a:pt x="150" y="300"/>
                  </a:moveTo>
                  <a:cubicBezTo>
                    <a:pt x="150" y="300"/>
                    <a:pt x="150" y="300"/>
                    <a:pt x="149" y="300"/>
                  </a:cubicBezTo>
                  <a:cubicBezTo>
                    <a:pt x="145" y="299"/>
                    <a:pt x="141" y="297"/>
                    <a:pt x="140" y="293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4" y="159"/>
                    <a:pt x="1" y="155"/>
                    <a:pt x="1" y="151"/>
                  </a:cubicBezTo>
                  <a:cubicBezTo>
                    <a:pt x="0" y="147"/>
                    <a:pt x="3" y="143"/>
                    <a:pt x="7" y="141"/>
                  </a:cubicBezTo>
                  <a:cubicBezTo>
                    <a:pt x="284" y="2"/>
                    <a:pt x="284" y="2"/>
                    <a:pt x="284" y="2"/>
                  </a:cubicBezTo>
                  <a:cubicBezTo>
                    <a:pt x="288" y="0"/>
                    <a:pt x="293" y="1"/>
                    <a:pt x="296" y="4"/>
                  </a:cubicBezTo>
                  <a:cubicBezTo>
                    <a:pt x="299" y="7"/>
                    <a:pt x="300" y="12"/>
                    <a:pt x="298" y="16"/>
                  </a:cubicBezTo>
                  <a:cubicBezTo>
                    <a:pt x="160" y="294"/>
                    <a:pt x="160" y="294"/>
                    <a:pt x="160" y="294"/>
                  </a:cubicBezTo>
                  <a:cubicBezTo>
                    <a:pt x="158" y="297"/>
                    <a:pt x="154" y="300"/>
                    <a:pt x="150" y="300"/>
                  </a:cubicBezTo>
                  <a:close/>
                  <a:moveTo>
                    <a:pt x="38" y="149"/>
                  </a:moveTo>
                  <a:cubicBezTo>
                    <a:pt x="117" y="178"/>
                    <a:pt x="117" y="178"/>
                    <a:pt x="117" y="178"/>
                  </a:cubicBezTo>
                  <a:cubicBezTo>
                    <a:pt x="120" y="179"/>
                    <a:pt x="122" y="181"/>
                    <a:pt x="123" y="184"/>
                  </a:cubicBezTo>
                  <a:cubicBezTo>
                    <a:pt x="152" y="262"/>
                    <a:pt x="152" y="262"/>
                    <a:pt x="152" y="262"/>
                  </a:cubicBezTo>
                  <a:cubicBezTo>
                    <a:pt x="265" y="36"/>
                    <a:pt x="265" y="36"/>
                    <a:pt x="265" y="36"/>
                  </a:cubicBezTo>
                  <a:lnTo>
                    <a:pt x="38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4" name="Freeform 989"/>
            <p:cNvSpPr>
              <a:spLocks noEditPoints="1"/>
            </p:cNvSpPr>
            <p:nvPr/>
          </p:nvSpPr>
          <p:spPr bwMode="auto">
            <a:xfrm>
              <a:off x="2699" y="39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95" name="Group 862"/>
          <p:cNvGrpSpPr>
            <a:grpSpLocks noChangeAspect="1"/>
          </p:cNvGrpSpPr>
          <p:nvPr/>
        </p:nvGrpSpPr>
        <p:grpSpPr bwMode="auto">
          <a:xfrm>
            <a:off x="1920765" y="3738092"/>
            <a:ext cx="369021" cy="370106"/>
            <a:chOff x="6607" y="3441"/>
            <a:chExt cx="340" cy="341"/>
          </a:xfrm>
          <a:solidFill>
            <a:schemeClr val="accent4"/>
          </a:solidFill>
        </p:grpSpPr>
        <p:sp>
          <p:nvSpPr>
            <p:cNvPr id="796" name="Freeform 863"/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7" name="Freeform 864"/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98" name="Group 867"/>
          <p:cNvGrpSpPr>
            <a:grpSpLocks noChangeAspect="1"/>
          </p:cNvGrpSpPr>
          <p:nvPr/>
        </p:nvGrpSpPr>
        <p:grpSpPr bwMode="auto">
          <a:xfrm>
            <a:off x="1422253" y="3738096"/>
            <a:ext cx="369021" cy="369021"/>
            <a:chOff x="6248" y="3438"/>
            <a:chExt cx="340" cy="340"/>
          </a:xfrm>
          <a:solidFill>
            <a:schemeClr val="accent4"/>
          </a:solidFill>
        </p:grpSpPr>
        <p:sp>
          <p:nvSpPr>
            <p:cNvPr id="799" name="Oval 868"/>
            <p:cNvSpPr>
              <a:spLocks noChangeArrowheads="1"/>
            </p:cNvSpPr>
            <p:nvPr/>
          </p:nvSpPr>
          <p:spPr bwMode="auto">
            <a:xfrm>
              <a:off x="6326" y="3593"/>
              <a:ext cx="28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0" name="Oval 869"/>
            <p:cNvSpPr>
              <a:spLocks noChangeArrowheads="1"/>
            </p:cNvSpPr>
            <p:nvPr/>
          </p:nvSpPr>
          <p:spPr bwMode="auto">
            <a:xfrm>
              <a:off x="6467" y="3530"/>
              <a:ext cx="29" cy="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1" name="Oval 870"/>
            <p:cNvSpPr>
              <a:spLocks noChangeArrowheads="1"/>
            </p:cNvSpPr>
            <p:nvPr/>
          </p:nvSpPr>
          <p:spPr bwMode="auto">
            <a:xfrm>
              <a:off x="6467" y="3657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2" name="Freeform 871"/>
            <p:cNvSpPr>
              <a:spLocks noEditPoints="1"/>
            </p:cNvSpPr>
            <p:nvPr/>
          </p:nvSpPr>
          <p:spPr bwMode="auto">
            <a:xfrm>
              <a:off x="6248" y="34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81 w 512"/>
                <a:gd name="T11" fmla="*/ 256 h 512"/>
                <a:gd name="T12" fmla="*/ 180 w 512"/>
                <a:gd name="T13" fmla="*/ 263 h 512"/>
                <a:gd name="T14" fmla="*/ 319 w 512"/>
                <a:gd name="T15" fmla="*/ 325 h 512"/>
                <a:gd name="T16" fmla="*/ 352 w 512"/>
                <a:gd name="T17" fmla="*/ 309 h 512"/>
                <a:gd name="T18" fmla="*/ 394 w 512"/>
                <a:gd name="T19" fmla="*/ 352 h 512"/>
                <a:gd name="T20" fmla="*/ 352 w 512"/>
                <a:gd name="T21" fmla="*/ 394 h 512"/>
                <a:gd name="T22" fmla="*/ 309 w 512"/>
                <a:gd name="T23" fmla="*/ 352 h 512"/>
                <a:gd name="T24" fmla="*/ 310 w 512"/>
                <a:gd name="T25" fmla="*/ 344 h 512"/>
                <a:gd name="T26" fmla="*/ 171 w 512"/>
                <a:gd name="T27" fmla="*/ 282 h 512"/>
                <a:gd name="T28" fmla="*/ 138 w 512"/>
                <a:gd name="T29" fmla="*/ 298 h 512"/>
                <a:gd name="T30" fmla="*/ 96 w 512"/>
                <a:gd name="T31" fmla="*/ 256 h 512"/>
                <a:gd name="T32" fmla="*/ 138 w 512"/>
                <a:gd name="T33" fmla="*/ 213 h 512"/>
                <a:gd name="T34" fmla="*/ 171 w 512"/>
                <a:gd name="T35" fmla="*/ 229 h 512"/>
                <a:gd name="T36" fmla="*/ 310 w 512"/>
                <a:gd name="T37" fmla="*/ 167 h 512"/>
                <a:gd name="T38" fmla="*/ 309 w 512"/>
                <a:gd name="T39" fmla="*/ 160 h 512"/>
                <a:gd name="T40" fmla="*/ 352 w 512"/>
                <a:gd name="T41" fmla="*/ 117 h 512"/>
                <a:gd name="T42" fmla="*/ 394 w 512"/>
                <a:gd name="T43" fmla="*/ 160 h 512"/>
                <a:gd name="T44" fmla="*/ 352 w 512"/>
                <a:gd name="T45" fmla="*/ 202 h 512"/>
                <a:gd name="T46" fmla="*/ 319 w 512"/>
                <a:gd name="T47" fmla="*/ 186 h 512"/>
                <a:gd name="T48" fmla="*/ 180 w 512"/>
                <a:gd name="T49" fmla="*/ 248 h 512"/>
                <a:gd name="T50" fmla="*/ 181 w 512"/>
                <a:gd name="T51" fmla="*/ 25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81" y="256"/>
                  </a:moveTo>
                  <a:cubicBezTo>
                    <a:pt x="181" y="258"/>
                    <a:pt x="181" y="260"/>
                    <a:pt x="180" y="263"/>
                  </a:cubicBezTo>
                  <a:cubicBezTo>
                    <a:pt x="319" y="325"/>
                    <a:pt x="319" y="325"/>
                    <a:pt x="319" y="325"/>
                  </a:cubicBezTo>
                  <a:cubicBezTo>
                    <a:pt x="326" y="315"/>
                    <a:pt x="338" y="309"/>
                    <a:pt x="352" y="309"/>
                  </a:cubicBezTo>
                  <a:cubicBezTo>
                    <a:pt x="375" y="309"/>
                    <a:pt x="394" y="328"/>
                    <a:pt x="394" y="352"/>
                  </a:cubicBezTo>
                  <a:cubicBezTo>
                    <a:pt x="394" y="375"/>
                    <a:pt x="375" y="394"/>
                    <a:pt x="352" y="394"/>
                  </a:cubicBezTo>
                  <a:cubicBezTo>
                    <a:pt x="328" y="394"/>
                    <a:pt x="309" y="375"/>
                    <a:pt x="309" y="352"/>
                  </a:cubicBezTo>
                  <a:cubicBezTo>
                    <a:pt x="309" y="349"/>
                    <a:pt x="309" y="347"/>
                    <a:pt x="310" y="344"/>
                  </a:cubicBezTo>
                  <a:cubicBezTo>
                    <a:pt x="171" y="282"/>
                    <a:pt x="171" y="282"/>
                    <a:pt x="171" y="282"/>
                  </a:cubicBezTo>
                  <a:cubicBezTo>
                    <a:pt x="164" y="292"/>
                    <a:pt x="152" y="298"/>
                    <a:pt x="138" y="298"/>
                  </a:cubicBezTo>
                  <a:cubicBezTo>
                    <a:pt x="115" y="298"/>
                    <a:pt x="96" y="279"/>
                    <a:pt x="96" y="256"/>
                  </a:cubicBezTo>
                  <a:cubicBezTo>
                    <a:pt x="96" y="232"/>
                    <a:pt x="115" y="213"/>
                    <a:pt x="138" y="213"/>
                  </a:cubicBezTo>
                  <a:cubicBezTo>
                    <a:pt x="152" y="213"/>
                    <a:pt x="164" y="219"/>
                    <a:pt x="171" y="229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09" y="165"/>
                    <a:pt x="309" y="162"/>
                    <a:pt x="309" y="160"/>
                  </a:cubicBezTo>
                  <a:cubicBezTo>
                    <a:pt x="309" y="136"/>
                    <a:pt x="328" y="117"/>
                    <a:pt x="352" y="117"/>
                  </a:cubicBezTo>
                  <a:cubicBezTo>
                    <a:pt x="375" y="117"/>
                    <a:pt x="394" y="136"/>
                    <a:pt x="394" y="160"/>
                  </a:cubicBezTo>
                  <a:cubicBezTo>
                    <a:pt x="394" y="183"/>
                    <a:pt x="375" y="202"/>
                    <a:pt x="352" y="202"/>
                  </a:cubicBezTo>
                  <a:cubicBezTo>
                    <a:pt x="338" y="202"/>
                    <a:pt x="326" y="196"/>
                    <a:pt x="319" y="186"/>
                  </a:cubicBezTo>
                  <a:cubicBezTo>
                    <a:pt x="180" y="248"/>
                    <a:pt x="180" y="248"/>
                    <a:pt x="180" y="248"/>
                  </a:cubicBezTo>
                  <a:cubicBezTo>
                    <a:pt x="181" y="251"/>
                    <a:pt x="181" y="253"/>
                    <a:pt x="181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03" name="Group 257"/>
          <p:cNvGrpSpPr>
            <a:grpSpLocks noChangeAspect="1"/>
          </p:cNvGrpSpPr>
          <p:nvPr/>
        </p:nvGrpSpPr>
        <p:grpSpPr bwMode="auto">
          <a:xfrm>
            <a:off x="3917865" y="3738092"/>
            <a:ext cx="369676" cy="369676"/>
            <a:chOff x="2724" y="770"/>
            <a:chExt cx="340" cy="340"/>
          </a:xfrm>
          <a:solidFill>
            <a:schemeClr val="accent3"/>
          </a:solidFill>
        </p:grpSpPr>
        <p:sp>
          <p:nvSpPr>
            <p:cNvPr id="804" name="Freeform 258"/>
            <p:cNvSpPr>
              <a:spLocks noEditPoints="1"/>
            </p:cNvSpPr>
            <p:nvPr/>
          </p:nvSpPr>
          <p:spPr bwMode="auto">
            <a:xfrm>
              <a:off x="2788" y="862"/>
              <a:ext cx="212" cy="184"/>
            </a:xfrm>
            <a:custGeom>
              <a:avLst/>
              <a:gdLst>
                <a:gd name="T0" fmla="*/ 64 w 320"/>
                <a:gd name="T1" fmla="*/ 278 h 278"/>
                <a:gd name="T2" fmla="*/ 60 w 320"/>
                <a:gd name="T3" fmla="*/ 277 h 278"/>
                <a:gd name="T4" fmla="*/ 53 w 320"/>
                <a:gd name="T5" fmla="*/ 267 h 278"/>
                <a:gd name="T6" fmla="*/ 53 w 320"/>
                <a:gd name="T7" fmla="*/ 214 h 278"/>
                <a:gd name="T8" fmla="*/ 10 w 320"/>
                <a:gd name="T9" fmla="*/ 214 h 278"/>
                <a:gd name="T10" fmla="*/ 0 w 320"/>
                <a:gd name="T11" fmla="*/ 203 h 278"/>
                <a:gd name="T12" fmla="*/ 0 w 320"/>
                <a:gd name="T13" fmla="*/ 11 h 278"/>
                <a:gd name="T14" fmla="*/ 10 w 320"/>
                <a:gd name="T15" fmla="*/ 0 h 278"/>
                <a:gd name="T16" fmla="*/ 309 w 320"/>
                <a:gd name="T17" fmla="*/ 0 h 278"/>
                <a:gd name="T18" fmla="*/ 320 w 320"/>
                <a:gd name="T19" fmla="*/ 11 h 278"/>
                <a:gd name="T20" fmla="*/ 320 w 320"/>
                <a:gd name="T21" fmla="*/ 203 h 278"/>
                <a:gd name="T22" fmla="*/ 309 w 320"/>
                <a:gd name="T23" fmla="*/ 214 h 278"/>
                <a:gd name="T24" fmla="*/ 122 w 320"/>
                <a:gd name="T25" fmla="*/ 214 h 278"/>
                <a:gd name="T26" fmla="*/ 72 w 320"/>
                <a:gd name="T27" fmla="*/ 274 h 278"/>
                <a:gd name="T28" fmla="*/ 64 w 320"/>
                <a:gd name="T29" fmla="*/ 278 h 278"/>
                <a:gd name="T30" fmla="*/ 21 w 320"/>
                <a:gd name="T31" fmla="*/ 192 h 278"/>
                <a:gd name="T32" fmla="*/ 64 w 320"/>
                <a:gd name="T33" fmla="*/ 192 h 278"/>
                <a:gd name="T34" fmla="*/ 74 w 320"/>
                <a:gd name="T35" fmla="*/ 203 h 278"/>
                <a:gd name="T36" fmla="*/ 74 w 320"/>
                <a:gd name="T37" fmla="*/ 238 h 278"/>
                <a:gd name="T38" fmla="*/ 109 w 320"/>
                <a:gd name="T39" fmla="*/ 196 h 278"/>
                <a:gd name="T40" fmla="*/ 117 w 320"/>
                <a:gd name="T41" fmla="*/ 192 h 278"/>
                <a:gd name="T42" fmla="*/ 298 w 320"/>
                <a:gd name="T43" fmla="*/ 192 h 278"/>
                <a:gd name="T44" fmla="*/ 298 w 320"/>
                <a:gd name="T45" fmla="*/ 22 h 278"/>
                <a:gd name="T46" fmla="*/ 21 w 320"/>
                <a:gd name="T47" fmla="*/ 22 h 278"/>
                <a:gd name="T48" fmla="*/ 21 w 320"/>
                <a:gd name="T49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8">
                  <a:moveTo>
                    <a:pt x="64" y="278"/>
                  </a:moveTo>
                  <a:cubicBezTo>
                    <a:pt x="62" y="278"/>
                    <a:pt x="61" y="277"/>
                    <a:pt x="60" y="277"/>
                  </a:cubicBezTo>
                  <a:cubicBezTo>
                    <a:pt x="56" y="276"/>
                    <a:pt x="53" y="271"/>
                    <a:pt x="53" y="267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10" y="214"/>
                    <a:pt x="10" y="214"/>
                    <a:pt x="10" y="214"/>
                  </a:cubicBezTo>
                  <a:cubicBezTo>
                    <a:pt x="4" y="214"/>
                    <a:pt x="0" y="209"/>
                    <a:pt x="0" y="20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5" y="0"/>
                    <a:pt x="320" y="5"/>
                    <a:pt x="320" y="11"/>
                  </a:cubicBezTo>
                  <a:cubicBezTo>
                    <a:pt x="320" y="203"/>
                    <a:pt x="320" y="203"/>
                    <a:pt x="320" y="203"/>
                  </a:cubicBezTo>
                  <a:cubicBezTo>
                    <a:pt x="320" y="209"/>
                    <a:pt x="315" y="214"/>
                    <a:pt x="309" y="214"/>
                  </a:cubicBezTo>
                  <a:cubicBezTo>
                    <a:pt x="122" y="214"/>
                    <a:pt x="122" y="214"/>
                    <a:pt x="122" y="214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0" y="276"/>
                    <a:pt x="67" y="278"/>
                    <a:pt x="64" y="278"/>
                  </a:cubicBezTo>
                  <a:close/>
                  <a:moveTo>
                    <a:pt x="21" y="192"/>
                  </a:moveTo>
                  <a:cubicBezTo>
                    <a:pt x="64" y="192"/>
                    <a:pt x="64" y="192"/>
                    <a:pt x="64" y="192"/>
                  </a:cubicBezTo>
                  <a:cubicBezTo>
                    <a:pt x="70" y="192"/>
                    <a:pt x="74" y="197"/>
                    <a:pt x="74" y="203"/>
                  </a:cubicBezTo>
                  <a:cubicBezTo>
                    <a:pt x="74" y="238"/>
                    <a:pt x="74" y="238"/>
                    <a:pt x="74" y="238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11" y="194"/>
                    <a:pt x="114" y="192"/>
                    <a:pt x="117" y="192"/>
                  </a:cubicBezTo>
                  <a:cubicBezTo>
                    <a:pt x="298" y="192"/>
                    <a:pt x="298" y="192"/>
                    <a:pt x="298" y="192"/>
                  </a:cubicBezTo>
                  <a:cubicBezTo>
                    <a:pt x="298" y="22"/>
                    <a:pt x="298" y="22"/>
                    <a:pt x="298" y="22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1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5" name="Freeform 259"/>
            <p:cNvSpPr>
              <a:spLocks noEditPoints="1"/>
            </p:cNvSpPr>
            <p:nvPr/>
          </p:nvSpPr>
          <p:spPr bwMode="auto">
            <a:xfrm>
              <a:off x="2724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06" name="Freeform 263"/>
          <p:cNvSpPr>
            <a:spLocks noChangeAspect="1" noEditPoints="1"/>
          </p:cNvSpPr>
          <p:nvPr/>
        </p:nvSpPr>
        <p:spPr bwMode="auto">
          <a:xfrm>
            <a:off x="3418698" y="3738092"/>
            <a:ext cx="369676" cy="369676"/>
          </a:xfrm>
          <a:custGeom>
            <a:avLst/>
            <a:gdLst>
              <a:gd name="T0" fmla="*/ 117 w 512"/>
              <a:gd name="T1" fmla="*/ 160 h 512"/>
              <a:gd name="T2" fmla="*/ 394 w 512"/>
              <a:gd name="T3" fmla="*/ 160 h 512"/>
              <a:gd name="T4" fmla="*/ 394 w 512"/>
              <a:gd name="T5" fmla="*/ 330 h 512"/>
              <a:gd name="T6" fmla="*/ 213 w 512"/>
              <a:gd name="T7" fmla="*/ 330 h 512"/>
              <a:gd name="T8" fmla="*/ 205 w 512"/>
              <a:gd name="T9" fmla="*/ 334 h 512"/>
              <a:gd name="T10" fmla="*/ 170 w 512"/>
              <a:gd name="T11" fmla="*/ 376 h 512"/>
              <a:gd name="T12" fmla="*/ 170 w 512"/>
              <a:gd name="T13" fmla="*/ 341 h 512"/>
              <a:gd name="T14" fmla="*/ 160 w 512"/>
              <a:gd name="T15" fmla="*/ 330 h 512"/>
              <a:gd name="T16" fmla="*/ 117 w 512"/>
              <a:gd name="T17" fmla="*/ 330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416 w 512"/>
              <a:gd name="T31" fmla="*/ 149 h 512"/>
              <a:gd name="T32" fmla="*/ 405 w 512"/>
              <a:gd name="T33" fmla="*/ 138 h 512"/>
              <a:gd name="T34" fmla="*/ 106 w 512"/>
              <a:gd name="T35" fmla="*/ 138 h 512"/>
              <a:gd name="T36" fmla="*/ 96 w 512"/>
              <a:gd name="T37" fmla="*/ 149 h 512"/>
              <a:gd name="T38" fmla="*/ 96 w 512"/>
              <a:gd name="T39" fmla="*/ 341 h 512"/>
              <a:gd name="T40" fmla="*/ 106 w 512"/>
              <a:gd name="T41" fmla="*/ 352 h 512"/>
              <a:gd name="T42" fmla="*/ 149 w 512"/>
              <a:gd name="T43" fmla="*/ 352 h 512"/>
              <a:gd name="T44" fmla="*/ 149 w 512"/>
              <a:gd name="T45" fmla="*/ 405 h 512"/>
              <a:gd name="T46" fmla="*/ 156 w 512"/>
              <a:gd name="T47" fmla="*/ 415 h 512"/>
              <a:gd name="T48" fmla="*/ 160 w 512"/>
              <a:gd name="T49" fmla="*/ 416 h 512"/>
              <a:gd name="T50" fmla="*/ 168 w 512"/>
              <a:gd name="T51" fmla="*/ 412 h 512"/>
              <a:gd name="T52" fmla="*/ 218 w 512"/>
              <a:gd name="T53" fmla="*/ 352 h 512"/>
              <a:gd name="T54" fmla="*/ 405 w 512"/>
              <a:gd name="T55" fmla="*/ 352 h 512"/>
              <a:gd name="T56" fmla="*/ 416 w 512"/>
              <a:gd name="T57" fmla="*/ 341 h 512"/>
              <a:gd name="T58" fmla="*/ 416 w 512"/>
              <a:gd name="T5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0" y="330"/>
                  <a:pt x="207" y="332"/>
                  <a:pt x="205" y="334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170" y="341"/>
                  <a:pt x="170" y="341"/>
                  <a:pt x="170" y="341"/>
                </a:cubicBezTo>
                <a:cubicBezTo>
                  <a:pt x="170" y="335"/>
                  <a:pt x="166" y="330"/>
                  <a:pt x="160" y="330"/>
                </a:cubicBezTo>
                <a:cubicBezTo>
                  <a:pt x="117" y="330"/>
                  <a:pt x="117" y="330"/>
                  <a:pt x="117" y="330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47"/>
                  <a:pt x="100" y="352"/>
                  <a:pt x="106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9" y="405"/>
                  <a:pt x="149" y="405"/>
                  <a:pt x="149" y="405"/>
                </a:cubicBezTo>
                <a:cubicBezTo>
                  <a:pt x="149" y="409"/>
                  <a:pt x="152" y="414"/>
                  <a:pt x="156" y="415"/>
                </a:cubicBezTo>
                <a:cubicBezTo>
                  <a:pt x="157" y="415"/>
                  <a:pt x="158" y="416"/>
                  <a:pt x="160" y="416"/>
                </a:cubicBezTo>
                <a:cubicBezTo>
                  <a:pt x="163" y="416"/>
                  <a:pt x="166" y="414"/>
                  <a:pt x="168" y="41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47"/>
                  <a:pt x="416" y="341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07" name="Group 245"/>
          <p:cNvGrpSpPr>
            <a:grpSpLocks noChangeAspect="1"/>
          </p:cNvGrpSpPr>
          <p:nvPr/>
        </p:nvGrpSpPr>
        <p:grpSpPr bwMode="auto">
          <a:xfrm>
            <a:off x="2919531" y="3738092"/>
            <a:ext cx="369676" cy="369676"/>
            <a:chOff x="3480" y="792"/>
            <a:chExt cx="340" cy="340"/>
          </a:xfrm>
          <a:solidFill>
            <a:schemeClr val="accent3"/>
          </a:solidFill>
        </p:grpSpPr>
        <p:sp>
          <p:nvSpPr>
            <p:cNvPr id="808" name="Freeform 246"/>
            <p:cNvSpPr>
              <a:spLocks noEditPoints="1"/>
            </p:cNvSpPr>
            <p:nvPr/>
          </p:nvSpPr>
          <p:spPr bwMode="auto">
            <a:xfrm>
              <a:off x="3480" y="7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9" name="Freeform 247"/>
            <p:cNvSpPr>
              <a:spLocks noEditPoints="1"/>
            </p:cNvSpPr>
            <p:nvPr/>
          </p:nvSpPr>
          <p:spPr bwMode="auto">
            <a:xfrm>
              <a:off x="3544" y="884"/>
              <a:ext cx="212" cy="184"/>
            </a:xfrm>
            <a:custGeom>
              <a:avLst/>
              <a:gdLst>
                <a:gd name="T0" fmla="*/ 309 w 320"/>
                <a:gd name="T1" fmla="*/ 0 h 278"/>
                <a:gd name="T2" fmla="*/ 10 w 320"/>
                <a:gd name="T3" fmla="*/ 0 h 278"/>
                <a:gd name="T4" fmla="*/ 0 w 320"/>
                <a:gd name="T5" fmla="*/ 11 h 278"/>
                <a:gd name="T6" fmla="*/ 0 w 320"/>
                <a:gd name="T7" fmla="*/ 203 h 278"/>
                <a:gd name="T8" fmla="*/ 10 w 320"/>
                <a:gd name="T9" fmla="*/ 214 h 278"/>
                <a:gd name="T10" fmla="*/ 53 w 320"/>
                <a:gd name="T11" fmla="*/ 214 h 278"/>
                <a:gd name="T12" fmla="*/ 53 w 320"/>
                <a:gd name="T13" fmla="*/ 267 h 278"/>
                <a:gd name="T14" fmla="*/ 60 w 320"/>
                <a:gd name="T15" fmla="*/ 277 h 278"/>
                <a:gd name="T16" fmla="*/ 64 w 320"/>
                <a:gd name="T17" fmla="*/ 278 h 278"/>
                <a:gd name="T18" fmla="*/ 72 w 320"/>
                <a:gd name="T19" fmla="*/ 274 h 278"/>
                <a:gd name="T20" fmla="*/ 122 w 320"/>
                <a:gd name="T21" fmla="*/ 214 h 278"/>
                <a:gd name="T22" fmla="*/ 309 w 320"/>
                <a:gd name="T23" fmla="*/ 214 h 278"/>
                <a:gd name="T24" fmla="*/ 320 w 320"/>
                <a:gd name="T25" fmla="*/ 203 h 278"/>
                <a:gd name="T26" fmla="*/ 320 w 320"/>
                <a:gd name="T27" fmla="*/ 11 h 278"/>
                <a:gd name="T28" fmla="*/ 309 w 320"/>
                <a:gd name="T29" fmla="*/ 0 h 278"/>
                <a:gd name="T30" fmla="*/ 298 w 320"/>
                <a:gd name="T31" fmla="*/ 192 h 278"/>
                <a:gd name="T32" fmla="*/ 117 w 320"/>
                <a:gd name="T33" fmla="*/ 192 h 278"/>
                <a:gd name="T34" fmla="*/ 109 w 320"/>
                <a:gd name="T35" fmla="*/ 196 h 278"/>
                <a:gd name="T36" fmla="*/ 74 w 320"/>
                <a:gd name="T37" fmla="*/ 238 h 278"/>
                <a:gd name="T38" fmla="*/ 74 w 320"/>
                <a:gd name="T39" fmla="*/ 203 h 278"/>
                <a:gd name="T40" fmla="*/ 64 w 320"/>
                <a:gd name="T41" fmla="*/ 192 h 278"/>
                <a:gd name="T42" fmla="*/ 21 w 320"/>
                <a:gd name="T43" fmla="*/ 192 h 278"/>
                <a:gd name="T44" fmla="*/ 21 w 320"/>
                <a:gd name="T45" fmla="*/ 22 h 278"/>
                <a:gd name="T46" fmla="*/ 298 w 320"/>
                <a:gd name="T47" fmla="*/ 22 h 278"/>
                <a:gd name="T48" fmla="*/ 298 w 320"/>
                <a:gd name="T49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8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53" y="271"/>
                    <a:pt x="56" y="276"/>
                    <a:pt x="60" y="277"/>
                  </a:cubicBezTo>
                  <a:cubicBezTo>
                    <a:pt x="61" y="277"/>
                    <a:pt x="62" y="278"/>
                    <a:pt x="64" y="278"/>
                  </a:cubicBezTo>
                  <a:cubicBezTo>
                    <a:pt x="67" y="278"/>
                    <a:pt x="70" y="276"/>
                    <a:pt x="72" y="274"/>
                  </a:cubicBezTo>
                  <a:cubicBezTo>
                    <a:pt x="122" y="214"/>
                    <a:pt x="122" y="214"/>
                    <a:pt x="122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117" y="192"/>
                    <a:pt x="117" y="192"/>
                    <a:pt x="117" y="192"/>
                  </a:cubicBezTo>
                  <a:cubicBezTo>
                    <a:pt x="114" y="192"/>
                    <a:pt x="111" y="194"/>
                    <a:pt x="109" y="196"/>
                  </a:cubicBezTo>
                  <a:cubicBezTo>
                    <a:pt x="74" y="238"/>
                    <a:pt x="74" y="238"/>
                    <a:pt x="74" y="238"/>
                  </a:cubicBezTo>
                  <a:cubicBezTo>
                    <a:pt x="74" y="203"/>
                    <a:pt x="74" y="203"/>
                    <a:pt x="74" y="203"/>
                  </a:cubicBezTo>
                  <a:cubicBezTo>
                    <a:pt x="74" y="197"/>
                    <a:pt x="70" y="192"/>
                    <a:pt x="64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0" name="Freeform 248"/>
            <p:cNvSpPr>
              <a:spLocks/>
            </p:cNvSpPr>
            <p:nvPr/>
          </p:nvSpPr>
          <p:spPr bwMode="auto">
            <a:xfrm>
              <a:off x="3572" y="919"/>
              <a:ext cx="156" cy="14"/>
            </a:xfrm>
            <a:custGeom>
              <a:avLst/>
              <a:gdLst>
                <a:gd name="T0" fmla="*/ 11 w 235"/>
                <a:gd name="T1" fmla="*/ 21 h 21"/>
                <a:gd name="T2" fmla="*/ 224 w 235"/>
                <a:gd name="T3" fmla="*/ 21 h 21"/>
                <a:gd name="T4" fmla="*/ 235 w 235"/>
                <a:gd name="T5" fmla="*/ 10 h 21"/>
                <a:gd name="T6" fmla="*/ 224 w 235"/>
                <a:gd name="T7" fmla="*/ 0 h 21"/>
                <a:gd name="T8" fmla="*/ 11 w 235"/>
                <a:gd name="T9" fmla="*/ 0 h 21"/>
                <a:gd name="T10" fmla="*/ 0 w 235"/>
                <a:gd name="T11" fmla="*/ 10 h 21"/>
                <a:gd name="T12" fmla="*/ 11 w 23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1">
                  <a:moveTo>
                    <a:pt x="1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30" y="21"/>
                    <a:pt x="235" y="16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1" name="Freeform 249"/>
            <p:cNvSpPr>
              <a:spLocks/>
            </p:cNvSpPr>
            <p:nvPr/>
          </p:nvSpPr>
          <p:spPr bwMode="auto">
            <a:xfrm>
              <a:off x="3572" y="947"/>
              <a:ext cx="156" cy="15"/>
            </a:xfrm>
            <a:custGeom>
              <a:avLst/>
              <a:gdLst>
                <a:gd name="T0" fmla="*/ 11 w 235"/>
                <a:gd name="T1" fmla="*/ 22 h 22"/>
                <a:gd name="T2" fmla="*/ 224 w 235"/>
                <a:gd name="T3" fmla="*/ 22 h 22"/>
                <a:gd name="T4" fmla="*/ 235 w 235"/>
                <a:gd name="T5" fmla="*/ 11 h 22"/>
                <a:gd name="T6" fmla="*/ 224 w 235"/>
                <a:gd name="T7" fmla="*/ 0 h 22"/>
                <a:gd name="T8" fmla="*/ 11 w 235"/>
                <a:gd name="T9" fmla="*/ 0 h 22"/>
                <a:gd name="T10" fmla="*/ 0 w 235"/>
                <a:gd name="T11" fmla="*/ 11 h 22"/>
                <a:gd name="T12" fmla="*/ 11 w 23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2">
                  <a:moveTo>
                    <a:pt x="11" y="22"/>
                  </a:moveTo>
                  <a:cubicBezTo>
                    <a:pt x="224" y="22"/>
                    <a:pt x="224" y="22"/>
                    <a:pt x="224" y="22"/>
                  </a:cubicBezTo>
                  <a:cubicBezTo>
                    <a:pt x="230" y="22"/>
                    <a:pt x="235" y="17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2" name="Freeform 250"/>
            <p:cNvSpPr>
              <a:spLocks/>
            </p:cNvSpPr>
            <p:nvPr/>
          </p:nvSpPr>
          <p:spPr bwMode="auto">
            <a:xfrm>
              <a:off x="3572" y="976"/>
              <a:ext cx="156" cy="14"/>
            </a:xfrm>
            <a:custGeom>
              <a:avLst/>
              <a:gdLst>
                <a:gd name="T0" fmla="*/ 11 w 235"/>
                <a:gd name="T1" fmla="*/ 21 h 21"/>
                <a:gd name="T2" fmla="*/ 224 w 235"/>
                <a:gd name="T3" fmla="*/ 21 h 21"/>
                <a:gd name="T4" fmla="*/ 235 w 235"/>
                <a:gd name="T5" fmla="*/ 11 h 21"/>
                <a:gd name="T6" fmla="*/ 224 w 235"/>
                <a:gd name="T7" fmla="*/ 0 h 21"/>
                <a:gd name="T8" fmla="*/ 11 w 235"/>
                <a:gd name="T9" fmla="*/ 0 h 21"/>
                <a:gd name="T10" fmla="*/ 0 w 235"/>
                <a:gd name="T11" fmla="*/ 11 h 21"/>
                <a:gd name="T12" fmla="*/ 11 w 23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1">
                  <a:moveTo>
                    <a:pt x="1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30" y="21"/>
                    <a:pt x="235" y="17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13" name="Freeform 254"/>
          <p:cNvSpPr>
            <a:spLocks noChangeAspect="1" noEditPoints="1"/>
          </p:cNvSpPr>
          <p:nvPr/>
        </p:nvSpPr>
        <p:spPr bwMode="auto">
          <a:xfrm>
            <a:off x="2419277" y="3738092"/>
            <a:ext cx="370763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341 h 512"/>
              <a:gd name="T12" fmla="*/ 405 w 512"/>
              <a:gd name="T13" fmla="*/ 352 h 512"/>
              <a:gd name="T14" fmla="*/ 218 w 512"/>
              <a:gd name="T15" fmla="*/ 352 h 512"/>
              <a:gd name="T16" fmla="*/ 168 w 512"/>
              <a:gd name="T17" fmla="*/ 412 h 512"/>
              <a:gd name="T18" fmla="*/ 160 w 512"/>
              <a:gd name="T19" fmla="*/ 416 h 512"/>
              <a:gd name="T20" fmla="*/ 156 w 512"/>
              <a:gd name="T21" fmla="*/ 415 h 512"/>
              <a:gd name="T22" fmla="*/ 149 w 512"/>
              <a:gd name="T23" fmla="*/ 405 h 512"/>
              <a:gd name="T24" fmla="*/ 149 w 512"/>
              <a:gd name="T25" fmla="*/ 352 h 512"/>
              <a:gd name="T26" fmla="*/ 106 w 512"/>
              <a:gd name="T27" fmla="*/ 352 h 512"/>
              <a:gd name="T28" fmla="*/ 96 w 512"/>
              <a:gd name="T29" fmla="*/ 341 h 512"/>
              <a:gd name="T30" fmla="*/ 96 w 512"/>
              <a:gd name="T31" fmla="*/ 149 h 512"/>
              <a:gd name="T32" fmla="*/ 106 w 512"/>
              <a:gd name="T33" fmla="*/ 138 h 512"/>
              <a:gd name="T34" fmla="*/ 405 w 512"/>
              <a:gd name="T35" fmla="*/ 138 h 512"/>
              <a:gd name="T36" fmla="*/ 416 w 512"/>
              <a:gd name="T37" fmla="*/ 149 h 512"/>
              <a:gd name="T38" fmla="*/ 416 w 512"/>
              <a:gd name="T39" fmla="*/ 341 h 512"/>
              <a:gd name="T40" fmla="*/ 117 w 512"/>
              <a:gd name="T41" fmla="*/ 330 h 512"/>
              <a:gd name="T42" fmla="*/ 160 w 512"/>
              <a:gd name="T43" fmla="*/ 330 h 512"/>
              <a:gd name="T44" fmla="*/ 170 w 512"/>
              <a:gd name="T45" fmla="*/ 341 h 512"/>
              <a:gd name="T46" fmla="*/ 170 w 512"/>
              <a:gd name="T47" fmla="*/ 376 h 512"/>
              <a:gd name="T48" fmla="*/ 205 w 512"/>
              <a:gd name="T49" fmla="*/ 334 h 512"/>
              <a:gd name="T50" fmla="*/ 213 w 512"/>
              <a:gd name="T51" fmla="*/ 330 h 512"/>
              <a:gd name="T52" fmla="*/ 394 w 512"/>
              <a:gd name="T53" fmla="*/ 330 h 512"/>
              <a:gd name="T54" fmla="*/ 394 w 512"/>
              <a:gd name="T55" fmla="*/ 160 h 512"/>
              <a:gd name="T56" fmla="*/ 117 w 512"/>
              <a:gd name="T57" fmla="*/ 160 h 512"/>
              <a:gd name="T58" fmla="*/ 117 w 512"/>
              <a:gd name="T59" fmla="*/ 330 h 512"/>
              <a:gd name="T60" fmla="*/ 149 w 512"/>
              <a:gd name="T61" fmla="*/ 192 h 512"/>
              <a:gd name="T62" fmla="*/ 362 w 512"/>
              <a:gd name="T63" fmla="*/ 192 h 512"/>
              <a:gd name="T64" fmla="*/ 373 w 512"/>
              <a:gd name="T65" fmla="*/ 202 h 512"/>
              <a:gd name="T66" fmla="*/ 362 w 512"/>
              <a:gd name="T67" fmla="*/ 213 h 512"/>
              <a:gd name="T68" fmla="*/ 149 w 512"/>
              <a:gd name="T69" fmla="*/ 213 h 512"/>
              <a:gd name="T70" fmla="*/ 138 w 512"/>
              <a:gd name="T71" fmla="*/ 202 h 512"/>
              <a:gd name="T72" fmla="*/ 149 w 512"/>
              <a:gd name="T73" fmla="*/ 192 h 512"/>
              <a:gd name="T74" fmla="*/ 149 w 512"/>
              <a:gd name="T75" fmla="*/ 234 h 512"/>
              <a:gd name="T76" fmla="*/ 362 w 512"/>
              <a:gd name="T77" fmla="*/ 234 h 512"/>
              <a:gd name="T78" fmla="*/ 373 w 512"/>
              <a:gd name="T79" fmla="*/ 245 h 512"/>
              <a:gd name="T80" fmla="*/ 362 w 512"/>
              <a:gd name="T81" fmla="*/ 256 h 512"/>
              <a:gd name="T82" fmla="*/ 149 w 512"/>
              <a:gd name="T83" fmla="*/ 256 h 512"/>
              <a:gd name="T84" fmla="*/ 138 w 512"/>
              <a:gd name="T85" fmla="*/ 245 h 512"/>
              <a:gd name="T86" fmla="*/ 149 w 512"/>
              <a:gd name="T87" fmla="*/ 234 h 512"/>
              <a:gd name="T88" fmla="*/ 149 w 512"/>
              <a:gd name="T89" fmla="*/ 277 h 512"/>
              <a:gd name="T90" fmla="*/ 362 w 512"/>
              <a:gd name="T91" fmla="*/ 277 h 512"/>
              <a:gd name="T92" fmla="*/ 373 w 512"/>
              <a:gd name="T93" fmla="*/ 288 h 512"/>
              <a:gd name="T94" fmla="*/ 362 w 512"/>
              <a:gd name="T95" fmla="*/ 298 h 512"/>
              <a:gd name="T96" fmla="*/ 149 w 512"/>
              <a:gd name="T97" fmla="*/ 298 h 512"/>
              <a:gd name="T98" fmla="*/ 138 w 512"/>
              <a:gd name="T99" fmla="*/ 288 h 512"/>
              <a:gd name="T100" fmla="*/ 149 w 512"/>
              <a:gd name="T101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149" y="192"/>
                </a:moveTo>
                <a:cubicBezTo>
                  <a:pt x="362" y="192"/>
                  <a:pt x="362" y="192"/>
                  <a:pt x="362" y="192"/>
                </a:cubicBezTo>
                <a:cubicBezTo>
                  <a:pt x="368" y="192"/>
                  <a:pt x="373" y="196"/>
                  <a:pt x="373" y="202"/>
                </a:cubicBezTo>
                <a:cubicBezTo>
                  <a:pt x="373" y="208"/>
                  <a:pt x="368" y="213"/>
                  <a:pt x="362" y="213"/>
                </a:cubicBezTo>
                <a:cubicBezTo>
                  <a:pt x="149" y="213"/>
                  <a:pt x="149" y="213"/>
                  <a:pt x="149" y="213"/>
                </a:cubicBezTo>
                <a:cubicBezTo>
                  <a:pt x="143" y="213"/>
                  <a:pt x="138" y="208"/>
                  <a:pt x="138" y="202"/>
                </a:cubicBezTo>
                <a:cubicBezTo>
                  <a:pt x="138" y="196"/>
                  <a:pt x="143" y="192"/>
                  <a:pt x="149" y="192"/>
                </a:cubicBezTo>
                <a:close/>
                <a:moveTo>
                  <a:pt x="149" y="234"/>
                </a:move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9"/>
                  <a:pt x="373" y="245"/>
                </a:cubicBezTo>
                <a:cubicBezTo>
                  <a:pt x="373" y="251"/>
                  <a:pt x="368" y="256"/>
                  <a:pt x="362" y="256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3" y="256"/>
                  <a:pt x="138" y="251"/>
                  <a:pt x="138" y="245"/>
                </a:cubicBezTo>
                <a:cubicBezTo>
                  <a:pt x="138" y="239"/>
                  <a:pt x="143" y="234"/>
                  <a:pt x="149" y="234"/>
                </a:cubicBezTo>
                <a:close/>
                <a:moveTo>
                  <a:pt x="149" y="277"/>
                </a:moveTo>
                <a:cubicBezTo>
                  <a:pt x="362" y="277"/>
                  <a:pt x="362" y="277"/>
                  <a:pt x="362" y="277"/>
                </a:cubicBezTo>
                <a:cubicBezTo>
                  <a:pt x="368" y="277"/>
                  <a:pt x="373" y="282"/>
                  <a:pt x="373" y="288"/>
                </a:cubicBezTo>
                <a:cubicBezTo>
                  <a:pt x="373" y="294"/>
                  <a:pt x="368" y="298"/>
                  <a:pt x="362" y="298"/>
                </a:cubicBezTo>
                <a:cubicBezTo>
                  <a:pt x="149" y="298"/>
                  <a:pt x="149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cubicBezTo>
                  <a:pt x="138" y="282"/>
                  <a:pt x="143" y="277"/>
                  <a:pt x="149" y="27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14" name="Group 53"/>
          <p:cNvGrpSpPr>
            <a:grpSpLocks noChangeAspect="1"/>
          </p:cNvGrpSpPr>
          <p:nvPr/>
        </p:nvGrpSpPr>
        <p:grpSpPr bwMode="auto">
          <a:xfrm>
            <a:off x="5909564" y="2920967"/>
            <a:ext cx="367041" cy="368121"/>
            <a:chOff x="5183" y="1046"/>
            <a:chExt cx="340" cy="341"/>
          </a:xfrm>
          <a:solidFill>
            <a:schemeClr val="accent1"/>
          </a:solidFill>
        </p:grpSpPr>
        <p:sp>
          <p:nvSpPr>
            <p:cNvPr id="815" name="Freeform 54"/>
            <p:cNvSpPr>
              <a:spLocks noEditPoints="1"/>
            </p:cNvSpPr>
            <p:nvPr/>
          </p:nvSpPr>
          <p:spPr bwMode="auto">
            <a:xfrm>
              <a:off x="5247" y="1110"/>
              <a:ext cx="212" cy="213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83 w 320"/>
                <a:gd name="T11" fmla="*/ 224 h 320"/>
                <a:gd name="T12" fmla="*/ 218 w 320"/>
                <a:gd name="T13" fmla="*/ 224 h 320"/>
                <a:gd name="T14" fmla="*/ 223 w 320"/>
                <a:gd name="T15" fmla="*/ 170 h 320"/>
                <a:gd name="T16" fmla="*/ 298 w 320"/>
                <a:gd name="T17" fmla="*/ 170 h 320"/>
                <a:gd name="T18" fmla="*/ 283 w 320"/>
                <a:gd name="T19" fmla="*/ 224 h 320"/>
                <a:gd name="T20" fmla="*/ 160 w 320"/>
                <a:gd name="T21" fmla="*/ 298 h 320"/>
                <a:gd name="T22" fmla="*/ 127 w 320"/>
                <a:gd name="T23" fmla="*/ 245 h 320"/>
                <a:gd name="T24" fmla="*/ 192 w 320"/>
                <a:gd name="T25" fmla="*/ 245 h 320"/>
                <a:gd name="T26" fmla="*/ 160 w 320"/>
                <a:gd name="T27" fmla="*/ 298 h 320"/>
                <a:gd name="T28" fmla="*/ 122 w 320"/>
                <a:gd name="T29" fmla="*/ 224 h 320"/>
                <a:gd name="T30" fmla="*/ 117 w 320"/>
                <a:gd name="T31" fmla="*/ 170 h 320"/>
                <a:gd name="T32" fmla="*/ 202 w 320"/>
                <a:gd name="T33" fmla="*/ 170 h 320"/>
                <a:gd name="T34" fmla="*/ 197 w 320"/>
                <a:gd name="T35" fmla="*/ 224 h 320"/>
                <a:gd name="T36" fmla="*/ 122 w 320"/>
                <a:gd name="T37" fmla="*/ 224 h 320"/>
                <a:gd name="T38" fmla="*/ 22 w 320"/>
                <a:gd name="T39" fmla="*/ 170 h 320"/>
                <a:gd name="T40" fmla="*/ 96 w 320"/>
                <a:gd name="T41" fmla="*/ 170 h 320"/>
                <a:gd name="T42" fmla="*/ 101 w 320"/>
                <a:gd name="T43" fmla="*/ 224 h 320"/>
                <a:gd name="T44" fmla="*/ 37 w 320"/>
                <a:gd name="T45" fmla="*/ 224 h 320"/>
                <a:gd name="T46" fmla="*/ 22 w 320"/>
                <a:gd name="T47" fmla="*/ 170 h 320"/>
                <a:gd name="T48" fmla="*/ 37 w 320"/>
                <a:gd name="T49" fmla="*/ 96 h 320"/>
                <a:gd name="T50" fmla="*/ 101 w 320"/>
                <a:gd name="T51" fmla="*/ 96 h 320"/>
                <a:gd name="T52" fmla="*/ 96 w 320"/>
                <a:gd name="T53" fmla="*/ 149 h 320"/>
                <a:gd name="T54" fmla="*/ 22 w 320"/>
                <a:gd name="T55" fmla="*/ 149 h 320"/>
                <a:gd name="T56" fmla="*/ 37 w 320"/>
                <a:gd name="T57" fmla="*/ 96 h 320"/>
                <a:gd name="T58" fmla="*/ 160 w 320"/>
                <a:gd name="T59" fmla="*/ 21 h 320"/>
                <a:gd name="T60" fmla="*/ 192 w 320"/>
                <a:gd name="T61" fmla="*/ 74 h 320"/>
                <a:gd name="T62" fmla="*/ 127 w 320"/>
                <a:gd name="T63" fmla="*/ 74 h 320"/>
                <a:gd name="T64" fmla="*/ 160 w 320"/>
                <a:gd name="T65" fmla="*/ 21 h 320"/>
                <a:gd name="T66" fmla="*/ 197 w 320"/>
                <a:gd name="T67" fmla="*/ 96 h 320"/>
                <a:gd name="T68" fmla="*/ 202 w 320"/>
                <a:gd name="T69" fmla="*/ 149 h 320"/>
                <a:gd name="T70" fmla="*/ 117 w 320"/>
                <a:gd name="T71" fmla="*/ 149 h 320"/>
                <a:gd name="T72" fmla="*/ 122 w 320"/>
                <a:gd name="T73" fmla="*/ 96 h 320"/>
                <a:gd name="T74" fmla="*/ 197 w 320"/>
                <a:gd name="T75" fmla="*/ 96 h 320"/>
                <a:gd name="T76" fmla="*/ 223 w 320"/>
                <a:gd name="T77" fmla="*/ 149 h 320"/>
                <a:gd name="T78" fmla="*/ 218 w 320"/>
                <a:gd name="T79" fmla="*/ 96 h 320"/>
                <a:gd name="T80" fmla="*/ 283 w 320"/>
                <a:gd name="T81" fmla="*/ 96 h 320"/>
                <a:gd name="T82" fmla="*/ 298 w 320"/>
                <a:gd name="T83" fmla="*/ 149 h 320"/>
                <a:gd name="T84" fmla="*/ 223 w 320"/>
                <a:gd name="T85" fmla="*/ 149 h 320"/>
                <a:gd name="T86" fmla="*/ 269 w 320"/>
                <a:gd name="T87" fmla="*/ 74 h 320"/>
                <a:gd name="T88" fmla="*/ 214 w 320"/>
                <a:gd name="T89" fmla="*/ 74 h 320"/>
                <a:gd name="T90" fmla="*/ 196 w 320"/>
                <a:gd name="T91" fmla="*/ 26 h 320"/>
                <a:gd name="T92" fmla="*/ 269 w 320"/>
                <a:gd name="T93" fmla="*/ 74 h 320"/>
                <a:gd name="T94" fmla="*/ 124 w 320"/>
                <a:gd name="T95" fmla="*/ 26 h 320"/>
                <a:gd name="T96" fmla="*/ 105 w 320"/>
                <a:gd name="T97" fmla="*/ 74 h 320"/>
                <a:gd name="T98" fmla="*/ 51 w 320"/>
                <a:gd name="T99" fmla="*/ 74 h 320"/>
                <a:gd name="T100" fmla="*/ 124 w 320"/>
                <a:gd name="T101" fmla="*/ 26 h 320"/>
                <a:gd name="T102" fmla="*/ 51 w 320"/>
                <a:gd name="T103" fmla="*/ 245 h 320"/>
                <a:gd name="T104" fmla="*/ 105 w 320"/>
                <a:gd name="T105" fmla="*/ 245 h 320"/>
                <a:gd name="T106" fmla="*/ 124 w 320"/>
                <a:gd name="T107" fmla="*/ 293 h 320"/>
                <a:gd name="T108" fmla="*/ 51 w 320"/>
                <a:gd name="T109" fmla="*/ 245 h 320"/>
                <a:gd name="T110" fmla="*/ 196 w 320"/>
                <a:gd name="T111" fmla="*/ 293 h 320"/>
                <a:gd name="T112" fmla="*/ 214 w 320"/>
                <a:gd name="T113" fmla="*/ 245 h 320"/>
                <a:gd name="T114" fmla="*/ 269 w 320"/>
                <a:gd name="T115" fmla="*/ 245 h 320"/>
                <a:gd name="T116" fmla="*/ 196 w 320"/>
                <a:gd name="T117" fmla="*/ 29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283" y="224"/>
                  </a:moveTo>
                  <a:cubicBezTo>
                    <a:pt x="218" y="224"/>
                    <a:pt x="218" y="224"/>
                    <a:pt x="218" y="224"/>
                  </a:cubicBezTo>
                  <a:cubicBezTo>
                    <a:pt x="221" y="207"/>
                    <a:pt x="223" y="188"/>
                    <a:pt x="223" y="170"/>
                  </a:cubicBezTo>
                  <a:cubicBezTo>
                    <a:pt x="298" y="170"/>
                    <a:pt x="298" y="170"/>
                    <a:pt x="298" y="170"/>
                  </a:cubicBezTo>
                  <a:cubicBezTo>
                    <a:pt x="296" y="189"/>
                    <a:pt x="291" y="207"/>
                    <a:pt x="283" y="224"/>
                  </a:cubicBezTo>
                  <a:close/>
                  <a:moveTo>
                    <a:pt x="160" y="298"/>
                  </a:moveTo>
                  <a:cubicBezTo>
                    <a:pt x="149" y="298"/>
                    <a:pt x="136" y="279"/>
                    <a:pt x="127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83" y="279"/>
                    <a:pt x="170" y="298"/>
                    <a:pt x="160" y="298"/>
                  </a:cubicBezTo>
                  <a:close/>
                  <a:moveTo>
                    <a:pt x="122" y="224"/>
                  </a:moveTo>
                  <a:cubicBezTo>
                    <a:pt x="120" y="208"/>
                    <a:pt x="118" y="190"/>
                    <a:pt x="117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90"/>
                    <a:pt x="200" y="208"/>
                    <a:pt x="197" y="224"/>
                  </a:cubicBezTo>
                  <a:lnTo>
                    <a:pt x="122" y="224"/>
                  </a:lnTo>
                  <a:close/>
                  <a:moveTo>
                    <a:pt x="22" y="170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96" y="188"/>
                    <a:pt x="98" y="207"/>
                    <a:pt x="101" y="22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28" y="207"/>
                    <a:pt x="23" y="189"/>
                    <a:pt x="22" y="170"/>
                  </a:cubicBezTo>
                  <a:close/>
                  <a:moveTo>
                    <a:pt x="37" y="96"/>
                  </a:moveTo>
                  <a:cubicBezTo>
                    <a:pt x="101" y="96"/>
                    <a:pt x="101" y="96"/>
                    <a:pt x="101" y="96"/>
                  </a:cubicBezTo>
                  <a:cubicBezTo>
                    <a:pt x="98" y="113"/>
                    <a:pt x="96" y="131"/>
                    <a:pt x="96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30"/>
                    <a:pt x="28" y="112"/>
                    <a:pt x="37" y="96"/>
                  </a:cubicBezTo>
                  <a:close/>
                  <a:moveTo>
                    <a:pt x="160" y="21"/>
                  </a:moveTo>
                  <a:cubicBezTo>
                    <a:pt x="170" y="21"/>
                    <a:pt x="183" y="41"/>
                    <a:pt x="192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36" y="41"/>
                    <a:pt x="149" y="21"/>
                    <a:pt x="160" y="21"/>
                  </a:cubicBezTo>
                  <a:close/>
                  <a:moveTo>
                    <a:pt x="197" y="96"/>
                  </a:moveTo>
                  <a:cubicBezTo>
                    <a:pt x="200" y="111"/>
                    <a:pt x="202" y="129"/>
                    <a:pt x="202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8" y="129"/>
                    <a:pt x="120" y="111"/>
                    <a:pt x="122" y="96"/>
                  </a:cubicBezTo>
                  <a:lnTo>
                    <a:pt x="197" y="96"/>
                  </a:lnTo>
                  <a:close/>
                  <a:moveTo>
                    <a:pt x="223" y="149"/>
                  </a:moveTo>
                  <a:cubicBezTo>
                    <a:pt x="223" y="131"/>
                    <a:pt x="221" y="113"/>
                    <a:pt x="218" y="96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91" y="112"/>
                    <a:pt x="296" y="130"/>
                    <a:pt x="298" y="149"/>
                  </a:cubicBezTo>
                  <a:lnTo>
                    <a:pt x="223" y="149"/>
                  </a:lnTo>
                  <a:close/>
                  <a:moveTo>
                    <a:pt x="269" y="74"/>
                  </a:moveTo>
                  <a:cubicBezTo>
                    <a:pt x="214" y="74"/>
                    <a:pt x="214" y="74"/>
                    <a:pt x="214" y="74"/>
                  </a:cubicBezTo>
                  <a:cubicBezTo>
                    <a:pt x="210" y="55"/>
                    <a:pt x="203" y="39"/>
                    <a:pt x="196" y="26"/>
                  </a:cubicBezTo>
                  <a:cubicBezTo>
                    <a:pt x="225" y="34"/>
                    <a:pt x="251" y="51"/>
                    <a:pt x="269" y="74"/>
                  </a:cubicBezTo>
                  <a:close/>
                  <a:moveTo>
                    <a:pt x="124" y="26"/>
                  </a:moveTo>
                  <a:cubicBezTo>
                    <a:pt x="116" y="39"/>
                    <a:pt x="110" y="55"/>
                    <a:pt x="105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9" y="51"/>
                    <a:pt x="94" y="34"/>
                    <a:pt x="124" y="26"/>
                  </a:cubicBezTo>
                  <a:close/>
                  <a:moveTo>
                    <a:pt x="51" y="245"/>
                  </a:moveTo>
                  <a:cubicBezTo>
                    <a:pt x="105" y="245"/>
                    <a:pt x="105" y="245"/>
                    <a:pt x="105" y="245"/>
                  </a:cubicBezTo>
                  <a:cubicBezTo>
                    <a:pt x="110" y="264"/>
                    <a:pt x="116" y="281"/>
                    <a:pt x="124" y="293"/>
                  </a:cubicBezTo>
                  <a:cubicBezTo>
                    <a:pt x="94" y="285"/>
                    <a:pt x="69" y="268"/>
                    <a:pt x="51" y="245"/>
                  </a:cubicBezTo>
                  <a:close/>
                  <a:moveTo>
                    <a:pt x="196" y="293"/>
                  </a:moveTo>
                  <a:cubicBezTo>
                    <a:pt x="203" y="281"/>
                    <a:pt x="210" y="264"/>
                    <a:pt x="214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51" y="268"/>
                    <a:pt x="225" y="285"/>
                    <a:pt x="196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6" name="Freeform 55"/>
            <p:cNvSpPr>
              <a:spLocks noEditPoints="1"/>
            </p:cNvSpPr>
            <p:nvPr/>
          </p:nvSpPr>
          <p:spPr bwMode="auto">
            <a:xfrm>
              <a:off x="5183" y="10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17" name="Freeform 59"/>
          <p:cNvSpPr>
            <a:spLocks noChangeAspect="1" noEditPoints="1"/>
          </p:cNvSpPr>
          <p:nvPr/>
        </p:nvSpPr>
        <p:spPr bwMode="auto">
          <a:xfrm>
            <a:off x="5413627" y="2920964"/>
            <a:ext cx="367041" cy="368120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18" name="Group 325"/>
          <p:cNvGrpSpPr>
            <a:grpSpLocks noChangeAspect="1"/>
          </p:cNvGrpSpPr>
          <p:nvPr/>
        </p:nvGrpSpPr>
        <p:grpSpPr bwMode="auto">
          <a:xfrm>
            <a:off x="6904073" y="2918325"/>
            <a:ext cx="369676" cy="370763"/>
            <a:chOff x="5044" y="1157"/>
            <a:chExt cx="340" cy="341"/>
          </a:xfrm>
          <a:solidFill>
            <a:schemeClr val="accent4"/>
          </a:solidFill>
        </p:grpSpPr>
        <p:sp>
          <p:nvSpPr>
            <p:cNvPr id="819" name="Freeform 326"/>
            <p:cNvSpPr>
              <a:spLocks noEditPoints="1"/>
            </p:cNvSpPr>
            <p:nvPr/>
          </p:nvSpPr>
          <p:spPr bwMode="auto">
            <a:xfrm>
              <a:off x="5044" y="1157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0" name="Freeform 327"/>
            <p:cNvSpPr>
              <a:spLocks noEditPoints="1"/>
            </p:cNvSpPr>
            <p:nvPr/>
          </p:nvSpPr>
          <p:spPr bwMode="auto">
            <a:xfrm>
              <a:off x="5122" y="1221"/>
              <a:ext cx="188" cy="213"/>
            </a:xfrm>
            <a:custGeom>
              <a:avLst/>
              <a:gdLst>
                <a:gd name="T0" fmla="*/ 149 w 284"/>
                <a:gd name="T1" fmla="*/ 106 h 320"/>
                <a:gd name="T2" fmla="*/ 149 w 284"/>
                <a:gd name="T3" fmla="*/ 181 h 320"/>
                <a:gd name="T4" fmla="*/ 139 w 284"/>
                <a:gd name="T5" fmla="*/ 192 h 320"/>
                <a:gd name="T6" fmla="*/ 128 w 284"/>
                <a:gd name="T7" fmla="*/ 181 h 320"/>
                <a:gd name="T8" fmla="*/ 128 w 284"/>
                <a:gd name="T9" fmla="*/ 106 h 320"/>
                <a:gd name="T10" fmla="*/ 139 w 284"/>
                <a:gd name="T11" fmla="*/ 96 h 320"/>
                <a:gd name="T12" fmla="*/ 149 w 284"/>
                <a:gd name="T13" fmla="*/ 106 h 320"/>
                <a:gd name="T14" fmla="*/ 280 w 284"/>
                <a:gd name="T15" fmla="*/ 64 h 320"/>
                <a:gd name="T16" fmla="*/ 280 w 284"/>
                <a:gd name="T17" fmla="*/ 79 h 320"/>
                <a:gd name="T18" fmla="*/ 272 w 284"/>
                <a:gd name="T19" fmla="*/ 82 h 320"/>
                <a:gd name="T20" fmla="*/ 265 w 284"/>
                <a:gd name="T21" fmla="*/ 79 h 320"/>
                <a:gd name="T22" fmla="*/ 250 w 284"/>
                <a:gd name="T23" fmla="*/ 64 h 320"/>
                <a:gd name="T24" fmla="*/ 233 w 284"/>
                <a:gd name="T25" fmla="*/ 80 h 320"/>
                <a:gd name="T26" fmla="*/ 277 w 284"/>
                <a:gd name="T27" fmla="*/ 181 h 320"/>
                <a:gd name="T28" fmla="*/ 139 w 284"/>
                <a:gd name="T29" fmla="*/ 320 h 320"/>
                <a:gd name="T30" fmla="*/ 0 w 284"/>
                <a:gd name="T31" fmla="*/ 181 h 320"/>
                <a:gd name="T32" fmla="*/ 128 w 284"/>
                <a:gd name="T33" fmla="*/ 43 h 320"/>
                <a:gd name="T34" fmla="*/ 128 w 284"/>
                <a:gd name="T35" fmla="*/ 21 h 320"/>
                <a:gd name="T36" fmla="*/ 107 w 284"/>
                <a:gd name="T37" fmla="*/ 21 h 320"/>
                <a:gd name="T38" fmla="*/ 96 w 284"/>
                <a:gd name="T39" fmla="*/ 10 h 320"/>
                <a:gd name="T40" fmla="*/ 107 w 284"/>
                <a:gd name="T41" fmla="*/ 0 h 320"/>
                <a:gd name="T42" fmla="*/ 171 w 284"/>
                <a:gd name="T43" fmla="*/ 0 h 320"/>
                <a:gd name="T44" fmla="*/ 181 w 284"/>
                <a:gd name="T45" fmla="*/ 10 h 320"/>
                <a:gd name="T46" fmla="*/ 171 w 284"/>
                <a:gd name="T47" fmla="*/ 21 h 320"/>
                <a:gd name="T48" fmla="*/ 149 w 284"/>
                <a:gd name="T49" fmla="*/ 21 h 320"/>
                <a:gd name="T50" fmla="*/ 149 w 284"/>
                <a:gd name="T51" fmla="*/ 43 h 320"/>
                <a:gd name="T52" fmla="*/ 217 w 284"/>
                <a:gd name="T53" fmla="*/ 67 h 320"/>
                <a:gd name="T54" fmla="*/ 235 w 284"/>
                <a:gd name="T55" fmla="*/ 49 h 320"/>
                <a:gd name="T56" fmla="*/ 220 w 284"/>
                <a:gd name="T57" fmla="*/ 33 h 320"/>
                <a:gd name="T58" fmla="*/ 220 w 284"/>
                <a:gd name="T59" fmla="*/ 18 h 320"/>
                <a:gd name="T60" fmla="*/ 235 w 284"/>
                <a:gd name="T61" fmla="*/ 18 h 320"/>
                <a:gd name="T62" fmla="*/ 280 w 284"/>
                <a:gd name="T63" fmla="*/ 64 h 320"/>
                <a:gd name="T64" fmla="*/ 139 w 284"/>
                <a:gd name="T65" fmla="*/ 64 h 320"/>
                <a:gd name="T66" fmla="*/ 21 w 284"/>
                <a:gd name="T67" fmla="*/ 181 h 320"/>
                <a:gd name="T68" fmla="*/ 139 w 284"/>
                <a:gd name="T69" fmla="*/ 298 h 320"/>
                <a:gd name="T70" fmla="*/ 256 w 284"/>
                <a:gd name="T71" fmla="*/ 181 h 320"/>
                <a:gd name="T72" fmla="*/ 139 w 284"/>
                <a:gd name="T73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320">
                  <a:moveTo>
                    <a:pt x="149" y="106"/>
                  </a:moveTo>
                  <a:cubicBezTo>
                    <a:pt x="149" y="181"/>
                    <a:pt x="149" y="181"/>
                    <a:pt x="149" y="181"/>
                  </a:cubicBezTo>
                  <a:cubicBezTo>
                    <a:pt x="149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lose/>
                  <a:moveTo>
                    <a:pt x="280" y="64"/>
                  </a:moveTo>
                  <a:cubicBezTo>
                    <a:pt x="284" y="68"/>
                    <a:pt x="284" y="75"/>
                    <a:pt x="280" y="79"/>
                  </a:cubicBezTo>
                  <a:cubicBezTo>
                    <a:pt x="278" y="81"/>
                    <a:pt x="275" y="82"/>
                    <a:pt x="272" y="82"/>
                  </a:cubicBezTo>
                  <a:cubicBezTo>
                    <a:pt x="270" y="82"/>
                    <a:pt x="267" y="81"/>
                    <a:pt x="265" y="79"/>
                  </a:cubicBezTo>
                  <a:cubicBezTo>
                    <a:pt x="250" y="64"/>
                    <a:pt x="250" y="64"/>
                    <a:pt x="250" y="64"/>
                  </a:cubicBezTo>
                  <a:cubicBezTo>
                    <a:pt x="233" y="80"/>
                    <a:pt x="233" y="80"/>
                    <a:pt x="233" y="80"/>
                  </a:cubicBezTo>
                  <a:cubicBezTo>
                    <a:pt x="260" y="105"/>
                    <a:pt x="277" y="141"/>
                    <a:pt x="277" y="181"/>
                  </a:cubicBezTo>
                  <a:cubicBezTo>
                    <a:pt x="277" y="257"/>
                    <a:pt x="215" y="320"/>
                    <a:pt x="139" y="320"/>
                  </a:cubicBezTo>
                  <a:cubicBezTo>
                    <a:pt x="62" y="320"/>
                    <a:pt x="0" y="257"/>
                    <a:pt x="0" y="181"/>
                  </a:cubicBezTo>
                  <a:cubicBezTo>
                    <a:pt x="0" y="108"/>
                    <a:pt x="57" y="48"/>
                    <a:pt x="128" y="43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1" y="21"/>
                    <a:pt x="96" y="16"/>
                    <a:pt x="96" y="10"/>
                  </a:cubicBezTo>
                  <a:cubicBezTo>
                    <a:pt x="96" y="4"/>
                    <a:pt x="101" y="0"/>
                    <a:pt x="107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7" y="0"/>
                    <a:pt x="181" y="4"/>
                    <a:pt x="181" y="10"/>
                  </a:cubicBezTo>
                  <a:cubicBezTo>
                    <a:pt x="181" y="16"/>
                    <a:pt x="177" y="21"/>
                    <a:pt x="171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49" y="43"/>
                    <a:pt x="149" y="43"/>
                    <a:pt x="149" y="43"/>
                  </a:cubicBezTo>
                  <a:cubicBezTo>
                    <a:pt x="174" y="45"/>
                    <a:pt x="197" y="53"/>
                    <a:pt x="217" y="67"/>
                  </a:cubicBezTo>
                  <a:cubicBezTo>
                    <a:pt x="235" y="49"/>
                    <a:pt x="235" y="49"/>
                    <a:pt x="235" y="49"/>
                  </a:cubicBezTo>
                  <a:cubicBezTo>
                    <a:pt x="220" y="33"/>
                    <a:pt x="220" y="33"/>
                    <a:pt x="220" y="33"/>
                  </a:cubicBezTo>
                  <a:cubicBezTo>
                    <a:pt x="215" y="29"/>
                    <a:pt x="215" y="23"/>
                    <a:pt x="220" y="18"/>
                  </a:cubicBezTo>
                  <a:cubicBezTo>
                    <a:pt x="224" y="14"/>
                    <a:pt x="231" y="14"/>
                    <a:pt x="235" y="18"/>
                  </a:cubicBezTo>
                  <a:lnTo>
                    <a:pt x="280" y="64"/>
                  </a:lnTo>
                  <a:close/>
                  <a:moveTo>
                    <a:pt x="139" y="64"/>
                  </a:moveTo>
                  <a:cubicBezTo>
                    <a:pt x="74" y="64"/>
                    <a:pt x="21" y="116"/>
                    <a:pt x="21" y="181"/>
                  </a:cubicBezTo>
                  <a:cubicBezTo>
                    <a:pt x="21" y="246"/>
                    <a:pt x="74" y="298"/>
                    <a:pt x="139" y="298"/>
                  </a:cubicBezTo>
                  <a:cubicBezTo>
                    <a:pt x="203" y="298"/>
                    <a:pt x="256" y="246"/>
                    <a:pt x="256" y="181"/>
                  </a:cubicBezTo>
                  <a:cubicBezTo>
                    <a:pt x="256" y="116"/>
                    <a:pt x="203" y="64"/>
                    <a:pt x="13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21" name="Freeform 331"/>
          <p:cNvSpPr>
            <a:spLocks noChangeAspect="1" noEditPoints="1"/>
          </p:cNvSpPr>
          <p:nvPr/>
        </p:nvSpPr>
        <p:spPr bwMode="auto">
          <a:xfrm>
            <a:off x="6405501" y="2918325"/>
            <a:ext cx="369676" cy="370763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7 w 512"/>
              <a:gd name="T11" fmla="*/ 175 h 512"/>
              <a:gd name="T12" fmla="*/ 389 w 512"/>
              <a:gd name="T13" fmla="*/ 178 h 512"/>
              <a:gd name="T14" fmla="*/ 382 w 512"/>
              <a:gd name="T15" fmla="*/ 175 h 512"/>
              <a:gd name="T16" fmla="*/ 367 w 512"/>
              <a:gd name="T17" fmla="*/ 160 h 512"/>
              <a:gd name="T18" fmla="*/ 350 w 512"/>
              <a:gd name="T19" fmla="*/ 176 h 512"/>
              <a:gd name="T20" fmla="*/ 394 w 512"/>
              <a:gd name="T21" fmla="*/ 277 h 512"/>
              <a:gd name="T22" fmla="*/ 256 w 512"/>
              <a:gd name="T23" fmla="*/ 416 h 512"/>
              <a:gd name="T24" fmla="*/ 117 w 512"/>
              <a:gd name="T25" fmla="*/ 277 h 512"/>
              <a:gd name="T26" fmla="*/ 245 w 512"/>
              <a:gd name="T27" fmla="*/ 139 h 512"/>
              <a:gd name="T28" fmla="*/ 245 w 512"/>
              <a:gd name="T29" fmla="*/ 117 h 512"/>
              <a:gd name="T30" fmla="*/ 224 w 512"/>
              <a:gd name="T31" fmla="*/ 117 h 512"/>
              <a:gd name="T32" fmla="*/ 213 w 512"/>
              <a:gd name="T33" fmla="*/ 106 h 512"/>
              <a:gd name="T34" fmla="*/ 224 w 512"/>
              <a:gd name="T35" fmla="*/ 96 h 512"/>
              <a:gd name="T36" fmla="*/ 288 w 512"/>
              <a:gd name="T37" fmla="*/ 96 h 512"/>
              <a:gd name="T38" fmla="*/ 298 w 512"/>
              <a:gd name="T39" fmla="*/ 106 h 512"/>
              <a:gd name="T40" fmla="*/ 288 w 512"/>
              <a:gd name="T41" fmla="*/ 117 h 512"/>
              <a:gd name="T42" fmla="*/ 266 w 512"/>
              <a:gd name="T43" fmla="*/ 117 h 512"/>
              <a:gd name="T44" fmla="*/ 266 w 512"/>
              <a:gd name="T45" fmla="*/ 139 h 512"/>
              <a:gd name="T46" fmla="*/ 334 w 512"/>
              <a:gd name="T47" fmla="*/ 163 h 512"/>
              <a:gd name="T48" fmla="*/ 352 w 512"/>
              <a:gd name="T49" fmla="*/ 145 h 512"/>
              <a:gd name="T50" fmla="*/ 337 w 512"/>
              <a:gd name="T51" fmla="*/ 129 h 512"/>
              <a:gd name="T52" fmla="*/ 337 w 512"/>
              <a:gd name="T53" fmla="*/ 114 h 512"/>
              <a:gd name="T54" fmla="*/ 352 w 512"/>
              <a:gd name="T55" fmla="*/ 114 h 512"/>
              <a:gd name="T56" fmla="*/ 397 w 512"/>
              <a:gd name="T57" fmla="*/ 160 h 512"/>
              <a:gd name="T58" fmla="*/ 397 w 512"/>
              <a:gd name="T59" fmla="*/ 175 h 512"/>
              <a:gd name="T60" fmla="*/ 256 w 512"/>
              <a:gd name="T61" fmla="*/ 160 h 512"/>
              <a:gd name="T62" fmla="*/ 138 w 512"/>
              <a:gd name="T63" fmla="*/ 277 h 512"/>
              <a:gd name="T64" fmla="*/ 256 w 512"/>
              <a:gd name="T65" fmla="*/ 394 h 512"/>
              <a:gd name="T66" fmla="*/ 373 w 512"/>
              <a:gd name="T67" fmla="*/ 277 h 512"/>
              <a:gd name="T68" fmla="*/ 256 w 512"/>
              <a:gd name="T69" fmla="*/ 160 h 512"/>
              <a:gd name="T70" fmla="*/ 266 w 512"/>
              <a:gd name="T71" fmla="*/ 277 h 512"/>
              <a:gd name="T72" fmla="*/ 256 w 512"/>
              <a:gd name="T73" fmla="*/ 288 h 512"/>
              <a:gd name="T74" fmla="*/ 245 w 512"/>
              <a:gd name="T75" fmla="*/ 277 h 512"/>
              <a:gd name="T76" fmla="*/ 245 w 512"/>
              <a:gd name="T77" fmla="*/ 202 h 512"/>
              <a:gd name="T78" fmla="*/ 256 w 512"/>
              <a:gd name="T79" fmla="*/ 192 h 512"/>
              <a:gd name="T80" fmla="*/ 266 w 512"/>
              <a:gd name="T81" fmla="*/ 202 h 512"/>
              <a:gd name="T82" fmla="*/ 266 w 512"/>
              <a:gd name="T8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7" y="175"/>
                </a:moveTo>
                <a:cubicBezTo>
                  <a:pt x="395" y="177"/>
                  <a:pt x="392" y="178"/>
                  <a:pt x="389" y="178"/>
                </a:cubicBezTo>
                <a:cubicBezTo>
                  <a:pt x="387" y="178"/>
                  <a:pt x="384" y="177"/>
                  <a:pt x="382" y="175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50" y="176"/>
                  <a:pt x="350" y="176"/>
                  <a:pt x="350" y="176"/>
                </a:cubicBezTo>
                <a:cubicBezTo>
                  <a:pt x="377" y="201"/>
                  <a:pt x="394" y="237"/>
                  <a:pt x="394" y="277"/>
                </a:cubicBezTo>
                <a:cubicBezTo>
                  <a:pt x="394" y="353"/>
                  <a:pt x="332" y="416"/>
                  <a:pt x="256" y="416"/>
                </a:cubicBezTo>
                <a:cubicBezTo>
                  <a:pt x="179" y="416"/>
                  <a:pt x="117" y="353"/>
                  <a:pt x="117" y="277"/>
                </a:cubicBezTo>
                <a:cubicBezTo>
                  <a:pt x="117" y="204"/>
                  <a:pt x="174" y="144"/>
                  <a:pt x="245" y="139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94" y="96"/>
                  <a:pt x="298" y="100"/>
                  <a:pt x="298" y="106"/>
                </a:cubicBezTo>
                <a:cubicBezTo>
                  <a:pt x="298" y="112"/>
                  <a:pt x="294" y="117"/>
                  <a:pt x="288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39"/>
                  <a:pt x="266" y="139"/>
                  <a:pt x="266" y="139"/>
                </a:cubicBezTo>
                <a:cubicBezTo>
                  <a:pt x="291" y="141"/>
                  <a:pt x="314" y="149"/>
                  <a:pt x="334" y="163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37" y="129"/>
                  <a:pt x="337" y="129"/>
                  <a:pt x="337" y="129"/>
                </a:cubicBezTo>
                <a:cubicBezTo>
                  <a:pt x="332" y="125"/>
                  <a:pt x="332" y="119"/>
                  <a:pt x="337" y="114"/>
                </a:cubicBezTo>
                <a:cubicBezTo>
                  <a:pt x="341" y="110"/>
                  <a:pt x="348" y="110"/>
                  <a:pt x="352" y="114"/>
                </a:cubicBezTo>
                <a:cubicBezTo>
                  <a:pt x="397" y="160"/>
                  <a:pt x="397" y="160"/>
                  <a:pt x="397" y="160"/>
                </a:cubicBezTo>
                <a:cubicBezTo>
                  <a:pt x="401" y="164"/>
                  <a:pt x="401" y="171"/>
                  <a:pt x="397" y="175"/>
                </a:cubicBezTo>
                <a:close/>
                <a:moveTo>
                  <a:pt x="256" y="160"/>
                </a:moveTo>
                <a:cubicBezTo>
                  <a:pt x="191" y="160"/>
                  <a:pt x="138" y="212"/>
                  <a:pt x="138" y="277"/>
                </a:cubicBezTo>
                <a:cubicBezTo>
                  <a:pt x="138" y="342"/>
                  <a:pt x="191" y="394"/>
                  <a:pt x="256" y="394"/>
                </a:cubicBezTo>
                <a:cubicBezTo>
                  <a:pt x="320" y="394"/>
                  <a:pt x="373" y="342"/>
                  <a:pt x="373" y="277"/>
                </a:cubicBezTo>
                <a:cubicBezTo>
                  <a:pt x="373" y="212"/>
                  <a:pt x="320" y="160"/>
                  <a:pt x="256" y="160"/>
                </a:cubicBezTo>
                <a:close/>
                <a:moveTo>
                  <a:pt x="266" y="277"/>
                </a:moveTo>
                <a:cubicBezTo>
                  <a:pt x="266" y="283"/>
                  <a:pt x="262" y="288"/>
                  <a:pt x="256" y="288"/>
                </a:cubicBezTo>
                <a:cubicBezTo>
                  <a:pt x="250" y="288"/>
                  <a:pt x="245" y="283"/>
                  <a:pt x="245" y="277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196"/>
                  <a:pt x="250" y="192"/>
                  <a:pt x="256" y="192"/>
                </a:cubicBezTo>
                <a:cubicBezTo>
                  <a:pt x="262" y="192"/>
                  <a:pt x="266" y="196"/>
                  <a:pt x="266" y="202"/>
                </a:cubicBezTo>
                <a:lnTo>
                  <a:pt x="266" y="27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73" name="Group 238"/>
          <p:cNvGrpSpPr>
            <a:grpSpLocks noChangeAspect="1"/>
          </p:cNvGrpSpPr>
          <p:nvPr/>
        </p:nvGrpSpPr>
        <p:grpSpPr bwMode="auto">
          <a:xfrm>
            <a:off x="4417032" y="3738096"/>
            <a:ext cx="368120" cy="367041"/>
            <a:chOff x="3875" y="720"/>
            <a:chExt cx="341" cy="340"/>
          </a:xfrm>
          <a:solidFill>
            <a:schemeClr val="accent3"/>
          </a:solidFill>
        </p:grpSpPr>
        <p:sp>
          <p:nvSpPr>
            <p:cNvPr id="874" name="Freeform 239"/>
            <p:cNvSpPr>
              <a:spLocks noEditPoints="1"/>
            </p:cNvSpPr>
            <p:nvPr/>
          </p:nvSpPr>
          <p:spPr bwMode="auto">
            <a:xfrm>
              <a:off x="3875" y="720"/>
              <a:ext cx="341" cy="340"/>
            </a:xfrm>
            <a:custGeom>
              <a:avLst/>
              <a:gdLst>
                <a:gd name="T0" fmla="*/ 377 w 512"/>
                <a:gd name="T1" fmla="*/ 173 h 512"/>
                <a:gd name="T2" fmla="*/ 377 w 512"/>
                <a:gd name="T3" fmla="*/ 263 h 512"/>
                <a:gd name="T4" fmla="*/ 255 w 512"/>
                <a:gd name="T5" fmla="*/ 391 h 512"/>
                <a:gd name="T6" fmla="*/ 163 w 512"/>
                <a:gd name="T7" fmla="*/ 293 h 512"/>
                <a:gd name="T8" fmla="*/ 134 w 512"/>
                <a:gd name="T9" fmla="*/ 263 h 512"/>
                <a:gd name="T10" fmla="*/ 134 w 512"/>
                <a:gd name="T11" fmla="*/ 173 h 512"/>
                <a:gd name="T12" fmla="*/ 176 w 512"/>
                <a:gd name="T13" fmla="*/ 154 h 512"/>
                <a:gd name="T14" fmla="*/ 219 w 512"/>
                <a:gd name="T15" fmla="*/ 173 h 512"/>
                <a:gd name="T16" fmla="*/ 248 w 512"/>
                <a:gd name="T17" fmla="*/ 203 h 512"/>
                <a:gd name="T18" fmla="*/ 248 w 512"/>
                <a:gd name="T19" fmla="*/ 203 h 512"/>
                <a:gd name="T20" fmla="*/ 248 w 512"/>
                <a:gd name="T21" fmla="*/ 203 h 512"/>
                <a:gd name="T22" fmla="*/ 249 w 512"/>
                <a:gd name="T23" fmla="*/ 204 h 512"/>
                <a:gd name="T24" fmla="*/ 251 w 512"/>
                <a:gd name="T25" fmla="*/ 205 h 512"/>
                <a:gd name="T26" fmla="*/ 253 w 512"/>
                <a:gd name="T27" fmla="*/ 206 h 512"/>
                <a:gd name="T28" fmla="*/ 255 w 512"/>
                <a:gd name="T29" fmla="*/ 206 h 512"/>
                <a:gd name="T30" fmla="*/ 257 w 512"/>
                <a:gd name="T31" fmla="*/ 206 h 512"/>
                <a:gd name="T32" fmla="*/ 259 w 512"/>
                <a:gd name="T33" fmla="*/ 205 h 512"/>
                <a:gd name="T34" fmla="*/ 261 w 512"/>
                <a:gd name="T35" fmla="*/ 204 h 512"/>
                <a:gd name="T36" fmla="*/ 263 w 512"/>
                <a:gd name="T37" fmla="*/ 203 h 512"/>
                <a:gd name="T38" fmla="*/ 263 w 512"/>
                <a:gd name="T39" fmla="*/ 203 h 512"/>
                <a:gd name="T40" fmla="*/ 263 w 512"/>
                <a:gd name="T41" fmla="*/ 203 h 512"/>
                <a:gd name="T42" fmla="*/ 292 w 512"/>
                <a:gd name="T43" fmla="*/ 173 h 512"/>
                <a:gd name="T44" fmla="*/ 334 w 512"/>
                <a:gd name="T45" fmla="*/ 154 h 512"/>
                <a:gd name="T46" fmla="*/ 377 w 512"/>
                <a:gd name="T47" fmla="*/ 173 h 512"/>
                <a:gd name="T48" fmla="*/ 512 w 512"/>
                <a:gd name="T49" fmla="*/ 256 h 512"/>
                <a:gd name="T50" fmla="*/ 256 w 512"/>
                <a:gd name="T51" fmla="*/ 512 h 512"/>
                <a:gd name="T52" fmla="*/ 0 w 512"/>
                <a:gd name="T53" fmla="*/ 256 h 512"/>
                <a:gd name="T54" fmla="*/ 256 w 512"/>
                <a:gd name="T55" fmla="*/ 0 h 512"/>
                <a:gd name="T56" fmla="*/ 512 w 512"/>
                <a:gd name="T57" fmla="*/ 256 h 512"/>
                <a:gd name="T58" fmla="*/ 392 w 512"/>
                <a:gd name="T59" fmla="*/ 158 h 512"/>
                <a:gd name="T60" fmla="*/ 334 w 512"/>
                <a:gd name="T61" fmla="*/ 133 h 512"/>
                <a:gd name="T62" fmla="*/ 276 w 512"/>
                <a:gd name="T63" fmla="*/ 158 h 512"/>
                <a:gd name="T64" fmla="*/ 255 w 512"/>
                <a:gd name="T65" fmla="*/ 180 h 512"/>
                <a:gd name="T66" fmla="*/ 234 w 512"/>
                <a:gd name="T67" fmla="*/ 158 h 512"/>
                <a:gd name="T68" fmla="*/ 176 w 512"/>
                <a:gd name="T69" fmla="*/ 133 h 512"/>
                <a:gd name="T70" fmla="*/ 118 w 512"/>
                <a:gd name="T71" fmla="*/ 158 h 512"/>
                <a:gd name="T72" fmla="*/ 118 w 512"/>
                <a:gd name="T73" fmla="*/ 277 h 512"/>
                <a:gd name="T74" fmla="*/ 247 w 512"/>
                <a:gd name="T75" fmla="*/ 413 h 512"/>
                <a:gd name="T76" fmla="*/ 254 w 512"/>
                <a:gd name="T77" fmla="*/ 416 h 512"/>
                <a:gd name="T78" fmla="*/ 255 w 512"/>
                <a:gd name="T79" fmla="*/ 416 h 512"/>
                <a:gd name="T80" fmla="*/ 256 w 512"/>
                <a:gd name="T81" fmla="*/ 416 h 512"/>
                <a:gd name="T82" fmla="*/ 264 w 512"/>
                <a:gd name="T83" fmla="*/ 413 h 512"/>
                <a:gd name="T84" fmla="*/ 363 w 512"/>
                <a:gd name="T85" fmla="*/ 308 h 512"/>
                <a:gd name="T86" fmla="*/ 392 w 512"/>
                <a:gd name="T87" fmla="*/ 277 h 512"/>
                <a:gd name="T88" fmla="*/ 392 w 512"/>
                <a:gd name="T89" fmla="*/ 15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377" y="173"/>
                  </a:moveTo>
                  <a:cubicBezTo>
                    <a:pt x="401" y="197"/>
                    <a:pt x="401" y="238"/>
                    <a:pt x="377" y="263"/>
                  </a:cubicBezTo>
                  <a:cubicBezTo>
                    <a:pt x="255" y="391"/>
                    <a:pt x="255" y="391"/>
                    <a:pt x="255" y="391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34" y="263"/>
                    <a:pt x="134" y="263"/>
                    <a:pt x="134" y="263"/>
                  </a:cubicBezTo>
                  <a:cubicBezTo>
                    <a:pt x="110" y="238"/>
                    <a:pt x="110" y="197"/>
                    <a:pt x="134" y="173"/>
                  </a:cubicBezTo>
                  <a:cubicBezTo>
                    <a:pt x="145" y="161"/>
                    <a:pt x="160" y="154"/>
                    <a:pt x="176" y="154"/>
                  </a:cubicBezTo>
                  <a:cubicBezTo>
                    <a:pt x="192" y="154"/>
                    <a:pt x="207" y="161"/>
                    <a:pt x="219" y="17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4"/>
                    <a:pt x="249" y="204"/>
                    <a:pt x="249" y="204"/>
                  </a:cubicBezTo>
                  <a:cubicBezTo>
                    <a:pt x="250" y="205"/>
                    <a:pt x="251" y="205"/>
                    <a:pt x="251" y="205"/>
                  </a:cubicBezTo>
                  <a:cubicBezTo>
                    <a:pt x="252" y="206"/>
                    <a:pt x="252" y="206"/>
                    <a:pt x="253" y="206"/>
                  </a:cubicBezTo>
                  <a:cubicBezTo>
                    <a:pt x="254" y="206"/>
                    <a:pt x="255" y="206"/>
                    <a:pt x="255" y="206"/>
                  </a:cubicBezTo>
                  <a:cubicBezTo>
                    <a:pt x="256" y="206"/>
                    <a:pt x="256" y="206"/>
                    <a:pt x="257" y="206"/>
                  </a:cubicBezTo>
                  <a:cubicBezTo>
                    <a:pt x="258" y="206"/>
                    <a:pt x="259" y="206"/>
                    <a:pt x="259" y="205"/>
                  </a:cubicBezTo>
                  <a:cubicBezTo>
                    <a:pt x="260" y="205"/>
                    <a:pt x="260" y="205"/>
                    <a:pt x="261" y="204"/>
                  </a:cubicBezTo>
                  <a:cubicBezTo>
                    <a:pt x="262" y="204"/>
                    <a:pt x="262" y="204"/>
                    <a:pt x="263" y="203"/>
                  </a:cubicBezTo>
                  <a:cubicBezTo>
                    <a:pt x="263" y="203"/>
                    <a:pt x="263" y="203"/>
                    <a:pt x="263" y="203"/>
                  </a:cubicBezTo>
                  <a:cubicBezTo>
                    <a:pt x="263" y="203"/>
                    <a:pt x="263" y="203"/>
                    <a:pt x="263" y="203"/>
                  </a:cubicBezTo>
                  <a:cubicBezTo>
                    <a:pt x="292" y="173"/>
                    <a:pt x="292" y="173"/>
                    <a:pt x="292" y="173"/>
                  </a:cubicBezTo>
                  <a:cubicBezTo>
                    <a:pt x="303" y="161"/>
                    <a:pt x="318" y="154"/>
                    <a:pt x="334" y="154"/>
                  </a:cubicBezTo>
                  <a:cubicBezTo>
                    <a:pt x="350" y="154"/>
                    <a:pt x="366" y="161"/>
                    <a:pt x="377" y="17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92" y="158"/>
                  </a:moveTo>
                  <a:cubicBezTo>
                    <a:pt x="377" y="142"/>
                    <a:pt x="356" y="133"/>
                    <a:pt x="334" y="133"/>
                  </a:cubicBezTo>
                  <a:cubicBezTo>
                    <a:pt x="312" y="133"/>
                    <a:pt x="292" y="142"/>
                    <a:pt x="276" y="158"/>
                  </a:cubicBezTo>
                  <a:cubicBezTo>
                    <a:pt x="255" y="180"/>
                    <a:pt x="255" y="180"/>
                    <a:pt x="255" y="180"/>
                  </a:cubicBezTo>
                  <a:cubicBezTo>
                    <a:pt x="234" y="158"/>
                    <a:pt x="234" y="158"/>
                    <a:pt x="234" y="158"/>
                  </a:cubicBezTo>
                  <a:cubicBezTo>
                    <a:pt x="219" y="142"/>
                    <a:pt x="198" y="133"/>
                    <a:pt x="176" y="133"/>
                  </a:cubicBezTo>
                  <a:cubicBezTo>
                    <a:pt x="154" y="133"/>
                    <a:pt x="134" y="142"/>
                    <a:pt x="118" y="158"/>
                  </a:cubicBezTo>
                  <a:cubicBezTo>
                    <a:pt x="87" y="191"/>
                    <a:pt x="87" y="244"/>
                    <a:pt x="118" y="277"/>
                  </a:cubicBezTo>
                  <a:cubicBezTo>
                    <a:pt x="247" y="413"/>
                    <a:pt x="247" y="413"/>
                    <a:pt x="247" y="413"/>
                  </a:cubicBezTo>
                  <a:cubicBezTo>
                    <a:pt x="249" y="415"/>
                    <a:pt x="252" y="416"/>
                    <a:pt x="254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2" y="415"/>
                    <a:pt x="264" y="413"/>
                  </a:cubicBezTo>
                  <a:cubicBezTo>
                    <a:pt x="363" y="308"/>
                    <a:pt x="363" y="308"/>
                    <a:pt x="363" y="308"/>
                  </a:cubicBezTo>
                  <a:cubicBezTo>
                    <a:pt x="392" y="277"/>
                    <a:pt x="392" y="277"/>
                    <a:pt x="392" y="277"/>
                  </a:cubicBezTo>
                  <a:cubicBezTo>
                    <a:pt x="424" y="244"/>
                    <a:pt x="424" y="191"/>
                    <a:pt x="39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5" name="Freeform 240"/>
            <p:cNvSpPr>
              <a:spLocks noEditPoints="1"/>
            </p:cNvSpPr>
            <p:nvPr/>
          </p:nvSpPr>
          <p:spPr bwMode="auto">
            <a:xfrm>
              <a:off x="3875" y="720"/>
              <a:ext cx="341" cy="340"/>
            </a:xfrm>
            <a:custGeom>
              <a:avLst/>
              <a:gdLst>
                <a:gd name="T0" fmla="*/ 377 w 512"/>
                <a:gd name="T1" fmla="*/ 173 h 512"/>
                <a:gd name="T2" fmla="*/ 377 w 512"/>
                <a:gd name="T3" fmla="*/ 263 h 512"/>
                <a:gd name="T4" fmla="*/ 255 w 512"/>
                <a:gd name="T5" fmla="*/ 391 h 512"/>
                <a:gd name="T6" fmla="*/ 163 w 512"/>
                <a:gd name="T7" fmla="*/ 293 h 512"/>
                <a:gd name="T8" fmla="*/ 134 w 512"/>
                <a:gd name="T9" fmla="*/ 263 h 512"/>
                <a:gd name="T10" fmla="*/ 134 w 512"/>
                <a:gd name="T11" fmla="*/ 173 h 512"/>
                <a:gd name="T12" fmla="*/ 176 w 512"/>
                <a:gd name="T13" fmla="*/ 154 h 512"/>
                <a:gd name="T14" fmla="*/ 219 w 512"/>
                <a:gd name="T15" fmla="*/ 173 h 512"/>
                <a:gd name="T16" fmla="*/ 248 w 512"/>
                <a:gd name="T17" fmla="*/ 203 h 512"/>
                <a:gd name="T18" fmla="*/ 248 w 512"/>
                <a:gd name="T19" fmla="*/ 203 h 512"/>
                <a:gd name="T20" fmla="*/ 248 w 512"/>
                <a:gd name="T21" fmla="*/ 203 h 512"/>
                <a:gd name="T22" fmla="*/ 249 w 512"/>
                <a:gd name="T23" fmla="*/ 204 h 512"/>
                <a:gd name="T24" fmla="*/ 251 w 512"/>
                <a:gd name="T25" fmla="*/ 205 h 512"/>
                <a:gd name="T26" fmla="*/ 253 w 512"/>
                <a:gd name="T27" fmla="*/ 206 h 512"/>
                <a:gd name="T28" fmla="*/ 255 w 512"/>
                <a:gd name="T29" fmla="*/ 206 h 512"/>
                <a:gd name="T30" fmla="*/ 257 w 512"/>
                <a:gd name="T31" fmla="*/ 206 h 512"/>
                <a:gd name="T32" fmla="*/ 259 w 512"/>
                <a:gd name="T33" fmla="*/ 205 h 512"/>
                <a:gd name="T34" fmla="*/ 261 w 512"/>
                <a:gd name="T35" fmla="*/ 204 h 512"/>
                <a:gd name="T36" fmla="*/ 263 w 512"/>
                <a:gd name="T37" fmla="*/ 203 h 512"/>
                <a:gd name="T38" fmla="*/ 263 w 512"/>
                <a:gd name="T39" fmla="*/ 203 h 512"/>
                <a:gd name="T40" fmla="*/ 263 w 512"/>
                <a:gd name="T41" fmla="*/ 203 h 512"/>
                <a:gd name="T42" fmla="*/ 292 w 512"/>
                <a:gd name="T43" fmla="*/ 173 h 512"/>
                <a:gd name="T44" fmla="*/ 334 w 512"/>
                <a:gd name="T45" fmla="*/ 154 h 512"/>
                <a:gd name="T46" fmla="*/ 377 w 512"/>
                <a:gd name="T47" fmla="*/ 173 h 512"/>
                <a:gd name="T48" fmla="*/ 512 w 512"/>
                <a:gd name="T49" fmla="*/ 256 h 512"/>
                <a:gd name="T50" fmla="*/ 256 w 512"/>
                <a:gd name="T51" fmla="*/ 512 h 512"/>
                <a:gd name="T52" fmla="*/ 0 w 512"/>
                <a:gd name="T53" fmla="*/ 256 h 512"/>
                <a:gd name="T54" fmla="*/ 256 w 512"/>
                <a:gd name="T55" fmla="*/ 0 h 512"/>
                <a:gd name="T56" fmla="*/ 512 w 512"/>
                <a:gd name="T57" fmla="*/ 256 h 512"/>
                <a:gd name="T58" fmla="*/ 392 w 512"/>
                <a:gd name="T59" fmla="*/ 158 h 512"/>
                <a:gd name="T60" fmla="*/ 334 w 512"/>
                <a:gd name="T61" fmla="*/ 133 h 512"/>
                <a:gd name="T62" fmla="*/ 276 w 512"/>
                <a:gd name="T63" fmla="*/ 158 h 512"/>
                <a:gd name="T64" fmla="*/ 255 w 512"/>
                <a:gd name="T65" fmla="*/ 180 h 512"/>
                <a:gd name="T66" fmla="*/ 234 w 512"/>
                <a:gd name="T67" fmla="*/ 158 h 512"/>
                <a:gd name="T68" fmla="*/ 176 w 512"/>
                <a:gd name="T69" fmla="*/ 133 h 512"/>
                <a:gd name="T70" fmla="*/ 118 w 512"/>
                <a:gd name="T71" fmla="*/ 158 h 512"/>
                <a:gd name="T72" fmla="*/ 118 w 512"/>
                <a:gd name="T73" fmla="*/ 277 h 512"/>
                <a:gd name="T74" fmla="*/ 247 w 512"/>
                <a:gd name="T75" fmla="*/ 413 h 512"/>
                <a:gd name="T76" fmla="*/ 254 w 512"/>
                <a:gd name="T77" fmla="*/ 416 h 512"/>
                <a:gd name="T78" fmla="*/ 255 w 512"/>
                <a:gd name="T79" fmla="*/ 416 h 512"/>
                <a:gd name="T80" fmla="*/ 256 w 512"/>
                <a:gd name="T81" fmla="*/ 416 h 512"/>
                <a:gd name="T82" fmla="*/ 264 w 512"/>
                <a:gd name="T83" fmla="*/ 413 h 512"/>
                <a:gd name="T84" fmla="*/ 363 w 512"/>
                <a:gd name="T85" fmla="*/ 308 h 512"/>
                <a:gd name="T86" fmla="*/ 392 w 512"/>
                <a:gd name="T87" fmla="*/ 277 h 512"/>
                <a:gd name="T88" fmla="*/ 392 w 512"/>
                <a:gd name="T89" fmla="*/ 15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377" y="173"/>
                  </a:moveTo>
                  <a:cubicBezTo>
                    <a:pt x="401" y="197"/>
                    <a:pt x="401" y="238"/>
                    <a:pt x="377" y="263"/>
                  </a:cubicBezTo>
                  <a:cubicBezTo>
                    <a:pt x="255" y="391"/>
                    <a:pt x="255" y="391"/>
                    <a:pt x="255" y="391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34" y="263"/>
                    <a:pt x="134" y="263"/>
                    <a:pt x="134" y="263"/>
                  </a:cubicBezTo>
                  <a:cubicBezTo>
                    <a:pt x="110" y="238"/>
                    <a:pt x="110" y="197"/>
                    <a:pt x="134" y="173"/>
                  </a:cubicBezTo>
                  <a:cubicBezTo>
                    <a:pt x="145" y="161"/>
                    <a:pt x="160" y="154"/>
                    <a:pt x="176" y="154"/>
                  </a:cubicBezTo>
                  <a:cubicBezTo>
                    <a:pt x="192" y="154"/>
                    <a:pt x="207" y="161"/>
                    <a:pt x="219" y="17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204"/>
                    <a:pt x="249" y="204"/>
                    <a:pt x="249" y="204"/>
                  </a:cubicBezTo>
                  <a:cubicBezTo>
                    <a:pt x="250" y="205"/>
                    <a:pt x="251" y="205"/>
                    <a:pt x="251" y="205"/>
                  </a:cubicBezTo>
                  <a:cubicBezTo>
                    <a:pt x="252" y="206"/>
                    <a:pt x="252" y="206"/>
                    <a:pt x="253" y="206"/>
                  </a:cubicBezTo>
                  <a:cubicBezTo>
                    <a:pt x="254" y="206"/>
                    <a:pt x="255" y="206"/>
                    <a:pt x="255" y="206"/>
                  </a:cubicBezTo>
                  <a:cubicBezTo>
                    <a:pt x="256" y="206"/>
                    <a:pt x="256" y="206"/>
                    <a:pt x="257" y="206"/>
                  </a:cubicBezTo>
                  <a:cubicBezTo>
                    <a:pt x="258" y="206"/>
                    <a:pt x="259" y="206"/>
                    <a:pt x="259" y="205"/>
                  </a:cubicBezTo>
                  <a:cubicBezTo>
                    <a:pt x="260" y="205"/>
                    <a:pt x="260" y="205"/>
                    <a:pt x="261" y="204"/>
                  </a:cubicBezTo>
                  <a:cubicBezTo>
                    <a:pt x="262" y="204"/>
                    <a:pt x="262" y="204"/>
                    <a:pt x="263" y="203"/>
                  </a:cubicBezTo>
                  <a:cubicBezTo>
                    <a:pt x="263" y="203"/>
                    <a:pt x="263" y="203"/>
                    <a:pt x="263" y="203"/>
                  </a:cubicBezTo>
                  <a:cubicBezTo>
                    <a:pt x="263" y="203"/>
                    <a:pt x="263" y="203"/>
                    <a:pt x="263" y="203"/>
                  </a:cubicBezTo>
                  <a:cubicBezTo>
                    <a:pt x="292" y="173"/>
                    <a:pt x="292" y="173"/>
                    <a:pt x="292" y="173"/>
                  </a:cubicBezTo>
                  <a:cubicBezTo>
                    <a:pt x="303" y="161"/>
                    <a:pt x="318" y="154"/>
                    <a:pt x="334" y="154"/>
                  </a:cubicBezTo>
                  <a:cubicBezTo>
                    <a:pt x="350" y="154"/>
                    <a:pt x="366" y="161"/>
                    <a:pt x="377" y="17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92" y="158"/>
                  </a:moveTo>
                  <a:cubicBezTo>
                    <a:pt x="377" y="142"/>
                    <a:pt x="356" y="133"/>
                    <a:pt x="334" y="133"/>
                  </a:cubicBezTo>
                  <a:cubicBezTo>
                    <a:pt x="312" y="133"/>
                    <a:pt x="292" y="142"/>
                    <a:pt x="276" y="158"/>
                  </a:cubicBezTo>
                  <a:cubicBezTo>
                    <a:pt x="255" y="180"/>
                    <a:pt x="255" y="180"/>
                    <a:pt x="255" y="180"/>
                  </a:cubicBezTo>
                  <a:cubicBezTo>
                    <a:pt x="234" y="158"/>
                    <a:pt x="234" y="158"/>
                    <a:pt x="234" y="158"/>
                  </a:cubicBezTo>
                  <a:cubicBezTo>
                    <a:pt x="219" y="142"/>
                    <a:pt x="198" y="133"/>
                    <a:pt x="176" y="133"/>
                  </a:cubicBezTo>
                  <a:cubicBezTo>
                    <a:pt x="154" y="133"/>
                    <a:pt x="134" y="142"/>
                    <a:pt x="118" y="158"/>
                  </a:cubicBezTo>
                  <a:cubicBezTo>
                    <a:pt x="87" y="191"/>
                    <a:pt x="87" y="244"/>
                    <a:pt x="118" y="277"/>
                  </a:cubicBezTo>
                  <a:cubicBezTo>
                    <a:pt x="247" y="413"/>
                    <a:pt x="247" y="413"/>
                    <a:pt x="247" y="413"/>
                  </a:cubicBezTo>
                  <a:cubicBezTo>
                    <a:pt x="249" y="415"/>
                    <a:pt x="252" y="416"/>
                    <a:pt x="254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9" y="416"/>
                    <a:pt x="262" y="415"/>
                    <a:pt x="264" y="413"/>
                  </a:cubicBezTo>
                  <a:cubicBezTo>
                    <a:pt x="363" y="308"/>
                    <a:pt x="363" y="308"/>
                    <a:pt x="363" y="308"/>
                  </a:cubicBezTo>
                  <a:cubicBezTo>
                    <a:pt x="392" y="277"/>
                    <a:pt x="392" y="277"/>
                    <a:pt x="392" y="277"/>
                  </a:cubicBezTo>
                  <a:cubicBezTo>
                    <a:pt x="424" y="244"/>
                    <a:pt x="424" y="191"/>
                    <a:pt x="39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76" name="Group 243"/>
          <p:cNvGrpSpPr>
            <a:grpSpLocks noChangeAspect="1"/>
          </p:cNvGrpSpPr>
          <p:nvPr/>
        </p:nvGrpSpPr>
        <p:grpSpPr bwMode="auto">
          <a:xfrm>
            <a:off x="4914643" y="3738096"/>
            <a:ext cx="367041" cy="367041"/>
            <a:chOff x="4256" y="720"/>
            <a:chExt cx="340" cy="340"/>
          </a:xfrm>
          <a:solidFill>
            <a:schemeClr val="accent3"/>
          </a:solidFill>
        </p:grpSpPr>
        <p:sp>
          <p:nvSpPr>
            <p:cNvPr id="877" name="Freeform 244"/>
            <p:cNvSpPr>
              <a:spLocks noEditPoints="1"/>
            </p:cNvSpPr>
            <p:nvPr/>
          </p:nvSpPr>
          <p:spPr bwMode="auto">
            <a:xfrm>
              <a:off x="4313" y="808"/>
              <a:ext cx="225" cy="188"/>
            </a:xfrm>
            <a:custGeom>
              <a:avLst/>
              <a:gdLst>
                <a:gd name="T0" fmla="*/ 306 w 338"/>
                <a:gd name="T1" fmla="*/ 25 h 284"/>
                <a:gd name="T2" fmla="*/ 248 w 338"/>
                <a:gd name="T3" fmla="*/ 0 h 284"/>
                <a:gd name="T4" fmla="*/ 190 w 338"/>
                <a:gd name="T5" fmla="*/ 25 h 284"/>
                <a:gd name="T6" fmla="*/ 169 w 338"/>
                <a:gd name="T7" fmla="*/ 47 h 284"/>
                <a:gd name="T8" fmla="*/ 148 w 338"/>
                <a:gd name="T9" fmla="*/ 25 h 284"/>
                <a:gd name="T10" fmla="*/ 90 w 338"/>
                <a:gd name="T11" fmla="*/ 0 h 284"/>
                <a:gd name="T12" fmla="*/ 32 w 338"/>
                <a:gd name="T13" fmla="*/ 25 h 284"/>
                <a:gd name="T14" fmla="*/ 32 w 338"/>
                <a:gd name="T15" fmla="*/ 145 h 284"/>
                <a:gd name="T16" fmla="*/ 160 w 338"/>
                <a:gd name="T17" fmla="*/ 280 h 284"/>
                <a:gd name="T18" fmla="*/ 168 w 338"/>
                <a:gd name="T19" fmla="*/ 284 h 284"/>
                <a:gd name="T20" fmla="*/ 169 w 338"/>
                <a:gd name="T21" fmla="*/ 284 h 284"/>
                <a:gd name="T22" fmla="*/ 170 w 338"/>
                <a:gd name="T23" fmla="*/ 284 h 284"/>
                <a:gd name="T24" fmla="*/ 177 w 338"/>
                <a:gd name="T25" fmla="*/ 280 h 284"/>
                <a:gd name="T26" fmla="*/ 277 w 338"/>
                <a:gd name="T27" fmla="*/ 175 h 284"/>
                <a:gd name="T28" fmla="*/ 306 w 338"/>
                <a:gd name="T29" fmla="*/ 145 h 284"/>
                <a:gd name="T30" fmla="*/ 306 w 338"/>
                <a:gd name="T31" fmla="*/ 25 h 284"/>
                <a:gd name="T32" fmla="*/ 291 w 338"/>
                <a:gd name="T33" fmla="*/ 130 h 284"/>
                <a:gd name="T34" fmla="*/ 169 w 338"/>
                <a:gd name="T35" fmla="*/ 258 h 284"/>
                <a:gd name="T36" fmla="*/ 76 w 338"/>
                <a:gd name="T37" fmla="*/ 160 h 284"/>
                <a:gd name="T38" fmla="*/ 47 w 338"/>
                <a:gd name="T39" fmla="*/ 130 h 284"/>
                <a:gd name="T40" fmla="*/ 47 w 338"/>
                <a:gd name="T41" fmla="*/ 40 h 284"/>
                <a:gd name="T42" fmla="*/ 90 w 338"/>
                <a:gd name="T43" fmla="*/ 22 h 284"/>
                <a:gd name="T44" fmla="*/ 132 w 338"/>
                <a:gd name="T45" fmla="*/ 40 h 284"/>
                <a:gd name="T46" fmla="*/ 161 w 338"/>
                <a:gd name="T47" fmla="*/ 70 h 284"/>
                <a:gd name="T48" fmla="*/ 161 w 338"/>
                <a:gd name="T49" fmla="*/ 70 h 284"/>
                <a:gd name="T50" fmla="*/ 162 w 338"/>
                <a:gd name="T51" fmla="*/ 70 h 284"/>
                <a:gd name="T52" fmla="*/ 163 w 338"/>
                <a:gd name="T53" fmla="*/ 71 h 284"/>
                <a:gd name="T54" fmla="*/ 165 w 338"/>
                <a:gd name="T55" fmla="*/ 73 h 284"/>
                <a:gd name="T56" fmla="*/ 167 w 338"/>
                <a:gd name="T57" fmla="*/ 73 h 284"/>
                <a:gd name="T58" fmla="*/ 169 w 338"/>
                <a:gd name="T59" fmla="*/ 73 h 284"/>
                <a:gd name="T60" fmla="*/ 171 w 338"/>
                <a:gd name="T61" fmla="*/ 73 h 284"/>
                <a:gd name="T62" fmla="*/ 173 w 338"/>
                <a:gd name="T63" fmla="*/ 73 h 284"/>
                <a:gd name="T64" fmla="*/ 175 w 338"/>
                <a:gd name="T65" fmla="*/ 72 h 284"/>
                <a:gd name="T66" fmla="*/ 176 w 338"/>
                <a:gd name="T67" fmla="*/ 70 h 284"/>
                <a:gd name="T68" fmla="*/ 176 w 338"/>
                <a:gd name="T69" fmla="*/ 70 h 284"/>
                <a:gd name="T70" fmla="*/ 177 w 338"/>
                <a:gd name="T71" fmla="*/ 70 h 284"/>
                <a:gd name="T72" fmla="*/ 206 w 338"/>
                <a:gd name="T73" fmla="*/ 40 h 284"/>
                <a:gd name="T74" fmla="*/ 248 w 338"/>
                <a:gd name="T75" fmla="*/ 22 h 284"/>
                <a:gd name="T76" fmla="*/ 291 w 338"/>
                <a:gd name="T77" fmla="*/ 40 h 284"/>
                <a:gd name="T78" fmla="*/ 291 w 338"/>
                <a:gd name="T79" fmla="*/ 13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284">
                  <a:moveTo>
                    <a:pt x="306" y="25"/>
                  </a:moveTo>
                  <a:cubicBezTo>
                    <a:pt x="291" y="9"/>
                    <a:pt x="270" y="0"/>
                    <a:pt x="248" y="0"/>
                  </a:cubicBezTo>
                  <a:cubicBezTo>
                    <a:pt x="226" y="0"/>
                    <a:pt x="206" y="9"/>
                    <a:pt x="190" y="25"/>
                  </a:cubicBezTo>
                  <a:cubicBezTo>
                    <a:pt x="169" y="47"/>
                    <a:pt x="169" y="47"/>
                    <a:pt x="169" y="47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32" y="9"/>
                    <a:pt x="112" y="0"/>
                    <a:pt x="90" y="0"/>
                  </a:cubicBezTo>
                  <a:cubicBezTo>
                    <a:pt x="68" y="0"/>
                    <a:pt x="47" y="9"/>
                    <a:pt x="32" y="25"/>
                  </a:cubicBezTo>
                  <a:cubicBezTo>
                    <a:pt x="0" y="58"/>
                    <a:pt x="0" y="112"/>
                    <a:pt x="32" y="145"/>
                  </a:cubicBezTo>
                  <a:cubicBezTo>
                    <a:pt x="160" y="280"/>
                    <a:pt x="160" y="280"/>
                    <a:pt x="160" y="280"/>
                  </a:cubicBezTo>
                  <a:cubicBezTo>
                    <a:pt x="162" y="283"/>
                    <a:pt x="165" y="284"/>
                    <a:pt x="168" y="284"/>
                  </a:cubicBezTo>
                  <a:cubicBezTo>
                    <a:pt x="168" y="284"/>
                    <a:pt x="169" y="284"/>
                    <a:pt x="169" y="284"/>
                  </a:cubicBezTo>
                  <a:cubicBezTo>
                    <a:pt x="169" y="284"/>
                    <a:pt x="169" y="284"/>
                    <a:pt x="170" y="284"/>
                  </a:cubicBezTo>
                  <a:cubicBezTo>
                    <a:pt x="173" y="284"/>
                    <a:pt x="175" y="283"/>
                    <a:pt x="177" y="280"/>
                  </a:cubicBezTo>
                  <a:cubicBezTo>
                    <a:pt x="277" y="175"/>
                    <a:pt x="277" y="175"/>
                    <a:pt x="277" y="175"/>
                  </a:cubicBezTo>
                  <a:cubicBezTo>
                    <a:pt x="306" y="145"/>
                    <a:pt x="306" y="145"/>
                    <a:pt x="306" y="145"/>
                  </a:cubicBezTo>
                  <a:cubicBezTo>
                    <a:pt x="338" y="112"/>
                    <a:pt x="338" y="58"/>
                    <a:pt x="306" y="25"/>
                  </a:cubicBezTo>
                  <a:close/>
                  <a:moveTo>
                    <a:pt x="291" y="130"/>
                  </a:moveTo>
                  <a:cubicBezTo>
                    <a:pt x="169" y="258"/>
                    <a:pt x="169" y="258"/>
                    <a:pt x="169" y="258"/>
                  </a:cubicBezTo>
                  <a:cubicBezTo>
                    <a:pt x="76" y="160"/>
                    <a:pt x="76" y="160"/>
                    <a:pt x="76" y="16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23" y="105"/>
                    <a:pt x="23" y="65"/>
                    <a:pt x="47" y="40"/>
                  </a:cubicBezTo>
                  <a:cubicBezTo>
                    <a:pt x="59" y="28"/>
                    <a:pt x="74" y="22"/>
                    <a:pt x="90" y="22"/>
                  </a:cubicBezTo>
                  <a:cubicBezTo>
                    <a:pt x="106" y="22"/>
                    <a:pt x="121" y="28"/>
                    <a:pt x="132" y="40"/>
                  </a:cubicBezTo>
                  <a:cubicBezTo>
                    <a:pt x="161" y="70"/>
                    <a:pt x="161" y="70"/>
                    <a:pt x="161" y="70"/>
                  </a:cubicBezTo>
                  <a:cubicBezTo>
                    <a:pt x="161" y="70"/>
                    <a:pt x="161" y="70"/>
                    <a:pt x="161" y="70"/>
                  </a:cubicBezTo>
                  <a:cubicBezTo>
                    <a:pt x="161" y="70"/>
                    <a:pt x="161" y="70"/>
                    <a:pt x="162" y="70"/>
                  </a:cubicBezTo>
                  <a:cubicBezTo>
                    <a:pt x="162" y="71"/>
                    <a:pt x="163" y="71"/>
                    <a:pt x="163" y="71"/>
                  </a:cubicBezTo>
                  <a:cubicBezTo>
                    <a:pt x="164" y="72"/>
                    <a:pt x="164" y="72"/>
                    <a:pt x="165" y="73"/>
                  </a:cubicBezTo>
                  <a:cubicBezTo>
                    <a:pt x="166" y="73"/>
                    <a:pt x="166" y="73"/>
                    <a:pt x="167" y="73"/>
                  </a:cubicBezTo>
                  <a:cubicBezTo>
                    <a:pt x="167" y="73"/>
                    <a:pt x="168" y="73"/>
                    <a:pt x="169" y="73"/>
                  </a:cubicBezTo>
                  <a:cubicBezTo>
                    <a:pt x="170" y="73"/>
                    <a:pt x="170" y="73"/>
                    <a:pt x="171" y="73"/>
                  </a:cubicBezTo>
                  <a:cubicBezTo>
                    <a:pt x="172" y="73"/>
                    <a:pt x="172" y="73"/>
                    <a:pt x="173" y="73"/>
                  </a:cubicBezTo>
                  <a:cubicBezTo>
                    <a:pt x="174" y="72"/>
                    <a:pt x="174" y="72"/>
                    <a:pt x="175" y="72"/>
                  </a:cubicBezTo>
                  <a:cubicBezTo>
                    <a:pt x="175" y="71"/>
                    <a:pt x="176" y="71"/>
                    <a:pt x="176" y="70"/>
                  </a:cubicBezTo>
                  <a:cubicBezTo>
                    <a:pt x="176" y="70"/>
                    <a:pt x="176" y="70"/>
                    <a:pt x="176" y="70"/>
                  </a:cubicBezTo>
                  <a:cubicBezTo>
                    <a:pt x="176" y="70"/>
                    <a:pt x="177" y="70"/>
                    <a:pt x="177" y="70"/>
                  </a:cubicBezTo>
                  <a:cubicBezTo>
                    <a:pt x="206" y="40"/>
                    <a:pt x="206" y="40"/>
                    <a:pt x="206" y="40"/>
                  </a:cubicBezTo>
                  <a:cubicBezTo>
                    <a:pt x="217" y="28"/>
                    <a:pt x="232" y="22"/>
                    <a:pt x="248" y="22"/>
                  </a:cubicBezTo>
                  <a:cubicBezTo>
                    <a:pt x="264" y="22"/>
                    <a:pt x="279" y="28"/>
                    <a:pt x="291" y="40"/>
                  </a:cubicBezTo>
                  <a:cubicBezTo>
                    <a:pt x="314" y="65"/>
                    <a:pt x="314" y="105"/>
                    <a:pt x="291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8" name="Freeform 245"/>
            <p:cNvSpPr>
              <a:spLocks noEditPoints="1"/>
            </p:cNvSpPr>
            <p:nvPr/>
          </p:nvSpPr>
          <p:spPr bwMode="auto">
            <a:xfrm>
              <a:off x="4256" y="72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7" name="TextBox 226"/>
          <p:cNvSpPr txBox="1"/>
          <p:nvPr/>
        </p:nvSpPr>
        <p:spPr>
          <a:xfrm>
            <a:off x="442688" y="333516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e truck</a:t>
            </a:r>
          </a:p>
        </p:txBody>
      </p:sp>
      <p:sp>
        <p:nvSpPr>
          <p:cNvPr id="228" name="Freeform 819"/>
          <p:cNvSpPr>
            <a:spLocks noChangeAspect="1" noEditPoints="1"/>
          </p:cNvSpPr>
          <p:nvPr/>
        </p:nvSpPr>
        <p:spPr bwMode="auto">
          <a:xfrm>
            <a:off x="435093" y="2921453"/>
            <a:ext cx="367631" cy="367631"/>
          </a:xfrm>
          <a:custGeom>
            <a:avLst/>
            <a:gdLst>
              <a:gd name="T0" fmla="*/ 309 w 512"/>
              <a:gd name="T1" fmla="*/ 181 h 512"/>
              <a:gd name="T2" fmla="*/ 190 w 512"/>
              <a:gd name="T3" fmla="*/ 330 h 512"/>
              <a:gd name="T4" fmla="*/ 130 w 512"/>
              <a:gd name="T5" fmla="*/ 330 h 512"/>
              <a:gd name="T6" fmla="*/ 117 w 512"/>
              <a:gd name="T7" fmla="*/ 266 h 512"/>
              <a:gd name="T8" fmla="*/ 298 w 512"/>
              <a:gd name="T9" fmla="*/ 256 h 512"/>
              <a:gd name="T10" fmla="*/ 288 w 512"/>
              <a:gd name="T11" fmla="*/ 224 h 512"/>
              <a:gd name="T12" fmla="*/ 288 w 512"/>
              <a:gd name="T13" fmla="*/ 202 h 512"/>
              <a:gd name="T14" fmla="*/ 117 w 512"/>
              <a:gd name="T15" fmla="*/ 181 h 512"/>
              <a:gd name="T16" fmla="*/ 160 w 512"/>
              <a:gd name="T17" fmla="*/ 245 h 512"/>
              <a:gd name="T18" fmla="*/ 181 w 512"/>
              <a:gd name="T19" fmla="*/ 224 h 512"/>
              <a:gd name="T20" fmla="*/ 160 w 512"/>
              <a:gd name="T21" fmla="*/ 330 h 512"/>
              <a:gd name="T22" fmla="*/ 160 w 512"/>
              <a:gd name="T23" fmla="*/ 352 h 512"/>
              <a:gd name="T24" fmla="*/ 160 w 512"/>
              <a:gd name="T25" fmla="*/ 330 h 512"/>
              <a:gd name="T26" fmla="*/ 202 w 512"/>
              <a:gd name="T27" fmla="*/ 245 h 512"/>
              <a:gd name="T28" fmla="*/ 224 w 512"/>
              <a:gd name="T29" fmla="*/ 224 h 512"/>
              <a:gd name="T30" fmla="*/ 138 w 512"/>
              <a:gd name="T31" fmla="*/ 224 h 512"/>
              <a:gd name="T32" fmla="*/ 117 w 512"/>
              <a:gd name="T33" fmla="*/ 245 h 512"/>
              <a:gd name="T34" fmla="*/ 138 w 512"/>
              <a:gd name="T35" fmla="*/ 224 h 512"/>
              <a:gd name="T36" fmla="*/ 266 w 512"/>
              <a:gd name="T37" fmla="*/ 160 h 512"/>
              <a:gd name="T38" fmla="*/ 277 w 512"/>
              <a:gd name="T39" fmla="*/ 149 h 512"/>
              <a:gd name="T40" fmla="*/ 330 w 512"/>
              <a:gd name="T41" fmla="*/ 245 h 512"/>
              <a:gd name="T42" fmla="*/ 341 w 512"/>
              <a:gd name="T43" fmla="*/ 309 h 512"/>
              <a:gd name="T44" fmla="*/ 394 w 512"/>
              <a:gd name="T45" fmla="*/ 330 h 512"/>
              <a:gd name="T46" fmla="*/ 384 w 512"/>
              <a:gd name="T47" fmla="*/ 245 h 512"/>
              <a:gd name="T48" fmla="*/ 256 w 512"/>
              <a:gd name="T49" fmla="*/ 512 h 512"/>
              <a:gd name="T50" fmla="*/ 256 w 512"/>
              <a:gd name="T51" fmla="*/ 0 h 512"/>
              <a:gd name="T52" fmla="*/ 416 w 512"/>
              <a:gd name="T53" fmla="*/ 256 h 512"/>
              <a:gd name="T54" fmla="*/ 330 w 512"/>
              <a:gd name="T55" fmla="*/ 224 h 512"/>
              <a:gd name="T56" fmla="*/ 320 w 512"/>
              <a:gd name="T57" fmla="*/ 160 h 512"/>
              <a:gd name="T58" fmla="*/ 277 w 512"/>
              <a:gd name="T59" fmla="*/ 128 h 512"/>
              <a:gd name="T60" fmla="*/ 106 w 512"/>
              <a:gd name="T61" fmla="*/ 160 h 512"/>
              <a:gd name="T62" fmla="*/ 96 w 512"/>
              <a:gd name="T63" fmla="*/ 202 h 512"/>
              <a:gd name="T64" fmla="*/ 74 w 512"/>
              <a:gd name="T65" fmla="*/ 213 h 512"/>
              <a:gd name="T66" fmla="*/ 96 w 512"/>
              <a:gd name="T67" fmla="*/ 224 h 512"/>
              <a:gd name="T68" fmla="*/ 85 w 512"/>
              <a:gd name="T69" fmla="*/ 245 h 512"/>
              <a:gd name="T70" fmla="*/ 85 w 512"/>
              <a:gd name="T71" fmla="*/ 266 h 512"/>
              <a:gd name="T72" fmla="*/ 96 w 512"/>
              <a:gd name="T73" fmla="*/ 341 h 512"/>
              <a:gd name="T74" fmla="*/ 130 w 512"/>
              <a:gd name="T75" fmla="*/ 352 h 512"/>
              <a:gd name="T76" fmla="*/ 190 w 512"/>
              <a:gd name="T77" fmla="*/ 352 h 512"/>
              <a:gd name="T78" fmla="*/ 341 w 512"/>
              <a:gd name="T79" fmla="*/ 373 h 512"/>
              <a:gd name="T80" fmla="*/ 405 w 512"/>
              <a:gd name="T81" fmla="*/ 352 h 512"/>
              <a:gd name="T82" fmla="*/ 416 w 512"/>
              <a:gd name="T83" fmla="*/ 256 h 512"/>
              <a:gd name="T84" fmla="*/ 330 w 512"/>
              <a:gd name="T85" fmla="*/ 341 h 512"/>
              <a:gd name="T86" fmla="*/ 352 w 512"/>
              <a:gd name="T87" fmla="*/ 341 h 512"/>
              <a:gd name="T88" fmla="*/ 245 w 512"/>
              <a:gd name="T89" fmla="*/ 224 h 512"/>
              <a:gd name="T90" fmla="*/ 266 w 512"/>
              <a:gd name="T91" fmla="*/ 245 h 512"/>
              <a:gd name="T92" fmla="*/ 245 w 512"/>
              <a:gd name="T9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117" y="181"/>
                </a:moveTo>
                <a:cubicBezTo>
                  <a:pt x="309" y="181"/>
                  <a:pt x="309" y="181"/>
                  <a:pt x="309" y="181"/>
                </a:cubicBezTo>
                <a:cubicBezTo>
                  <a:pt x="309" y="330"/>
                  <a:pt x="309" y="330"/>
                  <a:pt x="309" y="330"/>
                </a:cubicBezTo>
                <a:cubicBezTo>
                  <a:pt x="190" y="330"/>
                  <a:pt x="190" y="330"/>
                  <a:pt x="190" y="330"/>
                </a:cubicBezTo>
                <a:cubicBezTo>
                  <a:pt x="185" y="318"/>
                  <a:pt x="174" y="309"/>
                  <a:pt x="160" y="309"/>
                </a:cubicBezTo>
                <a:cubicBezTo>
                  <a:pt x="146" y="309"/>
                  <a:pt x="134" y="318"/>
                  <a:pt x="130" y="330"/>
                </a:cubicBezTo>
                <a:cubicBezTo>
                  <a:pt x="117" y="330"/>
                  <a:pt x="117" y="330"/>
                  <a:pt x="117" y="330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62"/>
                  <a:pt x="298" y="256"/>
                </a:cubicBezTo>
                <a:cubicBezTo>
                  <a:pt x="298" y="250"/>
                  <a:pt x="293" y="245"/>
                  <a:pt x="288" y="245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93" y="224"/>
                  <a:pt x="298" y="219"/>
                  <a:pt x="298" y="213"/>
                </a:cubicBezTo>
                <a:cubicBezTo>
                  <a:pt x="298" y="207"/>
                  <a:pt x="294" y="202"/>
                  <a:pt x="288" y="202"/>
                </a:cubicBezTo>
                <a:cubicBezTo>
                  <a:pt x="117" y="202"/>
                  <a:pt x="117" y="202"/>
                  <a:pt x="117" y="202"/>
                </a:cubicBezTo>
                <a:lnTo>
                  <a:pt x="117" y="181"/>
                </a:lnTo>
                <a:close/>
                <a:moveTo>
                  <a:pt x="160" y="224"/>
                </a:moveTo>
                <a:cubicBezTo>
                  <a:pt x="160" y="245"/>
                  <a:pt x="160" y="245"/>
                  <a:pt x="160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81" y="224"/>
                  <a:pt x="181" y="224"/>
                  <a:pt x="181" y="224"/>
                </a:cubicBezTo>
                <a:lnTo>
                  <a:pt x="160" y="224"/>
                </a:lnTo>
                <a:close/>
                <a:moveTo>
                  <a:pt x="160" y="330"/>
                </a:moveTo>
                <a:cubicBezTo>
                  <a:pt x="154" y="330"/>
                  <a:pt x="149" y="335"/>
                  <a:pt x="149" y="341"/>
                </a:cubicBezTo>
                <a:cubicBezTo>
                  <a:pt x="149" y="347"/>
                  <a:pt x="154" y="352"/>
                  <a:pt x="160" y="352"/>
                </a:cubicBezTo>
                <a:cubicBezTo>
                  <a:pt x="166" y="352"/>
                  <a:pt x="170" y="347"/>
                  <a:pt x="170" y="341"/>
                </a:cubicBezTo>
                <a:cubicBezTo>
                  <a:pt x="170" y="335"/>
                  <a:pt x="166" y="330"/>
                  <a:pt x="160" y="330"/>
                </a:cubicBezTo>
                <a:close/>
                <a:moveTo>
                  <a:pt x="202" y="224"/>
                </a:moveTo>
                <a:cubicBezTo>
                  <a:pt x="202" y="245"/>
                  <a:pt x="202" y="245"/>
                  <a:pt x="202" y="245"/>
                </a:cubicBezTo>
                <a:cubicBezTo>
                  <a:pt x="224" y="245"/>
                  <a:pt x="224" y="245"/>
                  <a:pt x="224" y="245"/>
                </a:cubicBezTo>
                <a:cubicBezTo>
                  <a:pt x="224" y="224"/>
                  <a:pt x="224" y="224"/>
                  <a:pt x="224" y="224"/>
                </a:cubicBezTo>
                <a:lnTo>
                  <a:pt x="202" y="224"/>
                </a:lnTo>
                <a:close/>
                <a:moveTo>
                  <a:pt x="138" y="224"/>
                </a:moveTo>
                <a:cubicBezTo>
                  <a:pt x="117" y="224"/>
                  <a:pt x="117" y="224"/>
                  <a:pt x="117" y="224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38" y="245"/>
                  <a:pt x="138" y="245"/>
                  <a:pt x="138" y="245"/>
                </a:cubicBezTo>
                <a:lnTo>
                  <a:pt x="138" y="224"/>
                </a:lnTo>
                <a:close/>
                <a:moveTo>
                  <a:pt x="277" y="149"/>
                </a:moveTo>
                <a:cubicBezTo>
                  <a:pt x="271" y="149"/>
                  <a:pt x="266" y="154"/>
                  <a:pt x="266" y="160"/>
                </a:cubicBezTo>
                <a:cubicBezTo>
                  <a:pt x="288" y="160"/>
                  <a:pt x="288" y="160"/>
                  <a:pt x="288" y="160"/>
                </a:cubicBezTo>
                <a:cubicBezTo>
                  <a:pt x="288" y="154"/>
                  <a:pt x="283" y="149"/>
                  <a:pt x="277" y="149"/>
                </a:cubicBezTo>
                <a:close/>
                <a:moveTo>
                  <a:pt x="384" y="245"/>
                </a:moveTo>
                <a:cubicBezTo>
                  <a:pt x="330" y="245"/>
                  <a:pt x="330" y="245"/>
                  <a:pt x="330" y="245"/>
                </a:cubicBezTo>
                <a:cubicBezTo>
                  <a:pt x="330" y="311"/>
                  <a:pt x="330" y="311"/>
                  <a:pt x="330" y="311"/>
                </a:cubicBezTo>
                <a:cubicBezTo>
                  <a:pt x="334" y="310"/>
                  <a:pt x="337" y="309"/>
                  <a:pt x="341" y="309"/>
                </a:cubicBezTo>
                <a:cubicBezTo>
                  <a:pt x="355" y="309"/>
                  <a:pt x="367" y="318"/>
                  <a:pt x="371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256"/>
                  <a:pt x="394" y="256"/>
                  <a:pt x="394" y="256"/>
                </a:cubicBezTo>
                <a:cubicBezTo>
                  <a:pt x="394" y="250"/>
                  <a:pt x="390" y="245"/>
                  <a:pt x="384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238"/>
                  <a:pt x="401" y="224"/>
                  <a:pt x="384" y="224"/>
                </a:cubicBezTo>
                <a:cubicBezTo>
                  <a:pt x="330" y="224"/>
                  <a:pt x="330" y="224"/>
                  <a:pt x="330" y="224"/>
                </a:cubicBezTo>
                <a:cubicBezTo>
                  <a:pt x="330" y="170"/>
                  <a:pt x="330" y="170"/>
                  <a:pt x="330" y="170"/>
                </a:cubicBezTo>
                <a:cubicBezTo>
                  <a:pt x="330" y="164"/>
                  <a:pt x="326" y="160"/>
                  <a:pt x="320" y="160"/>
                </a:cubicBezTo>
                <a:cubicBezTo>
                  <a:pt x="309" y="160"/>
                  <a:pt x="309" y="160"/>
                  <a:pt x="309" y="160"/>
                </a:cubicBezTo>
                <a:cubicBezTo>
                  <a:pt x="309" y="142"/>
                  <a:pt x="295" y="128"/>
                  <a:pt x="277" y="128"/>
                </a:cubicBezTo>
                <a:cubicBezTo>
                  <a:pt x="259" y="128"/>
                  <a:pt x="245" y="142"/>
                  <a:pt x="245" y="160"/>
                </a:cubicBezTo>
                <a:cubicBezTo>
                  <a:pt x="106" y="160"/>
                  <a:pt x="106" y="160"/>
                  <a:pt x="106" y="160"/>
                </a:cubicBezTo>
                <a:cubicBezTo>
                  <a:pt x="100" y="160"/>
                  <a:pt x="96" y="164"/>
                  <a:pt x="96" y="170"/>
                </a:cubicBezTo>
                <a:cubicBezTo>
                  <a:pt x="96" y="202"/>
                  <a:pt x="96" y="202"/>
                  <a:pt x="96" y="202"/>
                </a:cubicBezTo>
                <a:cubicBezTo>
                  <a:pt x="85" y="202"/>
                  <a:pt x="85" y="202"/>
                  <a:pt x="85" y="202"/>
                </a:cubicBezTo>
                <a:cubicBezTo>
                  <a:pt x="79" y="202"/>
                  <a:pt x="74" y="207"/>
                  <a:pt x="74" y="213"/>
                </a:cubicBezTo>
                <a:cubicBezTo>
                  <a:pt x="74" y="219"/>
                  <a:pt x="79" y="224"/>
                  <a:pt x="85" y="224"/>
                </a:cubicBezTo>
                <a:cubicBezTo>
                  <a:pt x="96" y="224"/>
                  <a:pt x="96" y="224"/>
                  <a:pt x="96" y="224"/>
                </a:cubicBezTo>
                <a:cubicBezTo>
                  <a:pt x="96" y="245"/>
                  <a:pt x="96" y="245"/>
                  <a:pt x="96" y="245"/>
                </a:cubicBezTo>
                <a:cubicBezTo>
                  <a:pt x="85" y="245"/>
                  <a:pt x="85" y="245"/>
                  <a:pt x="85" y="245"/>
                </a:cubicBezTo>
                <a:cubicBezTo>
                  <a:pt x="79" y="245"/>
                  <a:pt x="74" y="250"/>
                  <a:pt x="74" y="256"/>
                </a:cubicBezTo>
                <a:cubicBezTo>
                  <a:pt x="74" y="262"/>
                  <a:pt x="79" y="266"/>
                  <a:pt x="85" y="266"/>
                </a:cubicBezTo>
                <a:cubicBezTo>
                  <a:pt x="96" y="266"/>
                  <a:pt x="96" y="266"/>
                  <a:pt x="96" y="266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47"/>
                  <a:pt x="100" y="352"/>
                  <a:pt x="106" y="352"/>
                </a:cubicBezTo>
                <a:cubicBezTo>
                  <a:pt x="130" y="352"/>
                  <a:pt x="130" y="352"/>
                  <a:pt x="130" y="352"/>
                </a:cubicBezTo>
                <a:cubicBezTo>
                  <a:pt x="134" y="364"/>
                  <a:pt x="146" y="373"/>
                  <a:pt x="160" y="373"/>
                </a:cubicBezTo>
                <a:cubicBezTo>
                  <a:pt x="174" y="373"/>
                  <a:pt x="185" y="364"/>
                  <a:pt x="190" y="352"/>
                </a:cubicBezTo>
                <a:cubicBezTo>
                  <a:pt x="311" y="352"/>
                  <a:pt x="311" y="352"/>
                  <a:pt x="311" y="352"/>
                </a:cubicBezTo>
                <a:cubicBezTo>
                  <a:pt x="315" y="364"/>
                  <a:pt x="327" y="373"/>
                  <a:pt x="341" y="373"/>
                </a:cubicBezTo>
                <a:cubicBezTo>
                  <a:pt x="355" y="373"/>
                  <a:pt x="367" y="364"/>
                  <a:pt x="371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47"/>
                  <a:pt x="416" y="341"/>
                </a:cubicBezTo>
                <a:lnTo>
                  <a:pt x="416" y="256"/>
                </a:lnTo>
                <a:close/>
                <a:moveTo>
                  <a:pt x="341" y="330"/>
                </a:moveTo>
                <a:cubicBezTo>
                  <a:pt x="335" y="330"/>
                  <a:pt x="330" y="335"/>
                  <a:pt x="330" y="341"/>
                </a:cubicBezTo>
                <a:cubicBezTo>
                  <a:pt x="330" y="347"/>
                  <a:pt x="335" y="352"/>
                  <a:pt x="341" y="352"/>
                </a:cubicBezTo>
                <a:cubicBezTo>
                  <a:pt x="347" y="352"/>
                  <a:pt x="352" y="347"/>
                  <a:pt x="352" y="341"/>
                </a:cubicBezTo>
                <a:cubicBezTo>
                  <a:pt x="352" y="335"/>
                  <a:pt x="347" y="330"/>
                  <a:pt x="341" y="330"/>
                </a:cubicBezTo>
                <a:close/>
                <a:moveTo>
                  <a:pt x="245" y="224"/>
                </a:moveTo>
                <a:cubicBezTo>
                  <a:pt x="245" y="245"/>
                  <a:pt x="245" y="245"/>
                  <a:pt x="245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224"/>
                  <a:pt x="266" y="224"/>
                  <a:pt x="266" y="224"/>
                </a:cubicBezTo>
                <a:lnTo>
                  <a:pt x="245" y="2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9" name="Group 822"/>
          <p:cNvGrpSpPr>
            <a:grpSpLocks noChangeAspect="1"/>
          </p:cNvGrpSpPr>
          <p:nvPr/>
        </p:nvGrpSpPr>
        <p:grpSpPr bwMode="auto">
          <a:xfrm>
            <a:off x="931620" y="2921457"/>
            <a:ext cx="367631" cy="367631"/>
            <a:chOff x="2732" y="3195"/>
            <a:chExt cx="340" cy="340"/>
          </a:xfrm>
          <a:solidFill>
            <a:schemeClr val="accent3"/>
          </a:solidFill>
        </p:grpSpPr>
        <p:sp>
          <p:nvSpPr>
            <p:cNvPr id="230" name="Freeform 823"/>
            <p:cNvSpPr>
              <a:spLocks noEditPoints="1"/>
            </p:cNvSpPr>
            <p:nvPr/>
          </p:nvSpPr>
          <p:spPr bwMode="auto">
            <a:xfrm>
              <a:off x="2732" y="31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824"/>
            <p:cNvSpPr>
              <a:spLocks noEditPoints="1"/>
            </p:cNvSpPr>
            <p:nvPr/>
          </p:nvSpPr>
          <p:spPr bwMode="auto">
            <a:xfrm>
              <a:off x="2781" y="3280"/>
              <a:ext cx="227" cy="163"/>
            </a:xfrm>
            <a:custGeom>
              <a:avLst/>
              <a:gdLst>
                <a:gd name="T0" fmla="*/ 256 w 342"/>
                <a:gd name="T1" fmla="*/ 96 h 245"/>
                <a:gd name="T2" fmla="*/ 246 w 342"/>
                <a:gd name="T3" fmla="*/ 32 h 245"/>
                <a:gd name="T4" fmla="*/ 203 w 342"/>
                <a:gd name="T5" fmla="*/ 0 h 245"/>
                <a:gd name="T6" fmla="*/ 32 w 342"/>
                <a:gd name="T7" fmla="*/ 32 h 245"/>
                <a:gd name="T8" fmla="*/ 22 w 342"/>
                <a:gd name="T9" fmla="*/ 74 h 245"/>
                <a:gd name="T10" fmla="*/ 0 w 342"/>
                <a:gd name="T11" fmla="*/ 85 h 245"/>
                <a:gd name="T12" fmla="*/ 22 w 342"/>
                <a:gd name="T13" fmla="*/ 96 h 245"/>
                <a:gd name="T14" fmla="*/ 11 w 342"/>
                <a:gd name="T15" fmla="*/ 117 h 245"/>
                <a:gd name="T16" fmla="*/ 11 w 342"/>
                <a:gd name="T17" fmla="*/ 138 h 245"/>
                <a:gd name="T18" fmla="*/ 22 w 342"/>
                <a:gd name="T19" fmla="*/ 213 h 245"/>
                <a:gd name="T20" fmla="*/ 56 w 342"/>
                <a:gd name="T21" fmla="*/ 224 h 245"/>
                <a:gd name="T22" fmla="*/ 116 w 342"/>
                <a:gd name="T23" fmla="*/ 224 h 245"/>
                <a:gd name="T24" fmla="*/ 267 w 342"/>
                <a:gd name="T25" fmla="*/ 245 h 245"/>
                <a:gd name="T26" fmla="*/ 331 w 342"/>
                <a:gd name="T27" fmla="*/ 224 h 245"/>
                <a:gd name="T28" fmla="*/ 342 w 342"/>
                <a:gd name="T29" fmla="*/ 128 h 245"/>
                <a:gd name="T30" fmla="*/ 203 w 342"/>
                <a:gd name="T31" fmla="*/ 21 h 245"/>
                <a:gd name="T32" fmla="*/ 192 w 342"/>
                <a:gd name="T33" fmla="*/ 32 h 245"/>
                <a:gd name="T34" fmla="*/ 43 w 342"/>
                <a:gd name="T35" fmla="*/ 96 h 245"/>
                <a:gd name="T36" fmla="*/ 64 w 342"/>
                <a:gd name="T37" fmla="*/ 117 h 245"/>
                <a:gd name="T38" fmla="*/ 43 w 342"/>
                <a:gd name="T39" fmla="*/ 96 h 245"/>
                <a:gd name="T40" fmla="*/ 107 w 342"/>
                <a:gd name="T41" fmla="*/ 117 h 245"/>
                <a:gd name="T42" fmla="*/ 86 w 342"/>
                <a:gd name="T43" fmla="*/ 96 h 245"/>
                <a:gd name="T44" fmla="*/ 150 w 342"/>
                <a:gd name="T45" fmla="*/ 96 h 245"/>
                <a:gd name="T46" fmla="*/ 128 w 342"/>
                <a:gd name="T47" fmla="*/ 117 h 245"/>
                <a:gd name="T48" fmla="*/ 150 w 342"/>
                <a:gd name="T49" fmla="*/ 96 h 245"/>
                <a:gd name="T50" fmla="*/ 192 w 342"/>
                <a:gd name="T51" fmla="*/ 117 h 245"/>
                <a:gd name="T52" fmla="*/ 171 w 342"/>
                <a:gd name="T53" fmla="*/ 96 h 245"/>
                <a:gd name="T54" fmla="*/ 43 w 342"/>
                <a:gd name="T55" fmla="*/ 138 h 245"/>
                <a:gd name="T56" fmla="*/ 224 w 342"/>
                <a:gd name="T57" fmla="*/ 128 h 245"/>
                <a:gd name="T58" fmla="*/ 214 w 342"/>
                <a:gd name="T59" fmla="*/ 96 h 245"/>
                <a:gd name="T60" fmla="*/ 214 w 342"/>
                <a:gd name="T61" fmla="*/ 74 h 245"/>
                <a:gd name="T62" fmla="*/ 43 w 342"/>
                <a:gd name="T63" fmla="*/ 53 h 245"/>
                <a:gd name="T64" fmla="*/ 235 w 342"/>
                <a:gd name="T65" fmla="*/ 202 h 245"/>
                <a:gd name="T66" fmla="*/ 86 w 342"/>
                <a:gd name="T67" fmla="*/ 181 h 245"/>
                <a:gd name="T68" fmla="*/ 43 w 342"/>
                <a:gd name="T69" fmla="*/ 202 h 245"/>
                <a:gd name="T70" fmla="*/ 86 w 342"/>
                <a:gd name="T71" fmla="*/ 224 h 245"/>
                <a:gd name="T72" fmla="*/ 86 w 342"/>
                <a:gd name="T73" fmla="*/ 202 h 245"/>
                <a:gd name="T74" fmla="*/ 86 w 342"/>
                <a:gd name="T75" fmla="*/ 224 h 245"/>
                <a:gd name="T76" fmla="*/ 256 w 342"/>
                <a:gd name="T77" fmla="*/ 213 h 245"/>
                <a:gd name="T78" fmla="*/ 278 w 342"/>
                <a:gd name="T79" fmla="*/ 213 h 245"/>
                <a:gd name="T80" fmla="*/ 320 w 342"/>
                <a:gd name="T81" fmla="*/ 202 h 245"/>
                <a:gd name="T82" fmla="*/ 267 w 342"/>
                <a:gd name="T83" fmla="*/ 181 h 245"/>
                <a:gd name="T84" fmla="*/ 256 w 342"/>
                <a:gd name="T85" fmla="*/ 117 h 245"/>
                <a:gd name="T86" fmla="*/ 320 w 342"/>
                <a:gd name="T87" fmla="*/ 12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2" h="245">
                  <a:moveTo>
                    <a:pt x="310" y="96"/>
                  </a:moveTo>
                  <a:cubicBezTo>
                    <a:pt x="256" y="96"/>
                    <a:pt x="256" y="96"/>
                    <a:pt x="256" y="96"/>
                  </a:cubicBezTo>
                  <a:cubicBezTo>
                    <a:pt x="256" y="42"/>
                    <a:pt x="256" y="42"/>
                    <a:pt x="256" y="42"/>
                  </a:cubicBezTo>
                  <a:cubicBezTo>
                    <a:pt x="256" y="36"/>
                    <a:pt x="252" y="32"/>
                    <a:pt x="246" y="32"/>
                  </a:cubicBezTo>
                  <a:cubicBezTo>
                    <a:pt x="235" y="32"/>
                    <a:pt x="235" y="32"/>
                    <a:pt x="235" y="32"/>
                  </a:cubicBezTo>
                  <a:cubicBezTo>
                    <a:pt x="235" y="14"/>
                    <a:pt x="221" y="0"/>
                    <a:pt x="203" y="0"/>
                  </a:cubicBezTo>
                  <a:cubicBezTo>
                    <a:pt x="185" y="0"/>
                    <a:pt x="171" y="14"/>
                    <a:pt x="171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6" y="32"/>
                    <a:pt x="22" y="36"/>
                    <a:pt x="22" y="42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5" y="74"/>
                    <a:pt x="0" y="79"/>
                    <a:pt x="0" y="85"/>
                  </a:cubicBezTo>
                  <a:cubicBezTo>
                    <a:pt x="0" y="91"/>
                    <a:pt x="5" y="96"/>
                    <a:pt x="1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134"/>
                    <a:pt x="5" y="138"/>
                    <a:pt x="11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2" y="219"/>
                    <a:pt x="26" y="224"/>
                    <a:pt x="32" y="224"/>
                  </a:cubicBezTo>
                  <a:cubicBezTo>
                    <a:pt x="56" y="224"/>
                    <a:pt x="56" y="224"/>
                    <a:pt x="56" y="224"/>
                  </a:cubicBezTo>
                  <a:cubicBezTo>
                    <a:pt x="60" y="236"/>
                    <a:pt x="72" y="245"/>
                    <a:pt x="86" y="245"/>
                  </a:cubicBezTo>
                  <a:cubicBezTo>
                    <a:pt x="100" y="245"/>
                    <a:pt x="111" y="236"/>
                    <a:pt x="116" y="224"/>
                  </a:cubicBezTo>
                  <a:cubicBezTo>
                    <a:pt x="237" y="224"/>
                    <a:pt x="237" y="224"/>
                    <a:pt x="237" y="224"/>
                  </a:cubicBezTo>
                  <a:cubicBezTo>
                    <a:pt x="241" y="236"/>
                    <a:pt x="253" y="245"/>
                    <a:pt x="267" y="245"/>
                  </a:cubicBezTo>
                  <a:cubicBezTo>
                    <a:pt x="281" y="245"/>
                    <a:pt x="293" y="236"/>
                    <a:pt x="297" y="224"/>
                  </a:cubicBezTo>
                  <a:cubicBezTo>
                    <a:pt x="331" y="224"/>
                    <a:pt x="331" y="224"/>
                    <a:pt x="331" y="224"/>
                  </a:cubicBezTo>
                  <a:cubicBezTo>
                    <a:pt x="337" y="224"/>
                    <a:pt x="342" y="219"/>
                    <a:pt x="342" y="213"/>
                  </a:cubicBezTo>
                  <a:cubicBezTo>
                    <a:pt x="342" y="128"/>
                    <a:pt x="342" y="128"/>
                    <a:pt x="342" y="128"/>
                  </a:cubicBezTo>
                  <a:cubicBezTo>
                    <a:pt x="342" y="110"/>
                    <a:pt x="327" y="96"/>
                    <a:pt x="310" y="96"/>
                  </a:cubicBezTo>
                  <a:close/>
                  <a:moveTo>
                    <a:pt x="203" y="21"/>
                  </a:moveTo>
                  <a:cubicBezTo>
                    <a:pt x="209" y="21"/>
                    <a:pt x="214" y="26"/>
                    <a:pt x="214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26"/>
                    <a:pt x="197" y="21"/>
                    <a:pt x="203" y="21"/>
                  </a:cubicBezTo>
                  <a:close/>
                  <a:moveTo>
                    <a:pt x="43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43" y="117"/>
                    <a:pt x="43" y="117"/>
                    <a:pt x="43" y="117"/>
                  </a:cubicBezTo>
                  <a:lnTo>
                    <a:pt x="43" y="96"/>
                  </a:lnTo>
                  <a:close/>
                  <a:moveTo>
                    <a:pt x="107" y="96"/>
                  </a:moveTo>
                  <a:cubicBezTo>
                    <a:pt x="107" y="117"/>
                    <a:pt x="107" y="117"/>
                    <a:pt x="107" y="117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6" y="96"/>
                    <a:pt x="86" y="96"/>
                    <a:pt x="86" y="96"/>
                  </a:cubicBezTo>
                  <a:lnTo>
                    <a:pt x="107" y="96"/>
                  </a:lnTo>
                  <a:close/>
                  <a:moveTo>
                    <a:pt x="150" y="96"/>
                  </a:moveTo>
                  <a:cubicBezTo>
                    <a:pt x="150" y="117"/>
                    <a:pt x="150" y="117"/>
                    <a:pt x="150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96"/>
                    <a:pt x="128" y="96"/>
                    <a:pt x="128" y="96"/>
                  </a:cubicBezTo>
                  <a:lnTo>
                    <a:pt x="150" y="96"/>
                  </a:lnTo>
                  <a:close/>
                  <a:moveTo>
                    <a:pt x="192" y="96"/>
                  </a:moveTo>
                  <a:cubicBezTo>
                    <a:pt x="192" y="117"/>
                    <a:pt x="192" y="117"/>
                    <a:pt x="192" y="117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171" y="96"/>
                    <a:pt x="171" y="96"/>
                    <a:pt x="171" y="96"/>
                  </a:cubicBezTo>
                  <a:lnTo>
                    <a:pt x="192" y="96"/>
                  </a:lnTo>
                  <a:close/>
                  <a:moveTo>
                    <a:pt x="43" y="138"/>
                  </a:moveTo>
                  <a:cubicBezTo>
                    <a:pt x="214" y="138"/>
                    <a:pt x="214" y="138"/>
                    <a:pt x="214" y="138"/>
                  </a:cubicBezTo>
                  <a:cubicBezTo>
                    <a:pt x="220" y="138"/>
                    <a:pt x="224" y="134"/>
                    <a:pt x="224" y="128"/>
                  </a:cubicBezTo>
                  <a:cubicBezTo>
                    <a:pt x="224" y="122"/>
                    <a:pt x="219" y="117"/>
                    <a:pt x="214" y="117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9" y="96"/>
                    <a:pt x="224" y="91"/>
                    <a:pt x="224" y="85"/>
                  </a:cubicBezTo>
                  <a:cubicBezTo>
                    <a:pt x="224" y="79"/>
                    <a:pt x="220" y="74"/>
                    <a:pt x="21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235" y="53"/>
                    <a:pt x="235" y="53"/>
                    <a:pt x="235" y="53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116" y="202"/>
                    <a:pt x="116" y="202"/>
                    <a:pt x="116" y="202"/>
                  </a:cubicBezTo>
                  <a:cubicBezTo>
                    <a:pt x="111" y="190"/>
                    <a:pt x="100" y="181"/>
                    <a:pt x="86" y="181"/>
                  </a:cubicBezTo>
                  <a:cubicBezTo>
                    <a:pt x="72" y="181"/>
                    <a:pt x="60" y="190"/>
                    <a:pt x="56" y="202"/>
                  </a:cubicBezTo>
                  <a:cubicBezTo>
                    <a:pt x="43" y="202"/>
                    <a:pt x="43" y="202"/>
                    <a:pt x="43" y="202"/>
                  </a:cubicBezTo>
                  <a:lnTo>
                    <a:pt x="43" y="138"/>
                  </a:lnTo>
                  <a:close/>
                  <a:moveTo>
                    <a:pt x="86" y="224"/>
                  </a:moveTo>
                  <a:cubicBezTo>
                    <a:pt x="80" y="224"/>
                    <a:pt x="75" y="219"/>
                    <a:pt x="75" y="213"/>
                  </a:cubicBezTo>
                  <a:cubicBezTo>
                    <a:pt x="75" y="207"/>
                    <a:pt x="80" y="202"/>
                    <a:pt x="86" y="202"/>
                  </a:cubicBezTo>
                  <a:cubicBezTo>
                    <a:pt x="92" y="202"/>
                    <a:pt x="96" y="207"/>
                    <a:pt x="96" y="213"/>
                  </a:cubicBezTo>
                  <a:cubicBezTo>
                    <a:pt x="96" y="219"/>
                    <a:pt x="92" y="224"/>
                    <a:pt x="86" y="224"/>
                  </a:cubicBezTo>
                  <a:close/>
                  <a:moveTo>
                    <a:pt x="267" y="224"/>
                  </a:moveTo>
                  <a:cubicBezTo>
                    <a:pt x="261" y="224"/>
                    <a:pt x="256" y="219"/>
                    <a:pt x="256" y="213"/>
                  </a:cubicBezTo>
                  <a:cubicBezTo>
                    <a:pt x="256" y="207"/>
                    <a:pt x="261" y="202"/>
                    <a:pt x="267" y="202"/>
                  </a:cubicBezTo>
                  <a:cubicBezTo>
                    <a:pt x="273" y="202"/>
                    <a:pt x="278" y="207"/>
                    <a:pt x="278" y="213"/>
                  </a:cubicBezTo>
                  <a:cubicBezTo>
                    <a:pt x="278" y="219"/>
                    <a:pt x="273" y="224"/>
                    <a:pt x="267" y="224"/>
                  </a:cubicBezTo>
                  <a:close/>
                  <a:moveTo>
                    <a:pt x="320" y="202"/>
                  </a:moveTo>
                  <a:cubicBezTo>
                    <a:pt x="297" y="202"/>
                    <a:pt x="297" y="202"/>
                    <a:pt x="297" y="202"/>
                  </a:cubicBezTo>
                  <a:cubicBezTo>
                    <a:pt x="293" y="190"/>
                    <a:pt x="281" y="181"/>
                    <a:pt x="267" y="181"/>
                  </a:cubicBezTo>
                  <a:cubicBezTo>
                    <a:pt x="263" y="181"/>
                    <a:pt x="260" y="182"/>
                    <a:pt x="256" y="183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310" y="117"/>
                    <a:pt x="310" y="117"/>
                    <a:pt x="310" y="117"/>
                  </a:cubicBezTo>
                  <a:cubicBezTo>
                    <a:pt x="316" y="117"/>
                    <a:pt x="320" y="122"/>
                    <a:pt x="320" y="128"/>
                  </a:cubicBezTo>
                  <a:lnTo>
                    <a:pt x="320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2" name="TextBox 231"/>
          <p:cNvSpPr txBox="1"/>
          <p:nvPr/>
        </p:nvSpPr>
        <p:spPr>
          <a:xfrm>
            <a:off x="1439565" y="333516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elescope</a:t>
            </a:r>
          </a:p>
        </p:txBody>
      </p:sp>
      <p:grpSp>
        <p:nvGrpSpPr>
          <p:cNvPr id="233" name="Group 423"/>
          <p:cNvGrpSpPr>
            <a:grpSpLocks noChangeAspect="1"/>
          </p:cNvGrpSpPr>
          <p:nvPr/>
        </p:nvGrpSpPr>
        <p:grpSpPr bwMode="auto">
          <a:xfrm>
            <a:off x="1926719" y="2919409"/>
            <a:ext cx="369676" cy="369676"/>
            <a:chOff x="4285" y="1550"/>
            <a:chExt cx="340" cy="340"/>
          </a:xfrm>
          <a:solidFill>
            <a:schemeClr val="accent5"/>
          </a:solidFill>
        </p:grpSpPr>
        <p:sp>
          <p:nvSpPr>
            <p:cNvPr id="234" name="Freeform 424"/>
            <p:cNvSpPr>
              <a:spLocks noEditPoints="1"/>
            </p:cNvSpPr>
            <p:nvPr/>
          </p:nvSpPr>
          <p:spPr bwMode="auto">
            <a:xfrm>
              <a:off x="4285" y="155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Freeform 425"/>
            <p:cNvSpPr>
              <a:spLocks noEditPoints="1"/>
            </p:cNvSpPr>
            <p:nvPr/>
          </p:nvSpPr>
          <p:spPr bwMode="auto">
            <a:xfrm>
              <a:off x="4354" y="1637"/>
              <a:ext cx="201" cy="189"/>
            </a:xfrm>
            <a:custGeom>
              <a:avLst/>
              <a:gdLst>
                <a:gd name="T0" fmla="*/ 302 w 303"/>
                <a:gd name="T1" fmla="*/ 91 h 285"/>
                <a:gd name="T2" fmla="*/ 279 w 303"/>
                <a:gd name="T3" fmla="*/ 8 h 285"/>
                <a:gd name="T4" fmla="*/ 274 w 303"/>
                <a:gd name="T5" fmla="*/ 2 h 285"/>
                <a:gd name="T6" fmla="*/ 266 w 303"/>
                <a:gd name="T7" fmla="*/ 1 h 285"/>
                <a:gd name="T8" fmla="*/ 225 w 303"/>
                <a:gd name="T9" fmla="*/ 12 h 285"/>
                <a:gd name="T10" fmla="*/ 218 w 303"/>
                <a:gd name="T11" fmla="*/ 25 h 285"/>
                <a:gd name="T12" fmla="*/ 135 w 303"/>
                <a:gd name="T13" fmla="*/ 48 h 285"/>
                <a:gd name="T14" fmla="*/ 128 w 303"/>
                <a:gd name="T15" fmla="*/ 57 h 285"/>
                <a:gd name="T16" fmla="*/ 24 w 303"/>
                <a:gd name="T17" fmla="*/ 85 h 285"/>
                <a:gd name="T18" fmla="*/ 22 w 303"/>
                <a:gd name="T19" fmla="*/ 78 h 285"/>
                <a:gd name="T20" fmla="*/ 9 w 303"/>
                <a:gd name="T21" fmla="*/ 71 h 285"/>
                <a:gd name="T22" fmla="*/ 2 w 303"/>
                <a:gd name="T23" fmla="*/ 84 h 285"/>
                <a:gd name="T24" fmla="*/ 24 w 303"/>
                <a:gd name="T25" fmla="*/ 166 h 285"/>
                <a:gd name="T26" fmla="*/ 34 w 303"/>
                <a:gd name="T27" fmla="*/ 174 h 285"/>
                <a:gd name="T28" fmla="*/ 37 w 303"/>
                <a:gd name="T29" fmla="*/ 174 h 285"/>
                <a:gd name="T30" fmla="*/ 45 w 303"/>
                <a:gd name="T31" fmla="*/ 161 h 285"/>
                <a:gd name="T32" fmla="*/ 43 w 303"/>
                <a:gd name="T33" fmla="*/ 154 h 285"/>
                <a:gd name="T34" fmla="*/ 43 w 303"/>
                <a:gd name="T35" fmla="*/ 154 h 285"/>
                <a:gd name="T36" fmla="*/ 139 w 303"/>
                <a:gd name="T37" fmla="*/ 128 h 285"/>
                <a:gd name="T38" fmla="*/ 88 w 303"/>
                <a:gd name="T39" fmla="*/ 270 h 285"/>
                <a:gd name="T40" fmla="*/ 95 w 303"/>
                <a:gd name="T41" fmla="*/ 284 h 285"/>
                <a:gd name="T42" fmla="*/ 98 w 303"/>
                <a:gd name="T43" fmla="*/ 285 h 285"/>
                <a:gd name="T44" fmla="*/ 108 w 303"/>
                <a:gd name="T45" fmla="*/ 278 h 285"/>
                <a:gd name="T46" fmla="*/ 141 w 303"/>
                <a:gd name="T47" fmla="*/ 186 h 285"/>
                <a:gd name="T48" fmla="*/ 141 w 303"/>
                <a:gd name="T49" fmla="*/ 274 h 285"/>
                <a:gd name="T50" fmla="*/ 152 w 303"/>
                <a:gd name="T51" fmla="*/ 285 h 285"/>
                <a:gd name="T52" fmla="*/ 162 w 303"/>
                <a:gd name="T53" fmla="*/ 274 h 285"/>
                <a:gd name="T54" fmla="*/ 162 w 303"/>
                <a:gd name="T55" fmla="*/ 186 h 285"/>
                <a:gd name="T56" fmla="*/ 195 w 303"/>
                <a:gd name="T57" fmla="*/ 278 h 285"/>
                <a:gd name="T58" fmla="*/ 205 w 303"/>
                <a:gd name="T59" fmla="*/ 285 h 285"/>
                <a:gd name="T60" fmla="*/ 209 w 303"/>
                <a:gd name="T61" fmla="*/ 284 h 285"/>
                <a:gd name="T62" fmla="*/ 215 w 303"/>
                <a:gd name="T63" fmla="*/ 270 h 285"/>
                <a:gd name="T64" fmla="*/ 164 w 303"/>
                <a:gd name="T65" fmla="*/ 128 h 285"/>
                <a:gd name="T66" fmla="*/ 240 w 303"/>
                <a:gd name="T67" fmla="*/ 107 h 285"/>
                <a:gd name="T68" fmla="*/ 240 w 303"/>
                <a:gd name="T69" fmla="*/ 107 h 285"/>
                <a:gd name="T70" fmla="*/ 250 w 303"/>
                <a:gd name="T71" fmla="*/ 115 h 285"/>
                <a:gd name="T72" fmla="*/ 253 w 303"/>
                <a:gd name="T73" fmla="*/ 115 h 285"/>
                <a:gd name="T74" fmla="*/ 294 w 303"/>
                <a:gd name="T75" fmla="*/ 104 h 285"/>
                <a:gd name="T76" fmla="*/ 301 w 303"/>
                <a:gd name="T77" fmla="*/ 99 h 285"/>
                <a:gd name="T78" fmla="*/ 302 w 303"/>
                <a:gd name="T79" fmla="*/ 91 h 285"/>
                <a:gd name="T80" fmla="*/ 40 w 303"/>
                <a:gd name="T81" fmla="*/ 103 h 285"/>
                <a:gd name="T82" fmla="*/ 132 w 303"/>
                <a:gd name="T83" fmla="*/ 78 h 285"/>
                <a:gd name="T84" fmla="*/ 140 w 303"/>
                <a:gd name="T85" fmla="*/ 105 h 285"/>
                <a:gd name="T86" fmla="*/ 47 w 303"/>
                <a:gd name="T87" fmla="*/ 131 h 285"/>
                <a:gd name="T88" fmla="*/ 40 w 303"/>
                <a:gd name="T89" fmla="*/ 103 h 285"/>
                <a:gd name="T90" fmla="*/ 162 w 303"/>
                <a:gd name="T91" fmla="*/ 106 h 285"/>
                <a:gd name="T92" fmla="*/ 151 w 303"/>
                <a:gd name="T93" fmla="*/ 65 h 285"/>
                <a:gd name="T94" fmla="*/ 223 w 303"/>
                <a:gd name="T95" fmla="*/ 46 h 285"/>
                <a:gd name="T96" fmla="*/ 229 w 303"/>
                <a:gd name="T97" fmla="*/ 66 h 285"/>
                <a:gd name="T98" fmla="*/ 234 w 303"/>
                <a:gd name="T99" fmla="*/ 87 h 285"/>
                <a:gd name="T100" fmla="*/ 162 w 303"/>
                <a:gd name="T101" fmla="*/ 106 h 285"/>
                <a:gd name="T102" fmla="*/ 258 w 303"/>
                <a:gd name="T103" fmla="*/ 91 h 285"/>
                <a:gd name="T104" fmla="*/ 241 w 303"/>
                <a:gd name="T105" fmla="*/ 30 h 285"/>
                <a:gd name="T106" fmla="*/ 262 w 303"/>
                <a:gd name="T107" fmla="*/ 24 h 285"/>
                <a:gd name="T108" fmla="*/ 278 w 303"/>
                <a:gd name="T109" fmla="*/ 86 h 285"/>
                <a:gd name="T110" fmla="*/ 258 w 303"/>
                <a:gd name="T111" fmla="*/ 9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3" h="285">
                  <a:moveTo>
                    <a:pt x="302" y="91"/>
                  </a:moveTo>
                  <a:cubicBezTo>
                    <a:pt x="279" y="8"/>
                    <a:pt x="279" y="8"/>
                    <a:pt x="279" y="8"/>
                  </a:cubicBezTo>
                  <a:cubicBezTo>
                    <a:pt x="279" y="5"/>
                    <a:pt x="277" y="3"/>
                    <a:pt x="274" y="2"/>
                  </a:cubicBezTo>
                  <a:cubicBezTo>
                    <a:pt x="272" y="0"/>
                    <a:pt x="269" y="0"/>
                    <a:pt x="266" y="1"/>
                  </a:cubicBezTo>
                  <a:cubicBezTo>
                    <a:pt x="225" y="12"/>
                    <a:pt x="225" y="12"/>
                    <a:pt x="225" y="12"/>
                  </a:cubicBezTo>
                  <a:cubicBezTo>
                    <a:pt x="219" y="14"/>
                    <a:pt x="216" y="19"/>
                    <a:pt x="218" y="25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1" y="49"/>
                    <a:pt x="128" y="53"/>
                    <a:pt x="128" y="57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1" y="73"/>
                    <a:pt x="15" y="69"/>
                    <a:pt x="9" y="71"/>
                  </a:cubicBezTo>
                  <a:cubicBezTo>
                    <a:pt x="3" y="73"/>
                    <a:pt x="0" y="78"/>
                    <a:pt x="2" y="84"/>
                  </a:cubicBezTo>
                  <a:cubicBezTo>
                    <a:pt x="24" y="166"/>
                    <a:pt x="24" y="166"/>
                    <a:pt x="24" y="166"/>
                  </a:cubicBezTo>
                  <a:cubicBezTo>
                    <a:pt x="25" y="171"/>
                    <a:pt x="30" y="174"/>
                    <a:pt x="34" y="174"/>
                  </a:cubicBezTo>
                  <a:cubicBezTo>
                    <a:pt x="35" y="174"/>
                    <a:pt x="36" y="174"/>
                    <a:pt x="37" y="174"/>
                  </a:cubicBezTo>
                  <a:cubicBezTo>
                    <a:pt x="43" y="172"/>
                    <a:pt x="46" y="167"/>
                    <a:pt x="45" y="161"/>
                  </a:cubicBezTo>
                  <a:cubicBezTo>
                    <a:pt x="43" y="154"/>
                    <a:pt x="43" y="154"/>
                    <a:pt x="43" y="154"/>
                  </a:cubicBezTo>
                  <a:cubicBezTo>
                    <a:pt x="43" y="154"/>
                    <a:pt x="43" y="154"/>
                    <a:pt x="43" y="154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88" y="270"/>
                    <a:pt x="88" y="270"/>
                    <a:pt x="88" y="270"/>
                  </a:cubicBezTo>
                  <a:cubicBezTo>
                    <a:pt x="86" y="276"/>
                    <a:pt x="89" y="282"/>
                    <a:pt x="95" y="284"/>
                  </a:cubicBezTo>
                  <a:cubicBezTo>
                    <a:pt x="96" y="284"/>
                    <a:pt x="97" y="285"/>
                    <a:pt x="98" y="285"/>
                  </a:cubicBezTo>
                  <a:cubicBezTo>
                    <a:pt x="103" y="285"/>
                    <a:pt x="107" y="282"/>
                    <a:pt x="108" y="278"/>
                  </a:cubicBezTo>
                  <a:cubicBezTo>
                    <a:pt x="141" y="186"/>
                    <a:pt x="141" y="186"/>
                    <a:pt x="141" y="186"/>
                  </a:cubicBezTo>
                  <a:cubicBezTo>
                    <a:pt x="141" y="274"/>
                    <a:pt x="141" y="274"/>
                    <a:pt x="141" y="274"/>
                  </a:cubicBezTo>
                  <a:cubicBezTo>
                    <a:pt x="141" y="280"/>
                    <a:pt x="146" y="285"/>
                    <a:pt x="152" y="285"/>
                  </a:cubicBezTo>
                  <a:cubicBezTo>
                    <a:pt x="158" y="285"/>
                    <a:pt x="162" y="280"/>
                    <a:pt x="162" y="274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95" y="278"/>
                    <a:pt x="195" y="278"/>
                    <a:pt x="195" y="278"/>
                  </a:cubicBezTo>
                  <a:cubicBezTo>
                    <a:pt x="197" y="282"/>
                    <a:pt x="201" y="285"/>
                    <a:pt x="205" y="285"/>
                  </a:cubicBezTo>
                  <a:cubicBezTo>
                    <a:pt x="206" y="285"/>
                    <a:pt x="207" y="284"/>
                    <a:pt x="209" y="284"/>
                  </a:cubicBezTo>
                  <a:cubicBezTo>
                    <a:pt x="214" y="282"/>
                    <a:pt x="217" y="276"/>
                    <a:pt x="215" y="270"/>
                  </a:cubicBezTo>
                  <a:cubicBezTo>
                    <a:pt x="164" y="128"/>
                    <a:pt x="164" y="128"/>
                    <a:pt x="164" y="128"/>
                  </a:cubicBezTo>
                  <a:cubicBezTo>
                    <a:pt x="240" y="107"/>
                    <a:pt x="240" y="107"/>
                    <a:pt x="240" y="107"/>
                  </a:cubicBezTo>
                  <a:cubicBezTo>
                    <a:pt x="240" y="107"/>
                    <a:pt x="240" y="107"/>
                    <a:pt x="240" y="107"/>
                  </a:cubicBezTo>
                  <a:cubicBezTo>
                    <a:pt x="241" y="112"/>
                    <a:pt x="246" y="115"/>
                    <a:pt x="250" y="115"/>
                  </a:cubicBezTo>
                  <a:cubicBezTo>
                    <a:pt x="251" y="115"/>
                    <a:pt x="252" y="115"/>
                    <a:pt x="253" y="115"/>
                  </a:cubicBezTo>
                  <a:cubicBezTo>
                    <a:pt x="294" y="104"/>
                    <a:pt x="294" y="104"/>
                    <a:pt x="294" y="104"/>
                  </a:cubicBezTo>
                  <a:cubicBezTo>
                    <a:pt x="297" y="103"/>
                    <a:pt x="299" y="101"/>
                    <a:pt x="301" y="99"/>
                  </a:cubicBezTo>
                  <a:cubicBezTo>
                    <a:pt x="302" y="96"/>
                    <a:pt x="303" y="93"/>
                    <a:pt x="302" y="91"/>
                  </a:cubicBezTo>
                  <a:close/>
                  <a:moveTo>
                    <a:pt x="40" y="103"/>
                  </a:moveTo>
                  <a:cubicBezTo>
                    <a:pt x="132" y="78"/>
                    <a:pt x="132" y="78"/>
                    <a:pt x="132" y="7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47" y="131"/>
                    <a:pt x="47" y="131"/>
                    <a:pt x="47" y="131"/>
                  </a:cubicBezTo>
                  <a:lnTo>
                    <a:pt x="40" y="103"/>
                  </a:lnTo>
                  <a:close/>
                  <a:moveTo>
                    <a:pt x="162" y="106"/>
                  </a:moveTo>
                  <a:cubicBezTo>
                    <a:pt x="151" y="65"/>
                    <a:pt x="151" y="65"/>
                    <a:pt x="151" y="65"/>
                  </a:cubicBezTo>
                  <a:cubicBezTo>
                    <a:pt x="223" y="46"/>
                    <a:pt x="223" y="46"/>
                    <a:pt x="223" y="46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34" y="87"/>
                    <a:pt x="234" y="87"/>
                    <a:pt x="234" y="87"/>
                  </a:cubicBezTo>
                  <a:lnTo>
                    <a:pt x="162" y="106"/>
                  </a:lnTo>
                  <a:close/>
                  <a:moveTo>
                    <a:pt x="258" y="91"/>
                  </a:moveTo>
                  <a:cubicBezTo>
                    <a:pt x="241" y="30"/>
                    <a:pt x="241" y="30"/>
                    <a:pt x="241" y="30"/>
                  </a:cubicBezTo>
                  <a:cubicBezTo>
                    <a:pt x="262" y="24"/>
                    <a:pt x="262" y="24"/>
                    <a:pt x="262" y="24"/>
                  </a:cubicBezTo>
                  <a:cubicBezTo>
                    <a:pt x="278" y="86"/>
                    <a:pt x="278" y="86"/>
                    <a:pt x="278" y="86"/>
                  </a:cubicBezTo>
                  <a:lnTo>
                    <a:pt x="258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6" name="Freeform 429"/>
          <p:cNvSpPr>
            <a:spLocks noChangeAspect="1" noEditPoints="1"/>
          </p:cNvSpPr>
          <p:nvPr/>
        </p:nvSpPr>
        <p:spPr bwMode="auto">
          <a:xfrm>
            <a:off x="1428147" y="2919409"/>
            <a:ext cx="369676" cy="369676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7" name="Freeform 481"/>
          <p:cNvSpPr>
            <a:spLocks noChangeAspect="1" noEditPoints="1"/>
          </p:cNvSpPr>
          <p:nvPr/>
        </p:nvSpPr>
        <p:spPr bwMode="auto">
          <a:xfrm>
            <a:off x="7400744" y="3738096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20 h 512"/>
              <a:gd name="T12" fmla="*/ 128 w 512"/>
              <a:gd name="T13" fmla="*/ 320 h 512"/>
              <a:gd name="T14" fmla="*/ 117 w 512"/>
              <a:gd name="T15" fmla="*/ 309 h 512"/>
              <a:gd name="T16" fmla="*/ 128 w 512"/>
              <a:gd name="T17" fmla="*/ 298 h 512"/>
              <a:gd name="T18" fmla="*/ 384 w 512"/>
              <a:gd name="T19" fmla="*/ 298 h 512"/>
              <a:gd name="T20" fmla="*/ 394 w 512"/>
              <a:gd name="T21" fmla="*/ 309 h 512"/>
              <a:gd name="T22" fmla="*/ 384 w 512"/>
              <a:gd name="T23" fmla="*/ 320 h 512"/>
              <a:gd name="T24" fmla="*/ 384 w 512"/>
              <a:gd name="T25" fmla="*/ 213 h 512"/>
              <a:gd name="T26" fmla="*/ 128 w 512"/>
              <a:gd name="T27" fmla="*/ 213 h 512"/>
              <a:gd name="T28" fmla="*/ 117 w 512"/>
              <a:gd name="T29" fmla="*/ 202 h 512"/>
              <a:gd name="T30" fmla="*/ 128 w 512"/>
              <a:gd name="T31" fmla="*/ 192 h 512"/>
              <a:gd name="T32" fmla="*/ 384 w 512"/>
              <a:gd name="T33" fmla="*/ 192 h 512"/>
              <a:gd name="T34" fmla="*/ 394 w 512"/>
              <a:gd name="T35" fmla="*/ 202 h 512"/>
              <a:gd name="T36" fmla="*/ 384 w 512"/>
              <a:gd name="T37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20"/>
                </a:moveTo>
                <a:cubicBezTo>
                  <a:pt x="128" y="320"/>
                  <a:pt x="128" y="320"/>
                  <a:pt x="128" y="320"/>
                </a:cubicBezTo>
                <a:cubicBezTo>
                  <a:pt x="122" y="320"/>
                  <a:pt x="117" y="315"/>
                  <a:pt x="117" y="309"/>
                </a:cubicBezTo>
                <a:cubicBezTo>
                  <a:pt x="117" y="303"/>
                  <a:pt x="122" y="298"/>
                  <a:pt x="128" y="298"/>
                </a:cubicBezTo>
                <a:cubicBezTo>
                  <a:pt x="384" y="298"/>
                  <a:pt x="384" y="298"/>
                  <a:pt x="384" y="298"/>
                </a:cubicBezTo>
                <a:cubicBezTo>
                  <a:pt x="390" y="298"/>
                  <a:pt x="394" y="303"/>
                  <a:pt x="394" y="309"/>
                </a:cubicBezTo>
                <a:cubicBezTo>
                  <a:pt x="394" y="315"/>
                  <a:pt x="390" y="320"/>
                  <a:pt x="384" y="320"/>
                </a:cubicBezTo>
                <a:close/>
                <a:moveTo>
                  <a:pt x="384" y="213"/>
                </a:moveTo>
                <a:cubicBezTo>
                  <a:pt x="128" y="213"/>
                  <a:pt x="128" y="213"/>
                  <a:pt x="128" y="213"/>
                </a:cubicBezTo>
                <a:cubicBezTo>
                  <a:pt x="122" y="213"/>
                  <a:pt x="117" y="208"/>
                  <a:pt x="117" y="202"/>
                </a:cubicBezTo>
                <a:cubicBezTo>
                  <a:pt x="117" y="196"/>
                  <a:pt x="122" y="192"/>
                  <a:pt x="128" y="192"/>
                </a:cubicBezTo>
                <a:cubicBezTo>
                  <a:pt x="384" y="192"/>
                  <a:pt x="384" y="192"/>
                  <a:pt x="384" y="192"/>
                </a:cubicBezTo>
                <a:cubicBezTo>
                  <a:pt x="390" y="192"/>
                  <a:pt x="394" y="196"/>
                  <a:pt x="394" y="202"/>
                </a:cubicBezTo>
                <a:cubicBezTo>
                  <a:pt x="394" y="208"/>
                  <a:pt x="390" y="213"/>
                  <a:pt x="384" y="21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38" name="Group 484"/>
          <p:cNvGrpSpPr>
            <a:grpSpLocks noChangeAspect="1"/>
          </p:cNvGrpSpPr>
          <p:nvPr/>
        </p:nvGrpSpPr>
        <p:grpSpPr bwMode="auto">
          <a:xfrm>
            <a:off x="7897866" y="3738096"/>
            <a:ext cx="367631" cy="367631"/>
            <a:chOff x="399" y="1990"/>
            <a:chExt cx="340" cy="340"/>
          </a:xfrm>
          <a:solidFill>
            <a:schemeClr val="accent6"/>
          </a:solidFill>
        </p:grpSpPr>
        <p:sp>
          <p:nvSpPr>
            <p:cNvPr id="239" name="Freeform 485"/>
            <p:cNvSpPr>
              <a:spLocks noEditPoints="1"/>
            </p:cNvSpPr>
            <p:nvPr/>
          </p:nvSpPr>
          <p:spPr bwMode="auto">
            <a:xfrm>
              <a:off x="477" y="2117"/>
              <a:ext cx="184" cy="85"/>
            </a:xfrm>
            <a:custGeom>
              <a:avLst/>
              <a:gdLst>
                <a:gd name="T0" fmla="*/ 277 w 277"/>
                <a:gd name="T1" fmla="*/ 117 h 128"/>
                <a:gd name="T2" fmla="*/ 267 w 277"/>
                <a:gd name="T3" fmla="*/ 128 h 128"/>
                <a:gd name="T4" fmla="*/ 11 w 277"/>
                <a:gd name="T5" fmla="*/ 128 h 128"/>
                <a:gd name="T6" fmla="*/ 0 w 277"/>
                <a:gd name="T7" fmla="*/ 117 h 128"/>
                <a:gd name="T8" fmla="*/ 11 w 277"/>
                <a:gd name="T9" fmla="*/ 106 h 128"/>
                <a:gd name="T10" fmla="*/ 267 w 277"/>
                <a:gd name="T11" fmla="*/ 106 h 128"/>
                <a:gd name="T12" fmla="*/ 277 w 277"/>
                <a:gd name="T13" fmla="*/ 117 h 128"/>
                <a:gd name="T14" fmla="*/ 11 w 277"/>
                <a:gd name="T15" fmla="*/ 21 h 128"/>
                <a:gd name="T16" fmla="*/ 267 w 277"/>
                <a:gd name="T17" fmla="*/ 21 h 128"/>
                <a:gd name="T18" fmla="*/ 277 w 277"/>
                <a:gd name="T19" fmla="*/ 10 h 128"/>
                <a:gd name="T20" fmla="*/ 267 w 277"/>
                <a:gd name="T21" fmla="*/ 0 h 128"/>
                <a:gd name="T22" fmla="*/ 11 w 277"/>
                <a:gd name="T23" fmla="*/ 0 h 128"/>
                <a:gd name="T24" fmla="*/ 0 w 277"/>
                <a:gd name="T25" fmla="*/ 10 h 128"/>
                <a:gd name="T26" fmla="*/ 11 w 277"/>
                <a:gd name="T27" fmla="*/ 2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28">
                  <a:moveTo>
                    <a:pt x="277" y="117"/>
                  </a:moveTo>
                  <a:cubicBezTo>
                    <a:pt x="277" y="123"/>
                    <a:pt x="273" y="128"/>
                    <a:pt x="267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5" y="128"/>
                    <a:pt x="0" y="123"/>
                    <a:pt x="0" y="117"/>
                  </a:cubicBezTo>
                  <a:cubicBezTo>
                    <a:pt x="0" y="111"/>
                    <a:pt x="5" y="106"/>
                    <a:pt x="11" y="106"/>
                  </a:cubicBezTo>
                  <a:cubicBezTo>
                    <a:pt x="267" y="106"/>
                    <a:pt x="267" y="106"/>
                    <a:pt x="267" y="106"/>
                  </a:cubicBezTo>
                  <a:cubicBezTo>
                    <a:pt x="273" y="106"/>
                    <a:pt x="277" y="111"/>
                    <a:pt x="277" y="117"/>
                  </a:cubicBezTo>
                  <a:close/>
                  <a:moveTo>
                    <a:pt x="11" y="21"/>
                  </a:move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6"/>
                    <a:pt x="277" y="10"/>
                  </a:cubicBezTo>
                  <a:cubicBezTo>
                    <a:pt x="277" y="4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0" name="Freeform 486"/>
            <p:cNvSpPr>
              <a:spLocks noEditPoints="1"/>
            </p:cNvSpPr>
            <p:nvPr/>
          </p:nvSpPr>
          <p:spPr bwMode="auto">
            <a:xfrm>
              <a:off x="399" y="199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1" name="Freeform 490"/>
          <p:cNvSpPr>
            <a:spLocks noChangeAspect="1" noEditPoints="1"/>
          </p:cNvSpPr>
          <p:nvPr/>
        </p:nvSpPr>
        <p:spPr bwMode="auto">
          <a:xfrm>
            <a:off x="8394988" y="3738093"/>
            <a:ext cx="367631" cy="368712"/>
          </a:xfrm>
          <a:custGeom>
            <a:avLst/>
            <a:gdLst>
              <a:gd name="T0" fmla="*/ 314 w 512"/>
              <a:gd name="T1" fmla="*/ 158 h 512"/>
              <a:gd name="T2" fmla="*/ 358 w 512"/>
              <a:gd name="T3" fmla="*/ 202 h 512"/>
              <a:gd name="T4" fmla="*/ 277 w 512"/>
              <a:gd name="T5" fmla="*/ 283 h 512"/>
              <a:gd name="T6" fmla="*/ 233 w 512"/>
              <a:gd name="T7" fmla="*/ 239 h 512"/>
              <a:gd name="T8" fmla="*/ 314 w 512"/>
              <a:gd name="T9" fmla="*/ 158 h 512"/>
              <a:gd name="T10" fmla="*/ 153 w 512"/>
              <a:gd name="T11" fmla="*/ 319 h 512"/>
              <a:gd name="T12" fmla="*/ 185 w 512"/>
              <a:gd name="T13" fmla="*/ 352 h 512"/>
              <a:gd name="T14" fmla="*/ 209 w 512"/>
              <a:gd name="T15" fmla="*/ 352 h 512"/>
              <a:gd name="T16" fmla="*/ 262 w 512"/>
              <a:gd name="T17" fmla="*/ 298 h 512"/>
              <a:gd name="T18" fmla="*/ 218 w 512"/>
              <a:gd name="T19" fmla="*/ 254 h 512"/>
              <a:gd name="T20" fmla="*/ 153 w 512"/>
              <a:gd name="T21" fmla="*/ 319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84 w 512"/>
              <a:gd name="T33" fmla="*/ 202 h 512"/>
              <a:gd name="T34" fmla="*/ 381 w 512"/>
              <a:gd name="T35" fmla="*/ 195 h 512"/>
              <a:gd name="T36" fmla="*/ 321 w 512"/>
              <a:gd name="T37" fmla="*/ 136 h 512"/>
              <a:gd name="T38" fmla="*/ 306 w 512"/>
              <a:gd name="T39" fmla="*/ 136 h 512"/>
              <a:gd name="T40" fmla="*/ 131 w 512"/>
              <a:gd name="T41" fmla="*/ 311 h 512"/>
              <a:gd name="T42" fmla="*/ 131 w 512"/>
              <a:gd name="T43" fmla="*/ 326 h 512"/>
              <a:gd name="T44" fmla="*/ 173 w 512"/>
              <a:gd name="T45" fmla="*/ 370 h 512"/>
              <a:gd name="T46" fmla="*/ 173 w 512"/>
              <a:gd name="T47" fmla="*/ 370 h 512"/>
              <a:gd name="T48" fmla="*/ 177 w 512"/>
              <a:gd name="T49" fmla="*/ 372 h 512"/>
              <a:gd name="T50" fmla="*/ 181 w 512"/>
              <a:gd name="T51" fmla="*/ 373 h 512"/>
              <a:gd name="T52" fmla="*/ 213 w 512"/>
              <a:gd name="T53" fmla="*/ 373 h 512"/>
              <a:gd name="T54" fmla="*/ 352 w 512"/>
              <a:gd name="T55" fmla="*/ 373 h 512"/>
              <a:gd name="T56" fmla="*/ 362 w 512"/>
              <a:gd name="T57" fmla="*/ 362 h 512"/>
              <a:gd name="T58" fmla="*/ 352 w 512"/>
              <a:gd name="T59" fmla="*/ 352 h 512"/>
              <a:gd name="T60" fmla="*/ 239 w 512"/>
              <a:gd name="T61" fmla="*/ 352 h 512"/>
              <a:gd name="T62" fmla="*/ 381 w 512"/>
              <a:gd name="T63" fmla="*/ 210 h 512"/>
              <a:gd name="T64" fmla="*/ 384 w 512"/>
              <a:gd name="T6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14" y="158"/>
                </a:moveTo>
                <a:cubicBezTo>
                  <a:pt x="358" y="202"/>
                  <a:pt x="358" y="202"/>
                  <a:pt x="358" y="202"/>
                </a:cubicBezTo>
                <a:cubicBezTo>
                  <a:pt x="277" y="283"/>
                  <a:pt x="277" y="283"/>
                  <a:pt x="277" y="283"/>
                </a:cubicBezTo>
                <a:cubicBezTo>
                  <a:pt x="233" y="239"/>
                  <a:pt x="233" y="239"/>
                  <a:pt x="233" y="239"/>
                </a:cubicBezTo>
                <a:lnTo>
                  <a:pt x="314" y="158"/>
                </a:lnTo>
                <a:close/>
                <a:moveTo>
                  <a:pt x="153" y="319"/>
                </a:moveTo>
                <a:cubicBezTo>
                  <a:pt x="185" y="352"/>
                  <a:pt x="185" y="352"/>
                  <a:pt x="185" y="352"/>
                </a:cubicBezTo>
                <a:cubicBezTo>
                  <a:pt x="209" y="352"/>
                  <a:pt x="209" y="352"/>
                  <a:pt x="209" y="352"/>
                </a:cubicBezTo>
                <a:cubicBezTo>
                  <a:pt x="262" y="298"/>
                  <a:pt x="262" y="298"/>
                  <a:pt x="262" y="298"/>
                </a:cubicBezTo>
                <a:cubicBezTo>
                  <a:pt x="218" y="254"/>
                  <a:pt x="218" y="254"/>
                  <a:pt x="218" y="254"/>
                </a:cubicBezTo>
                <a:lnTo>
                  <a:pt x="153" y="31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02"/>
                </a:moveTo>
                <a:cubicBezTo>
                  <a:pt x="384" y="199"/>
                  <a:pt x="383" y="197"/>
                  <a:pt x="381" y="195"/>
                </a:cubicBezTo>
                <a:cubicBezTo>
                  <a:pt x="321" y="136"/>
                  <a:pt x="321" y="136"/>
                  <a:pt x="321" y="136"/>
                </a:cubicBezTo>
                <a:cubicBezTo>
                  <a:pt x="317" y="132"/>
                  <a:pt x="311" y="132"/>
                  <a:pt x="306" y="136"/>
                </a:cubicBezTo>
                <a:cubicBezTo>
                  <a:pt x="131" y="311"/>
                  <a:pt x="131" y="311"/>
                  <a:pt x="131" y="311"/>
                </a:cubicBezTo>
                <a:cubicBezTo>
                  <a:pt x="127" y="316"/>
                  <a:pt x="127" y="322"/>
                  <a:pt x="131" y="326"/>
                </a:cubicBezTo>
                <a:cubicBezTo>
                  <a:pt x="173" y="370"/>
                  <a:pt x="173" y="370"/>
                  <a:pt x="173" y="370"/>
                </a:cubicBezTo>
                <a:cubicBezTo>
                  <a:pt x="173" y="370"/>
                  <a:pt x="173" y="370"/>
                  <a:pt x="173" y="370"/>
                </a:cubicBezTo>
                <a:cubicBezTo>
                  <a:pt x="174" y="371"/>
                  <a:pt x="176" y="372"/>
                  <a:pt x="177" y="372"/>
                </a:cubicBezTo>
                <a:cubicBezTo>
                  <a:pt x="178" y="373"/>
                  <a:pt x="180" y="373"/>
                  <a:pt x="181" y="373"/>
                </a:cubicBezTo>
                <a:cubicBezTo>
                  <a:pt x="213" y="373"/>
                  <a:pt x="213" y="373"/>
                  <a:pt x="213" y="373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358" y="373"/>
                  <a:pt x="362" y="368"/>
                  <a:pt x="362" y="362"/>
                </a:cubicBezTo>
                <a:cubicBezTo>
                  <a:pt x="362" y="356"/>
                  <a:pt x="358" y="352"/>
                  <a:pt x="352" y="352"/>
                </a:cubicBezTo>
                <a:cubicBezTo>
                  <a:pt x="239" y="352"/>
                  <a:pt x="239" y="352"/>
                  <a:pt x="239" y="352"/>
                </a:cubicBezTo>
                <a:cubicBezTo>
                  <a:pt x="381" y="210"/>
                  <a:pt x="381" y="210"/>
                  <a:pt x="381" y="210"/>
                </a:cubicBezTo>
                <a:cubicBezTo>
                  <a:pt x="383" y="208"/>
                  <a:pt x="384" y="205"/>
                  <a:pt x="384" y="20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2" name="Group 493"/>
          <p:cNvGrpSpPr>
            <a:grpSpLocks noChangeAspect="1"/>
          </p:cNvGrpSpPr>
          <p:nvPr/>
        </p:nvGrpSpPr>
        <p:grpSpPr bwMode="auto">
          <a:xfrm>
            <a:off x="8892110" y="3738096"/>
            <a:ext cx="367631" cy="367631"/>
            <a:chOff x="1195" y="2027"/>
            <a:chExt cx="340" cy="340"/>
          </a:xfrm>
          <a:solidFill>
            <a:schemeClr val="accent6"/>
          </a:solidFill>
        </p:grpSpPr>
        <p:sp>
          <p:nvSpPr>
            <p:cNvPr id="243" name="Freeform 494"/>
            <p:cNvSpPr>
              <a:spLocks noEditPoints="1"/>
            </p:cNvSpPr>
            <p:nvPr/>
          </p:nvSpPr>
          <p:spPr bwMode="auto">
            <a:xfrm>
              <a:off x="1195" y="202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Freeform 495"/>
            <p:cNvSpPr>
              <a:spLocks noEditPoints="1"/>
            </p:cNvSpPr>
            <p:nvPr/>
          </p:nvSpPr>
          <p:spPr bwMode="auto">
            <a:xfrm>
              <a:off x="1279" y="2115"/>
              <a:ext cx="171" cy="160"/>
            </a:xfrm>
            <a:custGeom>
              <a:avLst/>
              <a:gdLst>
                <a:gd name="T0" fmla="*/ 254 w 257"/>
                <a:gd name="T1" fmla="*/ 78 h 241"/>
                <a:gd name="T2" fmla="*/ 257 w 257"/>
                <a:gd name="T3" fmla="*/ 70 h 241"/>
                <a:gd name="T4" fmla="*/ 254 w 257"/>
                <a:gd name="T5" fmla="*/ 63 h 241"/>
                <a:gd name="T6" fmla="*/ 194 w 257"/>
                <a:gd name="T7" fmla="*/ 4 h 241"/>
                <a:gd name="T8" fmla="*/ 179 w 257"/>
                <a:gd name="T9" fmla="*/ 4 h 241"/>
                <a:gd name="T10" fmla="*/ 4 w 257"/>
                <a:gd name="T11" fmla="*/ 179 h 241"/>
                <a:gd name="T12" fmla="*/ 4 w 257"/>
                <a:gd name="T13" fmla="*/ 194 h 241"/>
                <a:gd name="T14" fmla="*/ 46 w 257"/>
                <a:gd name="T15" fmla="*/ 238 h 241"/>
                <a:gd name="T16" fmla="*/ 46 w 257"/>
                <a:gd name="T17" fmla="*/ 238 h 241"/>
                <a:gd name="T18" fmla="*/ 50 w 257"/>
                <a:gd name="T19" fmla="*/ 240 h 241"/>
                <a:gd name="T20" fmla="*/ 54 w 257"/>
                <a:gd name="T21" fmla="*/ 241 h 241"/>
                <a:gd name="T22" fmla="*/ 86 w 257"/>
                <a:gd name="T23" fmla="*/ 241 h 241"/>
                <a:gd name="T24" fmla="*/ 225 w 257"/>
                <a:gd name="T25" fmla="*/ 241 h 241"/>
                <a:gd name="T26" fmla="*/ 235 w 257"/>
                <a:gd name="T27" fmla="*/ 230 h 241"/>
                <a:gd name="T28" fmla="*/ 225 w 257"/>
                <a:gd name="T29" fmla="*/ 220 h 241"/>
                <a:gd name="T30" fmla="*/ 112 w 257"/>
                <a:gd name="T31" fmla="*/ 220 h 241"/>
                <a:gd name="T32" fmla="*/ 254 w 257"/>
                <a:gd name="T33" fmla="*/ 78 h 241"/>
                <a:gd name="T34" fmla="*/ 187 w 257"/>
                <a:gd name="T35" fmla="*/ 26 h 241"/>
                <a:gd name="T36" fmla="*/ 231 w 257"/>
                <a:gd name="T37" fmla="*/ 70 h 241"/>
                <a:gd name="T38" fmla="*/ 150 w 257"/>
                <a:gd name="T39" fmla="*/ 151 h 241"/>
                <a:gd name="T40" fmla="*/ 106 w 257"/>
                <a:gd name="T41" fmla="*/ 107 h 241"/>
                <a:gd name="T42" fmla="*/ 187 w 257"/>
                <a:gd name="T43" fmla="*/ 26 h 241"/>
                <a:gd name="T44" fmla="*/ 58 w 257"/>
                <a:gd name="T45" fmla="*/ 220 h 241"/>
                <a:gd name="T46" fmla="*/ 26 w 257"/>
                <a:gd name="T47" fmla="*/ 187 h 241"/>
                <a:gd name="T48" fmla="*/ 91 w 257"/>
                <a:gd name="T49" fmla="*/ 122 h 241"/>
                <a:gd name="T50" fmla="*/ 135 w 257"/>
                <a:gd name="T51" fmla="*/ 166 h 241"/>
                <a:gd name="T52" fmla="*/ 82 w 257"/>
                <a:gd name="T53" fmla="*/ 220 h 241"/>
                <a:gd name="T54" fmla="*/ 58 w 257"/>
                <a:gd name="T55" fmla="*/ 22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7" h="241">
                  <a:moveTo>
                    <a:pt x="254" y="78"/>
                  </a:moveTo>
                  <a:cubicBezTo>
                    <a:pt x="256" y="76"/>
                    <a:pt x="257" y="73"/>
                    <a:pt x="257" y="70"/>
                  </a:cubicBezTo>
                  <a:cubicBezTo>
                    <a:pt x="257" y="67"/>
                    <a:pt x="256" y="65"/>
                    <a:pt x="254" y="63"/>
                  </a:cubicBezTo>
                  <a:cubicBezTo>
                    <a:pt x="194" y="4"/>
                    <a:pt x="194" y="4"/>
                    <a:pt x="194" y="4"/>
                  </a:cubicBezTo>
                  <a:cubicBezTo>
                    <a:pt x="190" y="0"/>
                    <a:pt x="184" y="0"/>
                    <a:pt x="179" y="4"/>
                  </a:cubicBezTo>
                  <a:cubicBezTo>
                    <a:pt x="4" y="179"/>
                    <a:pt x="4" y="179"/>
                    <a:pt x="4" y="179"/>
                  </a:cubicBezTo>
                  <a:cubicBezTo>
                    <a:pt x="0" y="184"/>
                    <a:pt x="0" y="190"/>
                    <a:pt x="4" y="194"/>
                  </a:cubicBezTo>
                  <a:cubicBezTo>
                    <a:pt x="46" y="238"/>
                    <a:pt x="46" y="238"/>
                    <a:pt x="46" y="238"/>
                  </a:cubicBezTo>
                  <a:cubicBezTo>
                    <a:pt x="46" y="238"/>
                    <a:pt x="46" y="238"/>
                    <a:pt x="46" y="238"/>
                  </a:cubicBezTo>
                  <a:cubicBezTo>
                    <a:pt x="47" y="239"/>
                    <a:pt x="49" y="240"/>
                    <a:pt x="50" y="240"/>
                  </a:cubicBezTo>
                  <a:cubicBezTo>
                    <a:pt x="51" y="241"/>
                    <a:pt x="53" y="241"/>
                    <a:pt x="54" y="241"/>
                  </a:cubicBezTo>
                  <a:cubicBezTo>
                    <a:pt x="86" y="241"/>
                    <a:pt x="86" y="241"/>
                    <a:pt x="86" y="241"/>
                  </a:cubicBezTo>
                  <a:cubicBezTo>
                    <a:pt x="225" y="241"/>
                    <a:pt x="225" y="241"/>
                    <a:pt x="225" y="241"/>
                  </a:cubicBezTo>
                  <a:cubicBezTo>
                    <a:pt x="231" y="241"/>
                    <a:pt x="235" y="236"/>
                    <a:pt x="235" y="230"/>
                  </a:cubicBezTo>
                  <a:cubicBezTo>
                    <a:pt x="235" y="224"/>
                    <a:pt x="231" y="220"/>
                    <a:pt x="225" y="220"/>
                  </a:cubicBezTo>
                  <a:cubicBezTo>
                    <a:pt x="112" y="220"/>
                    <a:pt x="112" y="220"/>
                    <a:pt x="112" y="220"/>
                  </a:cubicBezTo>
                  <a:lnTo>
                    <a:pt x="254" y="78"/>
                  </a:lnTo>
                  <a:close/>
                  <a:moveTo>
                    <a:pt x="187" y="26"/>
                  </a:moveTo>
                  <a:cubicBezTo>
                    <a:pt x="231" y="70"/>
                    <a:pt x="231" y="70"/>
                    <a:pt x="231" y="7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06" y="107"/>
                    <a:pt x="106" y="107"/>
                    <a:pt x="106" y="107"/>
                  </a:cubicBezTo>
                  <a:lnTo>
                    <a:pt x="187" y="26"/>
                  </a:lnTo>
                  <a:close/>
                  <a:moveTo>
                    <a:pt x="58" y="220"/>
                  </a:moveTo>
                  <a:cubicBezTo>
                    <a:pt x="26" y="187"/>
                    <a:pt x="26" y="187"/>
                    <a:pt x="26" y="187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82" y="220"/>
                    <a:pt x="82" y="220"/>
                    <a:pt x="82" y="220"/>
                  </a:cubicBezTo>
                  <a:lnTo>
                    <a:pt x="58" y="2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5" name="Group 498"/>
          <p:cNvGrpSpPr>
            <a:grpSpLocks noChangeAspect="1"/>
          </p:cNvGrpSpPr>
          <p:nvPr/>
        </p:nvGrpSpPr>
        <p:grpSpPr bwMode="auto">
          <a:xfrm>
            <a:off x="9389232" y="3738096"/>
            <a:ext cx="367631" cy="367631"/>
            <a:chOff x="1543" y="2005"/>
            <a:chExt cx="340" cy="340"/>
          </a:xfrm>
          <a:solidFill>
            <a:schemeClr val="accent6"/>
          </a:solidFill>
        </p:grpSpPr>
        <p:sp>
          <p:nvSpPr>
            <p:cNvPr id="246" name="Freeform 499"/>
            <p:cNvSpPr>
              <a:spLocks noEditPoints="1"/>
            </p:cNvSpPr>
            <p:nvPr/>
          </p:nvSpPr>
          <p:spPr bwMode="auto">
            <a:xfrm>
              <a:off x="1543" y="200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4 w 512"/>
                <a:gd name="T11" fmla="*/ 368 h 512"/>
                <a:gd name="T12" fmla="*/ 405 w 512"/>
                <a:gd name="T13" fmla="*/ 373 h 512"/>
                <a:gd name="T14" fmla="*/ 106 w 512"/>
                <a:gd name="T15" fmla="*/ 373 h 512"/>
                <a:gd name="T16" fmla="*/ 97 w 512"/>
                <a:gd name="T17" fmla="*/ 368 h 512"/>
                <a:gd name="T18" fmla="*/ 97 w 512"/>
                <a:gd name="T19" fmla="*/ 357 h 512"/>
                <a:gd name="T20" fmla="*/ 247 w 512"/>
                <a:gd name="T21" fmla="*/ 111 h 512"/>
                <a:gd name="T22" fmla="*/ 265 w 512"/>
                <a:gd name="T23" fmla="*/ 111 h 512"/>
                <a:gd name="T24" fmla="*/ 414 w 512"/>
                <a:gd name="T25" fmla="*/ 357 h 512"/>
                <a:gd name="T26" fmla="*/ 414 w 512"/>
                <a:gd name="T27" fmla="*/ 3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4" y="368"/>
                  </a:moveTo>
                  <a:cubicBezTo>
                    <a:pt x="412" y="371"/>
                    <a:pt x="409" y="373"/>
                    <a:pt x="405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2" y="373"/>
                    <a:pt x="99" y="371"/>
                    <a:pt x="97" y="368"/>
                  </a:cubicBezTo>
                  <a:cubicBezTo>
                    <a:pt x="95" y="364"/>
                    <a:pt x="95" y="360"/>
                    <a:pt x="97" y="357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50" y="105"/>
                    <a:pt x="261" y="105"/>
                    <a:pt x="265" y="111"/>
                  </a:cubicBezTo>
                  <a:cubicBezTo>
                    <a:pt x="414" y="357"/>
                    <a:pt x="414" y="357"/>
                    <a:pt x="414" y="357"/>
                  </a:cubicBezTo>
                  <a:cubicBezTo>
                    <a:pt x="416" y="360"/>
                    <a:pt x="416" y="364"/>
                    <a:pt x="414" y="3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500"/>
            <p:cNvSpPr>
              <a:spLocks noEditPoints="1"/>
            </p:cNvSpPr>
            <p:nvPr/>
          </p:nvSpPr>
          <p:spPr bwMode="auto">
            <a:xfrm>
              <a:off x="1626" y="2097"/>
              <a:ext cx="173" cy="142"/>
            </a:xfrm>
            <a:custGeom>
              <a:avLst/>
              <a:gdLst>
                <a:gd name="T0" fmla="*/ 0 w 261"/>
                <a:gd name="T1" fmla="*/ 214 h 214"/>
                <a:gd name="T2" fmla="*/ 261 w 261"/>
                <a:gd name="T3" fmla="*/ 214 h 214"/>
                <a:gd name="T4" fmla="*/ 131 w 261"/>
                <a:gd name="T5" fmla="*/ 0 h 214"/>
                <a:gd name="T6" fmla="*/ 0 w 261"/>
                <a:gd name="T7" fmla="*/ 214 h 214"/>
                <a:gd name="T8" fmla="*/ 131 w 261"/>
                <a:gd name="T9" fmla="*/ 192 h 214"/>
                <a:gd name="T10" fmla="*/ 120 w 261"/>
                <a:gd name="T11" fmla="*/ 182 h 214"/>
                <a:gd name="T12" fmla="*/ 131 w 261"/>
                <a:gd name="T13" fmla="*/ 171 h 214"/>
                <a:gd name="T14" fmla="*/ 141 w 261"/>
                <a:gd name="T15" fmla="*/ 182 h 214"/>
                <a:gd name="T16" fmla="*/ 131 w 261"/>
                <a:gd name="T17" fmla="*/ 192 h 214"/>
                <a:gd name="T18" fmla="*/ 141 w 261"/>
                <a:gd name="T19" fmla="*/ 64 h 214"/>
                <a:gd name="T20" fmla="*/ 141 w 261"/>
                <a:gd name="T21" fmla="*/ 139 h 214"/>
                <a:gd name="T22" fmla="*/ 131 w 261"/>
                <a:gd name="T23" fmla="*/ 150 h 214"/>
                <a:gd name="T24" fmla="*/ 120 w 261"/>
                <a:gd name="T25" fmla="*/ 139 h 214"/>
                <a:gd name="T26" fmla="*/ 120 w 261"/>
                <a:gd name="T27" fmla="*/ 64 h 214"/>
                <a:gd name="T28" fmla="*/ 131 w 261"/>
                <a:gd name="T29" fmla="*/ 54 h 214"/>
                <a:gd name="T30" fmla="*/ 141 w 261"/>
                <a:gd name="T31" fmla="*/ 6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1" h="214">
                  <a:moveTo>
                    <a:pt x="0" y="214"/>
                  </a:moveTo>
                  <a:cubicBezTo>
                    <a:pt x="261" y="214"/>
                    <a:pt x="261" y="214"/>
                    <a:pt x="261" y="214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0" y="214"/>
                  </a:lnTo>
                  <a:close/>
                  <a:moveTo>
                    <a:pt x="131" y="192"/>
                  </a:moveTo>
                  <a:cubicBezTo>
                    <a:pt x="125" y="192"/>
                    <a:pt x="120" y="188"/>
                    <a:pt x="120" y="182"/>
                  </a:cubicBezTo>
                  <a:cubicBezTo>
                    <a:pt x="120" y="176"/>
                    <a:pt x="125" y="171"/>
                    <a:pt x="131" y="171"/>
                  </a:cubicBezTo>
                  <a:cubicBezTo>
                    <a:pt x="137" y="171"/>
                    <a:pt x="141" y="176"/>
                    <a:pt x="141" y="182"/>
                  </a:cubicBezTo>
                  <a:cubicBezTo>
                    <a:pt x="141" y="188"/>
                    <a:pt x="137" y="192"/>
                    <a:pt x="131" y="192"/>
                  </a:cubicBezTo>
                  <a:close/>
                  <a:moveTo>
                    <a:pt x="141" y="64"/>
                  </a:moveTo>
                  <a:cubicBezTo>
                    <a:pt x="141" y="139"/>
                    <a:pt x="141" y="139"/>
                    <a:pt x="141" y="139"/>
                  </a:cubicBezTo>
                  <a:cubicBezTo>
                    <a:pt x="141" y="145"/>
                    <a:pt x="137" y="150"/>
                    <a:pt x="131" y="150"/>
                  </a:cubicBezTo>
                  <a:cubicBezTo>
                    <a:pt x="125" y="150"/>
                    <a:pt x="120" y="145"/>
                    <a:pt x="120" y="139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58"/>
                    <a:pt x="125" y="54"/>
                    <a:pt x="131" y="54"/>
                  </a:cubicBezTo>
                  <a:cubicBezTo>
                    <a:pt x="137" y="54"/>
                    <a:pt x="141" y="58"/>
                    <a:pt x="141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8" name="Group 503"/>
          <p:cNvGrpSpPr>
            <a:grpSpLocks noChangeAspect="1"/>
          </p:cNvGrpSpPr>
          <p:nvPr/>
        </p:nvGrpSpPr>
        <p:grpSpPr bwMode="auto">
          <a:xfrm>
            <a:off x="9886361" y="3738096"/>
            <a:ext cx="367631" cy="367631"/>
            <a:chOff x="1920" y="2027"/>
            <a:chExt cx="340" cy="340"/>
          </a:xfrm>
          <a:solidFill>
            <a:schemeClr val="accent6"/>
          </a:solidFill>
        </p:grpSpPr>
        <p:sp>
          <p:nvSpPr>
            <p:cNvPr id="249" name="Freeform 504"/>
            <p:cNvSpPr>
              <a:spLocks noEditPoints="1"/>
            </p:cNvSpPr>
            <p:nvPr/>
          </p:nvSpPr>
          <p:spPr bwMode="auto">
            <a:xfrm>
              <a:off x="1983" y="2097"/>
              <a:ext cx="213" cy="178"/>
            </a:xfrm>
            <a:custGeom>
              <a:avLst/>
              <a:gdLst>
                <a:gd name="T0" fmla="*/ 319 w 321"/>
                <a:gd name="T1" fmla="*/ 252 h 268"/>
                <a:gd name="T2" fmla="*/ 170 w 321"/>
                <a:gd name="T3" fmla="*/ 6 h 268"/>
                <a:gd name="T4" fmla="*/ 152 w 321"/>
                <a:gd name="T5" fmla="*/ 6 h 268"/>
                <a:gd name="T6" fmla="*/ 2 w 321"/>
                <a:gd name="T7" fmla="*/ 252 h 268"/>
                <a:gd name="T8" fmla="*/ 2 w 321"/>
                <a:gd name="T9" fmla="*/ 263 h 268"/>
                <a:gd name="T10" fmla="*/ 11 w 321"/>
                <a:gd name="T11" fmla="*/ 268 h 268"/>
                <a:gd name="T12" fmla="*/ 310 w 321"/>
                <a:gd name="T13" fmla="*/ 268 h 268"/>
                <a:gd name="T14" fmla="*/ 319 w 321"/>
                <a:gd name="T15" fmla="*/ 263 h 268"/>
                <a:gd name="T16" fmla="*/ 319 w 321"/>
                <a:gd name="T17" fmla="*/ 252 h 268"/>
                <a:gd name="T18" fmla="*/ 30 w 321"/>
                <a:gd name="T19" fmla="*/ 247 h 268"/>
                <a:gd name="T20" fmla="*/ 161 w 321"/>
                <a:gd name="T21" fmla="*/ 33 h 268"/>
                <a:gd name="T22" fmla="*/ 291 w 321"/>
                <a:gd name="T23" fmla="*/ 247 h 268"/>
                <a:gd name="T24" fmla="*/ 30 w 321"/>
                <a:gd name="T25" fmla="*/ 247 h 268"/>
                <a:gd name="T26" fmla="*/ 161 w 321"/>
                <a:gd name="T27" fmla="*/ 87 h 268"/>
                <a:gd name="T28" fmla="*/ 171 w 321"/>
                <a:gd name="T29" fmla="*/ 97 h 268"/>
                <a:gd name="T30" fmla="*/ 171 w 321"/>
                <a:gd name="T31" fmla="*/ 172 h 268"/>
                <a:gd name="T32" fmla="*/ 161 w 321"/>
                <a:gd name="T33" fmla="*/ 183 h 268"/>
                <a:gd name="T34" fmla="*/ 150 w 321"/>
                <a:gd name="T35" fmla="*/ 172 h 268"/>
                <a:gd name="T36" fmla="*/ 150 w 321"/>
                <a:gd name="T37" fmla="*/ 97 h 268"/>
                <a:gd name="T38" fmla="*/ 161 w 321"/>
                <a:gd name="T39" fmla="*/ 87 h 268"/>
                <a:gd name="T40" fmla="*/ 171 w 321"/>
                <a:gd name="T41" fmla="*/ 215 h 268"/>
                <a:gd name="T42" fmla="*/ 161 w 321"/>
                <a:gd name="T43" fmla="*/ 225 h 268"/>
                <a:gd name="T44" fmla="*/ 150 w 321"/>
                <a:gd name="T45" fmla="*/ 215 h 268"/>
                <a:gd name="T46" fmla="*/ 161 w 321"/>
                <a:gd name="T47" fmla="*/ 204 h 268"/>
                <a:gd name="T48" fmla="*/ 171 w 321"/>
                <a:gd name="T49" fmla="*/ 215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1" h="268">
                  <a:moveTo>
                    <a:pt x="319" y="252"/>
                  </a:moveTo>
                  <a:cubicBezTo>
                    <a:pt x="170" y="6"/>
                    <a:pt x="170" y="6"/>
                    <a:pt x="170" y="6"/>
                  </a:cubicBezTo>
                  <a:cubicBezTo>
                    <a:pt x="166" y="0"/>
                    <a:pt x="155" y="0"/>
                    <a:pt x="152" y="6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0" y="255"/>
                    <a:pt x="0" y="259"/>
                    <a:pt x="2" y="263"/>
                  </a:cubicBezTo>
                  <a:cubicBezTo>
                    <a:pt x="4" y="266"/>
                    <a:pt x="7" y="268"/>
                    <a:pt x="11" y="268"/>
                  </a:cubicBezTo>
                  <a:cubicBezTo>
                    <a:pt x="310" y="268"/>
                    <a:pt x="310" y="268"/>
                    <a:pt x="310" y="268"/>
                  </a:cubicBezTo>
                  <a:cubicBezTo>
                    <a:pt x="314" y="268"/>
                    <a:pt x="317" y="266"/>
                    <a:pt x="319" y="263"/>
                  </a:cubicBezTo>
                  <a:cubicBezTo>
                    <a:pt x="321" y="259"/>
                    <a:pt x="321" y="255"/>
                    <a:pt x="319" y="252"/>
                  </a:cubicBezTo>
                  <a:close/>
                  <a:moveTo>
                    <a:pt x="30" y="247"/>
                  </a:moveTo>
                  <a:cubicBezTo>
                    <a:pt x="161" y="33"/>
                    <a:pt x="161" y="33"/>
                    <a:pt x="161" y="33"/>
                  </a:cubicBezTo>
                  <a:cubicBezTo>
                    <a:pt x="291" y="247"/>
                    <a:pt x="291" y="247"/>
                    <a:pt x="291" y="247"/>
                  </a:cubicBezTo>
                  <a:lnTo>
                    <a:pt x="30" y="247"/>
                  </a:lnTo>
                  <a:close/>
                  <a:moveTo>
                    <a:pt x="161" y="87"/>
                  </a:moveTo>
                  <a:cubicBezTo>
                    <a:pt x="167" y="87"/>
                    <a:pt x="171" y="91"/>
                    <a:pt x="171" y="97"/>
                  </a:cubicBezTo>
                  <a:cubicBezTo>
                    <a:pt x="171" y="172"/>
                    <a:pt x="171" y="172"/>
                    <a:pt x="171" y="172"/>
                  </a:cubicBezTo>
                  <a:cubicBezTo>
                    <a:pt x="171" y="178"/>
                    <a:pt x="167" y="183"/>
                    <a:pt x="161" y="183"/>
                  </a:cubicBezTo>
                  <a:cubicBezTo>
                    <a:pt x="155" y="183"/>
                    <a:pt x="150" y="178"/>
                    <a:pt x="150" y="172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50" y="91"/>
                    <a:pt x="155" y="87"/>
                    <a:pt x="161" y="87"/>
                  </a:cubicBezTo>
                  <a:close/>
                  <a:moveTo>
                    <a:pt x="171" y="215"/>
                  </a:moveTo>
                  <a:cubicBezTo>
                    <a:pt x="171" y="221"/>
                    <a:pt x="167" y="225"/>
                    <a:pt x="161" y="225"/>
                  </a:cubicBezTo>
                  <a:cubicBezTo>
                    <a:pt x="155" y="225"/>
                    <a:pt x="150" y="221"/>
                    <a:pt x="150" y="215"/>
                  </a:cubicBezTo>
                  <a:cubicBezTo>
                    <a:pt x="150" y="209"/>
                    <a:pt x="155" y="204"/>
                    <a:pt x="161" y="204"/>
                  </a:cubicBezTo>
                  <a:cubicBezTo>
                    <a:pt x="167" y="204"/>
                    <a:pt x="171" y="209"/>
                    <a:pt x="171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505"/>
            <p:cNvSpPr>
              <a:spLocks noEditPoints="1"/>
            </p:cNvSpPr>
            <p:nvPr/>
          </p:nvSpPr>
          <p:spPr bwMode="auto">
            <a:xfrm>
              <a:off x="1920" y="202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1" name="Freeform 518"/>
          <p:cNvSpPr>
            <a:spLocks noChangeAspect="1" noEditPoints="1"/>
          </p:cNvSpPr>
          <p:nvPr/>
        </p:nvSpPr>
        <p:spPr bwMode="auto">
          <a:xfrm>
            <a:off x="1423502" y="4528376"/>
            <a:ext cx="367631" cy="367631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2" name="Group 521"/>
          <p:cNvGrpSpPr>
            <a:grpSpLocks noChangeAspect="1"/>
          </p:cNvGrpSpPr>
          <p:nvPr/>
        </p:nvGrpSpPr>
        <p:grpSpPr bwMode="auto">
          <a:xfrm>
            <a:off x="1921196" y="4528376"/>
            <a:ext cx="367631" cy="367631"/>
            <a:chOff x="3476" y="2032"/>
            <a:chExt cx="340" cy="340"/>
          </a:xfrm>
          <a:solidFill>
            <a:schemeClr val="accent6"/>
          </a:solidFill>
        </p:grpSpPr>
        <p:sp>
          <p:nvSpPr>
            <p:cNvPr id="253" name="Freeform 522"/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523"/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524"/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1" name="Freeform 557"/>
          <p:cNvSpPr>
            <a:spLocks noChangeAspect="1" noEditPoints="1"/>
          </p:cNvSpPr>
          <p:nvPr/>
        </p:nvSpPr>
        <p:spPr bwMode="auto">
          <a:xfrm>
            <a:off x="2418890" y="4528372"/>
            <a:ext cx="367631" cy="368712"/>
          </a:xfrm>
          <a:custGeom>
            <a:avLst/>
            <a:gdLst>
              <a:gd name="T0" fmla="*/ 247 w 512"/>
              <a:gd name="T1" fmla="*/ 265 h 512"/>
              <a:gd name="T2" fmla="*/ 254 w 512"/>
              <a:gd name="T3" fmla="*/ 272 h 512"/>
              <a:gd name="T4" fmla="*/ 170 w 512"/>
              <a:gd name="T5" fmla="*/ 357 h 512"/>
              <a:gd name="T6" fmla="*/ 159 w 512"/>
              <a:gd name="T7" fmla="*/ 360 h 512"/>
              <a:gd name="T8" fmla="*/ 152 w 512"/>
              <a:gd name="T9" fmla="*/ 360 h 512"/>
              <a:gd name="T10" fmla="*/ 152 w 512"/>
              <a:gd name="T11" fmla="*/ 352 h 512"/>
              <a:gd name="T12" fmla="*/ 154 w 512"/>
              <a:gd name="T13" fmla="*/ 342 h 512"/>
              <a:gd name="T14" fmla="*/ 239 w 512"/>
              <a:gd name="T15" fmla="*/ 257 h 512"/>
              <a:gd name="T16" fmla="*/ 247 w 512"/>
              <a:gd name="T17" fmla="*/ 265 h 512"/>
              <a:gd name="T18" fmla="*/ 337 w 512"/>
              <a:gd name="T19" fmla="*/ 146 h 512"/>
              <a:gd name="T20" fmla="*/ 331 w 512"/>
              <a:gd name="T21" fmla="*/ 151 h 512"/>
              <a:gd name="T22" fmla="*/ 322 w 512"/>
              <a:gd name="T23" fmla="*/ 166 h 512"/>
              <a:gd name="T24" fmla="*/ 252 w 512"/>
              <a:gd name="T25" fmla="*/ 229 h 512"/>
              <a:gd name="T26" fmla="*/ 245 w 512"/>
              <a:gd name="T27" fmla="*/ 232 h 512"/>
              <a:gd name="T28" fmla="*/ 262 w 512"/>
              <a:gd name="T29" fmla="*/ 250 h 512"/>
              <a:gd name="T30" fmla="*/ 280 w 512"/>
              <a:gd name="T31" fmla="*/ 268 h 512"/>
              <a:gd name="T32" fmla="*/ 283 w 512"/>
              <a:gd name="T33" fmla="*/ 260 h 512"/>
              <a:gd name="T34" fmla="*/ 346 w 512"/>
              <a:gd name="T35" fmla="*/ 191 h 512"/>
              <a:gd name="T36" fmla="*/ 362 w 512"/>
              <a:gd name="T37" fmla="*/ 181 h 512"/>
              <a:gd name="T38" fmla="*/ 366 w 512"/>
              <a:gd name="T39" fmla="*/ 175 h 512"/>
              <a:gd name="T40" fmla="*/ 356 w 512"/>
              <a:gd name="T41" fmla="*/ 156 h 512"/>
              <a:gd name="T42" fmla="*/ 337 w 512"/>
              <a:gd name="T43" fmla="*/ 146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71 w 512"/>
              <a:gd name="T55" fmla="*/ 141 h 512"/>
              <a:gd name="T56" fmla="*/ 335 w 512"/>
              <a:gd name="T57" fmla="*/ 125 h 512"/>
              <a:gd name="T58" fmla="*/ 313 w 512"/>
              <a:gd name="T59" fmla="*/ 139 h 512"/>
              <a:gd name="T60" fmla="*/ 304 w 512"/>
              <a:gd name="T61" fmla="*/ 154 h 512"/>
              <a:gd name="T62" fmla="*/ 243 w 512"/>
              <a:gd name="T63" fmla="*/ 210 h 512"/>
              <a:gd name="T64" fmla="*/ 242 w 512"/>
              <a:gd name="T65" fmla="*/ 211 h 512"/>
              <a:gd name="T66" fmla="*/ 222 w 512"/>
              <a:gd name="T67" fmla="*/ 217 h 512"/>
              <a:gd name="T68" fmla="*/ 214 w 512"/>
              <a:gd name="T69" fmla="*/ 225 h 512"/>
              <a:gd name="T70" fmla="*/ 217 w 512"/>
              <a:gd name="T71" fmla="*/ 235 h 512"/>
              <a:gd name="T72" fmla="*/ 224 w 512"/>
              <a:gd name="T73" fmla="*/ 242 h 512"/>
              <a:gd name="T74" fmla="*/ 139 w 512"/>
              <a:gd name="T75" fmla="*/ 327 h 512"/>
              <a:gd name="T76" fmla="*/ 131 w 512"/>
              <a:gd name="T77" fmla="*/ 356 h 512"/>
              <a:gd name="T78" fmla="*/ 130 w 512"/>
              <a:gd name="T79" fmla="*/ 359 h 512"/>
              <a:gd name="T80" fmla="*/ 132 w 512"/>
              <a:gd name="T81" fmla="*/ 379 h 512"/>
              <a:gd name="T82" fmla="*/ 142 w 512"/>
              <a:gd name="T83" fmla="*/ 383 h 512"/>
              <a:gd name="T84" fmla="*/ 152 w 512"/>
              <a:gd name="T85" fmla="*/ 381 h 512"/>
              <a:gd name="T86" fmla="*/ 155 w 512"/>
              <a:gd name="T87" fmla="*/ 381 h 512"/>
              <a:gd name="T88" fmla="*/ 185 w 512"/>
              <a:gd name="T89" fmla="*/ 372 h 512"/>
              <a:gd name="T90" fmla="*/ 269 w 512"/>
              <a:gd name="T91" fmla="*/ 287 h 512"/>
              <a:gd name="T92" fmla="*/ 277 w 512"/>
              <a:gd name="T93" fmla="*/ 295 h 512"/>
              <a:gd name="T94" fmla="*/ 285 w 512"/>
              <a:gd name="T95" fmla="*/ 298 h 512"/>
              <a:gd name="T96" fmla="*/ 288 w 512"/>
              <a:gd name="T97" fmla="*/ 298 h 512"/>
              <a:gd name="T98" fmla="*/ 295 w 512"/>
              <a:gd name="T99" fmla="*/ 288 h 512"/>
              <a:gd name="T100" fmla="*/ 301 w 512"/>
              <a:gd name="T101" fmla="*/ 266 h 512"/>
              <a:gd name="T102" fmla="*/ 302 w 512"/>
              <a:gd name="T103" fmla="*/ 267 h 512"/>
              <a:gd name="T104" fmla="*/ 357 w 512"/>
              <a:gd name="T105" fmla="*/ 208 h 512"/>
              <a:gd name="T106" fmla="*/ 373 w 512"/>
              <a:gd name="T107" fmla="*/ 198 h 512"/>
              <a:gd name="T108" fmla="*/ 387 w 512"/>
              <a:gd name="T109" fmla="*/ 177 h 512"/>
              <a:gd name="T110" fmla="*/ 371 w 512"/>
              <a:gd name="T111" fmla="*/ 1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247" y="265"/>
                </a:moveTo>
                <a:cubicBezTo>
                  <a:pt x="254" y="272"/>
                  <a:pt x="254" y="272"/>
                  <a:pt x="254" y="272"/>
                </a:cubicBezTo>
                <a:cubicBezTo>
                  <a:pt x="170" y="357"/>
                  <a:pt x="170" y="357"/>
                  <a:pt x="170" y="357"/>
                </a:cubicBezTo>
                <a:cubicBezTo>
                  <a:pt x="167" y="360"/>
                  <a:pt x="163" y="361"/>
                  <a:pt x="159" y="360"/>
                </a:cubicBezTo>
                <a:cubicBezTo>
                  <a:pt x="157" y="359"/>
                  <a:pt x="154" y="359"/>
                  <a:pt x="152" y="360"/>
                </a:cubicBezTo>
                <a:cubicBezTo>
                  <a:pt x="152" y="357"/>
                  <a:pt x="152" y="355"/>
                  <a:pt x="152" y="352"/>
                </a:cubicBezTo>
                <a:cubicBezTo>
                  <a:pt x="151" y="348"/>
                  <a:pt x="152" y="344"/>
                  <a:pt x="154" y="342"/>
                </a:cubicBezTo>
                <a:cubicBezTo>
                  <a:pt x="239" y="257"/>
                  <a:pt x="239" y="257"/>
                  <a:pt x="239" y="257"/>
                </a:cubicBezTo>
                <a:lnTo>
                  <a:pt x="247" y="265"/>
                </a:lnTo>
                <a:close/>
                <a:moveTo>
                  <a:pt x="337" y="146"/>
                </a:moveTo>
                <a:cubicBezTo>
                  <a:pt x="336" y="147"/>
                  <a:pt x="333" y="147"/>
                  <a:pt x="331" y="151"/>
                </a:cubicBezTo>
                <a:cubicBezTo>
                  <a:pt x="322" y="166"/>
                  <a:pt x="322" y="166"/>
                  <a:pt x="322" y="166"/>
                </a:cubicBezTo>
                <a:cubicBezTo>
                  <a:pt x="292" y="209"/>
                  <a:pt x="257" y="227"/>
                  <a:pt x="252" y="229"/>
                </a:cubicBezTo>
                <a:cubicBezTo>
                  <a:pt x="250" y="230"/>
                  <a:pt x="248" y="231"/>
                  <a:pt x="245" y="232"/>
                </a:cubicBezTo>
                <a:cubicBezTo>
                  <a:pt x="262" y="250"/>
                  <a:pt x="262" y="250"/>
                  <a:pt x="262" y="250"/>
                </a:cubicBezTo>
                <a:cubicBezTo>
                  <a:pt x="280" y="268"/>
                  <a:pt x="280" y="268"/>
                  <a:pt x="280" y="268"/>
                </a:cubicBezTo>
                <a:cubicBezTo>
                  <a:pt x="281" y="265"/>
                  <a:pt x="282" y="262"/>
                  <a:pt x="283" y="260"/>
                </a:cubicBezTo>
                <a:cubicBezTo>
                  <a:pt x="285" y="255"/>
                  <a:pt x="303" y="221"/>
                  <a:pt x="346" y="191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5" y="179"/>
                  <a:pt x="366" y="177"/>
                  <a:pt x="366" y="175"/>
                </a:cubicBezTo>
                <a:cubicBezTo>
                  <a:pt x="366" y="170"/>
                  <a:pt x="362" y="163"/>
                  <a:pt x="356" y="156"/>
                </a:cubicBezTo>
                <a:cubicBezTo>
                  <a:pt x="349" y="150"/>
                  <a:pt x="342" y="146"/>
                  <a:pt x="337" y="14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1" y="141"/>
                </a:moveTo>
                <a:cubicBezTo>
                  <a:pt x="360" y="130"/>
                  <a:pt x="347" y="124"/>
                  <a:pt x="335" y="125"/>
                </a:cubicBezTo>
                <a:cubicBezTo>
                  <a:pt x="329" y="126"/>
                  <a:pt x="320" y="129"/>
                  <a:pt x="313" y="139"/>
                </a:cubicBezTo>
                <a:cubicBezTo>
                  <a:pt x="304" y="154"/>
                  <a:pt x="304" y="154"/>
                  <a:pt x="304" y="154"/>
                </a:cubicBezTo>
                <a:cubicBezTo>
                  <a:pt x="276" y="194"/>
                  <a:pt x="243" y="210"/>
                  <a:pt x="243" y="210"/>
                </a:cubicBezTo>
                <a:cubicBezTo>
                  <a:pt x="242" y="210"/>
                  <a:pt x="242" y="210"/>
                  <a:pt x="242" y="211"/>
                </a:cubicBezTo>
                <a:cubicBezTo>
                  <a:pt x="241" y="211"/>
                  <a:pt x="237" y="213"/>
                  <a:pt x="222" y="217"/>
                </a:cubicBezTo>
                <a:cubicBezTo>
                  <a:pt x="218" y="218"/>
                  <a:pt x="215" y="221"/>
                  <a:pt x="214" y="225"/>
                </a:cubicBezTo>
                <a:cubicBezTo>
                  <a:pt x="213" y="228"/>
                  <a:pt x="214" y="232"/>
                  <a:pt x="217" y="235"/>
                </a:cubicBezTo>
                <a:cubicBezTo>
                  <a:pt x="224" y="242"/>
                  <a:pt x="224" y="242"/>
                  <a:pt x="224" y="242"/>
                </a:cubicBezTo>
                <a:cubicBezTo>
                  <a:pt x="139" y="327"/>
                  <a:pt x="139" y="327"/>
                  <a:pt x="139" y="327"/>
                </a:cubicBezTo>
                <a:cubicBezTo>
                  <a:pt x="132" y="334"/>
                  <a:pt x="129" y="345"/>
                  <a:pt x="131" y="356"/>
                </a:cubicBezTo>
                <a:cubicBezTo>
                  <a:pt x="131" y="357"/>
                  <a:pt x="130" y="358"/>
                  <a:pt x="130" y="359"/>
                </a:cubicBezTo>
                <a:cubicBezTo>
                  <a:pt x="128" y="365"/>
                  <a:pt x="126" y="373"/>
                  <a:pt x="132" y="379"/>
                </a:cubicBezTo>
                <a:cubicBezTo>
                  <a:pt x="135" y="382"/>
                  <a:pt x="138" y="383"/>
                  <a:pt x="142" y="383"/>
                </a:cubicBezTo>
                <a:cubicBezTo>
                  <a:pt x="145" y="383"/>
                  <a:pt x="149" y="382"/>
                  <a:pt x="152" y="381"/>
                </a:cubicBezTo>
                <a:cubicBezTo>
                  <a:pt x="153" y="381"/>
                  <a:pt x="154" y="381"/>
                  <a:pt x="155" y="381"/>
                </a:cubicBezTo>
                <a:cubicBezTo>
                  <a:pt x="166" y="383"/>
                  <a:pt x="177" y="380"/>
                  <a:pt x="185" y="372"/>
                </a:cubicBezTo>
                <a:cubicBezTo>
                  <a:pt x="269" y="287"/>
                  <a:pt x="269" y="287"/>
                  <a:pt x="269" y="287"/>
                </a:cubicBezTo>
                <a:cubicBezTo>
                  <a:pt x="277" y="295"/>
                  <a:pt x="277" y="295"/>
                  <a:pt x="277" y="295"/>
                </a:cubicBezTo>
                <a:cubicBezTo>
                  <a:pt x="279" y="297"/>
                  <a:pt x="282" y="298"/>
                  <a:pt x="285" y="298"/>
                </a:cubicBezTo>
                <a:cubicBezTo>
                  <a:pt x="286" y="298"/>
                  <a:pt x="287" y="298"/>
                  <a:pt x="288" y="298"/>
                </a:cubicBezTo>
                <a:cubicBezTo>
                  <a:pt x="291" y="297"/>
                  <a:pt x="294" y="292"/>
                  <a:pt x="295" y="288"/>
                </a:cubicBezTo>
                <a:cubicBezTo>
                  <a:pt x="299" y="273"/>
                  <a:pt x="301" y="266"/>
                  <a:pt x="301" y="266"/>
                </a:cubicBezTo>
                <a:cubicBezTo>
                  <a:pt x="301" y="266"/>
                  <a:pt x="302" y="268"/>
                  <a:pt x="302" y="267"/>
                </a:cubicBezTo>
                <a:cubicBezTo>
                  <a:pt x="302" y="267"/>
                  <a:pt x="318" y="235"/>
                  <a:pt x="357" y="208"/>
                </a:cubicBezTo>
                <a:cubicBezTo>
                  <a:pt x="373" y="198"/>
                  <a:pt x="373" y="198"/>
                  <a:pt x="373" y="198"/>
                </a:cubicBezTo>
                <a:cubicBezTo>
                  <a:pt x="383" y="191"/>
                  <a:pt x="386" y="183"/>
                  <a:pt x="387" y="177"/>
                </a:cubicBezTo>
                <a:cubicBezTo>
                  <a:pt x="388" y="165"/>
                  <a:pt x="382" y="152"/>
                  <a:pt x="371" y="14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2" name="Group 560"/>
          <p:cNvGrpSpPr>
            <a:grpSpLocks noChangeAspect="1"/>
          </p:cNvGrpSpPr>
          <p:nvPr/>
        </p:nvGrpSpPr>
        <p:grpSpPr bwMode="auto">
          <a:xfrm>
            <a:off x="2916584" y="4528376"/>
            <a:ext cx="367631" cy="367631"/>
            <a:chOff x="6559" y="2000"/>
            <a:chExt cx="340" cy="340"/>
          </a:xfrm>
          <a:solidFill>
            <a:schemeClr val="accent6"/>
          </a:solidFill>
        </p:grpSpPr>
        <p:sp>
          <p:nvSpPr>
            <p:cNvPr id="263" name="Freeform 561"/>
            <p:cNvSpPr>
              <a:spLocks noEditPoints="1"/>
            </p:cNvSpPr>
            <p:nvPr/>
          </p:nvSpPr>
          <p:spPr bwMode="auto">
            <a:xfrm>
              <a:off x="6559" y="200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562"/>
            <p:cNvSpPr>
              <a:spLocks noEditPoints="1"/>
            </p:cNvSpPr>
            <p:nvPr/>
          </p:nvSpPr>
          <p:spPr bwMode="auto">
            <a:xfrm>
              <a:off x="6643" y="2082"/>
              <a:ext cx="174" cy="172"/>
            </a:xfrm>
            <a:custGeom>
              <a:avLst/>
              <a:gdLst>
                <a:gd name="T0" fmla="*/ 245 w 262"/>
                <a:gd name="T1" fmla="*/ 17 h 259"/>
                <a:gd name="T2" fmla="*/ 209 w 262"/>
                <a:gd name="T3" fmla="*/ 1 h 259"/>
                <a:gd name="T4" fmla="*/ 187 w 262"/>
                <a:gd name="T5" fmla="*/ 15 h 259"/>
                <a:gd name="T6" fmla="*/ 178 w 262"/>
                <a:gd name="T7" fmla="*/ 30 h 259"/>
                <a:gd name="T8" fmla="*/ 117 w 262"/>
                <a:gd name="T9" fmla="*/ 86 h 259"/>
                <a:gd name="T10" fmla="*/ 116 w 262"/>
                <a:gd name="T11" fmla="*/ 87 h 259"/>
                <a:gd name="T12" fmla="*/ 96 w 262"/>
                <a:gd name="T13" fmla="*/ 93 h 259"/>
                <a:gd name="T14" fmla="*/ 88 w 262"/>
                <a:gd name="T15" fmla="*/ 101 h 259"/>
                <a:gd name="T16" fmla="*/ 91 w 262"/>
                <a:gd name="T17" fmla="*/ 111 h 259"/>
                <a:gd name="T18" fmla="*/ 98 w 262"/>
                <a:gd name="T19" fmla="*/ 118 h 259"/>
                <a:gd name="T20" fmla="*/ 13 w 262"/>
                <a:gd name="T21" fmla="*/ 203 h 259"/>
                <a:gd name="T22" fmla="*/ 5 w 262"/>
                <a:gd name="T23" fmla="*/ 232 h 259"/>
                <a:gd name="T24" fmla="*/ 4 w 262"/>
                <a:gd name="T25" fmla="*/ 235 h 259"/>
                <a:gd name="T26" fmla="*/ 6 w 262"/>
                <a:gd name="T27" fmla="*/ 255 h 259"/>
                <a:gd name="T28" fmla="*/ 16 w 262"/>
                <a:gd name="T29" fmla="*/ 259 h 259"/>
                <a:gd name="T30" fmla="*/ 26 w 262"/>
                <a:gd name="T31" fmla="*/ 257 h 259"/>
                <a:gd name="T32" fmla="*/ 29 w 262"/>
                <a:gd name="T33" fmla="*/ 257 h 259"/>
                <a:gd name="T34" fmla="*/ 59 w 262"/>
                <a:gd name="T35" fmla="*/ 248 h 259"/>
                <a:gd name="T36" fmla="*/ 143 w 262"/>
                <a:gd name="T37" fmla="*/ 163 h 259"/>
                <a:gd name="T38" fmla="*/ 151 w 262"/>
                <a:gd name="T39" fmla="*/ 171 h 259"/>
                <a:gd name="T40" fmla="*/ 159 w 262"/>
                <a:gd name="T41" fmla="*/ 174 h 259"/>
                <a:gd name="T42" fmla="*/ 162 w 262"/>
                <a:gd name="T43" fmla="*/ 174 h 259"/>
                <a:gd name="T44" fmla="*/ 169 w 262"/>
                <a:gd name="T45" fmla="*/ 164 h 259"/>
                <a:gd name="T46" fmla="*/ 175 w 262"/>
                <a:gd name="T47" fmla="*/ 142 h 259"/>
                <a:gd name="T48" fmla="*/ 175 w 262"/>
                <a:gd name="T49" fmla="*/ 142 h 259"/>
                <a:gd name="T50" fmla="*/ 176 w 262"/>
                <a:gd name="T51" fmla="*/ 143 h 259"/>
                <a:gd name="T52" fmla="*/ 231 w 262"/>
                <a:gd name="T53" fmla="*/ 84 h 259"/>
                <a:gd name="T54" fmla="*/ 247 w 262"/>
                <a:gd name="T55" fmla="*/ 74 h 259"/>
                <a:gd name="T56" fmla="*/ 261 w 262"/>
                <a:gd name="T57" fmla="*/ 53 h 259"/>
                <a:gd name="T58" fmla="*/ 245 w 262"/>
                <a:gd name="T59" fmla="*/ 17 h 259"/>
                <a:gd name="T60" fmla="*/ 44 w 262"/>
                <a:gd name="T61" fmla="*/ 233 h 259"/>
                <a:gd name="T62" fmla="*/ 33 w 262"/>
                <a:gd name="T63" fmla="*/ 236 h 259"/>
                <a:gd name="T64" fmla="*/ 26 w 262"/>
                <a:gd name="T65" fmla="*/ 236 h 259"/>
                <a:gd name="T66" fmla="*/ 26 w 262"/>
                <a:gd name="T67" fmla="*/ 228 h 259"/>
                <a:gd name="T68" fmla="*/ 28 w 262"/>
                <a:gd name="T69" fmla="*/ 218 h 259"/>
                <a:gd name="T70" fmla="*/ 113 w 262"/>
                <a:gd name="T71" fmla="*/ 133 h 259"/>
                <a:gd name="T72" fmla="*/ 121 w 262"/>
                <a:gd name="T73" fmla="*/ 141 h 259"/>
                <a:gd name="T74" fmla="*/ 128 w 262"/>
                <a:gd name="T75" fmla="*/ 148 h 259"/>
                <a:gd name="T76" fmla="*/ 44 w 262"/>
                <a:gd name="T77" fmla="*/ 233 h 259"/>
                <a:gd name="T78" fmla="*/ 236 w 262"/>
                <a:gd name="T79" fmla="*/ 57 h 259"/>
                <a:gd name="T80" fmla="*/ 220 w 262"/>
                <a:gd name="T81" fmla="*/ 67 h 259"/>
                <a:gd name="T82" fmla="*/ 157 w 262"/>
                <a:gd name="T83" fmla="*/ 136 h 259"/>
                <a:gd name="T84" fmla="*/ 154 w 262"/>
                <a:gd name="T85" fmla="*/ 144 h 259"/>
                <a:gd name="T86" fmla="*/ 136 w 262"/>
                <a:gd name="T87" fmla="*/ 126 h 259"/>
                <a:gd name="T88" fmla="*/ 119 w 262"/>
                <a:gd name="T89" fmla="*/ 108 h 259"/>
                <a:gd name="T90" fmla="*/ 126 w 262"/>
                <a:gd name="T91" fmla="*/ 105 h 259"/>
                <a:gd name="T92" fmla="*/ 196 w 262"/>
                <a:gd name="T93" fmla="*/ 42 h 259"/>
                <a:gd name="T94" fmla="*/ 205 w 262"/>
                <a:gd name="T95" fmla="*/ 27 h 259"/>
                <a:gd name="T96" fmla="*/ 211 w 262"/>
                <a:gd name="T97" fmla="*/ 22 h 259"/>
                <a:gd name="T98" fmla="*/ 230 w 262"/>
                <a:gd name="T99" fmla="*/ 32 h 259"/>
                <a:gd name="T100" fmla="*/ 240 w 262"/>
                <a:gd name="T101" fmla="*/ 51 h 259"/>
                <a:gd name="T102" fmla="*/ 236 w 262"/>
                <a:gd name="T103" fmla="*/ 5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2" h="259">
                  <a:moveTo>
                    <a:pt x="245" y="17"/>
                  </a:moveTo>
                  <a:cubicBezTo>
                    <a:pt x="234" y="6"/>
                    <a:pt x="221" y="0"/>
                    <a:pt x="209" y="1"/>
                  </a:cubicBezTo>
                  <a:cubicBezTo>
                    <a:pt x="203" y="2"/>
                    <a:pt x="194" y="5"/>
                    <a:pt x="187" y="15"/>
                  </a:cubicBezTo>
                  <a:cubicBezTo>
                    <a:pt x="178" y="30"/>
                    <a:pt x="178" y="30"/>
                    <a:pt x="178" y="30"/>
                  </a:cubicBezTo>
                  <a:cubicBezTo>
                    <a:pt x="150" y="70"/>
                    <a:pt x="117" y="86"/>
                    <a:pt x="117" y="86"/>
                  </a:cubicBezTo>
                  <a:cubicBezTo>
                    <a:pt x="116" y="86"/>
                    <a:pt x="116" y="86"/>
                    <a:pt x="116" y="87"/>
                  </a:cubicBezTo>
                  <a:cubicBezTo>
                    <a:pt x="115" y="87"/>
                    <a:pt x="111" y="89"/>
                    <a:pt x="96" y="93"/>
                  </a:cubicBezTo>
                  <a:cubicBezTo>
                    <a:pt x="92" y="94"/>
                    <a:pt x="89" y="97"/>
                    <a:pt x="88" y="101"/>
                  </a:cubicBezTo>
                  <a:cubicBezTo>
                    <a:pt x="87" y="104"/>
                    <a:pt x="88" y="108"/>
                    <a:pt x="91" y="111"/>
                  </a:cubicBezTo>
                  <a:cubicBezTo>
                    <a:pt x="98" y="118"/>
                    <a:pt x="98" y="118"/>
                    <a:pt x="98" y="118"/>
                  </a:cubicBezTo>
                  <a:cubicBezTo>
                    <a:pt x="13" y="203"/>
                    <a:pt x="13" y="203"/>
                    <a:pt x="13" y="203"/>
                  </a:cubicBezTo>
                  <a:cubicBezTo>
                    <a:pt x="6" y="210"/>
                    <a:pt x="3" y="221"/>
                    <a:pt x="5" y="232"/>
                  </a:cubicBezTo>
                  <a:cubicBezTo>
                    <a:pt x="5" y="233"/>
                    <a:pt x="4" y="234"/>
                    <a:pt x="4" y="235"/>
                  </a:cubicBezTo>
                  <a:cubicBezTo>
                    <a:pt x="2" y="241"/>
                    <a:pt x="0" y="249"/>
                    <a:pt x="6" y="255"/>
                  </a:cubicBezTo>
                  <a:cubicBezTo>
                    <a:pt x="9" y="258"/>
                    <a:pt x="12" y="259"/>
                    <a:pt x="16" y="259"/>
                  </a:cubicBezTo>
                  <a:cubicBezTo>
                    <a:pt x="19" y="259"/>
                    <a:pt x="23" y="258"/>
                    <a:pt x="26" y="257"/>
                  </a:cubicBezTo>
                  <a:cubicBezTo>
                    <a:pt x="27" y="257"/>
                    <a:pt x="28" y="257"/>
                    <a:pt x="29" y="257"/>
                  </a:cubicBezTo>
                  <a:cubicBezTo>
                    <a:pt x="40" y="259"/>
                    <a:pt x="51" y="256"/>
                    <a:pt x="59" y="248"/>
                  </a:cubicBezTo>
                  <a:cubicBezTo>
                    <a:pt x="143" y="163"/>
                    <a:pt x="143" y="163"/>
                    <a:pt x="143" y="163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3" y="173"/>
                    <a:pt x="156" y="174"/>
                    <a:pt x="159" y="174"/>
                  </a:cubicBezTo>
                  <a:cubicBezTo>
                    <a:pt x="160" y="174"/>
                    <a:pt x="161" y="174"/>
                    <a:pt x="162" y="174"/>
                  </a:cubicBezTo>
                  <a:cubicBezTo>
                    <a:pt x="165" y="173"/>
                    <a:pt x="168" y="168"/>
                    <a:pt x="169" y="164"/>
                  </a:cubicBezTo>
                  <a:cubicBezTo>
                    <a:pt x="173" y="149"/>
                    <a:pt x="175" y="142"/>
                    <a:pt x="175" y="142"/>
                  </a:cubicBezTo>
                  <a:cubicBezTo>
                    <a:pt x="175" y="142"/>
                    <a:pt x="175" y="142"/>
                    <a:pt x="175" y="142"/>
                  </a:cubicBezTo>
                  <a:cubicBezTo>
                    <a:pt x="175" y="142"/>
                    <a:pt x="176" y="144"/>
                    <a:pt x="176" y="143"/>
                  </a:cubicBezTo>
                  <a:cubicBezTo>
                    <a:pt x="176" y="143"/>
                    <a:pt x="192" y="111"/>
                    <a:pt x="231" y="84"/>
                  </a:cubicBezTo>
                  <a:cubicBezTo>
                    <a:pt x="247" y="74"/>
                    <a:pt x="247" y="74"/>
                    <a:pt x="247" y="74"/>
                  </a:cubicBezTo>
                  <a:cubicBezTo>
                    <a:pt x="257" y="67"/>
                    <a:pt x="260" y="59"/>
                    <a:pt x="261" y="53"/>
                  </a:cubicBezTo>
                  <a:cubicBezTo>
                    <a:pt x="262" y="41"/>
                    <a:pt x="256" y="28"/>
                    <a:pt x="245" y="17"/>
                  </a:cubicBezTo>
                  <a:close/>
                  <a:moveTo>
                    <a:pt x="44" y="233"/>
                  </a:moveTo>
                  <a:cubicBezTo>
                    <a:pt x="41" y="236"/>
                    <a:pt x="37" y="237"/>
                    <a:pt x="33" y="236"/>
                  </a:cubicBezTo>
                  <a:cubicBezTo>
                    <a:pt x="31" y="235"/>
                    <a:pt x="28" y="235"/>
                    <a:pt x="26" y="236"/>
                  </a:cubicBezTo>
                  <a:cubicBezTo>
                    <a:pt x="26" y="233"/>
                    <a:pt x="26" y="231"/>
                    <a:pt x="26" y="228"/>
                  </a:cubicBezTo>
                  <a:cubicBezTo>
                    <a:pt x="25" y="224"/>
                    <a:pt x="26" y="220"/>
                    <a:pt x="28" y="218"/>
                  </a:cubicBezTo>
                  <a:cubicBezTo>
                    <a:pt x="113" y="133"/>
                    <a:pt x="113" y="133"/>
                    <a:pt x="113" y="133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8" y="148"/>
                    <a:pt x="128" y="148"/>
                    <a:pt x="128" y="148"/>
                  </a:cubicBezTo>
                  <a:lnTo>
                    <a:pt x="44" y="233"/>
                  </a:lnTo>
                  <a:close/>
                  <a:moveTo>
                    <a:pt x="236" y="57"/>
                  </a:moveTo>
                  <a:cubicBezTo>
                    <a:pt x="220" y="67"/>
                    <a:pt x="220" y="67"/>
                    <a:pt x="220" y="67"/>
                  </a:cubicBezTo>
                  <a:cubicBezTo>
                    <a:pt x="177" y="97"/>
                    <a:pt x="159" y="131"/>
                    <a:pt x="157" y="136"/>
                  </a:cubicBezTo>
                  <a:cubicBezTo>
                    <a:pt x="156" y="138"/>
                    <a:pt x="155" y="141"/>
                    <a:pt x="154" y="144"/>
                  </a:cubicBezTo>
                  <a:cubicBezTo>
                    <a:pt x="136" y="126"/>
                    <a:pt x="136" y="126"/>
                    <a:pt x="136" y="126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7"/>
                    <a:pt x="124" y="106"/>
                    <a:pt x="126" y="105"/>
                  </a:cubicBezTo>
                  <a:cubicBezTo>
                    <a:pt x="131" y="103"/>
                    <a:pt x="166" y="85"/>
                    <a:pt x="196" y="42"/>
                  </a:cubicBezTo>
                  <a:cubicBezTo>
                    <a:pt x="205" y="27"/>
                    <a:pt x="205" y="27"/>
                    <a:pt x="205" y="27"/>
                  </a:cubicBezTo>
                  <a:cubicBezTo>
                    <a:pt x="207" y="23"/>
                    <a:pt x="210" y="23"/>
                    <a:pt x="211" y="22"/>
                  </a:cubicBezTo>
                  <a:cubicBezTo>
                    <a:pt x="216" y="22"/>
                    <a:pt x="223" y="26"/>
                    <a:pt x="230" y="32"/>
                  </a:cubicBezTo>
                  <a:cubicBezTo>
                    <a:pt x="236" y="39"/>
                    <a:pt x="240" y="46"/>
                    <a:pt x="240" y="51"/>
                  </a:cubicBezTo>
                  <a:cubicBezTo>
                    <a:pt x="240" y="53"/>
                    <a:pt x="239" y="55"/>
                    <a:pt x="236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5" name="Group 294"/>
          <p:cNvGrpSpPr>
            <a:grpSpLocks noChangeAspect="1"/>
          </p:cNvGrpSpPr>
          <p:nvPr/>
        </p:nvGrpSpPr>
        <p:grpSpPr bwMode="auto">
          <a:xfrm>
            <a:off x="7402645" y="2921457"/>
            <a:ext cx="367631" cy="367631"/>
            <a:chOff x="799" y="1118"/>
            <a:chExt cx="340" cy="340"/>
          </a:xfrm>
          <a:solidFill>
            <a:schemeClr val="accent4"/>
          </a:solidFill>
        </p:grpSpPr>
        <p:sp>
          <p:nvSpPr>
            <p:cNvPr id="266" name="Freeform 295"/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Rectangle 296"/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8" name="Group 299"/>
          <p:cNvGrpSpPr>
            <a:grpSpLocks noChangeAspect="1"/>
          </p:cNvGrpSpPr>
          <p:nvPr/>
        </p:nvGrpSpPr>
        <p:grpSpPr bwMode="auto">
          <a:xfrm>
            <a:off x="7899172" y="2921457"/>
            <a:ext cx="368713" cy="367631"/>
            <a:chOff x="1166" y="1121"/>
            <a:chExt cx="341" cy="340"/>
          </a:xfrm>
          <a:solidFill>
            <a:schemeClr val="accent4"/>
          </a:solidFill>
        </p:grpSpPr>
        <p:sp>
          <p:nvSpPr>
            <p:cNvPr id="269" name="Freeform 300"/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301"/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1" name="Freeform 305"/>
          <p:cNvSpPr>
            <a:spLocks noChangeAspect="1" noEditPoints="1"/>
          </p:cNvSpPr>
          <p:nvPr/>
        </p:nvSpPr>
        <p:spPr bwMode="auto">
          <a:xfrm>
            <a:off x="6406500" y="3738096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149 h 512"/>
              <a:gd name="T12" fmla="*/ 277 w 512"/>
              <a:gd name="T13" fmla="*/ 170 h 512"/>
              <a:gd name="T14" fmla="*/ 256 w 512"/>
              <a:gd name="T15" fmla="*/ 192 h 512"/>
              <a:gd name="T16" fmla="*/ 234 w 512"/>
              <a:gd name="T17" fmla="*/ 170 h 512"/>
              <a:gd name="T18" fmla="*/ 256 w 512"/>
              <a:gd name="T19" fmla="*/ 149 h 512"/>
              <a:gd name="T20" fmla="*/ 256 w 512"/>
              <a:gd name="T21" fmla="*/ 362 h 512"/>
              <a:gd name="T22" fmla="*/ 234 w 512"/>
              <a:gd name="T23" fmla="*/ 341 h 512"/>
              <a:gd name="T24" fmla="*/ 256 w 512"/>
              <a:gd name="T25" fmla="*/ 320 h 512"/>
              <a:gd name="T26" fmla="*/ 277 w 512"/>
              <a:gd name="T27" fmla="*/ 341 h 512"/>
              <a:gd name="T28" fmla="*/ 256 w 512"/>
              <a:gd name="T29" fmla="*/ 362 h 512"/>
              <a:gd name="T30" fmla="*/ 405 w 512"/>
              <a:gd name="T31" fmla="*/ 266 h 512"/>
              <a:gd name="T32" fmla="*/ 106 w 512"/>
              <a:gd name="T33" fmla="*/ 266 h 512"/>
              <a:gd name="T34" fmla="*/ 96 w 512"/>
              <a:gd name="T35" fmla="*/ 256 h 512"/>
              <a:gd name="T36" fmla="*/ 106 w 512"/>
              <a:gd name="T37" fmla="*/ 245 h 512"/>
              <a:gd name="T38" fmla="*/ 405 w 512"/>
              <a:gd name="T39" fmla="*/ 245 h 512"/>
              <a:gd name="T40" fmla="*/ 416 w 512"/>
              <a:gd name="T41" fmla="*/ 256 h 512"/>
              <a:gd name="T42" fmla="*/ 405 w 512"/>
              <a:gd name="T4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149"/>
                </a:moveTo>
                <a:cubicBezTo>
                  <a:pt x="267" y="149"/>
                  <a:pt x="277" y="159"/>
                  <a:pt x="277" y="170"/>
                </a:cubicBezTo>
                <a:cubicBezTo>
                  <a:pt x="277" y="182"/>
                  <a:pt x="267" y="192"/>
                  <a:pt x="256" y="192"/>
                </a:cubicBezTo>
                <a:cubicBezTo>
                  <a:pt x="244" y="192"/>
                  <a:pt x="234" y="182"/>
                  <a:pt x="234" y="170"/>
                </a:cubicBezTo>
                <a:cubicBezTo>
                  <a:pt x="234" y="159"/>
                  <a:pt x="244" y="149"/>
                  <a:pt x="256" y="149"/>
                </a:cubicBezTo>
                <a:close/>
                <a:moveTo>
                  <a:pt x="256" y="362"/>
                </a:moveTo>
                <a:cubicBezTo>
                  <a:pt x="244" y="362"/>
                  <a:pt x="234" y="353"/>
                  <a:pt x="234" y="341"/>
                </a:cubicBezTo>
                <a:cubicBezTo>
                  <a:pt x="234" y="329"/>
                  <a:pt x="244" y="320"/>
                  <a:pt x="256" y="320"/>
                </a:cubicBezTo>
                <a:cubicBezTo>
                  <a:pt x="267" y="320"/>
                  <a:pt x="277" y="329"/>
                  <a:pt x="277" y="341"/>
                </a:cubicBezTo>
                <a:cubicBezTo>
                  <a:pt x="277" y="353"/>
                  <a:pt x="267" y="362"/>
                  <a:pt x="256" y="362"/>
                </a:cubicBezTo>
                <a:close/>
                <a:moveTo>
                  <a:pt x="405" y="266"/>
                </a:move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2" name="Group 308"/>
          <p:cNvGrpSpPr>
            <a:grpSpLocks noChangeAspect="1"/>
          </p:cNvGrpSpPr>
          <p:nvPr/>
        </p:nvGrpSpPr>
        <p:grpSpPr bwMode="auto">
          <a:xfrm>
            <a:off x="6903622" y="3738096"/>
            <a:ext cx="367631" cy="367631"/>
            <a:chOff x="1924" y="1137"/>
            <a:chExt cx="340" cy="340"/>
          </a:xfrm>
          <a:solidFill>
            <a:schemeClr val="accent4"/>
          </a:solidFill>
        </p:grpSpPr>
        <p:sp>
          <p:nvSpPr>
            <p:cNvPr id="273" name="Freeform 309"/>
            <p:cNvSpPr>
              <a:spLocks noEditPoints="1"/>
            </p:cNvSpPr>
            <p:nvPr/>
          </p:nvSpPr>
          <p:spPr bwMode="auto">
            <a:xfrm>
              <a:off x="1924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310"/>
            <p:cNvSpPr>
              <a:spLocks noEditPoints="1"/>
            </p:cNvSpPr>
            <p:nvPr/>
          </p:nvSpPr>
          <p:spPr bwMode="auto">
            <a:xfrm>
              <a:off x="1988" y="1236"/>
              <a:ext cx="212" cy="141"/>
            </a:xfrm>
            <a:custGeom>
              <a:avLst/>
              <a:gdLst>
                <a:gd name="T0" fmla="*/ 181 w 320"/>
                <a:gd name="T1" fmla="*/ 21 h 213"/>
                <a:gd name="T2" fmla="*/ 160 w 320"/>
                <a:gd name="T3" fmla="*/ 43 h 213"/>
                <a:gd name="T4" fmla="*/ 138 w 320"/>
                <a:gd name="T5" fmla="*/ 21 h 213"/>
                <a:gd name="T6" fmla="*/ 160 w 320"/>
                <a:gd name="T7" fmla="*/ 0 h 213"/>
                <a:gd name="T8" fmla="*/ 181 w 320"/>
                <a:gd name="T9" fmla="*/ 21 h 213"/>
                <a:gd name="T10" fmla="*/ 160 w 320"/>
                <a:gd name="T11" fmla="*/ 171 h 213"/>
                <a:gd name="T12" fmla="*/ 138 w 320"/>
                <a:gd name="T13" fmla="*/ 192 h 213"/>
                <a:gd name="T14" fmla="*/ 160 w 320"/>
                <a:gd name="T15" fmla="*/ 213 h 213"/>
                <a:gd name="T16" fmla="*/ 181 w 320"/>
                <a:gd name="T17" fmla="*/ 192 h 213"/>
                <a:gd name="T18" fmla="*/ 160 w 320"/>
                <a:gd name="T19" fmla="*/ 171 h 213"/>
                <a:gd name="T20" fmla="*/ 320 w 320"/>
                <a:gd name="T21" fmla="*/ 107 h 213"/>
                <a:gd name="T22" fmla="*/ 309 w 320"/>
                <a:gd name="T23" fmla="*/ 96 h 213"/>
                <a:gd name="T24" fmla="*/ 10 w 320"/>
                <a:gd name="T25" fmla="*/ 96 h 213"/>
                <a:gd name="T26" fmla="*/ 0 w 320"/>
                <a:gd name="T27" fmla="*/ 107 h 213"/>
                <a:gd name="T28" fmla="*/ 10 w 320"/>
                <a:gd name="T29" fmla="*/ 117 h 213"/>
                <a:gd name="T30" fmla="*/ 309 w 320"/>
                <a:gd name="T31" fmla="*/ 117 h 213"/>
                <a:gd name="T32" fmla="*/ 320 w 320"/>
                <a:gd name="T33" fmla="*/ 107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213">
                  <a:moveTo>
                    <a:pt x="181" y="21"/>
                  </a:moveTo>
                  <a:cubicBezTo>
                    <a:pt x="181" y="33"/>
                    <a:pt x="171" y="43"/>
                    <a:pt x="160" y="43"/>
                  </a:cubicBezTo>
                  <a:cubicBezTo>
                    <a:pt x="148" y="43"/>
                    <a:pt x="138" y="33"/>
                    <a:pt x="138" y="21"/>
                  </a:cubicBezTo>
                  <a:cubicBezTo>
                    <a:pt x="138" y="10"/>
                    <a:pt x="148" y="0"/>
                    <a:pt x="160" y="0"/>
                  </a:cubicBezTo>
                  <a:cubicBezTo>
                    <a:pt x="171" y="0"/>
                    <a:pt x="181" y="10"/>
                    <a:pt x="181" y="21"/>
                  </a:cubicBezTo>
                  <a:close/>
                  <a:moveTo>
                    <a:pt x="160" y="171"/>
                  </a:moveTo>
                  <a:cubicBezTo>
                    <a:pt x="148" y="171"/>
                    <a:pt x="138" y="180"/>
                    <a:pt x="138" y="192"/>
                  </a:cubicBezTo>
                  <a:cubicBezTo>
                    <a:pt x="138" y="204"/>
                    <a:pt x="148" y="213"/>
                    <a:pt x="160" y="213"/>
                  </a:cubicBezTo>
                  <a:cubicBezTo>
                    <a:pt x="171" y="213"/>
                    <a:pt x="181" y="204"/>
                    <a:pt x="181" y="192"/>
                  </a:cubicBezTo>
                  <a:cubicBezTo>
                    <a:pt x="181" y="180"/>
                    <a:pt x="171" y="171"/>
                    <a:pt x="160" y="171"/>
                  </a:cubicBezTo>
                  <a:close/>
                  <a:moveTo>
                    <a:pt x="320" y="107"/>
                  </a:moveTo>
                  <a:cubicBezTo>
                    <a:pt x="320" y="101"/>
                    <a:pt x="315" y="96"/>
                    <a:pt x="309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6"/>
                    <a:pt x="0" y="101"/>
                    <a:pt x="0" y="107"/>
                  </a:cubicBezTo>
                  <a:cubicBezTo>
                    <a:pt x="0" y="113"/>
                    <a:pt x="4" y="117"/>
                    <a:pt x="10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15" y="117"/>
                    <a:pt x="320" y="113"/>
                    <a:pt x="320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5" name="Freeform 54"/>
          <p:cNvSpPr>
            <a:spLocks noChangeAspect="1" noEditPoints="1"/>
          </p:cNvSpPr>
          <p:nvPr/>
        </p:nvSpPr>
        <p:spPr bwMode="auto">
          <a:xfrm>
            <a:off x="428114" y="4528372"/>
            <a:ext cx="367631" cy="367631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6" name="Group 57"/>
          <p:cNvGrpSpPr>
            <a:grpSpLocks noChangeAspect="1"/>
          </p:cNvGrpSpPr>
          <p:nvPr/>
        </p:nvGrpSpPr>
        <p:grpSpPr bwMode="auto">
          <a:xfrm>
            <a:off x="925808" y="4528376"/>
            <a:ext cx="367631" cy="367631"/>
            <a:chOff x="3880" y="2160"/>
            <a:chExt cx="340" cy="340"/>
          </a:xfrm>
          <a:solidFill>
            <a:schemeClr val="accent1"/>
          </a:solidFill>
        </p:grpSpPr>
        <p:sp>
          <p:nvSpPr>
            <p:cNvPr id="277" name="Freeform 58"/>
            <p:cNvSpPr>
              <a:spLocks noEditPoints="1"/>
            </p:cNvSpPr>
            <p:nvPr/>
          </p:nvSpPr>
          <p:spPr bwMode="auto">
            <a:xfrm>
              <a:off x="3880" y="21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59"/>
            <p:cNvSpPr>
              <a:spLocks noEditPoints="1"/>
            </p:cNvSpPr>
            <p:nvPr/>
          </p:nvSpPr>
          <p:spPr bwMode="auto">
            <a:xfrm>
              <a:off x="3944" y="2252"/>
              <a:ext cx="212" cy="184"/>
            </a:xfrm>
            <a:custGeom>
              <a:avLst/>
              <a:gdLst>
                <a:gd name="T0" fmla="*/ 64 w 320"/>
                <a:gd name="T1" fmla="*/ 278 h 278"/>
                <a:gd name="T2" fmla="*/ 60 w 320"/>
                <a:gd name="T3" fmla="*/ 277 h 278"/>
                <a:gd name="T4" fmla="*/ 53 w 320"/>
                <a:gd name="T5" fmla="*/ 267 h 278"/>
                <a:gd name="T6" fmla="*/ 53 w 320"/>
                <a:gd name="T7" fmla="*/ 214 h 278"/>
                <a:gd name="T8" fmla="*/ 10 w 320"/>
                <a:gd name="T9" fmla="*/ 214 h 278"/>
                <a:gd name="T10" fmla="*/ 0 w 320"/>
                <a:gd name="T11" fmla="*/ 203 h 278"/>
                <a:gd name="T12" fmla="*/ 0 w 320"/>
                <a:gd name="T13" fmla="*/ 11 h 278"/>
                <a:gd name="T14" fmla="*/ 10 w 320"/>
                <a:gd name="T15" fmla="*/ 0 h 278"/>
                <a:gd name="T16" fmla="*/ 309 w 320"/>
                <a:gd name="T17" fmla="*/ 0 h 278"/>
                <a:gd name="T18" fmla="*/ 320 w 320"/>
                <a:gd name="T19" fmla="*/ 11 h 278"/>
                <a:gd name="T20" fmla="*/ 320 w 320"/>
                <a:gd name="T21" fmla="*/ 203 h 278"/>
                <a:gd name="T22" fmla="*/ 309 w 320"/>
                <a:gd name="T23" fmla="*/ 214 h 278"/>
                <a:gd name="T24" fmla="*/ 122 w 320"/>
                <a:gd name="T25" fmla="*/ 214 h 278"/>
                <a:gd name="T26" fmla="*/ 72 w 320"/>
                <a:gd name="T27" fmla="*/ 274 h 278"/>
                <a:gd name="T28" fmla="*/ 64 w 320"/>
                <a:gd name="T29" fmla="*/ 278 h 278"/>
                <a:gd name="T30" fmla="*/ 21 w 320"/>
                <a:gd name="T31" fmla="*/ 192 h 278"/>
                <a:gd name="T32" fmla="*/ 64 w 320"/>
                <a:gd name="T33" fmla="*/ 192 h 278"/>
                <a:gd name="T34" fmla="*/ 74 w 320"/>
                <a:gd name="T35" fmla="*/ 203 h 278"/>
                <a:gd name="T36" fmla="*/ 74 w 320"/>
                <a:gd name="T37" fmla="*/ 238 h 278"/>
                <a:gd name="T38" fmla="*/ 109 w 320"/>
                <a:gd name="T39" fmla="*/ 196 h 278"/>
                <a:gd name="T40" fmla="*/ 117 w 320"/>
                <a:gd name="T41" fmla="*/ 192 h 278"/>
                <a:gd name="T42" fmla="*/ 298 w 320"/>
                <a:gd name="T43" fmla="*/ 192 h 278"/>
                <a:gd name="T44" fmla="*/ 298 w 320"/>
                <a:gd name="T45" fmla="*/ 22 h 278"/>
                <a:gd name="T46" fmla="*/ 21 w 320"/>
                <a:gd name="T47" fmla="*/ 22 h 278"/>
                <a:gd name="T48" fmla="*/ 21 w 320"/>
                <a:gd name="T49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8">
                  <a:moveTo>
                    <a:pt x="64" y="278"/>
                  </a:moveTo>
                  <a:cubicBezTo>
                    <a:pt x="62" y="278"/>
                    <a:pt x="61" y="277"/>
                    <a:pt x="60" y="277"/>
                  </a:cubicBezTo>
                  <a:cubicBezTo>
                    <a:pt x="56" y="276"/>
                    <a:pt x="53" y="271"/>
                    <a:pt x="53" y="267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10" y="214"/>
                    <a:pt x="10" y="214"/>
                    <a:pt x="10" y="214"/>
                  </a:cubicBezTo>
                  <a:cubicBezTo>
                    <a:pt x="4" y="214"/>
                    <a:pt x="0" y="209"/>
                    <a:pt x="0" y="20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5" y="0"/>
                    <a:pt x="320" y="5"/>
                    <a:pt x="320" y="11"/>
                  </a:cubicBezTo>
                  <a:cubicBezTo>
                    <a:pt x="320" y="203"/>
                    <a:pt x="320" y="203"/>
                    <a:pt x="320" y="203"/>
                  </a:cubicBezTo>
                  <a:cubicBezTo>
                    <a:pt x="320" y="209"/>
                    <a:pt x="315" y="214"/>
                    <a:pt x="309" y="214"/>
                  </a:cubicBezTo>
                  <a:cubicBezTo>
                    <a:pt x="122" y="214"/>
                    <a:pt x="122" y="214"/>
                    <a:pt x="122" y="214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0" y="276"/>
                    <a:pt x="67" y="278"/>
                    <a:pt x="64" y="278"/>
                  </a:cubicBezTo>
                  <a:close/>
                  <a:moveTo>
                    <a:pt x="21" y="192"/>
                  </a:moveTo>
                  <a:cubicBezTo>
                    <a:pt x="64" y="192"/>
                    <a:pt x="64" y="192"/>
                    <a:pt x="64" y="192"/>
                  </a:cubicBezTo>
                  <a:cubicBezTo>
                    <a:pt x="70" y="192"/>
                    <a:pt x="74" y="197"/>
                    <a:pt x="74" y="203"/>
                  </a:cubicBezTo>
                  <a:cubicBezTo>
                    <a:pt x="74" y="238"/>
                    <a:pt x="74" y="238"/>
                    <a:pt x="74" y="238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11" y="194"/>
                    <a:pt x="114" y="192"/>
                    <a:pt x="117" y="192"/>
                  </a:cubicBezTo>
                  <a:cubicBezTo>
                    <a:pt x="298" y="192"/>
                    <a:pt x="298" y="192"/>
                    <a:pt x="298" y="192"/>
                  </a:cubicBezTo>
                  <a:cubicBezTo>
                    <a:pt x="298" y="22"/>
                    <a:pt x="298" y="22"/>
                    <a:pt x="298" y="22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1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Oval 60"/>
            <p:cNvSpPr>
              <a:spLocks noChangeArrowheads="1"/>
            </p:cNvSpPr>
            <p:nvPr/>
          </p:nvSpPr>
          <p:spPr bwMode="auto">
            <a:xfrm>
              <a:off x="4014" y="2315"/>
              <a:ext cx="15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Oval 61"/>
            <p:cNvSpPr>
              <a:spLocks noChangeArrowheads="1"/>
            </p:cNvSpPr>
            <p:nvPr/>
          </p:nvSpPr>
          <p:spPr bwMode="auto">
            <a:xfrm>
              <a:off x="4043" y="2315"/>
              <a:ext cx="14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Oval 62"/>
            <p:cNvSpPr>
              <a:spLocks noChangeArrowheads="1"/>
            </p:cNvSpPr>
            <p:nvPr/>
          </p:nvSpPr>
          <p:spPr bwMode="auto">
            <a:xfrm>
              <a:off x="4071" y="2315"/>
              <a:ext cx="14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0" name="Freeform 232"/>
          <p:cNvSpPr>
            <a:spLocks noChangeAspect="1" noEditPoints="1"/>
          </p:cNvSpPr>
          <p:nvPr/>
        </p:nvSpPr>
        <p:spPr bwMode="auto">
          <a:xfrm>
            <a:off x="5411175" y="3738096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73 h 512"/>
              <a:gd name="T12" fmla="*/ 373 w 512"/>
              <a:gd name="T13" fmla="*/ 384 h 512"/>
              <a:gd name="T14" fmla="*/ 138 w 512"/>
              <a:gd name="T15" fmla="*/ 384 h 512"/>
              <a:gd name="T16" fmla="*/ 128 w 512"/>
              <a:gd name="T17" fmla="*/ 373 h 512"/>
              <a:gd name="T18" fmla="*/ 128 w 512"/>
              <a:gd name="T19" fmla="*/ 138 h 512"/>
              <a:gd name="T20" fmla="*/ 138 w 512"/>
              <a:gd name="T21" fmla="*/ 128 h 512"/>
              <a:gd name="T22" fmla="*/ 373 w 512"/>
              <a:gd name="T23" fmla="*/ 128 h 512"/>
              <a:gd name="T24" fmla="*/ 384 w 512"/>
              <a:gd name="T25" fmla="*/ 138 h 512"/>
              <a:gd name="T26" fmla="*/ 384 w 512"/>
              <a:gd name="T27" fmla="*/ 373 h 512"/>
              <a:gd name="T28" fmla="*/ 149 w 512"/>
              <a:gd name="T29" fmla="*/ 362 h 512"/>
              <a:gd name="T30" fmla="*/ 362 w 512"/>
              <a:gd name="T31" fmla="*/ 362 h 512"/>
              <a:gd name="T32" fmla="*/ 362 w 512"/>
              <a:gd name="T33" fmla="*/ 149 h 512"/>
              <a:gd name="T34" fmla="*/ 149 w 512"/>
              <a:gd name="T35" fmla="*/ 149 h 512"/>
              <a:gd name="T36" fmla="*/ 149 w 512"/>
              <a:gd name="T37" fmla="*/ 362 h 512"/>
              <a:gd name="T38" fmla="*/ 309 w 512"/>
              <a:gd name="T39" fmla="*/ 170 h 512"/>
              <a:gd name="T40" fmla="*/ 330 w 512"/>
              <a:gd name="T41" fmla="*/ 192 h 512"/>
              <a:gd name="T42" fmla="*/ 309 w 512"/>
              <a:gd name="T43" fmla="*/ 213 h 512"/>
              <a:gd name="T44" fmla="*/ 288 w 512"/>
              <a:gd name="T45" fmla="*/ 192 h 512"/>
              <a:gd name="T46" fmla="*/ 309 w 512"/>
              <a:gd name="T47" fmla="*/ 170 h 512"/>
              <a:gd name="T48" fmla="*/ 309 w 512"/>
              <a:gd name="T49" fmla="*/ 234 h 512"/>
              <a:gd name="T50" fmla="*/ 330 w 512"/>
              <a:gd name="T51" fmla="*/ 256 h 512"/>
              <a:gd name="T52" fmla="*/ 309 w 512"/>
              <a:gd name="T53" fmla="*/ 277 h 512"/>
              <a:gd name="T54" fmla="*/ 288 w 512"/>
              <a:gd name="T55" fmla="*/ 256 h 512"/>
              <a:gd name="T56" fmla="*/ 309 w 512"/>
              <a:gd name="T57" fmla="*/ 234 h 512"/>
              <a:gd name="T58" fmla="*/ 309 w 512"/>
              <a:gd name="T59" fmla="*/ 298 h 512"/>
              <a:gd name="T60" fmla="*/ 330 w 512"/>
              <a:gd name="T61" fmla="*/ 320 h 512"/>
              <a:gd name="T62" fmla="*/ 309 w 512"/>
              <a:gd name="T63" fmla="*/ 341 h 512"/>
              <a:gd name="T64" fmla="*/ 288 w 512"/>
              <a:gd name="T65" fmla="*/ 320 h 512"/>
              <a:gd name="T66" fmla="*/ 309 w 512"/>
              <a:gd name="T67" fmla="*/ 298 h 512"/>
              <a:gd name="T68" fmla="*/ 202 w 512"/>
              <a:gd name="T69" fmla="*/ 170 h 512"/>
              <a:gd name="T70" fmla="*/ 224 w 512"/>
              <a:gd name="T71" fmla="*/ 192 h 512"/>
              <a:gd name="T72" fmla="*/ 202 w 512"/>
              <a:gd name="T73" fmla="*/ 213 h 512"/>
              <a:gd name="T74" fmla="*/ 181 w 512"/>
              <a:gd name="T75" fmla="*/ 192 h 512"/>
              <a:gd name="T76" fmla="*/ 202 w 512"/>
              <a:gd name="T77" fmla="*/ 170 h 512"/>
              <a:gd name="T78" fmla="*/ 202 w 512"/>
              <a:gd name="T79" fmla="*/ 234 h 512"/>
              <a:gd name="T80" fmla="*/ 224 w 512"/>
              <a:gd name="T81" fmla="*/ 256 h 512"/>
              <a:gd name="T82" fmla="*/ 202 w 512"/>
              <a:gd name="T83" fmla="*/ 277 h 512"/>
              <a:gd name="T84" fmla="*/ 181 w 512"/>
              <a:gd name="T85" fmla="*/ 256 h 512"/>
              <a:gd name="T86" fmla="*/ 202 w 512"/>
              <a:gd name="T87" fmla="*/ 234 h 512"/>
              <a:gd name="T88" fmla="*/ 202 w 512"/>
              <a:gd name="T89" fmla="*/ 298 h 512"/>
              <a:gd name="T90" fmla="*/ 224 w 512"/>
              <a:gd name="T91" fmla="*/ 320 h 512"/>
              <a:gd name="T92" fmla="*/ 202 w 512"/>
              <a:gd name="T93" fmla="*/ 341 h 512"/>
              <a:gd name="T94" fmla="*/ 181 w 512"/>
              <a:gd name="T95" fmla="*/ 320 h 512"/>
              <a:gd name="T96" fmla="*/ 202 w 512"/>
              <a:gd name="T97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73"/>
                </a:moveTo>
                <a:cubicBezTo>
                  <a:pt x="384" y="379"/>
                  <a:pt x="379" y="384"/>
                  <a:pt x="373" y="384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2" y="384"/>
                  <a:pt x="128" y="379"/>
                  <a:pt x="128" y="373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28" y="132"/>
                  <a:pt x="132" y="128"/>
                  <a:pt x="138" y="128"/>
                </a:cubicBezTo>
                <a:cubicBezTo>
                  <a:pt x="373" y="128"/>
                  <a:pt x="373" y="128"/>
                  <a:pt x="373" y="128"/>
                </a:cubicBezTo>
                <a:cubicBezTo>
                  <a:pt x="379" y="128"/>
                  <a:pt x="384" y="132"/>
                  <a:pt x="384" y="138"/>
                </a:cubicBezTo>
                <a:lnTo>
                  <a:pt x="384" y="373"/>
                </a:lnTo>
                <a:close/>
                <a:moveTo>
                  <a:pt x="149" y="362"/>
                </a:moveTo>
                <a:cubicBezTo>
                  <a:pt x="362" y="362"/>
                  <a:pt x="362" y="362"/>
                  <a:pt x="362" y="362"/>
                </a:cubicBezTo>
                <a:cubicBezTo>
                  <a:pt x="362" y="149"/>
                  <a:pt x="362" y="149"/>
                  <a:pt x="362" y="149"/>
                </a:cubicBezTo>
                <a:cubicBezTo>
                  <a:pt x="149" y="149"/>
                  <a:pt x="149" y="149"/>
                  <a:pt x="149" y="149"/>
                </a:cubicBezTo>
                <a:lnTo>
                  <a:pt x="149" y="362"/>
                </a:lnTo>
                <a:close/>
                <a:moveTo>
                  <a:pt x="309" y="170"/>
                </a:moveTo>
                <a:cubicBezTo>
                  <a:pt x="321" y="170"/>
                  <a:pt x="330" y="180"/>
                  <a:pt x="330" y="192"/>
                </a:cubicBezTo>
                <a:cubicBezTo>
                  <a:pt x="330" y="203"/>
                  <a:pt x="321" y="213"/>
                  <a:pt x="309" y="213"/>
                </a:cubicBezTo>
                <a:cubicBezTo>
                  <a:pt x="297" y="213"/>
                  <a:pt x="288" y="203"/>
                  <a:pt x="288" y="192"/>
                </a:cubicBezTo>
                <a:cubicBezTo>
                  <a:pt x="288" y="180"/>
                  <a:pt x="297" y="170"/>
                  <a:pt x="309" y="170"/>
                </a:cubicBezTo>
                <a:close/>
                <a:moveTo>
                  <a:pt x="309" y="234"/>
                </a:moveTo>
                <a:cubicBezTo>
                  <a:pt x="321" y="234"/>
                  <a:pt x="330" y="244"/>
                  <a:pt x="330" y="256"/>
                </a:cubicBezTo>
                <a:cubicBezTo>
                  <a:pt x="330" y="267"/>
                  <a:pt x="321" y="277"/>
                  <a:pt x="309" y="277"/>
                </a:cubicBezTo>
                <a:cubicBezTo>
                  <a:pt x="297" y="277"/>
                  <a:pt x="288" y="267"/>
                  <a:pt x="288" y="256"/>
                </a:cubicBezTo>
                <a:cubicBezTo>
                  <a:pt x="288" y="244"/>
                  <a:pt x="297" y="234"/>
                  <a:pt x="309" y="234"/>
                </a:cubicBezTo>
                <a:close/>
                <a:moveTo>
                  <a:pt x="309" y="298"/>
                </a:moveTo>
                <a:cubicBezTo>
                  <a:pt x="321" y="298"/>
                  <a:pt x="330" y="308"/>
                  <a:pt x="330" y="320"/>
                </a:cubicBezTo>
                <a:cubicBezTo>
                  <a:pt x="330" y="331"/>
                  <a:pt x="321" y="341"/>
                  <a:pt x="309" y="341"/>
                </a:cubicBezTo>
                <a:cubicBezTo>
                  <a:pt x="297" y="341"/>
                  <a:pt x="288" y="331"/>
                  <a:pt x="288" y="320"/>
                </a:cubicBezTo>
                <a:cubicBezTo>
                  <a:pt x="288" y="308"/>
                  <a:pt x="297" y="298"/>
                  <a:pt x="309" y="298"/>
                </a:cubicBezTo>
                <a:close/>
                <a:moveTo>
                  <a:pt x="202" y="170"/>
                </a:moveTo>
                <a:cubicBezTo>
                  <a:pt x="214" y="170"/>
                  <a:pt x="224" y="180"/>
                  <a:pt x="224" y="192"/>
                </a:cubicBezTo>
                <a:cubicBezTo>
                  <a:pt x="224" y="203"/>
                  <a:pt x="214" y="213"/>
                  <a:pt x="202" y="213"/>
                </a:cubicBezTo>
                <a:cubicBezTo>
                  <a:pt x="191" y="213"/>
                  <a:pt x="181" y="203"/>
                  <a:pt x="181" y="192"/>
                </a:cubicBezTo>
                <a:cubicBezTo>
                  <a:pt x="181" y="180"/>
                  <a:pt x="191" y="170"/>
                  <a:pt x="202" y="170"/>
                </a:cubicBezTo>
                <a:close/>
                <a:moveTo>
                  <a:pt x="202" y="234"/>
                </a:moveTo>
                <a:cubicBezTo>
                  <a:pt x="214" y="234"/>
                  <a:pt x="224" y="244"/>
                  <a:pt x="224" y="256"/>
                </a:cubicBezTo>
                <a:cubicBezTo>
                  <a:pt x="224" y="267"/>
                  <a:pt x="214" y="277"/>
                  <a:pt x="202" y="277"/>
                </a:cubicBezTo>
                <a:cubicBezTo>
                  <a:pt x="191" y="277"/>
                  <a:pt x="181" y="267"/>
                  <a:pt x="181" y="256"/>
                </a:cubicBezTo>
                <a:cubicBezTo>
                  <a:pt x="181" y="244"/>
                  <a:pt x="191" y="234"/>
                  <a:pt x="202" y="234"/>
                </a:cubicBezTo>
                <a:close/>
                <a:moveTo>
                  <a:pt x="202" y="298"/>
                </a:moveTo>
                <a:cubicBezTo>
                  <a:pt x="214" y="298"/>
                  <a:pt x="224" y="308"/>
                  <a:pt x="224" y="320"/>
                </a:cubicBezTo>
                <a:cubicBezTo>
                  <a:pt x="224" y="331"/>
                  <a:pt x="214" y="341"/>
                  <a:pt x="202" y="341"/>
                </a:cubicBezTo>
                <a:cubicBezTo>
                  <a:pt x="191" y="341"/>
                  <a:pt x="181" y="331"/>
                  <a:pt x="181" y="320"/>
                </a:cubicBezTo>
                <a:cubicBezTo>
                  <a:pt x="181" y="308"/>
                  <a:pt x="191" y="298"/>
                  <a:pt x="202" y="29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1" name="Group 235"/>
          <p:cNvGrpSpPr>
            <a:grpSpLocks noChangeAspect="1"/>
          </p:cNvGrpSpPr>
          <p:nvPr/>
        </p:nvGrpSpPr>
        <p:grpSpPr bwMode="auto">
          <a:xfrm>
            <a:off x="5908297" y="3738096"/>
            <a:ext cx="368712" cy="367631"/>
            <a:chOff x="3811" y="1259"/>
            <a:chExt cx="341" cy="340"/>
          </a:xfrm>
          <a:solidFill>
            <a:schemeClr val="accent3"/>
          </a:solidFill>
        </p:grpSpPr>
        <p:sp>
          <p:nvSpPr>
            <p:cNvPr id="292" name="Freeform 236"/>
            <p:cNvSpPr>
              <a:spLocks noEditPoints="1"/>
            </p:cNvSpPr>
            <p:nvPr/>
          </p:nvSpPr>
          <p:spPr bwMode="auto">
            <a:xfrm>
              <a:off x="3896" y="1344"/>
              <a:ext cx="171" cy="170"/>
            </a:xfrm>
            <a:custGeom>
              <a:avLst/>
              <a:gdLst>
                <a:gd name="T0" fmla="*/ 245 w 256"/>
                <a:gd name="T1" fmla="*/ 0 h 256"/>
                <a:gd name="T2" fmla="*/ 10 w 256"/>
                <a:gd name="T3" fmla="*/ 0 h 256"/>
                <a:gd name="T4" fmla="*/ 0 w 256"/>
                <a:gd name="T5" fmla="*/ 10 h 256"/>
                <a:gd name="T6" fmla="*/ 0 w 256"/>
                <a:gd name="T7" fmla="*/ 245 h 256"/>
                <a:gd name="T8" fmla="*/ 10 w 256"/>
                <a:gd name="T9" fmla="*/ 256 h 256"/>
                <a:gd name="T10" fmla="*/ 245 w 256"/>
                <a:gd name="T11" fmla="*/ 256 h 256"/>
                <a:gd name="T12" fmla="*/ 256 w 256"/>
                <a:gd name="T13" fmla="*/ 245 h 256"/>
                <a:gd name="T14" fmla="*/ 256 w 256"/>
                <a:gd name="T15" fmla="*/ 10 h 256"/>
                <a:gd name="T16" fmla="*/ 245 w 256"/>
                <a:gd name="T17" fmla="*/ 0 h 256"/>
                <a:gd name="T18" fmla="*/ 234 w 256"/>
                <a:gd name="T19" fmla="*/ 234 h 256"/>
                <a:gd name="T20" fmla="*/ 21 w 256"/>
                <a:gd name="T21" fmla="*/ 234 h 256"/>
                <a:gd name="T22" fmla="*/ 21 w 256"/>
                <a:gd name="T23" fmla="*/ 21 h 256"/>
                <a:gd name="T24" fmla="*/ 234 w 256"/>
                <a:gd name="T25" fmla="*/ 21 h 256"/>
                <a:gd name="T26" fmla="*/ 234 w 256"/>
                <a:gd name="T27" fmla="*/ 234 h 256"/>
                <a:gd name="T28" fmla="*/ 160 w 256"/>
                <a:gd name="T29" fmla="*/ 64 h 256"/>
                <a:gd name="T30" fmla="*/ 181 w 256"/>
                <a:gd name="T31" fmla="*/ 42 h 256"/>
                <a:gd name="T32" fmla="*/ 202 w 256"/>
                <a:gd name="T33" fmla="*/ 64 h 256"/>
                <a:gd name="T34" fmla="*/ 181 w 256"/>
                <a:gd name="T35" fmla="*/ 85 h 256"/>
                <a:gd name="T36" fmla="*/ 160 w 256"/>
                <a:gd name="T37" fmla="*/ 64 h 256"/>
                <a:gd name="T38" fmla="*/ 160 w 256"/>
                <a:gd name="T39" fmla="*/ 128 h 256"/>
                <a:gd name="T40" fmla="*/ 181 w 256"/>
                <a:gd name="T41" fmla="*/ 106 h 256"/>
                <a:gd name="T42" fmla="*/ 202 w 256"/>
                <a:gd name="T43" fmla="*/ 128 h 256"/>
                <a:gd name="T44" fmla="*/ 181 w 256"/>
                <a:gd name="T45" fmla="*/ 149 h 256"/>
                <a:gd name="T46" fmla="*/ 160 w 256"/>
                <a:gd name="T47" fmla="*/ 128 h 256"/>
                <a:gd name="T48" fmla="*/ 160 w 256"/>
                <a:gd name="T49" fmla="*/ 192 h 256"/>
                <a:gd name="T50" fmla="*/ 181 w 256"/>
                <a:gd name="T51" fmla="*/ 170 h 256"/>
                <a:gd name="T52" fmla="*/ 202 w 256"/>
                <a:gd name="T53" fmla="*/ 192 h 256"/>
                <a:gd name="T54" fmla="*/ 181 w 256"/>
                <a:gd name="T55" fmla="*/ 213 h 256"/>
                <a:gd name="T56" fmla="*/ 160 w 256"/>
                <a:gd name="T57" fmla="*/ 192 h 256"/>
                <a:gd name="T58" fmla="*/ 53 w 256"/>
                <a:gd name="T59" fmla="*/ 192 h 256"/>
                <a:gd name="T60" fmla="*/ 74 w 256"/>
                <a:gd name="T61" fmla="*/ 170 h 256"/>
                <a:gd name="T62" fmla="*/ 96 w 256"/>
                <a:gd name="T63" fmla="*/ 192 h 256"/>
                <a:gd name="T64" fmla="*/ 74 w 256"/>
                <a:gd name="T65" fmla="*/ 213 h 256"/>
                <a:gd name="T66" fmla="*/ 53 w 256"/>
                <a:gd name="T67" fmla="*/ 192 h 256"/>
                <a:gd name="T68" fmla="*/ 53 w 256"/>
                <a:gd name="T69" fmla="*/ 128 h 256"/>
                <a:gd name="T70" fmla="*/ 74 w 256"/>
                <a:gd name="T71" fmla="*/ 106 h 256"/>
                <a:gd name="T72" fmla="*/ 96 w 256"/>
                <a:gd name="T73" fmla="*/ 128 h 256"/>
                <a:gd name="T74" fmla="*/ 74 w 256"/>
                <a:gd name="T75" fmla="*/ 149 h 256"/>
                <a:gd name="T76" fmla="*/ 53 w 256"/>
                <a:gd name="T77" fmla="*/ 128 h 256"/>
                <a:gd name="T78" fmla="*/ 53 w 256"/>
                <a:gd name="T79" fmla="*/ 64 h 256"/>
                <a:gd name="T80" fmla="*/ 74 w 256"/>
                <a:gd name="T81" fmla="*/ 42 h 256"/>
                <a:gd name="T82" fmla="*/ 96 w 256"/>
                <a:gd name="T83" fmla="*/ 64 h 256"/>
                <a:gd name="T84" fmla="*/ 74 w 256"/>
                <a:gd name="T85" fmla="*/ 85 h 256"/>
                <a:gd name="T86" fmla="*/ 53 w 256"/>
                <a:gd name="T87" fmla="*/ 6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6" h="256">
                  <a:moveTo>
                    <a:pt x="245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51"/>
                    <a:pt x="4" y="256"/>
                    <a:pt x="10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51" y="256"/>
                    <a:pt x="256" y="251"/>
                    <a:pt x="256" y="245"/>
                  </a:cubicBezTo>
                  <a:cubicBezTo>
                    <a:pt x="256" y="10"/>
                    <a:pt x="256" y="10"/>
                    <a:pt x="256" y="10"/>
                  </a:cubicBezTo>
                  <a:cubicBezTo>
                    <a:pt x="256" y="4"/>
                    <a:pt x="251" y="0"/>
                    <a:pt x="245" y="0"/>
                  </a:cubicBezTo>
                  <a:close/>
                  <a:moveTo>
                    <a:pt x="234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34" y="21"/>
                    <a:pt x="234" y="21"/>
                    <a:pt x="234" y="21"/>
                  </a:cubicBezTo>
                  <a:lnTo>
                    <a:pt x="234" y="234"/>
                  </a:lnTo>
                  <a:close/>
                  <a:moveTo>
                    <a:pt x="160" y="64"/>
                  </a:moveTo>
                  <a:cubicBezTo>
                    <a:pt x="160" y="52"/>
                    <a:pt x="169" y="42"/>
                    <a:pt x="181" y="42"/>
                  </a:cubicBezTo>
                  <a:cubicBezTo>
                    <a:pt x="193" y="42"/>
                    <a:pt x="202" y="52"/>
                    <a:pt x="202" y="64"/>
                  </a:cubicBezTo>
                  <a:cubicBezTo>
                    <a:pt x="202" y="75"/>
                    <a:pt x="193" y="85"/>
                    <a:pt x="181" y="85"/>
                  </a:cubicBezTo>
                  <a:cubicBezTo>
                    <a:pt x="169" y="85"/>
                    <a:pt x="160" y="75"/>
                    <a:pt x="160" y="64"/>
                  </a:cubicBezTo>
                  <a:close/>
                  <a:moveTo>
                    <a:pt x="160" y="128"/>
                  </a:moveTo>
                  <a:cubicBezTo>
                    <a:pt x="160" y="116"/>
                    <a:pt x="169" y="106"/>
                    <a:pt x="181" y="106"/>
                  </a:cubicBezTo>
                  <a:cubicBezTo>
                    <a:pt x="193" y="106"/>
                    <a:pt x="202" y="116"/>
                    <a:pt x="202" y="128"/>
                  </a:cubicBezTo>
                  <a:cubicBezTo>
                    <a:pt x="202" y="139"/>
                    <a:pt x="193" y="149"/>
                    <a:pt x="181" y="149"/>
                  </a:cubicBezTo>
                  <a:cubicBezTo>
                    <a:pt x="169" y="149"/>
                    <a:pt x="160" y="139"/>
                    <a:pt x="160" y="128"/>
                  </a:cubicBezTo>
                  <a:close/>
                  <a:moveTo>
                    <a:pt x="160" y="192"/>
                  </a:moveTo>
                  <a:cubicBezTo>
                    <a:pt x="160" y="180"/>
                    <a:pt x="169" y="170"/>
                    <a:pt x="181" y="170"/>
                  </a:cubicBezTo>
                  <a:cubicBezTo>
                    <a:pt x="193" y="170"/>
                    <a:pt x="202" y="180"/>
                    <a:pt x="202" y="192"/>
                  </a:cubicBezTo>
                  <a:cubicBezTo>
                    <a:pt x="202" y="203"/>
                    <a:pt x="193" y="213"/>
                    <a:pt x="181" y="213"/>
                  </a:cubicBezTo>
                  <a:cubicBezTo>
                    <a:pt x="169" y="213"/>
                    <a:pt x="160" y="203"/>
                    <a:pt x="160" y="192"/>
                  </a:cubicBezTo>
                  <a:close/>
                  <a:moveTo>
                    <a:pt x="53" y="192"/>
                  </a:moveTo>
                  <a:cubicBezTo>
                    <a:pt x="53" y="180"/>
                    <a:pt x="63" y="170"/>
                    <a:pt x="74" y="170"/>
                  </a:cubicBezTo>
                  <a:cubicBezTo>
                    <a:pt x="86" y="170"/>
                    <a:pt x="96" y="180"/>
                    <a:pt x="96" y="192"/>
                  </a:cubicBezTo>
                  <a:cubicBezTo>
                    <a:pt x="96" y="203"/>
                    <a:pt x="86" y="213"/>
                    <a:pt x="74" y="213"/>
                  </a:cubicBezTo>
                  <a:cubicBezTo>
                    <a:pt x="63" y="213"/>
                    <a:pt x="53" y="203"/>
                    <a:pt x="53" y="192"/>
                  </a:cubicBezTo>
                  <a:close/>
                  <a:moveTo>
                    <a:pt x="53" y="128"/>
                  </a:moveTo>
                  <a:cubicBezTo>
                    <a:pt x="53" y="116"/>
                    <a:pt x="63" y="106"/>
                    <a:pt x="74" y="106"/>
                  </a:cubicBezTo>
                  <a:cubicBezTo>
                    <a:pt x="86" y="106"/>
                    <a:pt x="96" y="116"/>
                    <a:pt x="96" y="128"/>
                  </a:cubicBezTo>
                  <a:cubicBezTo>
                    <a:pt x="96" y="139"/>
                    <a:pt x="86" y="149"/>
                    <a:pt x="74" y="149"/>
                  </a:cubicBezTo>
                  <a:cubicBezTo>
                    <a:pt x="63" y="149"/>
                    <a:pt x="53" y="139"/>
                    <a:pt x="53" y="128"/>
                  </a:cubicBezTo>
                  <a:close/>
                  <a:moveTo>
                    <a:pt x="53" y="64"/>
                  </a:moveTo>
                  <a:cubicBezTo>
                    <a:pt x="53" y="52"/>
                    <a:pt x="63" y="42"/>
                    <a:pt x="74" y="42"/>
                  </a:cubicBezTo>
                  <a:cubicBezTo>
                    <a:pt x="86" y="42"/>
                    <a:pt x="96" y="52"/>
                    <a:pt x="96" y="64"/>
                  </a:cubicBezTo>
                  <a:cubicBezTo>
                    <a:pt x="96" y="75"/>
                    <a:pt x="86" y="85"/>
                    <a:pt x="74" y="85"/>
                  </a:cubicBezTo>
                  <a:cubicBezTo>
                    <a:pt x="63" y="85"/>
                    <a:pt x="53" y="75"/>
                    <a:pt x="53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237"/>
            <p:cNvSpPr>
              <a:spLocks noEditPoints="1"/>
            </p:cNvSpPr>
            <p:nvPr/>
          </p:nvSpPr>
          <p:spPr bwMode="auto">
            <a:xfrm>
              <a:off x="3811" y="125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4" name="Freeform 395"/>
          <p:cNvSpPr>
            <a:spLocks noChangeAspect="1" noEditPoints="1"/>
          </p:cNvSpPr>
          <p:nvPr/>
        </p:nvSpPr>
        <p:spPr bwMode="auto">
          <a:xfrm>
            <a:off x="3414278" y="4528376"/>
            <a:ext cx="367631" cy="367631"/>
          </a:xfrm>
          <a:custGeom>
            <a:avLst/>
            <a:gdLst>
              <a:gd name="T0" fmla="*/ 245 w 512"/>
              <a:gd name="T1" fmla="*/ 192 h 512"/>
              <a:gd name="T2" fmla="*/ 224 w 512"/>
              <a:gd name="T3" fmla="*/ 213 h 512"/>
              <a:gd name="T4" fmla="*/ 266 w 512"/>
              <a:gd name="T5" fmla="*/ 320 h 512"/>
              <a:gd name="T6" fmla="*/ 288 w 512"/>
              <a:gd name="T7" fmla="*/ 298 h 512"/>
              <a:gd name="T8" fmla="*/ 266 w 512"/>
              <a:gd name="T9" fmla="*/ 320 h 512"/>
              <a:gd name="T10" fmla="*/ 256 w 512"/>
              <a:gd name="T11" fmla="*/ 512 h 512"/>
              <a:gd name="T12" fmla="*/ 256 w 512"/>
              <a:gd name="T13" fmla="*/ 0 h 512"/>
              <a:gd name="T14" fmla="*/ 181 w 512"/>
              <a:gd name="T15" fmla="*/ 181 h 512"/>
              <a:gd name="T16" fmla="*/ 139 w 512"/>
              <a:gd name="T17" fmla="*/ 170 h 512"/>
              <a:gd name="T18" fmla="*/ 181 w 512"/>
              <a:gd name="T19" fmla="*/ 126 h 512"/>
              <a:gd name="T20" fmla="*/ 117 w 512"/>
              <a:gd name="T21" fmla="*/ 181 h 512"/>
              <a:gd name="T22" fmla="*/ 128 w 512"/>
              <a:gd name="T23" fmla="*/ 234 h 512"/>
              <a:gd name="T24" fmla="*/ 181 w 512"/>
              <a:gd name="T25" fmla="*/ 224 h 512"/>
              <a:gd name="T26" fmla="*/ 213 w 512"/>
              <a:gd name="T27" fmla="*/ 234 h 512"/>
              <a:gd name="T28" fmla="*/ 266 w 512"/>
              <a:gd name="T29" fmla="*/ 224 h 512"/>
              <a:gd name="T30" fmla="*/ 256 w 512"/>
              <a:gd name="T31" fmla="*/ 170 h 512"/>
              <a:gd name="T32" fmla="*/ 257 w 512"/>
              <a:gd name="T33" fmla="*/ 138 h 512"/>
              <a:gd name="T34" fmla="*/ 254 w 512"/>
              <a:gd name="T35" fmla="*/ 117 h 512"/>
              <a:gd name="T36" fmla="*/ 202 w 512"/>
              <a:gd name="T37" fmla="*/ 224 h 512"/>
              <a:gd name="T38" fmla="*/ 309 w 512"/>
              <a:gd name="T39" fmla="*/ 288 h 512"/>
              <a:gd name="T40" fmla="*/ 256 w 512"/>
              <a:gd name="T41" fmla="*/ 277 h 512"/>
              <a:gd name="T42" fmla="*/ 245 w 512"/>
              <a:gd name="T43" fmla="*/ 330 h 512"/>
              <a:gd name="T44" fmla="*/ 287 w 512"/>
              <a:gd name="T45" fmla="*/ 341 h 512"/>
              <a:gd name="T46" fmla="*/ 245 w 512"/>
              <a:gd name="T47" fmla="*/ 385 h 512"/>
              <a:gd name="T48" fmla="*/ 257 w 512"/>
              <a:gd name="T49" fmla="*/ 394 h 512"/>
              <a:gd name="T50" fmla="*/ 309 w 512"/>
              <a:gd name="T51" fmla="*/ 288 h 512"/>
              <a:gd name="T52" fmla="*/ 384 w 512"/>
              <a:gd name="T53" fmla="*/ 277 h 512"/>
              <a:gd name="T54" fmla="*/ 330 w 512"/>
              <a:gd name="T55" fmla="*/ 288 h 512"/>
              <a:gd name="T56" fmla="*/ 341 w 512"/>
              <a:gd name="T57" fmla="*/ 341 h 512"/>
              <a:gd name="T58" fmla="*/ 340 w 512"/>
              <a:gd name="T59" fmla="*/ 373 h 512"/>
              <a:gd name="T60" fmla="*/ 341 w 512"/>
              <a:gd name="T61" fmla="*/ 394 h 512"/>
              <a:gd name="T62" fmla="*/ 394 w 512"/>
              <a:gd name="T63" fmla="*/ 330 h 512"/>
              <a:gd name="T64" fmla="*/ 138 w 512"/>
              <a:gd name="T65" fmla="*/ 213 h 512"/>
              <a:gd name="T66" fmla="*/ 160 w 512"/>
              <a:gd name="T67" fmla="*/ 192 h 512"/>
              <a:gd name="T68" fmla="*/ 138 w 512"/>
              <a:gd name="T69" fmla="*/ 213 h 512"/>
              <a:gd name="T70" fmla="*/ 373 w 512"/>
              <a:gd name="T71" fmla="*/ 320 h 512"/>
              <a:gd name="T72" fmla="*/ 352 w 512"/>
              <a:gd name="T73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24" y="192"/>
                </a:moveTo>
                <a:cubicBezTo>
                  <a:pt x="245" y="192"/>
                  <a:pt x="245" y="192"/>
                  <a:pt x="245" y="192"/>
                </a:cubicBezTo>
                <a:cubicBezTo>
                  <a:pt x="245" y="213"/>
                  <a:pt x="245" y="213"/>
                  <a:pt x="245" y="213"/>
                </a:cubicBezTo>
                <a:cubicBezTo>
                  <a:pt x="224" y="213"/>
                  <a:pt x="224" y="213"/>
                  <a:pt x="224" y="213"/>
                </a:cubicBezTo>
                <a:lnTo>
                  <a:pt x="224" y="192"/>
                </a:lnTo>
                <a:close/>
                <a:moveTo>
                  <a:pt x="266" y="320"/>
                </a:moveTo>
                <a:cubicBezTo>
                  <a:pt x="288" y="320"/>
                  <a:pt x="288" y="320"/>
                  <a:pt x="288" y="320"/>
                </a:cubicBezTo>
                <a:cubicBezTo>
                  <a:pt x="288" y="298"/>
                  <a:pt x="288" y="298"/>
                  <a:pt x="288" y="298"/>
                </a:cubicBezTo>
                <a:cubicBezTo>
                  <a:pt x="266" y="298"/>
                  <a:pt x="266" y="298"/>
                  <a:pt x="266" y="298"/>
                </a:cubicBezTo>
                <a:lnTo>
                  <a:pt x="266" y="32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1" y="181"/>
                </a:moveTo>
                <a:cubicBezTo>
                  <a:pt x="181" y="175"/>
                  <a:pt x="176" y="170"/>
                  <a:pt x="170" y="170"/>
                </a:cubicBezTo>
                <a:cubicBezTo>
                  <a:pt x="139" y="170"/>
                  <a:pt x="139" y="170"/>
                  <a:pt x="139" y="170"/>
                </a:cubicBezTo>
                <a:cubicBezTo>
                  <a:pt x="144" y="143"/>
                  <a:pt x="168" y="139"/>
                  <a:pt x="172" y="138"/>
                </a:cubicBezTo>
                <a:cubicBezTo>
                  <a:pt x="177" y="138"/>
                  <a:pt x="182" y="132"/>
                  <a:pt x="181" y="126"/>
                </a:cubicBezTo>
                <a:cubicBezTo>
                  <a:pt x="180" y="121"/>
                  <a:pt x="175" y="117"/>
                  <a:pt x="169" y="117"/>
                </a:cubicBezTo>
                <a:cubicBezTo>
                  <a:pt x="151" y="119"/>
                  <a:pt x="117" y="135"/>
                  <a:pt x="117" y="181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30"/>
                  <a:pt x="122" y="234"/>
                  <a:pt x="128" y="234"/>
                </a:cubicBezTo>
                <a:cubicBezTo>
                  <a:pt x="170" y="234"/>
                  <a:pt x="170" y="234"/>
                  <a:pt x="170" y="234"/>
                </a:cubicBezTo>
                <a:cubicBezTo>
                  <a:pt x="176" y="234"/>
                  <a:pt x="181" y="230"/>
                  <a:pt x="181" y="224"/>
                </a:cubicBezTo>
                <a:lnTo>
                  <a:pt x="181" y="181"/>
                </a:lnTo>
                <a:close/>
                <a:moveTo>
                  <a:pt x="213" y="234"/>
                </a:moveTo>
                <a:cubicBezTo>
                  <a:pt x="256" y="234"/>
                  <a:pt x="256" y="234"/>
                  <a:pt x="256" y="234"/>
                </a:cubicBezTo>
                <a:cubicBezTo>
                  <a:pt x="262" y="234"/>
                  <a:pt x="266" y="230"/>
                  <a:pt x="266" y="224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75"/>
                  <a:pt x="262" y="170"/>
                  <a:pt x="256" y="170"/>
                </a:cubicBezTo>
                <a:cubicBezTo>
                  <a:pt x="225" y="170"/>
                  <a:pt x="225" y="170"/>
                  <a:pt x="225" y="170"/>
                </a:cubicBezTo>
                <a:cubicBezTo>
                  <a:pt x="230" y="143"/>
                  <a:pt x="254" y="139"/>
                  <a:pt x="257" y="138"/>
                </a:cubicBezTo>
                <a:cubicBezTo>
                  <a:pt x="263" y="138"/>
                  <a:pt x="267" y="132"/>
                  <a:pt x="266" y="126"/>
                </a:cubicBezTo>
                <a:cubicBezTo>
                  <a:pt x="266" y="121"/>
                  <a:pt x="260" y="117"/>
                  <a:pt x="254" y="117"/>
                </a:cubicBezTo>
                <a:cubicBezTo>
                  <a:pt x="236" y="119"/>
                  <a:pt x="202" y="135"/>
                  <a:pt x="202" y="181"/>
                </a:cubicBezTo>
                <a:cubicBezTo>
                  <a:pt x="202" y="224"/>
                  <a:pt x="202" y="224"/>
                  <a:pt x="202" y="224"/>
                </a:cubicBezTo>
                <a:cubicBezTo>
                  <a:pt x="202" y="230"/>
                  <a:pt x="207" y="234"/>
                  <a:pt x="213" y="234"/>
                </a:cubicBezTo>
                <a:close/>
                <a:moveTo>
                  <a:pt x="309" y="288"/>
                </a:moveTo>
                <a:cubicBezTo>
                  <a:pt x="309" y="282"/>
                  <a:pt x="304" y="277"/>
                  <a:pt x="298" y="277"/>
                </a:cubicBezTo>
                <a:cubicBezTo>
                  <a:pt x="256" y="277"/>
                  <a:pt x="256" y="277"/>
                  <a:pt x="256" y="277"/>
                </a:cubicBezTo>
                <a:cubicBezTo>
                  <a:pt x="250" y="277"/>
                  <a:pt x="245" y="282"/>
                  <a:pt x="245" y="288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36"/>
                  <a:pt x="250" y="341"/>
                  <a:pt x="256" y="341"/>
                </a:cubicBezTo>
                <a:cubicBezTo>
                  <a:pt x="287" y="341"/>
                  <a:pt x="287" y="341"/>
                  <a:pt x="287" y="341"/>
                </a:cubicBezTo>
                <a:cubicBezTo>
                  <a:pt x="282" y="369"/>
                  <a:pt x="258" y="373"/>
                  <a:pt x="254" y="373"/>
                </a:cubicBezTo>
                <a:cubicBezTo>
                  <a:pt x="249" y="374"/>
                  <a:pt x="244" y="379"/>
                  <a:pt x="245" y="385"/>
                </a:cubicBezTo>
                <a:cubicBezTo>
                  <a:pt x="246" y="390"/>
                  <a:pt x="250" y="394"/>
                  <a:pt x="256" y="394"/>
                </a:cubicBezTo>
                <a:cubicBezTo>
                  <a:pt x="256" y="394"/>
                  <a:pt x="256" y="394"/>
                  <a:pt x="257" y="394"/>
                </a:cubicBezTo>
                <a:cubicBezTo>
                  <a:pt x="275" y="392"/>
                  <a:pt x="309" y="376"/>
                  <a:pt x="309" y="330"/>
                </a:cubicBezTo>
                <a:lnTo>
                  <a:pt x="309" y="288"/>
                </a:lnTo>
                <a:close/>
                <a:moveTo>
                  <a:pt x="394" y="288"/>
                </a:moveTo>
                <a:cubicBezTo>
                  <a:pt x="394" y="282"/>
                  <a:pt x="390" y="277"/>
                  <a:pt x="384" y="277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335" y="277"/>
                  <a:pt x="330" y="282"/>
                  <a:pt x="330" y="288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330" y="336"/>
                  <a:pt x="335" y="341"/>
                  <a:pt x="341" y="341"/>
                </a:cubicBezTo>
                <a:cubicBezTo>
                  <a:pt x="372" y="341"/>
                  <a:pt x="372" y="341"/>
                  <a:pt x="372" y="341"/>
                </a:cubicBezTo>
                <a:cubicBezTo>
                  <a:pt x="367" y="369"/>
                  <a:pt x="343" y="373"/>
                  <a:pt x="340" y="373"/>
                </a:cubicBezTo>
                <a:cubicBezTo>
                  <a:pt x="334" y="374"/>
                  <a:pt x="330" y="379"/>
                  <a:pt x="330" y="385"/>
                </a:cubicBezTo>
                <a:cubicBezTo>
                  <a:pt x="331" y="390"/>
                  <a:pt x="336" y="394"/>
                  <a:pt x="341" y="394"/>
                </a:cubicBezTo>
                <a:cubicBezTo>
                  <a:pt x="341" y="394"/>
                  <a:pt x="342" y="394"/>
                  <a:pt x="342" y="394"/>
                </a:cubicBezTo>
                <a:cubicBezTo>
                  <a:pt x="360" y="392"/>
                  <a:pt x="394" y="376"/>
                  <a:pt x="394" y="330"/>
                </a:cubicBezTo>
                <a:lnTo>
                  <a:pt x="394" y="288"/>
                </a:lnTo>
                <a:close/>
                <a:moveTo>
                  <a:pt x="138" y="213"/>
                </a:moveTo>
                <a:cubicBezTo>
                  <a:pt x="160" y="213"/>
                  <a:pt x="160" y="213"/>
                  <a:pt x="160" y="213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138" y="192"/>
                  <a:pt x="138" y="192"/>
                  <a:pt x="138" y="192"/>
                </a:cubicBezTo>
                <a:lnTo>
                  <a:pt x="138" y="213"/>
                </a:lnTo>
                <a:close/>
                <a:moveTo>
                  <a:pt x="352" y="320"/>
                </a:moveTo>
                <a:cubicBezTo>
                  <a:pt x="373" y="320"/>
                  <a:pt x="373" y="320"/>
                  <a:pt x="373" y="320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52" y="298"/>
                  <a:pt x="352" y="298"/>
                  <a:pt x="352" y="298"/>
                </a:cubicBezTo>
                <a:lnTo>
                  <a:pt x="352" y="3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5" name="Group 398"/>
          <p:cNvGrpSpPr>
            <a:grpSpLocks noChangeAspect="1"/>
          </p:cNvGrpSpPr>
          <p:nvPr/>
        </p:nvGrpSpPr>
        <p:grpSpPr bwMode="auto">
          <a:xfrm>
            <a:off x="3911972" y="4528376"/>
            <a:ext cx="367631" cy="367631"/>
            <a:chOff x="1172" y="1575"/>
            <a:chExt cx="340" cy="340"/>
          </a:xfrm>
          <a:solidFill>
            <a:schemeClr val="accent5"/>
          </a:solidFill>
        </p:grpSpPr>
        <p:sp>
          <p:nvSpPr>
            <p:cNvPr id="296" name="Freeform 399"/>
            <p:cNvSpPr>
              <a:spLocks noEditPoints="1"/>
            </p:cNvSpPr>
            <p:nvPr/>
          </p:nvSpPr>
          <p:spPr bwMode="auto">
            <a:xfrm>
              <a:off x="1172" y="157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400"/>
            <p:cNvSpPr>
              <a:spLocks noEditPoints="1"/>
            </p:cNvSpPr>
            <p:nvPr/>
          </p:nvSpPr>
          <p:spPr bwMode="auto">
            <a:xfrm>
              <a:off x="1250" y="1653"/>
              <a:ext cx="184" cy="184"/>
            </a:xfrm>
            <a:custGeom>
              <a:avLst/>
              <a:gdLst>
                <a:gd name="T0" fmla="*/ 22 w 277"/>
                <a:gd name="T1" fmla="*/ 53 h 277"/>
                <a:gd name="T2" fmla="*/ 64 w 277"/>
                <a:gd name="T3" fmla="*/ 9 h 277"/>
                <a:gd name="T4" fmla="*/ 0 w 277"/>
                <a:gd name="T5" fmla="*/ 64 h 277"/>
                <a:gd name="T6" fmla="*/ 11 w 277"/>
                <a:gd name="T7" fmla="*/ 117 h 277"/>
                <a:gd name="T8" fmla="*/ 64 w 277"/>
                <a:gd name="T9" fmla="*/ 107 h 277"/>
                <a:gd name="T10" fmla="*/ 53 w 277"/>
                <a:gd name="T11" fmla="*/ 53 h 277"/>
                <a:gd name="T12" fmla="*/ 21 w 277"/>
                <a:gd name="T13" fmla="*/ 96 h 277"/>
                <a:gd name="T14" fmla="*/ 43 w 277"/>
                <a:gd name="T15" fmla="*/ 75 h 277"/>
                <a:gd name="T16" fmla="*/ 149 w 277"/>
                <a:gd name="T17" fmla="*/ 107 h 277"/>
                <a:gd name="T18" fmla="*/ 139 w 277"/>
                <a:gd name="T19" fmla="*/ 53 h 277"/>
                <a:gd name="T20" fmla="*/ 140 w 277"/>
                <a:gd name="T21" fmla="*/ 21 h 277"/>
                <a:gd name="T22" fmla="*/ 137 w 277"/>
                <a:gd name="T23" fmla="*/ 0 h 277"/>
                <a:gd name="T24" fmla="*/ 85 w 277"/>
                <a:gd name="T25" fmla="*/ 107 h 277"/>
                <a:gd name="T26" fmla="*/ 139 w 277"/>
                <a:gd name="T27" fmla="*/ 117 h 277"/>
                <a:gd name="T28" fmla="*/ 128 w 277"/>
                <a:gd name="T29" fmla="*/ 96 h 277"/>
                <a:gd name="T30" fmla="*/ 107 w 277"/>
                <a:gd name="T31" fmla="*/ 75 h 277"/>
                <a:gd name="T32" fmla="*/ 128 w 277"/>
                <a:gd name="T33" fmla="*/ 96 h 277"/>
                <a:gd name="T34" fmla="*/ 224 w 277"/>
                <a:gd name="T35" fmla="*/ 160 h 277"/>
                <a:gd name="T36" fmla="*/ 213 w 277"/>
                <a:gd name="T37" fmla="*/ 213 h 277"/>
                <a:gd name="T38" fmla="*/ 255 w 277"/>
                <a:gd name="T39" fmla="*/ 224 h 277"/>
                <a:gd name="T40" fmla="*/ 213 w 277"/>
                <a:gd name="T41" fmla="*/ 268 h 277"/>
                <a:gd name="T42" fmla="*/ 225 w 277"/>
                <a:gd name="T43" fmla="*/ 277 h 277"/>
                <a:gd name="T44" fmla="*/ 277 w 277"/>
                <a:gd name="T45" fmla="*/ 171 h 277"/>
                <a:gd name="T46" fmla="*/ 235 w 277"/>
                <a:gd name="T47" fmla="*/ 181 h 277"/>
                <a:gd name="T48" fmla="*/ 256 w 277"/>
                <a:gd name="T49" fmla="*/ 203 h 277"/>
                <a:gd name="T50" fmla="*/ 235 w 277"/>
                <a:gd name="T51" fmla="*/ 181 h 277"/>
                <a:gd name="T52" fmla="*/ 139 w 277"/>
                <a:gd name="T53" fmla="*/ 160 h 277"/>
                <a:gd name="T54" fmla="*/ 128 w 277"/>
                <a:gd name="T55" fmla="*/ 213 h 277"/>
                <a:gd name="T56" fmla="*/ 170 w 277"/>
                <a:gd name="T57" fmla="*/ 224 h 277"/>
                <a:gd name="T58" fmla="*/ 128 w 277"/>
                <a:gd name="T59" fmla="*/ 268 h 277"/>
                <a:gd name="T60" fmla="*/ 140 w 277"/>
                <a:gd name="T61" fmla="*/ 277 h 277"/>
                <a:gd name="T62" fmla="*/ 192 w 277"/>
                <a:gd name="T63" fmla="*/ 171 h 277"/>
                <a:gd name="T64" fmla="*/ 149 w 277"/>
                <a:gd name="T65" fmla="*/ 181 h 277"/>
                <a:gd name="T66" fmla="*/ 171 w 277"/>
                <a:gd name="T67" fmla="*/ 203 h 277"/>
                <a:gd name="T68" fmla="*/ 149 w 277"/>
                <a:gd name="T69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7" h="277">
                  <a:moveTo>
                    <a:pt x="53" y="53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7" y="26"/>
                    <a:pt x="51" y="22"/>
                    <a:pt x="55" y="21"/>
                  </a:cubicBezTo>
                  <a:cubicBezTo>
                    <a:pt x="60" y="21"/>
                    <a:pt x="65" y="15"/>
                    <a:pt x="64" y="9"/>
                  </a:cubicBezTo>
                  <a:cubicBezTo>
                    <a:pt x="63" y="4"/>
                    <a:pt x="58" y="0"/>
                    <a:pt x="52" y="0"/>
                  </a:cubicBezTo>
                  <a:cubicBezTo>
                    <a:pt x="34" y="2"/>
                    <a:pt x="0" y="18"/>
                    <a:pt x="0" y="6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3"/>
                    <a:pt x="5" y="117"/>
                    <a:pt x="11" y="117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9" y="117"/>
                    <a:pt x="64" y="113"/>
                    <a:pt x="64" y="107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58"/>
                    <a:pt x="59" y="53"/>
                    <a:pt x="53" y="53"/>
                  </a:cubicBezTo>
                  <a:close/>
                  <a:moveTo>
                    <a:pt x="43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43" y="96"/>
                  </a:lnTo>
                  <a:close/>
                  <a:moveTo>
                    <a:pt x="149" y="107"/>
                  </a:moveTo>
                  <a:cubicBezTo>
                    <a:pt x="149" y="64"/>
                    <a:pt x="149" y="64"/>
                    <a:pt x="149" y="64"/>
                  </a:cubicBezTo>
                  <a:cubicBezTo>
                    <a:pt x="149" y="58"/>
                    <a:pt x="145" y="53"/>
                    <a:pt x="139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13" y="26"/>
                    <a:pt x="137" y="22"/>
                    <a:pt x="140" y="21"/>
                  </a:cubicBezTo>
                  <a:cubicBezTo>
                    <a:pt x="146" y="21"/>
                    <a:pt x="150" y="15"/>
                    <a:pt x="149" y="9"/>
                  </a:cubicBezTo>
                  <a:cubicBezTo>
                    <a:pt x="149" y="4"/>
                    <a:pt x="143" y="0"/>
                    <a:pt x="137" y="0"/>
                  </a:cubicBezTo>
                  <a:cubicBezTo>
                    <a:pt x="119" y="2"/>
                    <a:pt x="85" y="18"/>
                    <a:pt x="85" y="64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5" y="113"/>
                    <a:pt x="90" y="117"/>
                    <a:pt x="96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45" y="117"/>
                    <a:pt x="149" y="113"/>
                    <a:pt x="149" y="107"/>
                  </a:cubicBezTo>
                  <a:close/>
                  <a:moveTo>
                    <a:pt x="128" y="96"/>
                  </a:moveTo>
                  <a:cubicBezTo>
                    <a:pt x="107" y="96"/>
                    <a:pt x="107" y="96"/>
                    <a:pt x="107" y="96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28" y="75"/>
                    <a:pt x="128" y="75"/>
                    <a:pt x="128" y="75"/>
                  </a:cubicBezTo>
                  <a:lnTo>
                    <a:pt x="128" y="96"/>
                  </a:lnTo>
                  <a:close/>
                  <a:moveTo>
                    <a:pt x="267" y="160"/>
                  </a:moveTo>
                  <a:cubicBezTo>
                    <a:pt x="224" y="160"/>
                    <a:pt x="224" y="160"/>
                    <a:pt x="224" y="160"/>
                  </a:cubicBezTo>
                  <a:cubicBezTo>
                    <a:pt x="218" y="160"/>
                    <a:pt x="213" y="165"/>
                    <a:pt x="213" y="171"/>
                  </a:cubicBezTo>
                  <a:cubicBezTo>
                    <a:pt x="213" y="213"/>
                    <a:pt x="213" y="213"/>
                    <a:pt x="213" y="213"/>
                  </a:cubicBezTo>
                  <a:cubicBezTo>
                    <a:pt x="213" y="219"/>
                    <a:pt x="218" y="224"/>
                    <a:pt x="224" y="224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50" y="252"/>
                    <a:pt x="226" y="256"/>
                    <a:pt x="223" y="256"/>
                  </a:cubicBezTo>
                  <a:cubicBezTo>
                    <a:pt x="217" y="257"/>
                    <a:pt x="213" y="262"/>
                    <a:pt x="213" y="268"/>
                  </a:cubicBezTo>
                  <a:cubicBezTo>
                    <a:pt x="214" y="273"/>
                    <a:pt x="219" y="277"/>
                    <a:pt x="224" y="277"/>
                  </a:cubicBezTo>
                  <a:cubicBezTo>
                    <a:pt x="224" y="277"/>
                    <a:pt x="225" y="277"/>
                    <a:pt x="225" y="277"/>
                  </a:cubicBezTo>
                  <a:cubicBezTo>
                    <a:pt x="243" y="275"/>
                    <a:pt x="277" y="259"/>
                    <a:pt x="277" y="213"/>
                  </a:cubicBezTo>
                  <a:cubicBezTo>
                    <a:pt x="277" y="171"/>
                    <a:pt x="277" y="171"/>
                    <a:pt x="277" y="171"/>
                  </a:cubicBezTo>
                  <a:cubicBezTo>
                    <a:pt x="277" y="165"/>
                    <a:pt x="273" y="160"/>
                    <a:pt x="267" y="160"/>
                  </a:cubicBezTo>
                  <a:close/>
                  <a:moveTo>
                    <a:pt x="235" y="181"/>
                  </a:moveTo>
                  <a:cubicBezTo>
                    <a:pt x="256" y="181"/>
                    <a:pt x="256" y="181"/>
                    <a:pt x="256" y="181"/>
                  </a:cubicBezTo>
                  <a:cubicBezTo>
                    <a:pt x="256" y="203"/>
                    <a:pt x="256" y="203"/>
                    <a:pt x="256" y="203"/>
                  </a:cubicBezTo>
                  <a:cubicBezTo>
                    <a:pt x="235" y="203"/>
                    <a:pt x="235" y="203"/>
                    <a:pt x="235" y="203"/>
                  </a:cubicBezTo>
                  <a:lnTo>
                    <a:pt x="235" y="181"/>
                  </a:lnTo>
                  <a:close/>
                  <a:moveTo>
                    <a:pt x="181" y="160"/>
                  </a:moveTo>
                  <a:cubicBezTo>
                    <a:pt x="139" y="160"/>
                    <a:pt x="139" y="160"/>
                    <a:pt x="139" y="160"/>
                  </a:cubicBezTo>
                  <a:cubicBezTo>
                    <a:pt x="133" y="160"/>
                    <a:pt x="128" y="165"/>
                    <a:pt x="128" y="171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8" y="219"/>
                    <a:pt x="133" y="224"/>
                    <a:pt x="139" y="224"/>
                  </a:cubicBezTo>
                  <a:cubicBezTo>
                    <a:pt x="170" y="224"/>
                    <a:pt x="170" y="224"/>
                    <a:pt x="170" y="224"/>
                  </a:cubicBezTo>
                  <a:cubicBezTo>
                    <a:pt x="165" y="252"/>
                    <a:pt x="141" y="256"/>
                    <a:pt x="137" y="256"/>
                  </a:cubicBezTo>
                  <a:cubicBezTo>
                    <a:pt x="132" y="257"/>
                    <a:pt x="127" y="262"/>
                    <a:pt x="128" y="268"/>
                  </a:cubicBezTo>
                  <a:cubicBezTo>
                    <a:pt x="129" y="273"/>
                    <a:pt x="133" y="277"/>
                    <a:pt x="139" y="277"/>
                  </a:cubicBezTo>
                  <a:cubicBezTo>
                    <a:pt x="139" y="277"/>
                    <a:pt x="139" y="277"/>
                    <a:pt x="140" y="277"/>
                  </a:cubicBezTo>
                  <a:cubicBezTo>
                    <a:pt x="158" y="275"/>
                    <a:pt x="192" y="259"/>
                    <a:pt x="192" y="213"/>
                  </a:cubicBezTo>
                  <a:cubicBezTo>
                    <a:pt x="192" y="171"/>
                    <a:pt x="192" y="171"/>
                    <a:pt x="192" y="171"/>
                  </a:cubicBezTo>
                  <a:cubicBezTo>
                    <a:pt x="192" y="165"/>
                    <a:pt x="187" y="160"/>
                    <a:pt x="181" y="160"/>
                  </a:cubicBezTo>
                  <a:close/>
                  <a:moveTo>
                    <a:pt x="149" y="181"/>
                  </a:moveTo>
                  <a:cubicBezTo>
                    <a:pt x="171" y="181"/>
                    <a:pt x="171" y="181"/>
                    <a:pt x="171" y="181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49" y="203"/>
                    <a:pt x="149" y="203"/>
                    <a:pt x="149" y="203"/>
                  </a:cubicBezTo>
                  <a:lnTo>
                    <a:pt x="149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8" name="TextBox 297"/>
          <p:cNvSpPr txBox="1"/>
          <p:nvPr/>
        </p:nvSpPr>
        <p:spPr>
          <a:xfrm>
            <a:off x="4416996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gs</a:t>
            </a:r>
          </a:p>
        </p:txBody>
      </p:sp>
      <p:sp>
        <p:nvSpPr>
          <p:cNvPr id="299" name="Freeform 36"/>
          <p:cNvSpPr>
            <a:spLocks noChangeAspect="1" noEditPoints="1"/>
          </p:cNvSpPr>
          <p:nvPr/>
        </p:nvSpPr>
        <p:spPr bwMode="auto">
          <a:xfrm>
            <a:off x="4409666" y="4528376"/>
            <a:ext cx="367631" cy="367631"/>
          </a:xfrm>
          <a:custGeom>
            <a:avLst/>
            <a:gdLst>
              <a:gd name="T0" fmla="*/ 324 w 512"/>
              <a:gd name="T1" fmla="*/ 194 h 512"/>
              <a:gd name="T2" fmla="*/ 330 w 512"/>
              <a:gd name="T3" fmla="*/ 167 h 512"/>
              <a:gd name="T4" fmla="*/ 400 w 512"/>
              <a:gd name="T5" fmla="*/ 182 h 512"/>
              <a:gd name="T6" fmla="*/ 386 w 512"/>
              <a:gd name="T7" fmla="*/ 223 h 512"/>
              <a:gd name="T8" fmla="*/ 351 w 512"/>
              <a:gd name="T9" fmla="*/ 247 h 512"/>
              <a:gd name="T10" fmla="*/ 312 w 512"/>
              <a:gd name="T11" fmla="*/ 243 h 512"/>
              <a:gd name="T12" fmla="*/ 278 w 512"/>
              <a:gd name="T13" fmla="*/ 222 h 512"/>
              <a:gd name="T14" fmla="*/ 264 w 512"/>
              <a:gd name="T15" fmla="*/ 183 h 512"/>
              <a:gd name="T16" fmla="*/ 275 w 512"/>
              <a:gd name="T17" fmla="*/ 144 h 512"/>
              <a:gd name="T18" fmla="*/ 308 w 512"/>
              <a:gd name="T19" fmla="*/ 119 h 512"/>
              <a:gd name="T20" fmla="*/ 331 w 512"/>
              <a:gd name="T21" fmla="*/ 128 h 512"/>
              <a:gd name="T22" fmla="*/ 364 w 512"/>
              <a:gd name="T23" fmla="*/ 136 h 512"/>
              <a:gd name="T24" fmla="*/ 384 w 512"/>
              <a:gd name="T25" fmla="*/ 164 h 512"/>
              <a:gd name="T26" fmla="*/ 320 w 512"/>
              <a:gd name="T27" fmla="*/ 147 h 512"/>
              <a:gd name="T28" fmla="*/ 330 w 512"/>
              <a:gd name="T29" fmla="*/ 217 h 512"/>
              <a:gd name="T30" fmla="*/ 512 w 512"/>
              <a:gd name="T31" fmla="*/ 256 h 512"/>
              <a:gd name="T32" fmla="*/ 512 w 512"/>
              <a:gd name="T33" fmla="*/ 256 h 512"/>
              <a:gd name="T34" fmla="*/ 268 w 512"/>
              <a:gd name="T35" fmla="*/ 290 h 512"/>
              <a:gd name="T36" fmla="*/ 236 w 512"/>
              <a:gd name="T37" fmla="*/ 251 h 512"/>
              <a:gd name="T38" fmla="*/ 187 w 512"/>
              <a:gd name="T39" fmla="*/ 238 h 512"/>
              <a:gd name="T40" fmla="*/ 140 w 512"/>
              <a:gd name="T41" fmla="*/ 256 h 512"/>
              <a:gd name="T42" fmla="*/ 113 w 512"/>
              <a:gd name="T43" fmla="*/ 299 h 512"/>
              <a:gd name="T44" fmla="*/ 115 w 512"/>
              <a:gd name="T45" fmla="*/ 350 h 512"/>
              <a:gd name="T46" fmla="*/ 147 w 512"/>
              <a:gd name="T47" fmla="*/ 388 h 512"/>
              <a:gd name="T48" fmla="*/ 196 w 512"/>
              <a:gd name="T49" fmla="*/ 401 h 512"/>
              <a:gd name="T50" fmla="*/ 237 w 512"/>
              <a:gd name="T51" fmla="*/ 383 h 512"/>
              <a:gd name="T52" fmla="*/ 266 w 512"/>
              <a:gd name="T53" fmla="*/ 345 h 512"/>
              <a:gd name="T54" fmla="*/ 410 w 512"/>
              <a:gd name="T55" fmla="*/ 163 h 512"/>
              <a:gd name="T56" fmla="*/ 384 w 512"/>
              <a:gd name="T57" fmla="*/ 119 h 512"/>
              <a:gd name="T58" fmla="*/ 337 w 512"/>
              <a:gd name="T59" fmla="*/ 99 h 512"/>
              <a:gd name="T60" fmla="*/ 288 w 512"/>
              <a:gd name="T61" fmla="*/ 111 h 512"/>
              <a:gd name="T62" fmla="*/ 255 w 512"/>
              <a:gd name="T63" fmla="*/ 149 h 512"/>
              <a:gd name="T64" fmla="*/ 251 w 512"/>
              <a:gd name="T65" fmla="*/ 199 h 512"/>
              <a:gd name="T66" fmla="*/ 277 w 512"/>
              <a:gd name="T67" fmla="*/ 243 h 512"/>
              <a:gd name="T68" fmla="*/ 323 w 512"/>
              <a:gd name="T69" fmla="*/ 263 h 512"/>
              <a:gd name="T70" fmla="*/ 358 w 512"/>
              <a:gd name="T71" fmla="*/ 270 h 512"/>
              <a:gd name="T72" fmla="*/ 405 w 512"/>
              <a:gd name="T73" fmla="*/ 237 h 512"/>
              <a:gd name="T74" fmla="*/ 423 w 512"/>
              <a:gd name="T75" fmla="*/ 182 h 512"/>
              <a:gd name="T76" fmla="*/ 179 w 512"/>
              <a:gd name="T77" fmla="*/ 313 h 512"/>
              <a:gd name="T78" fmla="*/ 204 w 512"/>
              <a:gd name="T79" fmla="*/ 326 h 512"/>
              <a:gd name="T80" fmla="*/ 262 w 512"/>
              <a:gd name="T81" fmla="*/ 321 h 512"/>
              <a:gd name="T82" fmla="*/ 248 w 512"/>
              <a:gd name="T83" fmla="*/ 361 h 512"/>
              <a:gd name="T84" fmla="*/ 212 w 512"/>
              <a:gd name="T85" fmla="*/ 386 h 512"/>
              <a:gd name="T86" fmla="*/ 173 w 512"/>
              <a:gd name="T87" fmla="*/ 382 h 512"/>
              <a:gd name="T88" fmla="*/ 139 w 512"/>
              <a:gd name="T89" fmla="*/ 360 h 512"/>
              <a:gd name="T90" fmla="*/ 125 w 512"/>
              <a:gd name="T91" fmla="*/ 321 h 512"/>
              <a:gd name="T92" fmla="*/ 137 w 512"/>
              <a:gd name="T93" fmla="*/ 282 h 512"/>
              <a:gd name="T94" fmla="*/ 169 w 512"/>
              <a:gd name="T95" fmla="*/ 258 h 512"/>
              <a:gd name="T96" fmla="*/ 193 w 512"/>
              <a:gd name="T97" fmla="*/ 266 h 512"/>
              <a:gd name="T98" fmla="*/ 226 w 512"/>
              <a:gd name="T99" fmla="*/ 274 h 512"/>
              <a:gd name="T100" fmla="*/ 246 w 512"/>
              <a:gd name="T101" fmla="*/ 303 h 512"/>
              <a:gd name="T102" fmla="*/ 181 w 512"/>
              <a:gd name="T103" fmla="*/ 286 h 512"/>
              <a:gd name="T104" fmla="*/ 192 w 512"/>
              <a:gd name="T105" fmla="*/ 3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344" y="177"/>
                </a:moveTo>
                <a:cubicBezTo>
                  <a:pt x="345" y="180"/>
                  <a:pt x="345" y="184"/>
                  <a:pt x="343" y="188"/>
                </a:cubicBezTo>
                <a:cubicBezTo>
                  <a:pt x="341" y="191"/>
                  <a:pt x="338" y="193"/>
                  <a:pt x="335" y="195"/>
                </a:cubicBezTo>
                <a:cubicBezTo>
                  <a:pt x="331" y="196"/>
                  <a:pt x="327" y="195"/>
                  <a:pt x="324" y="194"/>
                </a:cubicBezTo>
                <a:cubicBezTo>
                  <a:pt x="320" y="192"/>
                  <a:pt x="318" y="189"/>
                  <a:pt x="317" y="185"/>
                </a:cubicBezTo>
                <a:cubicBezTo>
                  <a:pt x="316" y="182"/>
                  <a:pt x="316" y="178"/>
                  <a:pt x="318" y="174"/>
                </a:cubicBezTo>
                <a:cubicBezTo>
                  <a:pt x="320" y="171"/>
                  <a:pt x="322" y="169"/>
                  <a:pt x="326" y="167"/>
                </a:cubicBezTo>
                <a:cubicBezTo>
                  <a:pt x="328" y="167"/>
                  <a:pt x="329" y="167"/>
                  <a:pt x="330" y="167"/>
                </a:cubicBezTo>
                <a:cubicBezTo>
                  <a:pt x="333" y="167"/>
                  <a:pt x="335" y="167"/>
                  <a:pt x="337" y="168"/>
                </a:cubicBezTo>
                <a:cubicBezTo>
                  <a:pt x="340" y="170"/>
                  <a:pt x="343" y="173"/>
                  <a:pt x="344" y="177"/>
                </a:cubicBezTo>
                <a:close/>
                <a:moveTo>
                  <a:pt x="397" y="179"/>
                </a:moveTo>
                <a:cubicBezTo>
                  <a:pt x="398" y="180"/>
                  <a:pt x="399" y="181"/>
                  <a:pt x="400" y="182"/>
                </a:cubicBezTo>
                <a:cubicBezTo>
                  <a:pt x="399" y="183"/>
                  <a:pt x="398" y="184"/>
                  <a:pt x="397" y="185"/>
                </a:cubicBezTo>
                <a:cubicBezTo>
                  <a:pt x="392" y="189"/>
                  <a:pt x="386" y="193"/>
                  <a:pt x="384" y="199"/>
                </a:cubicBezTo>
                <a:cubicBezTo>
                  <a:pt x="382" y="206"/>
                  <a:pt x="384" y="212"/>
                  <a:pt x="385" y="218"/>
                </a:cubicBezTo>
                <a:cubicBezTo>
                  <a:pt x="386" y="220"/>
                  <a:pt x="386" y="221"/>
                  <a:pt x="386" y="223"/>
                </a:cubicBezTo>
                <a:cubicBezTo>
                  <a:pt x="385" y="223"/>
                  <a:pt x="383" y="223"/>
                  <a:pt x="382" y="223"/>
                </a:cubicBezTo>
                <a:cubicBezTo>
                  <a:pt x="376" y="223"/>
                  <a:pt x="369" y="223"/>
                  <a:pt x="363" y="227"/>
                </a:cubicBezTo>
                <a:cubicBezTo>
                  <a:pt x="357" y="231"/>
                  <a:pt x="355" y="237"/>
                  <a:pt x="353" y="243"/>
                </a:cubicBezTo>
                <a:cubicBezTo>
                  <a:pt x="352" y="244"/>
                  <a:pt x="352" y="246"/>
                  <a:pt x="351" y="247"/>
                </a:cubicBezTo>
                <a:cubicBezTo>
                  <a:pt x="350" y="246"/>
                  <a:pt x="348" y="244"/>
                  <a:pt x="347" y="244"/>
                </a:cubicBezTo>
                <a:cubicBezTo>
                  <a:pt x="342" y="240"/>
                  <a:pt x="336" y="234"/>
                  <a:pt x="330" y="234"/>
                </a:cubicBezTo>
                <a:cubicBezTo>
                  <a:pt x="329" y="234"/>
                  <a:pt x="329" y="234"/>
                  <a:pt x="329" y="234"/>
                </a:cubicBezTo>
                <a:cubicBezTo>
                  <a:pt x="322" y="234"/>
                  <a:pt x="317" y="240"/>
                  <a:pt x="312" y="243"/>
                </a:cubicBezTo>
                <a:cubicBezTo>
                  <a:pt x="311" y="244"/>
                  <a:pt x="309" y="246"/>
                  <a:pt x="308" y="247"/>
                </a:cubicBezTo>
                <a:cubicBezTo>
                  <a:pt x="307" y="246"/>
                  <a:pt x="307" y="244"/>
                  <a:pt x="306" y="243"/>
                </a:cubicBezTo>
                <a:cubicBezTo>
                  <a:pt x="304" y="237"/>
                  <a:pt x="302" y="230"/>
                  <a:pt x="296" y="226"/>
                </a:cubicBezTo>
                <a:cubicBezTo>
                  <a:pt x="291" y="222"/>
                  <a:pt x="284" y="222"/>
                  <a:pt x="278" y="222"/>
                </a:cubicBezTo>
                <a:cubicBezTo>
                  <a:pt x="277" y="222"/>
                  <a:pt x="275" y="222"/>
                  <a:pt x="273" y="221"/>
                </a:cubicBezTo>
                <a:cubicBezTo>
                  <a:pt x="274" y="220"/>
                  <a:pt x="274" y="218"/>
                  <a:pt x="274" y="217"/>
                </a:cubicBezTo>
                <a:cubicBezTo>
                  <a:pt x="276" y="211"/>
                  <a:pt x="278" y="204"/>
                  <a:pt x="276" y="198"/>
                </a:cubicBezTo>
                <a:cubicBezTo>
                  <a:pt x="274" y="191"/>
                  <a:pt x="269" y="187"/>
                  <a:pt x="264" y="183"/>
                </a:cubicBezTo>
                <a:cubicBezTo>
                  <a:pt x="263" y="182"/>
                  <a:pt x="261" y="181"/>
                  <a:pt x="260" y="180"/>
                </a:cubicBezTo>
                <a:cubicBezTo>
                  <a:pt x="262" y="179"/>
                  <a:pt x="263" y="178"/>
                  <a:pt x="264" y="177"/>
                </a:cubicBezTo>
                <a:cubicBezTo>
                  <a:pt x="269" y="173"/>
                  <a:pt x="275" y="169"/>
                  <a:pt x="277" y="163"/>
                </a:cubicBezTo>
                <a:cubicBezTo>
                  <a:pt x="279" y="156"/>
                  <a:pt x="277" y="150"/>
                  <a:pt x="275" y="144"/>
                </a:cubicBezTo>
                <a:cubicBezTo>
                  <a:pt x="275" y="142"/>
                  <a:pt x="275" y="141"/>
                  <a:pt x="274" y="139"/>
                </a:cubicBezTo>
                <a:cubicBezTo>
                  <a:pt x="276" y="139"/>
                  <a:pt x="278" y="139"/>
                  <a:pt x="279" y="139"/>
                </a:cubicBezTo>
                <a:cubicBezTo>
                  <a:pt x="285" y="139"/>
                  <a:pt x="292" y="139"/>
                  <a:pt x="298" y="135"/>
                </a:cubicBezTo>
                <a:cubicBezTo>
                  <a:pt x="303" y="131"/>
                  <a:pt x="306" y="125"/>
                  <a:pt x="308" y="119"/>
                </a:cubicBezTo>
                <a:cubicBezTo>
                  <a:pt x="308" y="118"/>
                  <a:pt x="309" y="116"/>
                  <a:pt x="310" y="115"/>
                </a:cubicBezTo>
                <a:cubicBezTo>
                  <a:pt x="311" y="116"/>
                  <a:pt x="313" y="118"/>
                  <a:pt x="314" y="118"/>
                </a:cubicBezTo>
                <a:cubicBezTo>
                  <a:pt x="319" y="122"/>
                  <a:pt x="324" y="128"/>
                  <a:pt x="331" y="128"/>
                </a:cubicBezTo>
                <a:cubicBezTo>
                  <a:pt x="331" y="128"/>
                  <a:pt x="331" y="128"/>
                  <a:pt x="331" y="128"/>
                </a:cubicBezTo>
                <a:cubicBezTo>
                  <a:pt x="338" y="128"/>
                  <a:pt x="344" y="122"/>
                  <a:pt x="349" y="119"/>
                </a:cubicBezTo>
                <a:cubicBezTo>
                  <a:pt x="350" y="118"/>
                  <a:pt x="352" y="116"/>
                  <a:pt x="353" y="115"/>
                </a:cubicBezTo>
                <a:cubicBezTo>
                  <a:pt x="353" y="116"/>
                  <a:pt x="354" y="118"/>
                  <a:pt x="354" y="119"/>
                </a:cubicBezTo>
                <a:cubicBezTo>
                  <a:pt x="356" y="125"/>
                  <a:pt x="359" y="132"/>
                  <a:pt x="364" y="136"/>
                </a:cubicBezTo>
                <a:cubicBezTo>
                  <a:pt x="370" y="140"/>
                  <a:pt x="377" y="140"/>
                  <a:pt x="383" y="140"/>
                </a:cubicBezTo>
                <a:cubicBezTo>
                  <a:pt x="384" y="140"/>
                  <a:pt x="386" y="140"/>
                  <a:pt x="387" y="141"/>
                </a:cubicBezTo>
                <a:cubicBezTo>
                  <a:pt x="387" y="142"/>
                  <a:pt x="387" y="144"/>
                  <a:pt x="386" y="145"/>
                </a:cubicBezTo>
                <a:cubicBezTo>
                  <a:pt x="384" y="151"/>
                  <a:pt x="382" y="158"/>
                  <a:pt x="384" y="164"/>
                </a:cubicBezTo>
                <a:cubicBezTo>
                  <a:pt x="386" y="171"/>
                  <a:pt x="392" y="175"/>
                  <a:pt x="397" y="179"/>
                </a:cubicBezTo>
                <a:close/>
                <a:moveTo>
                  <a:pt x="364" y="170"/>
                </a:moveTo>
                <a:cubicBezTo>
                  <a:pt x="361" y="161"/>
                  <a:pt x="355" y="154"/>
                  <a:pt x="347" y="150"/>
                </a:cubicBezTo>
                <a:cubicBezTo>
                  <a:pt x="338" y="145"/>
                  <a:pt x="329" y="144"/>
                  <a:pt x="320" y="147"/>
                </a:cubicBezTo>
                <a:cubicBezTo>
                  <a:pt x="311" y="150"/>
                  <a:pt x="303" y="156"/>
                  <a:pt x="299" y="164"/>
                </a:cubicBezTo>
                <a:cubicBezTo>
                  <a:pt x="294" y="173"/>
                  <a:pt x="294" y="182"/>
                  <a:pt x="296" y="192"/>
                </a:cubicBezTo>
                <a:cubicBezTo>
                  <a:pt x="299" y="201"/>
                  <a:pt x="305" y="208"/>
                  <a:pt x="314" y="212"/>
                </a:cubicBezTo>
                <a:cubicBezTo>
                  <a:pt x="319" y="215"/>
                  <a:pt x="325" y="217"/>
                  <a:pt x="330" y="217"/>
                </a:cubicBezTo>
                <a:cubicBezTo>
                  <a:pt x="334" y="217"/>
                  <a:pt x="337" y="216"/>
                  <a:pt x="341" y="215"/>
                </a:cubicBezTo>
                <a:cubicBezTo>
                  <a:pt x="350" y="212"/>
                  <a:pt x="357" y="206"/>
                  <a:pt x="362" y="198"/>
                </a:cubicBezTo>
                <a:cubicBezTo>
                  <a:pt x="366" y="189"/>
                  <a:pt x="367" y="180"/>
                  <a:pt x="364" y="17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4" y="321"/>
                </a:moveTo>
                <a:cubicBezTo>
                  <a:pt x="285" y="312"/>
                  <a:pt x="277" y="306"/>
                  <a:pt x="271" y="301"/>
                </a:cubicBezTo>
                <a:cubicBezTo>
                  <a:pt x="270" y="300"/>
                  <a:pt x="267" y="298"/>
                  <a:pt x="266" y="297"/>
                </a:cubicBezTo>
                <a:cubicBezTo>
                  <a:pt x="266" y="295"/>
                  <a:pt x="267" y="292"/>
                  <a:pt x="268" y="290"/>
                </a:cubicBezTo>
                <a:cubicBezTo>
                  <a:pt x="270" y="283"/>
                  <a:pt x="273" y="274"/>
                  <a:pt x="267" y="266"/>
                </a:cubicBezTo>
                <a:cubicBezTo>
                  <a:pt x="262" y="258"/>
                  <a:pt x="252" y="258"/>
                  <a:pt x="245" y="258"/>
                </a:cubicBezTo>
                <a:cubicBezTo>
                  <a:pt x="243" y="258"/>
                  <a:pt x="240" y="257"/>
                  <a:pt x="238" y="257"/>
                </a:cubicBezTo>
                <a:cubicBezTo>
                  <a:pt x="238" y="256"/>
                  <a:pt x="237" y="253"/>
                  <a:pt x="236" y="251"/>
                </a:cubicBezTo>
                <a:cubicBezTo>
                  <a:pt x="234" y="244"/>
                  <a:pt x="231" y="235"/>
                  <a:pt x="222" y="232"/>
                </a:cubicBezTo>
                <a:cubicBezTo>
                  <a:pt x="213" y="229"/>
                  <a:pt x="204" y="234"/>
                  <a:pt x="199" y="238"/>
                </a:cubicBezTo>
                <a:cubicBezTo>
                  <a:pt x="197" y="239"/>
                  <a:pt x="194" y="241"/>
                  <a:pt x="193" y="242"/>
                </a:cubicBezTo>
                <a:cubicBezTo>
                  <a:pt x="191" y="241"/>
                  <a:pt x="189" y="239"/>
                  <a:pt x="187" y="238"/>
                </a:cubicBezTo>
                <a:cubicBezTo>
                  <a:pt x="182" y="234"/>
                  <a:pt x="173" y="228"/>
                  <a:pt x="164" y="231"/>
                </a:cubicBezTo>
                <a:cubicBezTo>
                  <a:pt x="155" y="234"/>
                  <a:pt x="152" y="243"/>
                  <a:pt x="149" y="250"/>
                </a:cubicBezTo>
                <a:cubicBezTo>
                  <a:pt x="148" y="252"/>
                  <a:pt x="147" y="255"/>
                  <a:pt x="147" y="256"/>
                </a:cubicBezTo>
                <a:cubicBezTo>
                  <a:pt x="145" y="256"/>
                  <a:pt x="142" y="256"/>
                  <a:pt x="140" y="256"/>
                </a:cubicBezTo>
                <a:cubicBezTo>
                  <a:pt x="133" y="256"/>
                  <a:pt x="123" y="257"/>
                  <a:pt x="117" y="264"/>
                </a:cubicBezTo>
                <a:cubicBezTo>
                  <a:pt x="112" y="272"/>
                  <a:pt x="114" y="281"/>
                  <a:pt x="116" y="288"/>
                </a:cubicBezTo>
                <a:cubicBezTo>
                  <a:pt x="117" y="290"/>
                  <a:pt x="118" y="293"/>
                  <a:pt x="118" y="295"/>
                </a:cubicBezTo>
                <a:cubicBezTo>
                  <a:pt x="117" y="296"/>
                  <a:pt x="114" y="298"/>
                  <a:pt x="113" y="299"/>
                </a:cubicBezTo>
                <a:cubicBezTo>
                  <a:pt x="107" y="303"/>
                  <a:pt x="99" y="309"/>
                  <a:pt x="99" y="318"/>
                </a:cubicBezTo>
                <a:cubicBezTo>
                  <a:pt x="99" y="328"/>
                  <a:pt x="106" y="334"/>
                  <a:pt x="112" y="338"/>
                </a:cubicBezTo>
                <a:cubicBezTo>
                  <a:pt x="114" y="340"/>
                  <a:pt x="117" y="342"/>
                  <a:pt x="117" y="342"/>
                </a:cubicBezTo>
                <a:cubicBezTo>
                  <a:pt x="117" y="344"/>
                  <a:pt x="116" y="347"/>
                  <a:pt x="115" y="350"/>
                </a:cubicBezTo>
                <a:cubicBezTo>
                  <a:pt x="113" y="357"/>
                  <a:pt x="110" y="366"/>
                  <a:pt x="116" y="373"/>
                </a:cubicBezTo>
                <a:cubicBezTo>
                  <a:pt x="121" y="381"/>
                  <a:pt x="131" y="381"/>
                  <a:pt x="138" y="382"/>
                </a:cubicBezTo>
                <a:cubicBezTo>
                  <a:pt x="140" y="382"/>
                  <a:pt x="143" y="382"/>
                  <a:pt x="145" y="382"/>
                </a:cubicBezTo>
                <a:cubicBezTo>
                  <a:pt x="146" y="384"/>
                  <a:pt x="147" y="387"/>
                  <a:pt x="147" y="388"/>
                </a:cubicBezTo>
                <a:cubicBezTo>
                  <a:pt x="150" y="395"/>
                  <a:pt x="153" y="404"/>
                  <a:pt x="162" y="408"/>
                </a:cubicBezTo>
                <a:cubicBezTo>
                  <a:pt x="171" y="411"/>
                  <a:pt x="179" y="405"/>
                  <a:pt x="185" y="401"/>
                </a:cubicBezTo>
                <a:cubicBezTo>
                  <a:pt x="186" y="400"/>
                  <a:pt x="189" y="398"/>
                  <a:pt x="191" y="398"/>
                </a:cubicBezTo>
                <a:cubicBezTo>
                  <a:pt x="192" y="398"/>
                  <a:pt x="194" y="400"/>
                  <a:pt x="196" y="401"/>
                </a:cubicBezTo>
                <a:cubicBezTo>
                  <a:pt x="201" y="405"/>
                  <a:pt x="207" y="409"/>
                  <a:pt x="214" y="409"/>
                </a:cubicBezTo>
                <a:cubicBezTo>
                  <a:pt x="216" y="409"/>
                  <a:pt x="217" y="409"/>
                  <a:pt x="219" y="408"/>
                </a:cubicBezTo>
                <a:cubicBezTo>
                  <a:pt x="228" y="405"/>
                  <a:pt x="232" y="396"/>
                  <a:pt x="234" y="389"/>
                </a:cubicBezTo>
                <a:cubicBezTo>
                  <a:pt x="235" y="387"/>
                  <a:pt x="236" y="385"/>
                  <a:pt x="237" y="383"/>
                </a:cubicBezTo>
                <a:cubicBezTo>
                  <a:pt x="238" y="383"/>
                  <a:pt x="241" y="383"/>
                  <a:pt x="244" y="383"/>
                </a:cubicBezTo>
                <a:cubicBezTo>
                  <a:pt x="251" y="383"/>
                  <a:pt x="260" y="383"/>
                  <a:pt x="266" y="375"/>
                </a:cubicBezTo>
                <a:cubicBezTo>
                  <a:pt x="272" y="368"/>
                  <a:pt x="269" y="358"/>
                  <a:pt x="267" y="351"/>
                </a:cubicBezTo>
                <a:cubicBezTo>
                  <a:pt x="267" y="349"/>
                  <a:pt x="266" y="346"/>
                  <a:pt x="266" y="345"/>
                </a:cubicBezTo>
                <a:cubicBezTo>
                  <a:pt x="267" y="344"/>
                  <a:pt x="269" y="342"/>
                  <a:pt x="271" y="341"/>
                </a:cubicBezTo>
                <a:cubicBezTo>
                  <a:pt x="276" y="336"/>
                  <a:pt x="284" y="331"/>
                  <a:pt x="284" y="321"/>
                </a:cubicBezTo>
                <a:close/>
                <a:moveTo>
                  <a:pt x="423" y="182"/>
                </a:moveTo>
                <a:cubicBezTo>
                  <a:pt x="423" y="173"/>
                  <a:pt x="416" y="167"/>
                  <a:pt x="410" y="163"/>
                </a:cubicBezTo>
                <a:cubicBezTo>
                  <a:pt x="408" y="161"/>
                  <a:pt x="406" y="159"/>
                  <a:pt x="405" y="158"/>
                </a:cubicBezTo>
                <a:cubicBezTo>
                  <a:pt x="405" y="156"/>
                  <a:pt x="406" y="153"/>
                  <a:pt x="407" y="151"/>
                </a:cubicBezTo>
                <a:cubicBezTo>
                  <a:pt x="409" y="144"/>
                  <a:pt x="412" y="135"/>
                  <a:pt x="406" y="127"/>
                </a:cubicBezTo>
                <a:cubicBezTo>
                  <a:pt x="401" y="120"/>
                  <a:pt x="391" y="119"/>
                  <a:pt x="384" y="119"/>
                </a:cubicBezTo>
                <a:cubicBezTo>
                  <a:pt x="382" y="119"/>
                  <a:pt x="379" y="119"/>
                  <a:pt x="377" y="118"/>
                </a:cubicBezTo>
                <a:cubicBezTo>
                  <a:pt x="376" y="117"/>
                  <a:pt x="375" y="114"/>
                  <a:pt x="375" y="112"/>
                </a:cubicBezTo>
                <a:cubicBezTo>
                  <a:pt x="372" y="105"/>
                  <a:pt x="369" y="96"/>
                  <a:pt x="360" y="93"/>
                </a:cubicBezTo>
                <a:cubicBezTo>
                  <a:pt x="351" y="90"/>
                  <a:pt x="343" y="95"/>
                  <a:pt x="337" y="99"/>
                </a:cubicBezTo>
                <a:cubicBezTo>
                  <a:pt x="336" y="101"/>
                  <a:pt x="333" y="102"/>
                  <a:pt x="331" y="103"/>
                </a:cubicBezTo>
                <a:cubicBezTo>
                  <a:pt x="330" y="102"/>
                  <a:pt x="328" y="101"/>
                  <a:pt x="326" y="99"/>
                </a:cubicBezTo>
                <a:cubicBezTo>
                  <a:pt x="320" y="95"/>
                  <a:pt x="312" y="89"/>
                  <a:pt x="303" y="92"/>
                </a:cubicBezTo>
                <a:cubicBezTo>
                  <a:pt x="294" y="95"/>
                  <a:pt x="290" y="105"/>
                  <a:pt x="288" y="111"/>
                </a:cubicBezTo>
                <a:cubicBezTo>
                  <a:pt x="287" y="113"/>
                  <a:pt x="286" y="116"/>
                  <a:pt x="285" y="117"/>
                </a:cubicBezTo>
                <a:cubicBezTo>
                  <a:pt x="284" y="118"/>
                  <a:pt x="281" y="118"/>
                  <a:pt x="279" y="118"/>
                </a:cubicBezTo>
                <a:cubicBezTo>
                  <a:pt x="271" y="118"/>
                  <a:pt x="262" y="118"/>
                  <a:pt x="256" y="125"/>
                </a:cubicBezTo>
                <a:cubicBezTo>
                  <a:pt x="250" y="133"/>
                  <a:pt x="253" y="142"/>
                  <a:pt x="255" y="149"/>
                </a:cubicBezTo>
                <a:cubicBezTo>
                  <a:pt x="255" y="151"/>
                  <a:pt x="256" y="154"/>
                  <a:pt x="256" y="156"/>
                </a:cubicBezTo>
                <a:cubicBezTo>
                  <a:pt x="255" y="157"/>
                  <a:pt x="253" y="159"/>
                  <a:pt x="251" y="160"/>
                </a:cubicBezTo>
                <a:cubicBezTo>
                  <a:pt x="246" y="164"/>
                  <a:pt x="238" y="170"/>
                  <a:pt x="238" y="180"/>
                </a:cubicBezTo>
                <a:cubicBezTo>
                  <a:pt x="237" y="189"/>
                  <a:pt x="245" y="195"/>
                  <a:pt x="251" y="199"/>
                </a:cubicBezTo>
                <a:cubicBezTo>
                  <a:pt x="252" y="201"/>
                  <a:pt x="255" y="203"/>
                  <a:pt x="256" y="204"/>
                </a:cubicBezTo>
                <a:cubicBezTo>
                  <a:pt x="256" y="205"/>
                  <a:pt x="255" y="209"/>
                  <a:pt x="254" y="211"/>
                </a:cubicBezTo>
                <a:cubicBezTo>
                  <a:pt x="252" y="218"/>
                  <a:pt x="249" y="227"/>
                  <a:pt x="255" y="235"/>
                </a:cubicBezTo>
                <a:cubicBezTo>
                  <a:pt x="260" y="242"/>
                  <a:pt x="270" y="243"/>
                  <a:pt x="277" y="243"/>
                </a:cubicBezTo>
                <a:cubicBezTo>
                  <a:pt x="279" y="243"/>
                  <a:pt x="282" y="243"/>
                  <a:pt x="284" y="244"/>
                </a:cubicBezTo>
                <a:cubicBezTo>
                  <a:pt x="284" y="245"/>
                  <a:pt x="285" y="248"/>
                  <a:pt x="286" y="250"/>
                </a:cubicBezTo>
                <a:cubicBezTo>
                  <a:pt x="288" y="257"/>
                  <a:pt x="291" y="266"/>
                  <a:pt x="300" y="269"/>
                </a:cubicBezTo>
                <a:cubicBezTo>
                  <a:pt x="309" y="272"/>
                  <a:pt x="317" y="267"/>
                  <a:pt x="323" y="263"/>
                </a:cubicBezTo>
                <a:cubicBezTo>
                  <a:pt x="325" y="261"/>
                  <a:pt x="328" y="260"/>
                  <a:pt x="329" y="259"/>
                </a:cubicBezTo>
                <a:cubicBezTo>
                  <a:pt x="331" y="260"/>
                  <a:pt x="333" y="261"/>
                  <a:pt x="335" y="263"/>
                </a:cubicBezTo>
                <a:cubicBezTo>
                  <a:pt x="339" y="266"/>
                  <a:pt x="346" y="270"/>
                  <a:pt x="353" y="270"/>
                </a:cubicBezTo>
                <a:cubicBezTo>
                  <a:pt x="354" y="270"/>
                  <a:pt x="356" y="270"/>
                  <a:pt x="358" y="270"/>
                </a:cubicBezTo>
                <a:cubicBezTo>
                  <a:pt x="367" y="267"/>
                  <a:pt x="370" y="257"/>
                  <a:pt x="373" y="251"/>
                </a:cubicBezTo>
                <a:cubicBezTo>
                  <a:pt x="374" y="249"/>
                  <a:pt x="375" y="246"/>
                  <a:pt x="375" y="245"/>
                </a:cubicBezTo>
                <a:cubicBezTo>
                  <a:pt x="377" y="244"/>
                  <a:pt x="380" y="244"/>
                  <a:pt x="382" y="244"/>
                </a:cubicBezTo>
                <a:cubicBezTo>
                  <a:pt x="389" y="244"/>
                  <a:pt x="399" y="244"/>
                  <a:pt x="405" y="237"/>
                </a:cubicBezTo>
                <a:cubicBezTo>
                  <a:pt x="410" y="229"/>
                  <a:pt x="408" y="220"/>
                  <a:pt x="406" y="213"/>
                </a:cubicBezTo>
                <a:cubicBezTo>
                  <a:pt x="405" y="211"/>
                  <a:pt x="404" y="208"/>
                  <a:pt x="404" y="206"/>
                </a:cubicBezTo>
                <a:cubicBezTo>
                  <a:pt x="405" y="205"/>
                  <a:pt x="408" y="203"/>
                  <a:pt x="409" y="202"/>
                </a:cubicBezTo>
                <a:cubicBezTo>
                  <a:pt x="415" y="198"/>
                  <a:pt x="423" y="192"/>
                  <a:pt x="423" y="182"/>
                </a:cubicBezTo>
                <a:close/>
                <a:moveTo>
                  <a:pt x="198" y="307"/>
                </a:moveTo>
                <a:cubicBezTo>
                  <a:pt x="196" y="306"/>
                  <a:pt x="194" y="305"/>
                  <a:pt x="192" y="305"/>
                </a:cubicBezTo>
                <a:cubicBezTo>
                  <a:pt x="190" y="305"/>
                  <a:pt x="189" y="306"/>
                  <a:pt x="187" y="306"/>
                </a:cubicBezTo>
                <a:cubicBezTo>
                  <a:pt x="184" y="307"/>
                  <a:pt x="181" y="310"/>
                  <a:pt x="179" y="313"/>
                </a:cubicBezTo>
                <a:cubicBezTo>
                  <a:pt x="177" y="316"/>
                  <a:pt x="177" y="320"/>
                  <a:pt x="178" y="324"/>
                </a:cubicBezTo>
                <a:cubicBezTo>
                  <a:pt x="179" y="328"/>
                  <a:pt x="182" y="330"/>
                  <a:pt x="185" y="332"/>
                </a:cubicBezTo>
                <a:cubicBezTo>
                  <a:pt x="188" y="334"/>
                  <a:pt x="192" y="334"/>
                  <a:pt x="196" y="333"/>
                </a:cubicBezTo>
                <a:cubicBezTo>
                  <a:pt x="200" y="332"/>
                  <a:pt x="202" y="330"/>
                  <a:pt x="204" y="326"/>
                </a:cubicBezTo>
                <a:cubicBezTo>
                  <a:pt x="206" y="323"/>
                  <a:pt x="206" y="319"/>
                  <a:pt x="205" y="315"/>
                </a:cubicBezTo>
                <a:cubicBezTo>
                  <a:pt x="204" y="312"/>
                  <a:pt x="202" y="309"/>
                  <a:pt x="198" y="307"/>
                </a:cubicBezTo>
                <a:close/>
                <a:moveTo>
                  <a:pt x="258" y="318"/>
                </a:moveTo>
                <a:cubicBezTo>
                  <a:pt x="259" y="319"/>
                  <a:pt x="261" y="320"/>
                  <a:pt x="262" y="321"/>
                </a:cubicBezTo>
                <a:cubicBezTo>
                  <a:pt x="260" y="322"/>
                  <a:pt x="259" y="323"/>
                  <a:pt x="258" y="324"/>
                </a:cubicBezTo>
                <a:cubicBezTo>
                  <a:pt x="253" y="327"/>
                  <a:pt x="247" y="331"/>
                  <a:pt x="245" y="338"/>
                </a:cubicBezTo>
                <a:cubicBezTo>
                  <a:pt x="243" y="344"/>
                  <a:pt x="245" y="351"/>
                  <a:pt x="247" y="357"/>
                </a:cubicBezTo>
                <a:cubicBezTo>
                  <a:pt x="247" y="358"/>
                  <a:pt x="247" y="360"/>
                  <a:pt x="248" y="361"/>
                </a:cubicBezTo>
                <a:cubicBezTo>
                  <a:pt x="246" y="362"/>
                  <a:pt x="244" y="362"/>
                  <a:pt x="243" y="362"/>
                </a:cubicBezTo>
                <a:cubicBezTo>
                  <a:pt x="237" y="362"/>
                  <a:pt x="230" y="362"/>
                  <a:pt x="224" y="366"/>
                </a:cubicBezTo>
                <a:cubicBezTo>
                  <a:pt x="219" y="370"/>
                  <a:pt x="216" y="376"/>
                  <a:pt x="214" y="382"/>
                </a:cubicBezTo>
                <a:cubicBezTo>
                  <a:pt x="214" y="383"/>
                  <a:pt x="213" y="384"/>
                  <a:pt x="212" y="386"/>
                </a:cubicBezTo>
                <a:cubicBezTo>
                  <a:pt x="211" y="385"/>
                  <a:pt x="209" y="383"/>
                  <a:pt x="208" y="382"/>
                </a:cubicBezTo>
                <a:cubicBezTo>
                  <a:pt x="203" y="379"/>
                  <a:pt x="198" y="373"/>
                  <a:pt x="191" y="373"/>
                </a:cubicBezTo>
                <a:cubicBezTo>
                  <a:pt x="191" y="373"/>
                  <a:pt x="191" y="373"/>
                  <a:pt x="191" y="373"/>
                </a:cubicBezTo>
                <a:cubicBezTo>
                  <a:pt x="184" y="373"/>
                  <a:pt x="178" y="378"/>
                  <a:pt x="173" y="382"/>
                </a:cubicBezTo>
                <a:cubicBezTo>
                  <a:pt x="172" y="383"/>
                  <a:pt x="170" y="385"/>
                  <a:pt x="169" y="386"/>
                </a:cubicBezTo>
                <a:cubicBezTo>
                  <a:pt x="169" y="385"/>
                  <a:pt x="168" y="383"/>
                  <a:pt x="168" y="382"/>
                </a:cubicBezTo>
                <a:cubicBezTo>
                  <a:pt x="166" y="376"/>
                  <a:pt x="163" y="369"/>
                  <a:pt x="158" y="365"/>
                </a:cubicBezTo>
                <a:cubicBezTo>
                  <a:pt x="152" y="361"/>
                  <a:pt x="145" y="361"/>
                  <a:pt x="139" y="360"/>
                </a:cubicBezTo>
                <a:cubicBezTo>
                  <a:pt x="138" y="360"/>
                  <a:pt x="136" y="360"/>
                  <a:pt x="135" y="360"/>
                </a:cubicBezTo>
                <a:cubicBezTo>
                  <a:pt x="135" y="359"/>
                  <a:pt x="135" y="357"/>
                  <a:pt x="136" y="356"/>
                </a:cubicBezTo>
                <a:cubicBezTo>
                  <a:pt x="138" y="350"/>
                  <a:pt x="140" y="343"/>
                  <a:pt x="138" y="336"/>
                </a:cubicBezTo>
                <a:cubicBezTo>
                  <a:pt x="136" y="330"/>
                  <a:pt x="130" y="325"/>
                  <a:pt x="125" y="321"/>
                </a:cubicBezTo>
                <a:cubicBezTo>
                  <a:pt x="124" y="321"/>
                  <a:pt x="123" y="320"/>
                  <a:pt x="122" y="319"/>
                </a:cubicBezTo>
                <a:cubicBezTo>
                  <a:pt x="123" y="318"/>
                  <a:pt x="124" y="317"/>
                  <a:pt x="125" y="316"/>
                </a:cubicBezTo>
                <a:cubicBezTo>
                  <a:pt x="130" y="312"/>
                  <a:pt x="136" y="308"/>
                  <a:pt x="138" y="302"/>
                </a:cubicBezTo>
                <a:cubicBezTo>
                  <a:pt x="140" y="295"/>
                  <a:pt x="138" y="288"/>
                  <a:pt x="137" y="282"/>
                </a:cubicBezTo>
                <a:cubicBezTo>
                  <a:pt x="136" y="281"/>
                  <a:pt x="136" y="279"/>
                  <a:pt x="136" y="278"/>
                </a:cubicBezTo>
                <a:cubicBezTo>
                  <a:pt x="137" y="278"/>
                  <a:pt x="139" y="278"/>
                  <a:pt x="140" y="278"/>
                </a:cubicBezTo>
                <a:cubicBezTo>
                  <a:pt x="146" y="278"/>
                  <a:pt x="153" y="278"/>
                  <a:pt x="159" y="274"/>
                </a:cubicBezTo>
                <a:cubicBezTo>
                  <a:pt x="165" y="270"/>
                  <a:pt x="167" y="263"/>
                  <a:pt x="169" y="258"/>
                </a:cubicBezTo>
                <a:cubicBezTo>
                  <a:pt x="170" y="256"/>
                  <a:pt x="170" y="255"/>
                  <a:pt x="171" y="253"/>
                </a:cubicBezTo>
                <a:cubicBezTo>
                  <a:pt x="172" y="254"/>
                  <a:pt x="174" y="256"/>
                  <a:pt x="175" y="257"/>
                </a:cubicBezTo>
                <a:cubicBezTo>
                  <a:pt x="180" y="261"/>
                  <a:pt x="186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cubicBezTo>
                  <a:pt x="200" y="266"/>
                  <a:pt x="205" y="261"/>
                  <a:pt x="210" y="257"/>
                </a:cubicBezTo>
                <a:cubicBezTo>
                  <a:pt x="211" y="257"/>
                  <a:pt x="213" y="254"/>
                  <a:pt x="214" y="253"/>
                </a:cubicBezTo>
                <a:cubicBezTo>
                  <a:pt x="215" y="255"/>
                  <a:pt x="215" y="257"/>
                  <a:pt x="216" y="258"/>
                </a:cubicBezTo>
                <a:cubicBezTo>
                  <a:pt x="218" y="264"/>
                  <a:pt x="220" y="270"/>
                  <a:pt x="226" y="274"/>
                </a:cubicBezTo>
                <a:cubicBezTo>
                  <a:pt x="231" y="278"/>
                  <a:pt x="238" y="279"/>
                  <a:pt x="244" y="279"/>
                </a:cubicBezTo>
                <a:cubicBezTo>
                  <a:pt x="245" y="279"/>
                  <a:pt x="247" y="279"/>
                  <a:pt x="249" y="279"/>
                </a:cubicBezTo>
                <a:cubicBezTo>
                  <a:pt x="248" y="281"/>
                  <a:pt x="248" y="282"/>
                  <a:pt x="248" y="283"/>
                </a:cubicBezTo>
                <a:cubicBezTo>
                  <a:pt x="246" y="289"/>
                  <a:pt x="244" y="296"/>
                  <a:pt x="246" y="303"/>
                </a:cubicBezTo>
                <a:cubicBezTo>
                  <a:pt x="248" y="310"/>
                  <a:pt x="253" y="314"/>
                  <a:pt x="258" y="318"/>
                </a:cubicBezTo>
                <a:close/>
                <a:moveTo>
                  <a:pt x="226" y="309"/>
                </a:moveTo>
                <a:cubicBezTo>
                  <a:pt x="223" y="300"/>
                  <a:pt x="217" y="293"/>
                  <a:pt x="208" y="288"/>
                </a:cubicBezTo>
                <a:cubicBezTo>
                  <a:pt x="200" y="284"/>
                  <a:pt x="190" y="283"/>
                  <a:pt x="181" y="286"/>
                </a:cubicBezTo>
                <a:cubicBezTo>
                  <a:pt x="172" y="289"/>
                  <a:pt x="165" y="295"/>
                  <a:pt x="160" y="303"/>
                </a:cubicBezTo>
                <a:cubicBezTo>
                  <a:pt x="156" y="312"/>
                  <a:pt x="155" y="321"/>
                  <a:pt x="158" y="330"/>
                </a:cubicBezTo>
                <a:cubicBezTo>
                  <a:pt x="161" y="339"/>
                  <a:pt x="167" y="347"/>
                  <a:pt x="175" y="351"/>
                </a:cubicBezTo>
                <a:cubicBezTo>
                  <a:pt x="180" y="354"/>
                  <a:pt x="186" y="355"/>
                  <a:pt x="192" y="355"/>
                </a:cubicBezTo>
                <a:cubicBezTo>
                  <a:pt x="195" y="355"/>
                  <a:pt x="199" y="355"/>
                  <a:pt x="202" y="354"/>
                </a:cubicBezTo>
                <a:cubicBezTo>
                  <a:pt x="211" y="351"/>
                  <a:pt x="219" y="345"/>
                  <a:pt x="223" y="336"/>
                </a:cubicBezTo>
                <a:cubicBezTo>
                  <a:pt x="228" y="328"/>
                  <a:pt x="228" y="318"/>
                  <a:pt x="226" y="30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0" name="Group 39"/>
          <p:cNvGrpSpPr>
            <a:grpSpLocks noChangeAspect="1"/>
          </p:cNvGrpSpPr>
          <p:nvPr/>
        </p:nvGrpSpPr>
        <p:grpSpPr bwMode="auto">
          <a:xfrm>
            <a:off x="4907360" y="4528376"/>
            <a:ext cx="367631" cy="367631"/>
            <a:chOff x="3987" y="1509"/>
            <a:chExt cx="340" cy="340"/>
          </a:xfrm>
          <a:solidFill>
            <a:schemeClr val="accent1"/>
          </a:solidFill>
        </p:grpSpPr>
        <p:sp>
          <p:nvSpPr>
            <p:cNvPr id="301" name="Freeform 40"/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41"/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3" name="TextBox 302"/>
          <p:cNvSpPr txBox="1"/>
          <p:nvPr/>
        </p:nvSpPr>
        <p:spPr>
          <a:xfrm>
            <a:off x="474366" y="582341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cument 1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1455430" y="5823413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cument 2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2451311" y="582341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lobe with stand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4436723" y="582341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rid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6409255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shake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3444017" y="582341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overnment</a:t>
            </a:r>
          </a:p>
        </p:txBody>
      </p:sp>
      <p:grpSp>
        <p:nvGrpSpPr>
          <p:cNvPr id="309" name="Group 331"/>
          <p:cNvGrpSpPr>
            <a:grpSpLocks noChangeAspect="1"/>
          </p:cNvGrpSpPr>
          <p:nvPr/>
        </p:nvGrpSpPr>
        <p:grpSpPr bwMode="auto">
          <a:xfrm>
            <a:off x="442688" y="5404003"/>
            <a:ext cx="367631" cy="367631"/>
            <a:chOff x="3832" y="1197"/>
            <a:chExt cx="340" cy="340"/>
          </a:xfrm>
          <a:solidFill>
            <a:schemeClr val="accent4"/>
          </a:solidFill>
        </p:grpSpPr>
        <p:sp>
          <p:nvSpPr>
            <p:cNvPr id="310" name="Freeform 332"/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333"/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2" name="Group 336"/>
          <p:cNvGrpSpPr>
            <a:grpSpLocks noChangeAspect="1"/>
          </p:cNvGrpSpPr>
          <p:nvPr/>
        </p:nvGrpSpPr>
        <p:grpSpPr bwMode="auto">
          <a:xfrm>
            <a:off x="940583" y="5404007"/>
            <a:ext cx="367631" cy="367631"/>
            <a:chOff x="4220" y="1197"/>
            <a:chExt cx="340" cy="340"/>
          </a:xfrm>
          <a:solidFill>
            <a:schemeClr val="accent4"/>
          </a:solidFill>
        </p:grpSpPr>
        <p:sp>
          <p:nvSpPr>
            <p:cNvPr id="313" name="Freeform 337"/>
            <p:cNvSpPr>
              <a:spLocks noEditPoints="1"/>
            </p:cNvSpPr>
            <p:nvPr/>
          </p:nvSpPr>
          <p:spPr bwMode="auto">
            <a:xfrm>
              <a:off x="4220" y="1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338"/>
            <p:cNvSpPr>
              <a:spLocks noEditPoints="1"/>
            </p:cNvSpPr>
            <p:nvPr/>
          </p:nvSpPr>
          <p:spPr bwMode="auto">
            <a:xfrm>
              <a:off x="4312" y="1261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339"/>
            <p:cNvSpPr>
              <a:spLocks/>
            </p:cNvSpPr>
            <p:nvPr/>
          </p:nvSpPr>
          <p:spPr bwMode="auto">
            <a:xfrm>
              <a:off x="4340" y="143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340"/>
            <p:cNvSpPr>
              <a:spLocks/>
            </p:cNvSpPr>
            <p:nvPr/>
          </p:nvSpPr>
          <p:spPr bwMode="auto">
            <a:xfrm>
              <a:off x="4340" y="1402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341"/>
            <p:cNvSpPr>
              <a:spLocks/>
            </p:cNvSpPr>
            <p:nvPr/>
          </p:nvSpPr>
          <p:spPr bwMode="auto">
            <a:xfrm>
              <a:off x="4340" y="1374"/>
              <a:ext cx="99" cy="14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342"/>
            <p:cNvSpPr>
              <a:spLocks/>
            </p:cNvSpPr>
            <p:nvPr/>
          </p:nvSpPr>
          <p:spPr bwMode="auto">
            <a:xfrm>
              <a:off x="4340" y="1346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9" name="Freeform 346"/>
          <p:cNvSpPr>
            <a:spLocks noChangeAspect="1" noEditPoints="1"/>
          </p:cNvSpPr>
          <p:nvPr/>
        </p:nvSpPr>
        <p:spPr bwMode="auto">
          <a:xfrm>
            <a:off x="1438478" y="5404007"/>
            <a:ext cx="367631" cy="367631"/>
          </a:xfrm>
          <a:custGeom>
            <a:avLst/>
            <a:gdLst>
              <a:gd name="T0" fmla="*/ 277 w 512"/>
              <a:gd name="T1" fmla="*/ 394 h 512"/>
              <a:gd name="T2" fmla="*/ 149 w 512"/>
              <a:gd name="T3" fmla="*/ 202 h 512"/>
              <a:gd name="T4" fmla="*/ 170 w 512"/>
              <a:gd name="T5" fmla="*/ 224 h 512"/>
              <a:gd name="T6" fmla="*/ 266 w 512"/>
              <a:gd name="T7" fmla="*/ 234 h 512"/>
              <a:gd name="T8" fmla="*/ 170 w 512"/>
              <a:gd name="T9" fmla="*/ 245 h 512"/>
              <a:gd name="T10" fmla="*/ 170 w 512"/>
              <a:gd name="T11" fmla="*/ 224 h 512"/>
              <a:gd name="T12" fmla="*/ 256 w 512"/>
              <a:gd name="T13" fmla="*/ 266 h 512"/>
              <a:gd name="T14" fmla="*/ 256 w 512"/>
              <a:gd name="T15" fmla="*/ 288 h 512"/>
              <a:gd name="T16" fmla="*/ 160 w 512"/>
              <a:gd name="T17" fmla="*/ 277 h 512"/>
              <a:gd name="T18" fmla="*/ 170 w 512"/>
              <a:gd name="T19" fmla="*/ 309 h 512"/>
              <a:gd name="T20" fmla="*/ 266 w 512"/>
              <a:gd name="T21" fmla="*/ 320 h 512"/>
              <a:gd name="T22" fmla="*/ 170 w 512"/>
              <a:gd name="T23" fmla="*/ 330 h 512"/>
              <a:gd name="T24" fmla="*/ 170 w 512"/>
              <a:gd name="T25" fmla="*/ 309 h 512"/>
              <a:gd name="T26" fmla="*/ 256 w 512"/>
              <a:gd name="T27" fmla="*/ 352 h 512"/>
              <a:gd name="T28" fmla="*/ 256 w 512"/>
              <a:gd name="T29" fmla="*/ 373 h 512"/>
              <a:gd name="T30" fmla="*/ 160 w 512"/>
              <a:gd name="T31" fmla="*/ 36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288 w 512"/>
              <a:gd name="T39" fmla="*/ 416 h 512"/>
              <a:gd name="T40" fmla="*/ 128 w 512"/>
              <a:gd name="T41" fmla="*/ 405 h 512"/>
              <a:gd name="T42" fmla="*/ 138 w 512"/>
              <a:gd name="T43" fmla="*/ 181 h 512"/>
              <a:gd name="T44" fmla="*/ 298 w 512"/>
              <a:gd name="T45" fmla="*/ 192 h 512"/>
              <a:gd name="T46" fmla="*/ 341 w 512"/>
              <a:gd name="T47" fmla="*/ 362 h 512"/>
              <a:gd name="T48" fmla="*/ 320 w 512"/>
              <a:gd name="T49" fmla="*/ 362 h 512"/>
              <a:gd name="T50" fmla="*/ 181 w 512"/>
              <a:gd name="T51" fmla="*/ 160 h 512"/>
              <a:gd name="T52" fmla="*/ 181 w 512"/>
              <a:gd name="T53" fmla="*/ 138 h 512"/>
              <a:gd name="T54" fmla="*/ 341 w 512"/>
              <a:gd name="T55" fmla="*/ 149 h 512"/>
              <a:gd name="T56" fmla="*/ 384 w 512"/>
              <a:gd name="T57" fmla="*/ 320 h 512"/>
              <a:gd name="T58" fmla="*/ 362 w 512"/>
              <a:gd name="T59" fmla="*/ 320 h 512"/>
              <a:gd name="T60" fmla="*/ 224 w 512"/>
              <a:gd name="T61" fmla="*/ 117 h 512"/>
              <a:gd name="T62" fmla="*/ 224 w 512"/>
              <a:gd name="T63" fmla="*/ 96 h 512"/>
              <a:gd name="T64" fmla="*/ 384 w 512"/>
              <a:gd name="T65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0" name="Group 349"/>
          <p:cNvGrpSpPr>
            <a:grpSpLocks noChangeAspect="1"/>
          </p:cNvGrpSpPr>
          <p:nvPr/>
        </p:nvGrpSpPr>
        <p:grpSpPr bwMode="auto">
          <a:xfrm>
            <a:off x="1936373" y="5404007"/>
            <a:ext cx="367631" cy="367631"/>
            <a:chOff x="5018" y="1229"/>
            <a:chExt cx="340" cy="340"/>
          </a:xfrm>
          <a:solidFill>
            <a:schemeClr val="accent4"/>
          </a:solidFill>
        </p:grpSpPr>
        <p:sp>
          <p:nvSpPr>
            <p:cNvPr id="321" name="Freeform 350"/>
            <p:cNvSpPr>
              <a:spLocks noEditPoints="1"/>
            </p:cNvSpPr>
            <p:nvPr/>
          </p:nvSpPr>
          <p:spPr bwMode="auto">
            <a:xfrm>
              <a:off x="5103" y="1293"/>
              <a:ext cx="170" cy="212"/>
            </a:xfrm>
            <a:custGeom>
              <a:avLst/>
              <a:gdLst>
                <a:gd name="T0" fmla="*/ 160 w 256"/>
                <a:gd name="T1" fmla="*/ 85 h 320"/>
                <a:gd name="T2" fmla="*/ 10 w 256"/>
                <a:gd name="T3" fmla="*/ 85 h 320"/>
                <a:gd name="T4" fmla="*/ 0 w 256"/>
                <a:gd name="T5" fmla="*/ 96 h 320"/>
                <a:gd name="T6" fmla="*/ 0 w 256"/>
                <a:gd name="T7" fmla="*/ 309 h 320"/>
                <a:gd name="T8" fmla="*/ 10 w 256"/>
                <a:gd name="T9" fmla="*/ 320 h 320"/>
                <a:gd name="T10" fmla="*/ 160 w 256"/>
                <a:gd name="T11" fmla="*/ 320 h 320"/>
                <a:gd name="T12" fmla="*/ 170 w 256"/>
                <a:gd name="T13" fmla="*/ 309 h 320"/>
                <a:gd name="T14" fmla="*/ 170 w 256"/>
                <a:gd name="T15" fmla="*/ 96 h 320"/>
                <a:gd name="T16" fmla="*/ 160 w 256"/>
                <a:gd name="T17" fmla="*/ 85 h 320"/>
                <a:gd name="T18" fmla="*/ 149 w 256"/>
                <a:gd name="T19" fmla="*/ 298 h 320"/>
                <a:gd name="T20" fmla="*/ 21 w 256"/>
                <a:gd name="T21" fmla="*/ 298 h 320"/>
                <a:gd name="T22" fmla="*/ 21 w 256"/>
                <a:gd name="T23" fmla="*/ 106 h 320"/>
                <a:gd name="T24" fmla="*/ 149 w 256"/>
                <a:gd name="T25" fmla="*/ 106 h 320"/>
                <a:gd name="T26" fmla="*/ 149 w 256"/>
                <a:gd name="T27" fmla="*/ 298 h 320"/>
                <a:gd name="T28" fmla="*/ 213 w 256"/>
                <a:gd name="T29" fmla="*/ 53 h 320"/>
                <a:gd name="T30" fmla="*/ 213 w 256"/>
                <a:gd name="T31" fmla="*/ 266 h 320"/>
                <a:gd name="T32" fmla="*/ 202 w 256"/>
                <a:gd name="T33" fmla="*/ 277 h 320"/>
                <a:gd name="T34" fmla="*/ 192 w 256"/>
                <a:gd name="T35" fmla="*/ 266 h 320"/>
                <a:gd name="T36" fmla="*/ 192 w 256"/>
                <a:gd name="T37" fmla="*/ 64 h 320"/>
                <a:gd name="T38" fmla="*/ 53 w 256"/>
                <a:gd name="T39" fmla="*/ 64 h 320"/>
                <a:gd name="T40" fmla="*/ 42 w 256"/>
                <a:gd name="T41" fmla="*/ 53 h 320"/>
                <a:gd name="T42" fmla="*/ 53 w 256"/>
                <a:gd name="T43" fmla="*/ 42 h 320"/>
                <a:gd name="T44" fmla="*/ 202 w 256"/>
                <a:gd name="T45" fmla="*/ 42 h 320"/>
                <a:gd name="T46" fmla="*/ 213 w 256"/>
                <a:gd name="T47" fmla="*/ 53 h 320"/>
                <a:gd name="T48" fmla="*/ 256 w 256"/>
                <a:gd name="T49" fmla="*/ 10 h 320"/>
                <a:gd name="T50" fmla="*/ 256 w 256"/>
                <a:gd name="T51" fmla="*/ 224 h 320"/>
                <a:gd name="T52" fmla="*/ 245 w 256"/>
                <a:gd name="T53" fmla="*/ 234 h 320"/>
                <a:gd name="T54" fmla="*/ 234 w 256"/>
                <a:gd name="T55" fmla="*/ 224 h 320"/>
                <a:gd name="T56" fmla="*/ 234 w 256"/>
                <a:gd name="T57" fmla="*/ 21 h 320"/>
                <a:gd name="T58" fmla="*/ 96 w 256"/>
                <a:gd name="T59" fmla="*/ 21 h 320"/>
                <a:gd name="T60" fmla="*/ 85 w 256"/>
                <a:gd name="T61" fmla="*/ 10 h 320"/>
                <a:gd name="T62" fmla="*/ 96 w 256"/>
                <a:gd name="T63" fmla="*/ 0 h 320"/>
                <a:gd name="T64" fmla="*/ 245 w 256"/>
                <a:gd name="T65" fmla="*/ 0 h 320"/>
                <a:gd name="T66" fmla="*/ 256 w 256"/>
                <a:gd name="T67" fmla="*/ 10 h 320"/>
                <a:gd name="T68" fmla="*/ 32 w 256"/>
                <a:gd name="T69" fmla="*/ 266 h 320"/>
                <a:gd name="T70" fmla="*/ 42 w 256"/>
                <a:gd name="T71" fmla="*/ 256 h 320"/>
                <a:gd name="T72" fmla="*/ 128 w 256"/>
                <a:gd name="T73" fmla="*/ 256 h 320"/>
                <a:gd name="T74" fmla="*/ 138 w 256"/>
                <a:gd name="T75" fmla="*/ 266 h 320"/>
                <a:gd name="T76" fmla="*/ 128 w 256"/>
                <a:gd name="T77" fmla="*/ 277 h 320"/>
                <a:gd name="T78" fmla="*/ 42 w 256"/>
                <a:gd name="T79" fmla="*/ 277 h 320"/>
                <a:gd name="T80" fmla="*/ 32 w 256"/>
                <a:gd name="T81" fmla="*/ 266 h 320"/>
                <a:gd name="T82" fmla="*/ 32 w 256"/>
                <a:gd name="T83" fmla="*/ 224 h 320"/>
                <a:gd name="T84" fmla="*/ 42 w 256"/>
                <a:gd name="T85" fmla="*/ 213 h 320"/>
                <a:gd name="T86" fmla="*/ 128 w 256"/>
                <a:gd name="T87" fmla="*/ 213 h 320"/>
                <a:gd name="T88" fmla="*/ 138 w 256"/>
                <a:gd name="T89" fmla="*/ 224 h 320"/>
                <a:gd name="T90" fmla="*/ 128 w 256"/>
                <a:gd name="T91" fmla="*/ 234 h 320"/>
                <a:gd name="T92" fmla="*/ 42 w 256"/>
                <a:gd name="T93" fmla="*/ 234 h 320"/>
                <a:gd name="T94" fmla="*/ 32 w 256"/>
                <a:gd name="T95" fmla="*/ 224 h 320"/>
                <a:gd name="T96" fmla="*/ 32 w 256"/>
                <a:gd name="T97" fmla="*/ 181 h 320"/>
                <a:gd name="T98" fmla="*/ 42 w 256"/>
                <a:gd name="T99" fmla="*/ 170 h 320"/>
                <a:gd name="T100" fmla="*/ 128 w 256"/>
                <a:gd name="T101" fmla="*/ 170 h 320"/>
                <a:gd name="T102" fmla="*/ 138 w 256"/>
                <a:gd name="T103" fmla="*/ 181 h 320"/>
                <a:gd name="T104" fmla="*/ 128 w 256"/>
                <a:gd name="T105" fmla="*/ 192 h 320"/>
                <a:gd name="T106" fmla="*/ 42 w 256"/>
                <a:gd name="T107" fmla="*/ 192 h 320"/>
                <a:gd name="T108" fmla="*/ 32 w 256"/>
                <a:gd name="T109" fmla="*/ 181 h 320"/>
                <a:gd name="T110" fmla="*/ 32 w 256"/>
                <a:gd name="T111" fmla="*/ 138 h 320"/>
                <a:gd name="T112" fmla="*/ 42 w 256"/>
                <a:gd name="T113" fmla="*/ 128 h 320"/>
                <a:gd name="T114" fmla="*/ 128 w 256"/>
                <a:gd name="T115" fmla="*/ 128 h 320"/>
                <a:gd name="T116" fmla="*/ 138 w 256"/>
                <a:gd name="T117" fmla="*/ 138 h 320"/>
                <a:gd name="T118" fmla="*/ 128 w 256"/>
                <a:gd name="T119" fmla="*/ 149 h 320"/>
                <a:gd name="T120" fmla="*/ 42 w 256"/>
                <a:gd name="T121" fmla="*/ 149 h 320"/>
                <a:gd name="T122" fmla="*/ 32 w 256"/>
                <a:gd name="T123" fmla="*/ 13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20">
                  <a:moveTo>
                    <a:pt x="160" y="85"/>
                  </a:move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4" y="320"/>
                    <a:pt x="10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96"/>
                    <a:pt x="170" y="96"/>
                    <a:pt x="170" y="96"/>
                  </a:cubicBezTo>
                  <a:cubicBezTo>
                    <a:pt x="170" y="90"/>
                    <a:pt x="166" y="85"/>
                    <a:pt x="160" y="85"/>
                  </a:cubicBezTo>
                  <a:close/>
                  <a:moveTo>
                    <a:pt x="149" y="298"/>
                  </a:moveTo>
                  <a:cubicBezTo>
                    <a:pt x="21" y="298"/>
                    <a:pt x="21" y="298"/>
                    <a:pt x="21" y="298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149" y="106"/>
                    <a:pt x="149" y="106"/>
                    <a:pt x="149" y="106"/>
                  </a:cubicBezTo>
                  <a:lnTo>
                    <a:pt x="149" y="298"/>
                  </a:lnTo>
                  <a:close/>
                  <a:moveTo>
                    <a:pt x="213" y="53"/>
                  </a:moveTo>
                  <a:cubicBezTo>
                    <a:pt x="213" y="266"/>
                    <a:pt x="213" y="266"/>
                    <a:pt x="213" y="266"/>
                  </a:cubicBezTo>
                  <a:cubicBezTo>
                    <a:pt x="213" y="272"/>
                    <a:pt x="208" y="277"/>
                    <a:pt x="202" y="277"/>
                  </a:cubicBezTo>
                  <a:cubicBezTo>
                    <a:pt x="196" y="277"/>
                    <a:pt x="192" y="272"/>
                    <a:pt x="192" y="266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47" y="64"/>
                    <a:pt x="42" y="59"/>
                    <a:pt x="42" y="53"/>
                  </a:cubicBezTo>
                  <a:cubicBezTo>
                    <a:pt x="42" y="47"/>
                    <a:pt x="47" y="42"/>
                    <a:pt x="53" y="42"/>
                  </a:cubicBezTo>
                  <a:cubicBezTo>
                    <a:pt x="202" y="42"/>
                    <a:pt x="202" y="42"/>
                    <a:pt x="202" y="42"/>
                  </a:cubicBezTo>
                  <a:cubicBezTo>
                    <a:pt x="208" y="42"/>
                    <a:pt x="213" y="47"/>
                    <a:pt x="213" y="53"/>
                  </a:cubicBezTo>
                  <a:close/>
                  <a:moveTo>
                    <a:pt x="256" y="10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56" y="230"/>
                    <a:pt x="251" y="234"/>
                    <a:pt x="245" y="234"/>
                  </a:cubicBezTo>
                  <a:cubicBezTo>
                    <a:pt x="239" y="234"/>
                    <a:pt x="234" y="230"/>
                    <a:pt x="234" y="224"/>
                  </a:cubicBezTo>
                  <a:cubicBezTo>
                    <a:pt x="234" y="21"/>
                    <a:pt x="234" y="21"/>
                    <a:pt x="234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0" y="21"/>
                    <a:pt x="85" y="16"/>
                    <a:pt x="85" y="10"/>
                  </a:cubicBezTo>
                  <a:cubicBezTo>
                    <a:pt x="85" y="4"/>
                    <a:pt x="90" y="0"/>
                    <a:pt x="9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51" y="0"/>
                    <a:pt x="256" y="4"/>
                    <a:pt x="256" y="10"/>
                  </a:cubicBezTo>
                  <a:close/>
                  <a:moveTo>
                    <a:pt x="32" y="266"/>
                  </a:moveTo>
                  <a:cubicBezTo>
                    <a:pt x="32" y="260"/>
                    <a:pt x="36" y="256"/>
                    <a:pt x="42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34" y="256"/>
                    <a:pt x="138" y="260"/>
                    <a:pt x="138" y="266"/>
                  </a:cubicBezTo>
                  <a:cubicBezTo>
                    <a:pt x="138" y="272"/>
                    <a:pt x="134" y="277"/>
                    <a:pt x="128" y="277"/>
                  </a:cubicBezTo>
                  <a:cubicBezTo>
                    <a:pt x="42" y="277"/>
                    <a:pt x="42" y="277"/>
                    <a:pt x="42" y="277"/>
                  </a:cubicBezTo>
                  <a:cubicBezTo>
                    <a:pt x="36" y="277"/>
                    <a:pt x="32" y="272"/>
                    <a:pt x="32" y="266"/>
                  </a:cubicBezTo>
                  <a:close/>
                  <a:moveTo>
                    <a:pt x="32" y="224"/>
                  </a:moveTo>
                  <a:cubicBezTo>
                    <a:pt x="32" y="218"/>
                    <a:pt x="36" y="213"/>
                    <a:pt x="42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4" y="213"/>
                    <a:pt x="138" y="218"/>
                    <a:pt x="138" y="224"/>
                  </a:cubicBezTo>
                  <a:cubicBezTo>
                    <a:pt x="138" y="230"/>
                    <a:pt x="134" y="234"/>
                    <a:pt x="128" y="234"/>
                  </a:cubicBezTo>
                  <a:cubicBezTo>
                    <a:pt x="42" y="234"/>
                    <a:pt x="42" y="234"/>
                    <a:pt x="42" y="234"/>
                  </a:cubicBezTo>
                  <a:cubicBezTo>
                    <a:pt x="36" y="234"/>
                    <a:pt x="32" y="230"/>
                    <a:pt x="32" y="224"/>
                  </a:cubicBezTo>
                  <a:close/>
                  <a:moveTo>
                    <a:pt x="32" y="181"/>
                  </a:moveTo>
                  <a:cubicBezTo>
                    <a:pt x="32" y="175"/>
                    <a:pt x="36" y="170"/>
                    <a:pt x="42" y="170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34" y="170"/>
                    <a:pt x="138" y="175"/>
                    <a:pt x="138" y="181"/>
                  </a:cubicBezTo>
                  <a:cubicBezTo>
                    <a:pt x="138" y="187"/>
                    <a:pt x="134" y="192"/>
                    <a:pt x="128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36" y="192"/>
                    <a:pt x="32" y="187"/>
                    <a:pt x="32" y="181"/>
                  </a:cubicBezTo>
                  <a:close/>
                  <a:moveTo>
                    <a:pt x="32" y="138"/>
                  </a:moveTo>
                  <a:cubicBezTo>
                    <a:pt x="32" y="132"/>
                    <a:pt x="36" y="128"/>
                    <a:pt x="42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4" y="128"/>
                    <a:pt x="138" y="132"/>
                    <a:pt x="138" y="138"/>
                  </a:cubicBezTo>
                  <a:cubicBezTo>
                    <a:pt x="138" y="144"/>
                    <a:pt x="134" y="149"/>
                    <a:pt x="128" y="149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36" y="149"/>
                    <a:pt x="32" y="144"/>
                    <a:pt x="32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351"/>
            <p:cNvSpPr>
              <a:spLocks noEditPoints="1"/>
            </p:cNvSpPr>
            <p:nvPr/>
          </p:nvSpPr>
          <p:spPr bwMode="auto">
            <a:xfrm>
              <a:off x="5018" y="12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3" name="Freeform 96"/>
          <p:cNvSpPr>
            <a:spLocks noChangeAspect="1" noEditPoints="1"/>
          </p:cNvSpPr>
          <p:nvPr/>
        </p:nvSpPr>
        <p:spPr bwMode="auto">
          <a:xfrm>
            <a:off x="2434268" y="5404007"/>
            <a:ext cx="367041" cy="367041"/>
          </a:xfrm>
          <a:custGeom>
            <a:avLst/>
            <a:gdLst>
              <a:gd name="T0" fmla="*/ 340 w 512"/>
              <a:gd name="T1" fmla="*/ 232 h 512"/>
              <a:gd name="T2" fmla="*/ 258 w 512"/>
              <a:gd name="T3" fmla="*/ 315 h 512"/>
              <a:gd name="T4" fmla="*/ 175 w 512"/>
              <a:gd name="T5" fmla="*/ 232 h 512"/>
              <a:gd name="T6" fmla="*/ 258 w 512"/>
              <a:gd name="T7" fmla="*/ 150 h 512"/>
              <a:gd name="T8" fmla="*/ 340 w 512"/>
              <a:gd name="T9" fmla="*/ 232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55 w 512"/>
              <a:gd name="T21" fmla="*/ 320 h 512"/>
              <a:gd name="T22" fmla="*/ 340 w 512"/>
              <a:gd name="T23" fmla="*/ 319 h 512"/>
              <a:gd name="T24" fmla="*/ 258 w 512"/>
              <a:gd name="T25" fmla="*/ 352 h 512"/>
              <a:gd name="T26" fmla="*/ 138 w 512"/>
              <a:gd name="T27" fmla="*/ 232 h 512"/>
              <a:gd name="T28" fmla="*/ 171 w 512"/>
              <a:gd name="T29" fmla="*/ 150 h 512"/>
              <a:gd name="T30" fmla="*/ 170 w 512"/>
              <a:gd name="T31" fmla="*/ 135 h 512"/>
              <a:gd name="T32" fmla="*/ 155 w 512"/>
              <a:gd name="T33" fmla="*/ 136 h 512"/>
              <a:gd name="T34" fmla="*/ 117 w 512"/>
              <a:gd name="T35" fmla="*/ 232 h 512"/>
              <a:gd name="T36" fmla="*/ 245 w 512"/>
              <a:gd name="T37" fmla="*/ 372 h 512"/>
              <a:gd name="T38" fmla="*/ 245 w 512"/>
              <a:gd name="T39" fmla="*/ 394 h 512"/>
              <a:gd name="T40" fmla="*/ 192 w 512"/>
              <a:gd name="T41" fmla="*/ 394 h 512"/>
              <a:gd name="T42" fmla="*/ 181 w 512"/>
              <a:gd name="T43" fmla="*/ 405 h 512"/>
              <a:gd name="T44" fmla="*/ 192 w 512"/>
              <a:gd name="T45" fmla="*/ 416 h 512"/>
              <a:gd name="T46" fmla="*/ 320 w 512"/>
              <a:gd name="T47" fmla="*/ 416 h 512"/>
              <a:gd name="T48" fmla="*/ 330 w 512"/>
              <a:gd name="T49" fmla="*/ 405 h 512"/>
              <a:gd name="T50" fmla="*/ 320 w 512"/>
              <a:gd name="T51" fmla="*/ 394 h 512"/>
              <a:gd name="T52" fmla="*/ 266 w 512"/>
              <a:gd name="T53" fmla="*/ 394 h 512"/>
              <a:gd name="T54" fmla="*/ 266 w 512"/>
              <a:gd name="T55" fmla="*/ 373 h 512"/>
              <a:gd name="T56" fmla="*/ 354 w 512"/>
              <a:gd name="T57" fmla="*/ 335 h 512"/>
              <a:gd name="T58" fmla="*/ 355 w 512"/>
              <a:gd name="T59" fmla="*/ 320 h 512"/>
              <a:gd name="T60" fmla="*/ 362 w 512"/>
              <a:gd name="T61" fmla="*/ 232 h 512"/>
              <a:gd name="T62" fmla="*/ 258 w 512"/>
              <a:gd name="T63" fmla="*/ 128 h 512"/>
              <a:gd name="T64" fmla="*/ 154 w 512"/>
              <a:gd name="T65" fmla="*/ 232 h 512"/>
              <a:gd name="T66" fmla="*/ 258 w 512"/>
              <a:gd name="T67" fmla="*/ 336 h 512"/>
              <a:gd name="T68" fmla="*/ 362 w 512"/>
              <a:gd name="T69" fmla="*/ 23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40" y="232"/>
                </a:moveTo>
                <a:cubicBezTo>
                  <a:pt x="340" y="278"/>
                  <a:pt x="303" y="315"/>
                  <a:pt x="258" y="315"/>
                </a:cubicBezTo>
                <a:cubicBezTo>
                  <a:pt x="212" y="315"/>
                  <a:pt x="175" y="278"/>
                  <a:pt x="175" y="232"/>
                </a:cubicBezTo>
                <a:cubicBezTo>
                  <a:pt x="175" y="187"/>
                  <a:pt x="212" y="150"/>
                  <a:pt x="258" y="150"/>
                </a:cubicBezTo>
                <a:cubicBezTo>
                  <a:pt x="303" y="150"/>
                  <a:pt x="340" y="187"/>
                  <a:pt x="340" y="23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5" y="320"/>
                </a:moveTo>
                <a:cubicBezTo>
                  <a:pt x="351" y="315"/>
                  <a:pt x="344" y="315"/>
                  <a:pt x="340" y="319"/>
                </a:cubicBezTo>
                <a:cubicBezTo>
                  <a:pt x="317" y="340"/>
                  <a:pt x="288" y="352"/>
                  <a:pt x="258" y="352"/>
                </a:cubicBezTo>
                <a:cubicBezTo>
                  <a:pt x="192" y="352"/>
                  <a:pt x="138" y="298"/>
                  <a:pt x="138" y="232"/>
                </a:cubicBezTo>
                <a:cubicBezTo>
                  <a:pt x="138" y="202"/>
                  <a:pt x="150" y="173"/>
                  <a:pt x="171" y="150"/>
                </a:cubicBezTo>
                <a:cubicBezTo>
                  <a:pt x="175" y="146"/>
                  <a:pt x="175" y="139"/>
                  <a:pt x="170" y="135"/>
                </a:cubicBezTo>
                <a:cubicBezTo>
                  <a:pt x="166" y="131"/>
                  <a:pt x="159" y="132"/>
                  <a:pt x="155" y="136"/>
                </a:cubicBezTo>
                <a:cubicBezTo>
                  <a:pt x="131" y="162"/>
                  <a:pt x="117" y="196"/>
                  <a:pt x="117" y="232"/>
                </a:cubicBezTo>
                <a:cubicBezTo>
                  <a:pt x="117" y="306"/>
                  <a:pt x="173" y="366"/>
                  <a:pt x="245" y="372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86" y="394"/>
                  <a:pt x="181" y="399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cubicBezTo>
                  <a:pt x="330" y="399"/>
                  <a:pt x="326" y="394"/>
                  <a:pt x="320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99" y="371"/>
                  <a:pt x="330" y="357"/>
                  <a:pt x="354" y="335"/>
                </a:cubicBezTo>
                <a:cubicBezTo>
                  <a:pt x="358" y="331"/>
                  <a:pt x="359" y="324"/>
                  <a:pt x="355" y="320"/>
                </a:cubicBezTo>
                <a:close/>
                <a:moveTo>
                  <a:pt x="362" y="232"/>
                </a:moveTo>
                <a:cubicBezTo>
                  <a:pt x="362" y="175"/>
                  <a:pt x="315" y="128"/>
                  <a:pt x="258" y="128"/>
                </a:cubicBezTo>
                <a:cubicBezTo>
                  <a:pt x="200" y="128"/>
                  <a:pt x="154" y="175"/>
                  <a:pt x="154" y="232"/>
                </a:cubicBezTo>
                <a:cubicBezTo>
                  <a:pt x="154" y="290"/>
                  <a:pt x="200" y="336"/>
                  <a:pt x="258" y="336"/>
                </a:cubicBezTo>
                <a:cubicBezTo>
                  <a:pt x="315" y="336"/>
                  <a:pt x="362" y="290"/>
                  <a:pt x="362" y="2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4" name="Group 99"/>
          <p:cNvGrpSpPr>
            <a:grpSpLocks noChangeAspect="1"/>
          </p:cNvGrpSpPr>
          <p:nvPr/>
        </p:nvGrpSpPr>
        <p:grpSpPr bwMode="auto">
          <a:xfrm>
            <a:off x="2931573" y="5404007"/>
            <a:ext cx="367041" cy="367041"/>
            <a:chOff x="390" y="346"/>
            <a:chExt cx="340" cy="340"/>
          </a:xfrm>
          <a:solidFill>
            <a:schemeClr val="accent2"/>
          </a:solidFill>
        </p:grpSpPr>
        <p:sp>
          <p:nvSpPr>
            <p:cNvPr id="325" name="Freeform 100"/>
            <p:cNvSpPr>
              <a:spLocks noEditPoints="1"/>
            </p:cNvSpPr>
            <p:nvPr/>
          </p:nvSpPr>
          <p:spPr bwMode="auto">
            <a:xfrm>
              <a:off x="390" y="34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101"/>
            <p:cNvSpPr>
              <a:spLocks/>
            </p:cNvSpPr>
            <p:nvPr/>
          </p:nvSpPr>
          <p:spPr bwMode="auto">
            <a:xfrm>
              <a:off x="468" y="433"/>
              <a:ext cx="160" cy="189"/>
            </a:xfrm>
            <a:custGeom>
              <a:avLst/>
              <a:gdLst>
                <a:gd name="T0" fmla="*/ 223 w 242"/>
                <a:gd name="T1" fmla="*/ 188 h 285"/>
                <a:gd name="T2" fmla="*/ 141 w 242"/>
                <a:gd name="T3" fmla="*/ 221 h 285"/>
                <a:gd name="T4" fmla="*/ 21 w 242"/>
                <a:gd name="T5" fmla="*/ 101 h 285"/>
                <a:gd name="T6" fmla="*/ 54 w 242"/>
                <a:gd name="T7" fmla="*/ 19 h 285"/>
                <a:gd name="T8" fmla="*/ 53 w 242"/>
                <a:gd name="T9" fmla="*/ 4 h 285"/>
                <a:gd name="T10" fmla="*/ 38 w 242"/>
                <a:gd name="T11" fmla="*/ 5 h 285"/>
                <a:gd name="T12" fmla="*/ 0 w 242"/>
                <a:gd name="T13" fmla="*/ 101 h 285"/>
                <a:gd name="T14" fmla="*/ 128 w 242"/>
                <a:gd name="T15" fmla="*/ 241 h 285"/>
                <a:gd name="T16" fmla="*/ 128 w 242"/>
                <a:gd name="T17" fmla="*/ 263 h 285"/>
                <a:gd name="T18" fmla="*/ 75 w 242"/>
                <a:gd name="T19" fmla="*/ 263 h 285"/>
                <a:gd name="T20" fmla="*/ 64 w 242"/>
                <a:gd name="T21" fmla="*/ 274 h 285"/>
                <a:gd name="T22" fmla="*/ 75 w 242"/>
                <a:gd name="T23" fmla="*/ 285 h 285"/>
                <a:gd name="T24" fmla="*/ 203 w 242"/>
                <a:gd name="T25" fmla="*/ 285 h 285"/>
                <a:gd name="T26" fmla="*/ 213 w 242"/>
                <a:gd name="T27" fmla="*/ 274 h 285"/>
                <a:gd name="T28" fmla="*/ 203 w 242"/>
                <a:gd name="T29" fmla="*/ 263 h 285"/>
                <a:gd name="T30" fmla="*/ 149 w 242"/>
                <a:gd name="T31" fmla="*/ 263 h 285"/>
                <a:gd name="T32" fmla="*/ 149 w 242"/>
                <a:gd name="T33" fmla="*/ 242 h 285"/>
                <a:gd name="T34" fmla="*/ 237 w 242"/>
                <a:gd name="T35" fmla="*/ 204 h 285"/>
                <a:gd name="T36" fmla="*/ 238 w 242"/>
                <a:gd name="T37" fmla="*/ 189 h 285"/>
                <a:gd name="T38" fmla="*/ 223 w 242"/>
                <a:gd name="T39" fmla="*/ 18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2" h="285">
                  <a:moveTo>
                    <a:pt x="223" y="188"/>
                  </a:moveTo>
                  <a:cubicBezTo>
                    <a:pt x="200" y="209"/>
                    <a:pt x="171" y="221"/>
                    <a:pt x="141" y="221"/>
                  </a:cubicBezTo>
                  <a:cubicBezTo>
                    <a:pt x="75" y="221"/>
                    <a:pt x="21" y="167"/>
                    <a:pt x="21" y="101"/>
                  </a:cubicBezTo>
                  <a:cubicBezTo>
                    <a:pt x="21" y="71"/>
                    <a:pt x="33" y="42"/>
                    <a:pt x="54" y="19"/>
                  </a:cubicBezTo>
                  <a:cubicBezTo>
                    <a:pt x="58" y="15"/>
                    <a:pt x="58" y="8"/>
                    <a:pt x="53" y="4"/>
                  </a:cubicBezTo>
                  <a:cubicBezTo>
                    <a:pt x="49" y="0"/>
                    <a:pt x="42" y="1"/>
                    <a:pt x="38" y="5"/>
                  </a:cubicBezTo>
                  <a:cubicBezTo>
                    <a:pt x="14" y="31"/>
                    <a:pt x="0" y="65"/>
                    <a:pt x="0" y="101"/>
                  </a:cubicBezTo>
                  <a:cubicBezTo>
                    <a:pt x="0" y="175"/>
                    <a:pt x="56" y="235"/>
                    <a:pt x="128" y="241"/>
                  </a:cubicBezTo>
                  <a:cubicBezTo>
                    <a:pt x="128" y="263"/>
                    <a:pt x="128" y="263"/>
                    <a:pt x="128" y="263"/>
                  </a:cubicBezTo>
                  <a:cubicBezTo>
                    <a:pt x="75" y="263"/>
                    <a:pt x="75" y="263"/>
                    <a:pt x="75" y="263"/>
                  </a:cubicBezTo>
                  <a:cubicBezTo>
                    <a:pt x="69" y="263"/>
                    <a:pt x="64" y="268"/>
                    <a:pt x="64" y="274"/>
                  </a:cubicBezTo>
                  <a:cubicBezTo>
                    <a:pt x="64" y="280"/>
                    <a:pt x="69" y="285"/>
                    <a:pt x="75" y="285"/>
                  </a:cubicBezTo>
                  <a:cubicBezTo>
                    <a:pt x="203" y="285"/>
                    <a:pt x="203" y="285"/>
                    <a:pt x="203" y="285"/>
                  </a:cubicBezTo>
                  <a:cubicBezTo>
                    <a:pt x="209" y="285"/>
                    <a:pt x="213" y="280"/>
                    <a:pt x="213" y="274"/>
                  </a:cubicBezTo>
                  <a:cubicBezTo>
                    <a:pt x="213" y="268"/>
                    <a:pt x="209" y="263"/>
                    <a:pt x="203" y="263"/>
                  </a:cubicBezTo>
                  <a:cubicBezTo>
                    <a:pt x="149" y="263"/>
                    <a:pt x="149" y="263"/>
                    <a:pt x="149" y="263"/>
                  </a:cubicBezTo>
                  <a:cubicBezTo>
                    <a:pt x="149" y="242"/>
                    <a:pt x="149" y="242"/>
                    <a:pt x="149" y="242"/>
                  </a:cubicBezTo>
                  <a:cubicBezTo>
                    <a:pt x="182" y="240"/>
                    <a:pt x="213" y="226"/>
                    <a:pt x="237" y="204"/>
                  </a:cubicBezTo>
                  <a:cubicBezTo>
                    <a:pt x="241" y="200"/>
                    <a:pt x="242" y="193"/>
                    <a:pt x="238" y="189"/>
                  </a:cubicBezTo>
                  <a:cubicBezTo>
                    <a:pt x="234" y="184"/>
                    <a:pt x="227" y="184"/>
                    <a:pt x="22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102"/>
            <p:cNvSpPr>
              <a:spLocks noEditPoints="1"/>
            </p:cNvSpPr>
            <p:nvPr/>
          </p:nvSpPr>
          <p:spPr bwMode="auto">
            <a:xfrm>
              <a:off x="492" y="431"/>
              <a:ext cx="138" cy="138"/>
            </a:xfrm>
            <a:custGeom>
              <a:avLst/>
              <a:gdLst>
                <a:gd name="T0" fmla="*/ 104 w 208"/>
                <a:gd name="T1" fmla="*/ 208 h 208"/>
                <a:gd name="T2" fmla="*/ 208 w 208"/>
                <a:gd name="T3" fmla="*/ 104 h 208"/>
                <a:gd name="T4" fmla="*/ 104 w 208"/>
                <a:gd name="T5" fmla="*/ 0 h 208"/>
                <a:gd name="T6" fmla="*/ 0 w 208"/>
                <a:gd name="T7" fmla="*/ 104 h 208"/>
                <a:gd name="T8" fmla="*/ 104 w 208"/>
                <a:gd name="T9" fmla="*/ 208 h 208"/>
                <a:gd name="T10" fmla="*/ 104 w 208"/>
                <a:gd name="T11" fmla="*/ 22 h 208"/>
                <a:gd name="T12" fmla="*/ 186 w 208"/>
                <a:gd name="T13" fmla="*/ 104 h 208"/>
                <a:gd name="T14" fmla="*/ 104 w 208"/>
                <a:gd name="T15" fmla="*/ 187 h 208"/>
                <a:gd name="T16" fmla="*/ 21 w 208"/>
                <a:gd name="T17" fmla="*/ 104 h 208"/>
                <a:gd name="T18" fmla="*/ 104 w 208"/>
                <a:gd name="T19" fmla="*/ 2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161" y="208"/>
                    <a:pt x="208" y="162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ubicBezTo>
                    <a:pt x="46" y="0"/>
                    <a:pt x="0" y="47"/>
                    <a:pt x="0" y="104"/>
                  </a:cubicBezTo>
                  <a:cubicBezTo>
                    <a:pt x="0" y="162"/>
                    <a:pt x="46" y="208"/>
                    <a:pt x="104" y="208"/>
                  </a:cubicBezTo>
                  <a:close/>
                  <a:moveTo>
                    <a:pt x="104" y="22"/>
                  </a:moveTo>
                  <a:cubicBezTo>
                    <a:pt x="149" y="22"/>
                    <a:pt x="186" y="59"/>
                    <a:pt x="186" y="104"/>
                  </a:cubicBezTo>
                  <a:cubicBezTo>
                    <a:pt x="186" y="150"/>
                    <a:pt x="149" y="187"/>
                    <a:pt x="104" y="187"/>
                  </a:cubicBezTo>
                  <a:cubicBezTo>
                    <a:pt x="58" y="187"/>
                    <a:pt x="21" y="150"/>
                    <a:pt x="21" y="104"/>
                  </a:cubicBezTo>
                  <a:cubicBezTo>
                    <a:pt x="21" y="59"/>
                    <a:pt x="58" y="22"/>
                    <a:pt x="10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8" name="Freeform 106"/>
          <p:cNvSpPr>
            <a:spLocks noChangeAspect="1" noEditPoints="1"/>
          </p:cNvSpPr>
          <p:nvPr/>
        </p:nvSpPr>
        <p:spPr bwMode="auto">
          <a:xfrm>
            <a:off x="3428878" y="5404003"/>
            <a:ext cx="367041" cy="368120"/>
          </a:xfrm>
          <a:custGeom>
            <a:avLst/>
            <a:gdLst>
              <a:gd name="T0" fmla="*/ 373 w 512"/>
              <a:gd name="T1" fmla="*/ 362 h 512"/>
              <a:gd name="T2" fmla="*/ 352 w 512"/>
              <a:gd name="T3" fmla="*/ 298 h 512"/>
              <a:gd name="T4" fmla="*/ 330 w 512"/>
              <a:gd name="T5" fmla="*/ 298 h 512"/>
              <a:gd name="T6" fmla="*/ 298 w 512"/>
              <a:gd name="T7" fmla="*/ 323 h 512"/>
              <a:gd name="T8" fmla="*/ 288 w 512"/>
              <a:gd name="T9" fmla="*/ 288 h 512"/>
              <a:gd name="T10" fmla="*/ 277 w 512"/>
              <a:gd name="T11" fmla="*/ 330 h 512"/>
              <a:gd name="T12" fmla="*/ 277 w 512"/>
              <a:gd name="T13" fmla="*/ 333 h 512"/>
              <a:gd name="T14" fmla="*/ 216 w 512"/>
              <a:gd name="T15" fmla="*/ 394 h 512"/>
              <a:gd name="T16" fmla="*/ 234 w 512"/>
              <a:gd name="T17" fmla="*/ 331 h 512"/>
              <a:gd name="T18" fmla="*/ 234 w 512"/>
              <a:gd name="T19" fmla="*/ 298 h 512"/>
              <a:gd name="T20" fmla="*/ 213 w 512"/>
              <a:gd name="T21" fmla="*/ 298 h 512"/>
              <a:gd name="T22" fmla="*/ 181 w 512"/>
              <a:gd name="T23" fmla="*/ 336 h 512"/>
              <a:gd name="T24" fmla="*/ 170 w 512"/>
              <a:gd name="T25" fmla="*/ 288 h 512"/>
              <a:gd name="T26" fmla="*/ 160 w 512"/>
              <a:gd name="T27" fmla="*/ 346 h 512"/>
              <a:gd name="T28" fmla="*/ 138 w 512"/>
              <a:gd name="T29" fmla="*/ 197 h 512"/>
              <a:gd name="T30" fmla="*/ 167 w 512"/>
              <a:gd name="T31" fmla="*/ 187 h 512"/>
              <a:gd name="T32" fmla="*/ 208 w 512"/>
              <a:gd name="T33" fmla="*/ 213 h 512"/>
              <a:gd name="T34" fmla="*/ 218 w 512"/>
              <a:gd name="T35" fmla="*/ 143 h 512"/>
              <a:gd name="T36" fmla="*/ 226 w 512"/>
              <a:gd name="T37" fmla="*/ 135 h 512"/>
              <a:gd name="T38" fmla="*/ 251 w 512"/>
              <a:gd name="T39" fmla="*/ 117 h 512"/>
              <a:gd name="T40" fmla="*/ 283 w 512"/>
              <a:gd name="T41" fmla="*/ 146 h 512"/>
              <a:gd name="T42" fmla="*/ 269 w 512"/>
              <a:gd name="T43" fmla="*/ 163 h 512"/>
              <a:gd name="T44" fmla="*/ 304 w 512"/>
              <a:gd name="T45" fmla="*/ 213 h 512"/>
              <a:gd name="T46" fmla="*/ 344 w 512"/>
              <a:gd name="T47" fmla="*/ 187 h 512"/>
              <a:gd name="T48" fmla="*/ 373 w 512"/>
              <a:gd name="T49" fmla="*/ 197 h 512"/>
              <a:gd name="T50" fmla="*/ 256 w 512"/>
              <a:gd name="T51" fmla="*/ 512 h 512"/>
              <a:gd name="T52" fmla="*/ 256 w 512"/>
              <a:gd name="T53" fmla="*/ 0 h 512"/>
              <a:gd name="T54" fmla="*/ 394 w 512"/>
              <a:gd name="T55" fmla="*/ 197 h 512"/>
              <a:gd name="T56" fmla="*/ 327 w 512"/>
              <a:gd name="T57" fmla="*/ 174 h 512"/>
              <a:gd name="T58" fmla="*/ 304 w 512"/>
              <a:gd name="T59" fmla="*/ 192 h 512"/>
              <a:gd name="T60" fmla="*/ 303 w 512"/>
              <a:gd name="T61" fmla="*/ 152 h 512"/>
              <a:gd name="T62" fmla="*/ 250 w 512"/>
              <a:gd name="T63" fmla="*/ 96 h 512"/>
              <a:gd name="T64" fmla="*/ 211 w 512"/>
              <a:gd name="T65" fmla="*/ 120 h 512"/>
              <a:gd name="T66" fmla="*/ 189 w 512"/>
              <a:gd name="T67" fmla="*/ 141 h 512"/>
              <a:gd name="T68" fmla="*/ 195 w 512"/>
              <a:gd name="T69" fmla="*/ 160 h 512"/>
              <a:gd name="T70" fmla="*/ 208 w 512"/>
              <a:gd name="T71" fmla="*/ 192 h 512"/>
              <a:gd name="T72" fmla="*/ 184 w 512"/>
              <a:gd name="T73" fmla="*/ 175 h 512"/>
              <a:gd name="T74" fmla="*/ 117 w 512"/>
              <a:gd name="T75" fmla="*/ 197 h 512"/>
              <a:gd name="T76" fmla="*/ 123 w 512"/>
              <a:gd name="T77" fmla="*/ 393 h 512"/>
              <a:gd name="T78" fmla="*/ 176 w 512"/>
              <a:gd name="T79" fmla="*/ 361 h 512"/>
              <a:gd name="T80" fmla="*/ 192 w 512"/>
              <a:gd name="T81" fmla="*/ 402 h 512"/>
              <a:gd name="T82" fmla="*/ 202 w 512"/>
              <a:gd name="T83" fmla="*/ 416 h 512"/>
              <a:gd name="T84" fmla="*/ 309 w 512"/>
              <a:gd name="T85" fmla="*/ 416 h 512"/>
              <a:gd name="T86" fmla="*/ 312 w 512"/>
              <a:gd name="T87" fmla="*/ 415 h 512"/>
              <a:gd name="T88" fmla="*/ 304 w 512"/>
              <a:gd name="T89" fmla="*/ 348 h 512"/>
              <a:gd name="T90" fmla="*/ 377 w 512"/>
              <a:gd name="T91" fmla="*/ 392 h 512"/>
              <a:gd name="T92" fmla="*/ 388 w 512"/>
              <a:gd name="T93" fmla="*/ 393 h 512"/>
              <a:gd name="T94" fmla="*/ 394 w 512"/>
              <a:gd name="T95" fmla="*/ 19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73" y="197"/>
                </a:moveTo>
                <a:cubicBezTo>
                  <a:pt x="373" y="362"/>
                  <a:pt x="373" y="362"/>
                  <a:pt x="373" y="362"/>
                </a:cubicBezTo>
                <a:cubicBezTo>
                  <a:pt x="352" y="346"/>
                  <a:pt x="352" y="346"/>
                  <a:pt x="352" y="346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2" y="292"/>
                  <a:pt x="347" y="288"/>
                  <a:pt x="341" y="288"/>
                </a:cubicBezTo>
                <a:cubicBezTo>
                  <a:pt x="335" y="288"/>
                  <a:pt x="330" y="292"/>
                  <a:pt x="330" y="298"/>
                </a:cubicBezTo>
                <a:cubicBezTo>
                  <a:pt x="330" y="336"/>
                  <a:pt x="330" y="336"/>
                  <a:pt x="330" y="336"/>
                </a:cubicBezTo>
                <a:cubicBezTo>
                  <a:pt x="298" y="323"/>
                  <a:pt x="298" y="323"/>
                  <a:pt x="298" y="323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8" y="292"/>
                  <a:pt x="294" y="288"/>
                  <a:pt x="288" y="288"/>
                </a:cubicBezTo>
                <a:cubicBezTo>
                  <a:pt x="282" y="288"/>
                  <a:pt x="277" y="292"/>
                  <a:pt x="277" y="298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1"/>
                  <a:pt x="277" y="331"/>
                  <a:pt x="277" y="331"/>
                </a:cubicBezTo>
                <a:cubicBezTo>
                  <a:pt x="277" y="332"/>
                  <a:pt x="277" y="332"/>
                  <a:pt x="277" y="333"/>
                </a:cubicBezTo>
                <a:cubicBezTo>
                  <a:pt x="295" y="394"/>
                  <a:pt x="295" y="394"/>
                  <a:pt x="295" y="394"/>
                </a:cubicBezTo>
                <a:cubicBezTo>
                  <a:pt x="216" y="394"/>
                  <a:pt x="216" y="394"/>
                  <a:pt x="216" y="394"/>
                </a:cubicBezTo>
                <a:cubicBezTo>
                  <a:pt x="234" y="333"/>
                  <a:pt x="234" y="333"/>
                  <a:pt x="234" y="333"/>
                </a:cubicBezTo>
                <a:cubicBezTo>
                  <a:pt x="234" y="332"/>
                  <a:pt x="234" y="332"/>
                  <a:pt x="234" y="331"/>
                </a:cubicBezTo>
                <a:cubicBezTo>
                  <a:pt x="234" y="331"/>
                  <a:pt x="234" y="331"/>
                  <a:pt x="234" y="330"/>
                </a:cubicBezTo>
                <a:cubicBezTo>
                  <a:pt x="234" y="298"/>
                  <a:pt x="234" y="298"/>
                  <a:pt x="234" y="298"/>
                </a:cubicBezTo>
                <a:cubicBezTo>
                  <a:pt x="234" y="292"/>
                  <a:pt x="230" y="288"/>
                  <a:pt x="224" y="288"/>
                </a:cubicBezTo>
                <a:cubicBezTo>
                  <a:pt x="218" y="288"/>
                  <a:pt x="213" y="292"/>
                  <a:pt x="213" y="298"/>
                </a:cubicBezTo>
                <a:cubicBezTo>
                  <a:pt x="213" y="323"/>
                  <a:pt x="213" y="323"/>
                  <a:pt x="213" y="323"/>
                </a:cubicBezTo>
                <a:cubicBezTo>
                  <a:pt x="181" y="336"/>
                  <a:pt x="181" y="336"/>
                  <a:pt x="181" y="336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81" y="292"/>
                  <a:pt x="176" y="288"/>
                  <a:pt x="170" y="288"/>
                </a:cubicBezTo>
                <a:cubicBezTo>
                  <a:pt x="164" y="288"/>
                  <a:pt x="160" y="292"/>
                  <a:pt x="160" y="298"/>
                </a:cubicBezTo>
                <a:cubicBezTo>
                  <a:pt x="160" y="346"/>
                  <a:pt x="160" y="346"/>
                  <a:pt x="160" y="346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197"/>
                  <a:pt x="138" y="197"/>
                  <a:pt x="138" y="197"/>
                </a:cubicBezTo>
                <a:cubicBezTo>
                  <a:pt x="138" y="188"/>
                  <a:pt x="146" y="181"/>
                  <a:pt x="154" y="181"/>
                </a:cubicBezTo>
                <a:cubicBezTo>
                  <a:pt x="159" y="181"/>
                  <a:pt x="164" y="183"/>
                  <a:pt x="167" y="187"/>
                </a:cubicBezTo>
                <a:cubicBezTo>
                  <a:pt x="167" y="187"/>
                  <a:pt x="172" y="194"/>
                  <a:pt x="176" y="199"/>
                </a:cubicBezTo>
                <a:cubicBezTo>
                  <a:pt x="187" y="211"/>
                  <a:pt x="198" y="213"/>
                  <a:pt x="208" y="213"/>
                </a:cubicBezTo>
                <a:cubicBezTo>
                  <a:pt x="232" y="213"/>
                  <a:pt x="245" y="198"/>
                  <a:pt x="245" y="170"/>
                </a:cubicBezTo>
                <a:cubicBezTo>
                  <a:pt x="245" y="156"/>
                  <a:pt x="231" y="148"/>
                  <a:pt x="218" y="143"/>
                </a:cubicBezTo>
                <a:cubicBezTo>
                  <a:pt x="221" y="140"/>
                  <a:pt x="221" y="140"/>
                  <a:pt x="221" y="140"/>
                </a:cubicBezTo>
                <a:cubicBezTo>
                  <a:pt x="222" y="139"/>
                  <a:pt x="223" y="138"/>
                  <a:pt x="226" y="135"/>
                </a:cubicBezTo>
                <a:cubicBezTo>
                  <a:pt x="228" y="133"/>
                  <a:pt x="230" y="131"/>
                  <a:pt x="232" y="128"/>
                </a:cubicBezTo>
                <a:cubicBezTo>
                  <a:pt x="239" y="121"/>
                  <a:pt x="242" y="117"/>
                  <a:pt x="251" y="117"/>
                </a:cubicBezTo>
                <a:cubicBezTo>
                  <a:pt x="264" y="117"/>
                  <a:pt x="273" y="120"/>
                  <a:pt x="279" y="127"/>
                </a:cubicBezTo>
                <a:cubicBezTo>
                  <a:pt x="284" y="133"/>
                  <a:pt x="284" y="141"/>
                  <a:pt x="283" y="146"/>
                </a:cubicBezTo>
                <a:cubicBezTo>
                  <a:pt x="281" y="152"/>
                  <a:pt x="274" y="158"/>
                  <a:pt x="271" y="161"/>
                </a:cubicBezTo>
                <a:cubicBezTo>
                  <a:pt x="271" y="162"/>
                  <a:pt x="270" y="162"/>
                  <a:pt x="269" y="163"/>
                </a:cubicBezTo>
                <a:cubicBezTo>
                  <a:pt x="267" y="165"/>
                  <a:pt x="266" y="167"/>
                  <a:pt x="266" y="170"/>
                </a:cubicBezTo>
                <a:cubicBezTo>
                  <a:pt x="266" y="197"/>
                  <a:pt x="286" y="213"/>
                  <a:pt x="304" y="213"/>
                </a:cubicBezTo>
                <a:cubicBezTo>
                  <a:pt x="322" y="213"/>
                  <a:pt x="332" y="204"/>
                  <a:pt x="336" y="198"/>
                </a:cubicBezTo>
                <a:cubicBezTo>
                  <a:pt x="339" y="193"/>
                  <a:pt x="344" y="188"/>
                  <a:pt x="344" y="187"/>
                </a:cubicBezTo>
                <a:cubicBezTo>
                  <a:pt x="347" y="183"/>
                  <a:pt x="352" y="181"/>
                  <a:pt x="357" y="181"/>
                </a:cubicBezTo>
                <a:cubicBezTo>
                  <a:pt x="366" y="181"/>
                  <a:pt x="373" y="188"/>
                  <a:pt x="373" y="19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97"/>
                </a:moveTo>
                <a:cubicBezTo>
                  <a:pt x="394" y="176"/>
                  <a:pt x="378" y="160"/>
                  <a:pt x="357" y="160"/>
                </a:cubicBezTo>
                <a:cubicBezTo>
                  <a:pt x="345" y="160"/>
                  <a:pt x="334" y="165"/>
                  <a:pt x="327" y="174"/>
                </a:cubicBezTo>
                <a:cubicBezTo>
                  <a:pt x="327" y="174"/>
                  <a:pt x="322" y="180"/>
                  <a:pt x="319" y="185"/>
                </a:cubicBezTo>
                <a:cubicBezTo>
                  <a:pt x="316" y="189"/>
                  <a:pt x="311" y="192"/>
                  <a:pt x="304" y="192"/>
                </a:cubicBezTo>
                <a:cubicBezTo>
                  <a:pt x="298" y="192"/>
                  <a:pt x="290" y="186"/>
                  <a:pt x="288" y="175"/>
                </a:cubicBezTo>
                <a:cubicBezTo>
                  <a:pt x="293" y="170"/>
                  <a:pt x="301" y="162"/>
                  <a:pt x="303" y="152"/>
                </a:cubicBezTo>
                <a:cubicBezTo>
                  <a:pt x="306" y="141"/>
                  <a:pt x="305" y="126"/>
                  <a:pt x="295" y="114"/>
                </a:cubicBezTo>
                <a:cubicBezTo>
                  <a:pt x="289" y="105"/>
                  <a:pt x="275" y="95"/>
                  <a:pt x="250" y="96"/>
                </a:cubicBezTo>
                <a:cubicBezTo>
                  <a:pt x="232" y="96"/>
                  <a:pt x="223" y="107"/>
                  <a:pt x="216" y="114"/>
                </a:cubicBezTo>
                <a:cubicBezTo>
                  <a:pt x="214" y="116"/>
                  <a:pt x="213" y="118"/>
                  <a:pt x="211" y="120"/>
                </a:cubicBezTo>
                <a:cubicBezTo>
                  <a:pt x="208" y="123"/>
                  <a:pt x="207" y="124"/>
                  <a:pt x="205" y="125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87" y="144"/>
                  <a:pt x="186" y="148"/>
                  <a:pt x="187" y="152"/>
                </a:cubicBezTo>
                <a:cubicBezTo>
                  <a:pt x="188" y="156"/>
                  <a:pt x="191" y="159"/>
                  <a:pt x="195" y="160"/>
                </a:cubicBezTo>
                <a:cubicBezTo>
                  <a:pt x="208" y="162"/>
                  <a:pt x="222" y="167"/>
                  <a:pt x="224" y="170"/>
                </a:cubicBezTo>
                <a:cubicBezTo>
                  <a:pt x="224" y="192"/>
                  <a:pt x="214" y="192"/>
                  <a:pt x="208" y="192"/>
                </a:cubicBezTo>
                <a:cubicBezTo>
                  <a:pt x="202" y="192"/>
                  <a:pt x="198" y="191"/>
                  <a:pt x="192" y="185"/>
                </a:cubicBezTo>
                <a:cubicBezTo>
                  <a:pt x="188" y="181"/>
                  <a:pt x="184" y="175"/>
                  <a:pt x="184" y="175"/>
                </a:cubicBezTo>
                <a:cubicBezTo>
                  <a:pt x="177" y="165"/>
                  <a:pt x="166" y="160"/>
                  <a:pt x="154" y="160"/>
                </a:cubicBezTo>
                <a:cubicBezTo>
                  <a:pt x="134" y="160"/>
                  <a:pt x="117" y="176"/>
                  <a:pt x="117" y="197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88"/>
                  <a:pt x="119" y="391"/>
                  <a:pt x="123" y="393"/>
                </a:cubicBezTo>
                <a:cubicBezTo>
                  <a:pt x="127" y="395"/>
                  <a:pt x="131" y="395"/>
                  <a:pt x="134" y="392"/>
                </a:cubicBezTo>
                <a:cubicBezTo>
                  <a:pt x="176" y="361"/>
                  <a:pt x="176" y="361"/>
                  <a:pt x="176" y="361"/>
                </a:cubicBezTo>
                <a:cubicBezTo>
                  <a:pt x="207" y="348"/>
                  <a:pt x="207" y="348"/>
                  <a:pt x="207" y="348"/>
                </a:cubicBezTo>
                <a:cubicBezTo>
                  <a:pt x="192" y="402"/>
                  <a:pt x="192" y="402"/>
                  <a:pt x="192" y="402"/>
                </a:cubicBezTo>
                <a:cubicBezTo>
                  <a:pt x="190" y="408"/>
                  <a:pt x="194" y="414"/>
                  <a:pt x="199" y="415"/>
                </a:cubicBezTo>
                <a:cubicBezTo>
                  <a:pt x="200" y="416"/>
                  <a:pt x="201" y="416"/>
                  <a:pt x="202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0" y="416"/>
                  <a:pt x="311" y="416"/>
                  <a:pt x="312" y="415"/>
                </a:cubicBezTo>
                <a:cubicBezTo>
                  <a:pt x="318" y="414"/>
                  <a:pt x="321" y="408"/>
                  <a:pt x="319" y="402"/>
                </a:cubicBezTo>
                <a:cubicBezTo>
                  <a:pt x="304" y="348"/>
                  <a:pt x="304" y="348"/>
                  <a:pt x="304" y="348"/>
                </a:cubicBezTo>
                <a:cubicBezTo>
                  <a:pt x="336" y="361"/>
                  <a:pt x="336" y="361"/>
                  <a:pt x="336" y="361"/>
                </a:cubicBezTo>
                <a:cubicBezTo>
                  <a:pt x="377" y="392"/>
                  <a:pt x="377" y="392"/>
                  <a:pt x="377" y="392"/>
                </a:cubicBezTo>
                <a:cubicBezTo>
                  <a:pt x="379" y="394"/>
                  <a:pt x="381" y="394"/>
                  <a:pt x="384" y="394"/>
                </a:cubicBezTo>
                <a:cubicBezTo>
                  <a:pt x="385" y="394"/>
                  <a:pt x="387" y="394"/>
                  <a:pt x="388" y="393"/>
                </a:cubicBezTo>
                <a:cubicBezTo>
                  <a:pt x="392" y="391"/>
                  <a:pt x="394" y="388"/>
                  <a:pt x="394" y="384"/>
                </a:cubicBezTo>
                <a:lnTo>
                  <a:pt x="394" y="19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9" name="Group 109"/>
          <p:cNvGrpSpPr>
            <a:grpSpLocks noChangeAspect="1"/>
          </p:cNvGrpSpPr>
          <p:nvPr/>
        </p:nvGrpSpPr>
        <p:grpSpPr bwMode="auto">
          <a:xfrm>
            <a:off x="3926183" y="5404007"/>
            <a:ext cx="367041" cy="367041"/>
            <a:chOff x="1129" y="363"/>
            <a:chExt cx="340" cy="340"/>
          </a:xfrm>
          <a:solidFill>
            <a:schemeClr val="accent2"/>
          </a:solidFill>
        </p:grpSpPr>
        <p:sp>
          <p:nvSpPr>
            <p:cNvPr id="330" name="Freeform 110"/>
            <p:cNvSpPr>
              <a:spLocks noEditPoints="1"/>
            </p:cNvSpPr>
            <p:nvPr/>
          </p:nvSpPr>
          <p:spPr bwMode="auto">
            <a:xfrm>
              <a:off x="1129" y="36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111"/>
            <p:cNvSpPr>
              <a:spLocks noEditPoints="1"/>
            </p:cNvSpPr>
            <p:nvPr/>
          </p:nvSpPr>
          <p:spPr bwMode="auto">
            <a:xfrm>
              <a:off x="1207" y="426"/>
              <a:ext cx="184" cy="213"/>
            </a:xfrm>
            <a:custGeom>
              <a:avLst/>
              <a:gdLst>
                <a:gd name="T0" fmla="*/ 210 w 277"/>
                <a:gd name="T1" fmla="*/ 79 h 321"/>
                <a:gd name="T2" fmla="*/ 187 w 277"/>
                <a:gd name="T3" fmla="*/ 97 h 321"/>
                <a:gd name="T4" fmla="*/ 186 w 277"/>
                <a:gd name="T5" fmla="*/ 57 h 321"/>
                <a:gd name="T6" fmla="*/ 133 w 277"/>
                <a:gd name="T7" fmla="*/ 1 h 321"/>
                <a:gd name="T8" fmla="*/ 94 w 277"/>
                <a:gd name="T9" fmla="*/ 25 h 321"/>
                <a:gd name="T10" fmla="*/ 72 w 277"/>
                <a:gd name="T11" fmla="*/ 46 h 321"/>
                <a:gd name="T12" fmla="*/ 78 w 277"/>
                <a:gd name="T13" fmla="*/ 65 h 321"/>
                <a:gd name="T14" fmla="*/ 91 w 277"/>
                <a:gd name="T15" fmla="*/ 97 h 321"/>
                <a:gd name="T16" fmla="*/ 67 w 277"/>
                <a:gd name="T17" fmla="*/ 80 h 321"/>
                <a:gd name="T18" fmla="*/ 0 w 277"/>
                <a:gd name="T19" fmla="*/ 102 h 321"/>
                <a:gd name="T20" fmla="*/ 6 w 277"/>
                <a:gd name="T21" fmla="*/ 298 h 321"/>
                <a:gd name="T22" fmla="*/ 59 w 277"/>
                <a:gd name="T23" fmla="*/ 266 h 321"/>
                <a:gd name="T24" fmla="*/ 75 w 277"/>
                <a:gd name="T25" fmla="*/ 307 h 321"/>
                <a:gd name="T26" fmla="*/ 85 w 277"/>
                <a:gd name="T27" fmla="*/ 321 h 321"/>
                <a:gd name="T28" fmla="*/ 192 w 277"/>
                <a:gd name="T29" fmla="*/ 321 h 321"/>
                <a:gd name="T30" fmla="*/ 195 w 277"/>
                <a:gd name="T31" fmla="*/ 320 h 321"/>
                <a:gd name="T32" fmla="*/ 187 w 277"/>
                <a:gd name="T33" fmla="*/ 253 h 321"/>
                <a:gd name="T34" fmla="*/ 260 w 277"/>
                <a:gd name="T35" fmla="*/ 297 h 321"/>
                <a:gd name="T36" fmla="*/ 271 w 277"/>
                <a:gd name="T37" fmla="*/ 298 h 321"/>
                <a:gd name="T38" fmla="*/ 277 w 277"/>
                <a:gd name="T39" fmla="*/ 102 h 321"/>
                <a:gd name="T40" fmla="*/ 256 w 277"/>
                <a:gd name="T41" fmla="*/ 267 h 321"/>
                <a:gd name="T42" fmla="*/ 235 w 277"/>
                <a:gd name="T43" fmla="*/ 203 h 321"/>
                <a:gd name="T44" fmla="*/ 213 w 277"/>
                <a:gd name="T45" fmla="*/ 203 h 321"/>
                <a:gd name="T46" fmla="*/ 181 w 277"/>
                <a:gd name="T47" fmla="*/ 228 h 321"/>
                <a:gd name="T48" fmla="*/ 171 w 277"/>
                <a:gd name="T49" fmla="*/ 193 h 321"/>
                <a:gd name="T50" fmla="*/ 160 w 277"/>
                <a:gd name="T51" fmla="*/ 235 h 321"/>
                <a:gd name="T52" fmla="*/ 160 w 277"/>
                <a:gd name="T53" fmla="*/ 238 h 321"/>
                <a:gd name="T54" fmla="*/ 99 w 277"/>
                <a:gd name="T55" fmla="*/ 299 h 321"/>
                <a:gd name="T56" fmla="*/ 117 w 277"/>
                <a:gd name="T57" fmla="*/ 236 h 321"/>
                <a:gd name="T58" fmla="*/ 117 w 277"/>
                <a:gd name="T59" fmla="*/ 203 h 321"/>
                <a:gd name="T60" fmla="*/ 96 w 277"/>
                <a:gd name="T61" fmla="*/ 203 h 321"/>
                <a:gd name="T62" fmla="*/ 64 w 277"/>
                <a:gd name="T63" fmla="*/ 241 h 321"/>
                <a:gd name="T64" fmla="*/ 53 w 277"/>
                <a:gd name="T65" fmla="*/ 193 h 321"/>
                <a:gd name="T66" fmla="*/ 43 w 277"/>
                <a:gd name="T67" fmla="*/ 251 h 321"/>
                <a:gd name="T68" fmla="*/ 21 w 277"/>
                <a:gd name="T69" fmla="*/ 102 h 321"/>
                <a:gd name="T70" fmla="*/ 50 w 277"/>
                <a:gd name="T71" fmla="*/ 92 h 321"/>
                <a:gd name="T72" fmla="*/ 91 w 277"/>
                <a:gd name="T73" fmla="*/ 118 h 321"/>
                <a:gd name="T74" fmla="*/ 101 w 277"/>
                <a:gd name="T75" fmla="*/ 48 h 321"/>
                <a:gd name="T76" fmla="*/ 109 w 277"/>
                <a:gd name="T77" fmla="*/ 40 h 321"/>
                <a:gd name="T78" fmla="*/ 134 w 277"/>
                <a:gd name="T79" fmla="*/ 22 h 321"/>
                <a:gd name="T80" fmla="*/ 166 w 277"/>
                <a:gd name="T81" fmla="*/ 51 h 321"/>
                <a:gd name="T82" fmla="*/ 152 w 277"/>
                <a:gd name="T83" fmla="*/ 68 h 321"/>
                <a:gd name="T84" fmla="*/ 187 w 277"/>
                <a:gd name="T85" fmla="*/ 118 h 321"/>
                <a:gd name="T86" fmla="*/ 227 w 277"/>
                <a:gd name="T87" fmla="*/ 92 h 321"/>
                <a:gd name="T88" fmla="*/ 256 w 277"/>
                <a:gd name="T89" fmla="*/ 10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7" h="321">
                  <a:moveTo>
                    <a:pt x="240" y="65"/>
                  </a:moveTo>
                  <a:cubicBezTo>
                    <a:pt x="228" y="65"/>
                    <a:pt x="217" y="70"/>
                    <a:pt x="210" y="79"/>
                  </a:cubicBezTo>
                  <a:cubicBezTo>
                    <a:pt x="210" y="79"/>
                    <a:pt x="205" y="85"/>
                    <a:pt x="202" y="90"/>
                  </a:cubicBezTo>
                  <a:cubicBezTo>
                    <a:pt x="199" y="94"/>
                    <a:pt x="194" y="97"/>
                    <a:pt x="187" y="97"/>
                  </a:cubicBezTo>
                  <a:cubicBezTo>
                    <a:pt x="181" y="97"/>
                    <a:pt x="173" y="91"/>
                    <a:pt x="171" y="80"/>
                  </a:cubicBezTo>
                  <a:cubicBezTo>
                    <a:pt x="176" y="75"/>
                    <a:pt x="184" y="67"/>
                    <a:pt x="186" y="57"/>
                  </a:cubicBezTo>
                  <a:cubicBezTo>
                    <a:pt x="189" y="46"/>
                    <a:pt x="188" y="31"/>
                    <a:pt x="178" y="19"/>
                  </a:cubicBezTo>
                  <a:cubicBezTo>
                    <a:pt x="172" y="10"/>
                    <a:pt x="158" y="0"/>
                    <a:pt x="133" y="1"/>
                  </a:cubicBezTo>
                  <a:cubicBezTo>
                    <a:pt x="115" y="1"/>
                    <a:pt x="106" y="12"/>
                    <a:pt x="99" y="19"/>
                  </a:cubicBezTo>
                  <a:cubicBezTo>
                    <a:pt x="97" y="21"/>
                    <a:pt x="96" y="23"/>
                    <a:pt x="94" y="25"/>
                  </a:cubicBezTo>
                  <a:cubicBezTo>
                    <a:pt x="91" y="28"/>
                    <a:pt x="90" y="29"/>
                    <a:pt x="88" y="30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0" y="49"/>
                    <a:pt x="69" y="53"/>
                    <a:pt x="70" y="57"/>
                  </a:cubicBezTo>
                  <a:cubicBezTo>
                    <a:pt x="71" y="61"/>
                    <a:pt x="74" y="64"/>
                    <a:pt x="78" y="65"/>
                  </a:cubicBezTo>
                  <a:cubicBezTo>
                    <a:pt x="91" y="67"/>
                    <a:pt x="105" y="72"/>
                    <a:pt x="107" y="75"/>
                  </a:cubicBezTo>
                  <a:cubicBezTo>
                    <a:pt x="107" y="97"/>
                    <a:pt x="97" y="97"/>
                    <a:pt x="91" y="97"/>
                  </a:cubicBezTo>
                  <a:cubicBezTo>
                    <a:pt x="85" y="97"/>
                    <a:pt x="81" y="96"/>
                    <a:pt x="75" y="90"/>
                  </a:cubicBezTo>
                  <a:cubicBezTo>
                    <a:pt x="71" y="86"/>
                    <a:pt x="67" y="80"/>
                    <a:pt x="67" y="80"/>
                  </a:cubicBezTo>
                  <a:cubicBezTo>
                    <a:pt x="60" y="70"/>
                    <a:pt x="49" y="65"/>
                    <a:pt x="37" y="65"/>
                  </a:cubicBezTo>
                  <a:cubicBezTo>
                    <a:pt x="17" y="65"/>
                    <a:pt x="0" y="81"/>
                    <a:pt x="0" y="102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93"/>
                    <a:pt x="2" y="296"/>
                    <a:pt x="6" y="298"/>
                  </a:cubicBezTo>
                  <a:cubicBezTo>
                    <a:pt x="10" y="300"/>
                    <a:pt x="14" y="300"/>
                    <a:pt x="17" y="297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90" y="253"/>
                    <a:pt x="90" y="253"/>
                    <a:pt x="90" y="253"/>
                  </a:cubicBezTo>
                  <a:cubicBezTo>
                    <a:pt x="75" y="307"/>
                    <a:pt x="75" y="307"/>
                    <a:pt x="75" y="307"/>
                  </a:cubicBezTo>
                  <a:cubicBezTo>
                    <a:pt x="73" y="313"/>
                    <a:pt x="77" y="319"/>
                    <a:pt x="82" y="320"/>
                  </a:cubicBezTo>
                  <a:cubicBezTo>
                    <a:pt x="83" y="321"/>
                    <a:pt x="84" y="321"/>
                    <a:pt x="85" y="321"/>
                  </a:cubicBezTo>
                  <a:cubicBezTo>
                    <a:pt x="85" y="321"/>
                    <a:pt x="85" y="321"/>
                    <a:pt x="85" y="321"/>
                  </a:cubicBezTo>
                  <a:cubicBezTo>
                    <a:pt x="192" y="321"/>
                    <a:pt x="192" y="321"/>
                    <a:pt x="192" y="321"/>
                  </a:cubicBezTo>
                  <a:cubicBezTo>
                    <a:pt x="192" y="321"/>
                    <a:pt x="192" y="321"/>
                    <a:pt x="192" y="321"/>
                  </a:cubicBezTo>
                  <a:cubicBezTo>
                    <a:pt x="193" y="321"/>
                    <a:pt x="194" y="321"/>
                    <a:pt x="195" y="320"/>
                  </a:cubicBezTo>
                  <a:cubicBezTo>
                    <a:pt x="201" y="319"/>
                    <a:pt x="204" y="313"/>
                    <a:pt x="202" y="307"/>
                  </a:cubicBezTo>
                  <a:cubicBezTo>
                    <a:pt x="187" y="253"/>
                    <a:pt x="187" y="253"/>
                    <a:pt x="187" y="253"/>
                  </a:cubicBezTo>
                  <a:cubicBezTo>
                    <a:pt x="219" y="266"/>
                    <a:pt x="219" y="266"/>
                    <a:pt x="219" y="266"/>
                  </a:cubicBezTo>
                  <a:cubicBezTo>
                    <a:pt x="260" y="297"/>
                    <a:pt x="260" y="297"/>
                    <a:pt x="260" y="297"/>
                  </a:cubicBezTo>
                  <a:cubicBezTo>
                    <a:pt x="262" y="299"/>
                    <a:pt x="264" y="299"/>
                    <a:pt x="267" y="299"/>
                  </a:cubicBezTo>
                  <a:cubicBezTo>
                    <a:pt x="268" y="299"/>
                    <a:pt x="270" y="299"/>
                    <a:pt x="271" y="298"/>
                  </a:cubicBezTo>
                  <a:cubicBezTo>
                    <a:pt x="275" y="296"/>
                    <a:pt x="277" y="293"/>
                    <a:pt x="277" y="289"/>
                  </a:cubicBezTo>
                  <a:cubicBezTo>
                    <a:pt x="277" y="102"/>
                    <a:pt x="277" y="102"/>
                    <a:pt x="277" y="102"/>
                  </a:cubicBezTo>
                  <a:cubicBezTo>
                    <a:pt x="277" y="81"/>
                    <a:pt x="261" y="65"/>
                    <a:pt x="240" y="65"/>
                  </a:cubicBezTo>
                  <a:close/>
                  <a:moveTo>
                    <a:pt x="256" y="267"/>
                  </a:moveTo>
                  <a:cubicBezTo>
                    <a:pt x="235" y="251"/>
                    <a:pt x="235" y="251"/>
                    <a:pt x="235" y="251"/>
                  </a:cubicBezTo>
                  <a:cubicBezTo>
                    <a:pt x="235" y="203"/>
                    <a:pt x="235" y="203"/>
                    <a:pt x="235" y="203"/>
                  </a:cubicBezTo>
                  <a:cubicBezTo>
                    <a:pt x="235" y="197"/>
                    <a:pt x="230" y="193"/>
                    <a:pt x="224" y="193"/>
                  </a:cubicBezTo>
                  <a:cubicBezTo>
                    <a:pt x="218" y="193"/>
                    <a:pt x="213" y="197"/>
                    <a:pt x="213" y="203"/>
                  </a:cubicBezTo>
                  <a:cubicBezTo>
                    <a:pt x="213" y="241"/>
                    <a:pt x="213" y="241"/>
                    <a:pt x="213" y="241"/>
                  </a:cubicBezTo>
                  <a:cubicBezTo>
                    <a:pt x="181" y="228"/>
                    <a:pt x="181" y="228"/>
                    <a:pt x="181" y="228"/>
                  </a:cubicBezTo>
                  <a:cubicBezTo>
                    <a:pt x="181" y="203"/>
                    <a:pt x="181" y="203"/>
                    <a:pt x="181" y="203"/>
                  </a:cubicBezTo>
                  <a:cubicBezTo>
                    <a:pt x="181" y="197"/>
                    <a:pt x="177" y="193"/>
                    <a:pt x="171" y="193"/>
                  </a:cubicBezTo>
                  <a:cubicBezTo>
                    <a:pt x="165" y="193"/>
                    <a:pt x="160" y="197"/>
                    <a:pt x="160" y="20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0" y="236"/>
                    <a:pt x="160" y="236"/>
                    <a:pt x="160" y="236"/>
                  </a:cubicBezTo>
                  <a:cubicBezTo>
                    <a:pt x="160" y="237"/>
                    <a:pt x="160" y="237"/>
                    <a:pt x="160" y="238"/>
                  </a:cubicBezTo>
                  <a:cubicBezTo>
                    <a:pt x="178" y="299"/>
                    <a:pt x="178" y="299"/>
                    <a:pt x="178" y="299"/>
                  </a:cubicBezTo>
                  <a:cubicBezTo>
                    <a:pt x="99" y="299"/>
                    <a:pt x="99" y="299"/>
                    <a:pt x="99" y="299"/>
                  </a:cubicBezTo>
                  <a:cubicBezTo>
                    <a:pt x="117" y="238"/>
                    <a:pt x="117" y="238"/>
                    <a:pt x="117" y="238"/>
                  </a:cubicBezTo>
                  <a:cubicBezTo>
                    <a:pt x="117" y="237"/>
                    <a:pt x="117" y="237"/>
                    <a:pt x="117" y="236"/>
                  </a:cubicBezTo>
                  <a:cubicBezTo>
                    <a:pt x="117" y="236"/>
                    <a:pt x="117" y="236"/>
                    <a:pt x="117" y="235"/>
                  </a:cubicBezTo>
                  <a:cubicBezTo>
                    <a:pt x="117" y="203"/>
                    <a:pt x="117" y="203"/>
                    <a:pt x="117" y="203"/>
                  </a:cubicBezTo>
                  <a:cubicBezTo>
                    <a:pt x="117" y="197"/>
                    <a:pt x="113" y="193"/>
                    <a:pt x="107" y="193"/>
                  </a:cubicBezTo>
                  <a:cubicBezTo>
                    <a:pt x="101" y="193"/>
                    <a:pt x="96" y="197"/>
                    <a:pt x="96" y="203"/>
                  </a:cubicBezTo>
                  <a:cubicBezTo>
                    <a:pt x="96" y="228"/>
                    <a:pt x="96" y="228"/>
                    <a:pt x="96" y="228"/>
                  </a:cubicBezTo>
                  <a:cubicBezTo>
                    <a:pt x="64" y="241"/>
                    <a:pt x="64" y="241"/>
                    <a:pt x="64" y="241"/>
                  </a:cubicBezTo>
                  <a:cubicBezTo>
                    <a:pt x="64" y="203"/>
                    <a:pt x="64" y="203"/>
                    <a:pt x="64" y="203"/>
                  </a:cubicBezTo>
                  <a:cubicBezTo>
                    <a:pt x="64" y="197"/>
                    <a:pt x="59" y="193"/>
                    <a:pt x="53" y="193"/>
                  </a:cubicBezTo>
                  <a:cubicBezTo>
                    <a:pt x="47" y="193"/>
                    <a:pt x="43" y="197"/>
                    <a:pt x="43" y="203"/>
                  </a:cubicBezTo>
                  <a:cubicBezTo>
                    <a:pt x="43" y="251"/>
                    <a:pt x="43" y="251"/>
                    <a:pt x="43" y="251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1" y="93"/>
                    <a:pt x="29" y="86"/>
                    <a:pt x="37" y="86"/>
                  </a:cubicBezTo>
                  <a:cubicBezTo>
                    <a:pt x="42" y="86"/>
                    <a:pt x="47" y="88"/>
                    <a:pt x="50" y="92"/>
                  </a:cubicBezTo>
                  <a:cubicBezTo>
                    <a:pt x="50" y="92"/>
                    <a:pt x="55" y="99"/>
                    <a:pt x="59" y="104"/>
                  </a:cubicBezTo>
                  <a:cubicBezTo>
                    <a:pt x="70" y="116"/>
                    <a:pt x="81" y="118"/>
                    <a:pt x="91" y="118"/>
                  </a:cubicBezTo>
                  <a:cubicBezTo>
                    <a:pt x="115" y="118"/>
                    <a:pt x="128" y="103"/>
                    <a:pt x="128" y="75"/>
                  </a:cubicBezTo>
                  <a:cubicBezTo>
                    <a:pt x="128" y="61"/>
                    <a:pt x="114" y="53"/>
                    <a:pt x="101" y="48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5" y="44"/>
                    <a:pt x="106" y="43"/>
                    <a:pt x="109" y="40"/>
                  </a:cubicBezTo>
                  <a:cubicBezTo>
                    <a:pt x="111" y="38"/>
                    <a:pt x="113" y="36"/>
                    <a:pt x="115" y="33"/>
                  </a:cubicBezTo>
                  <a:cubicBezTo>
                    <a:pt x="122" y="26"/>
                    <a:pt x="125" y="22"/>
                    <a:pt x="134" y="22"/>
                  </a:cubicBezTo>
                  <a:cubicBezTo>
                    <a:pt x="147" y="22"/>
                    <a:pt x="156" y="25"/>
                    <a:pt x="162" y="32"/>
                  </a:cubicBezTo>
                  <a:cubicBezTo>
                    <a:pt x="167" y="38"/>
                    <a:pt x="167" y="46"/>
                    <a:pt x="166" y="51"/>
                  </a:cubicBezTo>
                  <a:cubicBezTo>
                    <a:pt x="164" y="57"/>
                    <a:pt x="157" y="63"/>
                    <a:pt x="154" y="66"/>
                  </a:cubicBezTo>
                  <a:cubicBezTo>
                    <a:pt x="154" y="67"/>
                    <a:pt x="153" y="67"/>
                    <a:pt x="152" y="68"/>
                  </a:cubicBezTo>
                  <a:cubicBezTo>
                    <a:pt x="150" y="70"/>
                    <a:pt x="149" y="72"/>
                    <a:pt x="149" y="75"/>
                  </a:cubicBezTo>
                  <a:cubicBezTo>
                    <a:pt x="149" y="102"/>
                    <a:pt x="169" y="118"/>
                    <a:pt x="187" y="118"/>
                  </a:cubicBezTo>
                  <a:cubicBezTo>
                    <a:pt x="205" y="118"/>
                    <a:pt x="215" y="109"/>
                    <a:pt x="219" y="103"/>
                  </a:cubicBezTo>
                  <a:cubicBezTo>
                    <a:pt x="222" y="98"/>
                    <a:pt x="227" y="93"/>
                    <a:pt x="227" y="92"/>
                  </a:cubicBezTo>
                  <a:cubicBezTo>
                    <a:pt x="230" y="88"/>
                    <a:pt x="235" y="86"/>
                    <a:pt x="240" y="86"/>
                  </a:cubicBezTo>
                  <a:cubicBezTo>
                    <a:pt x="249" y="86"/>
                    <a:pt x="256" y="93"/>
                    <a:pt x="256" y="102"/>
                  </a:cubicBezTo>
                  <a:lnTo>
                    <a:pt x="256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2" name="Freeform 115"/>
          <p:cNvSpPr>
            <a:spLocks noChangeAspect="1" noEditPoints="1"/>
          </p:cNvSpPr>
          <p:nvPr/>
        </p:nvSpPr>
        <p:spPr bwMode="auto">
          <a:xfrm>
            <a:off x="4423488" y="5404007"/>
            <a:ext cx="367041" cy="367041"/>
          </a:xfrm>
          <a:custGeom>
            <a:avLst/>
            <a:gdLst>
              <a:gd name="T0" fmla="*/ 224 w 512"/>
              <a:gd name="T1" fmla="*/ 309 h 512"/>
              <a:gd name="T2" fmla="*/ 288 w 512"/>
              <a:gd name="T3" fmla="*/ 309 h 512"/>
              <a:gd name="T4" fmla="*/ 288 w 512"/>
              <a:gd name="T5" fmla="*/ 373 h 512"/>
              <a:gd name="T6" fmla="*/ 224 w 512"/>
              <a:gd name="T7" fmla="*/ 373 h 512"/>
              <a:gd name="T8" fmla="*/ 224 w 512"/>
              <a:gd name="T9" fmla="*/ 309 h 512"/>
              <a:gd name="T10" fmla="*/ 224 w 512"/>
              <a:gd name="T11" fmla="*/ 202 h 512"/>
              <a:gd name="T12" fmla="*/ 288 w 512"/>
              <a:gd name="T13" fmla="*/ 202 h 512"/>
              <a:gd name="T14" fmla="*/ 288 w 512"/>
              <a:gd name="T15" fmla="*/ 138 h 512"/>
              <a:gd name="T16" fmla="*/ 224 w 512"/>
              <a:gd name="T17" fmla="*/ 138 h 512"/>
              <a:gd name="T18" fmla="*/ 224 w 512"/>
              <a:gd name="T19" fmla="*/ 202 h 512"/>
              <a:gd name="T20" fmla="*/ 224 w 512"/>
              <a:gd name="T21" fmla="*/ 288 h 512"/>
              <a:gd name="T22" fmla="*/ 288 w 512"/>
              <a:gd name="T23" fmla="*/ 288 h 512"/>
              <a:gd name="T24" fmla="*/ 288 w 512"/>
              <a:gd name="T25" fmla="*/ 224 h 512"/>
              <a:gd name="T26" fmla="*/ 224 w 512"/>
              <a:gd name="T27" fmla="*/ 224 h 512"/>
              <a:gd name="T28" fmla="*/ 224 w 512"/>
              <a:gd name="T29" fmla="*/ 288 h 512"/>
              <a:gd name="T30" fmla="*/ 138 w 512"/>
              <a:gd name="T31" fmla="*/ 288 h 512"/>
              <a:gd name="T32" fmla="*/ 202 w 512"/>
              <a:gd name="T33" fmla="*/ 288 h 512"/>
              <a:gd name="T34" fmla="*/ 202 w 512"/>
              <a:gd name="T35" fmla="*/ 224 h 512"/>
              <a:gd name="T36" fmla="*/ 138 w 512"/>
              <a:gd name="T37" fmla="*/ 224 h 512"/>
              <a:gd name="T38" fmla="*/ 138 w 512"/>
              <a:gd name="T39" fmla="*/ 288 h 512"/>
              <a:gd name="T40" fmla="*/ 138 w 512"/>
              <a:gd name="T41" fmla="*/ 373 h 512"/>
              <a:gd name="T42" fmla="*/ 202 w 512"/>
              <a:gd name="T43" fmla="*/ 373 h 512"/>
              <a:gd name="T44" fmla="*/ 202 w 512"/>
              <a:gd name="T45" fmla="*/ 309 h 512"/>
              <a:gd name="T46" fmla="*/ 138 w 512"/>
              <a:gd name="T47" fmla="*/ 309 h 512"/>
              <a:gd name="T48" fmla="*/ 138 w 512"/>
              <a:gd name="T49" fmla="*/ 373 h 512"/>
              <a:gd name="T50" fmla="*/ 138 w 512"/>
              <a:gd name="T51" fmla="*/ 202 h 512"/>
              <a:gd name="T52" fmla="*/ 202 w 512"/>
              <a:gd name="T53" fmla="*/ 202 h 512"/>
              <a:gd name="T54" fmla="*/ 202 w 512"/>
              <a:gd name="T55" fmla="*/ 138 h 512"/>
              <a:gd name="T56" fmla="*/ 138 w 512"/>
              <a:gd name="T57" fmla="*/ 138 h 512"/>
              <a:gd name="T58" fmla="*/ 138 w 512"/>
              <a:gd name="T59" fmla="*/ 202 h 512"/>
              <a:gd name="T60" fmla="*/ 309 w 512"/>
              <a:gd name="T61" fmla="*/ 202 h 512"/>
              <a:gd name="T62" fmla="*/ 373 w 512"/>
              <a:gd name="T63" fmla="*/ 202 h 512"/>
              <a:gd name="T64" fmla="*/ 373 w 512"/>
              <a:gd name="T65" fmla="*/ 138 h 512"/>
              <a:gd name="T66" fmla="*/ 309 w 512"/>
              <a:gd name="T67" fmla="*/ 138 h 512"/>
              <a:gd name="T68" fmla="*/ 309 w 512"/>
              <a:gd name="T69" fmla="*/ 202 h 512"/>
              <a:gd name="T70" fmla="*/ 512 w 512"/>
              <a:gd name="T71" fmla="*/ 256 h 512"/>
              <a:gd name="T72" fmla="*/ 256 w 512"/>
              <a:gd name="T73" fmla="*/ 512 h 512"/>
              <a:gd name="T74" fmla="*/ 0 w 512"/>
              <a:gd name="T75" fmla="*/ 256 h 512"/>
              <a:gd name="T76" fmla="*/ 256 w 512"/>
              <a:gd name="T77" fmla="*/ 0 h 512"/>
              <a:gd name="T78" fmla="*/ 512 w 512"/>
              <a:gd name="T79" fmla="*/ 256 h 512"/>
              <a:gd name="T80" fmla="*/ 394 w 512"/>
              <a:gd name="T81" fmla="*/ 128 h 512"/>
              <a:gd name="T82" fmla="*/ 384 w 512"/>
              <a:gd name="T83" fmla="*/ 117 h 512"/>
              <a:gd name="T84" fmla="*/ 128 w 512"/>
              <a:gd name="T85" fmla="*/ 117 h 512"/>
              <a:gd name="T86" fmla="*/ 117 w 512"/>
              <a:gd name="T87" fmla="*/ 128 h 512"/>
              <a:gd name="T88" fmla="*/ 117 w 512"/>
              <a:gd name="T89" fmla="*/ 384 h 512"/>
              <a:gd name="T90" fmla="*/ 128 w 512"/>
              <a:gd name="T91" fmla="*/ 394 h 512"/>
              <a:gd name="T92" fmla="*/ 384 w 512"/>
              <a:gd name="T93" fmla="*/ 394 h 512"/>
              <a:gd name="T94" fmla="*/ 394 w 512"/>
              <a:gd name="T95" fmla="*/ 384 h 512"/>
              <a:gd name="T96" fmla="*/ 394 w 512"/>
              <a:gd name="T97" fmla="*/ 128 h 512"/>
              <a:gd name="T98" fmla="*/ 309 w 512"/>
              <a:gd name="T99" fmla="*/ 288 h 512"/>
              <a:gd name="T100" fmla="*/ 373 w 512"/>
              <a:gd name="T101" fmla="*/ 288 h 512"/>
              <a:gd name="T102" fmla="*/ 373 w 512"/>
              <a:gd name="T103" fmla="*/ 224 h 512"/>
              <a:gd name="T104" fmla="*/ 309 w 512"/>
              <a:gd name="T105" fmla="*/ 224 h 512"/>
              <a:gd name="T106" fmla="*/ 309 w 512"/>
              <a:gd name="T107" fmla="*/ 288 h 512"/>
              <a:gd name="T108" fmla="*/ 309 w 512"/>
              <a:gd name="T109" fmla="*/ 373 h 512"/>
              <a:gd name="T110" fmla="*/ 373 w 512"/>
              <a:gd name="T111" fmla="*/ 373 h 512"/>
              <a:gd name="T112" fmla="*/ 373 w 512"/>
              <a:gd name="T113" fmla="*/ 309 h 512"/>
              <a:gd name="T114" fmla="*/ 309 w 512"/>
              <a:gd name="T115" fmla="*/ 309 h 512"/>
              <a:gd name="T116" fmla="*/ 309 w 512"/>
              <a:gd name="T117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224" y="309"/>
                </a:moveTo>
                <a:cubicBezTo>
                  <a:pt x="288" y="309"/>
                  <a:pt x="288" y="309"/>
                  <a:pt x="288" y="309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24" y="373"/>
                  <a:pt x="224" y="373"/>
                  <a:pt x="224" y="373"/>
                </a:cubicBezTo>
                <a:lnTo>
                  <a:pt x="224" y="309"/>
                </a:lnTo>
                <a:close/>
                <a:moveTo>
                  <a:pt x="224" y="202"/>
                </a:moveTo>
                <a:cubicBezTo>
                  <a:pt x="288" y="202"/>
                  <a:pt x="288" y="202"/>
                  <a:pt x="288" y="202"/>
                </a:cubicBezTo>
                <a:cubicBezTo>
                  <a:pt x="288" y="138"/>
                  <a:pt x="288" y="138"/>
                  <a:pt x="288" y="138"/>
                </a:cubicBezTo>
                <a:cubicBezTo>
                  <a:pt x="224" y="138"/>
                  <a:pt x="224" y="138"/>
                  <a:pt x="224" y="138"/>
                </a:cubicBezTo>
                <a:lnTo>
                  <a:pt x="224" y="202"/>
                </a:lnTo>
                <a:close/>
                <a:moveTo>
                  <a:pt x="224" y="288"/>
                </a:moveTo>
                <a:cubicBezTo>
                  <a:pt x="288" y="288"/>
                  <a:pt x="288" y="288"/>
                  <a:pt x="288" y="288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24" y="224"/>
                  <a:pt x="224" y="224"/>
                  <a:pt x="224" y="224"/>
                </a:cubicBezTo>
                <a:lnTo>
                  <a:pt x="224" y="288"/>
                </a:lnTo>
                <a:close/>
                <a:moveTo>
                  <a:pt x="138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24"/>
                  <a:pt x="202" y="224"/>
                  <a:pt x="202" y="224"/>
                </a:cubicBezTo>
                <a:cubicBezTo>
                  <a:pt x="138" y="224"/>
                  <a:pt x="138" y="224"/>
                  <a:pt x="138" y="224"/>
                </a:cubicBezTo>
                <a:lnTo>
                  <a:pt x="138" y="288"/>
                </a:lnTo>
                <a:close/>
                <a:moveTo>
                  <a:pt x="138" y="373"/>
                </a:moveTo>
                <a:cubicBezTo>
                  <a:pt x="202" y="373"/>
                  <a:pt x="202" y="373"/>
                  <a:pt x="202" y="373"/>
                </a:cubicBezTo>
                <a:cubicBezTo>
                  <a:pt x="202" y="309"/>
                  <a:pt x="202" y="309"/>
                  <a:pt x="202" y="309"/>
                </a:cubicBezTo>
                <a:cubicBezTo>
                  <a:pt x="138" y="309"/>
                  <a:pt x="138" y="309"/>
                  <a:pt x="138" y="309"/>
                </a:cubicBezTo>
                <a:lnTo>
                  <a:pt x="138" y="373"/>
                </a:lnTo>
                <a:close/>
                <a:moveTo>
                  <a:pt x="138" y="202"/>
                </a:moveTo>
                <a:cubicBezTo>
                  <a:pt x="202" y="202"/>
                  <a:pt x="202" y="202"/>
                  <a:pt x="202" y="202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202"/>
                </a:lnTo>
                <a:close/>
                <a:moveTo>
                  <a:pt x="309" y="202"/>
                </a:moveTo>
                <a:cubicBezTo>
                  <a:pt x="373" y="202"/>
                  <a:pt x="373" y="202"/>
                  <a:pt x="373" y="202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09" y="138"/>
                  <a:pt x="309" y="138"/>
                  <a:pt x="309" y="138"/>
                </a:cubicBezTo>
                <a:lnTo>
                  <a:pt x="309" y="20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128"/>
                </a:lnTo>
                <a:close/>
                <a:moveTo>
                  <a:pt x="309" y="288"/>
                </a:moveTo>
                <a:cubicBezTo>
                  <a:pt x="373" y="288"/>
                  <a:pt x="373" y="288"/>
                  <a:pt x="373" y="288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09" y="224"/>
                  <a:pt x="309" y="224"/>
                  <a:pt x="309" y="224"/>
                </a:cubicBezTo>
                <a:lnTo>
                  <a:pt x="309" y="288"/>
                </a:lnTo>
                <a:close/>
                <a:moveTo>
                  <a:pt x="309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309" y="309"/>
                  <a:pt x="309" y="309"/>
                  <a:pt x="309" y="309"/>
                </a:cubicBezTo>
                <a:lnTo>
                  <a:pt x="309" y="3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3" name="Group 118"/>
          <p:cNvGrpSpPr>
            <a:grpSpLocks noChangeAspect="1"/>
          </p:cNvGrpSpPr>
          <p:nvPr/>
        </p:nvGrpSpPr>
        <p:grpSpPr bwMode="auto">
          <a:xfrm>
            <a:off x="4920792" y="5412764"/>
            <a:ext cx="368121" cy="368120"/>
            <a:chOff x="1926" y="383"/>
            <a:chExt cx="341" cy="341"/>
          </a:xfrm>
          <a:solidFill>
            <a:schemeClr val="accent2"/>
          </a:solidFill>
        </p:grpSpPr>
        <p:sp>
          <p:nvSpPr>
            <p:cNvPr id="334" name="Freeform 119"/>
            <p:cNvSpPr>
              <a:spLocks noEditPoints="1"/>
            </p:cNvSpPr>
            <p:nvPr/>
          </p:nvSpPr>
          <p:spPr bwMode="auto">
            <a:xfrm>
              <a:off x="1926" y="383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120"/>
            <p:cNvSpPr>
              <a:spLocks noEditPoints="1"/>
            </p:cNvSpPr>
            <p:nvPr/>
          </p:nvSpPr>
          <p:spPr bwMode="auto">
            <a:xfrm>
              <a:off x="2004" y="461"/>
              <a:ext cx="184" cy="184"/>
            </a:xfrm>
            <a:custGeom>
              <a:avLst/>
              <a:gdLst>
                <a:gd name="T0" fmla="*/ 267 w 277"/>
                <a:gd name="T1" fmla="*/ 0 h 277"/>
                <a:gd name="T2" fmla="*/ 11 w 277"/>
                <a:gd name="T3" fmla="*/ 0 h 277"/>
                <a:gd name="T4" fmla="*/ 0 w 277"/>
                <a:gd name="T5" fmla="*/ 11 h 277"/>
                <a:gd name="T6" fmla="*/ 0 w 277"/>
                <a:gd name="T7" fmla="*/ 267 h 277"/>
                <a:gd name="T8" fmla="*/ 11 w 277"/>
                <a:gd name="T9" fmla="*/ 277 h 277"/>
                <a:gd name="T10" fmla="*/ 267 w 277"/>
                <a:gd name="T11" fmla="*/ 277 h 277"/>
                <a:gd name="T12" fmla="*/ 277 w 277"/>
                <a:gd name="T13" fmla="*/ 267 h 277"/>
                <a:gd name="T14" fmla="*/ 277 w 277"/>
                <a:gd name="T15" fmla="*/ 11 h 277"/>
                <a:gd name="T16" fmla="*/ 267 w 277"/>
                <a:gd name="T17" fmla="*/ 0 h 277"/>
                <a:gd name="T18" fmla="*/ 107 w 277"/>
                <a:gd name="T19" fmla="*/ 171 h 277"/>
                <a:gd name="T20" fmla="*/ 107 w 277"/>
                <a:gd name="T21" fmla="*/ 107 h 277"/>
                <a:gd name="T22" fmla="*/ 171 w 277"/>
                <a:gd name="T23" fmla="*/ 107 h 277"/>
                <a:gd name="T24" fmla="*/ 171 w 277"/>
                <a:gd name="T25" fmla="*/ 171 h 277"/>
                <a:gd name="T26" fmla="*/ 107 w 277"/>
                <a:gd name="T27" fmla="*/ 171 h 277"/>
                <a:gd name="T28" fmla="*/ 171 w 277"/>
                <a:gd name="T29" fmla="*/ 192 h 277"/>
                <a:gd name="T30" fmla="*/ 171 w 277"/>
                <a:gd name="T31" fmla="*/ 256 h 277"/>
                <a:gd name="T32" fmla="*/ 107 w 277"/>
                <a:gd name="T33" fmla="*/ 256 h 277"/>
                <a:gd name="T34" fmla="*/ 107 w 277"/>
                <a:gd name="T35" fmla="*/ 192 h 277"/>
                <a:gd name="T36" fmla="*/ 171 w 277"/>
                <a:gd name="T37" fmla="*/ 192 h 277"/>
                <a:gd name="T38" fmla="*/ 21 w 277"/>
                <a:gd name="T39" fmla="*/ 107 h 277"/>
                <a:gd name="T40" fmla="*/ 85 w 277"/>
                <a:gd name="T41" fmla="*/ 107 h 277"/>
                <a:gd name="T42" fmla="*/ 85 w 277"/>
                <a:gd name="T43" fmla="*/ 171 h 277"/>
                <a:gd name="T44" fmla="*/ 21 w 277"/>
                <a:gd name="T45" fmla="*/ 171 h 277"/>
                <a:gd name="T46" fmla="*/ 21 w 277"/>
                <a:gd name="T47" fmla="*/ 107 h 277"/>
                <a:gd name="T48" fmla="*/ 107 w 277"/>
                <a:gd name="T49" fmla="*/ 85 h 277"/>
                <a:gd name="T50" fmla="*/ 107 w 277"/>
                <a:gd name="T51" fmla="*/ 21 h 277"/>
                <a:gd name="T52" fmla="*/ 171 w 277"/>
                <a:gd name="T53" fmla="*/ 21 h 277"/>
                <a:gd name="T54" fmla="*/ 171 w 277"/>
                <a:gd name="T55" fmla="*/ 85 h 277"/>
                <a:gd name="T56" fmla="*/ 107 w 277"/>
                <a:gd name="T57" fmla="*/ 85 h 277"/>
                <a:gd name="T58" fmla="*/ 192 w 277"/>
                <a:gd name="T59" fmla="*/ 107 h 277"/>
                <a:gd name="T60" fmla="*/ 256 w 277"/>
                <a:gd name="T61" fmla="*/ 107 h 277"/>
                <a:gd name="T62" fmla="*/ 256 w 277"/>
                <a:gd name="T63" fmla="*/ 171 h 277"/>
                <a:gd name="T64" fmla="*/ 192 w 277"/>
                <a:gd name="T65" fmla="*/ 171 h 277"/>
                <a:gd name="T66" fmla="*/ 192 w 277"/>
                <a:gd name="T67" fmla="*/ 107 h 277"/>
                <a:gd name="T68" fmla="*/ 256 w 277"/>
                <a:gd name="T69" fmla="*/ 85 h 277"/>
                <a:gd name="T70" fmla="*/ 192 w 277"/>
                <a:gd name="T71" fmla="*/ 85 h 277"/>
                <a:gd name="T72" fmla="*/ 192 w 277"/>
                <a:gd name="T73" fmla="*/ 21 h 277"/>
                <a:gd name="T74" fmla="*/ 256 w 277"/>
                <a:gd name="T75" fmla="*/ 21 h 277"/>
                <a:gd name="T76" fmla="*/ 256 w 277"/>
                <a:gd name="T77" fmla="*/ 85 h 277"/>
                <a:gd name="T78" fmla="*/ 85 w 277"/>
                <a:gd name="T79" fmla="*/ 21 h 277"/>
                <a:gd name="T80" fmla="*/ 85 w 277"/>
                <a:gd name="T81" fmla="*/ 85 h 277"/>
                <a:gd name="T82" fmla="*/ 21 w 277"/>
                <a:gd name="T83" fmla="*/ 85 h 277"/>
                <a:gd name="T84" fmla="*/ 21 w 277"/>
                <a:gd name="T85" fmla="*/ 21 h 277"/>
                <a:gd name="T86" fmla="*/ 85 w 277"/>
                <a:gd name="T87" fmla="*/ 21 h 277"/>
                <a:gd name="T88" fmla="*/ 21 w 277"/>
                <a:gd name="T89" fmla="*/ 192 h 277"/>
                <a:gd name="T90" fmla="*/ 85 w 277"/>
                <a:gd name="T91" fmla="*/ 192 h 277"/>
                <a:gd name="T92" fmla="*/ 85 w 277"/>
                <a:gd name="T93" fmla="*/ 256 h 277"/>
                <a:gd name="T94" fmla="*/ 21 w 277"/>
                <a:gd name="T95" fmla="*/ 256 h 277"/>
                <a:gd name="T96" fmla="*/ 21 w 277"/>
                <a:gd name="T97" fmla="*/ 192 h 277"/>
                <a:gd name="T98" fmla="*/ 192 w 277"/>
                <a:gd name="T99" fmla="*/ 256 h 277"/>
                <a:gd name="T100" fmla="*/ 192 w 277"/>
                <a:gd name="T101" fmla="*/ 192 h 277"/>
                <a:gd name="T102" fmla="*/ 256 w 277"/>
                <a:gd name="T103" fmla="*/ 192 h 277"/>
                <a:gd name="T104" fmla="*/ 256 w 277"/>
                <a:gd name="T105" fmla="*/ 256 h 277"/>
                <a:gd name="T106" fmla="*/ 192 w 277"/>
                <a:gd name="T107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7" h="277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  <a:moveTo>
                    <a:pt x="107" y="171"/>
                  </a:moveTo>
                  <a:cubicBezTo>
                    <a:pt x="107" y="107"/>
                    <a:pt x="107" y="107"/>
                    <a:pt x="107" y="107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71" y="171"/>
                    <a:pt x="171" y="171"/>
                    <a:pt x="171" y="171"/>
                  </a:cubicBezTo>
                  <a:lnTo>
                    <a:pt x="107" y="171"/>
                  </a:lnTo>
                  <a:close/>
                  <a:moveTo>
                    <a:pt x="171" y="192"/>
                  </a:moveTo>
                  <a:cubicBezTo>
                    <a:pt x="171" y="256"/>
                    <a:pt x="171" y="256"/>
                    <a:pt x="171" y="256"/>
                  </a:cubicBezTo>
                  <a:cubicBezTo>
                    <a:pt x="107" y="256"/>
                    <a:pt x="107" y="256"/>
                    <a:pt x="107" y="256"/>
                  </a:cubicBezTo>
                  <a:cubicBezTo>
                    <a:pt x="107" y="192"/>
                    <a:pt x="107" y="192"/>
                    <a:pt x="107" y="192"/>
                  </a:cubicBezTo>
                  <a:lnTo>
                    <a:pt x="171" y="192"/>
                  </a:lnTo>
                  <a:close/>
                  <a:moveTo>
                    <a:pt x="21" y="107"/>
                  </a:moveTo>
                  <a:cubicBezTo>
                    <a:pt x="85" y="107"/>
                    <a:pt x="85" y="107"/>
                    <a:pt x="85" y="107"/>
                  </a:cubicBezTo>
                  <a:cubicBezTo>
                    <a:pt x="85" y="171"/>
                    <a:pt x="85" y="171"/>
                    <a:pt x="85" y="171"/>
                  </a:cubicBezTo>
                  <a:cubicBezTo>
                    <a:pt x="21" y="171"/>
                    <a:pt x="21" y="171"/>
                    <a:pt x="21" y="171"/>
                  </a:cubicBezTo>
                  <a:lnTo>
                    <a:pt x="21" y="107"/>
                  </a:lnTo>
                  <a:close/>
                  <a:moveTo>
                    <a:pt x="107" y="85"/>
                  </a:moveTo>
                  <a:cubicBezTo>
                    <a:pt x="107" y="21"/>
                    <a:pt x="107" y="21"/>
                    <a:pt x="107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lnTo>
                    <a:pt x="107" y="85"/>
                  </a:lnTo>
                  <a:close/>
                  <a:moveTo>
                    <a:pt x="192" y="107"/>
                  </a:moveTo>
                  <a:cubicBezTo>
                    <a:pt x="256" y="107"/>
                    <a:pt x="256" y="107"/>
                    <a:pt x="256" y="107"/>
                  </a:cubicBezTo>
                  <a:cubicBezTo>
                    <a:pt x="256" y="171"/>
                    <a:pt x="256" y="171"/>
                    <a:pt x="256" y="171"/>
                  </a:cubicBezTo>
                  <a:cubicBezTo>
                    <a:pt x="192" y="171"/>
                    <a:pt x="192" y="171"/>
                    <a:pt x="192" y="171"/>
                  </a:cubicBezTo>
                  <a:lnTo>
                    <a:pt x="192" y="107"/>
                  </a:lnTo>
                  <a:close/>
                  <a:moveTo>
                    <a:pt x="256" y="85"/>
                  </a:moveTo>
                  <a:cubicBezTo>
                    <a:pt x="192" y="85"/>
                    <a:pt x="192" y="85"/>
                    <a:pt x="192" y="85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256" y="21"/>
                    <a:pt x="256" y="21"/>
                    <a:pt x="256" y="21"/>
                  </a:cubicBezTo>
                  <a:lnTo>
                    <a:pt x="256" y="85"/>
                  </a:lnTo>
                  <a:close/>
                  <a:moveTo>
                    <a:pt x="85" y="21"/>
                  </a:moveTo>
                  <a:cubicBezTo>
                    <a:pt x="85" y="85"/>
                    <a:pt x="85" y="85"/>
                    <a:pt x="85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21"/>
                    <a:pt x="21" y="21"/>
                    <a:pt x="21" y="21"/>
                  </a:cubicBezTo>
                  <a:lnTo>
                    <a:pt x="85" y="21"/>
                  </a:lnTo>
                  <a:close/>
                  <a:moveTo>
                    <a:pt x="21" y="192"/>
                  </a:moveTo>
                  <a:cubicBezTo>
                    <a:pt x="85" y="192"/>
                    <a:pt x="85" y="192"/>
                    <a:pt x="85" y="192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21" y="256"/>
                    <a:pt x="21" y="256"/>
                    <a:pt x="21" y="256"/>
                  </a:cubicBezTo>
                  <a:lnTo>
                    <a:pt x="21" y="192"/>
                  </a:lnTo>
                  <a:close/>
                  <a:moveTo>
                    <a:pt x="192" y="256"/>
                  </a:moveTo>
                  <a:cubicBezTo>
                    <a:pt x="192" y="192"/>
                    <a:pt x="192" y="192"/>
                    <a:pt x="192" y="192"/>
                  </a:cubicBezTo>
                  <a:cubicBezTo>
                    <a:pt x="256" y="192"/>
                    <a:pt x="256" y="192"/>
                    <a:pt x="256" y="192"/>
                  </a:cubicBezTo>
                  <a:cubicBezTo>
                    <a:pt x="256" y="256"/>
                    <a:pt x="256" y="256"/>
                    <a:pt x="256" y="256"/>
                  </a:cubicBezTo>
                  <a:lnTo>
                    <a:pt x="192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6" name="Freeform 189"/>
          <p:cNvSpPr>
            <a:spLocks noChangeAspect="1" noEditPoints="1"/>
          </p:cNvSpPr>
          <p:nvPr/>
        </p:nvSpPr>
        <p:spPr bwMode="auto">
          <a:xfrm>
            <a:off x="6401524" y="4528376"/>
            <a:ext cx="367042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416 w 512"/>
              <a:gd name="T5" fmla="*/ 330 h 512"/>
              <a:gd name="T6" fmla="*/ 394 w 512"/>
              <a:gd name="T7" fmla="*/ 341 h 512"/>
              <a:gd name="T8" fmla="*/ 384 w 512"/>
              <a:gd name="T9" fmla="*/ 320 h 512"/>
              <a:gd name="T10" fmla="*/ 371 w 512"/>
              <a:gd name="T11" fmla="*/ 334 h 512"/>
              <a:gd name="T12" fmla="*/ 338 w 512"/>
              <a:gd name="T13" fmla="*/ 359 h 512"/>
              <a:gd name="T14" fmla="*/ 318 w 512"/>
              <a:gd name="T15" fmla="*/ 376 h 512"/>
              <a:gd name="T16" fmla="*/ 277 w 512"/>
              <a:gd name="T17" fmla="*/ 370 h 512"/>
              <a:gd name="T18" fmla="*/ 250 w 512"/>
              <a:gd name="T19" fmla="*/ 384 h 512"/>
              <a:gd name="T20" fmla="*/ 217 w 512"/>
              <a:gd name="T21" fmla="*/ 381 h 512"/>
              <a:gd name="T22" fmla="*/ 172 w 512"/>
              <a:gd name="T23" fmla="*/ 368 h 512"/>
              <a:gd name="T24" fmla="*/ 128 w 512"/>
              <a:gd name="T25" fmla="*/ 320 h 512"/>
              <a:gd name="T26" fmla="*/ 117 w 512"/>
              <a:gd name="T27" fmla="*/ 341 h 512"/>
              <a:gd name="T28" fmla="*/ 96 w 512"/>
              <a:gd name="T29" fmla="*/ 330 h 512"/>
              <a:gd name="T30" fmla="*/ 106 w 512"/>
              <a:gd name="T31" fmla="*/ 170 h 512"/>
              <a:gd name="T32" fmla="*/ 106 w 512"/>
              <a:gd name="T33" fmla="*/ 149 h 512"/>
              <a:gd name="T34" fmla="*/ 128 w 512"/>
              <a:gd name="T35" fmla="*/ 160 h 512"/>
              <a:gd name="T36" fmla="*/ 224 w 512"/>
              <a:gd name="T37" fmla="*/ 181 h 512"/>
              <a:gd name="T38" fmla="*/ 261 w 512"/>
              <a:gd name="T39" fmla="*/ 161 h 512"/>
              <a:gd name="T40" fmla="*/ 343 w 512"/>
              <a:gd name="T41" fmla="*/ 181 h 512"/>
              <a:gd name="T42" fmla="*/ 384 w 512"/>
              <a:gd name="T43" fmla="*/ 160 h 512"/>
              <a:gd name="T44" fmla="*/ 405 w 512"/>
              <a:gd name="T45" fmla="*/ 149 h 512"/>
              <a:gd name="T46" fmla="*/ 405 w 512"/>
              <a:gd name="T47" fmla="*/ 170 h 512"/>
              <a:gd name="T48" fmla="*/ 416 w 512"/>
              <a:gd name="T49" fmla="*/ 330 h 512"/>
              <a:gd name="T50" fmla="*/ 350 w 512"/>
              <a:gd name="T51" fmla="*/ 328 h 512"/>
              <a:gd name="T52" fmla="*/ 335 w 512"/>
              <a:gd name="T53" fmla="*/ 337 h 512"/>
              <a:gd name="T54" fmla="*/ 328 w 512"/>
              <a:gd name="T55" fmla="*/ 332 h 512"/>
              <a:gd name="T56" fmla="*/ 294 w 512"/>
              <a:gd name="T57" fmla="*/ 274 h 512"/>
              <a:gd name="T58" fmla="*/ 275 w 512"/>
              <a:gd name="T59" fmla="*/ 284 h 512"/>
              <a:gd name="T60" fmla="*/ 310 w 512"/>
              <a:gd name="T61" fmla="*/ 343 h 512"/>
              <a:gd name="T62" fmla="*/ 290 w 512"/>
              <a:gd name="T63" fmla="*/ 353 h 512"/>
              <a:gd name="T64" fmla="*/ 243 w 512"/>
              <a:gd name="T65" fmla="*/ 296 h 512"/>
              <a:gd name="T66" fmla="*/ 260 w 512"/>
              <a:gd name="T67" fmla="*/ 345 h 512"/>
              <a:gd name="T68" fmla="*/ 256 w 512"/>
              <a:gd name="T69" fmla="*/ 361 h 512"/>
              <a:gd name="T70" fmla="*/ 239 w 512"/>
              <a:gd name="T71" fmla="*/ 357 h 512"/>
              <a:gd name="T72" fmla="*/ 228 w 512"/>
              <a:gd name="T73" fmla="*/ 337 h 512"/>
              <a:gd name="T74" fmla="*/ 220 w 512"/>
              <a:gd name="T75" fmla="*/ 325 h 512"/>
              <a:gd name="T76" fmla="*/ 202 w 512"/>
              <a:gd name="T77" fmla="*/ 337 h 512"/>
              <a:gd name="T78" fmla="*/ 207 w 512"/>
              <a:gd name="T79" fmla="*/ 363 h 512"/>
              <a:gd name="T80" fmla="*/ 158 w 512"/>
              <a:gd name="T81" fmla="*/ 304 h 512"/>
              <a:gd name="T82" fmla="*/ 128 w 512"/>
              <a:gd name="T83" fmla="*/ 298 h 512"/>
              <a:gd name="T84" fmla="*/ 184 w 512"/>
              <a:gd name="T85" fmla="*/ 202 h 512"/>
              <a:gd name="T86" fmla="*/ 160 w 512"/>
              <a:gd name="T87" fmla="*/ 234 h 512"/>
              <a:gd name="T88" fmla="*/ 193 w 512"/>
              <a:gd name="T89" fmla="*/ 266 h 512"/>
              <a:gd name="T90" fmla="*/ 349 w 512"/>
              <a:gd name="T91" fmla="*/ 319 h 512"/>
              <a:gd name="T92" fmla="*/ 384 w 512"/>
              <a:gd name="T93" fmla="*/ 202 h 512"/>
              <a:gd name="T94" fmla="*/ 362 w 512"/>
              <a:gd name="T95" fmla="*/ 298 h 512"/>
              <a:gd name="T96" fmla="*/ 322 w 512"/>
              <a:gd name="T97" fmla="*/ 230 h 512"/>
              <a:gd name="T98" fmla="*/ 190 w 512"/>
              <a:gd name="T99" fmla="*/ 245 h 512"/>
              <a:gd name="T100" fmla="*/ 181 w 512"/>
              <a:gd name="T101" fmla="*/ 234 h 512"/>
              <a:gd name="T102" fmla="*/ 268 w 512"/>
              <a:gd name="T103" fmla="*/ 182 h 512"/>
              <a:gd name="T104" fmla="*/ 341 w 512"/>
              <a:gd name="T10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30"/>
                </a:moveTo>
                <a:cubicBezTo>
                  <a:pt x="416" y="336"/>
                  <a:pt x="411" y="341"/>
                  <a:pt x="405" y="341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88" y="341"/>
                  <a:pt x="384" y="336"/>
                  <a:pt x="384" y="330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371" y="320"/>
                  <a:pt x="371" y="320"/>
                  <a:pt x="371" y="320"/>
                </a:cubicBezTo>
                <a:cubicBezTo>
                  <a:pt x="372" y="324"/>
                  <a:pt x="372" y="329"/>
                  <a:pt x="371" y="334"/>
                </a:cubicBezTo>
                <a:cubicBezTo>
                  <a:pt x="368" y="342"/>
                  <a:pt x="363" y="350"/>
                  <a:pt x="355" y="354"/>
                </a:cubicBezTo>
                <a:cubicBezTo>
                  <a:pt x="350" y="357"/>
                  <a:pt x="344" y="359"/>
                  <a:pt x="338" y="359"/>
                </a:cubicBezTo>
                <a:cubicBezTo>
                  <a:pt x="336" y="359"/>
                  <a:pt x="334" y="358"/>
                  <a:pt x="332" y="358"/>
                </a:cubicBezTo>
                <a:cubicBezTo>
                  <a:pt x="330" y="365"/>
                  <a:pt x="325" y="372"/>
                  <a:pt x="318" y="376"/>
                </a:cubicBezTo>
                <a:cubicBezTo>
                  <a:pt x="313" y="380"/>
                  <a:pt x="307" y="381"/>
                  <a:pt x="301" y="381"/>
                </a:cubicBezTo>
                <a:cubicBezTo>
                  <a:pt x="292" y="381"/>
                  <a:pt x="283" y="377"/>
                  <a:pt x="277" y="370"/>
                </a:cubicBezTo>
                <a:cubicBezTo>
                  <a:pt x="274" y="374"/>
                  <a:pt x="271" y="377"/>
                  <a:pt x="267" y="379"/>
                </a:cubicBezTo>
                <a:cubicBezTo>
                  <a:pt x="261" y="382"/>
                  <a:pt x="256" y="384"/>
                  <a:pt x="250" y="384"/>
                </a:cubicBezTo>
                <a:cubicBezTo>
                  <a:pt x="241" y="384"/>
                  <a:pt x="232" y="380"/>
                  <a:pt x="226" y="374"/>
                </a:cubicBezTo>
                <a:cubicBezTo>
                  <a:pt x="224" y="376"/>
                  <a:pt x="221" y="379"/>
                  <a:pt x="217" y="381"/>
                </a:cubicBezTo>
                <a:cubicBezTo>
                  <a:pt x="212" y="384"/>
                  <a:pt x="207" y="385"/>
                  <a:pt x="202" y="385"/>
                </a:cubicBezTo>
                <a:cubicBezTo>
                  <a:pt x="190" y="385"/>
                  <a:pt x="178" y="379"/>
                  <a:pt x="172" y="368"/>
                </a:cubicBezTo>
                <a:cubicBezTo>
                  <a:pt x="143" y="320"/>
                  <a:pt x="143" y="320"/>
                  <a:pt x="143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128" y="336"/>
                  <a:pt x="123" y="341"/>
                  <a:pt x="117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324"/>
                  <a:pt x="100" y="320"/>
                  <a:pt x="106" y="32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23" y="149"/>
                  <a:pt x="128" y="154"/>
                  <a:pt x="128" y="160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61" y="161"/>
                  <a:pt x="261" y="161"/>
                  <a:pt x="261" y="161"/>
                </a:cubicBezTo>
                <a:cubicBezTo>
                  <a:pt x="264" y="160"/>
                  <a:pt x="267" y="159"/>
                  <a:pt x="269" y="160"/>
                </a:cubicBezTo>
                <a:cubicBezTo>
                  <a:pt x="343" y="181"/>
                  <a:pt x="343" y="181"/>
                  <a:pt x="343" y="181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4" y="160"/>
                  <a:pt x="384" y="160"/>
                  <a:pt x="384" y="160"/>
                </a:cubicBezTo>
                <a:cubicBezTo>
                  <a:pt x="384" y="154"/>
                  <a:pt x="388" y="149"/>
                  <a:pt x="394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cubicBezTo>
                  <a:pt x="416" y="166"/>
                  <a:pt x="411" y="170"/>
                  <a:pt x="405" y="17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24"/>
                  <a:pt x="416" y="330"/>
                </a:cubicBezTo>
                <a:close/>
                <a:moveTo>
                  <a:pt x="349" y="319"/>
                </a:moveTo>
                <a:cubicBezTo>
                  <a:pt x="350" y="322"/>
                  <a:pt x="351" y="325"/>
                  <a:pt x="350" y="328"/>
                </a:cubicBezTo>
                <a:cubicBezTo>
                  <a:pt x="349" y="332"/>
                  <a:pt x="347" y="334"/>
                  <a:pt x="344" y="336"/>
                </a:cubicBezTo>
                <a:cubicBezTo>
                  <a:pt x="342" y="337"/>
                  <a:pt x="338" y="338"/>
                  <a:pt x="335" y="337"/>
                </a:cubicBezTo>
                <a:cubicBezTo>
                  <a:pt x="332" y="336"/>
                  <a:pt x="330" y="334"/>
                  <a:pt x="328" y="332"/>
                </a:cubicBezTo>
                <a:cubicBezTo>
                  <a:pt x="328" y="332"/>
                  <a:pt x="328" y="332"/>
                  <a:pt x="328" y="332"/>
                </a:cubicBezTo>
                <a:cubicBezTo>
                  <a:pt x="328" y="332"/>
                  <a:pt x="328" y="332"/>
                  <a:pt x="328" y="331"/>
                </a:cubicBezTo>
                <a:cubicBezTo>
                  <a:pt x="294" y="274"/>
                  <a:pt x="294" y="274"/>
                  <a:pt x="294" y="274"/>
                </a:cubicBezTo>
                <a:cubicBezTo>
                  <a:pt x="291" y="268"/>
                  <a:pt x="284" y="267"/>
                  <a:pt x="279" y="270"/>
                </a:cubicBezTo>
                <a:cubicBezTo>
                  <a:pt x="274" y="273"/>
                  <a:pt x="272" y="279"/>
                  <a:pt x="275" y="284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3" y="348"/>
                  <a:pt x="313" y="355"/>
                  <a:pt x="307" y="358"/>
                </a:cubicBezTo>
                <a:cubicBezTo>
                  <a:pt x="301" y="361"/>
                  <a:pt x="294" y="359"/>
                  <a:pt x="290" y="353"/>
                </a:cubicBezTo>
                <a:cubicBezTo>
                  <a:pt x="258" y="300"/>
                  <a:pt x="258" y="300"/>
                  <a:pt x="258" y="300"/>
                </a:cubicBezTo>
                <a:cubicBezTo>
                  <a:pt x="255" y="295"/>
                  <a:pt x="249" y="293"/>
                  <a:pt x="243" y="296"/>
                </a:cubicBezTo>
                <a:cubicBezTo>
                  <a:pt x="238" y="299"/>
                  <a:pt x="237" y="306"/>
                  <a:pt x="240" y="311"/>
                </a:cubicBezTo>
                <a:cubicBezTo>
                  <a:pt x="260" y="345"/>
                  <a:pt x="260" y="345"/>
                  <a:pt x="260" y="345"/>
                </a:cubicBezTo>
                <a:cubicBezTo>
                  <a:pt x="262" y="347"/>
                  <a:pt x="262" y="350"/>
                  <a:pt x="261" y="353"/>
                </a:cubicBezTo>
                <a:cubicBezTo>
                  <a:pt x="261" y="356"/>
                  <a:pt x="259" y="359"/>
                  <a:pt x="256" y="361"/>
                </a:cubicBezTo>
                <a:cubicBezTo>
                  <a:pt x="250" y="364"/>
                  <a:pt x="243" y="362"/>
                  <a:pt x="239" y="357"/>
                </a:cubicBezTo>
                <a:cubicBezTo>
                  <a:pt x="239" y="357"/>
                  <a:pt x="239" y="357"/>
                  <a:pt x="239" y="35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0" y="325"/>
                  <a:pt x="220" y="325"/>
                  <a:pt x="220" y="325"/>
                </a:cubicBezTo>
                <a:cubicBezTo>
                  <a:pt x="217" y="320"/>
                  <a:pt x="210" y="319"/>
                  <a:pt x="206" y="322"/>
                </a:cubicBezTo>
                <a:cubicBezTo>
                  <a:pt x="201" y="325"/>
                  <a:pt x="199" y="332"/>
                  <a:pt x="202" y="337"/>
                </a:cubicBezTo>
                <a:cubicBezTo>
                  <a:pt x="210" y="348"/>
                  <a:pt x="210" y="348"/>
                  <a:pt x="210" y="348"/>
                </a:cubicBezTo>
                <a:cubicBezTo>
                  <a:pt x="211" y="350"/>
                  <a:pt x="214" y="358"/>
                  <a:pt x="207" y="363"/>
                </a:cubicBezTo>
                <a:cubicBezTo>
                  <a:pt x="201" y="366"/>
                  <a:pt x="193" y="362"/>
                  <a:pt x="190" y="357"/>
                </a:cubicBezTo>
                <a:cubicBezTo>
                  <a:pt x="158" y="304"/>
                  <a:pt x="158" y="304"/>
                  <a:pt x="158" y="304"/>
                </a:cubicBezTo>
                <a:cubicBezTo>
                  <a:pt x="156" y="300"/>
                  <a:pt x="153" y="298"/>
                  <a:pt x="149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84" y="202"/>
                  <a:pt x="184" y="202"/>
                  <a:pt x="184" y="202"/>
                </a:cubicBezTo>
                <a:cubicBezTo>
                  <a:pt x="176" y="207"/>
                  <a:pt x="176" y="207"/>
                  <a:pt x="176" y="207"/>
                </a:cubicBezTo>
                <a:cubicBezTo>
                  <a:pt x="166" y="213"/>
                  <a:pt x="160" y="223"/>
                  <a:pt x="160" y="234"/>
                </a:cubicBezTo>
                <a:cubicBezTo>
                  <a:pt x="160" y="244"/>
                  <a:pt x="164" y="254"/>
                  <a:pt x="170" y="260"/>
                </a:cubicBezTo>
                <a:cubicBezTo>
                  <a:pt x="177" y="265"/>
                  <a:pt x="185" y="267"/>
                  <a:pt x="193" y="266"/>
                </a:cubicBezTo>
                <a:cubicBezTo>
                  <a:pt x="307" y="247"/>
                  <a:pt x="307" y="247"/>
                  <a:pt x="307" y="247"/>
                </a:cubicBezTo>
                <a:lnTo>
                  <a:pt x="349" y="319"/>
                </a:lnTo>
                <a:close/>
                <a:moveTo>
                  <a:pt x="341" y="202"/>
                </a:moveTo>
                <a:cubicBezTo>
                  <a:pt x="384" y="202"/>
                  <a:pt x="384" y="202"/>
                  <a:pt x="384" y="202"/>
                </a:cubicBezTo>
                <a:cubicBezTo>
                  <a:pt x="384" y="298"/>
                  <a:pt x="384" y="298"/>
                  <a:pt x="384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2" y="298"/>
                  <a:pt x="362" y="299"/>
                  <a:pt x="361" y="299"/>
                </a:cubicBezTo>
                <a:cubicBezTo>
                  <a:pt x="322" y="230"/>
                  <a:pt x="322" y="230"/>
                  <a:pt x="322" y="230"/>
                </a:cubicBezTo>
                <a:cubicBezTo>
                  <a:pt x="320" y="226"/>
                  <a:pt x="316" y="224"/>
                  <a:pt x="311" y="225"/>
                </a:cubicBezTo>
                <a:cubicBezTo>
                  <a:pt x="190" y="245"/>
                  <a:pt x="190" y="245"/>
                  <a:pt x="190" y="245"/>
                </a:cubicBezTo>
                <a:cubicBezTo>
                  <a:pt x="187" y="246"/>
                  <a:pt x="185" y="245"/>
                  <a:pt x="184" y="244"/>
                </a:cubicBezTo>
                <a:cubicBezTo>
                  <a:pt x="182" y="242"/>
                  <a:pt x="181" y="238"/>
                  <a:pt x="181" y="234"/>
                </a:cubicBezTo>
                <a:cubicBezTo>
                  <a:pt x="181" y="229"/>
                  <a:pt x="184" y="227"/>
                  <a:pt x="186" y="226"/>
                </a:cubicBezTo>
                <a:cubicBezTo>
                  <a:pt x="268" y="182"/>
                  <a:pt x="268" y="182"/>
                  <a:pt x="268" y="182"/>
                </a:cubicBezTo>
                <a:cubicBezTo>
                  <a:pt x="338" y="202"/>
                  <a:pt x="338" y="202"/>
                  <a:pt x="338" y="202"/>
                </a:cubicBezTo>
                <a:cubicBezTo>
                  <a:pt x="339" y="202"/>
                  <a:pt x="340" y="202"/>
                  <a:pt x="341" y="20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7" name="Group 192"/>
          <p:cNvGrpSpPr>
            <a:grpSpLocks noChangeAspect="1"/>
          </p:cNvGrpSpPr>
          <p:nvPr/>
        </p:nvGrpSpPr>
        <p:grpSpPr bwMode="auto">
          <a:xfrm>
            <a:off x="6898629" y="4528376"/>
            <a:ext cx="367041" cy="367041"/>
            <a:chOff x="378" y="713"/>
            <a:chExt cx="340" cy="340"/>
          </a:xfrm>
          <a:solidFill>
            <a:schemeClr val="accent3"/>
          </a:solidFill>
        </p:grpSpPr>
        <p:sp>
          <p:nvSpPr>
            <p:cNvPr id="338" name="Freeform 193"/>
            <p:cNvSpPr>
              <a:spLocks noEditPoints="1"/>
            </p:cNvSpPr>
            <p:nvPr/>
          </p:nvSpPr>
          <p:spPr bwMode="auto">
            <a:xfrm>
              <a:off x="378" y="7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194"/>
            <p:cNvSpPr>
              <a:spLocks noEditPoints="1"/>
            </p:cNvSpPr>
            <p:nvPr/>
          </p:nvSpPr>
          <p:spPr bwMode="auto">
            <a:xfrm>
              <a:off x="442" y="812"/>
              <a:ext cx="212" cy="157"/>
            </a:xfrm>
            <a:custGeom>
              <a:avLst/>
              <a:gdLst>
                <a:gd name="T0" fmla="*/ 309 w 320"/>
                <a:gd name="T1" fmla="*/ 21 h 236"/>
                <a:gd name="T2" fmla="*/ 309 w 320"/>
                <a:gd name="T3" fmla="*/ 0 h 236"/>
                <a:gd name="T4" fmla="*/ 288 w 320"/>
                <a:gd name="T5" fmla="*/ 11 h 236"/>
                <a:gd name="T6" fmla="*/ 247 w 320"/>
                <a:gd name="T7" fmla="*/ 32 h 236"/>
                <a:gd name="T8" fmla="*/ 165 w 320"/>
                <a:gd name="T9" fmla="*/ 12 h 236"/>
                <a:gd name="T10" fmla="*/ 128 w 320"/>
                <a:gd name="T11" fmla="*/ 32 h 236"/>
                <a:gd name="T12" fmla="*/ 32 w 320"/>
                <a:gd name="T13" fmla="*/ 11 h 236"/>
                <a:gd name="T14" fmla="*/ 10 w 320"/>
                <a:gd name="T15" fmla="*/ 0 h 236"/>
                <a:gd name="T16" fmla="*/ 10 w 320"/>
                <a:gd name="T17" fmla="*/ 21 h 236"/>
                <a:gd name="T18" fmla="*/ 0 w 320"/>
                <a:gd name="T19" fmla="*/ 181 h 236"/>
                <a:gd name="T20" fmla="*/ 21 w 320"/>
                <a:gd name="T21" fmla="*/ 192 h 236"/>
                <a:gd name="T22" fmla="*/ 32 w 320"/>
                <a:gd name="T23" fmla="*/ 171 h 236"/>
                <a:gd name="T24" fmla="*/ 76 w 320"/>
                <a:gd name="T25" fmla="*/ 219 h 236"/>
                <a:gd name="T26" fmla="*/ 121 w 320"/>
                <a:gd name="T27" fmla="*/ 232 h 236"/>
                <a:gd name="T28" fmla="*/ 154 w 320"/>
                <a:gd name="T29" fmla="*/ 235 h 236"/>
                <a:gd name="T30" fmla="*/ 181 w 320"/>
                <a:gd name="T31" fmla="*/ 221 h 236"/>
                <a:gd name="T32" fmla="*/ 222 w 320"/>
                <a:gd name="T33" fmla="*/ 227 h 236"/>
                <a:gd name="T34" fmla="*/ 242 w 320"/>
                <a:gd name="T35" fmla="*/ 210 h 236"/>
                <a:gd name="T36" fmla="*/ 275 w 320"/>
                <a:gd name="T37" fmla="*/ 185 h 236"/>
                <a:gd name="T38" fmla="*/ 288 w 320"/>
                <a:gd name="T39" fmla="*/ 171 h 236"/>
                <a:gd name="T40" fmla="*/ 298 w 320"/>
                <a:gd name="T41" fmla="*/ 192 h 236"/>
                <a:gd name="T42" fmla="*/ 320 w 320"/>
                <a:gd name="T43" fmla="*/ 181 h 236"/>
                <a:gd name="T44" fmla="*/ 254 w 320"/>
                <a:gd name="T45" fmla="*/ 179 h 236"/>
                <a:gd name="T46" fmla="*/ 239 w 320"/>
                <a:gd name="T47" fmla="*/ 188 h 236"/>
                <a:gd name="T48" fmla="*/ 232 w 320"/>
                <a:gd name="T49" fmla="*/ 183 h 236"/>
                <a:gd name="T50" fmla="*/ 198 w 320"/>
                <a:gd name="T51" fmla="*/ 125 h 236"/>
                <a:gd name="T52" fmla="*/ 179 w 320"/>
                <a:gd name="T53" fmla="*/ 135 h 236"/>
                <a:gd name="T54" fmla="*/ 214 w 320"/>
                <a:gd name="T55" fmla="*/ 194 h 236"/>
                <a:gd name="T56" fmla="*/ 194 w 320"/>
                <a:gd name="T57" fmla="*/ 204 h 236"/>
                <a:gd name="T58" fmla="*/ 147 w 320"/>
                <a:gd name="T59" fmla="*/ 147 h 236"/>
                <a:gd name="T60" fmla="*/ 164 w 320"/>
                <a:gd name="T61" fmla="*/ 196 h 236"/>
                <a:gd name="T62" fmla="*/ 160 w 320"/>
                <a:gd name="T63" fmla="*/ 212 h 236"/>
                <a:gd name="T64" fmla="*/ 143 w 320"/>
                <a:gd name="T65" fmla="*/ 208 h 236"/>
                <a:gd name="T66" fmla="*/ 132 w 320"/>
                <a:gd name="T67" fmla="*/ 188 h 236"/>
                <a:gd name="T68" fmla="*/ 124 w 320"/>
                <a:gd name="T69" fmla="*/ 176 h 236"/>
                <a:gd name="T70" fmla="*/ 106 w 320"/>
                <a:gd name="T71" fmla="*/ 188 h 236"/>
                <a:gd name="T72" fmla="*/ 111 w 320"/>
                <a:gd name="T73" fmla="*/ 214 h 236"/>
                <a:gd name="T74" fmla="*/ 62 w 320"/>
                <a:gd name="T75" fmla="*/ 155 h 236"/>
                <a:gd name="T76" fmla="*/ 32 w 320"/>
                <a:gd name="T77" fmla="*/ 149 h 236"/>
                <a:gd name="T78" fmla="*/ 88 w 320"/>
                <a:gd name="T79" fmla="*/ 53 h 236"/>
                <a:gd name="T80" fmla="*/ 64 w 320"/>
                <a:gd name="T81" fmla="*/ 85 h 236"/>
                <a:gd name="T82" fmla="*/ 97 w 320"/>
                <a:gd name="T83" fmla="*/ 117 h 236"/>
                <a:gd name="T84" fmla="*/ 253 w 320"/>
                <a:gd name="T85" fmla="*/ 170 h 236"/>
                <a:gd name="T86" fmla="*/ 288 w 320"/>
                <a:gd name="T87" fmla="*/ 149 h 236"/>
                <a:gd name="T88" fmla="*/ 265 w 320"/>
                <a:gd name="T89" fmla="*/ 150 h 236"/>
                <a:gd name="T90" fmla="*/ 215 w 320"/>
                <a:gd name="T91" fmla="*/ 76 h 236"/>
                <a:gd name="T92" fmla="*/ 88 w 320"/>
                <a:gd name="T93" fmla="*/ 95 h 236"/>
                <a:gd name="T94" fmla="*/ 90 w 320"/>
                <a:gd name="T95" fmla="*/ 77 h 236"/>
                <a:gd name="T96" fmla="*/ 242 w 320"/>
                <a:gd name="T97" fmla="*/ 53 h 236"/>
                <a:gd name="T98" fmla="*/ 288 w 320"/>
                <a:gd name="T99" fmla="*/ 5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0" h="236">
                  <a:moveTo>
                    <a:pt x="309" y="171"/>
                  </a:move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292" y="0"/>
                    <a:pt x="288" y="5"/>
                    <a:pt x="288" y="11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7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7" y="192"/>
                    <a:pt x="32" y="187"/>
                    <a:pt x="32" y="18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47" y="171"/>
                    <a:pt x="47" y="171"/>
                    <a:pt x="47" y="171"/>
                  </a:cubicBezTo>
                  <a:cubicBezTo>
                    <a:pt x="76" y="219"/>
                    <a:pt x="76" y="219"/>
                    <a:pt x="76" y="219"/>
                  </a:cubicBezTo>
                  <a:cubicBezTo>
                    <a:pt x="82" y="230"/>
                    <a:pt x="94" y="236"/>
                    <a:pt x="106" y="236"/>
                  </a:cubicBezTo>
                  <a:cubicBezTo>
                    <a:pt x="111" y="236"/>
                    <a:pt x="116" y="235"/>
                    <a:pt x="121" y="232"/>
                  </a:cubicBezTo>
                  <a:cubicBezTo>
                    <a:pt x="125" y="230"/>
                    <a:pt x="128" y="227"/>
                    <a:pt x="130" y="225"/>
                  </a:cubicBezTo>
                  <a:cubicBezTo>
                    <a:pt x="136" y="231"/>
                    <a:pt x="145" y="235"/>
                    <a:pt x="154" y="235"/>
                  </a:cubicBezTo>
                  <a:cubicBezTo>
                    <a:pt x="160" y="235"/>
                    <a:pt x="165" y="233"/>
                    <a:pt x="171" y="230"/>
                  </a:cubicBezTo>
                  <a:cubicBezTo>
                    <a:pt x="175" y="228"/>
                    <a:pt x="178" y="225"/>
                    <a:pt x="181" y="221"/>
                  </a:cubicBezTo>
                  <a:cubicBezTo>
                    <a:pt x="187" y="228"/>
                    <a:pt x="196" y="232"/>
                    <a:pt x="205" y="232"/>
                  </a:cubicBezTo>
                  <a:cubicBezTo>
                    <a:pt x="211" y="232"/>
                    <a:pt x="217" y="231"/>
                    <a:pt x="222" y="227"/>
                  </a:cubicBezTo>
                  <a:cubicBezTo>
                    <a:pt x="229" y="223"/>
                    <a:pt x="234" y="216"/>
                    <a:pt x="236" y="209"/>
                  </a:cubicBezTo>
                  <a:cubicBezTo>
                    <a:pt x="238" y="209"/>
                    <a:pt x="240" y="210"/>
                    <a:pt x="242" y="210"/>
                  </a:cubicBezTo>
                  <a:cubicBezTo>
                    <a:pt x="248" y="210"/>
                    <a:pt x="254" y="208"/>
                    <a:pt x="259" y="205"/>
                  </a:cubicBezTo>
                  <a:cubicBezTo>
                    <a:pt x="267" y="201"/>
                    <a:pt x="272" y="193"/>
                    <a:pt x="275" y="185"/>
                  </a:cubicBezTo>
                  <a:cubicBezTo>
                    <a:pt x="276" y="180"/>
                    <a:pt x="276" y="175"/>
                    <a:pt x="275" y="171"/>
                  </a:cubicBezTo>
                  <a:cubicBezTo>
                    <a:pt x="288" y="171"/>
                    <a:pt x="288" y="171"/>
                    <a:pt x="288" y="17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7"/>
                    <a:pt x="292" y="192"/>
                    <a:pt x="29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175"/>
                    <a:pt x="315" y="171"/>
                    <a:pt x="309" y="171"/>
                  </a:cubicBezTo>
                  <a:close/>
                  <a:moveTo>
                    <a:pt x="254" y="179"/>
                  </a:moveTo>
                  <a:cubicBezTo>
                    <a:pt x="253" y="183"/>
                    <a:pt x="251" y="185"/>
                    <a:pt x="248" y="187"/>
                  </a:cubicBezTo>
                  <a:cubicBezTo>
                    <a:pt x="246" y="188"/>
                    <a:pt x="242" y="189"/>
                    <a:pt x="239" y="188"/>
                  </a:cubicBezTo>
                  <a:cubicBezTo>
                    <a:pt x="236" y="187"/>
                    <a:pt x="234" y="185"/>
                    <a:pt x="232" y="183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232" y="183"/>
                    <a:pt x="232" y="183"/>
                    <a:pt x="232" y="182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5" y="119"/>
                    <a:pt x="188" y="118"/>
                    <a:pt x="183" y="121"/>
                  </a:cubicBezTo>
                  <a:cubicBezTo>
                    <a:pt x="178" y="124"/>
                    <a:pt x="176" y="130"/>
                    <a:pt x="179" y="135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7" y="199"/>
                    <a:pt x="217" y="206"/>
                    <a:pt x="211" y="209"/>
                  </a:cubicBezTo>
                  <a:cubicBezTo>
                    <a:pt x="205" y="212"/>
                    <a:pt x="198" y="210"/>
                    <a:pt x="194" y="204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59" y="146"/>
                    <a:pt x="153" y="144"/>
                    <a:pt x="147" y="147"/>
                  </a:cubicBezTo>
                  <a:cubicBezTo>
                    <a:pt x="142" y="150"/>
                    <a:pt x="141" y="157"/>
                    <a:pt x="144" y="162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6" y="201"/>
                    <a:pt x="165" y="204"/>
                  </a:cubicBezTo>
                  <a:cubicBezTo>
                    <a:pt x="165" y="207"/>
                    <a:pt x="163" y="210"/>
                    <a:pt x="160" y="212"/>
                  </a:cubicBezTo>
                  <a:cubicBezTo>
                    <a:pt x="154" y="215"/>
                    <a:pt x="147" y="213"/>
                    <a:pt x="143" y="208"/>
                  </a:cubicBezTo>
                  <a:cubicBezTo>
                    <a:pt x="143" y="208"/>
                    <a:pt x="143" y="208"/>
                    <a:pt x="143" y="20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1" y="171"/>
                    <a:pt x="114" y="170"/>
                    <a:pt x="110" y="173"/>
                  </a:cubicBezTo>
                  <a:cubicBezTo>
                    <a:pt x="105" y="176"/>
                    <a:pt x="103" y="183"/>
                    <a:pt x="106" y="188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15" y="201"/>
                    <a:pt x="118" y="209"/>
                    <a:pt x="111" y="214"/>
                  </a:cubicBezTo>
                  <a:cubicBezTo>
                    <a:pt x="105" y="217"/>
                    <a:pt x="97" y="213"/>
                    <a:pt x="94" y="20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60" y="151"/>
                    <a:pt x="57" y="149"/>
                    <a:pt x="5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0" y="64"/>
                    <a:pt x="64" y="74"/>
                    <a:pt x="64" y="85"/>
                  </a:cubicBezTo>
                  <a:cubicBezTo>
                    <a:pt x="64" y="95"/>
                    <a:pt x="68" y="105"/>
                    <a:pt x="74" y="111"/>
                  </a:cubicBezTo>
                  <a:cubicBezTo>
                    <a:pt x="81" y="116"/>
                    <a:pt x="89" y="118"/>
                    <a:pt x="97" y="117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253" y="170"/>
                    <a:pt x="253" y="170"/>
                    <a:pt x="253" y="170"/>
                  </a:cubicBezTo>
                  <a:cubicBezTo>
                    <a:pt x="254" y="173"/>
                    <a:pt x="255" y="176"/>
                    <a:pt x="254" y="179"/>
                  </a:cubicBezTo>
                  <a:close/>
                  <a:moveTo>
                    <a:pt x="288" y="149"/>
                  </a:moveTo>
                  <a:cubicBezTo>
                    <a:pt x="266" y="149"/>
                    <a:pt x="266" y="149"/>
                    <a:pt x="266" y="149"/>
                  </a:cubicBezTo>
                  <a:cubicBezTo>
                    <a:pt x="266" y="149"/>
                    <a:pt x="266" y="150"/>
                    <a:pt x="265" y="150"/>
                  </a:cubicBezTo>
                  <a:cubicBezTo>
                    <a:pt x="226" y="81"/>
                    <a:pt x="226" y="81"/>
                    <a:pt x="226" y="81"/>
                  </a:cubicBezTo>
                  <a:cubicBezTo>
                    <a:pt x="224" y="77"/>
                    <a:pt x="220" y="75"/>
                    <a:pt x="215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1" y="97"/>
                    <a:pt x="89" y="96"/>
                    <a:pt x="88" y="95"/>
                  </a:cubicBezTo>
                  <a:cubicBezTo>
                    <a:pt x="86" y="93"/>
                    <a:pt x="85" y="89"/>
                    <a:pt x="85" y="85"/>
                  </a:cubicBezTo>
                  <a:cubicBezTo>
                    <a:pt x="85" y="80"/>
                    <a:pt x="88" y="78"/>
                    <a:pt x="90" y="77"/>
                  </a:cubicBezTo>
                  <a:cubicBezTo>
                    <a:pt x="172" y="33"/>
                    <a:pt x="172" y="33"/>
                    <a:pt x="172" y="3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43" y="53"/>
                    <a:pt x="244" y="53"/>
                    <a:pt x="245" y="53"/>
                  </a:cubicBezTo>
                  <a:cubicBezTo>
                    <a:pt x="288" y="53"/>
                    <a:pt x="288" y="53"/>
                    <a:pt x="288" y="53"/>
                  </a:cubicBezTo>
                  <a:lnTo>
                    <a:pt x="288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0" name="TextBox 339"/>
          <p:cNvSpPr txBox="1"/>
          <p:nvPr/>
        </p:nvSpPr>
        <p:spPr>
          <a:xfrm>
            <a:off x="8398339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Non-visible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7403797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No entry</a:t>
            </a:r>
          </a:p>
        </p:txBody>
      </p:sp>
      <p:sp>
        <p:nvSpPr>
          <p:cNvPr id="342" name="Freeform 1002"/>
          <p:cNvSpPr>
            <a:spLocks noChangeAspect="1" noEditPoints="1"/>
          </p:cNvSpPr>
          <p:nvPr/>
        </p:nvSpPr>
        <p:spPr bwMode="auto">
          <a:xfrm>
            <a:off x="7395733" y="4528376"/>
            <a:ext cx="367041" cy="367041"/>
          </a:xfrm>
          <a:custGeom>
            <a:avLst/>
            <a:gdLst>
              <a:gd name="T0" fmla="*/ 151 w 512"/>
              <a:gd name="T1" fmla="*/ 166 h 512"/>
              <a:gd name="T2" fmla="*/ 346 w 512"/>
              <a:gd name="T3" fmla="*/ 362 h 512"/>
              <a:gd name="T4" fmla="*/ 256 w 512"/>
              <a:gd name="T5" fmla="*/ 395 h 512"/>
              <a:gd name="T6" fmla="*/ 117 w 512"/>
              <a:gd name="T7" fmla="*/ 256 h 512"/>
              <a:gd name="T8" fmla="*/ 151 w 512"/>
              <a:gd name="T9" fmla="*/ 166 h 512"/>
              <a:gd name="T10" fmla="*/ 256 w 512"/>
              <a:gd name="T11" fmla="*/ 118 h 512"/>
              <a:gd name="T12" fmla="*/ 166 w 512"/>
              <a:gd name="T13" fmla="*/ 151 h 512"/>
              <a:gd name="T14" fmla="*/ 361 w 512"/>
              <a:gd name="T15" fmla="*/ 346 h 512"/>
              <a:gd name="T16" fmla="*/ 395 w 512"/>
              <a:gd name="T17" fmla="*/ 256 h 512"/>
              <a:gd name="T18" fmla="*/ 256 w 512"/>
              <a:gd name="T19" fmla="*/ 118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416 w 512"/>
              <a:gd name="T31" fmla="*/ 256 h 512"/>
              <a:gd name="T32" fmla="*/ 256 w 512"/>
              <a:gd name="T33" fmla="*/ 96 h 512"/>
              <a:gd name="T34" fmla="*/ 96 w 512"/>
              <a:gd name="T35" fmla="*/ 256 h 512"/>
              <a:gd name="T36" fmla="*/ 256 w 512"/>
              <a:gd name="T37" fmla="*/ 416 h 512"/>
              <a:gd name="T38" fmla="*/ 416 w 512"/>
              <a:gd name="T3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12" h="512">
                <a:moveTo>
                  <a:pt x="151" y="166"/>
                </a:moveTo>
                <a:cubicBezTo>
                  <a:pt x="346" y="362"/>
                  <a:pt x="346" y="362"/>
                  <a:pt x="346" y="362"/>
                </a:cubicBezTo>
                <a:cubicBezTo>
                  <a:pt x="322" y="382"/>
                  <a:pt x="290" y="395"/>
                  <a:pt x="256" y="395"/>
                </a:cubicBezTo>
                <a:cubicBezTo>
                  <a:pt x="180" y="395"/>
                  <a:pt x="117" y="333"/>
                  <a:pt x="117" y="256"/>
                </a:cubicBezTo>
                <a:cubicBezTo>
                  <a:pt x="117" y="222"/>
                  <a:pt x="130" y="190"/>
                  <a:pt x="151" y="166"/>
                </a:cubicBezTo>
                <a:close/>
                <a:moveTo>
                  <a:pt x="256" y="118"/>
                </a:moveTo>
                <a:cubicBezTo>
                  <a:pt x="222" y="118"/>
                  <a:pt x="190" y="130"/>
                  <a:pt x="166" y="151"/>
                </a:cubicBezTo>
                <a:cubicBezTo>
                  <a:pt x="361" y="346"/>
                  <a:pt x="361" y="346"/>
                  <a:pt x="361" y="346"/>
                </a:cubicBezTo>
                <a:cubicBezTo>
                  <a:pt x="382" y="322"/>
                  <a:pt x="395" y="291"/>
                  <a:pt x="395" y="256"/>
                </a:cubicBezTo>
                <a:cubicBezTo>
                  <a:pt x="395" y="180"/>
                  <a:pt x="332" y="118"/>
                  <a:pt x="256" y="118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416" y="256"/>
                </a:moveTo>
                <a:cubicBezTo>
                  <a:pt x="416" y="168"/>
                  <a:pt x="344" y="96"/>
                  <a:pt x="256" y="96"/>
                </a:cubicBezTo>
                <a:cubicBezTo>
                  <a:pt x="168" y="96"/>
                  <a:pt x="96" y="168"/>
                  <a:pt x="96" y="256"/>
                </a:cubicBezTo>
                <a:cubicBezTo>
                  <a:pt x="96" y="345"/>
                  <a:pt x="168" y="416"/>
                  <a:pt x="256" y="416"/>
                </a:cubicBezTo>
                <a:cubicBezTo>
                  <a:pt x="344" y="416"/>
                  <a:pt x="416" y="345"/>
                  <a:pt x="416" y="2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3" name="Group 1005"/>
          <p:cNvGrpSpPr>
            <a:grpSpLocks noChangeAspect="1"/>
          </p:cNvGrpSpPr>
          <p:nvPr/>
        </p:nvGrpSpPr>
        <p:grpSpPr bwMode="auto">
          <a:xfrm>
            <a:off x="7892837" y="4528376"/>
            <a:ext cx="367041" cy="367041"/>
            <a:chOff x="4268" y="3995"/>
            <a:chExt cx="340" cy="340"/>
          </a:xfrm>
          <a:solidFill>
            <a:schemeClr val="accent5"/>
          </a:solidFill>
        </p:grpSpPr>
        <p:sp>
          <p:nvSpPr>
            <p:cNvPr id="344" name="Freeform 1006"/>
            <p:cNvSpPr>
              <a:spLocks noEditPoints="1"/>
            </p:cNvSpPr>
            <p:nvPr/>
          </p:nvSpPr>
          <p:spPr bwMode="auto">
            <a:xfrm>
              <a:off x="4332" y="4059"/>
              <a:ext cx="212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99 w 320"/>
                <a:gd name="T11" fmla="*/ 160 h 320"/>
                <a:gd name="T12" fmla="*/ 265 w 320"/>
                <a:gd name="T13" fmla="*/ 250 h 320"/>
                <a:gd name="T14" fmla="*/ 70 w 320"/>
                <a:gd name="T15" fmla="*/ 55 h 320"/>
                <a:gd name="T16" fmla="*/ 160 w 320"/>
                <a:gd name="T17" fmla="*/ 22 h 320"/>
                <a:gd name="T18" fmla="*/ 299 w 320"/>
                <a:gd name="T19" fmla="*/ 160 h 320"/>
                <a:gd name="T20" fmla="*/ 21 w 320"/>
                <a:gd name="T21" fmla="*/ 160 h 320"/>
                <a:gd name="T22" fmla="*/ 55 w 320"/>
                <a:gd name="T23" fmla="*/ 70 h 320"/>
                <a:gd name="T24" fmla="*/ 250 w 320"/>
                <a:gd name="T25" fmla="*/ 266 h 320"/>
                <a:gd name="T26" fmla="*/ 160 w 320"/>
                <a:gd name="T27" fmla="*/ 299 h 320"/>
                <a:gd name="T28" fmla="*/ 21 w 320"/>
                <a:gd name="T29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2" y="0"/>
                    <a:pt x="0" y="72"/>
                    <a:pt x="0" y="160"/>
                  </a:cubicBezTo>
                  <a:cubicBezTo>
                    <a:pt x="0" y="249"/>
                    <a:pt x="72" y="320"/>
                    <a:pt x="160" y="320"/>
                  </a:cubicBezTo>
                  <a:cubicBezTo>
                    <a:pt x="248" y="320"/>
                    <a:pt x="320" y="249"/>
                    <a:pt x="320" y="160"/>
                  </a:cubicBezTo>
                  <a:cubicBezTo>
                    <a:pt x="320" y="72"/>
                    <a:pt x="248" y="0"/>
                    <a:pt x="160" y="0"/>
                  </a:cubicBezTo>
                  <a:close/>
                  <a:moveTo>
                    <a:pt x="299" y="160"/>
                  </a:moveTo>
                  <a:cubicBezTo>
                    <a:pt x="299" y="195"/>
                    <a:pt x="286" y="226"/>
                    <a:pt x="265" y="250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94" y="34"/>
                    <a:pt x="126" y="22"/>
                    <a:pt x="160" y="22"/>
                  </a:cubicBezTo>
                  <a:cubicBezTo>
                    <a:pt x="236" y="22"/>
                    <a:pt x="299" y="84"/>
                    <a:pt x="299" y="160"/>
                  </a:cubicBezTo>
                  <a:close/>
                  <a:moveTo>
                    <a:pt x="21" y="160"/>
                  </a:moveTo>
                  <a:cubicBezTo>
                    <a:pt x="21" y="126"/>
                    <a:pt x="34" y="94"/>
                    <a:pt x="55" y="70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26" y="286"/>
                    <a:pt x="194" y="299"/>
                    <a:pt x="160" y="299"/>
                  </a:cubicBezTo>
                  <a:cubicBezTo>
                    <a:pt x="84" y="299"/>
                    <a:pt x="21" y="237"/>
                    <a:pt x="21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1007"/>
            <p:cNvSpPr>
              <a:spLocks noEditPoints="1"/>
            </p:cNvSpPr>
            <p:nvPr/>
          </p:nvSpPr>
          <p:spPr bwMode="auto">
            <a:xfrm>
              <a:off x="4268" y="3995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6" name="Freeform 1011"/>
          <p:cNvSpPr>
            <a:spLocks noChangeAspect="1" noEditPoints="1"/>
          </p:cNvSpPr>
          <p:nvPr/>
        </p:nvSpPr>
        <p:spPr bwMode="auto">
          <a:xfrm>
            <a:off x="8389941" y="4528376"/>
            <a:ext cx="367041" cy="367041"/>
          </a:xfrm>
          <a:custGeom>
            <a:avLst/>
            <a:gdLst>
              <a:gd name="T0" fmla="*/ 211 w 512"/>
              <a:gd name="T1" fmla="*/ 285 h 512"/>
              <a:gd name="T2" fmla="*/ 185 w 512"/>
              <a:gd name="T3" fmla="*/ 311 h 512"/>
              <a:gd name="T4" fmla="*/ 121 w 512"/>
              <a:gd name="T5" fmla="*/ 256 h 512"/>
              <a:gd name="T6" fmla="*/ 257 w 512"/>
              <a:gd name="T7" fmla="*/ 181 h 512"/>
              <a:gd name="T8" fmla="*/ 306 w 512"/>
              <a:gd name="T9" fmla="*/ 190 h 512"/>
              <a:gd name="T10" fmla="*/ 285 w 512"/>
              <a:gd name="T11" fmla="*/ 211 h 512"/>
              <a:gd name="T12" fmla="*/ 256 w 512"/>
              <a:gd name="T13" fmla="*/ 202 h 512"/>
              <a:gd name="T14" fmla="*/ 202 w 512"/>
              <a:gd name="T15" fmla="*/ 256 h 512"/>
              <a:gd name="T16" fmla="*/ 211 w 512"/>
              <a:gd name="T17" fmla="*/ 285 h 512"/>
              <a:gd name="T18" fmla="*/ 224 w 512"/>
              <a:gd name="T19" fmla="*/ 256 h 512"/>
              <a:gd name="T20" fmla="*/ 227 w 512"/>
              <a:gd name="T21" fmla="*/ 269 h 512"/>
              <a:gd name="T22" fmla="*/ 269 w 512"/>
              <a:gd name="T23" fmla="*/ 227 h 512"/>
              <a:gd name="T24" fmla="*/ 256 w 512"/>
              <a:gd name="T25" fmla="*/ 224 h 512"/>
              <a:gd name="T26" fmla="*/ 224 w 512"/>
              <a:gd name="T27" fmla="*/ 256 h 512"/>
              <a:gd name="T28" fmla="*/ 288 w 512"/>
              <a:gd name="T29" fmla="*/ 256 h 512"/>
              <a:gd name="T30" fmla="*/ 284 w 512"/>
              <a:gd name="T31" fmla="*/ 242 h 512"/>
              <a:gd name="T32" fmla="*/ 242 w 512"/>
              <a:gd name="T33" fmla="*/ 284 h 512"/>
              <a:gd name="T34" fmla="*/ 256 w 512"/>
              <a:gd name="T35" fmla="*/ 288 h 512"/>
              <a:gd name="T36" fmla="*/ 288 w 512"/>
              <a:gd name="T37" fmla="*/ 256 h 512"/>
              <a:gd name="T38" fmla="*/ 327 w 512"/>
              <a:gd name="T39" fmla="*/ 199 h 512"/>
              <a:gd name="T40" fmla="*/ 300 w 512"/>
              <a:gd name="T41" fmla="*/ 226 h 512"/>
              <a:gd name="T42" fmla="*/ 309 w 512"/>
              <a:gd name="T43" fmla="*/ 256 h 512"/>
              <a:gd name="T44" fmla="*/ 256 w 512"/>
              <a:gd name="T45" fmla="*/ 309 h 512"/>
              <a:gd name="T46" fmla="*/ 226 w 512"/>
              <a:gd name="T47" fmla="*/ 300 h 512"/>
              <a:gd name="T48" fmla="*/ 206 w 512"/>
              <a:gd name="T49" fmla="*/ 321 h 512"/>
              <a:gd name="T50" fmla="*/ 257 w 512"/>
              <a:gd name="T51" fmla="*/ 330 h 512"/>
              <a:gd name="T52" fmla="*/ 392 w 512"/>
              <a:gd name="T53" fmla="*/ 256 h 512"/>
              <a:gd name="T54" fmla="*/ 327 w 512"/>
              <a:gd name="T55" fmla="*/ 199 h 512"/>
              <a:gd name="T56" fmla="*/ 512 w 512"/>
              <a:gd name="T57" fmla="*/ 256 h 512"/>
              <a:gd name="T58" fmla="*/ 256 w 512"/>
              <a:gd name="T59" fmla="*/ 512 h 512"/>
              <a:gd name="T60" fmla="*/ 0 w 512"/>
              <a:gd name="T61" fmla="*/ 256 h 512"/>
              <a:gd name="T62" fmla="*/ 256 w 512"/>
              <a:gd name="T63" fmla="*/ 0 h 512"/>
              <a:gd name="T64" fmla="*/ 512 w 512"/>
              <a:gd name="T65" fmla="*/ 256 h 512"/>
              <a:gd name="T66" fmla="*/ 415 w 512"/>
              <a:gd name="T67" fmla="*/ 255 h 512"/>
              <a:gd name="T68" fmla="*/ 414 w 512"/>
              <a:gd name="T69" fmla="*/ 250 h 512"/>
              <a:gd name="T70" fmla="*/ 343 w 512"/>
              <a:gd name="T71" fmla="*/ 184 h 512"/>
              <a:gd name="T72" fmla="*/ 381 w 512"/>
              <a:gd name="T73" fmla="*/ 146 h 512"/>
              <a:gd name="T74" fmla="*/ 381 w 512"/>
              <a:gd name="T75" fmla="*/ 131 h 512"/>
              <a:gd name="T76" fmla="*/ 365 w 512"/>
              <a:gd name="T77" fmla="*/ 131 h 512"/>
              <a:gd name="T78" fmla="*/ 323 w 512"/>
              <a:gd name="T79" fmla="*/ 174 h 512"/>
              <a:gd name="T80" fmla="*/ 257 w 512"/>
              <a:gd name="T81" fmla="*/ 160 h 512"/>
              <a:gd name="T82" fmla="*/ 99 w 512"/>
              <a:gd name="T83" fmla="*/ 249 h 512"/>
              <a:gd name="T84" fmla="*/ 98 w 512"/>
              <a:gd name="T85" fmla="*/ 256 h 512"/>
              <a:gd name="T86" fmla="*/ 99 w 512"/>
              <a:gd name="T87" fmla="*/ 261 h 512"/>
              <a:gd name="T88" fmla="*/ 169 w 512"/>
              <a:gd name="T89" fmla="*/ 327 h 512"/>
              <a:gd name="T90" fmla="*/ 131 w 512"/>
              <a:gd name="T91" fmla="*/ 365 h 512"/>
              <a:gd name="T92" fmla="*/ 131 w 512"/>
              <a:gd name="T93" fmla="*/ 381 h 512"/>
              <a:gd name="T94" fmla="*/ 138 w 512"/>
              <a:gd name="T95" fmla="*/ 384 h 512"/>
              <a:gd name="T96" fmla="*/ 146 w 512"/>
              <a:gd name="T97" fmla="*/ 381 h 512"/>
              <a:gd name="T98" fmla="*/ 189 w 512"/>
              <a:gd name="T99" fmla="*/ 337 h 512"/>
              <a:gd name="T100" fmla="*/ 257 w 512"/>
              <a:gd name="T101" fmla="*/ 352 h 512"/>
              <a:gd name="T102" fmla="*/ 414 w 512"/>
              <a:gd name="T103" fmla="*/ 262 h 512"/>
              <a:gd name="T104" fmla="*/ 415 w 512"/>
              <a:gd name="T105" fmla="*/ 2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11" y="285"/>
                </a:moveTo>
                <a:cubicBezTo>
                  <a:pt x="185" y="311"/>
                  <a:pt x="185" y="311"/>
                  <a:pt x="185" y="311"/>
                </a:cubicBezTo>
                <a:cubicBezTo>
                  <a:pt x="156" y="296"/>
                  <a:pt x="134" y="273"/>
                  <a:pt x="121" y="256"/>
                </a:cubicBezTo>
                <a:cubicBezTo>
                  <a:pt x="148" y="218"/>
                  <a:pt x="197" y="181"/>
                  <a:pt x="257" y="181"/>
                </a:cubicBezTo>
                <a:cubicBezTo>
                  <a:pt x="274" y="181"/>
                  <a:pt x="291" y="184"/>
                  <a:pt x="306" y="190"/>
                </a:cubicBezTo>
                <a:cubicBezTo>
                  <a:pt x="285" y="211"/>
                  <a:pt x="285" y="211"/>
                  <a:pt x="285" y="211"/>
                </a:cubicBezTo>
                <a:cubicBezTo>
                  <a:pt x="277" y="206"/>
                  <a:pt x="267" y="202"/>
                  <a:pt x="256" y="202"/>
                </a:cubicBezTo>
                <a:cubicBezTo>
                  <a:pt x="226" y="202"/>
                  <a:pt x="202" y="226"/>
                  <a:pt x="202" y="256"/>
                </a:cubicBezTo>
                <a:cubicBezTo>
                  <a:pt x="202" y="267"/>
                  <a:pt x="206" y="277"/>
                  <a:pt x="211" y="285"/>
                </a:cubicBezTo>
                <a:close/>
                <a:moveTo>
                  <a:pt x="224" y="256"/>
                </a:moveTo>
                <a:cubicBezTo>
                  <a:pt x="224" y="261"/>
                  <a:pt x="225" y="265"/>
                  <a:pt x="227" y="269"/>
                </a:cubicBezTo>
                <a:cubicBezTo>
                  <a:pt x="269" y="227"/>
                  <a:pt x="269" y="227"/>
                  <a:pt x="269" y="227"/>
                </a:cubicBezTo>
                <a:cubicBezTo>
                  <a:pt x="265" y="225"/>
                  <a:pt x="261" y="224"/>
                  <a:pt x="256" y="224"/>
                </a:cubicBezTo>
                <a:cubicBezTo>
                  <a:pt x="238" y="224"/>
                  <a:pt x="224" y="238"/>
                  <a:pt x="224" y="256"/>
                </a:cubicBezTo>
                <a:close/>
                <a:moveTo>
                  <a:pt x="288" y="256"/>
                </a:moveTo>
                <a:cubicBezTo>
                  <a:pt x="288" y="251"/>
                  <a:pt x="286" y="246"/>
                  <a:pt x="284" y="242"/>
                </a:cubicBezTo>
                <a:cubicBezTo>
                  <a:pt x="242" y="284"/>
                  <a:pt x="242" y="284"/>
                  <a:pt x="242" y="284"/>
                </a:cubicBezTo>
                <a:cubicBezTo>
                  <a:pt x="246" y="286"/>
                  <a:pt x="251" y="288"/>
                  <a:pt x="256" y="288"/>
                </a:cubicBezTo>
                <a:cubicBezTo>
                  <a:pt x="273" y="288"/>
                  <a:pt x="288" y="273"/>
                  <a:pt x="288" y="256"/>
                </a:cubicBezTo>
                <a:close/>
                <a:moveTo>
                  <a:pt x="327" y="199"/>
                </a:move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45" y="309"/>
                  <a:pt x="235" y="306"/>
                  <a:pt x="226" y="300"/>
                </a:cubicBezTo>
                <a:cubicBezTo>
                  <a:pt x="206" y="321"/>
                  <a:pt x="206" y="321"/>
                  <a:pt x="206" y="321"/>
                </a:cubicBezTo>
                <a:cubicBezTo>
                  <a:pt x="221" y="327"/>
                  <a:pt x="238" y="330"/>
                  <a:pt x="257" y="330"/>
                </a:cubicBezTo>
                <a:cubicBezTo>
                  <a:pt x="316" y="330"/>
                  <a:pt x="365" y="293"/>
                  <a:pt x="392" y="256"/>
                </a:cubicBezTo>
                <a:cubicBezTo>
                  <a:pt x="379" y="238"/>
                  <a:pt x="357" y="215"/>
                  <a:pt x="327" y="19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55"/>
                </a:moveTo>
                <a:cubicBezTo>
                  <a:pt x="415" y="254"/>
                  <a:pt x="415" y="252"/>
                  <a:pt x="414" y="250"/>
                </a:cubicBezTo>
                <a:cubicBezTo>
                  <a:pt x="401" y="230"/>
                  <a:pt x="376" y="203"/>
                  <a:pt x="343" y="184"/>
                </a:cubicBezTo>
                <a:cubicBezTo>
                  <a:pt x="381" y="146"/>
                  <a:pt x="381" y="146"/>
                  <a:pt x="381" y="146"/>
                </a:cubicBezTo>
                <a:cubicBezTo>
                  <a:pt x="385" y="142"/>
                  <a:pt x="385" y="135"/>
                  <a:pt x="381" y="131"/>
                </a:cubicBezTo>
                <a:cubicBezTo>
                  <a:pt x="376" y="127"/>
                  <a:pt x="370" y="127"/>
                  <a:pt x="365" y="131"/>
                </a:cubicBezTo>
                <a:cubicBezTo>
                  <a:pt x="323" y="174"/>
                  <a:pt x="323" y="174"/>
                  <a:pt x="323" y="174"/>
                </a:cubicBezTo>
                <a:cubicBezTo>
                  <a:pt x="303" y="165"/>
                  <a:pt x="281" y="160"/>
                  <a:pt x="257" y="160"/>
                </a:cubicBezTo>
                <a:cubicBezTo>
                  <a:pt x="186" y="160"/>
                  <a:pt x="129" y="206"/>
                  <a:pt x="99" y="249"/>
                </a:cubicBezTo>
                <a:cubicBezTo>
                  <a:pt x="98" y="251"/>
                  <a:pt x="98" y="254"/>
                  <a:pt x="98" y="256"/>
                </a:cubicBezTo>
                <a:cubicBezTo>
                  <a:pt x="98" y="258"/>
                  <a:pt x="98" y="260"/>
                  <a:pt x="99" y="261"/>
                </a:cubicBezTo>
                <a:cubicBezTo>
                  <a:pt x="112" y="281"/>
                  <a:pt x="136" y="308"/>
                  <a:pt x="169" y="327"/>
                </a:cubicBezTo>
                <a:cubicBezTo>
                  <a:pt x="131" y="365"/>
                  <a:pt x="131" y="365"/>
                  <a:pt x="131" y="365"/>
                </a:cubicBezTo>
                <a:cubicBezTo>
                  <a:pt x="127" y="370"/>
                  <a:pt x="127" y="376"/>
                  <a:pt x="131" y="381"/>
                </a:cubicBezTo>
                <a:cubicBezTo>
                  <a:pt x="133" y="383"/>
                  <a:pt x="136" y="384"/>
                  <a:pt x="138" y="384"/>
                </a:cubicBezTo>
                <a:cubicBezTo>
                  <a:pt x="141" y="384"/>
                  <a:pt x="144" y="383"/>
                  <a:pt x="146" y="381"/>
                </a:cubicBezTo>
                <a:cubicBezTo>
                  <a:pt x="189" y="337"/>
                  <a:pt x="189" y="337"/>
                  <a:pt x="189" y="337"/>
                </a:cubicBezTo>
                <a:cubicBezTo>
                  <a:pt x="209" y="346"/>
                  <a:pt x="232" y="352"/>
                  <a:pt x="257" y="352"/>
                </a:cubicBezTo>
                <a:cubicBezTo>
                  <a:pt x="327" y="352"/>
                  <a:pt x="384" y="305"/>
                  <a:pt x="414" y="262"/>
                </a:cubicBezTo>
                <a:cubicBezTo>
                  <a:pt x="415" y="260"/>
                  <a:pt x="416" y="258"/>
                  <a:pt x="415" y="2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7" name="Group 1014"/>
          <p:cNvGrpSpPr>
            <a:grpSpLocks noChangeAspect="1"/>
          </p:cNvGrpSpPr>
          <p:nvPr/>
        </p:nvGrpSpPr>
        <p:grpSpPr bwMode="auto">
          <a:xfrm>
            <a:off x="8887045" y="4528376"/>
            <a:ext cx="367041" cy="367041"/>
            <a:chOff x="5069" y="3987"/>
            <a:chExt cx="340" cy="340"/>
          </a:xfrm>
          <a:solidFill>
            <a:schemeClr val="accent5"/>
          </a:solidFill>
        </p:grpSpPr>
        <p:sp>
          <p:nvSpPr>
            <p:cNvPr id="348" name="Freeform 1015"/>
            <p:cNvSpPr>
              <a:spLocks noEditPoints="1"/>
            </p:cNvSpPr>
            <p:nvPr/>
          </p:nvSpPr>
          <p:spPr bwMode="auto">
            <a:xfrm>
              <a:off x="5069" y="398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1016"/>
            <p:cNvSpPr>
              <a:spLocks noEditPoints="1"/>
            </p:cNvSpPr>
            <p:nvPr/>
          </p:nvSpPr>
          <p:spPr bwMode="auto">
            <a:xfrm>
              <a:off x="5134" y="4071"/>
              <a:ext cx="211" cy="171"/>
            </a:xfrm>
            <a:custGeom>
              <a:avLst/>
              <a:gdLst>
                <a:gd name="T0" fmla="*/ 316 w 318"/>
                <a:gd name="T1" fmla="*/ 123 h 257"/>
                <a:gd name="T2" fmla="*/ 245 w 318"/>
                <a:gd name="T3" fmla="*/ 57 h 257"/>
                <a:gd name="T4" fmla="*/ 283 w 318"/>
                <a:gd name="T5" fmla="*/ 19 h 257"/>
                <a:gd name="T6" fmla="*/ 283 w 318"/>
                <a:gd name="T7" fmla="*/ 4 h 257"/>
                <a:gd name="T8" fmla="*/ 267 w 318"/>
                <a:gd name="T9" fmla="*/ 4 h 257"/>
                <a:gd name="T10" fmla="*/ 225 w 318"/>
                <a:gd name="T11" fmla="*/ 47 h 257"/>
                <a:gd name="T12" fmla="*/ 159 w 318"/>
                <a:gd name="T13" fmla="*/ 33 h 257"/>
                <a:gd name="T14" fmla="*/ 1 w 318"/>
                <a:gd name="T15" fmla="*/ 122 h 257"/>
                <a:gd name="T16" fmla="*/ 0 w 318"/>
                <a:gd name="T17" fmla="*/ 129 h 257"/>
                <a:gd name="T18" fmla="*/ 1 w 318"/>
                <a:gd name="T19" fmla="*/ 134 h 257"/>
                <a:gd name="T20" fmla="*/ 71 w 318"/>
                <a:gd name="T21" fmla="*/ 200 h 257"/>
                <a:gd name="T22" fmla="*/ 33 w 318"/>
                <a:gd name="T23" fmla="*/ 238 h 257"/>
                <a:gd name="T24" fmla="*/ 33 w 318"/>
                <a:gd name="T25" fmla="*/ 254 h 257"/>
                <a:gd name="T26" fmla="*/ 40 w 318"/>
                <a:gd name="T27" fmla="*/ 257 h 257"/>
                <a:gd name="T28" fmla="*/ 48 w 318"/>
                <a:gd name="T29" fmla="*/ 254 h 257"/>
                <a:gd name="T30" fmla="*/ 91 w 318"/>
                <a:gd name="T31" fmla="*/ 210 h 257"/>
                <a:gd name="T32" fmla="*/ 159 w 318"/>
                <a:gd name="T33" fmla="*/ 225 h 257"/>
                <a:gd name="T34" fmla="*/ 316 w 318"/>
                <a:gd name="T35" fmla="*/ 135 h 257"/>
                <a:gd name="T36" fmla="*/ 317 w 318"/>
                <a:gd name="T37" fmla="*/ 128 h 257"/>
                <a:gd name="T38" fmla="*/ 316 w 318"/>
                <a:gd name="T39" fmla="*/ 123 h 257"/>
                <a:gd name="T40" fmla="*/ 23 w 318"/>
                <a:gd name="T41" fmla="*/ 129 h 257"/>
                <a:gd name="T42" fmla="*/ 159 w 318"/>
                <a:gd name="T43" fmla="*/ 54 h 257"/>
                <a:gd name="T44" fmla="*/ 208 w 318"/>
                <a:gd name="T45" fmla="*/ 63 h 257"/>
                <a:gd name="T46" fmla="*/ 187 w 318"/>
                <a:gd name="T47" fmla="*/ 84 h 257"/>
                <a:gd name="T48" fmla="*/ 158 w 318"/>
                <a:gd name="T49" fmla="*/ 75 h 257"/>
                <a:gd name="T50" fmla="*/ 104 w 318"/>
                <a:gd name="T51" fmla="*/ 129 h 257"/>
                <a:gd name="T52" fmla="*/ 113 w 318"/>
                <a:gd name="T53" fmla="*/ 158 h 257"/>
                <a:gd name="T54" fmla="*/ 87 w 318"/>
                <a:gd name="T55" fmla="*/ 184 h 257"/>
                <a:gd name="T56" fmla="*/ 23 w 318"/>
                <a:gd name="T57" fmla="*/ 129 h 257"/>
                <a:gd name="T58" fmla="*/ 190 w 318"/>
                <a:gd name="T59" fmla="*/ 129 h 257"/>
                <a:gd name="T60" fmla="*/ 158 w 318"/>
                <a:gd name="T61" fmla="*/ 161 h 257"/>
                <a:gd name="T62" fmla="*/ 144 w 318"/>
                <a:gd name="T63" fmla="*/ 157 h 257"/>
                <a:gd name="T64" fmla="*/ 186 w 318"/>
                <a:gd name="T65" fmla="*/ 115 h 257"/>
                <a:gd name="T66" fmla="*/ 190 w 318"/>
                <a:gd name="T67" fmla="*/ 129 h 257"/>
                <a:gd name="T68" fmla="*/ 126 w 318"/>
                <a:gd name="T69" fmla="*/ 129 h 257"/>
                <a:gd name="T70" fmla="*/ 158 w 318"/>
                <a:gd name="T71" fmla="*/ 97 h 257"/>
                <a:gd name="T72" fmla="*/ 171 w 318"/>
                <a:gd name="T73" fmla="*/ 100 h 257"/>
                <a:gd name="T74" fmla="*/ 129 w 318"/>
                <a:gd name="T75" fmla="*/ 142 h 257"/>
                <a:gd name="T76" fmla="*/ 126 w 318"/>
                <a:gd name="T77" fmla="*/ 129 h 257"/>
                <a:gd name="T78" fmla="*/ 159 w 318"/>
                <a:gd name="T79" fmla="*/ 203 h 257"/>
                <a:gd name="T80" fmla="*/ 108 w 318"/>
                <a:gd name="T81" fmla="*/ 194 h 257"/>
                <a:gd name="T82" fmla="*/ 128 w 318"/>
                <a:gd name="T83" fmla="*/ 173 h 257"/>
                <a:gd name="T84" fmla="*/ 158 w 318"/>
                <a:gd name="T85" fmla="*/ 182 h 257"/>
                <a:gd name="T86" fmla="*/ 211 w 318"/>
                <a:gd name="T87" fmla="*/ 129 h 257"/>
                <a:gd name="T88" fmla="*/ 202 w 318"/>
                <a:gd name="T89" fmla="*/ 99 h 257"/>
                <a:gd name="T90" fmla="*/ 229 w 318"/>
                <a:gd name="T91" fmla="*/ 72 h 257"/>
                <a:gd name="T92" fmla="*/ 294 w 318"/>
                <a:gd name="T93" fmla="*/ 129 h 257"/>
                <a:gd name="T94" fmla="*/ 159 w 318"/>
                <a:gd name="T95" fmla="*/ 20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8" h="257">
                  <a:moveTo>
                    <a:pt x="316" y="123"/>
                  </a:moveTo>
                  <a:cubicBezTo>
                    <a:pt x="303" y="103"/>
                    <a:pt x="278" y="76"/>
                    <a:pt x="245" y="57"/>
                  </a:cubicBezTo>
                  <a:cubicBezTo>
                    <a:pt x="283" y="19"/>
                    <a:pt x="283" y="19"/>
                    <a:pt x="283" y="19"/>
                  </a:cubicBezTo>
                  <a:cubicBezTo>
                    <a:pt x="287" y="15"/>
                    <a:pt x="287" y="8"/>
                    <a:pt x="283" y="4"/>
                  </a:cubicBezTo>
                  <a:cubicBezTo>
                    <a:pt x="278" y="0"/>
                    <a:pt x="272" y="0"/>
                    <a:pt x="267" y="4"/>
                  </a:cubicBezTo>
                  <a:cubicBezTo>
                    <a:pt x="225" y="47"/>
                    <a:pt x="225" y="47"/>
                    <a:pt x="225" y="47"/>
                  </a:cubicBezTo>
                  <a:cubicBezTo>
                    <a:pt x="205" y="38"/>
                    <a:pt x="183" y="33"/>
                    <a:pt x="159" y="33"/>
                  </a:cubicBezTo>
                  <a:cubicBezTo>
                    <a:pt x="88" y="33"/>
                    <a:pt x="31" y="79"/>
                    <a:pt x="1" y="122"/>
                  </a:cubicBezTo>
                  <a:cubicBezTo>
                    <a:pt x="0" y="124"/>
                    <a:pt x="0" y="127"/>
                    <a:pt x="0" y="129"/>
                  </a:cubicBezTo>
                  <a:cubicBezTo>
                    <a:pt x="0" y="131"/>
                    <a:pt x="0" y="133"/>
                    <a:pt x="1" y="134"/>
                  </a:cubicBezTo>
                  <a:cubicBezTo>
                    <a:pt x="14" y="154"/>
                    <a:pt x="38" y="181"/>
                    <a:pt x="71" y="200"/>
                  </a:cubicBezTo>
                  <a:cubicBezTo>
                    <a:pt x="33" y="238"/>
                    <a:pt x="33" y="238"/>
                    <a:pt x="33" y="238"/>
                  </a:cubicBezTo>
                  <a:cubicBezTo>
                    <a:pt x="29" y="243"/>
                    <a:pt x="29" y="249"/>
                    <a:pt x="33" y="254"/>
                  </a:cubicBezTo>
                  <a:cubicBezTo>
                    <a:pt x="35" y="256"/>
                    <a:pt x="38" y="257"/>
                    <a:pt x="40" y="257"/>
                  </a:cubicBezTo>
                  <a:cubicBezTo>
                    <a:pt x="43" y="257"/>
                    <a:pt x="46" y="256"/>
                    <a:pt x="48" y="254"/>
                  </a:cubicBezTo>
                  <a:cubicBezTo>
                    <a:pt x="91" y="210"/>
                    <a:pt x="91" y="210"/>
                    <a:pt x="91" y="210"/>
                  </a:cubicBezTo>
                  <a:cubicBezTo>
                    <a:pt x="111" y="219"/>
                    <a:pt x="134" y="225"/>
                    <a:pt x="159" y="225"/>
                  </a:cubicBezTo>
                  <a:cubicBezTo>
                    <a:pt x="229" y="225"/>
                    <a:pt x="286" y="178"/>
                    <a:pt x="316" y="135"/>
                  </a:cubicBezTo>
                  <a:cubicBezTo>
                    <a:pt x="317" y="133"/>
                    <a:pt x="318" y="131"/>
                    <a:pt x="317" y="128"/>
                  </a:cubicBezTo>
                  <a:cubicBezTo>
                    <a:pt x="317" y="127"/>
                    <a:pt x="317" y="125"/>
                    <a:pt x="316" y="123"/>
                  </a:cubicBezTo>
                  <a:close/>
                  <a:moveTo>
                    <a:pt x="23" y="129"/>
                  </a:moveTo>
                  <a:cubicBezTo>
                    <a:pt x="50" y="91"/>
                    <a:pt x="99" y="54"/>
                    <a:pt x="159" y="54"/>
                  </a:cubicBezTo>
                  <a:cubicBezTo>
                    <a:pt x="176" y="54"/>
                    <a:pt x="193" y="57"/>
                    <a:pt x="208" y="6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79" y="79"/>
                    <a:pt x="169" y="75"/>
                    <a:pt x="158" y="75"/>
                  </a:cubicBezTo>
                  <a:cubicBezTo>
                    <a:pt x="128" y="75"/>
                    <a:pt x="104" y="99"/>
                    <a:pt x="104" y="129"/>
                  </a:cubicBezTo>
                  <a:cubicBezTo>
                    <a:pt x="104" y="140"/>
                    <a:pt x="108" y="150"/>
                    <a:pt x="113" y="158"/>
                  </a:cubicBezTo>
                  <a:cubicBezTo>
                    <a:pt x="87" y="184"/>
                    <a:pt x="87" y="184"/>
                    <a:pt x="87" y="184"/>
                  </a:cubicBezTo>
                  <a:cubicBezTo>
                    <a:pt x="58" y="169"/>
                    <a:pt x="36" y="146"/>
                    <a:pt x="23" y="129"/>
                  </a:cubicBezTo>
                  <a:close/>
                  <a:moveTo>
                    <a:pt x="190" y="129"/>
                  </a:moveTo>
                  <a:cubicBezTo>
                    <a:pt x="190" y="146"/>
                    <a:pt x="175" y="161"/>
                    <a:pt x="158" y="161"/>
                  </a:cubicBezTo>
                  <a:cubicBezTo>
                    <a:pt x="153" y="161"/>
                    <a:pt x="148" y="159"/>
                    <a:pt x="144" y="157"/>
                  </a:cubicBezTo>
                  <a:cubicBezTo>
                    <a:pt x="186" y="115"/>
                    <a:pt x="186" y="115"/>
                    <a:pt x="186" y="115"/>
                  </a:cubicBezTo>
                  <a:cubicBezTo>
                    <a:pt x="188" y="119"/>
                    <a:pt x="190" y="124"/>
                    <a:pt x="190" y="129"/>
                  </a:cubicBezTo>
                  <a:close/>
                  <a:moveTo>
                    <a:pt x="126" y="129"/>
                  </a:moveTo>
                  <a:cubicBezTo>
                    <a:pt x="126" y="111"/>
                    <a:pt x="140" y="97"/>
                    <a:pt x="158" y="97"/>
                  </a:cubicBezTo>
                  <a:cubicBezTo>
                    <a:pt x="163" y="97"/>
                    <a:pt x="167" y="98"/>
                    <a:pt x="171" y="100"/>
                  </a:cubicBezTo>
                  <a:cubicBezTo>
                    <a:pt x="129" y="142"/>
                    <a:pt x="129" y="142"/>
                    <a:pt x="129" y="142"/>
                  </a:cubicBezTo>
                  <a:cubicBezTo>
                    <a:pt x="127" y="138"/>
                    <a:pt x="126" y="134"/>
                    <a:pt x="126" y="129"/>
                  </a:cubicBezTo>
                  <a:close/>
                  <a:moveTo>
                    <a:pt x="159" y="203"/>
                  </a:moveTo>
                  <a:cubicBezTo>
                    <a:pt x="140" y="203"/>
                    <a:pt x="123" y="200"/>
                    <a:pt x="108" y="194"/>
                  </a:cubicBezTo>
                  <a:cubicBezTo>
                    <a:pt x="128" y="173"/>
                    <a:pt x="128" y="173"/>
                    <a:pt x="128" y="173"/>
                  </a:cubicBezTo>
                  <a:cubicBezTo>
                    <a:pt x="137" y="179"/>
                    <a:pt x="147" y="182"/>
                    <a:pt x="158" y="182"/>
                  </a:cubicBezTo>
                  <a:cubicBezTo>
                    <a:pt x="187" y="182"/>
                    <a:pt x="211" y="158"/>
                    <a:pt x="211" y="129"/>
                  </a:cubicBezTo>
                  <a:cubicBezTo>
                    <a:pt x="211" y="118"/>
                    <a:pt x="208" y="108"/>
                    <a:pt x="202" y="99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59" y="88"/>
                    <a:pt x="281" y="111"/>
                    <a:pt x="294" y="129"/>
                  </a:cubicBezTo>
                  <a:cubicBezTo>
                    <a:pt x="267" y="166"/>
                    <a:pt x="218" y="203"/>
                    <a:pt x="159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0" name="TextBox 349"/>
          <p:cNvSpPr txBox="1"/>
          <p:nvPr/>
        </p:nvSpPr>
        <p:spPr>
          <a:xfrm>
            <a:off x="5411538" y="4917688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e extinguisher</a:t>
            </a:r>
          </a:p>
        </p:txBody>
      </p:sp>
      <p:sp>
        <p:nvSpPr>
          <p:cNvPr id="351" name="Freeform 801"/>
          <p:cNvSpPr>
            <a:spLocks noChangeAspect="1" noEditPoints="1"/>
          </p:cNvSpPr>
          <p:nvPr/>
        </p:nvSpPr>
        <p:spPr bwMode="auto">
          <a:xfrm>
            <a:off x="5405054" y="4528376"/>
            <a:ext cx="367631" cy="367631"/>
          </a:xfrm>
          <a:custGeom>
            <a:avLst/>
            <a:gdLst>
              <a:gd name="T0" fmla="*/ 266 w 512"/>
              <a:gd name="T1" fmla="*/ 277 h 512"/>
              <a:gd name="T2" fmla="*/ 288 w 512"/>
              <a:gd name="T3" fmla="*/ 277 h 512"/>
              <a:gd name="T4" fmla="*/ 288 w 512"/>
              <a:gd name="T5" fmla="*/ 341 h 512"/>
              <a:gd name="T6" fmla="*/ 266 w 512"/>
              <a:gd name="T7" fmla="*/ 341 h 512"/>
              <a:gd name="T8" fmla="*/ 266 w 512"/>
              <a:gd name="T9" fmla="*/ 277 h 512"/>
              <a:gd name="T10" fmla="*/ 224 w 512"/>
              <a:gd name="T11" fmla="*/ 213 h 512"/>
              <a:gd name="T12" fmla="*/ 224 w 512"/>
              <a:gd name="T13" fmla="*/ 394 h 512"/>
              <a:gd name="T14" fmla="*/ 288 w 512"/>
              <a:gd name="T15" fmla="*/ 394 h 512"/>
              <a:gd name="T16" fmla="*/ 288 w 512"/>
              <a:gd name="T17" fmla="*/ 362 h 512"/>
              <a:gd name="T18" fmla="*/ 256 w 512"/>
              <a:gd name="T19" fmla="*/ 362 h 512"/>
              <a:gd name="T20" fmla="*/ 245 w 512"/>
              <a:gd name="T21" fmla="*/ 352 h 512"/>
              <a:gd name="T22" fmla="*/ 245 w 512"/>
              <a:gd name="T23" fmla="*/ 266 h 512"/>
              <a:gd name="T24" fmla="*/ 256 w 512"/>
              <a:gd name="T25" fmla="*/ 256 h 512"/>
              <a:gd name="T26" fmla="*/ 288 w 512"/>
              <a:gd name="T27" fmla="*/ 256 h 512"/>
              <a:gd name="T28" fmla="*/ 288 w 512"/>
              <a:gd name="T29" fmla="*/ 213 h 512"/>
              <a:gd name="T30" fmla="*/ 256 w 512"/>
              <a:gd name="T31" fmla="*/ 181 h 512"/>
              <a:gd name="T32" fmla="*/ 224 w 512"/>
              <a:gd name="T33" fmla="*/ 213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00 w 512"/>
              <a:gd name="T45" fmla="*/ 117 h 512"/>
              <a:gd name="T46" fmla="*/ 330 w 512"/>
              <a:gd name="T47" fmla="*/ 117 h 512"/>
              <a:gd name="T48" fmla="*/ 341 w 512"/>
              <a:gd name="T49" fmla="*/ 106 h 512"/>
              <a:gd name="T50" fmla="*/ 330 w 512"/>
              <a:gd name="T51" fmla="*/ 96 h 512"/>
              <a:gd name="T52" fmla="*/ 256 w 512"/>
              <a:gd name="T53" fmla="*/ 96 h 512"/>
              <a:gd name="T54" fmla="*/ 245 w 512"/>
              <a:gd name="T55" fmla="*/ 106 h 512"/>
              <a:gd name="T56" fmla="*/ 245 w 512"/>
              <a:gd name="T57" fmla="*/ 117 h 512"/>
              <a:gd name="T58" fmla="*/ 213 w 512"/>
              <a:gd name="T59" fmla="*/ 117 h 512"/>
              <a:gd name="T60" fmla="*/ 160 w 512"/>
              <a:gd name="T61" fmla="*/ 170 h 512"/>
              <a:gd name="T62" fmla="*/ 160 w 512"/>
              <a:gd name="T63" fmla="*/ 362 h 512"/>
              <a:gd name="T64" fmla="*/ 170 w 512"/>
              <a:gd name="T65" fmla="*/ 373 h 512"/>
              <a:gd name="T66" fmla="*/ 181 w 512"/>
              <a:gd name="T67" fmla="*/ 362 h 512"/>
              <a:gd name="T68" fmla="*/ 181 w 512"/>
              <a:gd name="T69" fmla="*/ 170 h 512"/>
              <a:gd name="T70" fmla="*/ 213 w 512"/>
              <a:gd name="T71" fmla="*/ 138 h 512"/>
              <a:gd name="T72" fmla="*/ 245 w 512"/>
              <a:gd name="T73" fmla="*/ 138 h 512"/>
              <a:gd name="T74" fmla="*/ 245 w 512"/>
              <a:gd name="T75" fmla="*/ 161 h 512"/>
              <a:gd name="T76" fmla="*/ 202 w 512"/>
              <a:gd name="T77" fmla="*/ 213 h 512"/>
              <a:gd name="T78" fmla="*/ 202 w 512"/>
              <a:gd name="T79" fmla="*/ 405 h 512"/>
              <a:gd name="T80" fmla="*/ 213 w 512"/>
              <a:gd name="T81" fmla="*/ 416 h 512"/>
              <a:gd name="T82" fmla="*/ 298 w 512"/>
              <a:gd name="T83" fmla="*/ 416 h 512"/>
              <a:gd name="T84" fmla="*/ 309 w 512"/>
              <a:gd name="T85" fmla="*/ 405 h 512"/>
              <a:gd name="T86" fmla="*/ 309 w 512"/>
              <a:gd name="T87" fmla="*/ 213 h 512"/>
              <a:gd name="T88" fmla="*/ 266 w 512"/>
              <a:gd name="T89" fmla="*/ 161 h 512"/>
              <a:gd name="T90" fmla="*/ 266 w 512"/>
              <a:gd name="T91" fmla="*/ 129 h 512"/>
              <a:gd name="T92" fmla="*/ 327 w 512"/>
              <a:gd name="T93" fmla="*/ 147 h 512"/>
              <a:gd name="T94" fmla="*/ 330 w 512"/>
              <a:gd name="T95" fmla="*/ 148 h 512"/>
              <a:gd name="T96" fmla="*/ 341 w 512"/>
              <a:gd name="T97" fmla="*/ 140 h 512"/>
              <a:gd name="T98" fmla="*/ 333 w 512"/>
              <a:gd name="T99" fmla="*/ 127 h 512"/>
              <a:gd name="T100" fmla="*/ 300 w 512"/>
              <a:gd name="T101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66" y="277"/>
                </a:moveTo>
                <a:cubicBezTo>
                  <a:pt x="288" y="277"/>
                  <a:pt x="288" y="277"/>
                  <a:pt x="288" y="277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66" y="341"/>
                  <a:pt x="266" y="341"/>
                  <a:pt x="266" y="341"/>
                </a:cubicBezTo>
                <a:lnTo>
                  <a:pt x="266" y="277"/>
                </a:lnTo>
                <a:close/>
                <a:moveTo>
                  <a:pt x="224" y="213"/>
                </a:moveTo>
                <a:cubicBezTo>
                  <a:pt x="224" y="394"/>
                  <a:pt x="224" y="394"/>
                  <a:pt x="224" y="394"/>
                </a:cubicBezTo>
                <a:cubicBezTo>
                  <a:pt x="288" y="394"/>
                  <a:pt x="288" y="394"/>
                  <a:pt x="288" y="394"/>
                </a:cubicBezTo>
                <a:cubicBezTo>
                  <a:pt x="288" y="362"/>
                  <a:pt x="288" y="362"/>
                  <a:pt x="288" y="362"/>
                </a:cubicBezTo>
                <a:cubicBezTo>
                  <a:pt x="256" y="362"/>
                  <a:pt x="256" y="362"/>
                  <a:pt x="256" y="362"/>
                </a:cubicBezTo>
                <a:cubicBezTo>
                  <a:pt x="250" y="362"/>
                  <a:pt x="245" y="358"/>
                  <a:pt x="245" y="352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260"/>
                  <a:pt x="250" y="256"/>
                  <a:pt x="256" y="256"/>
                </a:cubicBezTo>
                <a:cubicBezTo>
                  <a:pt x="288" y="256"/>
                  <a:pt x="288" y="256"/>
                  <a:pt x="288" y="256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195"/>
                  <a:pt x="273" y="181"/>
                  <a:pt x="256" y="181"/>
                </a:cubicBezTo>
                <a:cubicBezTo>
                  <a:pt x="238" y="181"/>
                  <a:pt x="224" y="195"/>
                  <a:pt x="224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00" y="117"/>
                </a:moveTo>
                <a:cubicBezTo>
                  <a:pt x="330" y="117"/>
                  <a:pt x="330" y="117"/>
                  <a:pt x="330" y="117"/>
                </a:cubicBezTo>
                <a:cubicBezTo>
                  <a:pt x="336" y="117"/>
                  <a:pt x="341" y="112"/>
                  <a:pt x="341" y="106"/>
                </a:cubicBezTo>
                <a:cubicBezTo>
                  <a:pt x="341" y="100"/>
                  <a:pt x="336" y="96"/>
                  <a:pt x="330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184" y="117"/>
                  <a:pt x="160" y="141"/>
                  <a:pt x="160" y="170"/>
                </a:cubicBezTo>
                <a:cubicBezTo>
                  <a:pt x="160" y="362"/>
                  <a:pt x="160" y="362"/>
                  <a:pt x="160" y="362"/>
                </a:cubicBezTo>
                <a:cubicBezTo>
                  <a:pt x="160" y="368"/>
                  <a:pt x="164" y="373"/>
                  <a:pt x="170" y="373"/>
                </a:cubicBezTo>
                <a:cubicBezTo>
                  <a:pt x="176" y="373"/>
                  <a:pt x="181" y="368"/>
                  <a:pt x="181" y="362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81" y="153"/>
                  <a:pt x="195" y="138"/>
                  <a:pt x="213" y="138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45" y="161"/>
                  <a:pt x="245" y="161"/>
                  <a:pt x="245" y="161"/>
                </a:cubicBezTo>
                <a:cubicBezTo>
                  <a:pt x="221" y="166"/>
                  <a:pt x="202" y="187"/>
                  <a:pt x="202" y="213"/>
                </a:cubicBezTo>
                <a:cubicBezTo>
                  <a:pt x="202" y="405"/>
                  <a:pt x="202" y="405"/>
                  <a:pt x="202" y="405"/>
                </a:cubicBezTo>
                <a:cubicBezTo>
                  <a:pt x="202" y="411"/>
                  <a:pt x="207" y="416"/>
                  <a:pt x="213" y="416"/>
                </a:cubicBezTo>
                <a:cubicBezTo>
                  <a:pt x="298" y="416"/>
                  <a:pt x="298" y="416"/>
                  <a:pt x="298" y="416"/>
                </a:cubicBezTo>
                <a:cubicBezTo>
                  <a:pt x="304" y="416"/>
                  <a:pt x="309" y="411"/>
                  <a:pt x="309" y="405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187"/>
                  <a:pt x="291" y="166"/>
                  <a:pt x="266" y="161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327" y="147"/>
                  <a:pt x="327" y="147"/>
                  <a:pt x="327" y="147"/>
                </a:cubicBezTo>
                <a:cubicBezTo>
                  <a:pt x="328" y="148"/>
                  <a:pt x="329" y="148"/>
                  <a:pt x="330" y="148"/>
                </a:cubicBezTo>
                <a:cubicBezTo>
                  <a:pt x="335" y="148"/>
                  <a:pt x="339" y="145"/>
                  <a:pt x="341" y="140"/>
                </a:cubicBezTo>
                <a:cubicBezTo>
                  <a:pt x="342" y="134"/>
                  <a:pt x="339" y="128"/>
                  <a:pt x="333" y="127"/>
                </a:cubicBezTo>
                <a:lnTo>
                  <a:pt x="300" y="11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2" name="Group 804"/>
          <p:cNvGrpSpPr>
            <a:grpSpLocks noChangeAspect="1"/>
          </p:cNvGrpSpPr>
          <p:nvPr/>
        </p:nvGrpSpPr>
        <p:grpSpPr bwMode="auto">
          <a:xfrm>
            <a:off x="5902748" y="4528376"/>
            <a:ext cx="368713" cy="367631"/>
            <a:chOff x="1182" y="3195"/>
            <a:chExt cx="341" cy="340"/>
          </a:xfrm>
          <a:solidFill>
            <a:schemeClr val="accent3"/>
          </a:solidFill>
        </p:grpSpPr>
        <p:sp>
          <p:nvSpPr>
            <p:cNvPr id="353" name="Freeform 805"/>
            <p:cNvSpPr>
              <a:spLocks noEditPoints="1"/>
            </p:cNvSpPr>
            <p:nvPr/>
          </p:nvSpPr>
          <p:spPr bwMode="auto">
            <a:xfrm>
              <a:off x="1182" y="319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Freeform 806"/>
            <p:cNvSpPr>
              <a:spLocks noEditPoints="1"/>
            </p:cNvSpPr>
            <p:nvPr/>
          </p:nvSpPr>
          <p:spPr bwMode="auto">
            <a:xfrm>
              <a:off x="1289" y="3259"/>
              <a:ext cx="121" cy="212"/>
            </a:xfrm>
            <a:custGeom>
              <a:avLst/>
              <a:gdLst>
                <a:gd name="T0" fmla="*/ 173 w 182"/>
                <a:gd name="T1" fmla="*/ 31 h 320"/>
                <a:gd name="T2" fmla="*/ 140 w 182"/>
                <a:gd name="T3" fmla="*/ 21 h 320"/>
                <a:gd name="T4" fmla="*/ 170 w 182"/>
                <a:gd name="T5" fmla="*/ 21 h 320"/>
                <a:gd name="T6" fmla="*/ 181 w 182"/>
                <a:gd name="T7" fmla="*/ 10 h 320"/>
                <a:gd name="T8" fmla="*/ 170 w 182"/>
                <a:gd name="T9" fmla="*/ 0 h 320"/>
                <a:gd name="T10" fmla="*/ 96 w 182"/>
                <a:gd name="T11" fmla="*/ 0 h 320"/>
                <a:gd name="T12" fmla="*/ 85 w 182"/>
                <a:gd name="T13" fmla="*/ 10 h 320"/>
                <a:gd name="T14" fmla="*/ 85 w 182"/>
                <a:gd name="T15" fmla="*/ 21 h 320"/>
                <a:gd name="T16" fmla="*/ 53 w 182"/>
                <a:gd name="T17" fmla="*/ 21 h 320"/>
                <a:gd name="T18" fmla="*/ 0 w 182"/>
                <a:gd name="T19" fmla="*/ 74 h 320"/>
                <a:gd name="T20" fmla="*/ 0 w 182"/>
                <a:gd name="T21" fmla="*/ 266 h 320"/>
                <a:gd name="T22" fmla="*/ 10 w 182"/>
                <a:gd name="T23" fmla="*/ 277 h 320"/>
                <a:gd name="T24" fmla="*/ 21 w 182"/>
                <a:gd name="T25" fmla="*/ 266 h 320"/>
                <a:gd name="T26" fmla="*/ 21 w 182"/>
                <a:gd name="T27" fmla="*/ 74 h 320"/>
                <a:gd name="T28" fmla="*/ 53 w 182"/>
                <a:gd name="T29" fmla="*/ 42 h 320"/>
                <a:gd name="T30" fmla="*/ 85 w 182"/>
                <a:gd name="T31" fmla="*/ 42 h 320"/>
                <a:gd name="T32" fmla="*/ 85 w 182"/>
                <a:gd name="T33" fmla="*/ 65 h 320"/>
                <a:gd name="T34" fmla="*/ 42 w 182"/>
                <a:gd name="T35" fmla="*/ 117 h 320"/>
                <a:gd name="T36" fmla="*/ 42 w 182"/>
                <a:gd name="T37" fmla="*/ 309 h 320"/>
                <a:gd name="T38" fmla="*/ 53 w 182"/>
                <a:gd name="T39" fmla="*/ 320 h 320"/>
                <a:gd name="T40" fmla="*/ 138 w 182"/>
                <a:gd name="T41" fmla="*/ 320 h 320"/>
                <a:gd name="T42" fmla="*/ 149 w 182"/>
                <a:gd name="T43" fmla="*/ 309 h 320"/>
                <a:gd name="T44" fmla="*/ 149 w 182"/>
                <a:gd name="T45" fmla="*/ 117 h 320"/>
                <a:gd name="T46" fmla="*/ 106 w 182"/>
                <a:gd name="T47" fmla="*/ 65 h 320"/>
                <a:gd name="T48" fmla="*/ 106 w 182"/>
                <a:gd name="T49" fmla="*/ 33 h 320"/>
                <a:gd name="T50" fmla="*/ 167 w 182"/>
                <a:gd name="T51" fmla="*/ 51 h 320"/>
                <a:gd name="T52" fmla="*/ 170 w 182"/>
                <a:gd name="T53" fmla="*/ 52 h 320"/>
                <a:gd name="T54" fmla="*/ 181 w 182"/>
                <a:gd name="T55" fmla="*/ 44 h 320"/>
                <a:gd name="T56" fmla="*/ 173 w 182"/>
                <a:gd name="T57" fmla="*/ 31 h 320"/>
                <a:gd name="T58" fmla="*/ 106 w 182"/>
                <a:gd name="T59" fmla="*/ 181 h 320"/>
                <a:gd name="T60" fmla="*/ 128 w 182"/>
                <a:gd name="T61" fmla="*/ 181 h 320"/>
                <a:gd name="T62" fmla="*/ 128 w 182"/>
                <a:gd name="T63" fmla="*/ 245 h 320"/>
                <a:gd name="T64" fmla="*/ 106 w 182"/>
                <a:gd name="T65" fmla="*/ 245 h 320"/>
                <a:gd name="T66" fmla="*/ 106 w 182"/>
                <a:gd name="T67" fmla="*/ 181 h 320"/>
                <a:gd name="T68" fmla="*/ 128 w 182"/>
                <a:gd name="T69" fmla="*/ 117 h 320"/>
                <a:gd name="T70" fmla="*/ 128 w 182"/>
                <a:gd name="T71" fmla="*/ 160 h 320"/>
                <a:gd name="T72" fmla="*/ 96 w 182"/>
                <a:gd name="T73" fmla="*/ 160 h 320"/>
                <a:gd name="T74" fmla="*/ 85 w 182"/>
                <a:gd name="T75" fmla="*/ 170 h 320"/>
                <a:gd name="T76" fmla="*/ 85 w 182"/>
                <a:gd name="T77" fmla="*/ 256 h 320"/>
                <a:gd name="T78" fmla="*/ 96 w 182"/>
                <a:gd name="T79" fmla="*/ 266 h 320"/>
                <a:gd name="T80" fmla="*/ 128 w 182"/>
                <a:gd name="T81" fmla="*/ 266 h 320"/>
                <a:gd name="T82" fmla="*/ 128 w 182"/>
                <a:gd name="T83" fmla="*/ 298 h 320"/>
                <a:gd name="T84" fmla="*/ 64 w 182"/>
                <a:gd name="T85" fmla="*/ 298 h 320"/>
                <a:gd name="T86" fmla="*/ 64 w 182"/>
                <a:gd name="T87" fmla="*/ 117 h 320"/>
                <a:gd name="T88" fmla="*/ 96 w 182"/>
                <a:gd name="T89" fmla="*/ 85 h 320"/>
                <a:gd name="T90" fmla="*/ 128 w 182"/>
                <a:gd name="T91" fmla="*/ 11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320">
                  <a:moveTo>
                    <a:pt x="173" y="31"/>
                  </a:moveTo>
                  <a:cubicBezTo>
                    <a:pt x="140" y="21"/>
                    <a:pt x="140" y="21"/>
                    <a:pt x="14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6" y="21"/>
                    <a:pt x="181" y="16"/>
                    <a:pt x="181" y="10"/>
                  </a:cubicBezTo>
                  <a:cubicBezTo>
                    <a:pt x="181" y="4"/>
                    <a:pt x="176" y="0"/>
                    <a:pt x="17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5" y="4"/>
                    <a:pt x="85" y="10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24" y="21"/>
                    <a:pt x="0" y="45"/>
                    <a:pt x="0" y="74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16" y="277"/>
                    <a:pt x="21" y="272"/>
                    <a:pt x="21" y="266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57"/>
                    <a:pt x="35" y="42"/>
                    <a:pt x="53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61" y="70"/>
                    <a:pt x="42" y="91"/>
                    <a:pt x="42" y="117"/>
                  </a:cubicBezTo>
                  <a:cubicBezTo>
                    <a:pt x="42" y="309"/>
                    <a:pt x="42" y="309"/>
                    <a:pt x="42" y="309"/>
                  </a:cubicBezTo>
                  <a:cubicBezTo>
                    <a:pt x="42" y="315"/>
                    <a:pt x="47" y="320"/>
                    <a:pt x="53" y="320"/>
                  </a:cubicBezTo>
                  <a:cubicBezTo>
                    <a:pt x="138" y="320"/>
                    <a:pt x="138" y="320"/>
                    <a:pt x="138" y="320"/>
                  </a:cubicBezTo>
                  <a:cubicBezTo>
                    <a:pt x="144" y="320"/>
                    <a:pt x="149" y="315"/>
                    <a:pt x="149" y="309"/>
                  </a:cubicBezTo>
                  <a:cubicBezTo>
                    <a:pt x="149" y="117"/>
                    <a:pt x="149" y="117"/>
                    <a:pt x="149" y="117"/>
                  </a:cubicBezTo>
                  <a:cubicBezTo>
                    <a:pt x="149" y="91"/>
                    <a:pt x="131" y="70"/>
                    <a:pt x="106" y="65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67" y="51"/>
                    <a:pt x="167" y="51"/>
                    <a:pt x="167" y="51"/>
                  </a:cubicBezTo>
                  <a:cubicBezTo>
                    <a:pt x="168" y="52"/>
                    <a:pt x="169" y="52"/>
                    <a:pt x="170" y="52"/>
                  </a:cubicBezTo>
                  <a:cubicBezTo>
                    <a:pt x="175" y="52"/>
                    <a:pt x="179" y="49"/>
                    <a:pt x="181" y="44"/>
                  </a:cubicBezTo>
                  <a:cubicBezTo>
                    <a:pt x="182" y="38"/>
                    <a:pt x="179" y="32"/>
                    <a:pt x="173" y="31"/>
                  </a:cubicBezTo>
                  <a:close/>
                  <a:moveTo>
                    <a:pt x="106" y="181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06" y="245"/>
                    <a:pt x="106" y="245"/>
                    <a:pt x="106" y="245"/>
                  </a:cubicBezTo>
                  <a:lnTo>
                    <a:pt x="106" y="181"/>
                  </a:lnTo>
                  <a:close/>
                  <a:moveTo>
                    <a:pt x="128" y="117"/>
                  </a:moveTo>
                  <a:cubicBezTo>
                    <a:pt x="128" y="160"/>
                    <a:pt x="128" y="160"/>
                    <a:pt x="128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0" y="160"/>
                    <a:pt x="85" y="164"/>
                    <a:pt x="85" y="170"/>
                  </a:cubicBezTo>
                  <a:cubicBezTo>
                    <a:pt x="85" y="256"/>
                    <a:pt x="85" y="256"/>
                    <a:pt x="85" y="256"/>
                  </a:cubicBezTo>
                  <a:cubicBezTo>
                    <a:pt x="85" y="262"/>
                    <a:pt x="90" y="266"/>
                    <a:pt x="96" y="266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99"/>
                    <a:pt x="78" y="85"/>
                    <a:pt x="96" y="85"/>
                  </a:cubicBezTo>
                  <a:cubicBezTo>
                    <a:pt x="113" y="85"/>
                    <a:pt x="128" y="99"/>
                    <a:pt x="128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5" name="TextBox 354"/>
          <p:cNvSpPr txBox="1"/>
          <p:nvPr/>
        </p:nvSpPr>
        <p:spPr>
          <a:xfrm>
            <a:off x="9392885" y="491768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pen box</a:t>
            </a:r>
          </a:p>
        </p:txBody>
      </p:sp>
      <p:grpSp>
        <p:nvGrpSpPr>
          <p:cNvPr id="356" name="Group 4"/>
          <p:cNvGrpSpPr>
            <a:grpSpLocks noChangeAspect="1"/>
          </p:cNvGrpSpPr>
          <p:nvPr/>
        </p:nvGrpSpPr>
        <p:grpSpPr bwMode="auto">
          <a:xfrm>
            <a:off x="9384149" y="4528375"/>
            <a:ext cx="369887" cy="371475"/>
            <a:chOff x="5057" y="739"/>
            <a:chExt cx="233" cy="234"/>
          </a:xfrm>
          <a:solidFill>
            <a:schemeClr val="accent1"/>
          </a:solidFill>
        </p:grpSpPr>
        <p:sp>
          <p:nvSpPr>
            <p:cNvPr id="357" name="Freeform 5"/>
            <p:cNvSpPr>
              <a:spLocks/>
            </p:cNvSpPr>
            <p:nvPr/>
          </p:nvSpPr>
          <p:spPr bwMode="auto">
            <a:xfrm>
              <a:off x="5136" y="818"/>
              <a:ext cx="75" cy="37"/>
            </a:xfrm>
            <a:custGeom>
              <a:avLst/>
              <a:gdLst>
                <a:gd name="T0" fmla="*/ 37 w 75"/>
                <a:gd name="T1" fmla="*/ 0 h 37"/>
                <a:gd name="T2" fmla="*/ 0 w 75"/>
                <a:gd name="T3" fmla="*/ 19 h 37"/>
                <a:gd name="T4" fmla="*/ 37 w 75"/>
                <a:gd name="T5" fmla="*/ 37 h 37"/>
                <a:gd name="T6" fmla="*/ 75 w 75"/>
                <a:gd name="T7" fmla="*/ 19 h 37"/>
                <a:gd name="T8" fmla="*/ 37 w 75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37">
                  <a:moveTo>
                    <a:pt x="37" y="0"/>
                  </a:moveTo>
                  <a:lnTo>
                    <a:pt x="0" y="19"/>
                  </a:lnTo>
                  <a:lnTo>
                    <a:pt x="37" y="37"/>
                  </a:lnTo>
                  <a:lnTo>
                    <a:pt x="75" y="19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Freeform 6"/>
            <p:cNvSpPr>
              <a:spLocks/>
            </p:cNvSpPr>
            <p:nvPr/>
          </p:nvSpPr>
          <p:spPr bwMode="auto">
            <a:xfrm>
              <a:off x="5130" y="874"/>
              <a:ext cx="39" cy="42"/>
            </a:xfrm>
            <a:custGeom>
              <a:avLst/>
              <a:gdLst>
                <a:gd name="T0" fmla="*/ 36 w 64"/>
                <a:gd name="T1" fmla="*/ 25 h 69"/>
                <a:gd name="T2" fmla="*/ 0 w 64"/>
                <a:gd name="T3" fmla="*/ 7 h 69"/>
                <a:gd name="T4" fmla="*/ 0 w 64"/>
                <a:gd name="T5" fmla="*/ 37 h 69"/>
                <a:gd name="T6" fmla="*/ 64 w 64"/>
                <a:gd name="T7" fmla="*/ 69 h 69"/>
                <a:gd name="T8" fmla="*/ 64 w 64"/>
                <a:gd name="T9" fmla="*/ 0 h 69"/>
                <a:gd name="T10" fmla="*/ 46 w 64"/>
                <a:gd name="T11" fmla="*/ 23 h 69"/>
                <a:gd name="T12" fmla="*/ 36 w 64"/>
                <a:gd name="T13" fmla="*/ 2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9">
                  <a:moveTo>
                    <a:pt x="36" y="25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4" y="26"/>
                    <a:pt x="39" y="27"/>
                    <a:pt x="3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Freeform 7"/>
            <p:cNvSpPr>
              <a:spLocks noEditPoints="1"/>
            </p:cNvSpPr>
            <p:nvPr/>
          </p:nvSpPr>
          <p:spPr bwMode="auto">
            <a:xfrm>
              <a:off x="5057" y="739"/>
              <a:ext cx="233" cy="234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310 w 384"/>
                <a:gd name="T11" fmla="*/ 195 h 384"/>
                <a:gd name="T12" fmla="*/ 311 w 384"/>
                <a:gd name="T13" fmla="*/ 201 h 384"/>
                <a:gd name="T14" fmla="*/ 307 w 384"/>
                <a:gd name="T15" fmla="*/ 207 h 384"/>
                <a:gd name="T16" fmla="*/ 280 w 384"/>
                <a:gd name="T17" fmla="*/ 221 h 384"/>
                <a:gd name="T18" fmla="*/ 280 w 384"/>
                <a:gd name="T19" fmla="*/ 264 h 384"/>
                <a:gd name="T20" fmla="*/ 275 w 384"/>
                <a:gd name="T21" fmla="*/ 271 h 384"/>
                <a:gd name="T22" fmla="*/ 195 w 384"/>
                <a:gd name="T23" fmla="*/ 311 h 384"/>
                <a:gd name="T24" fmla="*/ 195 w 384"/>
                <a:gd name="T25" fmla="*/ 311 h 384"/>
                <a:gd name="T26" fmla="*/ 192 w 384"/>
                <a:gd name="T27" fmla="*/ 312 h 384"/>
                <a:gd name="T28" fmla="*/ 188 w 384"/>
                <a:gd name="T29" fmla="*/ 311 h 384"/>
                <a:gd name="T30" fmla="*/ 188 w 384"/>
                <a:gd name="T31" fmla="*/ 311 h 384"/>
                <a:gd name="T32" fmla="*/ 108 w 384"/>
                <a:gd name="T33" fmla="*/ 271 h 384"/>
                <a:gd name="T34" fmla="*/ 104 w 384"/>
                <a:gd name="T35" fmla="*/ 264 h 384"/>
                <a:gd name="T36" fmla="*/ 104 w 384"/>
                <a:gd name="T37" fmla="*/ 221 h 384"/>
                <a:gd name="T38" fmla="*/ 76 w 384"/>
                <a:gd name="T39" fmla="*/ 207 h 384"/>
                <a:gd name="T40" fmla="*/ 72 w 384"/>
                <a:gd name="T41" fmla="*/ 201 h 384"/>
                <a:gd name="T42" fmla="*/ 73 w 384"/>
                <a:gd name="T43" fmla="*/ 195 h 384"/>
                <a:gd name="T44" fmla="*/ 101 w 384"/>
                <a:gd name="T45" fmla="*/ 160 h 384"/>
                <a:gd name="T46" fmla="*/ 73 w 384"/>
                <a:gd name="T47" fmla="*/ 125 h 384"/>
                <a:gd name="T48" fmla="*/ 72 w 384"/>
                <a:gd name="T49" fmla="*/ 118 h 384"/>
                <a:gd name="T50" fmla="*/ 76 w 384"/>
                <a:gd name="T51" fmla="*/ 113 h 384"/>
                <a:gd name="T52" fmla="*/ 156 w 384"/>
                <a:gd name="T53" fmla="*/ 73 h 384"/>
                <a:gd name="T54" fmla="*/ 166 w 384"/>
                <a:gd name="T55" fmla="*/ 75 h 384"/>
                <a:gd name="T56" fmla="*/ 192 w 384"/>
                <a:gd name="T57" fmla="*/ 107 h 384"/>
                <a:gd name="T58" fmla="*/ 217 w 384"/>
                <a:gd name="T59" fmla="*/ 75 h 384"/>
                <a:gd name="T60" fmla="*/ 227 w 384"/>
                <a:gd name="T61" fmla="*/ 73 h 384"/>
                <a:gd name="T62" fmla="*/ 307 w 384"/>
                <a:gd name="T63" fmla="*/ 113 h 384"/>
                <a:gd name="T64" fmla="*/ 311 w 384"/>
                <a:gd name="T65" fmla="*/ 118 h 384"/>
                <a:gd name="T66" fmla="*/ 310 w 384"/>
                <a:gd name="T67" fmla="*/ 125 h 384"/>
                <a:gd name="T68" fmla="*/ 282 w 384"/>
                <a:gd name="T69" fmla="*/ 160 h 384"/>
                <a:gd name="T70" fmla="*/ 310 w 384"/>
                <a:gd name="T71" fmla="*/ 19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310" y="195"/>
                  </a:moveTo>
                  <a:cubicBezTo>
                    <a:pt x="311" y="197"/>
                    <a:pt x="312" y="199"/>
                    <a:pt x="311" y="201"/>
                  </a:cubicBezTo>
                  <a:cubicBezTo>
                    <a:pt x="311" y="204"/>
                    <a:pt x="309" y="206"/>
                    <a:pt x="307" y="207"/>
                  </a:cubicBezTo>
                  <a:cubicBezTo>
                    <a:pt x="280" y="221"/>
                    <a:pt x="280" y="221"/>
                    <a:pt x="280" y="221"/>
                  </a:cubicBezTo>
                  <a:cubicBezTo>
                    <a:pt x="280" y="264"/>
                    <a:pt x="280" y="264"/>
                    <a:pt x="280" y="264"/>
                  </a:cubicBezTo>
                  <a:cubicBezTo>
                    <a:pt x="280" y="267"/>
                    <a:pt x="278" y="269"/>
                    <a:pt x="275" y="271"/>
                  </a:cubicBezTo>
                  <a:cubicBezTo>
                    <a:pt x="195" y="311"/>
                    <a:pt x="195" y="311"/>
                    <a:pt x="195" y="311"/>
                  </a:cubicBezTo>
                  <a:cubicBezTo>
                    <a:pt x="195" y="311"/>
                    <a:pt x="195" y="311"/>
                    <a:pt x="195" y="311"/>
                  </a:cubicBezTo>
                  <a:cubicBezTo>
                    <a:pt x="194" y="311"/>
                    <a:pt x="193" y="312"/>
                    <a:pt x="192" y="312"/>
                  </a:cubicBezTo>
                  <a:cubicBezTo>
                    <a:pt x="191" y="312"/>
                    <a:pt x="189" y="311"/>
                    <a:pt x="188" y="311"/>
                  </a:cubicBezTo>
                  <a:cubicBezTo>
                    <a:pt x="188" y="311"/>
                    <a:pt x="188" y="311"/>
                    <a:pt x="188" y="311"/>
                  </a:cubicBezTo>
                  <a:cubicBezTo>
                    <a:pt x="108" y="271"/>
                    <a:pt x="108" y="271"/>
                    <a:pt x="108" y="271"/>
                  </a:cubicBezTo>
                  <a:cubicBezTo>
                    <a:pt x="105" y="269"/>
                    <a:pt x="104" y="267"/>
                    <a:pt x="104" y="264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76" y="207"/>
                    <a:pt x="76" y="207"/>
                    <a:pt x="76" y="207"/>
                  </a:cubicBezTo>
                  <a:cubicBezTo>
                    <a:pt x="74" y="206"/>
                    <a:pt x="72" y="204"/>
                    <a:pt x="72" y="201"/>
                  </a:cubicBezTo>
                  <a:cubicBezTo>
                    <a:pt x="71" y="199"/>
                    <a:pt x="72" y="197"/>
                    <a:pt x="73" y="195"/>
                  </a:cubicBezTo>
                  <a:cubicBezTo>
                    <a:pt x="101" y="160"/>
                    <a:pt x="101" y="160"/>
                    <a:pt x="101" y="160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2" y="123"/>
                    <a:pt x="71" y="120"/>
                    <a:pt x="72" y="118"/>
                  </a:cubicBezTo>
                  <a:cubicBezTo>
                    <a:pt x="72" y="116"/>
                    <a:pt x="74" y="114"/>
                    <a:pt x="76" y="113"/>
                  </a:cubicBezTo>
                  <a:cubicBezTo>
                    <a:pt x="156" y="73"/>
                    <a:pt x="156" y="73"/>
                    <a:pt x="156" y="73"/>
                  </a:cubicBezTo>
                  <a:cubicBezTo>
                    <a:pt x="159" y="71"/>
                    <a:pt x="164" y="72"/>
                    <a:pt x="166" y="75"/>
                  </a:cubicBezTo>
                  <a:cubicBezTo>
                    <a:pt x="192" y="107"/>
                    <a:pt x="192" y="107"/>
                    <a:pt x="192" y="107"/>
                  </a:cubicBezTo>
                  <a:cubicBezTo>
                    <a:pt x="217" y="75"/>
                    <a:pt x="217" y="75"/>
                    <a:pt x="217" y="75"/>
                  </a:cubicBezTo>
                  <a:cubicBezTo>
                    <a:pt x="220" y="72"/>
                    <a:pt x="224" y="71"/>
                    <a:pt x="227" y="73"/>
                  </a:cubicBezTo>
                  <a:cubicBezTo>
                    <a:pt x="307" y="113"/>
                    <a:pt x="307" y="113"/>
                    <a:pt x="307" y="113"/>
                  </a:cubicBezTo>
                  <a:cubicBezTo>
                    <a:pt x="309" y="114"/>
                    <a:pt x="311" y="116"/>
                    <a:pt x="311" y="118"/>
                  </a:cubicBezTo>
                  <a:cubicBezTo>
                    <a:pt x="312" y="120"/>
                    <a:pt x="311" y="123"/>
                    <a:pt x="310" y="125"/>
                  </a:cubicBezTo>
                  <a:cubicBezTo>
                    <a:pt x="282" y="160"/>
                    <a:pt x="282" y="160"/>
                    <a:pt x="282" y="160"/>
                  </a:cubicBezTo>
                  <a:lnTo>
                    <a:pt x="310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8"/>
            <p:cNvSpPr>
              <a:spLocks/>
            </p:cNvSpPr>
            <p:nvPr/>
          </p:nvSpPr>
          <p:spPr bwMode="auto">
            <a:xfrm>
              <a:off x="5178" y="874"/>
              <a:ext cx="39" cy="42"/>
            </a:xfrm>
            <a:custGeom>
              <a:avLst/>
              <a:gdLst>
                <a:gd name="T0" fmla="*/ 24 w 64"/>
                <a:gd name="T1" fmla="*/ 26 h 69"/>
                <a:gd name="T2" fmla="*/ 24 w 64"/>
                <a:gd name="T3" fmla="*/ 26 h 69"/>
                <a:gd name="T4" fmla="*/ 23 w 64"/>
                <a:gd name="T5" fmla="*/ 26 h 69"/>
                <a:gd name="T6" fmla="*/ 21 w 64"/>
                <a:gd name="T7" fmla="*/ 25 h 69"/>
                <a:gd name="T8" fmla="*/ 20 w 64"/>
                <a:gd name="T9" fmla="*/ 25 h 69"/>
                <a:gd name="T10" fmla="*/ 17 w 64"/>
                <a:gd name="T11" fmla="*/ 23 h 69"/>
                <a:gd name="T12" fmla="*/ 0 w 64"/>
                <a:gd name="T13" fmla="*/ 0 h 69"/>
                <a:gd name="T14" fmla="*/ 0 w 64"/>
                <a:gd name="T15" fmla="*/ 69 h 69"/>
                <a:gd name="T16" fmla="*/ 64 w 64"/>
                <a:gd name="T17" fmla="*/ 37 h 69"/>
                <a:gd name="T18" fmla="*/ 64 w 64"/>
                <a:gd name="T19" fmla="*/ 7 h 69"/>
                <a:gd name="T20" fmla="*/ 27 w 64"/>
                <a:gd name="T21" fmla="*/ 25 h 69"/>
                <a:gd name="T22" fmla="*/ 24 w 64"/>
                <a:gd name="T23" fmla="*/ 2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9">
                  <a:moveTo>
                    <a:pt x="24" y="26"/>
                  </a:moveTo>
                  <a:cubicBezTo>
                    <a:pt x="24" y="26"/>
                    <a:pt x="24" y="26"/>
                    <a:pt x="24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2" y="25"/>
                    <a:pt x="22" y="25"/>
                    <a:pt x="21" y="25"/>
                  </a:cubicBezTo>
                  <a:cubicBezTo>
                    <a:pt x="21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6" y="25"/>
                    <a:pt x="25" y="26"/>
                    <a:pt x="24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Freeform 9"/>
            <p:cNvSpPr>
              <a:spLocks/>
            </p:cNvSpPr>
            <p:nvPr/>
          </p:nvSpPr>
          <p:spPr bwMode="auto">
            <a:xfrm>
              <a:off x="5113" y="843"/>
              <a:ext cx="53" cy="36"/>
            </a:xfrm>
            <a:custGeom>
              <a:avLst/>
              <a:gdLst>
                <a:gd name="T0" fmla="*/ 87 w 87"/>
                <a:gd name="T1" fmla="*/ 32 h 59"/>
                <a:gd name="T2" fmla="*/ 22 w 87"/>
                <a:gd name="T3" fmla="*/ 0 h 59"/>
                <a:gd name="T4" fmla="*/ 0 w 87"/>
                <a:gd name="T5" fmla="*/ 27 h 59"/>
                <a:gd name="T6" fmla="*/ 23 w 87"/>
                <a:gd name="T7" fmla="*/ 38 h 59"/>
                <a:gd name="T8" fmla="*/ 23 w 87"/>
                <a:gd name="T9" fmla="*/ 38 h 59"/>
                <a:gd name="T10" fmla="*/ 65 w 87"/>
                <a:gd name="T11" fmla="*/ 59 h 59"/>
                <a:gd name="T12" fmla="*/ 87 w 87"/>
                <a:gd name="T13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59">
                  <a:moveTo>
                    <a:pt x="87" y="32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65" y="59"/>
                    <a:pt x="65" y="59"/>
                    <a:pt x="65" y="59"/>
                  </a:cubicBezTo>
                  <a:lnTo>
                    <a:pt x="8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2" name="Freeform 10"/>
            <p:cNvSpPr>
              <a:spLocks/>
            </p:cNvSpPr>
            <p:nvPr/>
          </p:nvSpPr>
          <p:spPr bwMode="auto">
            <a:xfrm>
              <a:off x="5113" y="794"/>
              <a:ext cx="53" cy="36"/>
            </a:xfrm>
            <a:custGeom>
              <a:avLst/>
              <a:gdLst>
                <a:gd name="T0" fmla="*/ 53 w 53"/>
                <a:gd name="T1" fmla="*/ 16 h 36"/>
                <a:gd name="T2" fmla="*/ 39 w 53"/>
                <a:gd name="T3" fmla="*/ 0 h 36"/>
                <a:gd name="T4" fmla="*/ 0 w 53"/>
                <a:gd name="T5" fmla="*/ 19 h 36"/>
                <a:gd name="T6" fmla="*/ 13 w 53"/>
                <a:gd name="T7" fmla="*/ 36 h 36"/>
                <a:gd name="T8" fmla="*/ 53 w 53"/>
                <a:gd name="T9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6">
                  <a:moveTo>
                    <a:pt x="53" y="16"/>
                  </a:moveTo>
                  <a:lnTo>
                    <a:pt x="39" y="0"/>
                  </a:lnTo>
                  <a:lnTo>
                    <a:pt x="0" y="19"/>
                  </a:lnTo>
                  <a:lnTo>
                    <a:pt x="13" y="36"/>
                  </a:lnTo>
                  <a:lnTo>
                    <a:pt x="5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11"/>
            <p:cNvSpPr>
              <a:spLocks/>
            </p:cNvSpPr>
            <p:nvPr/>
          </p:nvSpPr>
          <p:spPr bwMode="auto">
            <a:xfrm>
              <a:off x="5181" y="843"/>
              <a:ext cx="53" cy="36"/>
            </a:xfrm>
            <a:custGeom>
              <a:avLst/>
              <a:gdLst>
                <a:gd name="T0" fmla="*/ 0 w 87"/>
                <a:gd name="T1" fmla="*/ 32 h 59"/>
                <a:gd name="T2" fmla="*/ 22 w 87"/>
                <a:gd name="T3" fmla="*/ 59 h 59"/>
                <a:gd name="T4" fmla="*/ 64 w 87"/>
                <a:gd name="T5" fmla="*/ 38 h 59"/>
                <a:gd name="T6" fmla="*/ 64 w 87"/>
                <a:gd name="T7" fmla="*/ 38 h 59"/>
                <a:gd name="T8" fmla="*/ 87 w 87"/>
                <a:gd name="T9" fmla="*/ 26 h 59"/>
                <a:gd name="T10" fmla="*/ 65 w 87"/>
                <a:gd name="T11" fmla="*/ 0 h 59"/>
                <a:gd name="T12" fmla="*/ 0 w 87"/>
                <a:gd name="T13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59">
                  <a:moveTo>
                    <a:pt x="0" y="32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4" name="Freeform 12"/>
            <p:cNvSpPr>
              <a:spLocks/>
            </p:cNvSpPr>
            <p:nvPr/>
          </p:nvSpPr>
          <p:spPr bwMode="auto">
            <a:xfrm>
              <a:off x="5181" y="794"/>
              <a:ext cx="53" cy="36"/>
            </a:xfrm>
            <a:custGeom>
              <a:avLst/>
              <a:gdLst>
                <a:gd name="T0" fmla="*/ 0 w 53"/>
                <a:gd name="T1" fmla="*/ 16 h 36"/>
                <a:gd name="T2" fmla="*/ 39 w 53"/>
                <a:gd name="T3" fmla="*/ 36 h 36"/>
                <a:gd name="T4" fmla="*/ 53 w 53"/>
                <a:gd name="T5" fmla="*/ 19 h 36"/>
                <a:gd name="T6" fmla="*/ 13 w 53"/>
                <a:gd name="T7" fmla="*/ 0 h 36"/>
                <a:gd name="T8" fmla="*/ 0 w 53"/>
                <a:gd name="T9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6">
                  <a:moveTo>
                    <a:pt x="0" y="16"/>
                  </a:moveTo>
                  <a:lnTo>
                    <a:pt x="39" y="36"/>
                  </a:lnTo>
                  <a:lnTo>
                    <a:pt x="53" y="19"/>
                  </a:lnTo>
                  <a:lnTo>
                    <a:pt x="13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65" name="Group 20"/>
          <p:cNvGrpSpPr>
            <a:grpSpLocks noChangeAspect="1"/>
          </p:cNvGrpSpPr>
          <p:nvPr/>
        </p:nvGrpSpPr>
        <p:grpSpPr bwMode="auto">
          <a:xfrm>
            <a:off x="9884105" y="4528375"/>
            <a:ext cx="369887" cy="371475"/>
            <a:chOff x="3885" y="823"/>
            <a:chExt cx="233" cy="234"/>
          </a:xfrm>
          <a:solidFill>
            <a:schemeClr val="accent1"/>
          </a:solidFill>
        </p:grpSpPr>
        <p:sp>
          <p:nvSpPr>
            <p:cNvPr id="366" name="Freeform 21"/>
            <p:cNvSpPr>
              <a:spLocks noEditPoints="1"/>
            </p:cNvSpPr>
            <p:nvPr/>
          </p:nvSpPr>
          <p:spPr bwMode="auto">
            <a:xfrm>
              <a:off x="3885" y="823"/>
              <a:ext cx="233" cy="234"/>
            </a:xfrm>
            <a:custGeom>
              <a:avLst/>
              <a:gdLst>
                <a:gd name="T0" fmla="*/ 192 w 384"/>
                <a:gd name="T1" fmla="*/ 384 h 384"/>
                <a:gd name="T2" fmla="*/ 0 w 384"/>
                <a:gd name="T3" fmla="*/ 192 h 384"/>
                <a:gd name="T4" fmla="*/ 192 w 384"/>
                <a:gd name="T5" fmla="*/ 0 h 384"/>
                <a:gd name="T6" fmla="*/ 384 w 384"/>
                <a:gd name="T7" fmla="*/ 192 h 384"/>
                <a:gd name="T8" fmla="*/ 192 w 384"/>
                <a:gd name="T9" fmla="*/ 384 h 384"/>
                <a:gd name="T10" fmla="*/ 192 w 384"/>
                <a:gd name="T11" fmla="*/ 16 h 384"/>
                <a:gd name="T12" fmla="*/ 16 w 384"/>
                <a:gd name="T13" fmla="*/ 192 h 384"/>
                <a:gd name="T14" fmla="*/ 192 w 384"/>
                <a:gd name="T15" fmla="*/ 368 h 384"/>
                <a:gd name="T16" fmla="*/ 368 w 384"/>
                <a:gd name="T17" fmla="*/ 192 h 384"/>
                <a:gd name="T18" fmla="*/ 192 w 384"/>
                <a:gd name="T19" fmla="*/ 1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384"/>
                  </a:moveTo>
                  <a:cubicBezTo>
                    <a:pt x="86" y="384"/>
                    <a:pt x="0" y="298"/>
                    <a:pt x="0" y="192"/>
                  </a:cubicBezTo>
                  <a:cubicBezTo>
                    <a:pt x="0" y="86"/>
                    <a:pt x="86" y="0"/>
                    <a:pt x="192" y="0"/>
                  </a:cubicBezTo>
                  <a:cubicBezTo>
                    <a:pt x="298" y="0"/>
                    <a:pt x="384" y="86"/>
                    <a:pt x="384" y="192"/>
                  </a:cubicBezTo>
                  <a:cubicBezTo>
                    <a:pt x="384" y="298"/>
                    <a:pt x="298" y="384"/>
                    <a:pt x="192" y="384"/>
                  </a:cubicBezTo>
                  <a:close/>
                  <a:moveTo>
                    <a:pt x="192" y="16"/>
                  </a:moveTo>
                  <a:cubicBezTo>
                    <a:pt x="95" y="16"/>
                    <a:pt x="16" y="95"/>
                    <a:pt x="16" y="192"/>
                  </a:cubicBezTo>
                  <a:cubicBezTo>
                    <a:pt x="16" y="289"/>
                    <a:pt x="95" y="368"/>
                    <a:pt x="192" y="368"/>
                  </a:cubicBezTo>
                  <a:cubicBezTo>
                    <a:pt x="289" y="368"/>
                    <a:pt x="368" y="289"/>
                    <a:pt x="368" y="192"/>
                  </a:cubicBezTo>
                  <a:cubicBezTo>
                    <a:pt x="368" y="95"/>
                    <a:pt x="289" y="16"/>
                    <a:pt x="1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Freeform 22"/>
            <p:cNvSpPr>
              <a:spLocks noEditPoints="1"/>
            </p:cNvSpPr>
            <p:nvPr/>
          </p:nvSpPr>
          <p:spPr bwMode="auto">
            <a:xfrm>
              <a:off x="3928" y="866"/>
              <a:ext cx="146" cy="147"/>
            </a:xfrm>
            <a:custGeom>
              <a:avLst/>
              <a:gdLst>
                <a:gd name="T0" fmla="*/ 239 w 241"/>
                <a:gd name="T1" fmla="*/ 54 h 241"/>
                <a:gd name="T2" fmla="*/ 236 w 241"/>
                <a:gd name="T3" fmla="*/ 42 h 241"/>
                <a:gd name="T4" fmla="*/ 146 w 241"/>
                <a:gd name="T5" fmla="*/ 4 h 241"/>
                <a:gd name="T6" fmla="*/ 95 w 241"/>
                <a:gd name="T7" fmla="*/ 4 h 241"/>
                <a:gd name="T8" fmla="*/ 5 w 241"/>
                <a:gd name="T9" fmla="*/ 42 h 241"/>
                <a:gd name="T10" fmla="*/ 2 w 241"/>
                <a:gd name="T11" fmla="*/ 54 h 241"/>
                <a:gd name="T12" fmla="*/ 2 w 241"/>
                <a:gd name="T13" fmla="*/ 124 h 241"/>
                <a:gd name="T14" fmla="*/ 5 w 241"/>
                <a:gd name="T15" fmla="*/ 136 h 241"/>
                <a:gd name="T16" fmla="*/ 33 w 241"/>
                <a:gd name="T17" fmla="*/ 193 h 241"/>
                <a:gd name="T18" fmla="*/ 117 w 241"/>
                <a:gd name="T19" fmla="*/ 240 h 241"/>
                <a:gd name="T20" fmla="*/ 121 w 241"/>
                <a:gd name="T21" fmla="*/ 241 h 241"/>
                <a:gd name="T22" fmla="*/ 124 w 241"/>
                <a:gd name="T23" fmla="*/ 240 h 241"/>
                <a:gd name="T24" fmla="*/ 209 w 241"/>
                <a:gd name="T25" fmla="*/ 193 h 241"/>
                <a:gd name="T26" fmla="*/ 236 w 241"/>
                <a:gd name="T27" fmla="*/ 136 h 241"/>
                <a:gd name="T28" fmla="*/ 239 w 241"/>
                <a:gd name="T29" fmla="*/ 124 h 241"/>
                <a:gd name="T30" fmla="*/ 155 w 241"/>
                <a:gd name="T31" fmla="*/ 19 h 241"/>
                <a:gd name="T32" fmla="*/ 198 w 241"/>
                <a:gd name="T33" fmla="*/ 79 h 241"/>
                <a:gd name="T34" fmla="*/ 155 w 241"/>
                <a:gd name="T35" fmla="*/ 19 h 241"/>
                <a:gd name="T36" fmla="*/ 59 w 241"/>
                <a:gd name="T37" fmla="*/ 89 h 241"/>
                <a:gd name="T38" fmla="*/ 183 w 241"/>
                <a:gd name="T39" fmla="*/ 89 h 241"/>
                <a:gd name="T40" fmla="*/ 21 w 241"/>
                <a:gd name="T41" fmla="*/ 51 h 241"/>
                <a:gd name="T42" fmla="*/ 108 w 241"/>
                <a:gd name="T43" fmla="*/ 46 h 241"/>
                <a:gd name="T44" fmla="*/ 21 w 241"/>
                <a:gd name="T45" fmla="*/ 51 h 241"/>
                <a:gd name="T46" fmla="*/ 108 w 241"/>
                <a:gd name="T47" fmla="*/ 131 h 241"/>
                <a:gd name="T48" fmla="*/ 44 w 241"/>
                <a:gd name="T49" fmla="*/ 137 h 241"/>
                <a:gd name="T50" fmla="*/ 21 w 241"/>
                <a:gd name="T51" fmla="*/ 126 h 241"/>
                <a:gd name="T52" fmla="*/ 49 w 241"/>
                <a:gd name="T53" fmla="*/ 158 h 241"/>
                <a:gd name="T54" fmla="*/ 95 w 241"/>
                <a:gd name="T55" fmla="*/ 174 h 241"/>
                <a:gd name="T56" fmla="*/ 113 w 241"/>
                <a:gd name="T57" fmla="*/ 220 h 241"/>
                <a:gd name="T58" fmla="*/ 49 w 241"/>
                <a:gd name="T59" fmla="*/ 158 h 241"/>
                <a:gd name="T60" fmla="*/ 129 w 241"/>
                <a:gd name="T61" fmla="*/ 220 h 241"/>
                <a:gd name="T62" fmla="*/ 146 w 241"/>
                <a:gd name="T63" fmla="*/ 174 h 241"/>
                <a:gd name="T64" fmla="*/ 150 w 241"/>
                <a:gd name="T65" fmla="*/ 176 h 241"/>
                <a:gd name="T66" fmla="*/ 153 w 241"/>
                <a:gd name="T67" fmla="*/ 177 h 241"/>
                <a:gd name="T68" fmla="*/ 156 w 241"/>
                <a:gd name="T69" fmla="*/ 176 h 241"/>
                <a:gd name="T70" fmla="*/ 193 w 241"/>
                <a:gd name="T71" fmla="*/ 188 h 241"/>
                <a:gd name="T72" fmla="*/ 197 w 241"/>
                <a:gd name="T73" fmla="*/ 137 h 241"/>
                <a:gd name="T74" fmla="*/ 133 w 241"/>
                <a:gd name="T75" fmla="*/ 131 h 241"/>
                <a:gd name="T76" fmla="*/ 220 w 241"/>
                <a:gd name="T77" fmla="*/ 12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1" h="241">
                  <a:moveTo>
                    <a:pt x="211" y="89"/>
                  </a:moveTo>
                  <a:cubicBezTo>
                    <a:pt x="239" y="54"/>
                    <a:pt x="239" y="54"/>
                    <a:pt x="239" y="54"/>
                  </a:cubicBezTo>
                  <a:cubicBezTo>
                    <a:pt x="240" y="52"/>
                    <a:pt x="241" y="49"/>
                    <a:pt x="240" y="47"/>
                  </a:cubicBezTo>
                  <a:cubicBezTo>
                    <a:pt x="240" y="45"/>
                    <a:pt x="238" y="43"/>
                    <a:pt x="236" y="42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3" y="0"/>
                    <a:pt x="149" y="1"/>
                    <a:pt x="146" y="4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3" y="1"/>
                    <a:pt x="88" y="0"/>
                    <a:pt x="85" y="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3" y="43"/>
                    <a:pt x="1" y="45"/>
                    <a:pt x="1" y="47"/>
                  </a:cubicBezTo>
                  <a:cubicBezTo>
                    <a:pt x="0" y="49"/>
                    <a:pt x="1" y="52"/>
                    <a:pt x="2" y="5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1" y="126"/>
                    <a:pt x="0" y="128"/>
                    <a:pt x="1" y="130"/>
                  </a:cubicBezTo>
                  <a:cubicBezTo>
                    <a:pt x="1" y="133"/>
                    <a:pt x="3" y="135"/>
                    <a:pt x="5" y="136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33" y="196"/>
                    <a:pt x="34" y="198"/>
                    <a:pt x="37" y="200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18" y="240"/>
                    <a:pt x="120" y="241"/>
                    <a:pt x="121" y="241"/>
                  </a:cubicBezTo>
                  <a:cubicBezTo>
                    <a:pt x="122" y="241"/>
                    <a:pt x="123" y="240"/>
                    <a:pt x="124" y="240"/>
                  </a:cubicBezTo>
                  <a:cubicBezTo>
                    <a:pt x="124" y="240"/>
                    <a:pt x="124" y="240"/>
                    <a:pt x="124" y="240"/>
                  </a:cubicBezTo>
                  <a:cubicBezTo>
                    <a:pt x="204" y="200"/>
                    <a:pt x="204" y="200"/>
                    <a:pt x="204" y="200"/>
                  </a:cubicBezTo>
                  <a:cubicBezTo>
                    <a:pt x="207" y="198"/>
                    <a:pt x="209" y="196"/>
                    <a:pt x="209" y="193"/>
                  </a:cubicBezTo>
                  <a:cubicBezTo>
                    <a:pt x="209" y="150"/>
                    <a:pt x="209" y="150"/>
                    <a:pt x="209" y="150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8" y="135"/>
                    <a:pt x="240" y="133"/>
                    <a:pt x="240" y="130"/>
                  </a:cubicBezTo>
                  <a:cubicBezTo>
                    <a:pt x="241" y="128"/>
                    <a:pt x="240" y="126"/>
                    <a:pt x="239" y="124"/>
                  </a:cubicBezTo>
                  <a:lnTo>
                    <a:pt x="211" y="89"/>
                  </a:lnTo>
                  <a:close/>
                  <a:moveTo>
                    <a:pt x="155" y="19"/>
                  </a:moveTo>
                  <a:cubicBezTo>
                    <a:pt x="220" y="51"/>
                    <a:pt x="220" y="51"/>
                    <a:pt x="220" y="51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33" y="46"/>
                    <a:pt x="133" y="46"/>
                    <a:pt x="133" y="46"/>
                  </a:cubicBezTo>
                  <a:lnTo>
                    <a:pt x="155" y="19"/>
                  </a:lnTo>
                  <a:close/>
                  <a:moveTo>
                    <a:pt x="121" y="120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83" y="89"/>
                    <a:pt x="183" y="89"/>
                    <a:pt x="183" y="89"/>
                  </a:cubicBezTo>
                  <a:lnTo>
                    <a:pt x="121" y="120"/>
                  </a:lnTo>
                  <a:close/>
                  <a:moveTo>
                    <a:pt x="21" y="51"/>
                  </a:moveTo>
                  <a:cubicBezTo>
                    <a:pt x="86" y="19"/>
                    <a:pt x="86" y="19"/>
                    <a:pt x="86" y="19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43" y="79"/>
                    <a:pt x="43" y="79"/>
                    <a:pt x="43" y="79"/>
                  </a:cubicBezTo>
                  <a:lnTo>
                    <a:pt x="21" y="51"/>
                  </a:lnTo>
                  <a:close/>
                  <a:moveTo>
                    <a:pt x="43" y="99"/>
                  </a:moveTo>
                  <a:cubicBezTo>
                    <a:pt x="108" y="131"/>
                    <a:pt x="108" y="131"/>
                    <a:pt x="108" y="131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21" y="126"/>
                    <a:pt x="21" y="126"/>
                    <a:pt x="21" y="126"/>
                  </a:cubicBezTo>
                  <a:lnTo>
                    <a:pt x="43" y="99"/>
                  </a:lnTo>
                  <a:close/>
                  <a:moveTo>
                    <a:pt x="49" y="158"/>
                  </a:moveTo>
                  <a:cubicBezTo>
                    <a:pt x="85" y="176"/>
                    <a:pt x="85" y="176"/>
                    <a:pt x="85" y="176"/>
                  </a:cubicBezTo>
                  <a:cubicBezTo>
                    <a:pt x="88" y="178"/>
                    <a:pt x="93" y="177"/>
                    <a:pt x="95" y="174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220"/>
                    <a:pt x="113" y="220"/>
                    <a:pt x="113" y="220"/>
                  </a:cubicBezTo>
                  <a:cubicBezTo>
                    <a:pt x="49" y="188"/>
                    <a:pt x="49" y="188"/>
                    <a:pt x="49" y="188"/>
                  </a:cubicBezTo>
                  <a:lnTo>
                    <a:pt x="49" y="158"/>
                  </a:lnTo>
                  <a:close/>
                  <a:moveTo>
                    <a:pt x="193" y="188"/>
                  </a:moveTo>
                  <a:cubicBezTo>
                    <a:pt x="129" y="220"/>
                    <a:pt x="129" y="220"/>
                    <a:pt x="129" y="220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47" y="175"/>
                    <a:pt x="148" y="175"/>
                    <a:pt x="149" y="176"/>
                  </a:cubicBezTo>
                  <a:cubicBezTo>
                    <a:pt x="149" y="176"/>
                    <a:pt x="150" y="176"/>
                    <a:pt x="150" y="176"/>
                  </a:cubicBezTo>
                  <a:cubicBezTo>
                    <a:pt x="151" y="176"/>
                    <a:pt x="151" y="176"/>
                    <a:pt x="152" y="177"/>
                  </a:cubicBezTo>
                  <a:cubicBezTo>
                    <a:pt x="152" y="177"/>
                    <a:pt x="152" y="177"/>
                    <a:pt x="153" y="177"/>
                  </a:cubicBezTo>
                  <a:cubicBezTo>
                    <a:pt x="153" y="177"/>
                    <a:pt x="153" y="177"/>
                    <a:pt x="153" y="177"/>
                  </a:cubicBezTo>
                  <a:cubicBezTo>
                    <a:pt x="154" y="177"/>
                    <a:pt x="155" y="176"/>
                    <a:pt x="156" y="176"/>
                  </a:cubicBezTo>
                  <a:cubicBezTo>
                    <a:pt x="193" y="158"/>
                    <a:pt x="193" y="158"/>
                    <a:pt x="193" y="158"/>
                  </a:cubicBezTo>
                  <a:lnTo>
                    <a:pt x="193" y="188"/>
                  </a:lnTo>
                  <a:close/>
                  <a:moveTo>
                    <a:pt x="197" y="137"/>
                  </a:moveTo>
                  <a:cubicBezTo>
                    <a:pt x="197" y="137"/>
                    <a:pt x="197" y="137"/>
                    <a:pt x="197" y="137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98" y="99"/>
                    <a:pt x="198" y="99"/>
                    <a:pt x="198" y="99"/>
                  </a:cubicBezTo>
                  <a:cubicBezTo>
                    <a:pt x="220" y="125"/>
                    <a:pt x="220" y="125"/>
                    <a:pt x="220" y="125"/>
                  </a:cubicBezTo>
                  <a:lnTo>
                    <a:pt x="197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8271352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General u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703542" y="246797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3D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623279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larm clock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56411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sterisk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372977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sketball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539845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xe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289543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ell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8122675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okmark 2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7206109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okmark 1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1438741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 err="1"/>
              <a:t>Bullseye</a:t>
            </a:r>
            <a:endParaRPr lang="en-US" sz="1000" dirty="0"/>
          </a:p>
        </p:txBody>
      </p:sp>
      <p:sp>
        <p:nvSpPr>
          <p:cNvPr id="475" name="TextBox 474"/>
          <p:cNvSpPr txBox="1"/>
          <p:nvPr/>
        </p:nvSpPr>
        <p:spPr>
          <a:xfrm>
            <a:off x="3434705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ctus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4432687" y="332236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endar minus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436723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st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5430669" y="332236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endar multiply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8424615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endar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7426633" y="332236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endar tick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6428651" y="332236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endar plus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52401" y="416477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ndle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35914" y="416477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king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34244" y="416478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knight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424554" y="416478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queen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7410019" y="4164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ck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29399" y="416478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pawn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5419709" y="416478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bishop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9422595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lock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405174" y="4164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lipboard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6414864" y="416478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hess castle</a:t>
            </a:r>
          </a:p>
        </p:txBody>
      </p:sp>
      <p:sp>
        <p:nvSpPr>
          <p:cNvPr id="630" name="TextBox 629"/>
          <p:cNvSpPr txBox="1"/>
          <p:nvPr/>
        </p:nvSpPr>
        <p:spPr>
          <a:xfrm>
            <a:off x="440759" y="33223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ter</a:t>
            </a:r>
          </a:p>
        </p:txBody>
      </p:sp>
      <p:sp>
        <p:nvSpPr>
          <p:cNvPr id="673" name="TextBox 672"/>
          <p:cNvSpPr txBox="1"/>
          <p:nvPr/>
        </p:nvSpPr>
        <p:spPr>
          <a:xfrm>
            <a:off x="430015" y="246797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ucet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9421837" y="24679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eather</a:t>
            </a:r>
          </a:p>
        </p:txBody>
      </p:sp>
      <p:sp>
        <p:nvSpPr>
          <p:cNvPr id="257" name="Freeform 19"/>
          <p:cNvSpPr>
            <a:spLocks noChangeAspect="1" noEditPoints="1"/>
          </p:cNvSpPr>
          <p:nvPr/>
        </p:nvSpPr>
        <p:spPr bwMode="auto">
          <a:xfrm>
            <a:off x="1420711" y="2051051"/>
            <a:ext cx="368152" cy="368152"/>
          </a:xfrm>
          <a:custGeom>
            <a:avLst/>
            <a:gdLst>
              <a:gd name="T0" fmla="*/ 266 w 512"/>
              <a:gd name="T1" fmla="*/ 252 h 512"/>
              <a:gd name="T2" fmla="*/ 394 w 512"/>
              <a:gd name="T3" fmla="*/ 197 h 512"/>
              <a:gd name="T4" fmla="*/ 394 w 512"/>
              <a:gd name="T5" fmla="*/ 334 h 512"/>
              <a:gd name="T6" fmla="*/ 266 w 512"/>
              <a:gd name="T7" fmla="*/ 389 h 512"/>
              <a:gd name="T8" fmla="*/ 266 w 512"/>
              <a:gd name="T9" fmla="*/ 252 h 512"/>
              <a:gd name="T10" fmla="*/ 117 w 512"/>
              <a:gd name="T11" fmla="*/ 324 h 512"/>
              <a:gd name="T12" fmla="*/ 245 w 512"/>
              <a:gd name="T13" fmla="*/ 388 h 512"/>
              <a:gd name="T14" fmla="*/ 245 w 512"/>
              <a:gd name="T15" fmla="*/ 252 h 512"/>
              <a:gd name="T16" fmla="*/ 117 w 512"/>
              <a:gd name="T17" fmla="*/ 197 h 512"/>
              <a:gd name="T18" fmla="*/ 117 w 512"/>
              <a:gd name="T19" fmla="*/ 324 h 512"/>
              <a:gd name="T20" fmla="*/ 256 w 512"/>
              <a:gd name="T21" fmla="*/ 129 h 512"/>
              <a:gd name="T22" fmla="*/ 133 w 512"/>
              <a:gd name="T23" fmla="*/ 181 h 512"/>
              <a:gd name="T24" fmla="*/ 256 w 512"/>
              <a:gd name="T25" fmla="*/ 233 h 512"/>
              <a:gd name="T26" fmla="*/ 378 w 512"/>
              <a:gd name="T27" fmla="*/ 181 h 512"/>
              <a:gd name="T28" fmla="*/ 256 w 512"/>
              <a:gd name="T29" fmla="*/ 129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6 w 512"/>
              <a:gd name="T41" fmla="*/ 181 h 512"/>
              <a:gd name="T42" fmla="*/ 415 w 512"/>
              <a:gd name="T43" fmla="*/ 177 h 512"/>
              <a:gd name="T44" fmla="*/ 414 w 512"/>
              <a:gd name="T45" fmla="*/ 176 h 512"/>
              <a:gd name="T46" fmla="*/ 413 w 512"/>
              <a:gd name="T47" fmla="*/ 174 h 512"/>
              <a:gd name="T48" fmla="*/ 412 w 512"/>
              <a:gd name="T49" fmla="*/ 173 h 512"/>
              <a:gd name="T50" fmla="*/ 409 w 512"/>
              <a:gd name="T51" fmla="*/ 171 h 512"/>
              <a:gd name="T52" fmla="*/ 409 w 512"/>
              <a:gd name="T53" fmla="*/ 171 h 512"/>
              <a:gd name="T54" fmla="*/ 409 w 512"/>
              <a:gd name="T55" fmla="*/ 171 h 512"/>
              <a:gd name="T56" fmla="*/ 260 w 512"/>
              <a:gd name="T57" fmla="*/ 107 h 512"/>
              <a:gd name="T58" fmla="*/ 251 w 512"/>
              <a:gd name="T59" fmla="*/ 107 h 512"/>
              <a:gd name="T60" fmla="*/ 102 w 512"/>
              <a:gd name="T61" fmla="*/ 171 h 512"/>
              <a:gd name="T62" fmla="*/ 96 w 512"/>
              <a:gd name="T63" fmla="*/ 181 h 512"/>
              <a:gd name="T64" fmla="*/ 96 w 512"/>
              <a:gd name="T65" fmla="*/ 330 h 512"/>
              <a:gd name="T66" fmla="*/ 102 w 512"/>
              <a:gd name="T67" fmla="*/ 340 h 512"/>
              <a:gd name="T68" fmla="*/ 251 w 512"/>
              <a:gd name="T69" fmla="*/ 415 h 512"/>
              <a:gd name="T70" fmla="*/ 251 w 512"/>
              <a:gd name="T71" fmla="*/ 415 h 512"/>
              <a:gd name="T72" fmla="*/ 256 w 512"/>
              <a:gd name="T73" fmla="*/ 416 h 512"/>
              <a:gd name="T74" fmla="*/ 256 w 512"/>
              <a:gd name="T75" fmla="*/ 416 h 512"/>
              <a:gd name="T76" fmla="*/ 256 w 512"/>
              <a:gd name="T77" fmla="*/ 416 h 512"/>
              <a:gd name="T78" fmla="*/ 256 w 512"/>
              <a:gd name="T79" fmla="*/ 416 h 512"/>
              <a:gd name="T80" fmla="*/ 256 w 512"/>
              <a:gd name="T81" fmla="*/ 416 h 512"/>
              <a:gd name="T82" fmla="*/ 259 w 512"/>
              <a:gd name="T83" fmla="*/ 415 h 512"/>
              <a:gd name="T84" fmla="*/ 260 w 512"/>
              <a:gd name="T85" fmla="*/ 415 h 512"/>
              <a:gd name="T86" fmla="*/ 409 w 512"/>
              <a:gd name="T87" fmla="*/ 351 h 512"/>
              <a:gd name="T88" fmla="*/ 416 w 512"/>
              <a:gd name="T89" fmla="*/ 341 h 512"/>
              <a:gd name="T90" fmla="*/ 416 w 512"/>
              <a:gd name="T91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66" y="252"/>
                </a:moveTo>
                <a:cubicBezTo>
                  <a:pt x="394" y="197"/>
                  <a:pt x="394" y="197"/>
                  <a:pt x="394" y="197"/>
                </a:cubicBezTo>
                <a:cubicBezTo>
                  <a:pt x="394" y="334"/>
                  <a:pt x="394" y="334"/>
                  <a:pt x="394" y="334"/>
                </a:cubicBezTo>
                <a:cubicBezTo>
                  <a:pt x="266" y="389"/>
                  <a:pt x="266" y="389"/>
                  <a:pt x="266" y="389"/>
                </a:cubicBezTo>
                <a:lnTo>
                  <a:pt x="266" y="252"/>
                </a:lnTo>
                <a:close/>
                <a:moveTo>
                  <a:pt x="117" y="324"/>
                </a:moveTo>
                <a:cubicBezTo>
                  <a:pt x="245" y="388"/>
                  <a:pt x="245" y="388"/>
                  <a:pt x="245" y="388"/>
                </a:cubicBezTo>
                <a:cubicBezTo>
                  <a:pt x="245" y="252"/>
                  <a:pt x="245" y="252"/>
                  <a:pt x="245" y="252"/>
                </a:cubicBezTo>
                <a:cubicBezTo>
                  <a:pt x="117" y="197"/>
                  <a:pt x="117" y="197"/>
                  <a:pt x="117" y="197"/>
                </a:cubicBezTo>
                <a:lnTo>
                  <a:pt x="117" y="324"/>
                </a:lnTo>
                <a:close/>
                <a:moveTo>
                  <a:pt x="256" y="129"/>
                </a:moveTo>
                <a:cubicBezTo>
                  <a:pt x="133" y="181"/>
                  <a:pt x="133" y="181"/>
                  <a:pt x="133" y="181"/>
                </a:cubicBezTo>
                <a:cubicBezTo>
                  <a:pt x="256" y="233"/>
                  <a:pt x="256" y="233"/>
                  <a:pt x="256" y="233"/>
                </a:cubicBezTo>
                <a:cubicBezTo>
                  <a:pt x="378" y="181"/>
                  <a:pt x="378" y="181"/>
                  <a:pt x="378" y="181"/>
                </a:cubicBezTo>
                <a:lnTo>
                  <a:pt x="256" y="12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80"/>
                  <a:pt x="415" y="178"/>
                  <a:pt x="415" y="177"/>
                </a:cubicBezTo>
                <a:cubicBezTo>
                  <a:pt x="415" y="177"/>
                  <a:pt x="415" y="177"/>
                  <a:pt x="414" y="176"/>
                </a:cubicBezTo>
                <a:cubicBezTo>
                  <a:pt x="414" y="175"/>
                  <a:pt x="414" y="175"/>
                  <a:pt x="413" y="174"/>
                </a:cubicBezTo>
                <a:cubicBezTo>
                  <a:pt x="413" y="174"/>
                  <a:pt x="412" y="173"/>
                  <a:pt x="412" y="173"/>
                </a:cubicBezTo>
                <a:cubicBezTo>
                  <a:pt x="411" y="172"/>
                  <a:pt x="410" y="172"/>
                  <a:pt x="409" y="171"/>
                </a:cubicBezTo>
                <a:cubicBezTo>
                  <a:pt x="409" y="171"/>
                  <a:pt x="409" y="171"/>
                  <a:pt x="409" y="171"/>
                </a:cubicBezTo>
                <a:cubicBezTo>
                  <a:pt x="409" y="171"/>
                  <a:pt x="409" y="171"/>
                  <a:pt x="409" y="171"/>
                </a:cubicBezTo>
                <a:cubicBezTo>
                  <a:pt x="260" y="107"/>
                  <a:pt x="260" y="107"/>
                  <a:pt x="260" y="107"/>
                </a:cubicBezTo>
                <a:cubicBezTo>
                  <a:pt x="257" y="106"/>
                  <a:pt x="254" y="106"/>
                  <a:pt x="251" y="107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98" y="173"/>
                  <a:pt x="96" y="177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4"/>
                  <a:pt x="98" y="338"/>
                  <a:pt x="102" y="340"/>
                </a:cubicBezTo>
                <a:cubicBezTo>
                  <a:pt x="251" y="415"/>
                  <a:pt x="251" y="415"/>
                  <a:pt x="251" y="415"/>
                </a:cubicBezTo>
                <a:cubicBezTo>
                  <a:pt x="251" y="415"/>
                  <a:pt x="251" y="415"/>
                  <a:pt x="251" y="415"/>
                </a:cubicBezTo>
                <a:cubicBezTo>
                  <a:pt x="253" y="415"/>
                  <a:pt x="254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7" y="416"/>
                  <a:pt x="258" y="415"/>
                  <a:pt x="259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409" y="351"/>
                  <a:pt x="409" y="351"/>
                  <a:pt x="409" y="351"/>
                </a:cubicBezTo>
                <a:cubicBezTo>
                  <a:pt x="413" y="349"/>
                  <a:pt x="416" y="345"/>
                  <a:pt x="416" y="341"/>
                </a:cubicBezTo>
                <a:lnTo>
                  <a:pt x="416" y="18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260"/>
          <p:cNvGrpSpPr>
            <a:grpSpLocks noChangeAspect="1"/>
          </p:cNvGrpSpPr>
          <p:nvPr/>
        </p:nvGrpSpPr>
        <p:grpSpPr bwMode="auto">
          <a:xfrm>
            <a:off x="1918449" y="2051051"/>
            <a:ext cx="368152" cy="368152"/>
            <a:chOff x="3219" y="626"/>
            <a:chExt cx="3635" cy="3635"/>
          </a:xfrm>
          <a:solidFill>
            <a:schemeClr val="accent3"/>
          </a:solidFill>
        </p:grpSpPr>
        <p:sp>
          <p:nvSpPr>
            <p:cNvPr id="262" name="Freeform 28"/>
            <p:cNvSpPr>
              <a:spLocks noEditPoints="1"/>
            </p:cNvSpPr>
            <p:nvPr/>
          </p:nvSpPr>
          <p:spPr bwMode="auto">
            <a:xfrm>
              <a:off x="3219" y="626"/>
              <a:ext cx="3635" cy="3635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9"/>
            <p:cNvSpPr>
              <a:spLocks noEditPoints="1"/>
            </p:cNvSpPr>
            <p:nvPr/>
          </p:nvSpPr>
          <p:spPr bwMode="auto">
            <a:xfrm>
              <a:off x="3900" y="1378"/>
              <a:ext cx="2272" cy="2201"/>
            </a:xfrm>
            <a:custGeom>
              <a:avLst/>
              <a:gdLst>
                <a:gd name="T0" fmla="*/ 319 w 320"/>
                <a:gd name="T1" fmla="*/ 71 h 310"/>
                <a:gd name="T2" fmla="*/ 318 w 320"/>
                <a:gd name="T3" fmla="*/ 70 h 310"/>
                <a:gd name="T4" fmla="*/ 317 w 320"/>
                <a:gd name="T5" fmla="*/ 68 h 310"/>
                <a:gd name="T6" fmla="*/ 316 w 320"/>
                <a:gd name="T7" fmla="*/ 67 h 310"/>
                <a:gd name="T8" fmla="*/ 313 w 320"/>
                <a:gd name="T9" fmla="*/ 65 h 310"/>
                <a:gd name="T10" fmla="*/ 313 w 320"/>
                <a:gd name="T11" fmla="*/ 65 h 310"/>
                <a:gd name="T12" fmla="*/ 313 w 320"/>
                <a:gd name="T13" fmla="*/ 65 h 310"/>
                <a:gd name="T14" fmla="*/ 164 w 320"/>
                <a:gd name="T15" fmla="*/ 1 h 310"/>
                <a:gd name="T16" fmla="*/ 155 w 320"/>
                <a:gd name="T17" fmla="*/ 1 h 310"/>
                <a:gd name="T18" fmla="*/ 6 w 320"/>
                <a:gd name="T19" fmla="*/ 65 h 310"/>
                <a:gd name="T20" fmla="*/ 0 w 320"/>
                <a:gd name="T21" fmla="*/ 75 h 310"/>
                <a:gd name="T22" fmla="*/ 0 w 320"/>
                <a:gd name="T23" fmla="*/ 224 h 310"/>
                <a:gd name="T24" fmla="*/ 6 w 320"/>
                <a:gd name="T25" fmla="*/ 234 h 310"/>
                <a:gd name="T26" fmla="*/ 155 w 320"/>
                <a:gd name="T27" fmla="*/ 309 h 310"/>
                <a:gd name="T28" fmla="*/ 155 w 320"/>
                <a:gd name="T29" fmla="*/ 309 h 310"/>
                <a:gd name="T30" fmla="*/ 160 w 320"/>
                <a:gd name="T31" fmla="*/ 310 h 310"/>
                <a:gd name="T32" fmla="*/ 160 w 320"/>
                <a:gd name="T33" fmla="*/ 310 h 310"/>
                <a:gd name="T34" fmla="*/ 160 w 320"/>
                <a:gd name="T35" fmla="*/ 310 h 310"/>
                <a:gd name="T36" fmla="*/ 160 w 320"/>
                <a:gd name="T37" fmla="*/ 310 h 310"/>
                <a:gd name="T38" fmla="*/ 160 w 320"/>
                <a:gd name="T39" fmla="*/ 310 h 310"/>
                <a:gd name="T40" fmla="*/ 163 w 320"/>
                <a:gd name="T41" fmla="*/ 309 h 310"/>
                <a:gd name="T42" fmla="*/ 164 w 320"/>
                <a:gd name="T43" fmla="*/ 309 h 310"/>
                <a:gd name="T44" fmla="*/ 313 w 320"/>
                <a:gd name="T45" fmla="*/ 245 h 310"/>
                <a:gd name="T46" fmla="*/ 320 w 320"/>
                <a:gd name="T47" fmla="*/ 235 h 310"/>
                <a:gd name="T48" fmla="*/ 320 w 320"/>
                <a:gd name="T49" fmla="*/ 75 h 310"/>
                <a:gd name="T50" fmla="*/ 319 w 320"/>
                <a:gd name="T51" fmla="*/ 71 h 310"/>
                <a:gd name="T52" fmla="*/ 160 w 320"/>
                <a:gd name="T53" fmla="*/ 23 h 310"/>
                <a:gd name="T54" fmla="*/ 282 w 320"/>
                <a:gd name="T55" fmla="*/ 75 h 310"/>
                <a:gd name="T56" fmla="*/ 160 w 320"/>
                <a:gd name="T57" fmla="*/ 127 h 310"/>
                <a:gd name="T58" fmla="*/ 37 w 320"/>
                <a:gd name="T59" fmla="*/ 75 h 310"/>
                <a:gd name="T60" fmla="*/ 160 w 320"/>
                <a:gd name="T61" fmla="*/ 23 h 310"/>
                <a:gd name="T62" fmla="*/ 21 w 320"/>
                <a:gd name="T63" fmla="*/ 91 h 310"/>
                <a:gd name="T64" fmla="*/ 149 w 320"/>
                <a:gd name="T65" fmla="*/ 146 h 310"/>
                <a:gd name="T66" fmla="*/ 149 w 320"/>
                <a:gd name="T67" fmla="*/ 282 h 310"/>
                <a:gd name="T68" fmla="*/ 21 w 320"/>
                <a:gd name="T69" fmla="*/ 218 h 310"/>
                <a:gd name="T70" fmla="*/ 21 w 320"/>
                <a:gd name="T71" fmla="*/ 91 h 310"/>
                <a:gd name="T72" fmla="*/ 170 w 320"/>
                <a:gd name="T73" fmla="*/ 283 h 310"/>
                <a:gd name="T74" fmla="*/ 170 w 320"/>
                <a:gd name="T75" fmla="*/ 146 h 310"/>
                <a:gd name="T76" fmla="*/ 298 w 320"/>
                <a:gd name="T77" fmla="*/ 91 h 310"/>
                <a:gd name="T78" fmla="*/ 298 w 320"/>
                <a:gd name="T79" fmla="*/ 228 h 310"/>
                <a:gd name="T80" fmla="*/ 170 w 320"/>
                <a:gd name="T81" fmla="*/ 28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0" h="310">
                  <a:moveTo>
                    <a:pt x="319" y="71"/>
                  </a:moveTo>
                  <a:cubicBezTo>
                    <a:pt x="319" y="71"/>
                    <a:pt x="319" y="71"/>
                    <a:pt x="318" y="70"/>
                  </a:cubicBezTo>
                  <a:cubicBezTo>
                    <a:pt x="318" y="69"/>
                    <a:pt x="318" y="69"/>
                    <a:pt x="317" y="68"/>
                  </a:cubicBezTo>
                  <a:cubicBezTo>
                    <a:pt x="317" y="68"/>
                    <a:pt x="316" y="67"/>
                    <a:pt x="316" y="67"/>
                  </a:cubicBezTo>
                  <a:cubicBezTo>
                    <a:pt x="315" y="66"/>
                    <a:pt x="314" y="66"/>
                    <a:pt x="313" y="65"/>
                  </a:cubicBezTo>
                  <a:cubicBezTo>
                    <a:pt x="313" y="65"/>
                    <a:pt x="313" y="65"/>
                    <a:pt x="313" y="65"/>
                  </a:cubicBezTo>
                  <a:cubicBezTo>
                    <a:pt x="313" y="65"/>
                    <a:pt x="313" y="65"/>
                    <a:pt x="313" y="65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1" y="0"/>
                    <a:pt x="158" y="0"/>
                    <a:pt x="155" y="1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" y="67"/>
                    <a:pt x="0" y="71"/>
                    <a:pt x="0" y="7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8"/>
                    <a:pt x="2" y="232"/>
                    <a:pt x="6" y="234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57" y="309"/>
                    <a:pt x="158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1" y="310"/>
                    <a:pt x="162" y="309"/>
                    <a:pt x="163" y="309"/>
                  </a:cubicBezTo>
                  <a:cubicBezTo>
                    <a:pt x="164" y="309"/>
                    <a:pt x="164" y="309"/>
                    <a:pt x="164" y="309"/>
                  </a:cubicBezTo>
                  <a:cubicBezTo>
                    <a:pt x="313" y="245"/>
                    <a:pt x="313" y="245"/>
                    <a:pt x="313" y="245"/>
                  </a:cubicBezTo>
                  <a:cubicBezTo>
                    <a:pt x="317" y="243"/>
                    <a:pt x="320" y="239"/>
                    <a:pt x="320" y="235"/>
                  </a:cubicBezTo>
                  <a:cubicBezTo>
                    <a:pt x="320" y="75"/>
                    <a:pt x="320" y="75"/>
                    <a:pt x="320" y="75"/>
                  </a:cubicBezTo>
                  <a:cubicBezTo>
                    <a:pt x="320" y="74"/>
                    <a:pt x="319" y="72"/>
                    <a:pt x="319" y="71"/>
                  </a:cubicBezTo>
                  <a:close/>
                  <a:moveTo>
                    <a:pt x="160" y="23"/>
                  </a:moveTo>
                  <a:cubicBezTo>
                    <a:pt x="282" y="75"/>
                    <a:pt x="282" y="75"/>
                    <a:pt x="282" y="75"/>
                  </a:cubicBezTo>
                  <a:cubicBezTo>
                    <a:pt x="160" y="127"/>
                    <a:pt x="160" y="127"/>
                    <a:pt x="160" y="127"/>
                  </a:cubicBezTo>
                  <a:cubicBezTo>
                    <a:pt x="37" y="75"/>
                    <a:pt x="37" y="75"/>
                    <a:pt x="37" y="75"/>
                  </a:cubicBezTo>
                  <a:lnTo>
                    <a:pt x="160" y="23"/>
                  </a:lnTo>
                  <a:close/>
                  <a:moveTo>
                    <a:pt x="21" y="91"/>
                  </a:moveTo>
                  <a:cubicBezTo>
                    <a:pt x="149" y="146"/>
                    <a:pt x="149" y="146"/>
                    <a:pt x="149" y="146"/>
                  </a:cubicBezTo>
                  <a:cubicBezTo>
                    <a:pt x="149" y="282"/>
                    <a:pt x="149" y="282"/>
                    <a:pt x="149" y="282"/>
                  </a:cubicBezTo>
                  <a:cubicBezTo>
                    <a:pt x="21" y="218"/>
                    <a:pt x="21" y="218"/>
                    <a:pt x="21" y="218"/>
                  </a:cubicBezTo>
                  <a:lnTo>
                    <a:pt x="21" y="91"/>
                  </a:lnTo>
                  <a:close/>
                  <a:moveTo>
                    <a:pt x="170" y="283"/>
                  </a:moveTo>
                  <a:cubicBezTo>
                    <a:pt x="170" y="146"/>
                    <a:pt x="170" y="146"/>
                    <a:pt x="170" y="146"/>
                  </a:cubicBezTo>
                  <a:cubicBezTo>
                    <a:pt x="298" y="91"/>
                    <a:pt x="298" y="91"/>
                    <a:pt x="298" y="91"/>
                  </a:cubicBezTo>
                  <a:cubicBezTo>
                    <a:pt x="298" y="228"/>
                    <a:pt x="298" y="228"/>
                    <a:pt x="298" y="228"/>
                  </a:cubicBez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37"/>
          <p:cNvSpPr>
            <a:spLocks noChangeAspect="1" noEditPoints="1"/>
          </p:cNvSpPr>
          <p:nvPr/>
        </p:nvSpPr>
        <p:spPr bwMode="auto">
          <a:xfrm>
            <a:off x="2416187" y="2051051"/>
            <a:ext cx="368051" cy="368152"/>
          </a:xfrm>
          <a:custGeom>
            <a:avLst/>
            <a:gdLst>
              <a:gd name="T0" fmla="*/ 160 w 512"/>
              <a:gd name="T1" fmla="*/ 266 h 512"/>
              <a:gd name="T2" fmla="*/ 352 w 512"/>
              <a:gd name="T3" fmla="*/ 266 h 512"/>
              <a:gd name="T4" fmla="*/ 284 w 512"/>
              <a:gd name="T5" fmla="*/ 263 h 512"/>
              <a:gd name="T6" fmla="*/ 263 w 512"/>
              <a:gd name="T7" fmla="*/ 284 h 512"/>
              <a:gd name="T8" fmla="*/ 248 w 512"/>
              <a:gd name="T9" fmla="*/ 284 h 512"/>
              <a:gd name="T10" fmla="*/ 205 w 512"/>
              <a:gd name="T11" fmla="*/ 227 h 512"/>
              <a:gd name="T12" fmla="*/ 256 w 512"/>
              <a:gd name="T13" fmla="*/ 261 h 512"/>
              <a:gd name="T14" fmla="*/ 285 w 512"/>
              <a:gd name="T15" fmla="*/ 248 h 512"/>
              <a:gd name="T16" fmla="*/ 256 w 512"/>
              <a:gd name="T17" fmla="*/ 0 h 512"/>
              <a:gd name="T18" fmla="*/ 256 w 512"/>
              <a:gd name="T19" fmla="*/ 512 h 512"/>
              <a:gd name="T20" fmla="*/ 256 w 512"/>
              <a:gd name="T21" fmla="*/ 0 h 512"/>
              <a:gd name="T22" fmla="*/ 131 w 512"/>
              <a:gd name="T23" fmla="*/ 158 h 512"/>
              <a:gd name="T24" fmla="*/ 199 w 512"/>
              <a:gd name="T25" fmla="*/ 131 h 512"/>
              <a:gd name="T26" fmla="*/ 184 w 512"/>
              <a:gd name="T27" fmla="*/ 146 h 512"/>
              <a:gd name="T28" fmla="*/ 146 w 512"/>
              <a:gd name="T29" fmla="*/ 173 h 512"/>
              <a:gd name="T30" fmla="*/ 146 w 512"/>
              <a:gd name="T31" fmla="*/ 184 h 512"/>
              <a:gd name="T32" fmla="*/ 139 w 512"/>
              <a:gd name="T33" fmla="*/ 202 h 512"/>
              <a:gd name="T34" fmla="*/ 123 w 512"/>
              <a:gd name="T35" fmla="*/ 178 h 512"/>
              <a:gd name="T36" fmla="*/ 346 w 512"/>
              <a:gd name="T37" fmla="*/ 404 h 512"/>
              <a:gd name="T38" fmla="*/ 331 w 512"/>
              <a:gd name="T39" fmla="*/ 399 h 512"/>
              <a:gd name="T40" fmla="*/ 256 w 512"/>
              <a:gd name="T41" fmla="*/ 384 h 512"/>
              <a:gd name="T42" fmla="*/ 180 w 512"/>
              <a:gd name="T43" fmla="*/ 399 h 512"/>
              <a:gd name="T44" fmla="*/ 166 w 512"/>
              <a:gd name="T45" fmla="*/ 404 h 512"/>
              <a:gd name="T46" fmla="*/ 178 w 512"/>
              <a:gd name="T47" fmla="*/ 354 h 512"/>
              <a:gd name="T48" fmla="*/ 256 w 512"/>
              <a:gd name="T49" fmla="*/ 149 h 512"/>
              <a:gd name="T50" fmla="*/ 333 w 512"/>
              <a:gd name="T51" fmla="*/ 354 h 512"/>
              <a:gd name="T52" fmla="*/ 380 w 512"/>
              <a:gd name="T53" fmla="*/ 199 h 512"/>
              <a:gd name="T54" fmla="*/ 365 w 512"/>
              <a:gd name="T55" fmla="*/ 199 h 512"/>
              <a:gd name="T56" fmla="*/ 367 w 512"/>
              <a:gd name="T57" fmla="*/ 178 h 512"/>
              <a:gd name="T58" fmla="*/ 339 w 512"/>
              <a:gd name="T59" fmla="*/ 146 h 512"/>
              <a:gd name="T60" fmla="*/ 312 w 512"/>
              <a:gd name="T61" fmla="*/ 146 h 512"/>
              <a:gd name="T62" fmla="*/ 354 w 512"/>
              <a:gd name="T63" fmla="*/ 131 h 512"/>
              <a:gd name="T64" fmla="*/ 389 w 512"/>
              <a:gd name="T65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170"/>
                </a:moveTo>
                <a:cubicBezTo>
                  <a:pt x="203" y="170"/>
                  <a:pt x="160" y="213"/>
                  <a:pt x="160" y="266"/>
                </a:cubicBezTo>
                <a:cubicBezTo>
                  <a:pt x="160" y="319"/>
                  <a:pt x="203" y="362"/>
                  <a:pt x="256" y="362"/>
                </a:cubicBezTo>
                <a:cubicBezTo>
                  <a:pt x="309" y="362"/>
                  <a:pt x="352" y="319"/>
                  <a:pt x="352" y="266"/>
                </a:cubicBezTo>
                <a:cubicBezTo>
                  <a:pt x="352" y="213"/>
                  <a:pt x="309" y="170"/>
                  <a:pt x="256" y="170"/>
                </a:cubicBezTo>
                <a:close/>
                <a:moveTo>
                  <a:pt x="284" y="263"/>
                </a:moveTo>
                <a:cubicBezTo>
                  <a:pt x="263" y="284"/>
                  <a:pt x="263" y="284"/>
                  <a:pt x="263" y="284"/>
                </a:cubicBezTo>
                <a:cubicBezTo>
                  <a:pt x="263" y="284"/>
                  <a:pt x="263" y="284"/>
                  <a:pt x="263" y="284"/>
                </a:cubicBezTo>
                <a:cubicBezTo>
                  <a:pt x="261" y="286"/>
                  <a:pt x="258" y="287"/>
                  <a:pt x="256" y="287"/>
                </a:cubicBezTo>
                <a:cubicBezTo>
                  <a:pt x="253" y="287"/>
                  <a:pt x="250" y="286"/>
                  <a:pt x="248" y="284"/>
                </a:cubicBezTo>
                <a:cubicBezTo>
                  <a:pt x="206" y="242"/>
                  <a:pt x="206" y="242"/>
                  <a:pt x="206" y="242"/>
                </a:cubicBezTo>
                <a:cubicBezTo>
                  <a:pt x="201" y="238"/>
                  <a:pt x="201" y="231"/>
                  <a:pt x="205" y="227"/>
                </a:cubicBezTo>
                <a:cubicBezTo>
                  <a:pt x="210" y="223"/>
                  <a:pt x="216" y="223"/>
                  <a:pt x="220" y="227"/>
                </a:cubicBezTo>
                <a:cubicBezTo>
                  <a:pt x="256" y="261"/>
                  <a:pt x="256" y="261"/>
                  <a:pt x="256" y="261"/>
                </a:cubicBezTo>
                <a:cubicBezTo>
                  <a:pt x="270" y="248"/>
                  <a:pt x="270" y="248"/>
                  <a:pt x="270" y="248"/>
                </a:cubicBezTo>
                <a:cubicBezTo>
                  <a:pt x="274" y="244"/>
                  <a:pt x="281" y="244"/>
                  <a:pt x="285" y="248"/>
                </a:cubicBezTo>
                <a:cubicBezTo>
                  <a:pt x="289" y="253"/>
                  <a:pt x="289" y="259"/>
                  <a:pt x="284" y="26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23" y="178"/>
                </a:moveTo>
                <a:cubicBezTo>
                  <a:pt x="123" y="171"/>
                  <a:pt x="126" y="163"/>
                  <a:pt x="131" y="158"/>
                </a:cubicBezTo>
                <a:cubicBezTo>
                  <a:pt x="158" y="131"/>
                  <a:pt x="158" y="131"/>
                  <a:pt x="158" y="131"/>
                </a:cubicBezTo>
                <a:cubicBezTo>
                  <a:pt x="169" y="120"/>
                  <a:pt x="188" y="120"/>
                  <a:pt x="199" y="131"/>
                </a:cubicBezTo>
                <a:cubicBezTo>
                  <a:pt x="203" y="135"/>
                  <a:pt x="203" y="142"/>
                  <a:pt x="199" y="146"/>
                </a:cubicBezTo>
                <a:cubicBezTo>
                  <a:pt x="195" y="151"/>
                  <a:pt x="188" y="151"/>
                  <a:pt x="184" y="146"/>
                </a:cubicBezTo>
                <a:cubicBezTo>
                  <a:pt x="181" y="143"/>
                  <a:pt x="176" y="143"/>
                  <a:pt x="173" y="146"/>
                </a:cubicBezTo>
                <a:cubicBezTo>
                  <a:pt x="146" y="173"/>
                  <a:pt x="146" y="173"/>
                  <a:pt x="146" y="173"/>
                </a:cubicBezTo>
                <a:cubicBezTo>
                  <a:pt x="145" y="174"/>
                  <a:pt x="144" y="176"/>
                  <a:pt x="144" y="178"/>
                </a:cubicBezTo>
                <a:cubicBezTo>
                  <a:pt x="144" y="181"/>
                  <a:pt x="145" y="183"/>
                  <a:pt x="146" y="184"/>
                </a:cubicBezTo>
                <a:cubicBezTo>
                  <a:pt x="151" y="188"/>
                  <a:pt x="151" y="195"/>
                  <a:pt x="146" y="199"/>
                </a:cubicBezTo>
                <a:cubicBezTo>
                  <a:pt x="144" y="201"/>
                  <a:pt x="142" y="202"/>
                  <a:pt x="139" y="202"/>
                </a:cubicBezTo>
                <a:cubicBezTo>
                  <a:pt x="136" y="202"/>
                  <a:pt x="133" y="201"/>
                  <a:pt x="131" y="199"/>
                </a:cubicBezTo>
                <a:cubicBezTo>
                  <a:pt x="126" y="194"/>
                  <a:pt x="123" y="186"/>
                  <a:pt x="123" y="178"/>
                </a:cubicBezTo>
                <a:close/>
                <a:moveTo>
                  <a:pt x="351" y="390"/>
                </a:moveTo>
                <a:cubicBezTo>
                  <a:pt x="353" y="395"/>
                  <a:pt x="351" y="401"/>
                  <a:pt x="346" y="404"/>
                </a:cubicBezTo>
                <a:cubicBezTo>
                  <a:pt x="344" y="405"/>
                  <a:pt x="343" y="405"/>
                  <a:pt x="341" y="405"/>
                </a:cubicBezTo>
                <a:cubicBezTo>
                  <a:pt x="337" y="405"/>
                  <a:pt x="333" y="403"/>
                  <a:pt x="331" y="399"/>
                </a:cubicBezTo>
                <a:cubicBezTo>
                  <a:pt x="315" y="367"/>
                  <a:pt x="315" y="367"/>
                  <a:pt x="315" y="367"/>
                </a:cubicBezTo>
                <a:cubicBezTo>
                  <a:pt x="298" y="378"/>
                  <a:pt x="278" y="384"/>
                  <a:pt x="256" y="384"/>
                </a:cubicBezTo>
                <a:cubicBezTo>
                  <a:pt x="234" y="384"/>
                  <a:pt x="213" y="378"/>
                  <a:pt x="196" y="367"/>
                </a:cubicBezTo>
                <a:cubicBezTo>
                  <a:pt x="180" y="399"/>
                  <a:pt x="180" y="399"/>
                  <a:pt x="180" y="399"/>
                </a:cubicBezTo>
                <a:cubicBezTo>
                  <a:pt x="178" y="403"/>
                  <a:pt x="174" y="405"/>
                  <a:pt x="170" y="405"/>
                </a:cubicBezTo>
                <a:cubicBezTo>
                  <a:pt x="169" y="405"/>
                  <a:pt x="167" y="405"/>
                  <a:pt x="166" y="404"/>
                </a:cubicBezTo>
                <a:cubicBezTo>
                  <a:pt x="160" y="401"/>
                  <a:pt x="158" y="395"/>
                  <a:pt x="161" y="390"/>
                </a:cubicBezTo>
                <a:cubicBezTo>
                  <a:pt x="178" y="354"/>
                  <a:pt x="178" y="354"/>
                  <a:pt x="178" y="354"/>
                </a:cubicBezTo>
                <a:cubicBezTo>
                  <a:pt x="154" y="333"/>
                  <a:pt x="138" y="301"/>
                  <a:pt x="138" y="266"/>
                </a:cubicBezTo>
                <a:cubicBezTo>
                  <a:pt x="138" y="202"/>
                  <a:pt x="191" y="149"/>
                  <a:pt x="256" y="149"/>
                </a:cubicBezTo>
                <a:cubicBezTo>
                  <a:pt x="320" y="149"/>
                  <a:pt x="373" y="202"/>
                  <a:pt x="373" y="266"/>
                </a:cubicBezTo>
                <a:cubicBezTo>
                  <a:pt x="373" y="301"/>
                  <a:pt x="357" y="333"/>
                  <a:pt x="333" y="354"/>
                </a:cubicBezTo>
                <a:lnTo>
                  <a:pt x="351" y="390"/>
                </a:lnTo>
                <a:close/>
                <a:moveTo>
                  <a:pt x="380" y="199"/>
                </a:moveTo>
                <a:cubicBezTo>
                  <a:pt x="378" y="201"/>
                  <a:pt x="375" y="202"/>
                  <a:pt x="372" y="202"/>
                </a:cubicBezTo>
                <a:cubicBezTo>
                  <a:pt x="370" y="202"/>
                  <a:pt x="367" y="201"/>
                  <a:pt x="365" y="199"/>
                </a:cubicBezTo>
                <a:cubicBezTo>
                  <a:pt x="361" y="195"/>
                  <a:pt x="361" y="188"/>
                  <a:pt x="365" y="184"/>
                </a:cubicBezTo>
                <a:cubicBezTo>
                  <a:pt x="366" y="183"/>
                  <a:pt x="367" y="181"/>
                  <a:pt x="367" y="178"/>
                </a:cubicBezTo>
                <a:cubicBezTo>
                  <a:pt x="367" y="176"/>
                  <a:pt x="366" y="174"/>
                  <a:pt x="365" y="173"/>
                </a:cubicBezTo>
                <a:cubicBezTo>
                  <a:pt x="339" y="146"/>
                  <a:pt x="339" y="146"/>
                  <a:pt x="339" y="146"/>
                </a:cubicBezTo>
                <a:cubicBezTo>
                  <a:pt x="335" y="143"/>
                  <a:pt x="330" y="143"/>
                  <a:pt x="327" y="146"/>
                </a:cubicBezTo>
                <a:cubicBezTo>
                  <a:pt x="323" y="151"/>
                  <a:pt x="316" y="151"/>
                  <a:pt x="312" y="146"/>
                </a:cubicBezTo>
                <a:cubicBezTo>
                  <a:pt x="308" y="142"/>
                  <a:pt x="308" y="135"/>
                  <a:pt x="312" y="131"/>
                </a:cubicBezTo>
                <a:cubicBezTo>
                  <a:pt x="324" y="120"/>
                  <a:pt x="342" y="120"/>
                  <a:pt x="354" y="131"/>
                </a:cubicBezTo>
                <a:cubicBezTo>
                  <a:pt x="380" y="158"/>
                  <a:pt x="380" y="158"/>
                  <a:pt x="380" y="158"/>
                </a:cubicBezTo>
                <a:cubicBezTo>
                  <a:pt x="386" y="163"/>
                  <a:pt x="389" y="171"/>
                  <a:pt x="389" y="178"/>
                </a:cubicBezTo>
                <a:cubicBezTo>
                  <a:pt x="389" y="186"/>
                  <a:pt x="386" y="194"/>
                  <a:pt x="380" y="1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40"/>
          <p:cNvGrpSpPr>
            <a:grpSpLocks noChangeAspect="1"/>
          </p:cNvGrpSpPr>
          <p:nvPr/>
        </p:nvGrpSpPr>
        <p:grpSpPr bwMode="auto">
          <a:xfrm>
            <a:off x="2913824" y="2051051"/>
            <a:ext cx="368152" cy="368152"/>
            <a:chOff x="880" y="418"/>
            <a:chExt cx="3635" cy="3635"/>
          </a:xfrm>
          <a:solidFill>
            <a:schemeClr val="accent1"/>
          </a:solidFill>
        </p:grpSpPr>
        <p:sp>
          <p:nvSpPr>
            <p:cNvPr id="266" name="Freeform 41"/>
            <p:cNvSpPr>
              <a:spLocks noEditPoints="1"/>
            </p:cNvSpPr>
            <p:nvPr/>
          </p:nvSpPr>
          <p:spPr bwMode="auto">
            <a:xfrm>
              <a:off x="880" y="418"/>
              <a:ext cx="3635" cy="3635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42"/>
            <p:cNvSpPr>
              <a:spLocks noEditPoints="1"/>
            </p:cNvSpPr>
            <p:nvPr/>
          </p:nvSpPr>
          <p:spPr bwMode="auto">
            <a:xfrm>
              <a:off x="1753" y="1270"/>
              <a:ext cx="1889" cy="2023"/>
            </a:xfrm>
            <a:custGeom>
              <a:avLst/>
              <a:gdLst>
                <a:gd name="T0" fmla="*/ 250 w 266"/>
                <a:gd name="T1" fmla="*/ 146 h 285"/>
                <a:gd name="T2" fmla="*/ 133 w 266"/>
                <a:gd name="T3" fmla="*/ 29 h 285"/>
                <a:gd name="T4" fmla="*/ 15 w 266"/>
                <a:gd name="T5" fmla="*/ 146 h 285"/>
                <a:gd name="T6" fmla="*/ 55 w 266"/>
                <a:gd name="T7" fmla="*/ 234 h 285"/>
                <a:gd name="T8" fmla="*/ 38 w 266"/>
                <a:gd name="T9" fmla="*/ 270 h 285"/>
                <a:gd name="T10" fmla="*/ 43 w 266"/>
                <a:gd name="T11" fmla="*/ 284 h 285"/>
                <a:gd name="T12" fmla="*/ 47 w 266"/>
                <a:gd name="T13" fmla="*/ 285 h 285"/>
                <a:gd name="T14" fmla="*/ 57 w 266"/>
                <a:gd name="T15" fmla="*/ 279 h 285"/>
                <a:gd name="T16" fmla="*/ 73 w 266"/>
                <a:gd name="T17" fmla="*/ 247 h 285"/>
                <a:gd name="T18" fmla="*/ 133 w 266"/>
                <a:gd name="T19" fmla="*/ 264 h 285"/>
                <a:gd name="T20" fmla="*/ 192 w 266"/>
                <a:gd name="T21" fmla="*/ 247 h 285"/>
                <a:gd name="T22" fmla="*/ 208 w 266"/>
                <a:gd name="T23" fmla="*/ 279 h 285"/>
                <a:gd name="T24" fmla="*/ 218 w 266"/>
                <a:gd name="T25" fmla="*/ 285 h 285"/>
                <a:gd name="T26" fmla="*/ 223 w 266"/>
                <a:gd name="T27" fmla="*/ 284 h 285"/>
                <a:gd name="T28" fmla="*/ 228 w 266"/>
                <a:gd name="T29" fmla="*/ 270 h 285"/>
                <a:gd name="T30" fmla="*/ 210 w 266"/>
                <a:gd name="T31" fmla="*/ 234 h 285"/>
                <a:gd name="T32" fmla="*/ 250 w 266"/>
                <a:gd name="T33" fmla="*/ 146 h 285"/>
                <a:gd name="T34" fmla="*/ 37 w 266"/>
                <a:gd name="T35" fmla="*/ 146 h 285"/>
                <a:gd name="T36" fmla="*/ 133 w 266"/>
                <a:gd name="T37" fmla="*/ 50 h 285"/>
                <a:gd name="T38" fmla="*/ 229 w 266"/>
                <a:gd name="T39" fmla="*/ 146 h 285"/>
                <a:gd name="T40" fmla="*/ 133 w 266"/>
                <a:gd name="T41" fmla="*/ 242 h 285"/>
                <a:gd name="T42" fmla="*/ 37 w 266"/>
                <a:gd name="T43" fmla="*/ 146 h 285"/>
                <a:gd name="T44" fmla="*/ 162 w 266"/>
                <a:gd name="T45" fmla="*/ 128 h 285"/>
                <a:gd name="T46" fmla="*/ 161 w 266"/>
                <a:gd name="T47" fmla="*/ 143 h 285"/>
                <a:gd name="T48" fmla="*/ 140 w 266"/>
                <a:gd name="T49" fmla="*/ 164 h 285"/>
                <a:gd name="T50" fmla="*/ 140 w 266"/>
                <a:gd name="T51" fmla="*/ 164 h 285"/>
                <a:gd name="T52" fmla="*/ 133 w 266"/>
                <a:gd name="T53" fmla="*/ 167 h 285"/>
                <a:gd name="T54" fmla="*/ 125 w 266"/>
                <a:gd name="T55" fmla="*/ 164 h 285"/>
                <a:gd name="T56" fmla="*/ 83 w 266"/>
                <a:gd name="T57" fmla="*/ 122 h 285"/>
                <a:gd name="T58" fmla="*/ 82 w 266"/>
                <a:gd name="T59" fmla="*/ 107 h 285"/>
                <a:gd name="T60" fmla="*/ 97 w 266"/>
                <a:gd name="T61" fmla="*/ 107 h 285"/>
                <a:gd name="T62" fmla="*/ 133 w 266"/>
                <a:gd name="T63" fmla="*/ 141 h 285"/>
                <a:gd name="T64" fmla="*/ 147 w 266"/>
                <a:gd name="T65" fmla="*/ 128 h 285"/>
                <a:gd name="T66" fmla="*/ 162 w 266"/>
                <a:gd name="T67" fmla="*/ 128 h 285"/>
                <a:gd name="T68" fmla="*/ 16 w 266"/>
                <a:gd name="T69" fmla="*/ 82 h 285"/>
                <a:gd name="T70" fmla="*/ 8 w 266"/>
                <a:gd name="T71" fmla="*/ 79 h 285"/>
                <a:gd name="T72" fmla="*/ 0 w 266"/>
                <a:gd name="T73" fmla="*/ 58 h 285"/>
                <a:gd name="T74" fmla="*/ 8 w 266"/>
                <a:gd name="T75" fmla="*/ 38 h 285"/>
                <a:gd name="T76" fmla="*/ 35 w 266"/>
                <a:gd name="T77" fmla="*/ 11 h 285"/>
                <a:gd name="T78" fmla="*/ 76 w 266"/>
                <a:gd name="T79" fmla="*/ 11 h 285"/>
                <a:gd name="T80" fmla="*/ 76 w 266"/>
                <a:gd name="T81" fmla="*/ 26 h 285"/>
                <a:gd name="T82" fmla="*/ 61 w 266"/>
                <a:gd name="T83" fmla="*/ 26 h 285"/>
                <a:gd name="T84" fmla="*/ 50 w 266"/>
                <a:gd name="T85" fmla="*/ 26 h 285"/>
                <a:gd name="T86" fmla="*/ 23 w 266"/>
                <a:gd name="T87" fmla="*/ 53 h 285"/>
                <a:gd name="T88" fmla="*/ 21 w 266"/>
                <a:gd name="T89" fmla="*/ 58 h 285"/>
                <a:gd name="T90" fmla="*/ 23 w 266"/>
                <a:gd name="T91" fmla="*/ 64 h 285"/>
                <a:gd name="T92" fmla="*/ 23 w 266"/>
                <a:gd name="T93" fmla="*/ 79 h 285"/>
                <a:gd name="T94" fmla="*/ 16 w 266"/>
                <a:gd name="T95" fmla="*/ 82 h 285"/>
                <a:gd name="T96" fmla="*/ 266 w 266"/>
                <a:gd name="T97" fmla="*/ 58 h 285"/>
                <a:gd name="T98" fmla="*/ 257 w 266"/>
                <a:gd name="T99" fmla="*/ 79 h 285"/>
                <a:gd name="T100" fmla="*/ 249 w 266"/>
                <a:gd name="T101" fmla="*/ 82 h 285"/>
                <a:gd name="T102" fmla="*/ 242 w 266"/>
                <a:gd name="T103" fmla="*/ 79 h 285"/>
                <a:gd name="T104" fmla="*/ 242 w 266"/>
                <a:gd name="T105" fmla="*/ 64 h 285"/>
                <a:gd name="T106" fmla="*/ 244 w 266"/>
                <a:gd name="T107" fmla="*/ 58 h 285"/>
                <a:gd name="T108" fmla="*/ 242 w 266"/>
                <a:gd name="T109" fmla="*/ 53 h 285"/>
                <a:gd name="T110" fmla="*/ 216 w 266"/>
                <a:gd name="T111" fmla="*/ 26 h 285"/>
                <a:gd name="T112" fmla="*/ 204 w 266"/>
                <a:gd name="T113" fmla="*/ 26 h 285"/>
                <a:gd name="T114" fmla="*/ 189 w 266"/>
                <a:gd name="T115" fmla="*/ 26 h 285"/>
                <a:gd name="T116" fmla="*/ 189 w 266"/>
                <a:gd name="T117" fmla="*/ 11 h 285"/>
                <a:gd name="T118" fmla="*/ 231 w 266"/>
                <a:gd name="T119" fmla="*/ 11 h 285"/>
                <a:gd name="T120" fmla="*/ 257 w 266"/>
                <a:gd name="T121" fmla="*/ 38 h 285"/>
                <a:gd name="T122" fmla="*/ 266 w 266"/>
                <a:gd name="T123" fmla="*/ 5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6" h="285">
                  <a:moveTo>
                    <a:pt x="250" y="146"/>
                  </a:moveTo>
                  <a:cubicBezTo>
                    <a:pt x="250" y="82"/>
                    <a:pt x="197" y="29"/>
                    <a:pt x="133" y="29"/>
                  </a:cubicBezTo>
                  <a:cubicBezTo>
                    <a:pt x="68" y="29"/>
                    <a:pt x="15" y="82"/>
                    <a:pt x="15" y="146"/>
                  </a:cubicBezTo>
                  <a:cubicBezTo>
                    <a:pt x="15" y="181"/>
                    <a:pt x="31" y="213"/>
                    <a:pt x="55" y="234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5" y="275"/>
                    <a:pt x="37" y="281"/>
                    <a:pt x="43" y="284"/>
                  </a:cubicBezTo>
                  <a:cubicBezTo>
                    <a:pt x="44" y="285"/>
                    <a:pt x="46" y="285"/>
                    <a:pt x="47" y="285"/>
                  </a:cubicBezTo>
                  <a:cubicBezTo>
                    <a:pt x="51" y="285"/>
                    <a:pt x="55" y="283"/>
                    <a:pt x="57" y="279"/>
                  </a:cubicBezTo>
                  <a:cubicBezTo>
                    <a:pt x="73" y="247"/>
                    <a:pt x="73" y="247"/>
                    <a:pt x="73" y="247"/>
                  </a:cubicBezTo>
                  <a:cubicBezTo>
                    <a:pt x="90" y="258"/>
                    <a:pt x="111" y="264"/>
                    <a:pt x="133" y="264"/>
                  </a:cubicBezTo>
                  <a:cubicBezTo>
                    <a:pt x="155" y="264"/>
                    <a:pt x="175" y="258"/>
                    <a:pt x="192" y="247"/>
                  </a:cubicBezTo>
                  <a:cubicBezTo>
                    <a:pt x="208" y="279"/>
                    <a:pt x="208" y="279"/>
                    <a:pt x="208" y="279"/>
                  </a:cubicBezTo>
                  <a:cubicBezTo>
                    <a:pt x="210" y="283"/>
                    <a:pt x="214" y="285"/>
                    <a:pt x="218" y="285"/>
                  </a:cubicBezTo>
                  <a:cubicBezTo>
                    <a:pt x="220" y="285"/>
                    <a:pt x="221" y="285"/>
                    <a:pt x="223" y="284"/>
                  </a:cubicBezTo>
                  <a:cubicBezTo>
                    <a:pt x="228" y="281"/>
                    <a:pt x="230" y="275"/>
                    <a:pt x="228" y="270"/>
                  </a:cubicBezTo>
                  <a:cubicBezTo>
                    <a:pt x="210" y="234"/>
                    <a:pt x="210" y="234"/>
                    <a:pt x="210" y="234"/>
                  </a:cubicBezTo>
                  <a:cubicBezTo>
                    <a:pt x="234" y="213"/>
                    <a:pt x="250" y="181"/>
                    <a:pt x="250" y="146"/>
                  </a:cubicBezTo>
                  <a:close/>
                  <a:moveTo>
                    <a:pt x="37" y="146"/>
                  </a:moveTo>
                  <a:cubicBezTo>
                    <a:pt x="37" y="93"/>
                    <a:pt x="80" y="50"/>
                    <a:pt x="133" y="50"/>
                  </a:cubicBezTo>
                  <a:cubicBezTo>
                    <a:pt x="186" y="50"/>
                    <a:pt x="229" y="93"/>
                    <a:pt x="229" y="146"/>
                  </a:cubicBezTo>
                  <a:cubicBezTo>
                    <a:pt x="229" y="199"/>
                    <a:pt x="186" y="242"/>
                    <a:pt x="133" y="242"/>
                  </a:cubicBezTo>
                  <a:cubicBezTo>
                    <a:pt x="80" y="242"/>
                    <a:pt x="37" y="199"/>
                    <a:pt x="37" y="146"/>
                  </a:cubicBezTo>
                  <a:close/>
                  <a:moveTo>
                    <a:pt x="162" y="128"/>
                  </a:moveTo>
                  <a:cubicBezTo>
                    <a:pt x="166" y="133"/>
                    <a:pt x="166" y="139"/>
                    <a:pt x="161" y="143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38" y="166"/>
                    <a:pt x="135" y="167"/>
                    <a:pt x="133" y="167"/>
                  </a:cubicBezTo>
                  <a:cubicBezTo>
                    <a:pt x="130" y="167"/>
                    <a:pt x="127" y="166"/>
                    <a:pt x="125" y="164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78" y="118"/>
                    <a:pt x="78" y="111"/>
                    <a:pt x="82" y="107"/>
                  </a:cubicBezTo>
                  <a:cubicBezTo>
                    <a:pt x="87" y="103"/>
                    <a:pt x="93" y="103"/>
                    <a:pt x="97" y="107"/>
                  </a:cubicBezTo>
                  <a:cubicBezTo>
                    <a:pt x="133" y="141"/>
                    <a:pt x="133" y="141"/>
                    <a:pt x="133" y="141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51" y="124"/>
                    <a:pt x="158" y="124"/>
                    <a:pt x="162" y="128"/>
                  </a:cubicBezTo>
                  <a:close/>
                  <a:moveTo>
                    <a:pt x="16" y="82"/>
                  </a:moveTo>
                  <a:cubicBezTo>
                    <a:pt x="13" y="82"/>
                    <a:pt x="10" y="81"/>
                    <a:pt x="8" y="79"/>
                  </a:cubicBezTo>
                  <a:cubicBezTo>
                    <a:pt x="3" y="74"/>
                    <a:pt x="0" y="66"/>
                    <a:pt x="0" y="58"/>
                  </a:cubicBezTo>
                  <a:cubicBezTo>
                    <a:pt x="0" y="51"/>
                    <a:pt x="3" y="43"/>
                    <a:pt x="8" y="38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46" y="0"/>
                    <a:pt x="65" y="0"/>
                    <a:pt x="76" y="11"/>
                  </a:cubicBezTo>
                  <a:cubicBezTo>
                    <a:pt x="80" y="15"/>
                    <a:pt x="80" y="22"/>
                    <a:pt x="76" y="26"/>
                  </a:cubicBezTo>
                  <a:cubicBezTo>
                    <a:pt x="72" y="31"/>
                    <a:pt x="65" y="31"/>
                    <a:pt x="61" y="26"/>
                  </a:cubicBezTo>
                  <a:cubicBezTo>
                    <a:pt x="58" y="23"/>
                    <a:pt x="53" y="23"/>
                    <a:pt x="50" y="26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4"/>
                    <a:pt x="21" y="56"/>
                    <a:pt x="21" y="58"/>
                  </a:cubicBezTo>
                  <a:cubicBezTo>
                    <a:pt x="21" y="61"/>
                    <a:pt x="22" y="63"/>
                    <a:pt x="23" y="64"/>
                  </a:cubicBezTo>
                  <a:cubicBezTo>
                    <a:pt x="28" y="68"/>
                    <a:pt x="28" y="75"/>
                    <a:pt x="23" y="79"/>
                  </a:cubicBezTo>
                  <a:cubicBezTo>
                    <a:pt x="21" y="81"/>
                    <a:pt x="19" y="82"/>
                    <a:pt x="16" y="82"/>
                  </a:cubicBezTo>
                  <a:close/>
                  <a:moveTo>
                    <a:pt x="266" y="58"/>
                  </a:moveTo>
                  <a:cubicBezTo>
                    <a:pt x="266" y="66"/>
                    <a:pt x="263" y="74"/>
                    <a:pt x="257" y="79"/>
                  </a:cubicBezTo>
                  <a:cubicBezTo>
                    <a:pt x="255" y="81"/>
                    <a:pt x="252" y="82"/>
                    <a:pt x="249" y="82"/>
                  </a:cubicBezTo>
                  <a:cubicBezTo>
                    <a:pt x="247" y="82"/>
                    <a:pt x="244" y="81"/>
                    <a:pt x="242" y="79"/>
                  </a:cubicBezTo>
                  <a:cubicBezTo>
                    <a:pt x="238" y="75"/>
                    <a:pt x="238" y="68"/>
                    <a:pt x="242" y="64"/>
                  </a:cubicBezTo>
                  <a:cubicBezTo>
                    <a:pt x="243" y="63"/>
                    <a:pt x="244" y="61"/>
                    <a:pt x="244" y="58"/>
                  </a:cubicBezTo>
                  <a:cubicBezTo>
                    <a:pt x="244" y="56"/>
                    <a:pt x="243" y="54"/>
                    <a:pt x="242" y="53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2" y="23"/>
                    <a:pt x="207" y="23"/>
                    <a:pt x="204" y="26"/>
                  </a:cubicBezTo>
                  <a:cubicBezTo>
                    <a:pt x="200" y="31"/>
                    <a:pt x="193" y="31"/>
                    <a:pt x="189" y="26"/>
                  </a:cubicBezTo>
                  <a:cubicBezTo>
                    <a:pt x="185" y="22"/>
                    <a:pt x="185" y="15"/>
                    <a:pt x="189" y="11"/>
                  </a:cubicBezTo>
                  <a:cubicBezTo>
                    <a:pt x="201" y="0"/>
                    <a:pt x="219" y="0"/>
                    <a:pt x="231" y="11"/>
                  </a:cubicBezTo>
                  <a:cubicBezTo>
                    <a:pt x="257" y="38"/>
                    <a:pt x="257" y="38"/>
                    <a:pt x="257" y="38"/>
                  </a:cubicBezTo>
                  <a:cubicBezTo>
                    <a:pt x="263" y="43"/>
                    <a:pt x="266" y="51"/>
                    <a:pt x="266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274"/>
          <p:cNvSpPr>
            <a:spLocks noChangeAspect="1" noEditPoints="1"/>
          </p:cNvSpPr>
          <p:nvPr/>
        </p:nvSpPr>
        <p:spPr bwMode="auto">
          <a:xfrm>
            <a:off x="4406698" y="2051050"/>
            <a:ext cx="369064" cy="36906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4 w 512"/>
              <a:gd name="T11" fmla="*/ 266 h 512"/>
              <a:gd name="T12" fmla="*/ 281 w 512"/>
              <a:gd name="T13" fmla="*/ 266 h 512"/>
              <a:gd name="T14" fmla="*/ 359 w 512"/>
              <a:gd name="T15" fmla="*/ 344 h 512"/>
              <a:gd name="T16" fmla="*/ 359 w 512"/>
              <a:gd name="T17" fmla="*/ 359 h 512"/>
              <a:gd name="T18" fmla="*/ 352 w 512"/>
              <a:gd name="T19" fmla="*/ 362 h 512"/>
              <a:gd name="T20" fmla="*/ 344 w 512"/>
              <a:gd name="T21" fmla="*/ 359 h 512"/>
              <a:gd name="T22" fmla="*/ 266 w 512"/>
              <a:gd name="T23" fmla="*/ 281 h 512"/>
              <a:gd name="T24" fmla="*/ 266 w 512"/>
              <a:gd name="T25" fmla="*/ 394 h 512"/>
              <a:gd name="T26" fmla="*/ 256 w 512"/>
              <a:gd name="T27" fmla="*/ 405 h 512"/>
              <a:gd name="T28" fmla="*/ 245 w 512"/>
              <a:gd name="T29" fmla="*/ 394 h 512"/>
              <a:gd name="T30" fmla="*/ 245 w 512"/>
              <a:gd name="T31" fmla="*/ 281 h 512"/>
              <a:gd name="T32" fmla="*/ 167 w 512"/>
              <a:gd name="T33" fmla="*/ 359 h 512"/>
              <a:gd name="T34" fmla="*/ 160 w 512"/>
              <a:gd name="T35" fmla="*/ 362 h 512"/>
              <a:gd name="T36" fmla="*/ 152 w 512"/>
              <a:gd name="T37" fmla="*/ 359 h 512"/>
              <a:gd name="T38" fmla="*/ 152 w 512"/>
              <a:gd name="T39" fmla="*/ 344 h 512"/>
              <a:gd name="T40" fmla="*/ 230 w 512"/>
              <a:gd name="T41" fmla="*/ 266 h 512"/>
              <a:gd name="T42" fmla="*/ 117 w 512"/>
              <a:gd name="T43" fmla="*/ 266 h 512"/>
              <a:gd name="T44" fmla="*/ 106 w 512"/>
              <a:gd name="T45" fmla="*/ 256 h 512"/>
              <a:gd name="T46" fmla="*/ 117 w 512"/>
              <a:gd name="T47" fmla="*/ 245 h 512"/>
              <a:gd name="T48" fmla="*/ 230 w 512"/>
              <a:gd name="T49" fmla="*/ 245 h 512"/>
              <a:gd name="T50" fmla="*/ 152 w 512"/>
              <a:gd name="T51" fmla="*/ 167 h 512"/>
              <a:gd name="T52" fmla="*/ 152 w 512"/>
              <a:gd name="T53" fmla="*/ 152 h 512"/>
              <a:gd name="T54" fmla="*/ 167 w 512"/>
              <a:gd name="T55" fmla="*/ 152 h 512"/>
              <a:gd name="T56" fmla="*/ 245 w 512"/>
              <a:gd name="T57" fmla="*/ 230 h 512"/>
              <a:gd name="T58" fmla="*/ 245 w 512"/>
              <a:gd name="T59" fmla="*/ 117 h 512"/>
              <a:gd name="T60" fmla="*/ 256 w 512"/>
              <a:gd name="T61" fmla="*/ 106 h 512"/>
              <a:gd name="T62" fmla="*/ 266 w 512"/>
              <a:gd name="T63" fmla="*/ 117 h 512"/>
              <a:gd name="T64" fmla="*/ 266 w 512"/>
              <a:gd name="T65" fmla="*/ 230 h 512"/>
              <a:gd name="T66" fmla="*/ 344 w 512"/>
              <a:gd name="T67" fmla="*/ 152 h 512"/>
              <a:gd name="T68" fmla="*/ 359 w 512"/>
              <a:gd name="T69" fmla="*/ 152 h 512"/>
              <a:gd name="T70" fmla="*/ 359 w 512"/>
              <a:gd name="T71" fmla="*/ 167 h 512"/>
              <a:gd name="T72" fmla="*/ 281 w 512"/>
              <a:gd name="T73" fmla="*/ 245 h 512"/>
              <a:gd name="T74" fmla="*/ 394 w 512"/>
              <a:gd name="T75" fmla="*/ 245 h 512"/>
              <a:gd name="T76" fmla="*/ 405 w 512"/>
              <a:gd name="T77" fmla="*/ 256 h 512"/>
              <a:gd name="T78" fmla="*/ 394 w 512"/>
              <a:gd name="T79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266"/>
                </a:moveTo>
                <a:cubicBezTo>
                  <a:pt x="281" y="266"/>
                  <a:pt x="281" y="266"/>
                  <a:pt x="281" y="266"/>
                </a:cubicBezTo>
                <a:cubicBezTo>
                  <a:pt x="359" y="344"/>
                  <a:pt x="359" y="344"/>
                  <a:pt x="359" y="344"/>
                </a:cubicBezTo>
                <a:cubicBezTo>
                  <a:pt x="363" y="348"/>
                  <a:pt x="363" y="355"/>
                  <a:pt x="359" y="359"/>
                </a:cubicBezTo>
                <a:cubicBezTo>
                  <a:pt x="357" y="361"/>
                  <a:pt x="354" y="362"/>
                  <a:pt x="352" y="362"/>
                </a:cubicBezTo>
                <a:cubicBezTo>
                  <a:pt x="349" y="362"/>
                  <a:pt x="346" y="361"/>
                  <a:pt x="344" y="359"/>
                </a:cubicBezTo>
                <a:cubicBezTo>
                  <a:pt x="266" y="281"/>
                  <a:pt x="266" y="281"/>
                  <a:pt x="266" y="281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400"/>
                  <a:pt x="262" y="405"/>
                  <a:pt x="256" y="405"/>
                </a:cubicBezTo>
                <a:cubicBezTo>
                  <a:pt x="250" y="405"/>
                  <a:pt x="245" y="400"/>
                  <a:pt x="245" y="394"/>
                </a:cubicBezTo>
                <a:cubicBezTo>
                  <a:pt x="245" y="281"/>
                  <a:pt x="245" y="281"/>
                  <a:pt x="245" y="281"/>
                </a:cubicBezTo>
                <a:cubicBezTo>
                  <a:pt x="167" y="359"/>
                  <a:pt x="167" y="359"/>
                  <a:pt x="167" y="359"/>
                </a:cubicBezTo>
                <a:cubicBezTo>
                  <a:pt x="165" y="361"/>
                  <a:pt x="162" y="362"/>
                  <a:pt x="160" y="362"/>
                </a:cubicBezTo>
                <a:cubicBezTo>
                  <a:pt x="157" y="362"/>
                  <a:pt x="154" y="361"/>
                  <a:pt x="152" y="359"/>
                </a:cubicBezTo>
                <a:cubicBezTo>
                  <a:pt x="148" y="355"/>
                  <a:pt x="148" y="348"/>
                  <a:pt x="152" y="344"/>
                </a:cubicBezTo>
                <a:cubicBezTo>
                  <a:pt x="230" y="266"/>
                  <a:pt x="230" y="266"/>
                  <a:pt x="230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62"/>
                  <a:pt x="106" y="256"/>
                </a:cubicBezTo>
                <a:cubicBezTo>
                  <a:pt x="106" y="250"/>
                  <a:pt x="111" y="245"/>
                  <a:pt x="117" y="245"/>
                </a:cubicBezTo>
                <a:cubicBezTo>
                  <a:pt x="230" y="245"/>
                  <a:pt x="230" y="245"/>
                  <a:pt x="230" y="245"/>
                </a:cubicBezTo>
                <a:cubicBezTo>
                  <a:pt x="152" y="167"/>
                  <a:pt x="152" y="167"/>
                  <a:pt x="152" y="167"/>
                </a:cubicBezTo>
                <a:cubicBezTo>
                  <a:pt x="148" y="163"/>
                  <a:pt x="148" y="156"/>
                  <a:pt x="152" y="152"/>
                </a:cubicBezTo>
                <a:cubicBezTo>
                  <a:pt x="156" y="148"/>
                  <a:pt x="163" y="148"/>
                  <a:pt x="167" y="152"/>
                </a:cubicBezTo>
                <a:cubicBezTo>
                  <a:pt x="245" y="230"/>
                  <a:pt x="245" y="230"/>
                  <a:pt x="245" y="230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45" y="111"/>
                  <a:pt x="250" y="106"/>
                  <a:pt x="256" y="106"/>
                </a:cubicBezTo>
                <a:cubicBezTo>
                  <a:pt x="262" y="106"/>
                  <a:pt x="266" y="111"/>
                  <a:pt x="266" y="117"/>
                </a:cubicBezTo>
                <a:cubicBezTo>
                  <a:pt x="266" y="230"/>
                  <a:pt x="266" y="230"/>
                  <a:pt x="266" y="230"/>
                </a:cubicBezTo>
                <a:cubicBezTo>
                  <a:pt x="344" y="152"/>
                  <a:pt x="344" y="152"/>
                  <a:pt x="344" y="152"/>
                </a:cubicBezTo>
                <a:cubicBezTo>
                  <a:pt x="348" y="148"/>
                  <a:pt x="355" y="148"/>
                  <a:pt x="359" y="152"/>
                </a:cubicBezTo>
                <a:cubicBezTo>
                  <a:pt x="363" y="156"/>
                  <a:pt x="363" y="163"/>
                  <a:pt x="359" y="167"/>
                </a:cubicBezTo>
                <a:cubicBezTo>
                  <a:pt x="281" y="245"/>
                  <a:pt x="281" y="245"/>
                  <a:pt x="281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400" y="245"/>
                  <a:pt x="405" y="250"/>
                  <a:pt x="405" y="256"/>
                </a:cubicBezTo>
                <a:cubicBezTo>
                  <a:pt x="405" y="262"/>
                  <a:pt x="400" y="266"/>
                  <a:pt x="394" y="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277"/>
          <p:cNvGrpSpPr>
            <a:grpSpLocks noChangeAspect="1"/>
          </p:cNvGrpSpPr>
          <p:nvPr/>
        </p:nvGrpSpPr>
        <p:grpSpPr bwMode="auto">
          <a:xfrm>
            <a:off x="4905348" y="2051050"/>
            <a:ext cx="369064" cy="367982"/>
            <a:chOff x="2910" y="2160"/>
            <a:chExt cx="341" cy="340"/>
          </a:xfrm>
          <a:solidFill>
            <a:schemeClr val="accent3"/>
          </a:solidFill>
        </p:grpSpPr>
        <p:sp>
          <p:nvSpPr>
            <p:cNvPr id="270" name="Freeform 278"/>
            <p:cNvSpPr>
              <a:spLocks/>
            </p:cNvSpPr>
            <p:nvPr/>
          </p:nvSpPr>
          <p:spPr bwMode="auto">
            <a:xfrm>
              <a:off x="2981" y="2230"/>
              <a:ext cx="199" cy="199"/>
            </a:xfrm>
            <a:custGeom>
              <a:avLst/>
              <a:gdLst>
                <a:gd name="T0" fmla="*/ 299 w 299"/>
                <a:gd name="T1" fmla="*/ 150 h 299"/>
                <a:gd name="T2" fmla="*/ 288 w 299"/>
                <a:gd name="T3" fmla="*/ 160 h 299"/>
                <a:gd name="T4" fmla="*/ 175 w 299"/>
                <a:gd name="T5" fmla="*/ 160 h 299"/>
                <a:gd name="T6" fmla="*/ 253 w 299"/>
                <a:gd name="T7" fmla="*/ 238 h 299"/>
                <a:gd name="T8" fmla="*/ 253 w 299"/>
                <a:gd name="T9" fmla="*/ 253 h 299"/>
                <a:gd name="T10" fmla="*/ 246 w 299"/>
                <a:gd name="T11" fmla="*/ 256 h 299"/>
                <a:gd name="T12" fmla="*/ 238 w 299"/>
                <a:gd name="T13" fmla="*/ 253 h 299"/>
                <a:gd name="T14" fmla="*/ 160 w 299"/>
                <a:gd name="T15" fmla="*/ 175 h 299"/>
                <a:gd name="T16" fmla="*/ 160 w 299"/>
                <a:gd name="T17" fmla="*/ 288 h 299"/>
                <a:gd name="T18" fmla="*/ 150 w 299"/>
                <a:gd name="T19" fmla="*/ 299 h 299"/>
                <a:gd name="T20" fmla="*/ 139 w 299"/>
                <a:gd name="T21" fmla="*/ 288 h 299"/>
                <a:gd name="T22" fmla="*/ 139 w 299"/>
                <a:gd name="T23" fmla="*/ 175 h 299"/>
                <a:gd name="T24" fmla="*/ 61 w 299"/>
                <a:gd name="T25" fmla="*/ 253 h 299"/>
                <a:gd name="T26" fmla="*/ 54 w 299"/>
                <a:gd name="T27" fmla="*/ 256 h 299"/>
                <a:gd name="T28" fmla="*/ 46 w 299"/>
                <a:gd name="T29" fmla="*/ 253 h 299"/>
                <a:gd name="T30" fmla="*/ 46 w 299"/>
                <a:gd name="T31" fmla="*/ 238 h 299"/>
                <a:gd name="T32" fmla="*/ 124 w 299"/>
                <a:gd name="T33" fmla="*/ 160 h 299"/>
                <a:gd name="T34" fmla="*/ 11 w 299"/>
                <a:gd name="T35" fmla="*/ 160 h 299"/>
                <a:gd name="T36" fmla="*/ 0 w 299"/>
                <a:gd name="T37" fmla="*/ 150 h 299"/>
                <a:gd name="T38" fmla="*/ 11 w 299"/>
                <a:gd name="T39" fmla="*/ 139 h 299"/>
                <a:gd name="T40" fmla="*/ 124 w 299"/>
                <a:gd name="T41" fmla="*/ 139 h 299"/>
                <a:gd name="T42" fmla="*/ 46 w 299"/>
                <a:gd name="T43" fmla="*/ 61 h 299"/>
                <a:gd name="T44" fmla="*/ 46 w 299"/>
                <a:gd name="T45" fmla="*/ 46 h 299"/>
                <a:gd name="T46" fmla="*/ 61 w 299"/>
                <a:gd name="T47" fmla="*/ 46 h 299"/>
                <a:gd name="T48" fmla="*/ 139 w 299"/>
                <a:gd name="T49" fmla="*/ 124 h 299"/>
                <a:gd name="T50" fmla="*/ 139 w 299"/>
                <a:gd name="T51" fmla="*/ 11 h 299"/>
                <a:gd name="T52" fmla="*/ 150 w 299"/>
                <a:gd name="T53" fmla="*/ 0 h 299"/>
                <a:gd name="T54" fmla="*/ 160 w 299"/>
                <a:gd name="T55" fmla="*/ 11 h 299"/>
                <a:gd name="T56" fmla="*/ 160 w 299"/>
                <a:gd name="T57" fmla="*/ 124 h 299"/>
                <a:gd name="T58" fmla="*/ 238 w 299"/>
                <a:gd name="T59" fmla="*/ 46 h 299"/>
                <a:gd name="T60" fmla="*/ 253 w 299"/>
                <a:gd name="T61" fmla="*/ 46 h 299"/>
                <a:gd name="T62" fmla="*/ 253 w 299"/>
                <a:gd name="T63" fmla="*/ 61 h 299"/>
                <a:gd name="T64" fmla="*/ 175 w 299"/>
                <a:gd name="T65" fmla="*/ 139 h 299"/>
                <a:gd name="T66" fmla="*/ 288 w 299"/>
                <a:gd name="T67" fmla="*/ 139 h 299"/>
                <a:gd name="T68" fmla="*/ 299 w 299"/>
                <a:gd name="T69" fmla="*/ 15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299">
                  <a:moveTo>
                    <a:pt x="299" y="150"/>
                  </a:moveTo>
                  <a:cubicBezTo>
                    <a:pt x="299" y="156"/>
                    <a:pt x="294" y="160"/>
                    <a:pt x="288" y="160"/>
                  </a:cubicBezTo>
                  <a:cubicBezTo>
                    <a:pt x="175" y="160"/>
                    <a:pt x="175" y="160"/>
                    <a:pt x="175" y="160"/>
                  </a:cubicBezTo>
                  <a:cubicBezTo>
                    <a:pt x="253" y="238"/>
                    <a:pt x="253" y="238"/>
                    <a:pt x="253" y="238"/>
                  </a:cubicBezTo>
                  <a:cubicBezTo>
                    <a:pt x="257" y="242"/>
                    <a:pt x="257" y="249"/>
                    <a:pt x="253" y="253"/>
                  </a:cubicBezTo>
                  <a:cubicBezTo>
                    <a:pt x="251" y="255"/>
                    <a:pt x="248" y="256"/>
                    <a:pt x="246" y="256"/>
                  </a:cubicBezTo>
                  <a:cubicBezTo>
                    <a:pt x="243" y="256"/>
                    <a:pt x="240" y="255"/>
                    <a:pt x="238" y="253"/>
                  </a:cubicBezTo>
                  <a:cubicBezTo>
                    <a:pt x="160" y="175"/>
                    <a:pt x="160" y="175"/>
                    <a:pt x="160" y="175"/>
                  </a:cubicBezTo>
                  <a:cubicBezTo>
                    <a:pt x="160" y="288"/>
                    <a:pt x="160" y="288"/>
                    <a:pt x="160" y="288"/>
                  </a:cubicBezTo>
                  <a:cubicBezTo>
                    <a:pt x="160" y="294"/>
                    <a:pt x="156" y="299"/>
                    <a:pt x="150" y="299"/>
                  </a:cubicBezTo>
                  <a:cubicBezTo>
                    <a:pt x="144" y="299"/>
                    <a:pt x="139" y="294"/>
                    <a:pt x="139" y="288"/>
                  </a:cubicBezTo>
                  <a:cubicBezTo>
                    <a:pt x="139" y="175"/>
                    <a:pt x="139" y="175"/>
                    <a:pt x="139" y="175"/>
                  </a:cubicBezTo>
                  <a:cubicBezTo>
                    <a:pt x="61" y="253"/>
                    <a:pt x="61" y="253"/>
                    <a:pt x="61" y="253"/>
                  </a:cubicBezTo>
                  <a:cubicBezTo>
                    <a:pt x="59" y="255"/>
                    <a:pt x="56" y="256"/>
                    <a:pt x="54" y="256"/>
                  </a:cubicBezTo>
                  <a:cubicBezTo>
                    <a:pt x="51" y="256"/>
                    <a:pt x="48" y="255"/>
                    <a:pt x="46" y="253"/>
                  </a:cubicBezTo>
                  <a:cubicBezTo>
                    <a:pt x="42" y="249"/>
                    <a:pt x="42" y="242"/>
                    <a:pt x="46" y="238"/>
                  </a:cubicBezTo>
                  <a:cubicBezTo>
                    <a:pt x="124" y="160"/>
                    <a:pt x="124" y="160"/>
                    <a:pt x="124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5" y="160"/>
                    <a:pt x="0" y="156"/>
                    <a:pt x="0" y="150"/>
                  </a:cubicBezTo>
                  <a:cubicBezTo>
                    <a:pt x="0" y="144"/>
                    <a:pt x="5" y="139"/>
                    <a:pt x="11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2" y="57"/>
                    <a:pt x="42" y="50"/>
                    <a:pt x="46" y="46"/>
                  </a:cubicBezTo>
                  <a:cubicBezTo>
                    <a:pt x="50" y="42"/>
                    <a:pt x="57" y="42"/>
                    <a:pt x="61" y="46"/>
                  </a:cubicBezTo>
                  <a:cubicBezTo>
                    <a:pt x="139" y="124"/>
                    <a:pt x="139" y="124"/>
                    <a:pt x="139" y="124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5"/>
                    <a:pt x="144" y="0"/>
                    <a:pt x="150" y="0"/>
                  </a:cubicBezTo>
                  <a:cubicBezTo>
                    <a:pt x="156" y="0"/>
                    <a:pt x="160" y="5"/>
                    <a:pt x="160" y="11"/>
                  </a:cubicBezTo>
                  <a:cubicBezTo>
                    <a:pt x="160" y="124"/>
                    <a:pt x="160" y="124"/>
                    <a:pt x="160" y="124"/>
                  </a:cubicBezTo>
                  <a:cubicBezTo>
                    <a:pt x="238" y="46"/>
                    <a:pt x="238" y="46"/>
                    <a:pt x="238" y="46"/>
                  </a:cubicBezTo>
                  <a:cubicBezTo>
                    <a:pt x="242" y="42"/>
                    <a:pt x="249" y="42"/>
                    <a:pt x="253" y="46"/>
                  </a:cubicBezTo>
                  <a:cubicBezTo>
                    <a:pt x="257" y="50"/>
                    <a:pt x="257" y="57"/>
                    <a:pt x="253" y="61"/>
                  </a:cubicBezTo>
                  <a:cubicBezTo>
                    <a:pt x="175" y="139"/>
                    <a:pt x="175" y="139"/>
                    <a:pt x="175" y="139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94" y="139"/>
                    <a:pt x="299" y="144"/>
                    <a:pt x="299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279"/>
            <p:cNvSpPr>
              <a:spLocks noEditPoints="1"/>
            </p:cNvSpPr>
            <p:nvPr/>
          </p:nvSpPr>
          <p:spPr bwMode="auto">
            <a:xfrm>
              <a:off x="2910" y="2160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301"/>
          <p:cNvSpPr>
            <a:spLocks noChangeAspect="1" noEditPoints="1"/>
          </p:cNvSpPr>
          <p:nvPr/>
        </p:nvSpPr>
        <p:spPr bwMode="auto">
          <a:xfrm>
            <a:off x="3411562" y="2051050"/>
            <a:ext cx="367982" cy="367982"/>
          </a:xfrm>
          <a:custGeom>
            <a:avLst/>
            <a:gdLst>
              <a:gd name="T0" fmla="*/ 266 w 512"/>
              <a:gd name="T1" fmla="*/ 251 h 512"/>
              <a:gd name="T2" fmla="*/ 288 w 512"/>
              <a:gd name="T3" fmla="*/ 246 h 512"/>
              <a:gd name="T4" fmla="*/ 288 w 512"/>
              <a:gd name="T5" fmla="*/ 384 h 512"/>
              <a:gd name="T6" fmla="*/ 277 w 512"/>
              <a:gd name="T7" fmla="*/ 394 h 512"/>
              <a:gd name="T8" fmla="*/ 266 w 512"/>
              <a:gd name="T9" fmla="*/ 384 h 512"/>
              <a:gd name="T10" fmla="*/ 266 w 512"/>
              <a:gd name="T11" fmla="*/ 251 h 512"/>
              <a:gd name="T12" fmla="*/ 288 w 512"/>
              <a:gd name="T13" fmla="*/ 128 h 512"/>
              <a:gd name="T14" fmla="*/ 277 w 512"/>
              <a:gd name="T15" fmla="*/ 117 h 512"/>
              <a:gd name="T16" fmla="*/ 266 w 512"/>
              <a:gd name="T17" fmla="*/ 128 h 512"/>
              <a:gd name="T18" fmla="*/ 266 w 512"/>
              <a:gd name="T19" fmla="*/ 132 h 512"/>
              <a:gd name="T20" fmla="*/ 288 w 512"/>
              <a:gd name="T21" fmla="*/ 137 h 512"/>
              <a:gd name="T22" fmla="*/ 288 w 512"/>
              <a:gd name="T23" fmla="*/ 128 h 512"/>
              <a:gd name="T24" fmla="*/ 155 w 512"/>
              <a:gd name="T25" fmla="*/ 254 h 512"/>
              <a:gd name="T26" fmla="*/ 330 w 512"/>
              <a:gd name="T27" fmla="*/ 215 h 512"/>
              <a:gd name="T28" fmla="*/ 330 w 512"/>
              <a:gd name="T29" fmla="*/ 168 h 512"/>
              <a:gd name="T30" fmla="*/ 155 w 512"/>
              <a:gd name="T31" fmla="*/ 129 h 512"/>
              <a:gd name="T32" fmla="*/ 155 w 512"/>
              <a:gd name="T33" fmla="*/ 25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52 w 512"/>
              <a:gd name="T45" fmla="*/ 160 h 512"/>
              <a:gd name="T46" fmla="*/ 343 w 512"/>
              <a:gd name="T47" fmla="*/ 149 h 512"/>
              <a:gd name="T48" fmla="*/ 309 w 512"/>
              <a:gd name="T49" fmla="*/ 142 h 512"/>
              <a:gd name="T50" fmla="*/ 309 w 512"/>
              <a:gd name="T51" fmla="*/ 128 h 512"/>
              <a:gd name="T52" fmla="*/ 277 w 512"/>
              <a:gd name="T53" fmla="*/ 96 h 512"/>
              <a:gd name="T54" fmla="*/ 245 w 512"/>
              <a:gd name="T55" fmla="*/ 127 h 512"/>
              <a:gd name="T56" fmla="*/ 151 w 512"/>
              <a:gd name="T57" fmla="*/ 107 h 512"/>
              <a:gd name="T58" fmla="*/ 140 w 512"/>
              <a:gd name="T59" fmla="*/ 112 h 512"/>
              <a:gd name="T60" fmla="*/ 140 w 512"/>
              <a:gd name="T61" fmla="*/ 272 h 512"/>
              <a:gd name="T62" fmla="*/ 149 w 512"/>
              <a:gd name="T63" fmla="*/ 277 h 512"/>
              <a:gd name="T64" fmla="*/ 151 w 512"/>
              <a:gd name="T65" fmla="*/ 277 h 512"/>
              <a:gd name="T66" fmla="*/ 245 w 512"/>
              <a:gd name="T67" fmla="*/ 256 h 512"/>
              <a:gd name="T68" fmla="*/ 245 w 512"/>
              <a:gd name="T69" fmla="*/ 384 h 512"/>
              <a:gd name="T70" fmla="*/ 277 w 512"/>
              <a:gd name="T71" fmla="*/ 416 h 512"/>
              <a:gd name="T72" fmla="*/ 309 w 512"/>
              <a:gd name="T73" fmla="*/ 384 h 512"/>
              <a:gd name="T74" fmla="*/ 309 w 512"/>
              <a:gd name="T75" fmla="*/ 242 h 512"/>
              <a:gd name="T76" fmla="*/ 343 w 512"/>
              <a:gd name="T77" fmla="*/ 234 h 512"/>
              <a:gd name="T78" fmla="*/ 352 w 512"/>
              <a:gd name="T79" fmla="*/ 224 h 512"/>
              <a:gd name="T80" fmla="*/ 352 w 512"/>
              <a:gd name="T81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66" y="251"/>
                </a:moveTo>
                <a:cubicBezTo>
                  <a:pt x="288" y="246"/>
                  <a:pt x="288" y="246"/>
                  <a:pt x="288" y="246"/>
                </a:cubicBezTo>
                <a:cubicBezTo>
                  <a:pt x="288" y="384"/>
                  <a:pt x="288" y="384"/>
                  <a:pt x="288" y="384"/>
                </a:cubicBezTo>
                <a:cubicBezTo>
                  <a:pt x="288" y="390"/>
                  <a:pt x="283" y="394"/>
                  <a:pt x="277" y="394"/>
                </a:cubicBezTo>
                <a:cubicBezTo>
                  <a:pt x="271" y="394"/>
                  <a:pt x="266" y="390"/>
                  <a:pt x="266" y="384"/>
                </a:cubicBezTo>
                <a:lnTo>
                  <a:pt x="266" y="251"/>
                </a:lnTo>
                <a:close/>
                <a:moveTo>
                  <a:pt x="288" y="128"/>
                </a:moveTo>
                <a:cubicBezTo>
                  <a:pt x="288" y="122"/>
                  <a:pt x="283" y="117"/>
                  <a:pt x="277" y="117"/>
                </a:cubicBezTo>
                <a:cubicBezTo>
                  <a:pt x="271" y="117"/>
                  <a:pt x="266" y="122"/>
                  <a:pt x="266" y="128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88" y="137"/>
                  <a:pt x="288" y="137"/>
                  <a:pt x="288" y="137"/>
                </a:cubicBezTo>
                <a:lnTo>
                  <a:pt x="288" y="128"/>
                </a:lnTo>
                <a:close/>
                <a:moveTo>
                  <a:pt x="155" y="254"/>
                </a:moveTo>
                <a:cubicBezTo>
                  <a:pt x="330" y="215"/>
                  <a:pt x="330" y="215"/>
                  <a:pt x="330" y="215"/>
                </a:cubicBezTo>
                <a:cubicBezTo>
                  <a:pt x="330" y="168"/>
                  <a:pt x="330" y="168"/>
                  <a:pt x="330" y="168"/>
                </a:cubicBezTo>
                <a:cubicBezTo>
                  <a:pt x="155" y="129"/>
                  <a:pt x="155" y="129"/>
                  <a:pt x="155" y="129"/>
                </a:cubicBezTo>
                <a:cubicBezTo>
                  <a:pt x="147" y="148"/>
                  <a:pt x="129" y="202"/>
                  <a:pt x="155" y="25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2" y="160"/>
                </a:moveTo>
                <a:cubicBezTo>
                  <a:pt x="352" y="155"/>
                  <a:pt x="348" y="150"/>
                  <a:pt x="343" y="149"/>
                </a:cubicBezTo>
                <a:cubicBezTo>
                  <a:pt x="309" y="142"/>
                  <a:pt x="309" y="142"/>
                  <a:pt x="309" y="142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309" y="110"/>
                  <a:pt x="295" y="96"/>
                  <a:pt x="277" y="96"/>
                </a:cubicBezTo>
                <a:cubicBezTo>
                  <a:pt x="259" y="96"/>
                  <a:pt x="245" y="110"/>
                  <a:pt x="245" y="127"/>
                </a:cubicBezTo>
                <a:cubicBezTo>
                  <a:pt x="151" y="107"/>
                  <a:pt x="151" y="107"/>
                  <a:pt x="151" y="107"/>
                </a:cubicBezTo>
                <a:cubicBezTo>
                  <a:pt x="147" y="106"/>
                  <a:pt x="142" y="108"/>
                  <a:pt x="140" y="112"/>
                </a:cubicBezTo>
                <a:cubicBezTo>
                  <a:pt x="138" y="115"/>
                  <a:pt x="97" y="194"/>
                  <a:pt x="140" y="272"/>
                </a:cubicBezTo>
                <a:cubicBezTo>
                  <a:pt x="142" y="275"/>
                  <a:pt x="145" y="277"/>
                  <a:pt x="149" y="277"/>
                </a:cubicBezTo>
                <a:cubicBezTo>
                  <a:pt x="150" y="277"/>
                  <a:pt x="151" y="277"/>
                  <a:pt x="151" y="277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401"/>
                  <a:pt x="259" y="416"/>
                  <a:pt x="277" y="416"/>
                </a:cubicBezTo>
                <a:cubicBezTo>
                  <a:pt x="295" y="416"/>
                  <a:pt x="309" y="401"/>
                  <a:pt x="309" y="384"/>
                </a:cubicBezTo>
                <a:cubicBezTo>
                  <a:pt x="309" y="242"/>
                  <a:pt x="309" y="242"/>
                  <a:pt x="309" y="242"/>
                </a:cubicBezTo>
                <a:cubicBezTo>
                  <a:pt x="343" y="234"/>
                  <a:pt x="343" y="234"/>
                  <a:pt x="343" y="234"/>
                </a:cubicBezTo>
                <a:cubicBezTo>
                  <a:pt x="348" y="233"/>
                  <a:pt x="352" y="229"/>
                  <a:pt x="352" y="224"/>
                </a:cubicBezTo>
                <a:lnTo>
                  <a:pt x="352" y="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272"/>
          <p:cNvGrpSpPr>
            <a:grpSpLocks noChangeAspect="1"/>
          </p:cNvGrpSpPr>
          <p:nvPr/>
        </p:nvGrpSpPr>
        <p:grpSpPr bwMode="auto">
          <a:xfrm>
            <a:off x="3909130" y="2051050"/>
            <a:ext cx="367982" cy="367982"/>
            <a:chOff x="3136" y="1779"/>
            <a:chExt cx="340" cy="340"/>
          </a:xfrm>
          <a:solidFill>
            <a:schemeClr val="accent4"/>
          </a:solidFill>
        </p:grpSpPr>
        <p:sp>
          <p:nvSpPr>
            <p:cNvPr id="274" name="Freeform 305"/>
            <p:cNvSpPr>
              <a:spLocks noEditPoints="1"/>
            </p:cNvSpPr>
            <p:nvPr/>
          </p:nvSpPr>
          <p:spPr bwMode="auto">
            <a:xfrm>
              <a:off x="3136" y="17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306"/>
            <p:cNvSpPr>
              <a:spLocks noEditPoints="1"/>
            </p:cNvSpPr>
            <p:nvPr/>
          </p:nvSpPr>
          <p:spPr bwMode="auto">
            <a:xfrm>
              <a:off x="3200" y="1843"/>
              <a:ext cx="170" cy="212"/>
            </a:xfrm>
            <a:custGeom>
              <a:avLst/>
              <a:gdLst>
                <a:gd name="T0" fmla="*/ 246 w 255"/>
                <a:gd name="T1" fmla="*/ 53 h 320"/>
                <a:gd name="T2" fmla="*/ 212 w 255"/>
                <a:gd name="T3" fmla="*/ 46 h 320"/>
                <a:gd name="T4" fmla="*/ 212 w 255"/>
                <a:gd name="T5" fmla="*/ 32 h 320"/>
                <a:gd name="T6" fmla="*/ 180 w 255"/>
                <a:gd name="T7" fmla="*/ 0 h 320"/>
                <a:gd name="T8" fmla="*/ 148 w 255"/>
                <a:gd name="T9" fmla="*/ 31 h 320"/>
                <a:gd name="T10" fmla="*/ 54 w 255"/>
                <a:gd name="T11" fmla="*/ 11 h 320"/>
                <a:gd name="T12" fmla="*/ 43 w 255"/>
                <a:gd name="T13" fmla="*/ 16 h 320"/>
                <a:gd name="T14" fmla="*/ 43 w 255"/>
                <a:gd name="T15" fmla="*/ 176 h 320"/>
                <a:gd name="T16" fmla="*/ 52 w 255"/>
                <a:gd name="T17" fmla="*/ 181 h 320"/>
                <a:gd name="T18" fmla="*/ 54 w 255"/>
                <a:gd name="T19" fmla="*/ 181 h 320"/>
                <a:gd name="T20" fmla="*/ 148 w 255"/>
                <a:gd name="T21" fmla="*/ 160 h 320"/>
                <a:gd name="T22" fmla="*/ 148 w 255"/>
                <a:gd name="T23" fmla="*/ 288 h 320"/>
                <a:gd name="T24" fmla="*/ 180 w 255"/>
                <a:gd name="T25" fmla="*/ 320 h 320"/>
                <a:gd name="T26" fmla="*/ 212 w 255"/>
                <a:gd name="T27" fmla="*/ 288 h 320"/>
                <a:gd name="T28" fmla="*/ 212 w 255"/>
                <a:gd name="T29" fmla="*/ 146 h 320"/>
                <a:gd name="T30" fmla="*/ 246 w 255"/>
                <a:gd name="T31" fmla="*/ 138 h 320"/>
                <a:gd name="T32" fmla="*/ 255 w 255"/>
                <a:gd name="T33" fmla="*/ 128 h 320"/>
                <a:gd name="T34" fmla="*/ 255 w 255"/>
                <a:gd name="T35" fmla="*/ 64 h 320"/>
                <a:gd name="T36" fmla="*/ 246 w 255"/>
                <a:gd name="T37" fmla="*/ 53 h 320"/>
                <a:gd name="T38" fmla="*/ 169 w 255"/>
                <a:gd name="T39" fmla="*/ 32 h 320"/>
                <a:gd name="T40" fmla="*/ 180 w 255"/>
                <a:gd name="T41" fmla="*/ 21 h 320"/>
                <a:gd name="T42" fmla="*/ 191 w 255"/>
                <a:gd name="T43" fmla="*/ 32 h 320"/>
                <a:gd name="T44" fmla="*/ 191 w 255"/>
                <a:gd name="T45" fmla="*/ 41 h 320"/>
                <a:gd name="T46" fmla="*/ 169 w 255"/>
                <a:gd name="T47" fmla="*/ 36 h 320"/>
                <a:gd name="T48" fmla="*/ 169 w 255"/>
                <a:gd name="T49" fmla="*/ 32 h 320"/>
                <a:gd name="T50" fmla="*/ 191 w 255"/>
                <a:gd name="T51" fmla="*/ 288 h 320"/>
                <a:gd name="T52" fmla="*/ 180 w 255"/>
                <a:gd name="T53" fmla="*/ 298 h 320"/>
                <a:gd name="T54" fmla="*/ 169 w 255"/>
                <a:gd name="T55" fmla="*/ 288 h 320"/>
                <a:gd name="T56" fmla="*/ 169 w 255"/>
                <a:gd name="T57" fmla="*/ 155 h 320"/>
                <a:gd name="T58" fmla="*/ 191 w 255"/>
                <a:gd name="T59" fmla="*/ 150 h 320"/>
                <a:gd name="T60" fmla="*/ 191 w 255"/>
                <a:gd name="T61" fmla="*/ 288 h 320"/>
                <a:gd name="T62" fmla="*/ 233 w 255"/>
                <a:gd name="T63" fmla="*/ 119 h 320"/>
                <a:gd name="T64" fmla="*/ 58 w 255"/>
                <a:gd name="T65" fmla="*/ 158 h 320"/>
                <a:gd name="T66" fmla="*/ 58 w 255"/>
                <a:gd name="T67" fmla="*/ 33 h 320"/>
                <a:gd name="T68" fmla="*/ 233 w 255"/>
                <a:gd name="T69" fmla="*/ 72 h 320"/>
                <a:gd name="T70" fmla="*/ 233 w 255"/>
                <a:gd name="T71" fmla="*/ 11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5" h="320">
                  <a:moveTo>
                    <a:pt x="246" y="53"/>
                  </a:moveTo>
                  <a:cubicBezTo>
                    <a:pt x="212" y="46"/>
                    <a:pt x="212" y="46"/>
                    <a:pt x="212" y="46"/>
                  </a:cubicBezTo>
                  <a:cubicBezTo>
                    <a:pt x="212" y="32"/>
                    <a:pt x="212" y="32"/>
                    <a:pt x="212" y="32"/>
                  </a:cubicBezTo>
                  <a:cubicBezTo>
                    <a:pt x="212" y="14"/>
                    <a:pt x="198" y="0"/>
                    <a:pt x="180" y="0"/>
                  </a:cubicBezTo>
                  <a:cubicBezTo>
                    <a:pt x="162" y="0"/>
                    <a:pt x="148" y="14"/>
                    <a:pt x="148" y="3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0" y="10"/>
                    <a:pt x="45" y="12"/>
                    <a:pt x="43" y="16"/>
                  </a:cubicBezTo>
                  <a:cubicBezTo>
                    <a:pt x="41" y="19"/>
                    <a:pt x="0" y="98"/>
                    <a:pt x="43" y="176"/>
                  </a:cubicBezTo>
                  <a:cubicBezTo>
                    <a:pt x="45" y="179"/>
                    <a:pt x="48" y="181"/>
                    <a:pt x="52" y="181"/>
                  </a:cubicBezTo>
                  <a:cubicBezTo>
                    <a:pt x="53" y="181"/>
                    <a:pt x="54" y="181"/>
                    <a:pt x="54" y="181"/>
                  </a:cubicBezTo>
                  <a:cubicBezTo>
                    <a:pt x="148" y="160"/>
                    <a:pt x="148" y="160"/>
                    <a:pt x="148" y="160"/>
                  </a:cubicBezTo>
                  <a:cubicBezTo>
                    <a:pt x="148" y="288"/>
                    <a:pt x="148" y="288"/>
                    <a:pt x="148" y="288"/>
                  </a:cubicBezTo>
                  <a:cubicBezTo>
                    <a:pt x="148" y="305"/>
                    <a:pt x="162" y="320"/>
                    <a:pt x="180" y="320"/>
                  </a:cubicBezTo>
                  <a:cubicBezTo>
                    <a:pt x="198" y="320"/>
                    <a:pt x="212" y="305"/>
                    <a:pt x="212" y="288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46" y="138"/>
                    <a:pt x="246" y="138"/>
                    <a:pt x="246" y="138"/>
                  </a:cubicBezTo>
                  <a:cubicBezTo>
                    <a:pt x="251" y="137"/>
                    <a:pt x="255" y="133"/>
                    <a:pt x="255" y="128"/>
                  </a:cubicBezTo>
                  <a:cubicBezTo>
                    <a:pt x="255" y="64"/>
                    <a:pt x="255" y="64"/>
                    <a:pt x="255" y="64"/>
                  </a:cubicBezTo>
                  <a:cubicBezTo>
                    <a:pt x="255" y="59"/>
                    <a:pt x="251" y="54"/>
                    <a:pt x="246" y="53"/>
                  </a:cubicBezTo>
                  <a:close/>
                  <a:moveTo>
                    <a:pt x="169" y="32"/>
                  </a:moveTo>
                  <a:cubicBezTo>
                    <a:pt x="169" y="26"/>
                    <a:pt x="174" y="21"/>
                    <a:pt x="180" y="21"/>
                  </a:cubicBezTo>
                  <a:cubicBezTo>
                    <a:pt x="186" y="21"/>
                    <a:pt x="191" y="26"/>
                    <a:pt x="191" y="32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69" y="36"/>
                    <a:pt x="169" y="36"/>
                    <a:pt x="169" y="36"/>
                  </a:cubicBezTo>
                  <a:lnTo>
                    <a:pt x="169" y="32"/>
                  </a:lnTo>
                  <a:close/>
                  <a:moveTo>
                    <a:pt x="191" y="288"/>
                  </a:moveTo>
                  <a:cubicBezTo>
                    <a:pt x="191" y="294"/>
                    <a:pt x="186" y="298"/>
                    <a:pt x="180" y="298"/>
                  </a:cubicBezTo>
                  <a:cubicBezTo>
                    <a:pt x="174" y="298"/>
                    <a:pt x="169" y="294"/>
                    <a:pt x="169" y="288"/>
                  </a:cubicBezTo>
                  <a:cubicBezTo>
                    <a:pt x="169" y="155"/>
                    <a:pt x="169" y="155"/>
                    <a:pt x="169" y="155"/>
                  </a:cubicBezTo>
                  <a:cubicBezTo>
                    <a:pt x="191" y="150"/>
                    <a:pt x="191" y="150"/>
                    <a:pt x="191" y="150"/>
                  </a:cubicBezTo>
                  <a:lnTo>
                    <a:pt x="191" y="288"/>
                  </a:lnTo>
                  <a:close/>
                  <a:moveTo>
                    <a:pt x="233" y="119"/>
                  </a:moveTo>
                  <a:cubicBezTo>
                    <a:pt x="58" y="158"/>
                    <a:pt x="58" y="158"/>
                    <a:pt x="58" y="158"/>
                  </a:cubicBezTo>
                  <a:cubicBezTo>
                    <a:pt x="32" y="106"/>
                    <a:pt x="50" y="52"/>
                    <a:pt x="58" y="33"/>
                  </a:cubicBezTo>
                  <a:cubicBezTo>
                    <a:pt x="233" y="72"/>
                    <a:pt x="233" y="72"/>
                    <a:pt x="233" y="72"/>
                  </a:cubicBezTo>
                  <a:lnTo>
                    <a:pt x="23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6" name="Freeform 382"/>
          <p:cNvSpPr>
            <a:spLocks noChangeAspect="1" noEditPoints="1"/>
          </p:cNvSpPr>
          <p:nvPr/>
        </p:nvSpPr>
        <p:spPr bwMode="auto">
          <a:xfrm>
            <a:off x="5403998" y="2051050"/>
            <a:ext cx="369064" cy="367982"/>
          </a:xfrm>
          <a:custGeom>
            <a:avLst/>
            <a:gdLst>
              <a:gd name="T0" fmla="*/ 195 w 512"/>
              <a:gd name="T1" fmla="*/ 195 h 512"/>
              <a:gd name="T2" fmla="*/ 119 w 512"/>
              <a:gd name="T3" fmla="*/ 234 h 512"/>
              <a:gd name="T4" fmla="*/ 158 w 512"/>
              <a:gd name="T5" fmla="*/ 158 h 512"/>
              <a:gd name="T6" fmla="*/ 234 w 512"/>
              <a:gd name="T7" fmla="*/ 119 h 512"/>
              <a:gd name="T8" fmla="*/ 195 w 512"/>
              <a:gd name="T9" fmla="*/ 195 h 512"/>
              <a:gd name="T10" fmla="*/ 277 w 512"/>
              <a:gd name="T11" fmla="*/ 393 h 512"/>
              <a:gd name="T12" fmla="*/ 354 w 512"/>
              <a:gd name="T13" fmla="*/ 354 h 512"/>
              <a:gd name="T14" fmla="*/ 393 w 512"/>
              <a:gd name="T15" fmla="*/ 277 h 512"/>
              <a:gd name="T16" fmla="*/ 316 w 512"/>
              <a:gd name="T17" fmla="*/ 316 h 512"/>
              <a:gd name="T18" fmla="*/ 277 w 512"/>
              <a:gd name="T19" fmla="*/ 393 h 512"/>
              <a:gd name="T20" fmla="*/ 256 w 512"/>
              <a:gd name="T21" fmla="*/ 117 h 512"/>
              <a:gd name="T22" fmla="*/ 256 w 512"/>
              <a:gd name="T23" fmla="*/ 118 h 512"/>
              <a:gd name="T24" fmla="*/ 210 w 512"/>
              <a:gd name="T25" fmla="*/ 210 h 512"/>
              <a:gd name="T26" fmla="*/ 117 w 512"/>
              <a:gd name="T27" fmla="*/ 256 h 512"/>
              <a:gd name="T28" fmla="*/ 150 w 512"/>
              <a:gd name="T29" fmla="*/ 346 h 512"/>
              <a:gd name="T30" fmla="*/ 346 w 512"/>
              <a:gd name="T31" fmla="*/ 150 h 512"/>
              <a:gd name="T32" fmla="*/ 256 w 512"/>
              <a:gd name="T33" fmla="*/ 117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6 w 512"/>
              <a:gd name="T45" fmla="*/ 256 h 512"/>
              <a:gd name="T46" fmla="*/ 369 w 512"/>
              <a:gd name="T47" fmla="*/ 143 h 512"/>
              <a:gd name="T48" fmla="*/ 256 w 512"/>
              <a:gd name="T49" fmla="*/ 96 h 512"/>
              <a:gd name="T50" fmla="*/ 143 w 512"/>
              <a:gd name="T51" fmla="*/ 143 h 512"/>
              <a:gd name="T52" fmla="*/ 96 w 512"/>
              <a:gd name="T53" fmla="*/ 256 h 512"/>
              <a:gd name="T54" fmla="*/ 143 w 512"/>
              <a:gd name="T55" fmla="*/ 369 h 512"/>
              <a:gd name="T56" fmla="*/ 256 w 512"/>
              <a:gd name="T57" fmla="*/ 416 h 512"/>
              <a:gd name="T58" fmla="*/ 369 w 512"/>
              <a:gd name="T59" fmla="*/ 369 h 512"/>
              <a:gd name="T60" fmla="*/ 416 w 512"/>
              <a:gd name="T61" fmla="*/ 256 h 512"/>
              <a:gd name="T62" fmla="*/ 166 w 512"/>
              <a:gd name="T63" fmla="*/ 361 h 512"/>
              <a:gd name="T64" fmla="*/ 255 w 512"/>
              <a:gd name="T65" fmla="*/ 394 h 512"/>
              <a:gd name="T66" fmla="*/ 301 w 512"/>
              <a:gd name="T67" fmla="*/ 301 h 512"/>
              <a:gd name="T68" fmla="*/ 394 w 512"/>
              <a:gd name="T69" fmla="*/ 255 h 512"/>
              <a:gd name="T70" fmla="*/ 361 w 512"/>
              <a:gd name="T71" fmla="*/ 166 h 512"/>
              <a:gd name="T72" fmla="*/ 166 w 512"/>
              <a:gd name="T73" fmla="*/ 3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195" y="195"/>
                </a:moveTo>
                <a:cubicBezTo>
                  <a:pt x="174" y="216"/>
                  <a:pt x="148" y="230"/>
                  <a:pt x="119" y="234"/>
                </a:cubicBezTo>
                <a:cubicBezTo>
                  <a:pt x="123" y="205"/>
                  <a:pt x="137" y="179"/>
                  <a:pt x="158" y="158"/>
                </a:cubicBezTo>
                <a:cubicBezTo>
                  <a:pt x="179" y="137"/>
                  <a:pt x="205" y="123"/>
                  <a:pt x="234" y="119"/>
                </a:cubicBezTo>
                <a:cubicBezTo>
                  <a:pt x="230" y="148"/>
                  <a:pt x="216" y="174"/>
                  <a:pt x="195" y="195"/>
                </a:cubicBezTo>
                <a:close/>
                <a:moveTo>
                  <a:pt x="277" y="393"/>
                </a:moveTo>
                <a:cubicBezTo>
                  <a:pt x="306" y="388"/>
                  <a:pt x="333" y="375"/>
                  <a:pt x="354" y="354"/>
                </a:cubicBezTo>
                <a:cubicBezTo>
                  <a:pt x="375" y="333"/>
                  <a:pt x="388" y="306"/>
                  <a:pt x="393" y="277"/>
                </a:cubicBezTo>
                <a:cubicBezTo>
                  <a:pt x="364" y="282"/>
                  <a:pt x="337" y="295"/>
                  <a:pt x="316" y="316"/>
                </a:cubicBezTo>
                <a:cubicBezTo>
                  <a:pt x="295" y="337"/>
                  <a:pt x="282" y="364"/>
                  <a:pt x="277" y="393"/>
                </a:cubicBezTo>
                <a:close/>
                <a:moveTo>
                  <a:pt x="256" y="117"/>
                </a:moveTo>
                <a:cubicBezTo>
                  <a:pt x="256" y="117"/>
                  <a:pt x="256" y="118"/>
                  <a:pt x="256" y="118"/>
                </a:cubicBezTo>
                <a:cubicBezTo>
                  <a:pt x="251" y="153"/>
                  <a:pt x="236" y="185"/>
                  <a:pt x="210" y="210"/>
                </a:cubicBezTo>
                <a:cubicBezTo>
                  <a:pt x="185" y="236"/>
                  <a:pt x="152" y="252"/>
                  <a:pt x="117" y="256"/>
                </a:cubicBezTo>
                <a:cubicBezTo>
                  <a:pt x="117" y="289"/>
                  <a:pt x="129" y="321"/>
                  <a:pt x="150" y="346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1" y="129"/>
                  <a:pt x="289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213"/>
                  <a:pt x="399" y="173"/>
                  <a:pt x="369" y="143"/>
                </a:cubicBezTo>
                <a:cubicBezTo>
                  <a:pt x="339" y="112"/>
                  <a:pt x="298" y="96"/>
                  <a:pt x="256" y="96"/>
                </a:cubicBezTo>
                <a:cubicBezTo>
                  <a:pt x="213" y="96"/>
                  <a:pt x="173" y="112"/>
                  <a:pt x="143" y="143"/>
                </a:cubicBezTo>
                <a:cubicBezTo>
                  <a:pt x="112" y="173"/>
                  <a:pt x="96" y="213"/>
                  <a:pt x="96" y="256"/>
                </a:cubicBezTo>
                <a:cubicBezTo>
                  <a:pt x="96" y="298"/>
                  <a:pt x="112" y="339"/>
                  <a:pt x="143" y="369"/>
                </a:cubicBezTo>
                <a:cubicBezTo>
                  <a:pt x="173" y="399"/>
                  <a:pt x="213" y="416"/>
                  <a:pt x="256" y="416"/>
                </a:cubicBezTo>
                <a:cubicBezTo>
                  <a:pt x="298" y="416"/>
                  <a:pt x="339" y="399"/>
                  <a:pt x="369" y="369"/>
                </a:cubicBezTo>
                <a:cubicBezTo>
                  <a:pt x="399" y="339"/>
                  <a:pt x="416" y="298"/>
                  <a:pt x="416" y="256"/>
                </a:cubicBezTo>
                <a:close/>
                <a:moveTo>
                  <a:pt x="166" y="361"/>
                </a:moveTo>
                <a:cubicBezTo>
                  <a:pt x="191" y="382"/>
                  <a:pt x="222" y="394"/>
                  <a:pt x="255" y="394"/>
                </a:cubicBezTo>
                <a:cubicBezTo>
                  <a:pt x="260" y="359"/>
                  <a:pt x="276" y="326"/>
                  <a:pt x="301" y="301"/>
                </a:cubicBezTo>
                <a:cubicBezTo>
                  <a:pt x="326" y="276"/>
                  <a:pt x="359" y="260"/>
                  <a:pt x="394" y="255"/>
                </a:cubicBezTo>
                <a:cubicBezTo>
                  <a:pt x="394" y="222"/>
                  <a:pt x="382" y="191"/>
                  <a:pt x="361" y="166"/>
                </a:cubicBezTo>
                <a:lnTo>
                  <a:pt x="166" y="3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7" name="Freeform 386"/>
          <p:cNvSpPr>
            <a:spLocks noChangeAspect="1" noEditPoints="1"/>
          </p:cNvSpPr>
          <p:nvPr/>
        </p:nvSpPr>
        <p:spPr bwMode="auto">
          <a:xfrm>
            <a:off x="5902648" y="2051050"/>
            <a:ext cx="367982" cy="369064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9 w 512"/>
              <a:gd name="T21" fmla="*/ 143 h 512"/>
              <a:gd name="T22" fmla="*/ 256 w 512"/>
              <a:gd name="T23" fmla="*/ 96 h 512"/>
              <a:gd name="T24" fmla="*/ 143 w 512"/>
              <a:gd name="T25" fmla="*/ 143 h 512"/>
              <a:gd name="T26" fmla="*/ 96 w 512"/>
              <a:gd name="T27" fmla="*/ 256 h 512"/>
              <a:gd name="T28" fmla="*/ 143 w 512"/>
              <a:gd name="T29" fmla="*/ 369 h 512"/>
              <a:gd name="T30" fmla="*/ 256 w 512"/>
              <a:gd name="T31" fmla="*/ 416 h 512"/>
              <a:gd name="T32" fmla="*/ 369 w 512"/>
              <a:gd name="T33" fmla="*/ 369 h 512"/>
              <a:gd name="T34" fmla="*/ 416 w 512"/>
              <a:gd name="T35" fmla="*/ 256 h 512"/>
              <a:gd name="T36" fmla="*/ 369 w 512"/>
              <a:gd name="T37" fmla="*/ 143 h 512"/>
              <a:gd name="T38" fmla="*/ 255 w 512"/>
              <a:gd name="T39" fmla="*/ 394 h 512"/>
              <a:gd name="T40" fmla="*/ 166 w 512"/>
              <a:gd name="T41" fmla="*/ 361 h 512"/>
              <a:gd name="T42" fmla="*/ 361 w 512"/>
              <a:gd name="T43" fmla="*/ 166 h 512"/>
              <a:gd name="T44" fmla="*/ 394 w 512"/>
              <a:gd name="T45" fmla="*/ 255 h 512"/>
              <a:gd name="T46" fmla="*/ 301 w 512"/>
              <a:gd name="T47" fmla="*/ 301 h 512"/>
              <a:gd name="T48" fmla="*/ 255 w 512"/>
              <a:gd name="T49" fmla="*/ 394 h 512"/>
              <a:gd name="T50" fmla="*/ 117 w 512"/>
              <a:gd name="T51" fmla="*/ 256 h 512"/>
              <a:gd name="T52" fmla="*/ 210 w 512"/>
              <a:gd name="T53" fmla="*/ 210 h 512"/>
              <a:gd name="T54" fmla="*/ 256 w 512"/>
              <a:gd name="T55" fmla="*/ 118 h 512"/>
              <a:gd name="T56" fmla="*/ 256 w 512"/>
              <a:gd name="T57" fmla="*/ 117 h 512"/>
              <a:gd name="T58" fmla="*/ 346 w 512"/>
              <a:gd name="T59" fmla="*/ 150 h 512"/>
              <a:gd name="T60" fmla="*/ 150 w 512"/>
              <a:gd name="T61" fmla="*/ 346 h 512"/>
              <a:gd name="T62" fmla="*/ 117 w 512"/>
              <a:gd name="T63" fmla="*/ 256 h 512"/>
              <a:gd name="T64" fmla="*/ 158 w 512"/>
              <a:gd name="T65" fmla="*/ 158 h 512"/>
              <a:gd name="T66" fmla="*/ 234 w 512"/>
              <a:gd name="T67" fmla="*/ 119 h 512"/>
              <a:gd name="T68" fmla="*/ 195 w 512"/>
              <a:gd name="T69" fmla="*/ 195 h 512"/>
              <a:gd name="T70" fmla="*/ 119 w 512"/>
              <a:gd name="T71" fmla="*/ 234 h 512"/>
              <a:gd name="T72" fmla="*/ 158 w 512"/>
              <a:gd name="T73" fmla="*/ 158 h 512"/>
              <a:gd name="T74" fmla="*/ 354 w 512"/>
              <a:gd name="T75" fmla="*/ 354 h 512"/>
              <a:gd name="T76" fmla="*/ 277 w 512"/>
              <a:gd name="T77" fmla="*/ 393 h 512"/>
              <a:gd name="T78" fmla="*/ 316 w 512"/>
              <a:gd name="T79" fmla="*/ 316 h 512"/>
              <a:gd name="T80" fmla="*/ 393 w 512"/>
              <a:gd name="T81" fmla="*/ 277 h 512"/>
              <a:gd name="T82" fmla="*/ 354 w 512"/>
              <a:gd name="T83" fmla="*/ 3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9" y="143"/>
                </a:moveTo>
                <a:cubicBezTo>
                  <a:pt x="339" y="112"/>
                  <a:pt x="298" y="96"/>
                  <a:pt x="256" y="96"/>
                </a:cubicBezTo>
                <a:cubicBezTo>
                  <a:pt x="213" y="96"/>
                  <a:pt x="173" y="112"/>
                  <a:pt x="143" y="143"/>
                </a:cubicBezTo>
                <a:cubicBezTo>
                  <a:pt x="112" y="173"/>
                  <a:pt x="96" y="213"/>
                  <a:pt x="96" y="256"/>
                </a:cubicBezTo>
                <a:cubicBezTo>
                  <a:pt x="96" y="298"/>
                  <a:pt x="112" y="339"/>
                  <a:pt x="143" y="369"/>
                </a:cubicBezTo>
                <a:cubicBezTo>
                  <a:pt x="173" y="399"/>
                  <a:pt x="213" y="416"/>
                  <a:pt x="256" y="416"/>
                </a:cubicBezTo>
                <a:cubicBezTo>
                  <a:pt x="298" y="416"/>
                  <a:pt x="339" y="399"/>
                  <a:pt x="369" y="369"/>
                </a:cubicBezTo>
                <a:cubicBezTo>
                  <a:pt x="399" y="339"/>
                  <a:pt x="416" y="298"/>
                  <a:pt x="416" y="256"/>
                </a:cubicBezTo>
                <a:cubicBezTo>
                  <a:pt x="416" y="213"/>
                  <a:pt x="399" y="173"/>
                  <a:pt x="369" y="143"/>
                </a:cubicBezTo>
                <a:close/>
                <a:moveTo>
                  <a:pt x="255" y="394"/>
                </a:moveTo>
                <a:cubicBezTo>
                  <a:pt x="222" y="394"/>
                  <a:pt x="191" y="382"/>
                  <a:pt x="166" y="361"/>
                </a:cubicBezTo>
                <a:cubicBezTo>
                  <a:pt x="361" y="166"/>
                  <a:pt x="361" y="166"/>
                  <a:pt x="361" y="166"/>
                </a:cubicBezTo>
                <a:cubicBezTo>
                  <a:pt x="382" y="191"/>
                  <a:pt x="394" y="222"/>
                  <a:pt x="394" y="255"/>
                </a:cubicBezTo>
                <a:cubicBezTo>
                  <a:pt x="359" y="260"/>
                  <a:pt x="326" y="276"/>
                  <a:pt x="301" y="301"/>
                </a:cubicBezTo>
                <a:cubicBezTo>
                  <a:pt x="276" y="326"/>
                  <a:pt x="260" y="359"/>
                  <a:pt x="255" y="394"/>
                </a:cubicBezTo>
                <a:close/>
                <a:moveTo>
                  <a:pt x="117" y="256"/>
                </a:moveTo>
                <a:cubicBezTo>
                  <a:pt x="152" y="252"/>
                  <a:pt x="185" y="236"/>
                  <a:pt x="210" y="210"/>
                </a:cubicBezTo>
                <a:cubicBezTo>
                  <a:pt x="236" y="185"/>
                  <a:pt x="251" y="153"/>
                  <a:pt x="256" y="118"/>
                </a:cubicBezTo>
                <a:cubicBezTo>
                  <a:pt x="256" y="118"/>
                  <a:pt x="256" y="117"/>
                  <a:pt x="256" y="117"/>
                </a:cubicBezTo>
                <a:cubicBezTo>
                  <a:pt x="289" y="117"/>
                  <a:pt x="321" y="129"/>
                  <a:pt x="346" y="150"/>
                </a:cubicBezTo>
                <a:cubicBezTo>
                  <a:pt x="150" y="346"/>
                  <a:pt x="150" y="346"/>
                  <a:pt x="150" y="346"/>
                </a:cubicBezTo>
                <a:cubicBezTo>
                  <a:pt x="129" y="321"/>
                  <a:pt x="117" y="289"/>
                  <a:pt x="117" y="256"/>
                </a:cubicBezTo>
                <a:close/>
                <a:moveTo>
                  <a:pt x="158" y="158"/>
                </a:moveTo>
                <a:cubicBezTo>
                  <a:pt x="179" y="137"/>
                  <a:pt x="205" y="123"/>
                  <a:pt x="234" y="119"/>
                </a:cubicBezTo>
                <a:cubicBezTo>
                  <a:pt x="230" y="148"/>
                  <a:pt x="216" y="174"/>
                  <a:pt x="195" y="195"/>
                </a:cubicBezTo>
                <a:cubicBezTo>
                  <a:pt x="174" y="216"/>
                  <a:pt x="148" y="230"/>
                  <a:pt x="119" y="234"/>
                </a:cubicBezTo>
                <a:cubicBezTo>
                  <a:pt x="123" y="205"/>
                  <a:pt x="137" y="179"/>
                  <a:pt x="158" y="158"/>
                </a:cubicBezTo>
                <a:close/>
                <a:moveTo>
                  <a:pt x="354" y="354"/>
                </a:moveTo>
                <a:cubicBezTo>
                  <a:pt x="333" y="375"/>
                  <a:pt x="306" y="388"/>
                  <a:pt x="277" y="393"/>
                </a:cubicBezTo>
                <a:cubicBezTo>
                  <a:pt x="282" y="364"/>
                  <a:pt x="295" y="337"/>
                  <a:pt x="316" y="316"/>
                </a:cubicBezTo>
                <a:cubicBezTo>
                  <a:pt x="337" y="295"/>
                  <a:pt x="364" y="282"/>
                  <a:pt x="393" y="277"/>
                </a:cubicBezTo>
                <a:cubicBezTo>
                  <a:pt x="388" y="306"/>
                  <a:pt x="375" y="333"/>
                  <a:pt x="354" y="35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8" name="Freeform 489"/>
          <p:cNvSpPr>
            <a:spLocks noChangeAspect="1" noEditPoints="1"/>
          </p:cNvSpPr>
          <p:nvPr/>
        </p:nvSpPr>
        <p:spPr bwMode="auto">
          <a:xfrm>
            <a:off x="6400216" y="2051050"/>
            <a:ext cx="367982" cy="367982"/>
          </a:xfrm>
          <a:custGeom>
            <a:avLst/>
            <a:gdLst>
              <a:gd name="T0" fmla="*/ 245 w 512"/>
              <a:gd name="T1" fmla="*/ 128 h 512"/>
              <a:gd name="T2" fmla="*/ 256 w 512"/>
              <a:gd name="T3" fmla="*/ 117 h 512"/>
              <a:gd name="T4" fmla="*/ 266 w 512"/>
              <a:gd name="T5" fmla="*/ 128 h 512"/>
              <a:gd name="T6" fmla="*/ 256 w 512"/>
              <a:gd name="T7" fmla="*/ 138 h 512"/>
              <a:gd name="T8" fmla="*/ 245 w 512"/>
              <a:gd name="T9" fmla="*/ 128 h 512"/>
              <a:gd name="T10" fmla="*/ 256 w 512"/>
              <a:gd name="T11" fmla="*/ 160 h 512"/>
              <a:gd name="T12" fmla="*/ 181 w 512"/>
              <a:gd name="T13" fmla="*/ 234 h 512"/>
              <a:gd name="T14" fmla="*/ 162 w 512"/>
              <a:gd name="T15" fmla="*/ 345 h 512"/>
              <a:gd name="T16" fmla="*/ 349 w 512"/>
              <a:gd name="T17" fmla="*/ 345 h 512"/>
              <a:gd name="T18" fmla="*/ 330 w 512"/>
              <a:gd name="T19" fmla="*/ 234 h 512"/>
              <a:gd name="T20" fmla="*/ 256 w 512"/>
              <a:gd name="T21" fmla="*/ 160 h 512"/>
              <a:gd name="T22" fmla="*/ 236 w 512"/>
              <a:gd name="T23" fmla="*/ 380 h 512"/>
              <a:gd name="T24" fmla="*/ 256 w 512"/>
              <a:gd name="T25" fmla="*/ 394 h 512"/>
              <a:gd name="T26" fmla="*/ 276 w 512"/>
              <a:gd name="T27" fmla="*/ 379 h 512"/>
              <a:gd name="T28" fmla="*/ 249 w 512"/>
              <a:gd name="T29" fmla="*/ 381 h 512"/>
              <a:gd name="T30" fmla="*/ 236 w 512"/>
              <a:gd name="T31" fmla="*/ 380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372 w 512"/>
              <a:gd name="T43" fmla="*/ 348 h 512"/>
              <a:gd name="T44" fmla="*/ 352 w 512"/>
              <a:gd name="T45" fmla="*/ 234 h 512"/>
              <a:gd name="T46" fmla="*/ 284 w 512"/>
              <a:gd name="T47" fmla="*/ 142 h 512"/>
              <a:gd name="T48" fmla="*/ 288 w 512"/>
              <a:gd name="T49" fmla="*/ 128 h 512"/>
              <a:gd name="T50" fmla="*/ 256 w 512"/>
              <a:gd name="T51" fmla="*/ 96 h 512"/>
              <a:gd name="T52" fmla="*/ 224 w 512"/>
              <a:gd name="T53" fmla="*/ 128 h 512"/>
              <a:gd name="T54" fmla="*/ 227 w 512"/>
              <a:gd name="T55" fmla="*/ 142 h 512"/>
              <a:gd name="T56" fmla="*/ 160 w 512"/>
              <a:gd name="T57" fmla="*/ 234 h 512"/>
              <a:gd name="T58" fmla="*/ 139 w 512"/>
              <a:gd name="T59" fmla="*/ 348 h 512"/>
              <a:gd name="T60" fmla="*/ 144 w 512"/>
              <a:gd name="T61" fmla="*/ 361 h 512"/>
              <a:gd name="T62" fmla="*/ 214 w 512"/>
              <a:gd name="T63" fmla="*/ 379 h 512"/>
              <a:gd name="T64" fmla="*/ 256 w 512"/>
              <a:gd name="T65" fmla="*/ 416 h 512"/>
              <a:gd name="T66" fmla="*/ 298 w 512"/>
              <a:gd name="T67" fmla="*/ 377 h 512"/>
              <a:gd name="T68" fmla="*/ 366 w 512"/>
              <a:gd name="T69" fmla="*/ 362 h 512"/>
              <a:gd name="T70" fmla="*/ 372 w 512"/>
              <a:gd name="T71" fmla="*/ 357 h 512"/>
              <a:gd name="T72" fmla="*/ 372 w 512"/>
              <a:gd name="T73" fmla="*/ 34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  <a:moveTo>
                  <a:pt x="256" y="160"/>
                </a:moveTo>
                <a:cubicBezTo>
                  <a:pt x="212" y="160"/>
                  <a:pt x="181" y="190"/>
                  <a:pt x="181" y="234"/>
                </a:cubicBezTo>
                <a:cubicBezTo>
                  <a:pt x="181" y="278"/>
                  <a:pt x="168" y="325"/>
                  <a:pt x="162" y="345"/>
                </a:cubicBezTo>
                <a:cubicBezTo>
                  <a:pt x="185" y="354"/>
                  <a:pt x="253" y="372"/>
                  <a:pt x="349" y="345"/>
                </a:cubicBezTo>
                <a:cubicBezTo>
                  <a:pt x="343" y="324"/>
                  <a:pt x="330" y="277"/>
                  <a:pt x="330" y="234"/>
                </a:cubicBezTo>
                <a:cubicBezTo>
                  <a:pt x="330" y="190"/>
                  <a:pt x="300" y="160"/>
                  <a:pt x="256" y="160"/>
                </a:cubicBezTo>
                <a:close/>
                <a:moveTo>
                  <a:pt x="236" y="380"/>
                </a:moveTo>
                <a:cubicBezTo>
                  <a:pt x="239" y="388"/>
                  <a:pt x="246" y="394"/>
                  <a:pt x="256" y="394"/>
                </a:cubicBezTo>
                <a:cubicBezTo>
                  <a:pt x="265" y="394"/>
                  <a:pt x="273" y="388"/>
                  <a:pt x="276" y="379"/>
                </a:cubicBezTo>
                <a:cubicBezTo>
                  <a:pt x="266" y="380"/>
                  <a:pt x="257" y="381"/>
                  <a:pt x="249" y="381"/>
                </a:cubicBezTo>
                <a:cubicBezTo>
                  <a:pt x="244" y="381"/>
                  <a:pt x="240" y="380"/>
                  <a:pt x="236" y="38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348"/>
                </a:moveTo>
                <a:cubicBezTo>
                  <a:pt x="372" y="348"/>
                  <a:pt x="352" y="286"/>
                  <a:pt x="352" y="234"/>
                </a:cubicBezTo>
                <a:cubicBezTo>
                  <a:pt x="352" y="189"/>
                  <a:pt x="324" y="153"/>
                  <a:pt x="284" y="142"/>
                </a:cubicBezTo>
                <a:cubicBezTo>
                  <a:pt x="286" y="138"/>
                  <a:pt x="288" y="133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33"/>
                  <a:pt x="225" y="138"/>
                  <a:pt x="227" y="142"/>
                </a:cubicBezTo>
                <a:cubicBezTo>
                  <a:pt x="187" y="153"/>
                  <a:pt x="160" y="189"/>
                  <a:pt x="160" y="234"/>
                </a:cubicBezTo>
                <a:cubicBezTo>
                  <a:pt x="160" y="286"/>
                  <a:pt x="139" y="348"/>
                  <a:pt x="139" y="348"/>
                </a:cubicBezTo>
                <a:cubicBezTo>
                  <a:pt x="137" y="353"/>
                  <a:pt x="139" y="359"/>
                  <a:pt x="144" y="361"/>
                </a:cubicBezTo>
                <a:cubicBezTo>
                  <a:pt x="146" y="362"/>
                  <a:pt x="171" y="374"/>
                  <a:pt x="214" y="379"/>
                </a:cubicBezTo>
                <a:cubicBezTo>
                  <a:pt x="216" y="399"/>
                  <a:pt x="234" y="416"/>
                  <a:pt x="256" y="416"/>
                </a:cubicBezTo>
                <a:cubicBezTo>
                  <a:pt x="278" y="416"/>
                  <a:pt x="296" y="399"/>
                  <a:pt x="298" y="377"/>
                </a:cubicBezTo>
                <a:cubicBezTo>
                  <a:pt x="319" y="374"/>
                  <a:pt x="341" y="369"/>
                  <a:pt x="366" y="362"/>
                </a:cubicBezTo>
                <a:cubicBezTo>
                  <a:pt x="368" y="361"/>
                  <a:pt x="371" y="359"/>
                  <a:pt x="372" y="357"/>
                </a:cubicBezTo>
                <a:cubicBezTo>
                  <a:pt x="373" y="354"/>
                  <a:pt x="373" y="351"/>
                  <a:pt x="372" y="34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9" name="Group 492"/>
          <p:cNvGrpSpPr>
            <a:grpSpLocks noChangeAspect="1"/>
          </p:cNvGrpSpPr>
          <p:nvPr/>
        </p:nvGrpSpPr>
        <p:grpSpPr bwMode="auto">
          <a:xfrm>
            <a:off x="6897784" y="2051050"/>
            <a:ext cx="367982" cy="367982"/>
            <a:chOff x="4513" y="3037"/>
            <a:chExt cx="340" cy="340"/>
          </a:xfrm>
          <a:solidFill>
            <a:schemeClr val="accent6"/>
          </a:solidFill>
        </p:grpSpPr>
        <p:sp>
          <p:nvSpPr>
            <p:cNvPr id="280" name="Freeform 493"/>
            <p:cNvSpPr>
              <a:spLocks noEditPoints="1"/>
            </p:cNvSpPr>
            <p:nvPr/>
          </p:nvSpPr>
          <p:spPr bwMode="auto">
            <a:xfrm>
              <a:off x="4513" y="30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494"/>
            <p:cNvSpPr>
              <a:spLocks noEditPoints="1"/>
            </p:cNvSpPr>
            <p:nvPr/>
          </p:nvSpPr>
          <p:spPr bwMode="auto">
            <a:xfrm>
              <a:off x="4604" y="3101"/>
              <a:ext cx="157" cy="212"/>
            </a:xfrm>
            <a:custGeom>
              <a:avLst/>
              <a:gdLst>
                <a:gd name="T0" fmla="*/ 235 w 236"/>
                <a:gd name="T1" fmla="*/ 252 h 320"/>
                <a:gd name="T2" fmla="*/ 215 w 236"/>
                <a:gd name="T3" fmla="*/ 138 h 320"/>
                <a:gd name="T4" fmla="*/ 147 w 236"/>
                <a:gd name="T5" fmla="*/ 46 h 320"/>
                <a:gd name="T6" fmla="*/ 151 w 236"/>
                <a:gd name="T7" fmla="*/ 32 h 320"/>
                <a:gd name="T8" fmla="*/ 119 w 236"/>
                <a:gd name="T9" fmla="*/ 0 h 320"/>
                <a:gd name="T10" fmla="*/ 87 w 236"/>
                <a:gd name="T11" fmla="*/ 32 h 320"/>
                <a:gd name="T12" fmla="*/ 90 w 236"/>
                <a:gd name="T13" fmla="*/ 46 h 320"/>
                <a:gd name="T14" fmla="*/ 23 w 236"/>
                <a:gd name="T15" fmla="*/ 138 h 320"/>
                <a:gd name="T16" fmla="*/ 2 w 236"/>
                <a:gd name="T17" fmla="*/ 252 h 320"/>
                <a:gd name="T18" fmla="*/ 7 w 236"/>
                <a:gd name="T19" fmla="*/ 265 h 320"/>
                <a:gd name="T20" fmla="*/ 77 w 236"/>
                <a:gd name="T21" fmla="*/ 283 h 320"/>
                <a:gd name="T22" fmla="*/ 119 w 236"/>
                <a:gd name="T23" fmla="*/ 320 h 320"/>
                <a:gd name="T24" fmla="*/ 161 w 236"/>
                <a:gd name="T25" fmla="*/ 281 h 320"/>
                <a:gd name="T26" fmla="*/ 229 w 236"/>
                <a:gd name="T27" fmla="*/ 266 h 320"/>
                <a:gd name="T28" fmla="*/ 235 w 236"/>
                <a:gd name="T29" fmla="*/ 261 h 320"/>
                <a:gd name="T30" fmla="*/ 235 w 236"/>
                <a:gd name="T31" fmla="*/ 252 h 320"/>
                <a:gd name="T32" fmla="*/ 108 w 236"/>
                <a:gd name="T33" fmla="*/ 32 h 320"/>
                <a:gd name="T34" fmla="*/ 119 w 236"/>
                <a:gd name="T35" fmla="*/ 21 h 320"/>
                <a:gd name="T36" fmla="*/ 129 w 236"/>
                <a:gd name="T37" fmla="*/ 32 h 320"/>
                <a:gd name="T38" fmla="*/ 119 w 236"/>
                <a:gd name="T39" fmla="*/ 42 h 320"/>
                <a:gd name="T40" fmla="*/ 108 w 236"/>
                <a:gd name="T41" fmla="*/ 32 h 320"/>
                <a:gd name="T42" fmla="*/ 119 w 236"/>
                <a:gd name="T43" fmla="*/ 298 h 320"/>
                <a:gd name="T44" fmla="*/ 99 w 236"/>
                <a:gd name="T45" fmla="*/ 284 h 320"/>
                <a:gd name="T46" fmla="*/ 112 w 236"/>
                <a:gd name="T47" fmla="*/ 285 h 320"/>
                <a:gd name="T48" fmla="*/ 139 w 236"/>
                <a:gd name="T49" fmla="*/ 283 h 320"/>
                <a:gd name="T50" fmla="*/ 119 w 236"/>
                <a:gd name="T51" fmla="*/ 298 h 320"/>
                <a:gd name="T52" fmla="*/ 25 w 236"/>
                <a:gd name="T53" fmla="*/ 249 h 320"/>
                <a:gd name="T54" fmla="*/ 44 w 236"/>
                <a:gd name="T55" fmla="*/ 138 h 320"/>
                <a:gd name="T56" fmla="*/ 119 w 236"/>
                <a:gd name="T57" fmla="*/ 64 h 320"/>
                <a:gd name="T58" fmla="*/ 193 w 236"/>
                <a:gd name="T59" fmla="*/ 138 h 320"/>
                <a:gd name="T60" fmla="*/ 212 w 236"/>
                <a:gd name="T61" fmla="*/ 249 h 320"/>
                <a:gd name="T62" fmla="*/ 25 w 236"/>
                <a:gd name="T63" fmla="*/ 24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320">
                  <a:moveTo>
                    <a:pt x="235" y="252"/>
                  </a:moveTo>
                  <a:cubicBezTo>
                    <a:pt x="235" y="252"/>
                    <a:pt x="215" y="190"/>
                    <a:pt x="215" y="138"/>
                  </a:cubicBezTo>
                  <a:cubicBezTo>
                    <a:pt x="215" y="93"/>
                    <a:pt x="187" y="57"/>
                    <a:pt x="147" y="46"/>
                  </a:cubicBezTo>
                  <a:cubicBezTo>
                    <a:pt x="149" y="42"/>
                    <a:pt x="151" y="37"/>
                    <a:pt x="151" y="32"/>
                  </a:cubicBezTo>
                  <a:cubicBezTo>
                    <a:pt x="151" y="14"/>
                    <a:pt x="136" y="0"/>
                    <a:pt x="119" y="0"/>
                  </a:cubicBezTo>
                  <a:cubicBezTo>
                    <a:pt x="101" y="0"/>
                    <a:pt x="87" y="14"/>
                    <a:pt x="87" y="32"/>
                  </a:cubicBezTo>
                  <a:cubicBezTo>
                    <a:pt x="87" y="37"/>
                    <a:pt x="88" y="42"/>
                    <a:pt x="90" y="46"/>
                  </a:cubicBezTo>
                  <a:cubicBezTo>
                    <a:pt x="50" y="57"/>
                    <a:pt x="23" y="93"/>
                    <a:pt x="23" y="138"/>
                  </a:cubicBezTo>
                  <a:cubicBezTo>
                    <a:pt x="23" y="190"/>
                    <a:pt x="2" y="252"/>
                    <a:pt x="2" y="252"/>
                  </a:cubicBezTo>
                  <a:cubicBezTo>
                    <a:pt x="0" y="257"/>
                    <a:pt x="2" y="263"/>
                    <a:pt x="7" y="265"/>
                  </a:cubicBezTo>
                  <a:cubicBezTo>
                    <a:pt x="9" y="266"/>
                    <a:pt x="34" y="278"/>
                    <a:pt x="77" y="283"/>
                  </a:cubicBezTo>
                  <a:cubicBezTo>
                    <a:pt x="79" y="303"/>
                    <a:pt x="97" y="320"/>
                    <a:pt x="119" y="320"/>
                  </a:cubicBezTo>
                  <a:cubicBezTo>
                    <a:pt x="141" y="320"/>
                    <a:pt x="159" y="303"/>
                    <a:pt x="161" y="281"/>
                  </a:cubicBezTo>
                  <a:cubicBezTo>
                    <a:pt x="182" y="278"/>
                    <a:pt x="204" y="273"/>
                    <a:pt x="229" y="266"/>
                  </a:cubicBezTo>
                  <a:cubicBezTo>
                    <a:pt x="231" y="265"/>
                    <a:pt x="234" y="263"/>
                    <a:pt x="235" y="261"/>
                  </a:cubicBezTo>
                  <a:cubicBezTo>
                    <a:pt x="236" y="258"/>
                    <a:pt x="236" y="255"/>
                    <a:pt x="235" y="252"/>
                  </a:cubicBezTo>
                  <a:close/>
                  <a:moveTo>
                    <a:pt x="108" y="32"/>
                  </a:moveTo>
                  <a:cubicBezTo>
                    <a:pt x="108" y="26"/>
                    <a:pt x="113" y="21"/>
                    <a:pt x="119" y="21"/>
                  </a:cubicBezTo>
                  <a:cubicBezTo>
                    <a:pt x="125" y="21"/>
                    <a:pt x="129" y="26"/>
                    <a:pt x="129" y="32"/>
                  </a:cubicBezTo>
                  <a:cubicBezTo>
                    <a:pt x="129" y="38"/>
                    <a:pt x="125" y="42"/>
                    <a:pt x="119" y="42"/>
                  </a:cubicBezTo>
                  <a:cubicBezTo>
                    <a:pt x="113" y="42"/>
                    <a:pt x="108" y="38"/>
                    <a:pt x="108" y="32"/>
                  </a:cubicBezTo>
                  <a:close/>
                  <a:moveTo>
                    <a:pt x="119" y="298"/>
                  </a:moveTo>
                  <a:cubicBezTo>
                    <a:pt x="109" y="298"/>
                    <a:pt x="102" y="292"/>
                    <a:pt x="99" y="284"/>
                  </a:cubicBezTo>
                  <a:cubicBezTo>
                    <a:pt x="103" y="284"/>
                    <a:pt x="107" y="285"/>
                    <a:pt x="112" y="285"/>
                  </a:cubicBezTo>
                  <a:cubicBezTo>
                    <a:pt x="120" y="285"/>
                    <a:pt x="129" y="284"/>
                    <a:pt x="139" y="283"/>
                  </a:cubicBezTo>
                  <a:cubicBezTo>
                    <a:pt x="136" y="292"/>
                    <a:pt x="128" y="298"/>
                    <a:pt x="119" y="298"/>
                  </a:cubicBezTo>
                  <a:close/>
                  <a:moveTo>
                    <a:pt x="25" y="249"/>
                  </a:moveTo>
                  <a:cubicBezTo>
                    <a:pt x="31" y="229"/>
                    <a:pt x="44" y="182"/>
                    <a:pt x="44" y="138"/>
                  </a:cubicBezTo>
                  <a:cubicBezTo>
                    <a:pt x="44" y="94"/>
                    <a:pt x="75" y="64"/>
                    <a:pt x="119" y="64"/>
                  </a:cubicBezTo>
                  <a:cubicBezTo>
                    <a:pt x="163" y="64"/>
                    <a:pt x="193" y="94"/>
                    <a:pt x="193" y="138"/>
                  </a:cubicBezTo>
                  <a:cubicBezTo>
                    <a:pt x="193" y="181"/>
                    <a:pt x="206" y="228"/>
                    <a:pt x="212" y="249"/>
                  </a:cubicBezTo>
                  <a:cubicBezTo>
                    <a:pt x="116" y="276"/>
                    <a:pt x="48" y="258"/>
                    <a:pt x="25" y="2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6" name="Freeform 598"/>
          <p:cNvSpPr>
            <a:spLocks noChangeAspect="1" noEditPoints="1"/>
          </p:cNvSpPr>
          <p:nvPr/>
        </p:nvSpPr>
        <p:spPr bwMode="auto">
          <a:xfrm>
            <a:off x="7395352" y="2051050"/>
            <a:ext cx="367982" cy="367982"/>
          </a:xfrm>
          <a:custGeom>
            <a:avLst/>
            <a:gdLst>
              <a:gd name="T0" fmla="*/ 160 w 512"/>
              <a:gd name="T1" fmla="*/ 128 h 512"/>
              <a:gd name="T2" fmla="*/ 352 w 512"/>
              <a:gd name="T3" fmla="*/ 128 h 512"/>
              <a:gd name="T4" fmla="*/ 352 w 512"/>
              <a:gd name="T5" fmla="*/ 372 h 512"/>
              <a:gd name="T6" fmla="*/ 262 w 512"/>
              <a:gd name="T7" fmla="*/ 301 h 512"/>
              <a:gd name="T8" fmla="*/ 256 w 512"/>
              <a:gd name="T9" fmla="*/ 298 h 512"/>
              <a:gd name="T10" fmla="*/ 249 w 512"/>
              <a:gd name="T11" fmla="*/ 301 h 512"/>
              <a:gd name="T12" fmla="*/ 160 w 512"/>
              <a:gd name="T13" fmla="*/ 372 h 512"/>
              <a:gd name="T14" fmla="*/ 160 w 512"/>
              <a:gd name="T15" fmla="*/ 12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73 w 512"/>
              <a:gd name="T27" fmla="*/ 117 h 512"/>
              <a:gd name="T28" fmla="*/ 362 w 512"/>
              <a:gd name="T29" fmla="*/ 106 h 512"/>
              <a:gd name="T30" fmla="*/ 149 w 512"/>
              <a:gd name="T31" fmla="*/ 106 h 512"/>
              <a:gd name="T32" fmla="*/ 138 w 512"/>
              <a:gd name="T33" fmla="*/ 117 h 512"/>
              <a:gd name="T34" fmla="*/ 138 w 512"/>
              <a:gd name="T35" fmla="*/ 394 h 512"/>
              <a:gd name="T36" fmla="*/ 144 w 512"/>
              <a:gd name="T37" fmla="*/ 404 h 512"/>
              <a:gd name="T38" fmla="*/ 156 w 512"/>
              <a:gd name="T39" fmla="*/ 403 h 512"/>
              <a:gd name="T40" fmla="*/ 256 w 512"/>
              <a:gd name="T41" fmla="*/ 323 h 512"/>
              <a:gd name="T42" fmla="*/ 356 w 512"/>
              <a:gd name="T43" fmla="*/ 403 h 512"/>
              <a:gd name="T44" fmla="*/ 362 w 512"/>
              <a:gd name="T45" fmla="*/ 405 h 512"/>
              <a:gd name="T46" fmla="*/ 367 w 512"/>
              <a:gd name="T47" fmla="*/ 404 h 512"/>
              <a:gd name="T48" fmla="*/ 373 w 512"/>
              <a:gd name="T49" fmla="*/ 394 h 512"/>
              <a:gd name="T50" fmla="*/ 373 w 512"/>
              <a:gd name="T51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160" y="128"/>
                </a:moveTo>
                <a:cubicBezTo>
                  <a:pt x="352" y="128"/>
                  <a:pt x="352" y="128"/>
                  <a:pt x="352" y="128"/>
                </a:cubicBezTo>
                <a:cubicBezTo>
                  <a:pt x="352" y="372"/>
                  <a:pt x="352" y="372"/>
                  <a:pt x="352" y="372"/>
                </a:cubicBezTo>
                <a:cubicBezTo>
                  <a:pt x="262" y="301"/>
                  <a:pt x="262" y="301"/>
                  <a:pt x="262" y="301"/>
                </a:cubicBezTo>
                <a:cubicBezTo>
                  <a:pt x="260" y="299"/>
                  <a:pt x="258" y="298"/>
                  <a:pt x="256" y="298"/>
                </a:cubicBezTo>
                <a:cubicBezTo>
                  <a:pt x="253" y="298"/>
                  <a:pt x="251" y="299"/>
                  <a:pt x="249" y="301"/>
                </a:cubicBezTo>
                <a:cubicBezTo>
                  <a:pt x="160" y="372"/>
                  <a:pt x="160" y="372"/>
                  <a:pt x="160" y="372"/>
                </a:cubicBezTo>
                <a:lnTo>
                  <a:pt x="160" y="12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149" y="106"/>
                  <a:pt x="149" y="106"/>
                  <a:pt x="149" y="106"/>
                </a:cubicBezTo>
                <a:cubicBezTo>
                  <a:pt x="143" y="106"/>
                  <a:pt x="138" y="111"/>
                  <a:pt x="138" y="117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38" y="398"/>
                  <a:pt x="141" y="402"/>
                  <a:pt x="144" y="404"/>
                </a:cubicBezTo>
                <a:cubicBezTo>
                  <a:pt x="148" y="406"/>
                  <a:pt x="152" y="405"/>
                  <a:pt x="156" y="403"/>
                </a:cubicBezTo>
                <a:cubicBezTo>
                  <a:pt x="256" y="323"/>
                  <a:pt x="256" y="323"/>
                  <a:pt x="256" y="323"/>
                </a:cubicBezTo>
                <a:cubicBezTo>
                  <a:pt x="356" y="403"/>
                  <a:pt x="356" y="403"/>
                  <a:pt x="356" y="403"/>
                </a:cubicBezTo>
                <a:cubicBezTo>
                  <a:pt x="358" y="404"/>
                  <a:pt x="360" y="405"/>
                  <a:pt x="362" y="405"/>
                </a:cubicBezTo>
                <a:cubicBezTo>
                  <a:pt x="364" y="405"/>
                  <a:pt x="365" y="405"/>
                  <a:pt x="367" y="404"/>
                </a:cubicBezTo>
                <a:cubicBezTo>
                  <a:pt x="371" y="402"/>
                  <a:pt x="373" y="398"/>
                  <a:pt x="373" y="394"/>
                </a:cubicBezTo>
                <a:lnTo>
                  <a:pt x="373" y="1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7" name="Freeform 602"/>
          <p:cNvSpPr>
            <a:spLocks noChangeAspect="1" noEditPoints="1"/>
          </p:cNvSpPr>
          <p:nvPr/>
        </p:nvSpPr>
        <p:spPr bwMode="auto">
          <a:xfrm>
            <a:off x="7892920" y="2051050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2 w 512"/>
              <a:gd name="T21" fmla="*/ 405 h 512"/>
              <a:gd name="T22" fmla="*/ 356 w 512"/>
              <a:gd name="T23" fmla="*/ 403 h 512"/>
              <a:gd name="T24" fmla="*/ 256 w 512"/>
              <a:gd name="T25" fmla="*/ 323 h 512"/>
              <a:gd name="T26" fmla="*/ 156 w 512"/>
              <a:gd name="T27" fmla="*/ 403 h 512"/>
              <a:gd name="T28" fmla="*/ 144 w 512"/>
              <a:gd name="T29" fmla="*/ 404 h 512"/>
              <a:gd name="T30" fmla="*/ 138 w 512"/>
              <a:gd name="T31" fmla="*/ 394 h 512"/>
              <a:gd name="T32" fmla="*/ 138 w 512"/>
              <a:gd name="T33" fmla="*/ 117 h 512"/>
              <a:gd name="T34" fmla="*/ 149 w 512"/>
              <a:gd name="T35" fmla="*/ 106 h 512"/>
              <a:gd name="T36" fmla="*/ 362 w 512"/>
              <a:gd name="T37" fmla="*/ 106 h 512"/>
              <a:gd name="T38" fmla="*/ 373 w 512"/>
              <a:gd name="T39" fmla="*/ 117 h 512"/>
              <a:gd name="T40" fmla="*/ 373 w 512"/>
              <a:gd name="T41" fmla="*/ 394 h 512"/>
              <a:gd name="T42" fmla="*/ 367 w 512"/>
              <a:gd name="T43" fmla="*/ 404 h 512"/>
              <a:gd name="T44" fmla="*/ 362 w 512"/>
              <a:gd name="T45" fmla="*/ 405 h 512"/>
              <a:gd name="T46" fmla="*/ 256 w 512"/>
              <a:gd name="T47" fmla="*/ 298 h 512"/>
              <a:gd name="T48" fmla="*/ 262 w 512"/>
              <a:gd name="T49" fmla="*/ 301 h 512"/>
              <a:gd name="T50" fmla="*/ 352 w 512"/>
              <a:gd name="T51" fmla="*/ 372 h 512"/>
              <a:gd name="T52" fmla="*/ 352 w 512"/>
              <a:gd name="T53" fmla="*/ 128 h 512"/>
              <a:gd name="T54" fmla="*/ 160 w 512"/>
              <a:gd name="T55" fmla="*/ 128 h 512"/>
              <a:gd name="T56" fmla="*/ 160 w 512"/>
              <a:gd name="T57" fmla="*/ 372 h 512"/>
              <a:gd name="T58" fmla="*/ 249 w 512"/>
              <a:gd name="T59" fmla="*/ 301 h 512"/>
              <a:gd name="T60" fmla="*/ 256 w 512"/>
              <a:gd name="T61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405"/>
                </a:moveTo>
                <a:cubicBezTo>
                  <a:pt x="360" y="405"/>
                  <a:pt x="358" y="404"/>
                  <a:pt x="356" y="403"/>
                </a:cubicBezTo>
                <a:cubicBezTo>
                  <a:pt x="256" y="323"/>
                  <a:pt x="256" y="323"/>
                  <a:pt x="256" y="323"/>
                </a:cubicBezTo>
                <a:cubicBezTo>
                  <a:pt x="156" y="403"/>
                  <a:pt x="156" y="403"/>
                  <a:pt x="156" y="403"/>
                </a:cubicBezTo>
                <a:cubicBezTo>
                  <a:pt x="152" y="405"/>
                  <a:pt x="148" y="406"/>
                  <a:pt x="144" y="404"/>
                </a:cubicBezTo>
                <a:cubicBezTo>
                  <a:pt x="141" y="402"/>
                  <a:pt x="138" y="398"/>
                  <a:pt x="138" y="394"/>
                </a:cubicBezTo>
                <a:cubicBezTo>
                  <a:pt x="138" y="117"/>
                  <a:pt x="138" y="117"/>
                  <a:pt x="138" y="117"/>
                </a:cubicBezTo>
                <a:cubicBezTo>
                  <a:pt x="138" y="111"/>
                  <a:pt x="143" y="106"/>
                  <a:pt x="149" y="106"/>
                </a:cubicBezTo>
                <a:cubicBezTo>
                  <a:pt x="362" y="106"/>
                  <a:pt x="362" y="106"/>
                  <a:pt x="362" y="106"/>
                </a:cubicBezTo>
                <a:cubicBezTo>
                  <a:pt x="368" y="106"/>
                  <a:pt x="373" y="111"/>
                  <a:pt x="373" y="117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3" y="398"/>
                  <a:pt x="371" y="402"/>
                  <a:pt x="367" y="404"/>
                </a:cubicBezTo>
                <a:cubicBezTo>
                  <a:pt x="365" y="405"/>
                  <a:pt x="364" y="405"/>
                  <a:pt x="362" y="405"/>
                </a:cubicBezTo>
                <a:close/>
                <a:moveTo>
                  <a:pt x="256" y="298"/>
                </a:moveTo>
                <a:cubicBezTo>
                  <a:pt x="258" y="298"/>
                  <a:pt x="260" y="299"/>
                  <a:pt x="262" y="301"/>
                </a:cubicBezTo>
                <a:cubicBezTo>
                  <a:pt x="352" y="372"/>
                  <a:pt x="352" y="372"/>
                  <a:pt x="352" y="372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160" y="128"/>
                  <a:pt x="160" y="128"/>
                  <a:pt x="160" y="128"/>
                </a:cubicBezTo>
                <a:cubicBezTo>
                  <a:pt x="160" y="372"/>
                  <a:pt x="160" y="372"/>
                  <a:pt x="160" y="372"/>
                </a:cubicBezTo>
                <a:cubicBezTo>
                  <a:pt x="249" y="301"/>
                  <a:pt x="249" y="301"/>
                  <a:pt x="249" y="301"/>
                </a:cubicBezTo>
                <a:cubicBezTo>
                  <a:pt x="251" y="299"/>
                  <a:pt x="253" y="298"/>
                  <a:pt x="256" y="2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8" name="Freeform 606"/>
          <p:cNvSpPr>
            <a:spLocks noChangeAspect="1" noEditPoints="1"/>
          </p:cNvSpPr>
          <p:nvPr/>
        </p:nvSpPr>
        <p:spPr bwMode="auto">
          <a:xfrm>
            <a:off x="8390488" y="2051050"/>
            <a:ext cx="367982" cy="367982"/>
          </a:xfrm>
          <a:custGeom>
            <a:avLst/>
            <a:gdLst>
              <a:gd name="T0" fmla="*/ 330 w 512"/>
              <a:gd name="T1" fmla="*/ 117 h 512"/>
              <a:gd name="T2" fmla="*/ 352 w 512"/>
              <a:gd name="T3" fmla="*/ 117 h 512"/>
              <a:gd name="T4" fmla="*/ 352 w 512"/>
              <a:gd name="T5" fmla="*/ 394 h 512"/>
              <a:gd name="T6" fmla="*/ 160 w 512"/>
              <a:gd name="T7" fmla="*/ 394 h 512"/>
              <a:gd name="T8" fmla="*/ 160 w 512"/>
              <a:gd name="T9" fmla="*/ 117 h 512"/>
              <a:gd name="T10" fmla="*/ 245 w 512"/>
              <a:gd name="T11" fmla="*/ 117 h 512"/>
              <a:gd name="T12" fmla="*/ 245 w 512"/>
              <a:gd name="T13" fmla="*/ 288 h 512"/>
              <a:gd name="T14" fmla="*/ 252 w 512"/>
              <a:gd name="T15" fmla="*/ 298 h 512"/>
              <a:gd name="T16" fmla="*/ 263 w 512"/>
              <a:gd name="T17" fmla="*/ 295 h 512"/>
              <a:gd name="T18" fmla="*/ 288 w 512"/>
              <a:gd name="T19" fmla="*/ 271 h 512"/>
              <a:gd name="T20" fmla="*/ 312 w 512"/>
              <a:gd name="T21" fmla="*/ 295 h 512"/>
              <a:gd name="T22" fmla="*/ 320 w 512"/>
              <a:gd name="T23" fmla="*/ 298 h 512"/>
              <a:gd name="T24" fmla="*/ 324 w 512"/>
              <a:gd name="T25" fmla="*/ 298 h 512"/>
              <a:gd name="T26" fmla="*/ 330 w 512"/>
              <a:gd name="T27" fmla="*/ 288 h 512"/>
              <a:gd name="T28" fmla="*/ 330 w 512"/>
              <a:gd name="T29" fmla="*/ 117 h 512"/>
              <a:gd name="T30" fmla="*/ 295 w 512"/>
              <a:gd name="T31" fmla="*/ 248 h 512"/>
              <a:gd name="T32" fmla="*/ 309 w 512"/>
              <a:gd name="T33" fmla="*/ 262 h 512"/>
              <a:gd name="T34" fmla="*/ 309 w 512"/>
              <a:gd name="T35" fmla="*/ 117 h 512"/>
              <a:gd name="T36" fmla="*/ 266 w 512"/>
              <a:gd name="T37" fmla="*/ 117 h 512"/>
              <a:gd name="T38" fmla="*/ 266 w 512"/>
              <a:gd name="T39" fmla="*/ 262 h 512"/>
              <a:gd name="T40" fmla="*/ 280 w 512"/>
              <a:gd name="T41" fmla="*/ 248 h 512"/>
              <a:gd name="T42" fmla="*/ 295 w 512"/>
              <a:gd name="T43" fmla="*/ 248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73 w 512"/>
              <a:gd name="T55" fmla="*/ 106 h 512"/>
              <a:gd name="T56" fmla="*/ 362 w 512"/>
              <a:gd name="T57" fmla="*/ 96 h 512"/>
              <a:gd name="T58" fmla="*/ 149 w 512"/>
              <a:gd name="T59" fmla="*/ 96 h 512"/>
              <a:gd name="T60" fmla="*/ 138 w 512"/>
              <a:gd name="T61" fmla="*/ 106 h 512"/>
              <a:gd name="T62" fmla="*/ 138 w 512"/>
              <a:gd name="T63" fmla="*/ 405 h 512"/>
              <a:gd name="T64" fmla="*/ 149 w 512"/>
              <a:gd name="T65" fmla="*/ 416 h 512"/>
              <a:gd name="T66" fmla="*/ 362 w 512"/>
              <a:gd name="T67" fmla="*/ 416 h 512"/>
              <a:gd name="T68" fmla="*/ 373 w 512"/>
              <a:gd name="T69" fmla="*/ 405 h 512"/>
              <a:gd name="T70" fmla="*/ 373 w 512"/>
              <a:gd name="T71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330" y="117"/>
                </a:moveTo>
                <a:cubicBezTo>
                  <a:pt x="352" y="117"/>
                  <a:pt x="352" y="117"/>
                  <a:pt x="352" y="117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2"/>
                  <a:pt x="248" y="296"/>
                  <a:pt x="252" y="298"/>
                </a:cubicBezTo>
                <a:cubicBezTo>
                  <a:pt x="256" y="299"/>
                  <a:pt x="260" y="298"/>
                  <a:pt x="263" y="295"/>
                </a:cubicBezTo>
                <a:cubicBezTo>
                  <a:pt x="288" y="271"/>
                  <a:pt x="288" y="271"/>
                  <a:pt x="288" y="271"/>
                </a:cubicBezTo>
                <a:cubicBezTo>
                  <a:pt x="312" y="295"/>
                  <a:pt x="312" y="295"/>
                  <a:pt x="312" y="295"/>
                </a:cubicBezTo>
                <a:cubicBezTo>
                  <a:pt x="314" y="297"/>
                  <a:pt x="317" y="298"/>
                  <a:pt x="320" y="298"/>
                </a:cubicBezTo>
                <a:cubicBezTo>
                  <a:pt x="321" y="298"/>
                  <a:pt x="322" y="298"/>
                  <a:pt x="324" y="298"/>
                </a:cubicBezTo>
                <a:cubicBezTo>
                  <a:pt x="328" y="296"/>
                  <a:pt x="330" y="292"/>
                  <a:pt x="330" y="288"/>
                </a:cubicBezTo>
                <a:lnTo>
                  <a:pt x="330" y="117"/>
                </a:lnTo>
                <a:close/>
                <a:moveTo>
                  <a:pt x="295" y="248"/>
                </a:moveTo>
                <a:cubicBezTo>
                  <a:pt x="309" y="262"/>
                  <a:pt x="309" y="262"/>
                  <a:pt x="309" y="262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262"/>
                  <a:pt x="266" y="262"/>
                  <a:pt x="266" y="262"/>
                </a:cubicBezTo>
                <a:cubicBezTo>
                  <a:pt x="280" y="248"/>
                  <a:pt x="280" y="248"/>
                  <a:pt x="280" y="248"/>
                </a:cubicBezTo>
                <a:cubicBezTo>
                  <a:pt x="284" y="244"/>
                  <a:pt x="291" y="244"/>
                  <a:pt x="295" y="24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06"/>
                </a:moveTo>
                <a:cubicBezTo>
                  <a:pt x="373" y="100"/>
                  <a:pt x="368" y="96"/>
                  <a:pt x="362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9" name="Group 609"/>
          <p:cNvGrpSpPr>
            <a:grpSpLocks noChangeAspect="1"/>
          </p:cNvGrpSpPr>
          <p:nvPr/>
        </p:nvGrpSpPr>
        <p:grpSpPr bwMode="auto">
          <a:xfrm>
            <a:off x="8888056" y="2051050"/>
            <a:ext cx="367982" cy="367982"/>
            <a:chOff x="3724" y="2689"/>
            <a:chExt cx="340" cy="340"/>
          </a:xfrm>
          <a:solidFill>
            <a:schemeClr val="accent1"/>
          </a:solidFill>
        </p:grpSpPr>
        <p:sp>
          <p:nvSpPr>
            <p:cNvPr id="290" name="Freeform 289"/>
            <p:cNvSpPr>
              <a:spLocks noEditPoints="1"/>
            </p:cNvSpPr>
            <p:nvPr/>
          </p:nvSpPr>
          <p:spPr bwMode="auto">
            <a:xfrm>
              <a:off x="3816" y="2753"/>
              <a:ext cx="156" cy="212"/>
            </a:xfrm>
            <a:custGeom>
              <a:avLst/>
              <a:gdLst>
                <a:gd name="T0" fmla="*/ 224 w 235"/>
                <a:gd name="T1" fmla="*/ 0 h 320"/>
                <a:gd name="T2" fmla="*/ 11 w 235"/>
                <a:gd name="T3" fmla="*/ 0 h 320"/>
                <a:gd name="T4" fmla="*/ 0 w 235"/>
                <a:gd name="T5" fmla="*/ 10 h 320"/>
                <a:gd name="T6" fmla="*/ 0 w 235"/>
                <a:gd name="T7" fmla="*/ 309 h 320"/>
                <a:gd name="T8" fmla="*/ 11 w 235"/>
                <a:gd name="T9" fmla="*/ 320 h 320"/>
                <a:gd name="T10" fmla="*/ 224 w 235"/>
                <a:gd name="T11" fmla="*/ 320 h 320"/>
                <a:gd name="T12" fmla="*/ 235 w 235"/>
                <a:gd name="T13" fmla="*/ 309 h 320"/>
                <a:gd name="T14" fmla="*/ 235 w 235"/>
                <a:gd name="T15" fmla="*/ 10 h 320"/>
                <a:gd name="T16" fmla="*/ 224 w 235"/>
                <a:gd name="T17" fmla="*/ 0 h 320"/>
                <a:gd name="T18" fmla="*/ 128 w 235"/>
                <a:gd name="T19" fmla="*/ 21 h 320"/>
                <a:gd name="T20" fmla="*/ 171 w 235"/>
                <a:gd name="T21" fmla="*/ 21 h 320"/>
                <a:gd name="T22" fmla="*/ 171 w 235"/>
                <a:gd name="T23" fmla="*/ 166 h 320"/>
                <a:gd name="T24" fmla="*/ 157 w 235"/>
                <a:gd name="T25" fmla="*/ 152 h 320"/>
                <a:gd name="T26" fmla="*/ 142 w 235"/>
                <a:gd name="T27" fmla="*/ 152 h 320"/>
                <a:gd name="T28" fmla="*/ 128 w 235"/>
                <a:gd name="T29" fmla="*/ 166 h 320"/>
                <a:gd name="T30" fmla="*/ 128 w 235"/>
                <a:gd name="T31" fmla="*/ 21 h 320"/>
                <a:gd name="T32" fmla="*/ 214 w 235"/>
                <a:gd name="T33" fmla="*/ 298 h 320"/>
                <a:gd name="T34" fmla="*/ 22 w 235"/>
                <a:gd name="T35" fmla="*/ 298 h 320"/>
                <a:gd name="T36" fmla="*/ 22 w 235"/>
                <a:gd name="T37" fmla="*/ 21 h 320"/>
                <a:gd name="T38" fmla="*/ 107 w 235"/>
                <a:gd name="T39" fmla="*/ 21 h 320"/>
                <a:gd name="T40" fmla="*/ 107 w 235"/>
                <a:gd name="T41" fmla="*/ 192 h 320"/>
                <a:gd name="T42" fmla="*/ 114 w 235"/>
                <a:gd name="T43" fmla="*/ 202 h 320"/>
                <a:gd name="T44" fmla="*/ 125 w 235"/>
                <a:gd name="T45" fmla="*/ 199 h 320"/>
                <a:gd name="T46" fmla="*/ 150 w 235"/>
                <a:gd name="T47" fmla="*/ 175 h 320"/>
                <a:gd name="T48" fmla="*/ 174 w 235"/>
                <a:gd name="T49" fmla="*/ 199 h 320"/>
                <a:gd name="T50" fmla="*/ 182 w 235"/>
                <a:gd name="T51" fmla="*/ 202 h 320"/>
                <a:gd name="T52" fmla="*/ 186 w 235"/>
                <a:gd name="T53" fmla="*/ 202 h 320"/>
                <a:gd name="T54" fmla="*/ 192 w 235"/>
                <a:gd name="T55" fmla="*/ 192 h 320"/>
                <a:gd name="T56" fmla="*/ 192 w 235"/>
                <a:gd name="T57" fmla="*/ 21 h 320"/>
                <a:gd name="T58" fmla="*/ 214 w 235"/>
                <a:gd name="T59" fmla="*/ 21 h 320"/>
                <a:gd name="T60" fmla="*/ 214 w 235"/>
                <a:gd name="T61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5" h="320">
                  <a:moveTo>
                    <a:pt x="2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0"/>
                    <a:pt x="235" y="10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lose/>
                  <a:moveTo>
                    <a:pt x="128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166"/>
                    <a:pt x="171" y="166"/>
                    <a:pt x="171" y="166"/>
                  </a:cubicBezTo>
                  <a:cubicBezTo>
                    <a:pt x="157" y="152"/>
                    <a:pt x="157" y="152"/>
                    <a:pt x="157" y="152"/>
                  </a:cubicBezTo>
                  <a:cubicBezTo>
                    <a:pt x="153" y="148"/>
                    <a:pt x="146" y="148"/>
                    <a:pt x="142" y="152"/>
                  </a:cubicBezTo>
                  <a:cubicBezTo>
                    <a:pt x="128" y="166"/>
                    <a:pt x="128" y="166"/>
                    <a:pt x="128" y="166"/>
                  </a:cubicBezTo>
                  <a:lnTo>
                    <a:pt x="128" y="21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96"/>
                    <a:pt x="110" y="200"/>
                    <a:pt x="114" y="202"/>
                  </a:cubicBezTo>
                  <a:cubicBezTo>
                    <a:pt x="118" y="203"/>
                    <a:pt x="122" y="202"/>
                    <a:pt x="125" y="19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74" y="199"/>
                    <a:pt x="174" y="199"/>
                    <a:pt x="174" y="199"/>
                  </a:cubicBezTo>
                  <a:cubicBezTo>
                    <a:pt x="176" y="201"/>
                    <a:pt x="179" y="202"/>
                    <a:pt x="182" y="202"/>
                  </a:cubicBezTo>
                  <a:cubicBezTo>
                    <a:pt x="183" y="202"/>
                    <a:pt x="184" y="202"/>
                    <a:pt x="186" y="202"/>
                  </a:cubicBezTo>
                  <a:cubicBezTo>
                    <a:pt x="190" y="200"/>
                    <a:pt x="192" y="196"/>
                    <a:pt x="192" y="192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214" y="21"/>
                    <a:pt x="214" y="21"/>
                    <a:pt x="214" y="21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290"/>
            <p:cNvSpPr>
              <a:spLocks noEditPoints="1"/>
            </p:cNvSpPr>
            <p:nvPr/>
          </p:nvSpPr>
          <p:spPr bwMode="auto">
            <a:xfrm>
              <a:off x="3724" y="268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0" name="Freeform 723"/>
          <p:cNvSpPr>
            <a:spLocks noChangeAspect="1" noEditPoints="1"/>
          </p:cNvSpPr>
          <p:nvPr/>
        </p:nvSpPr>
        <p:spPr bwMode="auto">
          <a:xfrm>
            <a:off x="1430584" y="2914983"/>
            <a:ext cx="367982" cy="367982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1" name="Group 726"/>
          <p:cNvGrpSpPr>
            <a:grpSpLocks noChangeAspect="1"/>
          </p:cNvGrpSpPr>
          <p:nvPr/>
        </p:nvGrpSpPr>
        <p:grpSpPr bwMode="auto">
          <a:xfrm>
            <a:off x="1927691" y="2914983"/>
            <a:ext cx="367982" cy="367982"/>
            <a:chOff x="5022" y="3403"/>
            <a:chExt cx="340" cy="340"/>
          </a:xfrm>
          <a:solidFill>
            <a:schemeClr val="accent2"/>
          </a:solidFill>
        </p:grpSpPr>
        <p:sp>
          <p:nvSpPr>
            <p:cNvPr id="302" name="Freeform 727"/>
            <p:cNvSpPr>
              <a:spLocks noEditPoints="1"/>
            </p:cNvSpPr>
            <p:nvPr/>
          </p:nvSpPr>
          <p:spPr bwMode="auto">
            <a:xfrm>
              <a:off x="5022" y="34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728"/>
            <p:cNvSpPr>
              <a:spLocks noEditPoints="1"/>
            </p:cNvSpPr>
            <p:nvPr/>
          </p:nvSpPr>
          <p:spPr bwMode="auto">
            <a:xfrm>
              <a:off x="5100" y="3473"/>
              <a:ext cx="191" cy="192"/>
            </a:xfrm>
            <a:custGeom>
              <a:avLst/>
              <a:gdLst>
                <a:gd name="T0" fmla="*/ 256 w 288"/>
                <a:gd name="T1" fmla="*/ 32 h 288"/>
                <a:gd name="T2" fmla="*/ 245 w 288"/>
                <a:gd name="T3" fmla="*/ 0 h 288"/>
                <a:gd name="T4" fmla="*/ 235 w 288"/>
                <a:gd name="T5" fmla="*/ 39 h 288"/>
                <a:gd name="T6" fmla="*/ 139 w 288"/>
                <a:gd name="T7" fmla="*/ 11 h 288"/>
                <a:gd name="T8" fmla="*/ 44 w 288"/>
                <a:gd name="T9" fmla="*/ 251 h 288"/>
                <a:gd name="T10" fmla="*/ 24 w 288"/>
                <a:gd name="T11" fmla="*/ 285 h 288"/>
                <a:gd name="T12" fmla="*/ 40 w 288"/>
                <a:gd name="T13" fmla="*/ 285 h 288"/>
                <a:gd name="T14" fmla="*/ 139 w 288"/>
                <a:gd name="T15" fmla="*/ 288 h 288"/>
                <a:gd name="T16" fmla="*/ 238 w 288"/>
                <a:gd name="T17" fmla="*/ 285 h 288"/>
                <a:gd name="T18" fmla="*/ 253 w 288"/>
                <a:gd name="T19" fmla="*/ 285 h 288"/>
                <a:gd name="T20" fmla="*/ 233 w 288"/>
                <a:gd name="T21" fmla="*/ 251 h 288"/>
                <a:gd name="T22" fmla="*/ 244 w 288"/>
                <a:gd name="T23" fmla="*/ 60 h 288"/>
                <a:gd name="T24" fmla="*/ 277 w 288"/>
                <a:gd name="T25" fmla="*/ 54 h 288"/>
                <a:gd name="T26" fmla="*/ 277 w 288"/>
                <a:gd name="T27" fmla="*/ 32 h 288"/>
                <a:gd name="T28" fmla="*/ 139 w 288"/>
                <a:gd name="T29" fmla="*/ 267 h 288"/>
                <a:gd name="T30" fmla="*/ 139 w 288"/>
                <a:gd name="T31" fmla="*/ 32 h 288"/>
                <a:gd name="T32" fmla="*/ 199 w 288"/>
                <a:gd name="T33" fmla="*/ 75 h 288"/>
                <a:gd name="T34" fmla="*/ 43 w 288"/>
                <a:gd name="T35" fmla="*/ 150 h 288"/>
                <a:gd name="T36" fmla="*/ 235 w 288"/>
                <a:gd name="T37" fmla="*/ 150 h 288"/>
                <a:gd name="T38" fmla="*/ 229 w 288"/>
                <a:gd name="T39" fmla="*/ 75 h 288"/>
                <a:gd name="T40" fmla="*/ 213 w 288"/>
                <a:gd name="T41" fmla="*/ 150 h 288"/>
                <a:gd name="T42" fmla="*/ 64 w 288"/>
                <a:gd name="T43" fmla="*/ 150 h 288"/>
                <a:gd name="T44" fmla="*/ 183 w 288"/>
                <a:gd name="T45" fmla="*/ 90 h 288"/>
                <a:gd name="T46" fmla="*/ 139 w 288"/>
                <a:gd name="T47" fmla="*/ 96 h 288"/>
                <a:gd name="T48" fmla="*/ 139 w 288"/>
                <a:gd name="T49" fmla="*/ 203 h 288"/>
                <a:gd name="T50" fmla="*/ 183 w 288"/>
                <a:gd name="T51" fmla="*/ 120 h 288"/>
                <a:gd name="T52" fmla="*/ 213 w 288"/>
                <a:gd name="T53" fmla="*/ 150 h 288"/>
                <a:gd name="T54" fmla="*/ 139 w 288"/>
                <a:gd name="T55" fmla="*/ 182 h 288"/>
                <a:gd name="T56" fmla="*/ 139 w 288"/>
                <a:gd name="T57" fmla="*/ 118 h 288"/>
                <a:gd name="T58" fmla="*/ 131 w 288"/>
                <a:gd name="T59" fmla="*/ 142 h 288"/>
                <a:gd name="T60" fmla="*/ 139 w 288"/>
                <a:gd name="T61" fmla="*/ 160 h 288"/>
                <a:gd name="T62" fmla="*/ 167 w 288"/>
                <a:gd name="T63" fmla="*/ 13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8" h="288">
                  <a:moveTo>
                    <a:pt x="277" y="32"/>
                  </a:moveTo>
                  <a:cubicBezTo>
                    <a:pt x="256" y="32"/>
                    <a:pt x="256" y="32"/>
                    <a:pt x="256" y="32"/>
                  </a:cubicBezTo>
                  <a:cubicBezTo>
                    <a:pt x="256" y="11"/>
                    <a:pt x="256" y="11"/>
                    <a:pt x="256" y="11"/>
                  </a:cubicBezTo>
                  <a:cubicBezTo>
                    <a:pt x="256" y="5"/>
                    <a:pt x="251" y="0"/>
                    <a:pt x="245" y="0"/>
                  </a:cubicBezTo>
                  <a:cubicBezTo>
                    <a:pt x="239" y="0"/>
                    <a:pt x="235" y="5"/>
                    <a:pt x="235" y="11"/>
                  </a:cubicBezTo>
                  <a:cubicBezTo>
                    <a:pt x="235" y="39"/>
                    <a:pt x="235" y="39"/>
                    <a:pt x="235" y="39"/>
                  </a:cubicBezTo>
                  <a:cubicBezTo>
                    <a:pt x="229" y="44"/>
                    <a:pt x="229" y="44"/>
                    <a:pt x="229" y="44"/>
                  </a:cubicBezTo>
                  <a:cubicBezTo>
                    <a:pt x="205" y="24"/>
                    <a:pt x="173" y="11"/>
                    <a:pt x="139" y="11"/>
                  </a:cubicBezTo>
                  <a:cubicBezTo>
                    <a:pt x="62" y="11"/>
                    <a:pt x="0" y="73"/>
                    <a:pt x="0" y="150"/>
                  </a:cubicBezTo>
                  <a:cubicBezTo>
                    <a:pt x="0" y="189"/>
                    <a:pt x="17" y="225"/>
                    <a:pt x="44" y="251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20" y="274"/>
                    <a:pt x="20" y="281"/>
                    <a:pt x="24" y="285"/>
                  </a:cubicBezTo>
                  <a:cubicBezTo>
                    <a:pt x="27" y="287"/>
                    <a:pt x="29" y="288"/>
                    <a:pt x="32" y="288"/>
                  </a:cubicBezTo>
                  <a:cubicBezTo>
                    <a:pt x="35" y="288"/>
                    <a:pt x="37" y="287"/>
                    <a:pt x="40" y="285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83" y="279"/>
                    <a:pt x="110" y="288"/>
                    <a:pt x="139" y="288"/>
                  </a:cubicBezTo>
                  <a:cubicBezTo>
                    <a:pt x="168" y="288"/>
                    <a:pt x="194" y="279"/>
                    <a:pt x="217" y="264"/>
                  </a:cubicBezTo>
                  <a:cubicBezTo>
                    <a:pt x="238" y="285"/>
                    <a:pt x="238" y="285"/>
                    <a:pt x="238" y="285"/>
                  </a:cubicBezTo>
                  <a:cubicBezTo>
                    <a:pt x="240" y="287"/>
                    <a:pt x="243" y="288"/>
                    <a:pt x="245" y="288"/>
                  </a:cubicBezTo>
                  <a:cubicBezTo>
                    <a:pt x="248" y="288"/>
                    <a:pt x="251" y="287"/>
                    <a:pt x="253" y="285"/>
                  </a:cubicBezTo>
                  <a:cubicBezTo>
                    <a:pt x="257" y="281"/>
                    <a:pt x="257" y="274"/>
                    <a:pt x="253" y="270"/>
                  </a:cubicBezTo>
                  <a:cubicBezTo>
                    <a:pt x="233" y="251"/>
                    <a:pt x="233" y="251"/>
                    <a:pt x="233" y="251"/>
                  </a:cubicBezTo>
                  <a:cubicBezTo>
                    <a:pt x="260" y="225"/>
                    <a:pt x="277" y="189"/>
                    <a:pt x="277" y="150"/>
                  </a:cubicBezTo>
                  <a:cubicBezTo>
                    <a:pt x="277" y="115"/>
                    <a:pt x="265" y="84"/>
                    <a:pt x="244" y="60"/>
                  </a:cubicBezTo>
                  <a:cubicBezTo>
                    <a:pt x="250" y="54"/>
                    <a:pt x="250" y="54"/>
                    <a:pt x="250" y="54"/>
                  </a:cubicBezTo>
                  <a:cubicBezTo>
                    <a:pt x="277" y="54"/>
                    <a:pt x="277" y="54"/>
                    <a:pt x="277" y="54"/>
                  </a:cubicBezTo>
                  <a:cubicBezTo>
                    <a:pt x="283" y="54"/>
                    <a:pt x="288" y="49"/>
                    <a:pt x="288" y="43"/>
                  </a:cubicBezTo>
                  <a:cubicBezTo>
                    <a:pt x="288" y="37"/>
                    <a:pt x="283" y="32"/>
                    <a:pt x="277" y="32"/>
                  </a:cubicBezTo>
                  <a:close/>
                  <a:moveTo>
                    <a:pt x="256" y="150"/>
                  </a:moveTo>
                  <a:cubicBezTo>
                    <a:pt x="256" y="214"/>
                    <a:pt x="203" y="267"/>
                    <a:pt x="139" y="267"/>
                  </a:cubicBezTo>
                  <a:cubicBezTo>
                    <a:pt x="74" y="267"/>
                    <a:pt x="21" y="214"/>
                    <a:pt x="21" y="150"/>
                  </a:cubicBezTo>
                  <a:cubicBezTo>
                    <a:pt x="21" y="85"/>
                    <a:pt x="74" y="32"/>
                    <a:pt x="139" y="32"/>
                  </a:cubicBezTo>
                  <a:cubicBezTo>
                    <a:pt x="167" y="32"/>
                    <a:pt x="193" y="43"/>
                    <a:pt x="214" y="60"/>
                  </a:cubicBezTo>
                  <a:cubicBezTo>
                    <a:pt x="199" y="75"/>
                    <a:pt x="199" y="75"/>
                    <a:pt x="199" y="75"/>
                  </a:cubicBezTo>
                  <a:cubicBezTo>
                    <a:pt x="182" y="62"/>
                    <a:pt x="161" y="54"/>
                    <a:pt x="139" y="54"/>
                  </a:cubicBezTo>
                  <a:cubicBezTo>
                    <a:pt x="86" y="54"/>
                    <a:pt x="43" y="97"/>
                    <a:pt x="43" y="150"/>
                  </a:cubicBezTo>
                  <a:cubicBezTo>
                    <a:pt x="43" y="203"/>
                    <a:pt x="86" y="246"/>
                    <a:pt x="139" y="246"/>
                  </a:cubicBezTo>
                  <a:cubicBezTo>
                    <a:pt x="192" y="246"/>
                    <a:pt x="235" y="203"/>
                    <a:pt x="235" y="150"/>
                  </a:cubicBezTo>
                  <a:cubicBezTo>
                    <a:pt x="235" y="127"/>
                    <a:pt x="227" y="106"/>
                    <a:pt x="214" y="90"/>
                  </a:cubicBezTo>
                  <a:cubicBezTo>
                    <a:pt x="229" y="75"/>
                    <a:pt x="229" y="75"/>
                    <a:pt x="229" y="75"/>
                  </a:cubicBezTo>
                  <a:cubicBezTo>
                    <a:pt x="246" y="95"/>
                    <a:pt x="256" y="121"/>
                    <a:pt x="256" y="150"/>
                  </a:cubicBezTo>
                  <a:close/>
                  <a:moveTo>
                    <a:pt x="213" y="150"/>
                  </a:moveTo>
                  <a:cubicBezTo>
                    <a:pt x="213" y="191"/>
                    <a:pt x="180" y="224"/>
                    <a:pt x="139" y="224"/>
                  </a:cubicBezTo>
                  <a:cubicBezTo>
                    <a:pt x="97" y="224"/>
                    <a:pt x="64" y="191"/>
                    <a:pt x="64" y="150"/>
                  </a:cubicBezTo>
                  <a:cubicBezTo>
                    <a:pt x="64" y="108"/>
                    <a:pt x="97" y="75"/>
                    <a:pt x="139" y="75"/>
                  </a:cubicBezTo>
                  <a:cubicBezTo>
                    <a:pt x="155" y="75"/>
                    <a:pt x="171" y="81"/>
                    <a:pt x="183" y="90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0" y="100"/>
                    <a:pt x="150" y="96"/>
                    <a:pt x="139" y="96"/>
                  </a:cubicBezTo>
                  <a:cubicBezTo>
                    <a:pt x="109" y="96"/>
                    <a:pt x="85" y="120"/>
                    <a:pt x="85" y="150"/>
                  </a:cubicBezTo>
                  <a:cubicBezTo>
                    <a:pt x="85" y="179"/>
                    <a:pt x="109" y="203"/>
                    <a:pt x="139" y="203"/>
                  </a:cubicBezTo>
                  <a:cubicBezTo>
                    <a:pt x="168" y="203"/>
                    <a:pt x="192" y="179"/>
                    <a:pt x="192" y="150"/>
                  </a:cubicBezTo>
                  <a:cubicBezTo>
                    <a:pt x="192" y="139"/>
                    <a:pt x="189" y="129"/>
                    <a:pt x="183" y="120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208" y="118"/>
                    <a:pt x="213" y="133"/>
                    <a:pt x="213" y="150"/>
                  </a:cubicBezTo>
                  <a:close/>
                  <a:moveTo>
                    <a:pt x="171" y="150"/>
                  </a:moveTo>
                  <a:cubicBezTo>
                    <a:pt x="171" y="167"/>
                    <a:pt x="156" y="182"/>
                    <a:pt x="139" y="182"/>
                  </a:cubicBezTo>
                  <a:cubicBezTo>
                    <a:pt x="121" y="182"/>
                    <a:pt x="107" y="167"/>
                    <a:pt x="107" y="150"/>
                  </a:cubicBezTo>
                  <a:cubicBezTo>
                    <a:pt x="107" y="132"/>
                    <a:pt x="121" y="118"/>
                    <a:pt x="139" y="118"/>
                  </a:cubicBezTo>
                  <a:cubicBezTo>
                    <a:pt x="144" y="118"/>
                    <a:pt x="148" y="119"/>
                    <a:pt x="152" y="121"/>
                  </a:cubicBezTo>
                  <a:cubicBezTo>
                    <a:pt x="131" y="142"/>
                    <a:pt x="131" y="142"/>
                    <a:pt x="131" y="142"/>
                  </a:cubicBezTo>
                  <a:cubicBezTo>
                    <a:pt x="127" y="146"/>
                    <a:pt x="127" y="153"/>
                    <a:pt x="131" y="157"/>
                  </a:cubicBezTo>
                  <a:cubicBezTo>
                    <a:pt x="133" y="159"/>
                    <a:pt x="136" y="160"/>
                    <a:pt x="139" y="160"/>
                  </a:cubicBezTo>
                  <a:cubicBezTo>
                    <a:pt x="141" y="160"/>
                    <a:pt x="144" y="159"/>
                    <a:pt x="146" y="157"/>
                  </a:cubicBezTo>
                  <a:cubicBezTo>
                    <a:pt x="167" y="136"/>
                    <a:pt x="167" y="136"/>
                    <a:pt x="167" y="136"/>
                  </a:cubicBezTo>
                  <a:cubicBezTo>
                    <a:pt x="169" y="140"/>
                    <a:pt x="171" y="145"/>
                    <a:pt x="171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4" name="Freeform 732"/>
          <p:cNvSpPr>
            <a:spLocks noChangeAspect="1" noEditPoints="1"/>
          </p:cNvSpPr>
          <p:nvPr/>
        </p:nvSpPr>
        <p:spPr bwMode="auto">
          <a:xfrm>
            <a:off x="2424798" y="2914983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52 h 512"/>
              <a:gd name="T12" fmla="*/ 128 w 512"/>
              <a:gd name="T13" fmla="*/ 352 h 512"/>
              <a:gd name="T14" fmla="*/ 117 w 512"/>
              <a:gd name="T15" fmla="*/ 341 h 512"/>
              <a:gd name="T16" fmla="*/ 128 w 512"/>
              <a:gd name="T17" fmla="*/ 330 h 512"/>
              <a:gd name="T18" fmla="*/ 384 w 512"/>
              <a:gd name="T19" fmla="*/ 330 h 512"/>
              <a:gd name="T20" fmla="*/ 394 w 512"/>
              <a:gd name="T21" fmla="*/ 341 h 512"/>
              <a:gd name="T22" fmla="*/ 384 w 512"/>
              <a:gd name="T23" fmla="*/ 352 h 512"/>
              <a:gd name="T24" fmla="*/ 384 w 512"/>
              <a:gd name="T25" fmla="*/ 266 h 512"/>
              <a:gd name="T26" fmla="*/ 128 w 512"/>
              <a:gd name="T27" fmla="*/ 266 h 512"/>
              <a:gd name="T28" fmla="*/ 117 w 512"/>
              <a:gd name="T29" fmla="*/ 256 h 512"/>
              <a:gd name="T30" fmla="*/ 128 w 512"/>
              <a:gd name="T31" fmla="*/ 245 h 512"/>
              <a:gd name="T32" fmla="*/ 384 w 512"/>
              <a:gd name="T33" fmla="*/ 245 h 512"/>
              <a:gd name="T34" fmla="*/ 394 w 512"/>
              <a:gd name="T35" fmla="*/ 256 h 512"/>
              <a:gd name="T36" fmla="*/ 384 w 512"/>
              <a:gd name="T37" fmla="*/ 266 h 512"/>
              <a:gd name="T38" fmla="*/ 384 w 512"/>
              <a:gd name="T39" fmla="*/ 181 h 512"/>
              <a:gd name="T40" fmla="*/ 128 w 512"/>
              <a:gd name="T41" fmla="*/ 181 h 512"/>
              <a:gd name="T42" fmla="*/ 117 w 512"/>
              <a:gd name="T43" fmla="*/ 170 h 512"/>
              <a:gd name="T44" fmla="*/ 128 w 512"/>
              <a:gd name="T45" fmla="*/ 160 h 512"/>
              <a:gd name="T46" fmla="*/ 384 w 512"/>
              <a:gd name="T47" fmla="*/ 160 h 512"/>
              <a:gd name="T48" fmla="*/ 394 w 512"/>
              <a:gd name="T49" fmla="*/ 170 h 512"/>
              <a:gd name="T50" fmla="*/ 384 w 512"/>
              <a:gd name="T51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52"/>
                </a:moveTo>
                <a:cubicBezTo>
                  <a:pt x="128" y="352"/>
                  <a:pt x="128" y="352"/>
                  <a:pt x="128" y="352"/>
                </a:cubicBezTo>
                <a:cubicBezTo>
                  <a:pt x="122" y="352"/>
                  <a:pt x="117" y="347"/>
                  <a:pt x="117" y="341"/>
                </a:cubicBezTo>
                <a:cubicBezTo>
                  <a:pt x="117" y="335"/>
                  <a:pt x="122" y="330"/>
                  <a:pt x="128" y="330"/>
                </a:cubicBezTo>
                <a:cubicBezTo>
                  <a:pt x="384" y="330"/>
                  <a:pt x="384" y="330"/>
                  <a:pt x="384" y="330"/>
                </a:cubicBezTo>
                <a:cubicBezTo>
                  <a:pt x="390" y="330"/>
                  <a:pt x="394" y="335"/>
                  <a:pt x="394" y="341"/>
                </a:cubicBezTo>
                <a:cubicBezTo>
                  <a:pt x="394" y="347"/>
                  <a:pt x="390" y="352"/>
                  <a:pt x="384" y="352"/>
                </a:cubicBezTo>
                <a:close/>
                <a:moveTo>
                  <a:pt x="384" y="266"/>
                </a:moveTo>
                <a:cubicBezTo>
                  <a:pt x="128" y="266"/>
                  <a:pt x="128" y="266"/>
                  <a:pt x="128" y="266"/>
                </a:cubicBezTo>
                <a:cubicBezTo>
                  <a:pt x="122" y="266"/>
                  <a:pt x="117" y="262"/>
                  <a:pt x="117" y="256"/>
                </a:cubicBezTo>
                <a:cubicBezTo>
                  <a:pt x="117" y="250"/>
                  <a:pt x="122" y="245"/>
                  <a:pt x="128" y="245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90" y="245"/>
                  <a:pt x="394" y="250"/>
                  <a:pt x="394" y="256"/>
                </a:cubicBezTo>
                <a:cubicBezTo>
                  <a:pt x="394" y="262"/>
                  <a:pt x="390" y="266"/>
                  <a:pt x="384" y="266"/>
                </a:cubicBezTo>
                <a:close/>
                <a:moveTo>
                  <a:pt x="384" y="181"/>
                </a:moveTo>
                <a:cubicBezTo>
                  <a:pt x="128" y="181"/>
                  <a:pt x="128" y="181"/>
                  <a:pt x="128" y="181"/>
                </a:cubicBezTo>
                <a:cubicBezTo>
                  <a:pt x="122" y="181"/>
                  <a:pt x="117" y="176"/>
                  <a:pt x="117" y="170"/>
                </a:cubicBezTo>
                <a:cubicBezTo>
                  <a:pt x="117" y="164"/>
                  <a:pt x="122" y="160"/>
                  <a:pt x="128" y="160"/>
                </a:cubicBezTo>
                <a:cubicBezTo>
                  <a:pt x="384" y="160"/>
                  <a:pt x="384" y="160"/>
                  <a:pt x="384" y="160"/>
                </a:cubicBezTo>
                <a:cubicBezTo>
                  <a:pt x="390" y="160"/>
                  <a:pt x="394" y="164"/>
                  <a:pt x="394" y="170"/>
                </a:cubicBezTo>
                <a:cubicBezTo>
                  <a:pt x="394" y="176"/>
                  <a:pt x="390" y="181"/>
                  <a:pt x="384" y="18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5" name="Group 735"/>
          <p:cNvGrpSpPr>
            <a:grpSpLocks noChangeAspect="1"/>
          </p:cNvGrpSpPr>
          <p:nvPr/>
        </p:nvGrpSpPr>
        <p:grpSpPr bwMode="auto">
          <a:xfrm>
            <a:off x="2921905" y="2914983"/>
            <a:ext cx="367982" cy="369064"/>
            <a:chOff x="5238" y="3487"/>
            <a:chExt cx="340" cy="341"/>
          </a:xfrm>
          <a:solidFill>
            <a:schemeClr val="accent2"/>
          </a:solidFill>
        </p:grpSpPr>
        <p:sp>
          <p:nvSpPr>
            <p:cNvPr id="306" name="Freeform 736"/>
            <p:cNvSpPr>
              <a:spLocks/>
            </p:cNvSpPr>
            <p:nvPr/>
          </p:nvSpPr>
          <p:spPr bwMode="auto">
            <a:xfrm>
              <a:off x="5316" y="3650"/>
              <a:ext cx="184" cy="14"/>
            </a:xfrm>
            <a:custGeom>
              <a:avLst/>
              <a:gdLst>
                <a:gd name="T0" fmla="*/ 267 w 277"/>
                <a:gd name="T1" fmla="*/ 0 h 21"/>
                <a:gd name="T2" fmla="*/ 11 w 277"/>
                <a:gd name="T3" fmla="*/ 0 h 21"/>
                <a:gd name="T4" fmla="*/ 0 w 277"/>
                <a:gd name="T5" fmla="*/ 11 h 21"/>
                <a:gd name="T6" fmla="*/ 11 w 277"/>
                <a:gd name="T7" fmla="*/ 21 h 21"/>
                <a:gd name="T8" fmla="*/ 267 w 277"/>
                <a:gd name="T9" fmla="*/ 21 h 21"/>
                <a:gd name="T10" fmla="*/ 277 w 277"/>
                <a:gd name="T11" fmla="*/ 11 h 21"/>
                <a:gd name="T12" fmla="*/ 267 w 27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Freeform 737"/>
            <p:cNvSpPr>
              <a:spLocks/>
            </p:cNvSpPr>
            <p:nvPr/>
          </p:nvSpPr>
          <p:spPr bwMode="auto">
            <a:xfrm>
              <a:off x="5316" y="3594"/>
              <a:ext cx="184" cy="14"/>
            </a:xfrm>
            <a:custGeom>
              <a:avLst/>
              <a:gdLst>
                <a:gd name="T0" fmla="*/ 11 w 277"/>
                <a:gd name="T1" fmla="*/ 21 h 21"/>
                <a:gd name="T2" fmla="*/ 267 w 277"/>
                <a:gd name="T3" fmla="*/ 21 h 21"/>
                <a:gd name="T4" fmla="*/ 277 w 277"/>
                <a:gd name="T5" fmla="*/ 10 h 21"/>
                <a:gd name="T6" fmla="*/ 267 w 277"/>
                <a:gd name="T7" fmla="*/ 0 h 21"/>
                <a:gd name="T8" fmla="*/ 11 w 277"/>
                <a:gd name="T9" fmla="*/ 0 h 21"/>
                <a:gd name="T10" fmla="*/ 0 w 277"/>
                <a:gd name="T11" fmla="*/ 10 h 21"/>
                <a:gd name="T12" fmla="*/ 11 w 27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11" y="21"/>
                  </a:move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6"/>
                    <a:pt x="277" y="10"/>
                  </a:cubicBezTo>
                  <a:cubicBezTo>
                    <a:pt x="277" y="4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738"/>
            <p:cNvSpPr>
              <a:spLocks/>
            </p:cNvSpPr>
            <p:nvPr/>
          </p:nvSpPr>
          <p:spPr bwMode="auto">
            <a:xfrm>
              <a:off x="5316" y="3707"/>
              <a:ext cx="184" cy="14"/>
            </a:xfrm>
            <a:custGeom>
              <a:avLst/>
              <a:gdLst>
                <a:gd name="T0" fmla="*/ 267 w 277"/>
                <a:gd name="T1" fmla="*/ 0 h 22"/>
                <a:gd name="T2" fmla="*/ 11 w 277"/>
                <a:gd name="T3" fmla="*/ 0 h 22"/>
                <a:gd name="T4" fmla="*/ 0 w 277"/>
                <a:gd name="T5" fmla="*/ 11 h 22"/>
                <a:gd name="T6" fmla="*/ 11 w 277"/>
                <a:gd name="T7" fmla="*/ 22 h 22"/>
                <a:gd name="T8" fmla="*/ 267 w 277"/>
                <a:gd name="T9" fmla="*/ 22 h 22"/>
                <a:gd name="T10" fmla="*/ 277 w 277"/>
                <a:gd name="T11" fmla="*/ 11 h 22"/>
                <a:gd name="T12" fmla="*/ 267 w 27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2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73" y="22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739"/>
            <p:cNvSpPr>
              <a:spLocks noEditPoints="1"/>
            </p:cNvSpPr>
            <p:nvPr/>
          </p:nvSpPr>
          <p:spPr bwMode="auto">
            <a:xfrm>
              <a:off x="5238" y="348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0" name="Freeform 743"/>
          <p:cNvSpPr>
            <a:spLocks noChangeAspect="1" noEditPoints="1"/>
          </p:cNvSpPr>
          <p:nvPr/>
        </p:nvSpPr>
        <p:spPr bwMode="auto">
          <a:xfrm>
            <a:off x="3419012" y="2914983"/>
            <a:ext cx="367982" cy="367982"/>
          </a:xfrm>
          <a:custGeom>
            <a:avLst/>
            <a:gdLst>
              <a:gd name="T0" fmla="*/ 277 w 512"/>
              <a:gd name="T1" fmla="*/ 234 h 512"/>
              <a:gd name="T2" fmla="*/ 277 w 512"/>
              <a:gd name="T3" fmla="*/ 394 h 512"/>
              <a:gd name="T4" fmla="*/ 234 w 512"/>
              <a:gd name="T5" fmla="*/ 320 h 512"/>
              <a:gd name="T6" fmla="*/ 234 w 512"/>
              <a:gd name="T7" fmla="*/ 138 h 512"/>
              <a:gd name="T8" fmla="*/ 277 w 512"/>
              <a:gd name="T9" fmla="*/ 138 h 512"/>
              <a:gd name="T10" fmla="*/ 341 w 512"/>
              <a:gd name="T11" fmla="*/ 181 h 512"/>
              <a:gd name="T12" fmla="*/ 330 w 512"/>
              <a:gd name="T13" fmla="*/ 245 h 512"/>
              <a:gd name="T14" fmla="*/ 298 w 512"/>
              <a:gd name="T15" fmla="*/ 266 h 512"/>
              <a:gd name="T16" fmla="*/ 362 w 512"/>
              <a:gd name="T17" fmla="*/ 256 h 512"/>
              <a:gd name="T18" fmla="*/ 352 w 512"/>
              <a:gd name="T19" fmla="*/ 170 h 512"/>
              <a:gd name="T20" fmla="*/ 170 w 512"/>
              <a:gd name="T21" fmla="*/ 277 h 512"/>
              <a:gd name="T22" fmla="*/ 160 w 512"/>
              <a:gd name="T23" fmla="*/ 181 h 512"/>
              <a:gd name="T24" fmla="*/ 149 w 512"/>
              <a:gd name="T25" fmla="*/ 298 h 512"/>
              <a:gd name="T26" fmla="*/ 213 w 512"/>
              <a:gd name="T27" fmla="*/ 309 h 512"/>
              <a:gd name="T28" fmla="*/ 181 w 512"/>
              <a:gd name="T29" fmla="*/ 288 h 512"/>
              <a:gd name="T30" fmla="*/ 256 w 512"/>
              <a:gd name="T31" fmla="*/ 512 h 512"/>
              <a:gd name="T32" fmla="*/ 256 w 512"/>
              <a:gd name="T33" fmla="*/ 0 h 512"/>
              <a:gd name="T34" fmla="*/ 384 w 512"/>
              <a:gd name="T35" fmla="*/ 181 h 512"/>
              <a:gd name="T36" fmla="*/ 320 w 512"/>
              <a:gd name="T37" fmla="*/ 181 h 512"/>
              <a:gd name="T38" fmla="*/ 298 w 512"/>
              <a:gd name="T39" fmla="*/ 224 h 512"/>
              <a:gd name="T40" fmla="*/ 256 w 512"/>
              <a:gd name="T41" fmla="*/ 96 h 512"/>
              <a:gd name="T42" fmla="*/ 213 w 512"/>
              <a:gd name="T43" fmla="*/ 266 h 512"/>
              <a:gd name="T44" fmla="*/ 192 w 512"/>
              <a:gd name="T45" fmla="*/ 192 h 512"/>
              <a:gd name="T46" fmla="*/ 128 w 512"/>
              <a:gd name="T47" fmla="*/ 192 h 512"/>
              <a:gd name="T48" fmla="*/ 160 w 512"/>
              <a:gd name="T49" fmla="*/ 330 h 512"/>
              <a:gd name="T50" fmla="*/ 213 w 512"/>
              <a:gd name="T51" fmla="*/ 394 h 512"/>
              <a:gd name="T52" fmla="*/ 192 w 512"/>
              <a:gd name="T53" fmla="*/ 405 h 512"/>
              <a:gd name="T54" fmla="*/ 224 w 512"/>
              <a:gd name="T55" fmla="*/ 416 h 512"/>
              <a:gd name="T56" fmla="*/ 309 w 512"/>
              <a:gd name="T57" fmla="*/ 416 h 512"/>
              <a:gd name="T58" fmla="*/ 309 w 512"/>
              <a:gd name="T59" fmla="*/ 394 h 512"/>
              <a:gd name="T60" fmla="*/ 298 w 512"/>
              <a:gd name="T61" fmla="*/ 288 h 512"/>
              <a:gd name="T62" fmla="*/ 384 w 512"/>
              <a:gd name="T63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77" y="138"/>
                </a:moveTo>
                <a:cubicBezTo>
                  <a:pt x="277" y="234"/>
                  <a:pt x="277" y="234"/>
                  <a:pt x="277" y="234"/>
                </a:cubicBezTo>
                <a:cubicBezTo>
                  <a:pt x="277" y="277"/>
                  <a:pt x="277" y="277"/>
                  <a:pt x="277" y="277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34" y="320"/>
                  <a:pt x="234" y="320"/>
                  <a:pt x="234" y="320"/>
                </a:cubicBezTo>
                <a:cubicBezTo>
                  <a:pt x="234" y="277"/>
                  <a:pt x="234" y="277"/>
                  <a:pt x="234" y="277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close/>
                <a:moveTo>
                  <a:pt x="352" y="170"/>
                </a:moveTo>
                <a:cubicBezTo>
                  <a:pt x="346" y="170"/>
                  <a:pt x="341" y="175"/>
                  <a:pt x="341" y="181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40"/>
                  <a:pt x="336" y="245"/>
                  <a:pt x="330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58" y="266"/>
                  <a:pt x="362" y="262"/>
                  <a:pt x="362" y="256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2" y="175"/>
                  <a:pt x="358" y="170"/>
                  <a:pt x="352" y="170"/>
                </a:cubicBezTo>
                <a:close/>
                <a:moveTo>
                  <a:pt x="181" y="288"/>
                </a:moveTo>
                <a:cubicBezTo>
                  <a:pt x="175" y="288"/>
                  <a:pt x="170" y="283"/>
                  <a:pt x="170" y="277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70" y="186"/>
                  <a:pt x="166" y="181"/>
                  <a:pt x="160" y="181"/>
                </a:cubicBezTo>
                <a:cubicBezTo>
                  <a:pt x="154" y="181"/>
                  <a:pt x="149" y="186"/>
                  <a:pt x="149" y="192"/>
                </a:cubicBezTo>
                <a:cubicBezTo>
                  <a:pt x="149" y="298"/>
                  <a:pt x="149" y="298"/>
                  <a:pt x="149" y="298"/>
                </a:cubicBezTo>
                <a:cubicBezTo>
                  <a:pt x="149" y="304"/>
                  <a:pt x="154" y="309"/>
                  <a:pt x="160" y="309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13" y="288"/>
                  <a:pt x="213" y="288"/>
                  <a:pt x="213" y="288"/>
                </a:cubicBezTo>
                <a:lnTo>
                  <a:pt x="181" y="28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181"/>
                </a:moveTo>
                <a:cubicBezTo>
                  <a:pt x="384" y="163"/>
                  <a:pt x="369" y="149"/>
                  <a:pt x="352" y="149"/>
                </a:cubicBezTo>
                <a:cubicBezTo>
                  <a:pt x="334" y="149"/>
                  <a:pt x="320" y="163"/>
                  <a:pt x="320" y="181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298" y="138"/>
                  <a:pt x="298" y="138"/>
                  <a:pt x="298" y="138"/>
                </a:cubicBez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174"/>
                  <a:pt x="177" y="160"/>
                  <a:pt x="160" y="160"/>
                </a:cubicBezTo>
                <a:cubicBezTo>
                  <a:pt x="142" y="160"/>
                  <a:pt x="128" y="174"/>
                  <a:pt x="128" y="192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16"/>
                  <a:pt x="142" y="330"/>
                  <a:pt x="160" y="330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96" y="394"/>
                  <a:pt x="192" y="399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224" y="416"/>
                  <a:pt x="224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99"/>
                  <a:pt x="315" y="394"/>
                  <a:pt x="309" y="394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98" y="288"/>
                  <a:pt x="298" y="288"/>
                  <a:pt x="298" y="288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69" y="288"/>
                  <a:pt x="384" y="273"/>
                  <a:pt x="384" y="256"/>
                </a:cubicBezTo>
                <a:lnTo>
                  <a:pt x="384" y="18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1" name="Freeform 310"/>
          <p:cNvSpPr>
            <a:spLocks noChangeAspect="1" noEditPoints="1"/>
          </p:cNvSpPr>
          <p:nvPr/>
        </p:nvSpPr>
        <p:spPr bwMode="auto">
          <a:xfrm>
            <a:off x="3916119" y="2914983"/>
            <a:ext cx="367982" cy="36798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56 w 512"/>
              <a:gd name="T5" fmla="*/ 490 h 512"/>
              <a:gd name="T6" fmla="*/ 256 w 512"/>
              <a:gd name="T7" fmla="*/ 21 h 512"/>
              <a:gd name="T8" fmla="*/ 256 w 512"/>
              <a:gd name="T9" fmla="*/ 490 h 512"/>
              <a:gd name="T10" fmla="*/ 320 w 512"/>
              <a:gd name="T11" fmla="*/ 181 h 512"/>
              <a:gd name="T12" fmla="*/ 298 w 512"/>
              <a:gd name="T13" fmla="*/ 224 h 512"/>
              <a:gd name="T14" fmla="*/ 256 w 512"/>
              <a:gd name="T15" fmla="*/ 96 h 512"/>
              <a:gd name="T16" fmla="*/ 213 w 512"/>
              <a:gd name="T17" fmla="*/ 266 h 512"/>
              <a:gd name="T18" fmla="*/ 192 w 512"/>
              <a:gd name="T19" fmla="*/ 192 h 512"/>
              <a:gd name="T20" fmla="*/ 128 w 512"/>
              <a:gd name="T21" fmla="*/ 192 h 512"/>
              <a:gd name="T22" fmla="*/ 160 w 512"/>
              <a:gd name="T23" fmla="*/ 330 h 512"/>
              <a:gd name="T24" fmla="*/ 213 w 512"/>
              <a:gd name="T25" fmla="*/ 394 h 512"/>
              <a:gd name="T26" fmla="*/ 192 w 512"/>
              <a:gd name="T27" fmla="*/ 405 h 512"/>
              <a:gd name="T28" fmla="*/ 224 w 512"/>
              <a:gd name="T29" fmla="*/ 416 h 512"/>
              <a:gd name="T30" fmla="*/ 309 w 512"/>
              <a:gd name="T31" fmla="*/ 416 h 512"/>
              <a:gd name="T32" fmla="*/ 309 w 512"/>
              <a:gd name="T33" fmla="*/ 394 h 512"/>
              <a:gd name="T34" fmla="*/ 298 w 512"/>
              <a:gd name="T35" fmla="*/ 288 h 512"/>
              <a:gd name="T36" fmla="*/ 384 w 512"/>
              <a:gd name="T37" fmla="*/ 256 h 512"/>
              <a:gd name="T38" fmla="*/ 352 w 512"/>
              <a:gd name="T39" fmla="*/ 149 h 512"/>
              <a:gd name="T40" fmla="*/ 160 w 512"/>
              <a:gd name="T41" fmla="*/ 309 h 512"/>
              <a:gd name="T42" fmla="*/ 149 w 512"/>
              <a:gd name="T43" fmla="*/ 192 h 512"/>
              <a:gd name="T44" fmla="*/ 170 w 512"/>
              <a:gd name="T45" fmla="*/ 192 h 512"/>
              <a:gd name="T46" fmla="*/ 181 w 512"/>
              <a:gd name="T47" fmla="*/ 288 h 512"/>
              <a:gd name="T48" fmla="*/ 213 w 512"/>
              <a:gd name="T49" fmla="*/ 309 h 512"/>
              <a:gd name="T50" fmla="*/ 277 w 512"/>
              <a:gd name="T51" fmla="*/ 277 h 512"/>
              <a:gd name="T52" fmla="*/ 234 w 512"/>
              <a:gd name="T53" fmla="*/ 394 h 512"/>
              <a:gd name="T54" fmla="*/ 234 w 512"/>
              <a:gd name="T55" fmla="*/ 277 h 512"/>
              <a:gd name="T56" fmla="*/ 256 w 512"/>
              <a:gd name="T57" fmla="*/ 117 h 512"/>
              <a:gd name="T58" fmla="*/ 277 w 512"/>
              <a:gd name="T59" fmla="*/ 234 h 512"/>
              <a:gd name="T60" fmla="*/ 352 w 512"/>
              <a:gd name="T61" fmla="*/ 266 h 512"/>
              <a:gd name="T62" fmla="*/ 298 w 512"/>
              <a:gd name="T63" fmla="*/ 245 h 512"/>
              <a:gd name="T64" fmla="*/ 341 w 512"/>
              <a:gd name="T65" fmla="*/ 234 h 512"/>
              <a:gd name="T66" fmla="*/ 352 w 512"/>
              <a:gd name="T67" fmla="*/ 170 h 512"/>
              <a:gd name="T68" fmla="*/ 362 w 512"/>
              <a:gd name="T6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90"/>
                </a:move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lose/>
                <a:moveTo>
                  <a:pt x="352" y="149"/>
                </a:moveTo>
                <a:cubicBezTo>
                  <a:pt x="334" y="149"/>
                  <a:pt x="320" y="163"/>
                  <a:pt x="320" y="181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298" y="138"/>
                  <a:pt x="298" y="138"/>
                  <a:pt x="298" y="138"/>
                </a:cubicBez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174"/>
                  <a:pt x="177" y="160"/>
                  <a:pt x="160" y="160"/>
                </a:cubicBezTo>
                <a:cubicBezTo>
                  <a:pt x="142" y="160"/>
                  <a:pt x="128" y="174"/>
                  <a:pt x="128" y="192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16"/>
                  <a:pt x="142" y="330"/>
                  <a:pt x="160" y="330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96" y="394"/>
                  <a:pt x="192" y="399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224" y="416"/>
                  <a:pt x="224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99"/>
                  <a:pt x="315" y="394"/>
                  <a:pt x="309" y="394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98" y="288"/>
                  <a:pt x="298" y="288"/>
                  <a:pt x="298" y="288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69" y="288"/>
                  <a:pt x="384" y="273"/>
                  <a:pt x="384" y="256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4" y="163"/>
                  <a:pt x="369" y="149"/>
                  <a:pt x="352" y="149"/>
                </a:cubicBezTo>
                <a:close/>
                <a:moveTo>
                  <a:pt x="213" y="309"/>
                </a:moveTo>
                <a:cubicBezTo>
                  <a:pt x="160" y="309"/>
                  <a:pt x="160" y="309"/>
                  <a:pt x="160" y="309"/>
                </a:cubicBezTo>
                <a:cubicBezTo>
                  <a:pt x="154" y="309"/>
                  <a:pt x="149" y="304"/>
                  <a:pt x="149" y="298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149" y="186"/>
                  <a:pt x="154" y="181"/>
                  <a:pt x="160" y="181"/>
                </a:cubicBezTo>
                <a:cubicBezTo>
                  <a:pt x="166" y="181"/>
                  <a:pt x="170" y="186"/>
                  <a:pt x="170" y="192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13" y="288"/>
                  <a:pt x="213" y="288"/>
                  <a:pt x="213" y="288"/>
                </a:cubicBezTo>
                <a:lnTo>
                  <a:pt x="213" y="309"/>
                </a:lnTo>
                <a:close/>
                <a:moveTo>
                  <a:pt x="277" y="234"/>
                </a:moveTo>
                <a:cubicBezTo>
                  <a:pt x="277" y="277"/>
                  <a:pt x="277" y="277"/>
                  <a:pt x="277" y="277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34" y="320"/>
                  <a:pt x="234" y="320"/>
                  <a:pt x="234" y="320"/>
                </a:cubicBezTo>
                <a:cubicBezTo>
                  <a:pt x="234" y="277"/>
                  <a:pt x="234" y="277"/>
                  <a:pt x="234" y="277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lnTo>
                  <a:pt x="277" y="234"/>
                </a:lnTo>
                <a:close/>
                <a:moveTo>
                  <a:pt x="362" y="256"/>
                </a:moveTo>
                <a:cubicBezTo>
                  <a:pt x="362" y="262"/>
                  <a:pt x="358" y="266"/>
                  <a:pt x="352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36" y="245"/>
                  <a:pt x="341" y="240"/>
                  <a:pt x="341" y="234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41" y="175"/>
                  <a:pt x="346" y="170"/>
                  <a:pt x="352" y="170"/>
                </a:cubicBezTo>
                <a:cubicBezTo>
                  <a:pt x="358" y="170"/>
                  <a:pt x="362" y="175"/>
                  <a:pt x="362" y="181"/>
                </a:cubicBezTo>
                <a:lnTo>
                  <a:pt x="362" y="25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2" name="Freeform 769"/>
          <p:cNvSpPr>
            <a:spLocks noChangeAspect="1" noEditPoints="1"/>
          </p:cNvSpPr>
          <p:nvPr/>
        </p:nvSpPr>
        <p:spPr bwMode="auto">
          <a:xfrm>
            <a:off x="4413226" y="2914983"/>
            <a:ext cx="369064" cy="367982"/>
          </a:xfrm>
          <a:custGeom>
            <a:avLst/>
            <a:gdLst>
              <a:gd name="T0" fmla="*/ 330 w 512"/>
              <a:gd name="T1" fmla="*/ 149 h 512"/>
              <a:gd name="T2" fmla="*/ 320 w 512"/>
              <a:gd name="T3" fmla="*/ 160 h 512"/>
              <a:gd name="T4" fmla="*/ 309 w 512"/>
              <a:gd name="T5" fmla="*/ 149 h 512"/>
              <a:gd name="T6" fmla="*/ 309 w 512"/>
              <a:gd name="T7" fmla="*/ 138 h 512"/>
              <a:gd name="T8" fmla="*/ 202 w 512"/>
              <a:gd name="T9" fmla="*/ 138 h 512"/>
              <a:gd name="T10" fmla="*/ 202 w 512"/>
              <a:gd name="T11" fmla="*/ 149 h 512"/>
              <a:gd name="T12" fmla="*/ 192 w 512"/>
              <a:gd name="T13" fmla="*/ 160 h 512"/>
              <a:gd name="T14" fmla="*/ 181 w 512"/>
              <a:gd name="T15" fmla="*/ 149 h 512"/>
              <a:gd name="T16" fmla="*/ 181 w 512"/>
              <a:gd name="T17" fmla="*/ 138 h 512"/>
              <a:gd name="T18" fmla="*/ 138 w 512"/>
              <a:gd name="T19" fmla="*/ 138 h 512"/>
              <a:gd name="T20" fmla="*/ 138 w 512"/>
              <a:gd name="T21" fmla="*/ 373 h 512"/>
              <a:gd name="T22" fmla="*/ 373 w 512"/>
              <a:gd name="T23" fmla="*/ 373 h 512"/>
              <a:gd name="T24" fmla="*/ 373 w 512"/>
              <a:gd name="T25" fmla="*/ 138 h 512"/>
              <a:gd name="T26" fmla="*/ 330 w 512"/>
              <a:gd name="T27" fmla="*/ 138 h 512"/>
              <a:gd name="T28" fmla="*/ 330 w 512"/>
              <a:gd name="T29" fmla="*/ 149 h 512"/>
              <a:gd name="T30" fmla="*/ 309 w 512"/>
              <a:gd name="T31" fmla="*/ 266 h 512"/>
              <a:gd name="T32" fmla="*/ 202 w 512"/>
              <a:gd name="T33" fmla="*/ 266 h 512"/>
              <a:gd name="T34" fmla="*/ 192 w 512"/>
              <a:gd name="T35" fmla="*/ 256 h 512"/>
              <a:gd name="T36" fmla="*/ 202 w 512"/>
              <a:gd name="T37" fmla="*/ 245 h 512"/>
              <a:gd name="T38" fmla="*/ 309 w 512"/>
              <a:gd name="T39" fmla="*/ 245 h 512"/>
              <a:gd name="T40" fmla="*/ 320 w 512"/>
              <a:gd name="T41" fmla="*/ 256 h 512"/>
              <a:gd name="T42" fmla="*/ 309 w 512"/>
              <a:gd name="T43" fmla="*/ 266 h 512"/>
              <a:gd name="T44" fmla="*/ 256 w 512"/>
              <a:gd name="T45" fmla="*/ 0 h 512"/>
              <a:gd name="T46" fmla="*/ 0 w 512"/>
              <a:gd name="T47" fmla="*/ 256 h 512"/>
              <a:gd name="T48" fmla="*/ 256 w 512"/>
              <a:gd name="T49" fmla="*/ 512 h 512"/>
              <a:gd name="T50" fmla="*/ 512 w 512"/>
              <a:gd name="T51" fmla="*/ 256 h 512"/>
              <a:gd name="T52" fmla="*/ 256 w 512"/>
              <a:gd name="T53" fmla="*/ 0 h 512"/>
              <a:gd name="T54" fmla="*/ 394 w 512"/>
              <a:gd name="T55" fmla="*/ 384 h 512"/>
              <a:gd name="T56" fmla="*/ 384 w 512"/>
              <a:gd name="T57" fmla="*/ 394 h 512"/>
              <a:gd name="T58" fmla="*/ 128 w 512"/>
              <a:gd name="T59" fmla="*/ 394 h 512"/>
              <a:gd name="T60" fmla="*/ 117 w 512"/>
              <a:gd name="T61" fmla="*/ 384 h 512"/>
              <a:gd name="T62" fmla="*/ 117 w 512"/>
              <a:gd name="T63" fmla="*/ 128 h 512"/>
              <a:gd name="T64" fmla="*/ 128 w 512"/>
              <a:gd name="T65" fmla="*/ 117 h 512"/>
              <a:gd name="T66" fmla="*/ 181 w 512"/>
              <a:gd name="T67" fmla="*/ 117 h 512"/>
              <a:gd name="T68" fmla="*/ 181 w 512"/>
              <a:gd name="T69" fmla="*/ 106 h 512"/>
              <a:gd name="T70" fmla="*/ 192 w 512"/>
              <a:gd name="T71" fmla="*/ 96 h 512"/>
              <a:gd name="T72" fmla="*/ 202 w 512"/>
              <a:gd name="T73" fmla="*/ 106 h 512"/>
              <a:gd name="T74" fmla="*/ 202 w 512"/>
              <a:gd name="T75" fmla="*/ 117 h 512"/>
              <a:gd name="T76" fmla="*/ 309 w 512"/>
              <a:gd name="T77" fmla="*/ 117 h 512"/>
              <a:gd name="T78" fmla="*/ 309 w 512"/>
              <a:gd name="T79" fmla="*/ 106 h 512"/>
              <a:gd name="T80" fmla="*/ 320 w 512"/>
              <a:gd name="T81" fmla="*/ 96 h 512"/>
              <a:gd name="T82" fmla="*/ 330 w 512"/>
              <a:gd name="T83" fmla="*/ 106 h 512"/>
              <a:gd name="T84" fmla="*/ 330 w 512"/>
              <a:gd name="T85" fmla="*/ 117 h 512"/>
              <a:gd name="T86" fmla="*/ 384 w 512"/>
              <a:gd name="T87" fmla="*/ 117 h 512"/>
              <a:gd name="T88" fmla="*/ 394 w 512"/>
              <a:gd name="T89" fmla="*/ 128 h 512"/>
              <a:gd name="T90" fmla="*/ 394 w 512"/>
              <a:gd name="T91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309" y="266"/>
                </a:moveTo>
                <a:cubicBezTo>
                  <a:pt x="202" y="266"/>
                  <a:pt x="202" y="266"/>
                  <a:pt x="202" y="266"/>
                </a:cubicBezTo>
                <a:cubicBezTo>
                  <a:pt x="196" y="266"/>
                  <a:pt x="192" y="262"/>
                  <a:pt x="192" y="256"/>
                </a:cubicBezTo>
                <a:cubicBezTo>
                  <a:pt x="192" y="250"/>
                  <a:pt x="196" y="245"/>
                  <a:pt x="202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15" y="245"/>
                  <a:pt x="320" y="250"/>
                  <a:pt x="320" y="256"/>
                </a:cubicBezTo>
                <a:cubicBezTo>
                  <a:pt x="320" y="262"/>
                  <a:pt x="315" y="266"/>
                  <a:pt x="309" y="26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3" name="Group 772"/>
          <p:cNvGrpSpPr>
            <a:grpSpLocks noChangeAspect="1"/>
          </p:cNvGrpSpPr>
          <p:nvPr/>
        </p:nvGrpSpPr>
        <p:grpSpPr bwMode="auto">
          <a:xfrm>
            <a:off x="4911415" y="2914983"/>
            <a:ext cx="367982" cy="367982"/>
            <a:chOff x="3547" y="3177"/>
            <a:chExt cx="340" cy="340"/>
          </a:xfrm>
          <a:solidFill>
            <a:schemeClr val="accent3"/>
          </a:solidFill>
        </p:grpSpPr>
        <p:sp>
          <p:nvSpPr>
            <p:cNvPr id="314" name="Freeform 773"/>
            <p:cNvSpPr>
              <a:spLocks noEditPoints="1"/>
            </p:cNvSpPr>
            <p:nvPr/>
          </p:nvSpPr>
          <p:spPr bwMode="auto">
            <a:xfrm>
              <a:off x="3547" y="31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774"/>
            <p:cNvSpPr>
              <a:spLocks noEditPoints="1"/>
            </p:cNvSpPr>
            <p:nvPr/>
          </p:nvSpPr>
          <p:spPr bwMode="auto">
            <a:xfrm>
              <a:off x="3625" y="3241"/>
              <a:ext cx="184" cy="198"/>
            </a:xfrm>
            <a:custGeom>
              <a:avLst/>
              <a:gdLst>
                <a:gd name="T0" fmla="*/ 267 w 277"/>
                <a:gd name="T1" fmla="*/ 21 h 298"/>
                <a:gd name="T2" fmla="*/ 213 w 277"/>
                <a:gd name="T3" fmla="*/ 21 h 298"/>
                <a:gd name="T4" fmla="*/ 213 w 277"/>
                <a:gd name="T5" fmla="*/ 10 h 298"/>
                <a:gd name="T6" fmla="*/ 203 w 277"/>
                <a:gd name="T7" fmla="*/ 0 h 298"/>
                <a:gd name="T8" fmla="*/ 192 w 277"/>
                <a:gd name="T9" fmla="*/ 10 h 298"/>
                <a:gd name="T10" fmla="*/ 192 w 277"/>
                <a:gd name="T11" fmla="*/ 21 h 298"/>
                <a:gd name="T12" fmla="*/ 85 w 277"/>
                <a:gd name="T13" fmla="*/ 21 h 298"/>
                <a:gd name="T14" fmla="*/ 85 w 277"/>
                <a:gd name="T15" fmla="*/ 10 h 298"/>
                <a:gd name="T16" fmla="*/ 75 w 277"/>
                <a:gd name="T17" fmla="*/ 0 h 298"/>
                <a:gd name="T18" fmla="*/ 64 w 277"/>
                <a:gd name="T19" fmla="*/ 10 h 298"/>
                <a:gd name="T20" fmla="*/ 64 w 277"/>
                <a:gd name="T21" fmla="*/ 21 h 298"/>
                <a:gd name="T22" fmla="*/ 11 w 277"/>
                <a:gd name="T23" fmla="*/ 21 h 298"/>
                <a:gd name="T24" fmla="*/ 0 w 277"/>
                <a:gd name="T25" fmla="*/ 32 h 298"/>
                <a:gd name="T26" fmla="*/ 0 w 277"/>
                <a:gd name="T27" fmla="*/ 288 h 298"/>
                <a:gd name="T28" fmla="*/ 11 w 277"/>
                <a:gd name="T29" fmla="*/ 298 h 298"/>
                <a:gd name="T30" fmla="*/ 267 w 277"/>
                <a:gd name="T31" fmla="*/ 298 h 298"/>
                <a:gd name="T32" fmla="*/ 277 w 277"/>
                <a:gd name="T33" fmla="*/ 288 h 298"/>
                <a:gd name="T34" fmla="*/ 277 w 277"/>
                <a:gd name="T35" fmla="*/ 32 h 298"/>
                <a:gd name="T36" fmla="*/ 267 w 277"/>
                <a:gd name="T37" fmla="*/ 21 h 298"/>
                <a:gd name="T38" fmla="*/ 256 w 277"/>
                <a:gd name="T39" fmla="*/ 277 h 298"/>
                <a:gd name="T40" fmla="*/ 21 w 277"/>
                <a:gd name="T41" fmla="*/ 277 h 298"/>
                <a:gd name="T42" fmla="*/ 21 w 277"/>
                <a:gd name="T43" fmla="*/ 42 h 298"/>
                <a:gd name="T44" fmla="*/ 64 w 277"/>
                <a:gd name="T45" fmla="*/ 42 h 298"/>
                <a:gd name="T46" fmla="*/ 64 w 277"/>
                <a:gd name="T47" fmla="*/ 53 h 298"/>
                <a:gd name="T48" fmla="*/ 75 w 277"/>
                <a:gd name="T49" fmla="*/ 64 h 298"/>
                <a:gd name="T50" fmla="*/ 85 w 277"/>
                <a:gd name="T51" fmla="*/ 53 h 298"/>
                <a:gd name="T52" fmla="*/ 85 w 277"/>
                <a:gd name="T53" fmla="*/ 42 h 298"/>
                <a:gd name="T54" fmla="*/ 192 w 277"/>
                <a:gd name="T55" fmla="*/ 42 h 298"/>
                <a:gd name="T56" fmla="*/ 192 w 277"/>
                <a:gd name="T57" fmla="*/ 53 h 298"/>
                <a:gd name="T58" fmla="*/ 203 w 277"/>
                <a:gd name="T59" fmla="*/ 64 h 298"/>
                <a:gd name="T60" fmla="*/ 213 w 277"/>
                <a:gd name="T61" fmla="*/ 53 h 298"/>
                <a:gd name="T62" fmla="*/ 213 w 277"/>
                <a:gd name="T63" fmla="*/ 42 h 298"/>
                <a:gd name="T64" fmla="*/ 256 w 277"/>
                <a:gd name="T65" fmla="*/ 42 h 298"/>
                <a:gd name="T66" fmla="*/ 256 w 277"/>
                <a:gd name="T67" fmla="*/ 277 h 298"/>
                <a:gd name="T68" fmla="*/ 203 w 277"/>
                <a:gd name="T69" fmla="*/ 160 h 298"/>
                <a:gd name="T70" fmla="*/ 192 w 277"/>
                <a:gd name="T71" fmla="*/ 170 h 298"/>
                <a:gd name="T72" fmla="*/ 85 w 277"/>
                <a:gd name="T73" fmla="*/ 170 h 298"/>
                <a:gd name="T74" fmla="*/ 75 w 277"/>
                <a:gd name="T75" fmla="*/ 160 h 298"/>
                <a:gd name="T76" fmla="*/ 85 w 277"/>
                <a:gd name="T77" fmla="*/ 149 h 298"/>
                <a:gd name="T78" fmla="*/ 192 w 277"/>
                <a:gd name="T79" fmla="*/ 149 h 298"/>
                <a:gd name="T80" fmla="*/ 203 w 277"/>
                <a:gd name="T81" fmla="*/ 16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203" y="160"/>
                  </a:moveTo>
                  <a:cubicBezTo>
                    <a:pt x="203" y="166"/>
                    <a:pt x="198" y="170"/>
                    <a:pt x="192" y="170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79" y="170"/>
                    <a:pt x="75" y="166"/>
                    <a:pt x="75" y="160"/>
                  </a:cubicBezTo>
                  <a:cubicBezTo>
                    <a:pt x="75" y="154"/>
                    <a:pt x="79" y="149"/>
                    <a:pt x="85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8" y="149"/>
                    <a:pt x="203" y="154"/>
                    <a:pt x="20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6" name="Freeform 778"/>
          <p:cNvSpPr>
            <a:spLocks noChangeAspect="1" noEditPoints="1"/>
          </p:cNvSpPr>
          <p:nvPr/>
        </p:nvSpPr>
        <p:spPr bwMode="auto">
          <a:xfrm>
            <a:off x="5408522" y="2914983"/>
            <a:ext cx="369064" cy="367982"/>
          </a:xfrm>
          <a:custGeom>
            <a:avLst/>
            <a:gdLst>
              <a:gd name="T0" fmla="*/ 330 w 512"/>
              <a:gd name="T1" fmla="*/ 149 h 512"/>
              <a:gd name="T2" fmla="*/ 320 w 512"/>
              <a:gd name="T3" fmla="*/ 160 h 512"/>
              <a:gd name="T4" fmla="*/ 309 w 512"/>
              <a:gd name="T5" fmla="*/ 149 h 512"/>
              <a:gd name="T6" fmla="*/ 309 w 512"/>
              <a:gd name="T7" fmla="*/ 138 h 512"/>
              <a:gd name="T8" fmla="*/ 202 w 512"/>
              <a:gd name="T9" fmla="*/ 138 h 512"/>
              <a:gd name="T10" fmla="*/ 202 w 512"/>
              <a:gd name="T11" fmla="*/ 149 h 512"/>
              <a:gd name="T12" fmla="*/ 192 w 512"/>
              <a:gd name="T13" fmla="*/ 160 h 512"/>
              <a:gd name="T14" fmla="*/ 181 w 512"/>
              <a:gd name="T15" fmla="*/ 149 h 512"/>
              <a:gd name="T16" fmla="*/ 181 w 512"/>
              <a:gd name="T17" fmla="*/ 138 h 512"/>
              <a:gd name="T18" fmla="*/ 138 w 512"/>
              <a:gd name="T19" fmla="*/ 138 h 512"/>
              <a:gd name="T20" fmla="*/ 138 w 512"/>
              <a:gd name="T21" fmla="*/ 373 h 512"/>
              <a:gd name="T22" fmla="*/ 373 w 512"/>
              <a:gd name="T23" fmla="*/ 373 h 512"/>
              <a:gd name="T24" fmla="*/ 373 w 512"/>
              <a:gd name="T25" fmla="*/ 138 h 512"/>
              <a:gd name="T26" fmla="*/ 330 w 512"/>
              <a:gd name="T27" fmla="*/ 138 h 512"/>
              <a:gd name="T28" fmla="*/ 330 w 512"/>
              <a:gd name="T29" fmla="*/ 149 h 512"/>
              <a:gd name="T30" fmla="*/ 301 w 512"/>
              <a:gd name="T31" fmla="*/ 286 h 512"/>
              <a:gd name="T32" fmla="*/ 301 w 512"/>
              <a:gd name="T33" fmla="*/ 301 h 512"/>
              <a:gd name="T34" fmla="*/ 293 w 512"/>
              <a:gd name="T35" fmla="*/ 304 h 512"/>
              <a:gd name="T36" fmla="*/ 286 w 512"/>
              <a:gd name="T37" fmla="*/ 301 h 512"/>
              <a:gd name="T38" fmla="*/ 256 w 512"/>
              <a:gd name="T39" fmla="*/ 271 h 512"/>
              <a:gd name="T40" fmla="*/ 225 w 512"/>
              <a:gd name="T41" fmla="*/ 301 h 512"/>
              <a:gd name="T42" fmla="*/ 218 w 512"/>
              <a:gd name="T43" fmla="*/ 304 h 512"/>
              <a:gd name="T44" fmla="*/ 210 w 512"/>
              <a:gd name="T45" fmla="*/ 301 h 512"/>
              <a:gd name="T46" fmla="*/ 210 w 512"/>
              <a:gd name="T47" fmla="*/ 286 h 512"/>
              <a:gd name="T48" fmla="*/ 241 w 512"/>
              <a:gd name="T49" fmla="*/ 256 h 512"/>
              <a:gd name="T50" fmla="*/ 210 w 512"/>
              <a:gd name="T51" fmla="*/ 226 h 512"/>
              <a:gd name="T52" fmla="*/ 210 w 512"/>
              <a:gd name="T53" fmla="*/ 210 h 512"/>
              <a:gd name="T54" fmla="*/ 225 w 512"/>
              <a:gd name="T55" fmla="*/ 210 h 512"/>
              <a:gd name="T56" fmla="*/ 256 w 512"/>
              <a:gd name="T57" fmla="*/ 241 h 512"/>
              <a:gd name="T58" fmla="*/ 286 w 512"/>
              <a:gd name="T59" fmla="*/ 210 h 512"/>
              <a:gd name="T60" fmla="*/ 301 w 512"/>
              <a:gd name="T61" fmla="*/ 210 h 512"/>
              <a:gd name="T62" fmla="*/ 301 w 512"/>
              <a:gd name="T63" fmla="*/ 226 h 512"/>
              <a:gd name="T64" fmla="*/ 271 w 512"/>
              <a:gd name="T65" fmla="*/ 256 h 512"/>
              <a:gd name="T66" fmla="*/ 301 w 512"/>
              <a:gd name="T67" fmla="*/ 286 h 512"/>
              <a:gd name="T68" fmla="*/ 256 w 512"/>
              <a:gd name="T69" fmla="*/ 0 h 512"/>
              <a:gd name="T70" fmla="*/ 0 w 512"/>
              <a:gd name="T71" fmla="*/ 256 h 512"/>
              <a:gd name="T72" fmla="*/ 256 w 512"/>
              <a:gd name="T73" fmla="*/ 512 h 512"/>
              <a:gd name="T74" fmla="*/ 512 w 512"/>
              <a:gd name="T75" fmla="*/ 256 h 512"/>
              <a:gd name="T76" fmla="*/ 256 w 512"/>
              <a:gd name="T77" fmla="*/ 0 h 512"/>
              <a:gd name="T78" fmla="*/ 394 w 512"/>
              <a:gd name="T79" fmla="*/ 384 h 512"/>
              <a:gd name="T80" fmla="*/ 384 w 512"/>
              <a:gd name="T81" fmla="*/ 394 h 512"/>
              <a:gd name="T82" fmla="*/ 128 w 512"/>
              <a:gd name="T83" fmla="*/ 394 h 512"/>
              <a:gd name="T84" fmla="*/ 117 w 512"/>
              <a:gd name="T85" fmla="*/ 384 h 512"/>
              <a:gd name="T86" fmla="*/ 117 w 512"/>
              <a:gd name="T87" fmla="*/ 128 h 512"/>
              <a:gd name="T88" fmla="*/ 128 w 512"/>
              <a:gd name="T89" fmla="*/ 117 h 512"/>
              <a:gd name="T90" fmla="*/ 181 w 512"/>
              <a:gd name="T91" fmla="*/ 117 h 512"/>
              <a:gd name="T92" fmla="*/ 181 w 512"/>
              <a:gd name="T93" fmla="*/ 106 h 512"/>
              <a:gd name="T94" fmla="*/ 192 w 512"/>
              <a:gd name="T95" fmla="*/ 96 h 512"/>
              <a:gd name="T96" fmla="*/ 202 w 512"/>
              <a:gd name="T97" fmla="*/ 106 h 512"/>
              <a:gd name="T98" fmla="*/ 202 w 512"/>
              <a:gd name="T99" fmla="*/ 117 h 512"/>
              <a:gd name="T100" fmla="*/ 309 w 512"/>
              <a:gd name="T101" fmla="*/ 117 h 512"/>
              <a:gd name="T102" fmla="*/ 309 w 512"/>
              <a:gd name="T103" fmla="*/ 106 h 512"/>
              <a:gd name="T104" fmla="*/ 320 w 512"/>
              <a:gd name="T105" fmla="*/ 96 h 512"/>
              <a:gd name="T106" fmla="*/ 330 w 512"/>
              <a:gd name="T107" fmla="*/ 106 h 512"/>
              <a:gd name="T108" fmla="*/ 330 w 512"/>
              <a:gd name="T109" fmla="*/ 117 h 512"/>
              <a:gd name="T110" fmla="*/ 384 w 512"/>
              <a:gd name="T111" fmla="*/ 117 h 512"/>
              <a:gd name="T112" fmla="*/ 394 w 512"/>
              <a:gd name="T113" fmla="*/ 128 h 512"/>
              <a:gd name="T114" fmla="*/ 394 w 512"/>
              <a:gd name="T115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301" y="286"/>
                </a:moveTo>
                <a:cubicBezTo>
                  <a:pt x="305" y="290"/>
                  <a:pt x="305" y="297"/>
                  <a:pt x="301" y="301"/>
                </a:cubicBezTo>
                <a:cubicBezTo>
                  <a:pt x="299" y="303"/>
                  <a:pt x="296" y="304"/>
                  <a:pt x="293" y="304"/>
                </a:cubicBezTo>
                <a:cubicBezTo>
                  <a:pt x="291" y="304"/>
                  <a:pt x="288" y="303"/>
                  <a:pt x="286" y="301"/>
                </a:cubicBezTo>
                <a:cubicBezTo>
                  <a:pt x="256" y="271"/>
                  <a:pt x="256" y="271"/>
                  <a:pt x="256" y="271"/>
                </a:cubicBezTo>
                <a:cubicBezTo>
                  <a:pt x="225" y="301"/>
                  <a:pt x="225" y="301"/>
                  <a:pt x="225" y="301"/>
                </a:cubicBezTo>
                <a:cubicBezTo>
                  <a:pt x="223" y="303"/>
                  <a:pt x="221" y="304"/>
                  <a:pt x="218" y="304"/>
                </a:cubicBezTo>
                <a:cubicBezTo>
                  <a:pt x="215" y="304"/>
                  <a:pt x="212" y="303"/>
                  <a:pt x="210" y="301"/>
                </a:cubicBezTo>
                <a:cubicBezTo>
                  <a:pt x="206" y="297"/>
                  <a:pt x="206" y="290"/>
                  <a:pt x="210" y="286"/>
                </a:cubicBezTo>
                <a:cubicBezTo>
                  <a:pt x="241" y="256"/>
                  <a:pt x="241" y="256"/>
                  <a:pt x="241" y="256"/>
                </a:cubicBezTo>
                <a:cubicBezTo>
                  <a:pt x="210" y="226"/>
                  <a:pt x="210" y="226"/>
                  <a:pt x="210" y="226"/>
                </a:cubicBezTo>
                <a:cubicBezTo>
                  <a:pt x="206" y="221"/>
                  <a:pt x="206" y="215"/>
                  <a:pt x="210" y="210"/>
                </a:cubicBezTo>
                <a:cubicBezTo>
                  <a:pt x="215" y="206"/>
                  <a:pt x="221" y="206"/>
                  <a:pt x="225" y="210"/>
                </a:cubicBezTo>
                <a:cubicBezTo>
                  <a:pt x="256" y="241"/>
                  <a:pt x="256" y="241"/>
                  <a:pt x="256" y="241"/>
                </a:cubicBezTo>
                <a:cubicBezTo>
                  <a:pt x="286" y="210"/>
                  <a:pt x="286" y="210"/>
                  <a:pt x="286" y="210"/>
                </a:cubicBezTo>
                <a:cubicBezTo>
                  <a:pt x="290" y="206"/>
                  <a:pt x="297" y="206"/>
                  <a:pt x="301" y="210"/>
                </a:cubicBezTo>
                <a:cubicBezTo>
                  <a:pt x="305" y="215"/>
                  <a:pt x="305" y="221"/>
                  <a:pt x="301" y="226"/>
                </a:cubicBezTo>
                <a:cubicBezTo>
                  <a:pt x="271" y="256"/>
                  <a:pt x="271" y="256"/>
                  <a:pt x="271" y="256"/>
                </a:cubicBezTo>
                <a:lnTo>
                  <a:pt x="301" y="28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7" name="Group 781"/>
          <p:cNvGrpSpPr>
            <a:grpSpLocks noChangeAspect="1"/>
          </p:cNvGrpSpPr>
          <p:nvPr/>
        </p:nvGrpSpPr>
        <p:grpSpPr bwMode="auto">
          <a:xfrm>
            <a:off x="5906711" y="2914983"/>
            <a:ext cx="367982" cy="367982"/>
            <a:chOff x="3805" y="3387"/>
            <a:chExt cx="340" cy="340"/>
          </a:xfrm>
          <a:solidFill>
            <a:schemeClr val="accent1"/>
          </a:solidFill>
        </p:grpSpPr>
        <p:sp>
          <p:nvSpPr>
            <p:cNvPr id="318" name="Freeform 782"/>
            <p:cNvSpPr>
              <a:spLocks noEditPoints="1"/>
            </p:cNvSpPr>
            <p:nvPr/>
          </p:nvSpPr>
          <p:spPr bwMode="auto">
            <a:xfrm>
              <a:off x="3805" y="338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783"/>
            <p:cNvSpPr>
              <a:spLocks noEditPoints="1"/>
            </p:cNvSpPr>
            <p:nvPr/>
          </p:nvSpPr>
          <p:spPr bwMode="auto">
            <a:xfrm>
              <a:off x="3883" y="3451"/>
              <a:ext cx="184" cy="198"/>
            </a:xfrm>
            <a:custGeom>
              <a:avLst/>
              <a:gdLst>
                <a:gd name="T0" fmla="*/ 267 w 277"/>
                <a:gd name="T1" fmla="*/ 21 h 298"/>
                <a:gd name="T2" fmla="*/ 213 w 277"/>
                <a:gd name="T3" fmla="*/ 21 h 298"/>
                <a:gd name="T4" fmla="*/ 213 w 277"/>
                <a:gd name="T5" fmla="*/ 10 h 298"/>
                <a:gd name="T6" fmla="*/ 203 w 277"/>
                <a:gd name="T7" fmla="*/ 0 h 298"/>
                <a:gd name="T8" fmla="*/ 192 w 277"/>
                <a:gd name="T9" fmla="*/ 10 h 298"/>
                <a:gd name="T10" fmla="*/ 192 w 277"/>
                <a:gd name="T11" fmla="*/ 21 h 298"/>
                <a:gd name="T12" fmla="*/ 85 w 277"/>
                <a:gd name="T13" fmla="*/ 21 h 298"/>
                <a:gd name="T14" fmla="*/ 85 w 277"/>
                <a:gd name="T15" fmla="*/ 10 h 298"/>
                <a:gd name="T16" fmla="*/ 75 w 277"/>
                <a:gd name="T17" fmla="*/ 0 h 298"/>
                <a:gd name="T18" fmla="*/ 64 w 277"/>
                <a:gd name="T19" fmla="*/ 10 h 298"/>
                <a:gd name="T20" fmla="*/ 64 w 277"/>
                <a:gd name="T21" fmla="*/ 21 h 298"/>
                <a:gd name="T22" fmla="*/ 11 w 277"/>
                <a:gd name="T23" fmla="*/ 21 h 298"/>
                <a:gd name="T24" fmla="*/ 0 w 277"/>
                <a:gd name="T25" fmla="*/ 32 h 298"/>
                <a:gd name="T26" fmla="*/ 0 w 277"/>
                <a:gd name="T27" fmla="*/ 288 h 298"/>
                <a:gd name="T28" fmla="*/ 11 w 277"/>
                <a:gd name="T29" fmla="*/ 298 h 298"/>
                <a:gd name="T30" fmla="*/ 267 w 277"/>
                <a:gd name="T31" fmla="*/ 298 h 298"/>
                <a:gd name="T32" fmla="*/ 277 w 277"/>
                <a:gd name="T33" fmla="*/ 288 h 298"/>
                <a:gd name="T34" fmla="*/ 277 w 277"/>
                <a:gd name="T35" fmla="*/ 32 h 298"/>
                <a:gd name="T36" fmla="*/ 267 w 277"/>
                <a:gd name="T37" fmla="*/ 21 h 298"/>
                <a:gd name="T38" fmla="*/ 256 w 277"/>
                <a:gd name="T39" fmla="*/ 277 h 298"/>
                <a:gd name="T40" fmla="*/ 21 w 277"/>
                <a:gd name="T41" fmla="*/ 277 h 298"/>
                <a:gd name="T42" fmla="*/ 21 w 277"/>
                <a:gd name="T43" fmla="*/ 42 h 298"/>
                <a:gd name="T44" fmla="*/ 64 w 277"/>
                <a:gd name="T45" fmla="*/ 42 h 298"/>
                <a:gd name="T46" fmla="*/ 64 w 277"/>
                <a:gd name="T47" fmla="*/ 53 h 298"/>
                <a:gd name="T48" fmla="*/ 75 w 277"/>
                <a:gd name="T49" fmla="*/ 64 h 298"/>
                <a:gd name="T50" fmla="*/ 85 w 277"/>
                <a:gd name="T51" fmla="*/ 53 h 298"/>
                <a:gd name="T52" fmla="*/ 85 w 277"/>
                <a:gd name="T53" fmla="*/ 42 h 298"/>
                <a:gd name="T54" fmla="*/ 192 w 277"/>
                <a:gd name="T55" fmla="*/ 42 h 298"/>
                <a:gd name="T56" fmla="*/ 192 w 277"/>
                <a:gd name="T57" fmla="*/ 53 h 298"/>
                <a:gd name="T58" fmla="*/ 203 w 277"/>
                <a:gd name="T59" fmla="*/ 64 h 298"/>
                <a:gd name="T60" fmla="*/ 213 w 277"/>
                <a:gd name="T61" fmla="*/ 53 h 298"/>
                <a:gd name="T62" fmla="*/ 213 w 277"/>
                <a:gd name="T63" fmla="*/ 42 h 298"/>
                <a:gd name="T64" fmla="*/ 256 w 277"/>
                <a:gd name="T65" fmla="*/ 42 h 298"/>
                <a:gd name="T66" fmla="*/ 256 w 277"/>
                <a:gd name="T67" fmla="*/ 277 h 298"/>
                <a:gd name="T68" fmla="*/ 184 w 277"/>
                <a:gd name="T69" fmla="*/ 130 h 298"/>
                <a:gd name="T70" fmla="*/ 154 w 277"/>
                <a:gd name="T71" fmla="*/ 160 h 298"/>
                <a:gd name="T72" fmla="*/ 184 w 277"/>
                <a:gd name="T73" fmla="*/ 190 h 298"/>
                <a:gd name="T74" fmla="*/ 184 w 277"/>
                <a:gd name="T75" fmla="*/ 205 h 298"/>
                <a:gd name="T76" fmla="*/ 176 w 277"/>
                <a:gd name="T77" fmla="*/ 208 h 298"/>
                <a:gd name="T78" fmla="*/ 169 w 277"/>
                <a:gd name="T79" fmla="*/ 205 h 298"/>
                <a:gd name="T80" fmla="*/ 139 w 277"/>
                <a:gd name="T81" fmla="*/ 175 h 298"/>
                <a:gd name="T82" fmla="*/ 108 w 277"/>
                <a:gd name="T83" fmla="*/ 205 h 298"/>
                <a:gd name="T84" fmla="*/ 101 w 277"/>
                <a:gd name="T85" fmla="*/ 208 h 298"/>
                <a:gd name="T86" fmla="*/ 93 w 277"/>
                <a:gd name="T87" fmla="*/ 205 h 298"/>
                <a:gd name="T88" fmla="*/ 93 w 277"/>
                <a:gd name="T89" fmla="*/ 190 h 298"/>
                <a:gd name="T90" fmla="*/ 124 w 277"/>
                <a:gd name="T91" fmla="*/ 160 h 298"/>
                <a:gd name="T92" fmla="*/ 93 w 277"/>
                <a:gd name="T93" fmla="*/ 130 h 298"/>
                <a:gd name="T94" fmla="*/ 93 w 277"/>
                <a:gd name="T95" fmla="*/ 114 h 298"/>
                <a:gd name="T96" fmla="*/ 108 w 277"/>
                <a:gd name="T97" fmla="*/ 114 h 298"/>
                <a:gd name="T98" fmla="*/ 139 w 277"/>
                <a:gd name="T99" fmla="*/ 145 h 298"/>
                <a:gd name="T100" fmla="*/ 169 w 277"/>
                <a:gd name="T101" fmla="*/ 114 h 298"/>
                <a:gd name="T102" fmla="*/ 184 w 277"/>
                <a:gd name="T103" fmla="*/ 114 h 298"/>
                <a:gd name="T104" fmla="*/ 184 w 277"/>
                <a:gd name="T105" fmla="*/ 13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184" y="130"/>
                  </a:moveTo>
                  <a:cubicBezTo>
                    <a:pt x="154" y="160"/>
                    <a:pt x="154" y="160"/>
                    <a:pt x="154" y="160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8" y="194"/>
                    <a:pt x="188" y="201"/>
                    <a:pt x="184" y="205"/>
                  </a:cubicBezTo>
                  <a:cubicBezTo>
                    <a:pt x="182" y="207"/>
                    <a:pt x="179" y="208"/>
                    <a:pt x="176" y="208"/>
                  </a:cubicBezTo>
                  <a:cubicBezTo>
                    <a:pt x="174" y="208"/>
                    <a:pt x="171" y="207"/>
                    <a:pt x="169" y="205"/>
                  </a:cubicBezTo>
                  <a:cubicBezTo>
                    <a:pt x="139" y="175"/>
                    <a:pt x="139" y="175"/>
                    <a:pt x="139" y="175"/>
                  </a:cubicBezTo>
                  <a:cubicBezTo>
                    <a:pt x="108" y="205"/>
                    <a:pt x="108" y="205"/>
                    <a:pt x="108" y="205"/>
                  </a:cubicBezTo>
                  <a:cubicBezTo>
                    <a:pt x="106" y="207"/>
                    <a:pt x="104" y="208"/>
                    <a:pt x="101" y="208"/>
                  </a:cubicBezTo>
                  <a:cubicBezTo>
                    <a:pt x="98" y="208"/>
                    <a:pt x="95" y="207"/>
                    <a:pt x="93" y="205"/>
                  </a:cubicBezTo>
                  <a:cubicBezTo>
                    <a:pt x="89" y="201"/>
                    <a:pt x="89" y="194"/>
                    <a:pt x="93" y="190"/>
                  </a:cubicBezTo>
                  <a:cubicBezTo>
                    <a:pt x="124" y="160"/>
                    <a:pt x="124" y="160"/>
                    <a:pt x="124" y="160"/>
                  </a:cubicBezTo>
                  <a:cubicBezTo>
                    <a:pt x="93" y="130"/>
                    <a:pt x="93" y="130"/>
                    <a:pt x="93" y="130"/>
                  </a:cubicBezTo>
                  <a:cubicBezTo>
                    <a:pt x="89" y="125"/>
                    <a:pt x="89" y="119"/>
                    <a:pt x="93" y="114"/>
                  </a:cubicBezTo>
                  <a:cubicBezTo>
                    <a:pt x="98" y="110"/>
                    <a:pt x="104" y="110"/>
                    <a:pt x="108" y="114"/>
                  </a:cubicBezTo>
                  <a:cubicBezTo>
                    <a:pt x="139" y="145"/>
                    <a:pt x="139" y="145"/>
                    <a:pt x="139" y="14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73" y="110"/>
                    <a:pt x="180" y="110"/>
                    <a:pt x="184" y="114"/>
                  </a:cubicBezTo>
                  <a:cubicBezTo>
                    <a:pt x="188" y="119"/>
                    <a:pt x="188" y="125"/>
                    <a:pt x="184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0" name="Freeform 787"/>
          <p:cNvSpPr>
            <a:spLocks noChangeAspect="1" noEditPoints="1"/>
          </p:cNvSpPr>
          <p:nvPr/>
        </p:nvSpPr>
        <p:spPr bwMode="auto">
          <a:xfrm>
            <a:off x="6403818" y="2914983"/>
            <a:ext cx="367982" cy="367982"/>
          </a:xfrm>
          <a:custGeom>
            <a:avLst/>
            <a:gdLst>
              <a:gd name="T0" fmla="*/ 330 w 512"/>
              <a:gd name="T1" fmla="*/ 149 h 512"/>
              <a:gd name="T2" fmla="*/ 320 w 512"/>
              <a:gd name="T3" fmla="*/ 160 h 512"/>
              <a:gd name="T4" fmla="*/ 309 w 512"/>
              <a:gd name="T5" fmla="*/ 149 h 512"/>
              <a:gd name="T6" fmla="*/ 309 w 512"/>
              <a:gd name="T7" fmla="*/ 138 h 512"/>
              <a:gd name="T8" fmla="*/ 202 w 512"/>
              <a:gd name="T9" fmla="*/ 138 h 512"/>
              <a:gd name="T10" fmla="*/ 202 w 512"/>
              <a:gd name="T11" fmla="*/ 149 h 512"/>
              <a:gd name="T12" fmla="*/ 192 w 512"/>
              <a:gd name="T13" fmla="*/ 160 h 512"/>
              <a:gd name="T14" fmla="*/ 181 w 512"/>
              <a:gd name="T15" fmla="*/ 149 h 512"/>
              <a:gd name="T16" fmla="*/ 181 w 512"/>
              <a:gd name="T17" fmla="*/ 138 h 512"/>
              <a:gd name="T18" fmla="*/ 138 w 512"/>
              <a:gd name="T19" fmla="*/ 138 h 512"/>
              <a:gd name="T20" fmla="*/ 138 w 512"/>
              <a:gd name="T21" fmla="*/ 373 h 512"/>
              <a:gd name="T22" fmla="*/ 373 w 512"/>
              <a:gd name="T23" fmla="*/ 373 h 512"/>
              <a:gd name="T24" fmla="*/ 373 w 512"/>
              <a:gd name="T25" fmla="*/ 138 h 512"/>
              <a:gd name="T26" fmla="*/ 330 w 512"/>
              <a:gd name="T27" fmla="*/ 138 h 512"/>
              <a:gd name="T28" fmla="*/ 330 w 512"/>
              <a:gd name="T29" fmla="*/ 149 h 512"/>
              <a:gd name="T30" fmla="*/ 309 w 512"/>
              <a:gd name="T31" fmla="*/ 266 h 512"/>
              <a:gd name="T32" fmla="*/ 266 w 512"/>
              <a:gd name="T33" fmla="*/ 266 h 512"/>
              <a:gd name="T34" fmla="*/ 266 w 512"/>
              <a:gd name="T35" fmla="*/ 309 h 512"/>
              <a:gd name="T36" fmla="*/ 256 w 512"/>
              <a:gd name="T37" fmla="*/ 320 h 512"/>
              <a:gd name="T38" fmla="*/ 245 w 512"/>
              <a:gd name="T39" fmla="*/ 309 h 512"/>
              <a:gd name="T40" fmla="*/ 245 w 512"/>
              <a:gd name="T41" fmla="*/ 266 h 512"/>
              <a:gd name="T42" fmla="*/ 202 w 512"/>
              <a:gd name="T43" fmla="*/ 266 h 512"/>
              <a:gd name="T44" fmla="*/ 192 w 512"/>
              <a:gd name="T45" fmla="*/ 256 h 512"/>
              <a:gd name="T46" fmla="*/ 202 w 512"/>
              <a:gd name="T47" fmla="*/ 245 h 512"/>
              <a:gd name="T48" fmla="*/ 245 w 512"/>
              <a:gd name="T49" fmla="*/ 245 h 512"/>
              <a:gd name="T50" fmla="*/ 245 w 512"/>
              <a:gd name="T51" fmla="*/ 202 h 512"/>
              <a:gd name="T52" fmla="*/ 256 w 512"/>
              <a:gd name="T53" fmla="*/ 192 h 512"/>
              <a:gd name="T54" fmla="*/ 266 w 512"/>
              <a:gd name="T55" fmla="*/ 202 h 512"/>
              <a:gd name="T56" fmla="*/ 266 w 512"/>
              <a:gd name="T57" fmla="*/ 245 h 512"/>
              <a:gd name="T58" fmla="*/ 309 w 512"/>
              <a:gd name="T59" fmla="*/ 245 h 512"/>
              <a:gd name="T60" fmla="*/ 320 w 512"/>
              <a:gd name="T61" fmla="*/ 256 h 512"/>
              <a:gd name="T62" fmla="*/ 309 w 512"/>
              <a:gd name="T63" fmla="*/ 266 h 512"/>
              <a:gd name="T64" fmla="*/ 256 w 512"/>
              <a:gd name="T65" fmla="*/ 0 h 512"/>
              <a:gd name="T66" fmla="*/ 0 w 512"/>
              <a:gd name="T67" fmla="*/ 256 h 512"/>
              <a:gd name="T68" fmla="*/ 256 w 512"/>
              <a:gd name="T69" fmla="*/ 512 h 512"/>
              <a:gd name="T70" fmla="*/ 512 w 512"/>
              <a:gd name="T71" fmla="*/ 256 h 512"/>
              <a:gd name="T72" fmla="*/ 256 w 512"/>
              <a:gd name="T73" fmla="*/ 0 h 512"/>
              <a:gd name="T74" fmla="*/ 394 w 512"/>
              <a:gd name="T75" fmla="*/ 384 h 512"/>
              <a:gd name="T76" fmla="*/ 384 w 512"/>
              <a:gd name="T77" fmla="*/ 394 h 512"/>
              <a:gd name="T78" fmla="*/ 128 w 512"/>
              <a:gd name="T79" fmla="*/ 394 h 512"/>
              <a:gd name="T80" fmla="*/ 117 w 512"/>
              <a:gd name="T81" fmla="*/ 384 h 512"/>
              <a:gd name="T82" fmla="*/ 117 w 512"/>
              <a:gd name="T83" fmla="*/ 128 h 512"/>
              <a:gd name="T84" fmla="*/ 128 w 512"/>
              <a:gd name="T85" fmla="*/ 117 h 512"/>
              <a:gd name="T86" fmla="*/ 181 w 512"/>
              <a:gd name="T87" fmla="*/ 117 h 512"/>
              <a:gd name="T88" fmla="*/ 181 w 512"/>
              <a:gd name="T89" fmla="*/ 106 h 512"/>
              <a:gd name="T90" fmla="*/ 192 w 512"/>
              <a:gd name="T91" fmla="*/ 96 h 512"/>
              <a:gd name="T92" fmla="*/ 202 w 512"/>
              <a:gd name="T93" fmla="*/ 106 h 512"/>
              <a:gd name="T94" fmla="*/ 202 w 512"/>
              <a:gd name="T95" fmla="*/ 117 h 512"/>
              <a:gd name="T96" fmla="*/ 309 w 512"/>
              <a:gd name="T97" fmla="*/ 117 h 512"/>
              <a:gd name="T98" fmla="*/ 309 w 512"/>
              <a:gd name="T99" fmla="*/ 106 h 512"/>
              <a:gd name="T100" fmla="*/ 320 w 512"/>
              <a:gd name="T101" fmla="*/ 96 h 512"/>
              <a:gd name="T102" fmla="*/ 330 w 512"/>
              <a:gd name="T103" fmla="*/ 106 h 512"/>
              <a:gd name="T104" fmla="*/ 330 w 512"/>
              <a:gd name="T105" fmla="*/ 117 h 512"/>
              <a:gd name="T106" fmla="*/ 384 w 512"/>
              <a:gd name="T107" fmla="*/ 117 h 512"/>
              <a:gd name="T108" fmla="*/ 394 w 512"/>
              <a:gd name="T109" fmla="*/ 128 h 512"/>
              <a:gd name="T110" fmla="*/ 394 w 512"/>
              <a:gd name="T111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309" y="266"/>
                </a:moveTo>
                <a:cubicBezTo>
                  <a:pt x="266" y="266"/>
                  <a:pt x="266" y="266"/>
                  <a:pt x="266" y="266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6" y="315"/>
                  <a:pt x="262" y="320"/>
                  <a:pt x="256" y="320"/>
                </a:cubicBezTo>
                <a:cubicBezTo>
                  <a:pt x="250" y="320"/>
                  <a:pt x="245" y="315"/>
                  <a:pt x="245" y="309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02" y="266"/>
                  <a:pt x="202" y="266"/>
                  <a:pt x="202" y="266"/>
                </a:cubicBezTo>
                <a:cubicBezTo>
                  <a:pt x="196" y="266"/>
                  <a:pt x="192" y="262"/>
                  <a:pt x="192" y="256"/>
                </a:cubicBezTo>
                <a:cubicBezTo>
                  <a:pt x="192" y="250"/>
                  <a:pt x="196" y="245"/>
                  <a:pt x="202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196"/>
                  <a:pt x="250" y="192"/>
                  <a:pt x="256" y="192"/>
                </a:cubicBezTo>
                <a:cubicBezTo>
                  <a:pt x="262" y="192"/>
                  <a:pt x="266" y="196"/>
                  <a:pt x="266" y="202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15" y="245"/>
                  <a:pt x="320" y="250"/>
                  <a:pt x="320" y="256"/>
                </a:cubicBezTo>
                <a:cubicBezTo>
                  <a:pt x="320" y="262"/>
                  <a:pt x="315" y="266"/>
                  <a:pt x="309" y="26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1" name="Group 790"/>
          <p:cNvGrpSpPr>
            <a:grpSpLocks noChangeAspect="1"/>
          </p:cNvGrpSpPr>
          <p:nvPr/>
        </p:nvGrpSpPr>
        <p:grpSpPr bwMode="auto">
          <a:xfrm>
            <a:off x="6900925" y="2914983"/>
            <a:ext cx="367982" cy="367982"/>
            <a:chOff x="3489" y="3105"/>
            <a:chExt cx="340" cy="340"/>
          </a:xfrm>
          <a:solidFill>
            <a:schemeClr val="accent3"/>
          </a:solidFill>
        </p:grpSpPr>
        <p:sp>
          <p:nvSpPr>
            <p:cNvPr id="322" name="Freeform 321"/>
            <p:cNvSpPr>
              <a:spLocks noEditPoints="1"/>
            </p:cNvSpPr>
            <p:nvPr/>
          </p:nvSpPr>
          <p:spPr bwMode="auto">
            <a:xfrm>
              <a:off x="3489" y="310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322"/>
            <p:cNvSpPr>
              <a:spLocks noEditPoints="1"/>
            </p:cNvSpPr>
            <p:nvPr/>
          </p:nvSpPr>
          <p:spPr bwMode="auto">
            <a:xfrm>
              <a:off x="3567" y="3169"/>
              <a:ext cx="184" cy="198"/>
            </a:xfrm>
            <a:custGeom>
              <a:avLst/>
              <a:gdLst>
                <a:gd name="T0" fmla="*/ 267 w 277"/>
                <a:gd name="T1" fmla="*/ 21 h 298"/>
                <a:gd name="T2" fmla="*/ 213 w 277"/>
                <a:gd name="T3" fmla="*/ 21 h 298"/>
                <a:gd name="T4" fmla="*/ 213 w 277"/>
                <a:gd name="T5" fmla="*/ 10 h 298"/>
                <a:gd name="T6" fmla="*/ 203 w 277"/>
                <a:gd name="T7" fmla="*/ 0 h 298"/>
                <a:gd name="T8" fmla="*/ 192 w 277"/>
                <a:gd name="T9" fmla="*/ 10 h 298"/>
                <a:gd name="T10" fmla="*/ 192 w 277"/>
                <a:gd name="T11" fmla="*/ 21 h 298"/>
                <a:gd name="T12" fmla="*/ 85 w 277"/>
                <a:gd name="T13" fmla="*/ 21 h 298"/>
                <a:gd name="T14" fmla="*/ 85 w 277"/>
                <a:gd name="T15" fmla="*/ 10 h 298"/>
                <a:gd name="T16" fmla="*/ 75 w 277"/>
                <a:gd name="T17" fmla="*/ 0 h 298"/>
                <a:gd name="T18" fmla="*/ 64 w 277"/>
                <a:gd name="T19" fmla="*/ 10 h 298"/>
                <a:gd name="T20" fmla="*/ 64 w 277"/>
                <a:gd name="T21" fmla="*/ 21 h 298"/>
                <a:gd name="T22" fmla="*/ 11 w 277"/>
                <a:gd name="T23" fmla="*/ 21 h 298"/>
                <a:gd name="T24" fmla="*/ 0 w 277"/>
                <a:gd name="T25" fmla="*/ 32 h 298"/>
                <a:gd name="T26" fmla="*/ 0 w 277"/>
                <a:gd name="T27" fmla="*/ 288 h 298"/>
                <a:gd name="T28" fmla="*/ 11 w 277"/>
                <a:gd name="T29" fmla="*/ 298 h 298"/>
                <a:gd name="T30" fmla="*/ 267 w 277"/>
                <a:gd name="T31" fmla="*/ 298 h 298"/>
                <a:gd name="T32" fmla="*/ 277 w 277"/>
                <a:gd name="T33" fmla="*/ 288 h 298"/>
                <a:gd name="T34" fmla="*/ 277 w 277"/>
                <a:gd name="T35" fmla="*/ 32 h 298"/>
                <a:gd name="T36" fmla="*/ 267 w 277"/>
                <a:gd name="T37" fmla="*/ 21 h 298"/>
                <a:gd name="T38" fmla="*/ 256 w 277"/>
                <a:gd name="T39" fmla="*/ 277 h 298"/>
                <a:gd name="T40" fmla="*/ 21 w 277"/>
                <a:gd name="T41" fmla="*/ 277 h 298"/>
                <a:gd name="T42" fmla="*/ 21 w 277"/>
                <a:gd name="T43" fmla="*/ 42 h 298"/>
                <a:gd name="T44" fmla="*/ 64 w 277"/>
                <a:gd name="T45" fmla="*/ 42 h 298"/>
                <a:gd name="T46" fmla="*/ 64 w 277"/>
                <a:gd name="T47" fmla="*/ 53 h 298"/>
                <a:gd name="T48" fmla="*/ 75 w 277"/>
                <a:gd name="T49" fmla="*/ 64 h 298"/>
                <a:gd name="T50" fmla="*/ 85 w 277"/>
                <a:gd name="T51" fmla="*/ 53 h 298"/>
                <a:gd name="T52" fmla="*/ 85 w 277"/>
                <a:gd name="T53" fmla="*/ 42 h 298"/>
                <a:gd name="T54" fmla="*/ 192 w 277"/>
                <a:gd name="T55" fmla="*/ 42 h 298"/>
                <a:gd name="T56" fmla="*/ 192 w 277"/>
                <a:gd name="T57" fmla="*/ 53 h 298"/>
                <a:gd name="T58" fmla="*/ 203 w 277"/>
                <a:gd name="T59" fmla="*/ 64 h 298"/>
                <a:gd name="T60" fmla="*/ 213 w 277"/>
                <a:gd name="T61" fmla="*/ 53 h 298"/>
                <a:gd name="T62" fmla="*/ 213 w 277"/>
                <a:gd name="T63" fmla="*/ 42 h 298"/>
                <a:gd name="T64" fmla="*/ 256 w 277"/>
                <a:gd name="T65" fmla="*/ 42 h 298"/>
                <a:gd name="T66" fmla="*/ 256 w 277"/>
                <a:gd name="T67" fmla="*/ 277 h 298"/>
                <a:gd name="T68" fmla="*/ 203 w 277"/>
                <a:gd name="T69" fmla="*/ 160 h 298"/>
                <a:gd name="T70" fmla="*/ 192 w 277"/>
                <a:gd name="T71" fmla="*/ 170 h 298"/>
                <a:gd name="T72" fmla="*/ 149 w 277"/>
                <a:gd name="T73" fmla="*/ 170 h 298"/>
                <a:gd name="T74" fmla="*/ 149 w 277"/>
                <a:gd name="T75" fmla="*/ 213 h 298"/>
                <a:gd name="T76" fmla="*/ 139 w 277"/>
                <a:gd name="T77" fmla="*/ 224 h 298"/>
                <a:gd name="T78" fmla="*/ 128 w 277"/>
                <a:gd name="T79" fmla="*/ 213 h 298"/>
                <a:gd name="T80" fmla="*/ 128 w 277"/>
                <a:gd name="T81" fmla="*/ 170 h 298"/>
                <a:gd name="T82" fmla="*/ 85 w 277"/>
                <a:gd name="T83" fmla="*/ 170 h 298"/>
                <a:gd name="T84" fmla="*/ 75 w 277"/>
                <a:gd name="T85" fmla="*/ 160 h 298"/>
                <a:gd name="T86" fmla="*/ 85 w 277"/>
                <a:gd name="T87" fmla="*/ 149 h 298"/>
                <a:gd name="T88" fmla="*/ 128 w 277"/>
                <a:gd name="T89" fmla="*/ 149 h 298"/>
                <a:gd name="T90" fmla="*/ 128 w 277"/>
                <a:gd name="T91" fmla="*/ 106 h 298"/>
                <a:gd name="T92" fmla="*/ 139 w 277"/>
                <a:gd name="T93" fmla="*/ 96 h 298"/>
                <a:gd name="T94" fmla="*/ 149 w 277"/>
                <a:gd name="T95" fmla="*/ 106 h 298"/>
                <a:gd name="T96" fmla="*/ 149 w 277"/>
                <a:gd name="T97" fmla="*/ 149 h 298"/>
                <a:gd name="T98" fmla="*/ 192 w 277"/>
                <a:gd name="T99" fmla="*/ 149 h 298"/>
                <a:gd name="T100" fmla="*/ 203 w 277"/>
                <a:gd name="T101" fmla="*/ 16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203" y="160"/>
                  </a:moveTo>
                  <a:cubicBezTo>
                    <a:pt x="203" y="166"/>
                    <a:pt x="198" y="170"/>
                    <a:pt x="192" y="170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19"/>
                    <a:pt x="145" y="224"/>
                    <a:pt x="139" y="224"/>
                  </a:cubicBezTo>
                  <a:cubicBezTo>
                    <a:pt x="133" y="224"/>
                    <a:pt x="128" y="219"/>
                    <a:pt x="128" y="213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79" y="170"/>
                    <a:pt x="75" y="166"/>
                    <a:pt x="75" y="160"/>
                  </a:cubicBezTo>
                  <a:cubicBezTo>
                    <a:pt x="75" y="154"/>
                    <a:pt x="79" y="149"/>
                    <a:pt x="85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8" y="149"/>
                    <a:pt x="203" y="154"/>
                    <a:pt x="20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4" name="Freeform 796"/>
          <p:cNvSpPr>
            <a:spLocks noChangeAspect="1" noEditPoints="1"/>
          </p:cNvSpPr>
          <p:nvPr/>
        </p:nvSpPr>
        <p:spPr bwMode="auto">
          <a:xfrm>
            <a:off x="7398032" y="2914983"/>
            <a:ext cx="367982" cy="36906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4 w 512"/>
              <a:gd name="T11" fmla="*/ 384 h 512"/>
              <a:gd name="T12" fmla="*/ 384 w 512"/>
              <a:gd name="T13" fmla="*/ 394 h 512"/>
              <a:gd name="T14" fmla="*/ 128 w 512"/>
              <a:gd name="T15" fmla="*/ 394 h 512"/>
              <a:gd name="T16" fmla="*/ 117 w 512"/>
              <a:gd name="T17" fmla="*/ 384 h 512"/>
              <a:gd name="T18" fmla="*/ 117 w 512"/>
              <a:gd name="T19" fmla="*/ 128 h 512"/>
              <a:gd name="T20" fmla="*/ 128 w 512"/>
              <a:gd name="T21" fmla="*/ 117 h 512"/>
              <a:gd name="T22" fmla="*/ 181 w 512"/>
              <a:gd name="T23" fmla="*/ 117 h 512"/>
              <a:gd name="T24" fmla="*/ 181 w 512"/>
              <a:gd name="T25" fmla="*/ 106 h 512"/>
              <a:gd name="T26" fmla="*/ 192 w 512"/>
              <a:gd name="T27" fmla="*/ 96 h 512"/>
              <a:gd name="T28" fmla="*/ 202 w 512"/>
              <a:gd name="T29" fmla="*/ 106 h 512"/>
              <a:gd name="T30" fmla="*/ 202 w 512"/>
              <a:gd name="T31" fmla="*/ 117 h 512"/>
              <a:gd name="T32" fmla="*/ 309 w 512"/>
              <a:gd name="T33" fmla="*/ 117 h 512"/>
              <a:gd name="T34" fmla="*/ 309 w 512"/>
              <a:gd name="T35" fmla="*/ 106 h 512"/>
              <a:gd name="T36" fmla="*/ 320 w 512"/>
              <a:gd name="T37" fmla="*/ 96 h 512"/>
              <a:gd name="T38" fmla="*/ 330 w 512"/>
              <a:gd name="T39" fmla="*/ 106 h 512"/>
              <a:gd name="T40" fmla="*/ 330 w 512"/>
              <a:gd name="T41" fmla="*/ 117 h 512"/>
              <a:gd name="T42" fmla="*/ 384 w 512"/>
              <a:gd name="T43" fmla="*/ 117 h 512"/>
              <a:gd name="T44" fmla="*/ 394 w 512"/>
              <a:gd name="T45" fmla="*/ 128 h 512"/>
              <a:gd name="T46" fmla="*/ 394 w 512"/>
              <a:gd name="T47" fmla="*/ 384 h 512"/>
              <a:gd name="T48" fmla="*/ 330 w 512"/>
              <a:gd name="T49" fmla="*/ 149 h 512"/>
              <a:gd name="T50" fmla="*/ 320 w 512"/>
              <a:gd name="T51" fmla="*/ 160 h 512"/>
              <a:gd name="T52" fmla="*/ 309 w 512"/>
              <a:gd name="T53" fmla="*/ 149 h 512"/>
              <a:gd name="T54" fmla="*/ 309 w 512"/>
              <a:gd name="T55" fmla="*/ 138 h 512"/>
              <a:gd name="T56" fmla="*/ 202 w 512"/>
              <a:gd name="T57" fmla="*/ 138 h 512"/>
              <a:gd name="T58" fmla="*/ 202 w 512"/>
              <a:gd name="T59" fmla="*/ 149 h 512"/>
              <a:gd name="T60" fmla="*/ 192 w 512"/>
              <a:gd name="T61" fmla="*/ 160 h 512"/>
              <a:gd name="T62" fmla="*/ 181 w 512"/>
              <a:gd name="T63" fmla="*/ 149 h 512"/>
              <a:gd name="T64" fmla="*/ 181 w 512"/>
              <a:gd name="T65" fmla="*/ 138 h 512"/>
              <a:gd name="T66" fmla="*/ 138 w 512"/>
              <a:gd name="T67" fmla="*/ 138 h 512"/>
              <a:gd name="T68" fmla="*/ 138 w 512"/>
              <a:gd name="T69" fmla="*/ 373 h 512"/>
              <a:gd name="T70" fmla="*/ 373 w 512"/>
              <a:gd name="T71" fmla="*/ 373 h 512"/>
              <a:gd name="T72" fmla="*/ 373 w 512"/>
              <a:gd name="T73" fmla="*/ 138 h 512"/>
              <a:gd name="T74" fmla="*/ 330 w 512"/>
              <a:gd name="T75" fmla="*/ 138 h 512"/>
              <a:gd name="T76" fmla="*/ 330 w 512"/>
              <a:gd name="T77" fmla="*/ 149 h 512"/>
              <a:gd name="T78" fmla="*/ 327 w 512"/>
              <a:gd name="T79" fmla="*/ 221 h 512"/>
              <a:gd name="T80" fmla="*/ 242 w 512"/>
              <a:gd name="T81" fmla="*/ 306 h 512"/>
              <a:gd name="T82" fmla="*/ 234 w 512"/>
              <a:gd name="T83" fmla="*/ 309 h 512"/>
              <a:gd name="T84" fmla="*/ 227 w 512"/>
              <a:gd name="T85" fmla="*/ 306 h 512"/>
              <a:gd name="T86" fmla="*/ 184 w 512"/>
              <a:gd name="T87" fmla="*/ 263 h 512"/>
              <a:gd name="T88" fmla="*/ 184 w 512"/>
              <a:gd name="T89" fmla="*/ 248 h 512"/>
              <a:gd name="T90" fmla="*/ 199 w 512"/>
              <a:gd name="T91" fmla="*/ 248 h 512"/>
              <a:gd name="T92" fmla="*/ 234 w 512"/>
              <a:gd name="T93" fmla="*/ 283 h 512"/>
              <a:gd name="T94" fmla="*/ 312 w 512"/>
              <a:gd name="T95" fmla="*/ 205 h 512"/>
              <a:gd name="T96" fmla="*/ 327 w 512"/>
              <a:gd name="T97" fmla="*/ 205 h 512"/>
              <a:gd name="T98" fmla="*/ 327 w 512"/>
              <a:gd name="T9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327" y="221"/>
                </a:moveTo>
                <a:cubicBezTo>
                  <a:pt x="242" y="306"/>
                  <a:pt x="242" y="306"/>
                  <a:pt x="242" y="306"/>
                </a:cubicBezTo>
                <a:cubicBezTo>
                  <a:pt x="240" y="308"/>
                  <a:pt x="237" y="309"/>
                  <a:pt x="234" y="309"/>
                </a:cubicBezTo>
                <a:cubicBezTo>
                  <a:pt x="232" y="309"/>
                  <a:pt x="229" y="308"/>
                  <a:pt x="227" y="306"/>
                </a:cubicBezTo>
                <a:cubicBezTo>
                  <a:pt x="184" y="263"/>
                  <a:pt x="184" y="263"/>
                  <a:pt x="184" y="263"/>
                </a:cubicBezTo>
                <a:cubicBezTo>
                  <a:pt x="180" y="259"/>
                  <a:pt x="180" y="252"/>
                  <a:pt x="184" y="248"/>
                </a:cubicBezTo>
                <a:cubicBezTo>
                  <a:pt x="188" y="244"/>
                  <a:pt x="195" y="244"/>
                  <a:pt x="199" y="248"/>
                </a:cubicBezTo>
                <a:cubicBezTo>
                  <a:pt x="234" y="283"/>
                  <a:pt x="234" y="283"/>
                  <a:pt x="234" y="283"/>
                </a:cubicBezTo>
                <a:cubicBezTo>
                  <a:pt x="312" y="205"/>
                  <a:pt x="312" y="205"/>
                  <a:pt x="312" y="205"/>
                </a:cubicBezTo>
                <a:cubicBezTo>
                  <a:pt x="316" y="201"/>
                  <a:pt x="323" y="201"/>
                  <a:pt x="327" y="205"/>
                </a:cubicBezTo>
                <a:cubicBezTo>
                  <a:pt x="331" y="210"/>
                  <a:pt x="331" y="216"/>
                  <a:pt x="327" y="2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5" name="Group 799"/>
          <p:cNvGrpSpPr>
            <a:grpSpLocks noChangeAspect="1"/>
          </p:cNvGrpSpPr>
          <p:nvPr/>
        </p:nvGrpSpPr>
        <p:grpSpPr bwMode="auto">
          <a:xfrm>
            <a:off x="7895139" y="2914983"/>
            <a:ext cx="367982" cy="367982"/>
            <a:chOff x="5187" y="3469"/>
            <a:chExt cx="340" cy="340"/>
          </a:xfrm>
          <a:solidFill>
            <a:schemeClr val="accent4"/>
          </a:solidFill>
        </p:grpSpPr>
        <p:sp>
          <p:nvSpPr>
            <p:cNvPr id="326" name="Freeform 800"/>
            <p:cNvSpPr>
              <a:spLocks noEditPoints="1"/>
            </p:cNvSpPr>
            <p:nvPr/>
          </p:nvSpPr>
          <p:spPr bwMode="auto">
            <a:xfrm>
              <a:off x="5187" y="346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801"/>
            <p:cNvSpPr>
              <a:spLocks noEditPoints="1"/>
            </p:cNvSpPr>
            <p:nvPr/>
          </p:nvSpPr>
          <p:spPr bwMode="auto">
            <a:xfrm>
              <a:off x="5265" y="3533"/>
              <a:ext cx="184" cy="198"/>
            </a:xfrm>
            <a:custGeom>
              <a:avLst/>
              <a:gdLst>
                <a:gd name="T0" fmla="*/ 267 w 277"/>
                <a:gd name="T1" fmla="*/ 21 h 298"/>
                <a:gd name="T2" fmla="*/ 213 w 277"/>
                <a:gd name="T3" fmla="*/ 21 h 298"/>
                <a:gd name="T4" fmla="*/ 213 w 277"/>
                <a:gd name="T5" fmla="*/ 10 h 298"/>
                <a:gd name="T6" fmla="*/ 203 w 277"/>
                <a:gd name="T7" fmla="*/ 0 h 298"/>
                <a:gd name="T8" fmla="*/ 192 w 277"/>
                <a:gd name="T9" fmla="*/ 10 h 298"/>
                <a:gd name="T10" fmla="*/ 192 w 277"/>
                <a:gd name="T11" fmla="*/ 21 h 298"/>
                <a:gd name="T12" fmla="*/ 85 w 277"/>
                <a:gd name="T13" fmla="*/ 21 h 298"/>
                <a:gd name="T14" fmla="*/ 85 w 277"/>
                <a:gd name="T15" fmla="*/ 10 h 298"/>
                <a:gd name="T16" fmla="*/ 75 w 277"/>
                <a:gd name="T17" fmla="*/ 0 h 298"/>
                <a:gd name="T18" fmla="*/ 64 w 277"/>
                <a:gd name="T19" fmla="*/ 10 h 298"/>
                <a:gd name="T20" fmla="*/ 64 w 277"/>
                <a:gd name="T21" fmla="*/ 21 h 298"/>
                <a:gd name="T22" fmla="*/ 11 w 277"/>
                <a:gd name="T23" fmla="*/ 21 h 298"/>
                <a:gd name="T24" fmla="*/ 0 w 277"/>
                <a:gd name="T25" fmla="*/ 32 h 298"/>
                <a:gd name="T26" fmla="*/ 0 w 277"/>
                <a:gd name="T27" fmla="*/ 288 h 298"/>
                <a:gd name="T28" fmla="*/ 11 w 277"/>
                <a:gd name="T29" fmla="*/ 298 h 298"/>
                <a:gd name="T30" fmla="*/ 267 w 277"/>
                <a:gd name="T31" fmla="*/ 298 h 298"/>
                <a:gd name="T32" fmla="*/ 277 w 277"/>
                <a:gd name="T33" fmla="*/ 288 h 298"/>
                <a:gd name="T34" fmla="*/ 277 w 277"/>
                <a:gd name="T35" fmla="*/ 32 h 298"/>
                <a:gd name="T36" fmla="*/ 267 w 277"/>
                <a:gd name="T37" fmla="*/ 21 h 298"/>
                <a:gd name="T38" fmla="*/ 256 w 277"/>
                <a:gd name="T39" fmla="*/ 277 h 298"/>
                <a:gd name="T40" fmla="*/ 21 w 277"/>
                <a:gd name="T41" fmla="*/ 277 h 298"/>
                <a:gd name="T42" fmla="*/ 21 w 277"/>
                <a:gd name="T43" fmla="*/ 42 h 298"/>
                <a:gd name="T44" fmla="*/ 64 w 277"/>
                <a:gd name="T45" fmla="*/ 42 h 298"/>
                <a:gd name="T46" fmla="*/ 64 w 277"/>
                <a:gd name="T47" fmla="*/ 53 h 298"/>
                <a:gd name="T48" fmla="*/ 75 w 277"/>
                <a:gd name="T49" fmla="*/ 64 h 298"/>
                <a:gd name="T50" fmla="*/ 85 w 277"/>
                <a:gd name="T51" fmla="*/ 53 h 298"/>
                <a:gd name="T52" fmla="*/ 85 w 277"/>
                <a:gd name="T53" fmla="*/ 42 h 298"/>
                <a:gd name="T54" fmla="*/ 192 w 277"/>
                <a:gd name="T55" fmla="*/ 42 h 298"/>
                <a:gd name="T56" fmla="*/ 192 w 277"/>
                <a:gd name="T57" fmla="*/ 53 h 298"/>
                <a:gd name="T58" fmla="*/ 203 w 277"/>
                <a:gd name="T59" fmla="*/ 64 h 298"/>
                <a:gd name="T60" fmla="*/ 213 w 277"/>
                <a:gd name="T61" fmla="*/ 53 h 298"/>
                <a:gd name="T62" fmla="*/ 213 w 277"/>
                <a:gd name="T63" fmla="*/ 42 h 298"/>
                <a:gd name="T64" fmla="*/ 256 w 277"/>
                <a:gd name="T65" fmla="*/ 42 h 298"/>
                <a:gd name="T66" fmla="*/ 256 w 277"/>
                <a:gd name="T67" fmla="*/ 277 h 298"/>
                <a:gd name="T68" fmla="*/ 210 w 277"/>
                <a:gd name="T69" fmla="*/ 109 h 298"/>
                <a:gd name="T70" fmla="*/ 210 w 277"/>
                <a:gd name="T71" fmla="*/ 125 h 298"/>
                <a:gd name="T72" fmla="*/ 125 w 277"/>
                <a:gd name="T73" fmla="*/ 210 h 298"/>
                <a:gd name="T74" fmla="*/ 117 w 277"/>
                <a:gd name="T75" fmla="*/ 213 h 298"/>
                <a:gd name="T76" fmla="*/ 110 w 277"/>
                <a:gd name="T77" fmla="*/ 210 h 298"/>
                <a:gd name="T78" fmla="*/ 67 w 277"/>
                <a:gd name="T79" fmla="*/ 167 h 298"/>
                <a:gd name="T80" fmla="*/ 67 w 277"/>
                <a:gd name="T81" fmla="*/ 152 h 298"/>
                <a:gd name="T82" fmla="*/ 82 w 277"/>
                <a:gd name="T83" fmla="*/ 152 h 298"/>
                <a:gd name="T84" fmla="*/ 117 w 277"/>
                <a:gd name="T85" fmla="*/ 187 h 298"/>
                <a:gd name="T86" fmla="*/ 195 w 277"/>
                <a:gd name="T87" fmla="*/ 109 h 298"/>
                <a:gd name="T88" fmla="*/ 210 w 277"/>
                <a:gd name="T89" fmla="*/ 10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210" y="109"/>
                  </a:moveTo>
                  <a:cubicBezTo>
                    <a:pt x="214" y="114"/>
                    <a:pt x="214" y="120"/>
                    <a:pt x="210" y="125"/>
                  </a:cubicBezTo>
                  <a:cubicBezTo>
                    <a:pt x="125" y="210"/>
                    <a:pt x="125" y="210"/>
                    <a:pt x="125" y="210"/>
                  </a:cubicBezTo>
                  <a:cubicBezTo>
                    <a:pt x="123" y="212"/>
                    <a:pt x="120" y="213"/>
                    <a:pt x="117" y="213"/>
                  </a:cubicBezTo>
                  <a:cubicBezTo>
                    <a:pt x="115" y="213"/>
                    <a:pt x="112" y="212"/>
                    <a:pt x="110" y="210"/>
                  </a:cubicBezTo>
                  <a:cubicBezTo>
                    <a:pt x="67" y="167"/>
                    <a:pt x="67" y="167"/>
                    <a:pt x="67" y="167"/>
                  </a:cubicBezTo>
                  <a:cubicBezTo>
                    <a:pt x="63" y="163"/>
                    <a:pt x="63" y="156"/>
                    <a:pt x="67" y="152"/>
                  </a:cubicBezTo>
                  <a:cubicBezTo>
                    <a:pt x="71" y="148"/>
                    <a:pt x="78" y="148"/>
                    <a:pt x="82" y="152"/>
                  </a:cubicBezTo>
                  <a:cubicBezTo>
                    <a:pt x="117" y="187"/>
                    <a:pt x="117" y="187"/>
                    <a:pt x="117" y="187"/>
                  </a:cubicBezTo>
                  <a:cubicBezTo>
                    <a:pt x="195" y="109"/>
                    <a:pt x="195" y="109"/>
                    <a:pt x="195" y="109"/>
                  </a:cubicBezTo>
                  <a:cubicBezTo>
                    <a:pt x="199" y="105"/>
                    <a:pt x="206" y="105"/>
                    <a:pt x="21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8" name="Freeform 805"/>
          <p:cNvSpPr>
            <a:spLocks noChangeAspect="1" noEditPoints="1"/>
          </p:cNvSpPr>
          <p:nvPr/>
        </p:nvSpPr>
        <p:spPr bwMode="auto">
          <a:xfrm>
            <a:off x="8392246" y="2914983"/>
            <a:ext cx="367982" cy="367982"/>
          </a:xfrm>
          <a:custGeom>
            <a:avLst/>
            <a:gdLst>
              <a:gd name="T0" fmla="*/ 309 w 512"/>
              <a:gd name="T1" fmla="*/ 149 h 512"/>
              <a:gd name="T2" fmla="*/ 202 w 512"/>
              <a:gd name="T3" fmla="*/ 149 h 512"/>
              <a:gd name="T4" fmla="*/ 181 w 512"/>
              <a:gd name="T5" fmla="*/ 138 h 512"/>
              <a:gd name="T6" fmla="*/ 373 w 512"/>
              <a:gd name="T7" fmla="*/ 373 h 512"/>
              <a:gd name="T8" fmla="*/ 330 w 512"/>
              <a:gd name="T9" fmla="*/ 149 h 512"/>
              <a:gd name="T10" fmla="*/ 170 w 512"/>
              <a:gd name="T11" fmla="*/ 320 h 512"/>
              <a:gd name="T12" fmla="*/ 170 w 512"/>
              <a:gd name="T13" fmla="*/ 298 h 512"/>
              <a:gd name="T14" fmla="*/ 181 w 512"/>
              <a:gd name="T15" fmla="*/ 288 h 512"/>
              <a:gd name="T16" fmla="*/ 160 w 512"/>
              <a:gd name="T17" fmla="*/ 245 h 512"/>
              <a:gd name="T18" fmla="*/ 170 w 512"/>
              <a:gd name="T19" fmla="*/ 256 h 512"/>
              <a:gd name="T20" fmla="*/ 170 w 512"/>
              <a:gd name="T21" fmla="*/ 192 h 512"/>
              <a:gd name="T22" fmla="*/ 213 w 512"/>
              <a:gd name="T23" fmla="*/ 341 h 512"/>
              <a:gd name="T24" fmla="*/ 224 w 512"/>
              <a:gd name="T25" fmla="*/ 330 h 512"/>
              <a:gd name="T26" fmla="*/ 202 w 512"/>
              <a:gd name="T27" fmla="*/ 288 h 512"/>
              <a:gd name="T28" fmla="*/ 213 w 512"/>
              <a:gd name="T29" fmla="*/ 298 h 512"/>
              <a:gd name="T30" fmla="*/ 213 w 512"/>
              <a:gd name="T31" fmla="*/ 234 h 512"/>
              <a:gd name="T32" fmla="*/ 213 w 512"/>
              <a:gd name="T33" fmla="*/ 213 h 512"/>
              <a:gd name="T34" fmla="*/ 224 w 512"/>
              <a:gd name="T35" fmla="*/ 202 h 512"/>
              <a:gd name="T36" fmla="*/ 245 w 512"/>
              <a:gd name="T37" fmla="*/ 330 h 512"/>
              <a:gd name="T38" fmla="*/ 256 w 512"/>
              <a:gd name="T39" fmla="*/ 341 h 512"/>
              <a:gd name="T40" fmla="*/ 256 w 512"/>
              <a:gd name="T41" fmla="*/ 277 h 512"/>
              <a:gd name="T42" fmla="*/ 256 w 512"/>
              <a:gd name="T43" fmla="*/ 256 h 512"/>
              <a:gd name="T44" fmla="*/ 266 w 512"/>
              <a:gd name="T45" fmla="*/ 245 h 512"/>
              <a:gd name="T46" fmla="*/ 245 w 512"/>
              <a:gd name="T47" fmla="*/ 202 h 512"/>
              <a:gd name="T48" fmla="*/ 256 w 512"/>
              <a:gd name="T49" fmla="*/ 213 h 512"/>
              <a:gd name="T50" fmla="*/ 298 w 512"/>
              <a:gd name="T51" fmla="*/ 320 h 512"/>
              <a:gd name="T52" fmla="*/ 298 w 512"/>
              <a:gd name="T53" fmla="*/ 298 h 512"/>
              <a:gd name="T54" fmla="*/ 309 w 512"/>
              <a:gd name="T55" fmla="*/ 288 h 512"/>
              <a:gd name="T56" fmla="*/ 288 w 512"/>
              <a:gd name="T57" fmla="*/ 245 h 512"/>
              <a:gd name="T58" fmla="*/ 298 w 512"/>
              <a:gd name="T59" fmla="*/ 256 h 512"/>
              <a:gd name="T60" fmla="*/ 298 w 512"/>
              <a:gd name="T61" fmla="*/ 192 h 512"/>
              <a:gd name="T62" fmla="*/ 341 w 512"/>
              <a:gd name="T63" fmla="*/ 298 h 512"/>
              <a:gd name="T64" fmla="*/ 352 w 512"/>
              <a:gd name="T65" fmla="*/ 288 h 512"/>
              <a:gd name="T66" fmla="*/ 330 w 512"/>
              <a:gd name="T67" fmla="*/ 245 h 512"/>
              <a:gd name="T68" fmla="*/ 341 w 512"/>
              <a:gd name="T69" fmla="*/ 256 h 512"/>
              <a:gd name="T70" fmla="*/ 341 w 512"/>
              <a:gd name="T71" fmla="*/ 213 h 512"/>
              <a:gd name="T72" fmla="*/ 256 w 512"/>
              <a:gd name="T73" fmla="*/ 0 h 512"/>
              <a:gd name="T74" fmla="*/ 512 w 512"/>
              <a:gd name="T75" fmla="*/ 256 h 512"/>
              <a:gd name="T76" fmla="*/ 384 w 512"/>
              <a:gd name="T77" fmla="*/ 394 h 512"/>
              <a:gd name="T78" fmla="*/ 117 w 512"/>
              <a:gd name="T79" fmla="*/ 128 h 512"/>
              <a:gd name="T80" fmla="*/ 181 w 512"/>
              <a:gd name="T81" fmla="*/ 106 h 512"/>
              <a:gd name="T82" fmla="*/ 202 w 512"/>
              <a:gd name="T83" fmla="*/ 117 h 512"/>
              <a:gd name="T84" fmla="*/ 320 w 512"/>
              <a:gd name="T85" fmla="*/ 96 h 512"/>
              <a:gd name="T86" fmla="*/ 384 w 512"/>
              <a:gd name="T87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30" y="149"/>
                </a:moveTo>
                <a:cubicBezTo>
                  <a:pt x="330" y="155"/>
                  <a:pt x="326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8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49"/>
                </a:lnTo>
                <a:close/>
                <a:moveTo>
                  <a:pt x="170" y="341"/>
                </a:moveTo>
                <a:cubicBezTo>
                  <a:pt x="164" y="341"/>
                  <a:pt x="160" y="336"/>
                  <a:pt x="160" y="330"/>
                </a:cubicBezTo>
                <a:cubicBezTo>
                  <a:pt x="160" y="324"/>
                  <a:pt x="164" y="320"/>
                  <a:pt x="170" y="320"/>
                </a:cubicBezTo>
                <a:cubicBezTo>
                  <a:pt x="176" y="320"/>
                  <a:pt x="181" y="324"/>
                  <a:pt x="181" y="330"/>
                </a:cubicBezTo>
                <a:cubicBezTo>
                  <a:pt x="181" y="336"/>
                  <a:pt x="176" y="341"/>
                  <a:pt x="170" y="341"/>
                </a:cubicBezTo>
                <a:close/>
                <a:moveTo>
                  <a:pt x="170" y="298"/>
                </a:moveTo>
                <a:cubicBezTo>
                  <a:pt x="164" y="298"/>
                  <a:pt x="160" y="294"/>
                  <a:pt x="160" y="288"/>
                </a:cubicBezTo>
                <a:cubicBezTo>
                  <a:pt x="160" y="282"/>
                  <a:pt x="164" y="277"/>
                  <a:pt x="170" y="277"/>
                </a:cubicBezTo>
                <a:cubicBezTo>
                  <a:pt x="176" y="277"/>
                  <a:pt x="181" y="282"/>
                  <a:pt x="181" y="288"/>
                </a:cubicBezTo>
                <a:cubicBezTo>
                  <a:pt x="181" y="294"/>
                  <a:pt x="176" y="298"/>
                  <a:pt x="170" y="298"/>
                </a:cubicBezTo>
                <a:close/>
                <a:moveTo>
                  <a:pt x="170" y="256"/>
                </a:moveTo>
                <a:cubicBezTo>
                  <a:pt x="164" y="256"/>
                  <a:pt x="160" y="251"/>
                  <a:pt x="160" y="245"/>
                </a:cubicBezTo>
                <a:cubicBezTo>
                  <a:pt x="160" y="239"/>
                  <a:pt x="164" y="234"/>
                  <a:pt x="170" y="234"/>
                </a:cubicBezTo>
                <a:cubicBezTo>
                  <a:pt x="176" y="234"/>
                  <a:pt x="181" y="239"/>
                  <a:pt x="181" y="245"/>
                </a:cubicBezTo>
                <a:cubicBezTo>
                  <a:pt x="181" y="251"/>
                  <a:pt x="176" y="256"/>
                  <a:pt x="170" y="256"/>
                </a:cubicBezTo>
                <a:close/>
                <a:moveTo>
                  <a:pt x="170" y="213"/>
                </a:moveTo>
                <a:cubicBezTo>
                  <a:pt x="164" y="213"/>
                  <a:pt x="160" y="208"/>
                  <a:pt x="160" y="202"/>
                </a:cubicBezTo>
                <a:cubicBezTo>
                  <a:pt x="160" y="196"/>
                  <a:pt x="164" y="192"/>
                  <a:pt x="170" y="192"/>
                </a:cubicBezTo>
                <a:cubicBezTo>
                  <a:pt x="176" y="192"/>
                  <a:pt x="181" y="196"/>
                  <a:pt x="181" y="202"/>
                </a:cubicBezTo>
                <a:cubicBezTo>
                  <a:pt x="181" y="208"/>
                  <a:pt x="176" y="213"/>
                  <a:pt x="170" y="213"/>
                </a:cubicBezTo>
                <a:close/>
                <a:moveTo>
                  <a:pt x="213" y="341"/>
                </a:moveTo>
                <a:cubicBezTo>
                  <a:pt x="207" y="341"/>
                  <a:pt x="202" y="336"/>
                  <a:pt x="202" y="330"/>
                </a:cubicBezTo>
                <a:cubicBezTo>
                  <a:pt x="202" y="324"/>
                  <a:pt x="207" y="320"/>
                  <a:pt x="213" y="320"/>
                </a:cubicBezTo>
                <a:cubicBezTo>
                  <a:pt x="219" y="320"/>
                  <a:pt x="224" y="324"/>
                  <a:pt x="224" y="330"/>
                </a:cubicBezTo>
                <a:cubicBezTo>
                  <a:pt x="224" y="336"/>
                  <a:pt x="219" y="341"/>
                  <a:pt x="213" y="341"/>
                </a:cubicBezTo>
                <a:close/>
                <a:moveTo>
                  <a:pt x="213" y="298"/>
                </a:moveTo>
                <a:cubicBezTo>
                  <a:pt x="207" y="298"/>
                  <a:pt x="202" y="294"/>
                  <a:pt x="202" y="288"/>
                </a:cubicBezTo>
                <a:cubicBezTo>
                  <a:pt x="202" y="282"/>
                  <a:pt x="207" y="277"/>
                  <a:pt x="213" y="277"/>
                </a:cubicBezTo>
                <a:cubicBezTo>
                  <a:pt x="219" y="277"/>
                  <a:pt x="224" y="282"/>
                  <a:pt x="224" y="288"/>
                </a:cubicBezTo>
                <a:cubicBezTo>
                  <a:pt x="224" y="294"/>
                  <a:pt x="219" y="298"/>
                  <a:pt x="213" y="298"/>
                </a:cubicBezTo>
                <a:close/>
                <a:moveTo>
                  <a:pt x="213" y="256"/>
                </a:move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lose/>
                <a:moveTo>
                  <a:pt x="213" y="213"/>
                </a:moveTo>
                <a:cubicBezTo>
                  <a:pt x="207" y="213"/>
                  <a:pt x="202" y="208"/>
                  <a:pt x="202" y="202"/>
                </a:cubicBezTo>
                <a:cubicBezTo>
                  <a:pt x="202" y="196"/>
                  <a:pt x="207" y="192"/>
                  <a:pt x="213" y="192"/>
                </a:cubicBezTo>
                <a:cubicBezTo>
                  <a:pt x="219" y="192"/>
                  <a:pt x="224" y="196"/>
                  <a:pt x="224" y="202"/>
                </a:cubicBezTo>
                <a:cubicBezTo>
                  <a:pt x="224" y="208"/>
                  <a:pt x="219" y="213"/>
                  <a:pt x="213" y="213"/>
                </a:cubicBezTo>
                <a:close/>
                <a:moveTo>
                  <a:pt x="256" y="341"/>
                </a:moveTo>
                <a:cubicBezTo>
                  <a:pt x="250" y="341"/>
                  <a:pt x="245" y="336"/>
                  <a:pt x="245" y="330"/>
                </a:cubicBezTo>
                <a:cubicBezTo>
                  <a:pt x="245" y="324"/>
                  <a:pt x="250" y="320"/>
                  <a:pt x="256" y="320"/>
                </a:cubicBezTo>
                <a:cubicBezTo>
                  <a:pt x="262" y="320"/>
                  <a:pt x="266" y="324"/>
                  <a:pt x="266" y="330"/>
                </a:cubicBezTo>
                <a:cubicBezTo>
                  <a:pt x="266" y="336"/>
                  <a:pt x="262" y="341"/>
                  <a:pt x="256" y="341"/>
                </a:cubicBezTo>
                <a:close/>
                <a:moveTo>
                  <a:pt x="256" y="298"/>
                </a:moveTo>
                <a:cubicBezTo>
                  <a:pt x="250" y="298"/>
                  <a:pt x="245" y="294"/>
                  <a:pt x="245" y="288"/>
                </a:cubicBezTo>
                <a:cubicBezTo>
                  <a:pt x="245" y="282"/>
                  <a:pt x="250" y="277"/>
                  <a:pt x="256" y="277"/>
                </a:cubicBezTo>
                <a:cubicBezTo>
                  <a:pt x="262" y="277"/>
                  <a:pt x="266" y="282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lose/>
                <a:moveTo>
                  <a:pt x="256" y="256"/>
                </a:move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lose/>
                <a:moveTo>
                  <a:pt x="256" y="213"/>
                </a:moveTo>
                <a:cubicBezTo>
                  <a:pt x="250" y="213"/>
                  <a:pt x="245" y="208"/>
                  <a:pt x="245" y="202"/>
                </a:cubicBezTo>
                <a:cubicBezTo>
                  <a:pt x="245" y="196"/>
                  <a:pt x="250" y="192"/>
                  <a:pt x="256" y="192"/>
                </a:cubicBezTo>
                <a:cubicBezTo>
                  <a:pt x="262" y="192"/>
                  <a:pt x="266" y="196"/>
                  <a:pt x="266" y="202"/>
                </a:cubicBezTo>
                <a:cubicBezTo>
                  <a:pt x="266" y="208"/>
                  <a:pt x="262" y="213"/>
                  <a:pt x="256" y="213"/>
                </a:cubicBezTo>
                <a:close/>
                <a:moveTo>
                  <a:pt x="298" y="341"/>
                </a:moveTo>
                <a:cubicBezTo>
                  <a:pt x="292" y="341"/>
                  <a:pt x="288" y="336"/>
                  <a:pt x="288" y="330"/>
                </a:cubicBezTo>
                <a:cubicBezTo>
                  <a:pt x="288" y="324"/>
                  <a:pt x="292" y="320"/>
                  <a:pt x="298" y="320"/>
                </a:cubicBezTo>
                <a:cubicBezTo>
                  <a:pt x="304" y="320"/>
                  <a:pt x="309" y="324"/>
                  <a:pt x="309" y="330"/>
                </a:cubicBezTo>
                <a:cubicBezTo>
                  <a:pt x="309" y="336"/>
                  <a:pt x="304" y="341"/>
                  <a:pt x="298" y="341"/>
                </a:cubicBezTo>
                <a:close/>
                <a:moveTo>
                  <a:pt x="298" y="298"/>
                </a:moveTo>
                <a:cubicBezTo>
                  <a:pt x="292" y="298"/>
                  <a:pt x="288" y="294"/>
                  <a:pt x="288" y="288"/>
                </a:cubicBezTo>
                <a:cubicBezTo>
                  <a:pt x="288" y="282"/>
                  <a:pt x="292" y="277"/>
                  <a:pt x="298" y="277"/>
                </a:cubicBezTo>
                <a:cubicBezTo>
                  <a:pt x="304" y="277"/>
                  <a:pt x="309" y="282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lose/>
                <a:moveTo>
                  <a:pt x="298" y="256"/>
                </a:move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lose/>
                <a:moveTo>
                  <a:pt x="298" y="213"/>
                </a:moveTo>
                <a:cubicBezTo>
                  <a:pt x="292" y="213"/>
                  <a:pt x="288" y="208"/>
                  <a:pt x="288" y="202"/>
                </a:cubicBezTo>
                <a:cubicBezTo>
                  <a:pt x="288" y="196"/>
                  <a:pt x="292" y="192"/>
                  <a:pt x="298" y="192"/>
                </a:cubicBezTo>
                <a:cubicBezTo>
                  <a:pt x="304" y="192"/>
                  <a:pt x="309" y="196"/>
                  <a:pt x="309" y="202"/>
                </a:cubicBezTo>
                <a:cubicBezTo>
                  <a:pt x="309" y="208"/>
                  <a:pt x="304" y="213"/>
                  <a:pt x="298" y="213"/>
                </a:cubicBezTo>
                <a:close/>
                <a:moveTo>
                  <a:pt x="341" y="298"/>
                </a:moveTo>
                <a:cubicBezTo>
                  <a:pt x="335" y="298"/>
                  <a:pt x="330" y="294"/>
                  <a:pt x="330" y="288"/>
                </a:cubicBezTo>
                <a:cubicBezTo>
                  <a:pt x="330" y="282"/>
                  <a:pt x="335" y="277"/>
                  <a:pt x="341" y="277"/>
                </a:cubicBezTo>
                <a:cubicBezTo>
                  <a:pt x="34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lose/>
                <a:moveTo>
                  <a:pt x="341" y="256"/>
                </a:moveTo>
                <a:cubicBezTo>
                  <a:pt x="335" y="256"/>
                  <a:pt x="330" y="251"/>
                  <a:pt x="330" y="245"/>
                </a:cubicBezTo>
                <a:cubicBezTo>
                  <a:pt x="330" y="239"/>
                  <a:pt x="335" y="234"/>
                  <a:pt x="341" y="234"/>
                </a:cubicBezTo>
                <a:cubicBezTo>
                  <a:pt x="347" y="234"/>
                  <a:pt x="352" y="239"/>
                  <a:pt x="352" y="245"/>
                </a:cubicBezTo>
                <a:cubicBezTo>
                  <a:pt x="352" y="251"/>
                  <a:pt x="347" y="256"/>
                  <a:pt x="341" y="256"/>
                </a:cubicBezTo>
                <a:close/>
                <a:moveTo>
                  <a:pt x="341" y="192"/>
                </a:moveTo>
                <a:cubicBezTo>
                  <a:pt x="347" y="192"/>
                  <a:pt x="352" y="196"/>
                  <a:pt x="352" y="202"/>
                </a:cubicBezTo>
                <a:cubicBezTo>
                  <a:pt x="352" y="208"/>
                  <a:pt x="347" y="213"/>
                  <a:pt x="341" y="213"/>
                </a:cubicBezTo>
                <a:cubicBezTo>
                  <a:pt x="335" y="213"/>
                  <a:pt x="330" y="208"/>
                  <a:pt x="330" y="202"/>
                </a:cubicBezTo>
                <a:cubicBezTo>
                  <a:pt x="330" y="196"/>
                  <a:pt x="335" y="192"/>
                  <a:pt x="341" y="19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198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14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3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9" name="Group 808"/>
          <p:cNvGrpSpPr>
            <a:grpSpLocks noChangeAspect="1"/>
          </p:cNvGrpSpPr>
          <p:nvPr/>
        </p:nvGrpSpPr>
        <p:grpSpPr bwMode="auto">
          <a:xfrm>
            <a:off x="8889353" y="2914983"/>
            <a:ext cx="367982" cy="369064"/>
            <a:chOff x="5376" y="3657"/>
            <a:chExt cx="340" cy="341"/>
          </a:xfrm>
          <a:solidFill>
            <a:schemeClr val="accent3"/>
          </a:solidFill>
        </p:grpSpPr>
        <p:sp>
          <p:nvSpPr>
            <p:cNvPr id="330" name="Freeform 809"/>
            <p:cNvSpPr>
              <a:spLocks noEditPoints="1"/>
            </p:cNvSpPr>
            <p:nvPr/>
          </p:nvSpPr>
          <p:spPr bwMode="auto">
            <a:xfrm>
              <a:off x="5454" y="3721"/>
              <a:ext cx="184" cy="198"/>
            </a:xfrm>
            <a:custGeom>
              <a:avLst/>
              <a:gdLst>
                <a:gd name="T0" fmla="*/ 213 w 277"/>
                <a:gd name="T1" fmla="*/ 10 h 298"/>
                <a:gd name="T2" fmla="*/ 192 w 277"/>
                <a:gd name="T3" fmla="*/ 21 h 298"/>
                <a:gd name="T4" fmla="*/ 75 w 277"/>
                <a:gd name="T5" fmla="*/ 0 h 298"/>
                <a:gd name="T6" fmla="*/ 11 w 277"/>
                <a:gd name="T7" fmla="*/ 21 h 298"/>
                <a:gd name="T8" fmla="*/ 11 w 277"/>
                <a:gd name="T9" fmla="*/ 298 h 298"/>
                <a:gd name="T10" fmla="*/ 277 w 277"/>
                <a:gd name="T11" fmla="*/ 32 h 298"/>
                <a:gd name="T12" fmla="*/ 21 w 277"/>
                <a:gd name="T13" fmla="*/ 277 h 298"/>
                <a:gd name="T14" fmla="*/ 64 w 277"/>
                <a:gd name="T15" fmla="*/ 53 h 298"/>
                <a:gd name="T16" fmla="*/ 85 w 277"/>
                <a:gd name="T17" fmla="*/ 42 h 298"/>
                <a:gd name="T18" fmla="*/ 203 w 277"/>
                <a:gd name="T19" fmla="*/ 64 h 298"/>
                <a:gd name="T20" fmla="*/ 256 w 277"/>
                <a:gd name="T21" fmla="*/ 42 h 298"/>
                <a:gd name="T22" fmla="*/ 53 w 277"/>
                <a:gd name="T23" fmla="*/ 117 h 298"/>
                <a:gd name="T24" fmla="*/ 64 w 277"/>
                <a:gd name="T25" fmla="*/ 106 h 298"/>
                <a:gd name="T26" fmla="*/ 85 w 277"/>
                <a:gd name="T27" fmla="*/ 106 h 298"/>
                <a:gd name="T28" fmla="*/ 149 w 277"/>
                <a:gd name="T29" fmla="*/ 106 h 298"/>
                <a:gd name="T30" fmla="*/ 139 w 277"/>
                <a:gd name="T31" fmla="*/ 96 h 298"/>
                <a:gd name="T32" fmla="*/ 53 w 277"/>
                <a:gd name="T33" fmla="*/ 160 h 298"/>
                <a:gd name="T34" fmla="*/ 64 w 277"/>
                <a:gd name="T35" fmla="*/ 149 h 298"/>
                <a:gd name="T36" fmla="*/ 85 w 277"/>
                <a:gd name="T37" fmla="*/ 149 h 298"/>
                <a:gd name="T38" fmla="*/ 149 w 277"/>
                <a:gd name="T39" fmla="*/ 149 h 298"/>
                <a:gd name="T40" fmla="*/ 139 w 277"/>
                <a:gd name="T41" fmla="*/ 138 h 298"/>
                <a:gd name="T42" fmla="*/ 181 w 277"/>
                <a:gd name="T43" fmla="*/ 117 h 298"/>
                <a:gd name="T44" fmla="*/ 192 w 277"/>
                <a:gd name="T45" fmla="*/ 106 h 298"/>
                <a:gd name="T46" fmla="*/ 171 w 277"/>
                <a:gd name="T47" fmla="*/ 149 h 298"/>
                <a:gd name="T48" fmla="*/ 224 w 277"/>
                <a:gd name="T49" fmla="*/ 96 h 298"/>
                <a:gd name="T50" fmla="*/ 213 w 277"/>
                <a:gd name="T51" fmla="*/ 106 h 298"/>
                <a:gd name="T52" fmla="*/ 224 w 277"/>
                <a:gd name="T53" fmla="*/ 160 h 298"/>
                <a:gd name="T54" fmla="*/ 235 w 277"/>
                <a:gd name="T55" fmla="*/ 149 h 298"/>
                <a:gd name="T56" fmla="*/ 43 w 277"/>
                <a:gd name="T57" fmla="*/ 192 h 298"/>
                <a:gd name="T58" fmla="*/ 107 w 277"/>
                <a:gd name="T59" fmla="*/ 192 h 298"/>
                <a:gd name="T60" fmla="*/ 96 w 277"/>
                <a:gd name="T61" fmla="*/ 181 h 298"/>
                <a:gd name="T62" fmla="*/ 139 w 277"/>
                <a:gd name="T63" fmla="*/ 202 h 298"/>
                <a:gd name="T64" fmla="*/ 149 w 277"/>
                <a:gd name="T65" fmla="*/ 192 h 298"/>
                <a:gd name="T66" fmla="*/ 171 w 277"/>
                <a:gd name="T67" fmla="*/ 192 h 298"/>
                <a:gd name="T68" fmla="*/ 235 w 277"/>
                <a:gd name="T69" fmla="*/ 192 h 298"/>
                <a:gd name="T70" fmla="*/ 224 w 277"/>
                <a:gd name="T71" fmla="*/ 181 h 298"/>
                <a:gd name="T72" fmla="*/ 139 w 277"/>
                <a:gd name="T73" fmla="*/ 245 h 298"/>
                <a:gd name="T74" fmla="*/ 149 w 277"/>
                <a:gd name="T75" fmla="*/ 234 h 298"/>
                <a:gd name="T76" fmla="*/ 171 w 277"/>
                <a:gd name="T77" fmla="*/ 234 h 298"/>
                <a:gd name="T78" fmla="*/ 107 w 277"/>
                <a:gd name="T79" fmla="*/ 234 h 298"/>
                <a:gd name="T80" fmla="*/ 96 w 277"/>
                <a:gd name="T81" fmla="*/ 224 h 298"/>
                <a:gd name="T82" fmla="*/ 53 w 277"/>
                <a:gd name="T83" fmla="*/ 245 h 298"/>
                <a:gd name="T84" fmla="*/ 64 w 277"/>
                <a:gd name="T85" fmla="*/ 23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64" y="106"/>
                  </a:moveTo>
                  <a:cubicBezTo>
                    <a:pt x="64" y="112"/>
                    <a:pt x="59" y="117"/>
                    <a:pt x="53" y="117"/>
                  </a:cubicBezTo>
                  <a:cubicBezTo>
                    <a:pt x="47" y="117"/>
                    <a:pt x="43" y="112"/>
                    <a:pt x="43" y="106"/>
                  </a:cubicBezTo>
                  <a:cubicBezTo>
                    <a:pt x="43" y="100"/>
                    <a:pt x="47" y="96"/>
                    <a:pt x="53" y="96"/>
                  </a:cubicBezTo>
                  <a:cubicBezTo>
                    <a:pt x="59" y="96"/>
                    <a:pt x="64" y="100"/>
                    <a:pt x="64" y="106"/>
                  </a:cubicBezTo>
                  <a:close/>
                  <a:moveTo>
                    <a:pt x="107" y="106"/>
                  </a:moveTo>
                  <a:cubicBezTo>
                    <a:pt x="107" y="112"/>
                    <a:pt x="102" y="117"/>
                    <a:pt x="96" y="117"/>
                  </a:cubicBezTo>
                  <a:cubicBezTo>
                    <a:pt x="90" y="117"/>
                    <a:pt x="85" y="112"/>
                    <a:pt x="85" y="106"/>
                  </a:cubicBezTo>
                  <a:cubicBezTo>
                    <a:pt x="85" y="100"/>
                    <a:pt x="90" y="96"/>
                    <a:pt x="96" y="96"/>
                  </a:cubicBezTo>
                  <a:cubicBezTo>
                    <a:pt x="102" y="96"/>
                    <a:pt x="107" y="100"/>
                    <a:pt x="107" y="106"/>
                  </a:cubicBezTo>
                  <a:close/>
                  <a:moveTo>
                    <a:pt x="149" y="106"/>
                  </a:moveTo>
                  <a:cubicBezTo>
                    <a:pt x="149" y="112"/>
                    <a:pt x="145" y="117"/>
                    <a:pt x="139" y="117"/>
                  </a:cubicBezTo>
                  <a:cubicBezTo>
                    <a:pt x="133" y="117"/>
                    <a:pt x="128" y="112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lose/>
                  <a:moveTo>
                    <a:pt x="64" y="149"/>
                  </a:moveTo>
                  <a:cubicBezTo>
                    <a:pt x="64" y="155"/>
                    <a:pt x="59" y="160"/>
                    <a:pt x="53" y="160"/>
                  </a:cubicBezTo>
                  <a:cubicBezTo>
                    <a:pt x="47" y="160"/>
                    <a:pt x="43" y="155"/>
                    <a:pt x="43" y="149"/>
                  </a:cubicBezTo>
                  <a:cubicBezTo>
                    <a:pt x="43" y="143"/>
                    <a:pt x="47" y="138"/>
                    <a:pt x="53" y="138"/>
                  </a:cubicBezTo>
                  <a:cubicBezTo>
                    <a:pt x="59" y="138"/>
                    <a:pt x="64" y="143"/>
                    <a:pt x="64" y="149"/>
                  </a:cubicBezTo>
                  <a:close/>
                  <a:moveTo>
                    <a:pt x="107" y="149"/>
                  </a:moveTo>
                  <a:cubicBezTo>
                    <a:pt x="107" y="155"/>
                    <a:pt x="102" y="160"/>
                    <a:pt x="96" y="160"/>
                  </a:cubicBezTo>
                  <a:cubicBezTo>
                    <a:pt x="90" y="160"/>
                    <a:pt x="85" y="155"/>
                    <a:pt x="85" y="149"/>
                  </a:cubicBezTo>
                  <a:cubicBezTo>
                    <a:pt x="85" y="143"/>
                    <a:pt x="90" y="138"/>
                    <a:pt x="96" y="138"/>
                  </a:cubicBezTo>
                  <a:cubicBezTo>
                    <a:pt x="102" y="138"/>
                    <a:pt x="107" y="143"/>
                    <a:pt x="107" y="149"/>
                  </a:cubicBezTo>
                  <a:close/>
                  <a:moveTo>
                    <a:pt x="149" y="149"/>
                  </a:moveTo>
                  <a:cubicBezTo>
                    <a:pt x="149" y="155"/>
                    <a:pt x="145" y="160"/>
                    <a:pt x="139" y="160"/>
                  </a:cubicBezTo>
                  <a:cubicBezTo>
                    <a:pt x="133" y="160"/>
                    <a:pt x="128" y="155"/>
                    <a:pt x="128" y="149"/>
                  </a:cubicBezTo>
                  <a:cubicBezTo>
                    <a:pt x="128" y="143"/>
                    <a:pt x="133" y="138"/>
                    <a:pt x="139" y="138"/>
                  </a:cubicBezTo>
                  <a:cubicBezTo>
                    <a:pt x="145" y="138"/>
                    <a:pt x="149" y="143"/>
                    <a:pt x="149" y="149"/>
                  </a:cubicBezTo>
                  <a:close/>
                  <a:moveTo>
                    <a:pt x="192" y="106"/>
                  </a:moveTo>
                  <a:cubicBezTo>
                    <a:pt x="192" y="112"/>
                    <a:pt x="187" y="117"/>
                    <a:pt x="181" y="117"/>
                  </a:cubicBezTo>
                  <a:cubicBezTo>
                    <a:pt x="175" y="117"/>
                    <a:pt x="171" y="112"/>
                    <a:pt x="171" y="106"/>
                  </a:cubicBezTo>
                  <a:cubicBezTo>
                    <a:pt x="171" y="100"/>
                    <a:pt x="175" y="96"/>
                    <a:pt x="181" y="96"/>
                  </a:cubicBezTo>
                  <a:cubicBezTo>
                    <a:pt x="187" y="96"/>
                    <a:pt x="192" y="100"/>
                    <a:pt x="192" y="106"/>
                  </a:cubicBezTo>
                  <a:close/>
                  <a:moveTo>
                    <a:pt x="192" y="149"/>
                  </a:moveTo>
                  <a:cubicBezTo>
                    <a:pt x="192" y="155"/>
                    <a:pt x="187" y="160"/>
                    <a:pt x="181" y="160"/>
                  </a:cubicBezTo>
                  <a:cubicBezTo>
                    <a:pt x="175" y="160"/>
                    <a:pt x="171" y="155"/>
                    <a:pt x="171" y="149"/>
                  </a:cubicBezTo>
                  <a:cubicBezTo>
                    <a:pt x="171" y="143"/>
                    <a:pt x="175" y="138"/>
                    <a:pt x="181" y="138"/>
                  </a:cubicBezTo>
                  <a:cubicBezTo>
                    <a:pt x="187" y="138"/>
                    <a:pt x="192" y="143"/>
                    <a:pt x="192" y="149"/>
                  </a:cubicBezTo>
                  <a:close/>
                  <a:moveTo>
                    <a:pt x="224" y="96"/>
                  </a:moveTo>
                  <a:cubicBezTo>
                    <a:pt x="230" y="96"/>
                    <a:pt x="235" y="100"/>
                    <a:pt x="235" y="106"/>
                  </a:cubicBezTo>
                  <a:cubicBezTo>
                    <a:pt x="235" y="112"/>
                    <a:pt x="230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lose/>
                  <a:moveTo>
                    <a:pt x="235" y="149"/>
                  </a:moveTo>
                  <a:cubicBezTo>
                    <a:pt x="235" y="155"/>
                    <a:pt x="230" y="160"/>
                    <a:pt x="224" y="160"/>
                  </a:cubicBezTo>
                  <a:cubicBezTo>
                    <a:pt x="218" y="160"/>
                    <a:pt x="213" y="155"/>
                    <a:pt x="213" y="149"/>
                  </a:cubicBezTo>
                  <a:cubicBezTo>
                    <a:pt x="213" y="143"/>
                    <a:pt x="218" y="138"/>
                    <a:pt x="224" y="138"/>
                  </a:cubicBezTo>
                  <a:cubicBezTo>
                    <a:pt x="230" y="138"/>
                    <a:pt x="235" y="143"/>
                    <a:pt x="235" y="149"/>
                  </a:cubicBezTo>
                  <a:close/>
                  <a:moveTo>
                    <a:pt x="64" y="192"/>
                  </a:moveTo>
                  <a:cubicBezTo>
                    <a:pt x="64" y="198"/>
                    <a:pt x="59" y="202"/>
                    <a:pt x="53" y="202"/>
                  </a:cubicBezTo>
                  <a:cubicBezTo>
                    <a:pt x="47" y="202"/>
                    <a:pt x="43" y="198"/>
                    <a:pt x="43" y="192"/>
                  </a:cubicBezTo>
                  <a:cubicBezTo>
                    <a:pt x="43" y="186"/>
                    <a:pt x="47" y="181"/>
                    <a:pt x="53" y="181"/>
                  </a:cubicBezTo>
                  <a:cubicBezTo>
                    <a:pt x="59" y="181"/>
                    <a:pt x="64" y="186"/>
                    <a:pt x="64" y="192"/>
                  </a:cubicBezTo>
                  <a:close/>
                  <a:moveTo>
                    <a:pt x="107" y="192"/>
                  </a:moveTo>
                  <a:cubicBezTo>
                    <a:pt x="107" y="198"/>
                    <a:pt x="102" y="202"/>
                    <a:pt x="96" y="202"/>
                  </a:cubicBezTo>
                  <a:cubicBezTo>
                    <a:pt x="90" y="202"/>
                    <a:pt x="85" y="198"/>
                    <a:pt x="85" y="192"/>
                  </a:cubicBezTo>
                  <a:cubicBezTo>
                    <a:pt x="85" y="186"/>
                    <a:pt x="90" y="181"/>
                    <a:pt x="96" y="181"/>
                  </a:cubicBezTo>
                  <a:cubicBezTo>
                    <a:pt x="102" y="181"/>
                    <a:pt x="107" y="186"/>
                    <a:pt x="107" y="192"/>
                  </a:cubicBezTo>
                  <a:close/>
                  <a:moveTo>
                    <a:pt x="149" y="192"/>
                  </a:moveTo>
                  <a:cubicBezTo>
                    <a:pt x="149" y="198"/>
                    <a:pt x="145" y="202"/>
                    <a:pt x="139" y="202"/>
                  </a:cubicBezTo>
                  <a:cubicBezTo>
                    <a:pt x="133" y="202"/>
                    <a:pt x="128" y="198"/>
                    <a:pt x="128" y="192"/>
                  </a:cubicBezTo>
                  <a:cubicBezTo>
                    <a:pt x="128" y="186"/>
                    <a:pt x="133" y="181"/>
                    <a:pt x="139" y="181"/>
                  </a:cubicBezTo>
                  <a:cubicBezTo>
                    <a:pt x="145" y="181"/>
                    <a:pt x="149" y="186"/>
                    <a:pt x="149" y="192"/>
                  </a:cubicBezTo>
                  <a:close/>
                  <a:moveTo>
                    <a:pt x="192" y="192"/>
                  </a:moveTo>
                  <a:cubicBezTo>
                    <a:pt x="192" y="198"/>
                    <a:pt x="187" y="202"/>
                    <a:pt x="181" y="202"/>
                  </a:cubicBezTo>
                  <a:cubicBezTo>
                    <a:pt x="175" y="202"/>
                    <a:pt x="171" y="198"/>
                    <a:pt x="171" y="192"/>
                  </a:cubicBezTo>
                  <a:cubicBezTo>
                    <a:pt x="171" y="186"/>
                    <a:pt x="175" y="181"/>
                    <a:pt x="181" y="181"/>
                  </a:cubicBezTo>
                  <a:cubicBezTo>
                    <a:pt x="187" y="181"/>
                    <a:pt x="192" y="186"/>
                    <a:pt x="192" y="192"/>
                  </a:cubicBezTo>
                  <a:close/>
                  <a:moveTo>
                    <a:pt x="235" y="192"/>
                  </a:moveTo>
                  <a:cubicBezTo>
                    <a:pt x="235" y="198"/>
                    <a:pt x="230" y="202"/>
                    <a:pt x="224" y="202"/>
                  </a:cubicBezTo>
                  <a:cubicBezTo>
                    <a:pt x="218" y="202"/>
                    <a:pt x="213" y="198"/>
                    <a:pt x="213" y="192"/>
                  </a:cubicBezTo>
                  <a:cubicBezTo>
                    <a:pt x="213" y="186"/>
                    <a:pt x="218" y="181"/>
                    <a:pt x="224" y="181"/>
                  </a:cubicBezTo>
                  <a:cubicBezTo>
                    <a:pt x="230" y="181"/>
                    <a:pt x="235" y="186"/>
                    <a:pt x="235" y="192"/>
                  </a:cubicBezTo>
                  <a:close/>
                  <a:moveTo>
                    <a:pt x="149" y="234"/>
                  </a:moveTo>
                  <a:cubicBezTo>
                    <a:pt x="149" y="240"/>
                    <a:pt x="145" y="245"/>
                    <a:pt x="139" y="245"/>
                  </a:cubicBezTo>
                  <a:cubicBezTo>
                    <a:pt x="133" y="245"/>
                    <a:pt x="128" y="240"/>
                    <a:pt x="128" y="234"/>
                  </a:cubicBezTo>
                  <a:cubicBezTo>
                    <a:pt x="128" y="228"/>
                    <a:pt x="133" y="224"/>
                    <a:pt x="139" y="224"/>
                  </a:cubicBezTo>
                  <a:cubicBezTo>
                    <a:pt x="145" y="224"/>
                    <a:pt x="149" y="228"/>
                    <a:pt x="149" y="234"/>
                  </a:cubicBezTo>
                  <a:close/>
                  <a:moveTo>
                    <a:pt x="192" y="234"/>
                  </a:moveTo>
                  <a:cubicBezTo>
                    <a:pt x="192" y="240"/>
                    <a:pt x="187" y="245"/>
                    <a:pt x="181" y="245"/>
                  </a:cubicBezTo>
                  <a:cubicBezTo>
                    <a:pt x="175" y="245"/>
                    <a:pt x="171" y="240"/>
                    <a:pt x="171" y="234"/>
                  </a:cubicBezTo>
                  <a:cubicBezTo>
                    <a:pt x="171" y="228"/>
                    <a:pt x="175" y="224"/>
                    <a:pt x="181" y="224"/>
                  </a:cubicBezTo>
                  <a:cubicBezTo>
                    <a:pt x="187" y="224"/>
                    <a:pt x="192" y="228"/>
                    <a:pt x="192" y="234"/>
                  </a:cubicBezTo>
                  <a:close/>
                  <a:moveTo>
                    <a:pt x="107" y="234"/>
                  </a:moveTo>
                  <a:cubicBezTo>
                    <a:pt x="107" y="240"/>
                    <a:pt x="102" y="245"/>
                    <a:pt x="96" y="245"/>
                  </a:cubicBezTo>
                  <a:cubicBezTo>
                    <a:pt x="90" y="245"/>
                    <a:pt x="85" y="240"/>
                    <a:pt x="85" y="234"/>
                  </a:cubicBezTo>
                  <a:cubicBezTo>
                    <a:pt x="85" y="228"/>
                    <a:pt x="90" y="224"/>
                    <a:pt x="96" y="224"/>
                  </a:cubicBezTo>
                  <a:cubicBezTo>
                    <a:pt x="102" y="224"/>
                    <a:pt x="107" y="228"/>
                    <a:pt x="107" y="234"/>
                  </a:cubicBezTo>
                  <a:close/>
                  <a:moveTo>
                    <a:pt x="64" y="234"/>
                  </a:moveTo>
                  <a:cubicBezTo>
                    <a:pt x="64" y="240"/>
                    <a:pt x="59" y="245"/>
                    <a:pt x="53" y="245"/>
                  </a:cubicBezTo>
                  <a:cubicBezTo>
                    <a:pt x="47" y="245"/>
                    <a:pt x="43" y="240"/>
                    <a:pt x="43" y="234"/>
                  </a:cubicBezTo>
                  <a:cubicBezTo>
                    <a:pt x="43" y="228"/>
                    <a:pt x="47" y="224"/>
                    <a:pt x="53" y="224"/>
                  </a:cubicBezTo>
                  <a:cubicBezTo>
                    <a:pt x="59" y="224"/>
                    <a:pt x="64" y="228"/>
                    <a:pt x="6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810"/>
            <p:cNvSpPr>
              <a:spLocks noEditPoints="1"/>
            </p:cNvSpPr>
            <p:nvPr/>
          </p:nvSpPr>
          <p:spPr bwMode="auto">
            <a:xfrm>
              <a:off x="5376" y="36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32" name="Group 331"/>
          <p:cNvGrpSpPr>
            <a:grpSpLocks noChangeAspect="1"/>
          </p:cNvGrpSpPr>
          <p:nvPr/>
        </p:nvGrpSpPr>
        <p:grpSpPr bwMode="auto">
          <a:xfrm>
            <a:off x="923972" y="3740795"/>
            <a:ext cx="367982" cy="367982"/>
            <a:chOff x="6579" y="3604"/>
            <a:chExt cx="340" cy="340"/>
          </a:xfrm>
          <a:solidFill>
            <a:schemeClr val="accent3"/>
          </a:solidFill>
        </p:grpSpPr>
        <p:sp>
          <p:nvSpPr>
            <p:cNvPr id="333" name="Freeform 823"/>
            <p:cNvSpPr>
              <a:spLocks noEditPoints="1"/>
            </p:cNvSpPr>
            <p:nvPr/>
          </p:nvSpPr>
          <p:spPr bwMode="auto">
            <a:xfrm>
              <a:off x="6579" y="36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824"/>
            <p:cNvSpPr>
              <a:spLocks noEditPoints="1"/>
            </p:cNvSpPr>
            <p:nvPr/>
          </p:nvSpPr>
          <p:spPr bwMode="auto">
            <a:xfrm>
              <a:off x="6663" y="3668"/>
              <a:ext cx="172" cy="212"/>
            </a:xfrm>
            <a:custGeom>
              <a:avLst/>
              <a:gdLst>
                <a:gd name="T0" fmla="*/ 246 w 258"/>
                <a:gd name="T1" fmla="*/ 256 h 320"/>
                <a:gd name="T2" fmla="*/ 182 w 258"/>
                <a:gd name="T3" fmla="*/ 117 h 320"/>
                <a:gd name="T4" fmla="*/ 86 w 258"/>
                <a:gd name="T5" fmla="*/ 106 h 320"/>
                <a:gd name="T6" fmla="*/ 75 w 258"/>
                <a:gd name="T7" fmla="*/ 256 h 320"/>
                <a:gd name="T8" fmla="*/ 1 w 258"/>
                <a:gd name="T9" fmla="*/ 262 h 320"/>
                <a:gd name="T10" fmla="*/ 46 w 258"/>
                <a:gd name="T11" fmla="*/ 317 h 320"/>
                <a:gd name="T12" fmla="*/ 203 w 258"/>
                <a:gd name="T13" fmla="*/ 320 h 320"/>
                <a:gd name="T14" fmla="*/ 254 w 258"/>
                <a:gd name="T15" fmla="*/ 274 h 320"/>
                <a:gd name="T16" fmla="*/ 97 w 258"/>
                <a:gd name="T17" fmla="*/ 128 h 320"/>
                <a:gd name="T18" fmla="*/ 161 w 258"/>
                <a:gd name="T19" fmla="*/ 256 h 320"/>
                <a:gd name="T20" fmla="*/ 139 w 258"/>
                <a:gd name="T21" fmla="*/ 213 h 320"/>
                <a:gd name="T22" fmla="*/ 118 w 258"/>
                <a:gd name="T23" fmla="*/ 213 h 320"/>
                <a:gd name="T24" fmla="*/ 97 w 258"/>
                <a:gd name="T25" fmla="*/ 256 h 320"/>
                <a:gd name="T26" fmla="*/ 199 w 258"/>
                <a:gd name="T27" fmla="*/ 298 h 320"/>
                <a:gd name="T28" fmla="*/ 37 w 258"/>
                <a:gd name="T29" fmla="*/ 277 h 320"/>
                <a:gd name="T30" fmla="*/ 199 w 258"/>
                <a:gd name="T31" fmla="*/ 298 h 320"/>
                <a:gd name="T32" fmla="*/ 127 w 258"/>
                <a:gd name="T33" fmla="*/ 85 h 320"/>
                <a:gd name="T34" fmla="*/ 130 w 258"/>
                <a:gd name="T35" fmla="*/ 85 h 320"/>
                <a:gd name="T36" fmla="*/ 134 w 258"/>
                <a:gd name="T37" fmla="*/ 85 h 320"/>
                <a:gd name="T38" fmla="*/ 160 w 258"/>
                <a:gd name="T39" fmla="*/ 41 h 320"/>
                <a:gd name="T40" fmla="*/ 157 w 258"/>
                <a:gd name="T41" fmla="*/ 35 h 320"/>
                <a:gd name="T42" fmla="*/ 148 w 258"/>
                <a:gd name="T43" fmla="*/ 24 h 320"/>
                <a:gd name="T44" fmla="*/ 130 w 258"/>
                <a:gd name="T45" fmla="*/ 0 h 320"/>
                <a:gd name="T46" fmla="*/ 125 w 258"/>
                <a:gd name="T47" fmla="*/ 0 h 320"/>
                <a:gd name="T48" fmla="*/ 112 w 258"/>
                <a:gd name="T49" fmla="*/ 23 h 320"/>
                <a:gd name="T50" fmla="*/ 103 w 258"/>
                <a:gd name="T51" fmla="*/ 35 h 320"/>
                <a:gd name="T52" fmla="*/ 101 w 258"/>
                <a:gd name="T53" fmla="*/ 41 h 320"/>
                <a:gd name="T54" fmla="*/ 126 w 258"/>
                <a:gd name="T55" fmla="*/ 85 h 320"/>
                <a:gd name="T56" fmla="*/ 131 w 258"/>
                <a:gd name="T57" fmla="*/ 64 h 320"/>
                <a:gd name="T58" fmla="*/ 130 w 258"/>
                <a:gd name="T59" fmla="*/ 64 h 320"/>
                <a:gd name="T60" fmla="*/ 129 w 258"/>
                <a:gd name="T61" fmla="*/ 64 h 320"/>
                <a:gd name="T62" fmla="*/ 119 w 258"/>
                <a:gd name="T63" fmla="*/ 53 h 320"/>
                <a:gd name="T64" fmla="*/ 122 w 258"/>
                <a:gd name="T65" fmla="*/ 47 h 320"/>
                <a:gd name="T66" fmla="*/ 130 w 258"/>
                <a:gd name="T67" fmla="*/ 36 h 320"/>
                <a:gd name="T68" fmla="*/ 141 w 258"/>
                <a:gd name="T69" fmla="*/ 5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320">
                  <a:moveTo>
                    <a:pt x="256" y="262"/>
                  </a:moveTo>
                  <a:cubicBezTo>
                    <a:pt x="254" y="258"/>
                    <a:pt x="250" y="256"/>
                    <a:pt x="246" y="256"/>
                  </a:cubicBezTo>
                  <a:cubicBezTo>
                    <a:pt x="182" y="256"/>
                    <a:pt x="182" y="256"/>
                    <a:pt x="182" y="256"/>
                  </a:cubicBezTo>
                  <a:cubicBezTo>
                    <a:pt x="182" y="117"/>
                    <a:pt x="182" y="117"/>
                    <a:pt x="182" y="117"/>
                  </a:cubicBezTo>
                  <a:cubicBezTo>
                    <a:pt x="182" y="111"/>
                    <a:pt x="177" y="106"/>
                    <a:pt x="171" y="106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0" y="106"/>
                    <a:pt x="75" y="111"/>
                    <a:pt x="75" y="117"/>
                  </a:cubicBezTo>
                  <a:cubicBezTo>
                    <a:pt x="75" y="256"/>
                    <a:pt x="75" y="256"/>
                    <a:pt x="75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7" y="256"/>
                    <a:pt x="3" y="258"/>
                    <a:pt x="1" y="262"/>
                  </a:cubicBezTo>
                  <a:cubicBezTo>
                    <a:pt x="0" y="266"/>
                    <a:pt x="1" y="271"/>
                    <a:pt x="4" y="274"/>
                  </a:cubicBezTo>
                  <a:cubicBezTo>
                    <a:pt x="46" y="317"/>
                    <a:pt x="46" y="317"/>
                    <a:pt x="46" y="317"/>
                  </a:cubicBezTo>
                  <a:cubicBezTo>
                    <a:pt x="48" y="319"/>
                    <a:pt x="51" y="320"/>
                    <a:pt x="54" y="320"/>
                  </a:cubicBezTo>
                  <a:cubicBezTo>
                    <a:pt x="203" y="320"/>
                    <a:pt x="203" y="320"/>
                    <a:pt x="203" y="320"/>
                  </a:cubicBezTo>
                  <a:cubicBezTo>
                    <a:pt x="206" y="320"/>
                    <a:pt x="209" y="319"/>
                    <a:pt x="211" y="317"/>
                  </a:cubicBezTo>
                  <a:cubicBezTo>
                    <a:pt x="254" y="274"/>
                    <a:pt x="254" y="274"/>
                    <a:pt x="254" y="274"/>
                  </a:cubicBezTo>
                  <a:cubicBezTo>
                    <a:pt x="257" y="271"/>
                    <a:pt x="258" y="266"/>
                    <a:pt x="256" y="262"/>
                  </a:cubicBezTo>
                  <a:close/>
                  <a:moveTo>
                    <a:pt x="97" y="128"/>
                  </a:moveTo>
                  <a:cubicBezTo>
                    <a:pt x="161" y="128"/>
                    <a:pt x="161" y="128"/>
                    <a:pt x="161" y="128"/>
                  </a:cubicBezTo>
                  <a:cubicBezTo>
                    <a:pt x="161" y="256"/>
                    <a:pt x="161" y="256"/>
                    <a:pt x="161" y="256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39" y="213"/>
                    <a:pt x="139" y="213"/>
                    <a:pt x="139" y="213"/>
                  </a:cubicBezTo>
                  <a:cubicBezTo>
                    <a:pt x="139" y="207"/>
                    <a:pt x="135" y="202"/>
                    <a:pt x="129" y="202"/>
                  </a:cubicBezTo>
                  <a:cubicBezTo>
                    <a:pt x="123" y="202"/>
                    <a:pt x="118" y="207"/>
                    <a:pt x="118" y="213"/>
                  </a:cubicBezTo>
                  <a:cubicBezTo>
                    <a:pt x="118" y="256"/>
                    <a:pt x="118" y="256"/>
                    <a:pt x="118" y="256"/>
                  </a:cubicBezTo>
                  <a:cubicBezTo>
                    <a:pt x="97" y="256"/>
                    <a:pt x="97" y="256"/>
                    <a:pt x="97" y="256"/>
                  </a:cubicBezTo>
                  <a:lnTo>
                    <a:pt x="97" y="128"/>
                  </a:lnTo>
                  <a:close/>
                  <a:moveTo>
                    <a:pt x="199" y="298"/>
                  </a:moveTo>
                  <a:cubicBezTo>
                    <a:pt x="58" y="298"/>
                    <a:pt x="58" y="298"/>
                    <a:pt x="58" y="298"/>
                  </a:cubicBezTo>
                  <a:cubicBezTo>
                    <a:pt x="37" y="277"/>
                    <a:pt x="37" y="277"/>
                    <a:pt x="37" y="277"/>
                  </a:cubicBezTo>
                  <a:cubicBezTo>
                    <a:pt x="220" y="277"/>
                    <a:pt x="220" y="277"/>
                    <a:pt x="220" y="277"/>
                  </a:cubicBezTo>
                  <a:lnTo>
                    <a:pt x="199" y="298"/>
                  </a:lnTo>
                  <a:close/>
                  <a:moveTo>
                    <a:pt x="126" y="85"/>
                  </a:moveTo>
                  <a:cubicBezTo>
                    <a:pt x="127" y="85"/>
                    <a:pt x="127" y="85"/>
                    <a:pt x="127" y="85"/>
                  </a:cubicBezTo>
                  <a:cubicBezTo>
                    <a:pt x="128" y="85"/>
                    <a:pt x="128" y="85"/>
                    <a:pt x="129" y="85"/>
                  </a:cubicBezTo>
                  <a:cubicBezTo>
                    <a:pt x="130" y="85"/>
                    <a:pt x="130" y="85"/>
                    <a:pt x="130" y="85"/>
                  </a:cubicBezTo>
                  <a:cubicBezTo>
                    <a:pt x="130" y="85"/>
                    <a:pt x="130" y="85"/>
                    <a:pt x="130" y="85"/>
                  </a:cubicBezTo>
                  <a:cubicBezTo>
                    <a:pt x="132" y="85"/>
                    <a:pt x="133" y="85"/>
                    <a:pt x="134" y="85"/>
                  </a:cubicBezTo>
                  <a:cubicBezTo>
                    <a:pt x="150" y="83"/>
                    <a:pt x="163" y="69"/>
                    <a:pt x="163" y="53"/>
                  </a:cubicBezTo>
                  <a:cubicBezTo>
                    <a:pt x="163" y="49"/>
                    <a:pt x="162" y="45"/>
                    <a:pt x="160" y="41"/>
                  </a:cubicBezTo>
                  <a:cubicBezTo>
                    <a:pt x="160" y="40"/>
                    <a:pt x="160" y="40"/>
                    <a:pt x="160" y="39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7" y="35"/>
                    <a:pt x="157" y="34"/>
                    <a:pt x="156" y="34"/>
                  </a:cubicBezTo>
                  <a:cubicBezTo>
                    <a:pt x="156" y="34"/>
                    <a:pt x="151" y="28"/>
                    <a:pt x="148" y="24"/>
                  </a:cubicBezTo>
                  <a:cubicBezTo>
                    <a:pt x="145" y="19"/>
                    <a:pt x="143" y="15"/>
                    <a:pt x="143" y="12"/>
                  </a:cubicBezTo>
                  <a:cubicBezTo>
                    <a:pt x="142" y="5"/>
                    <a:pt x="137" y="0"/>
                    <a:pt x="130" y="0"/>
                  </a:cubicBezTo>
                  <a:cubicBezTo>
                    <a:pt x="130" y="0"/>
                    <a:pt x="130" y="0"/>
                    <a:pt x="129" y="0"/>
                  </a:cubicBezTo>
                  <a:cubicBezTo>
                    <a:pt x="128" y="0"/>
                    <a:pt x="127" y="0"/>
                    <a:pt x="125" y="0"/>
                  </a:cubicBezTo>
                  <a:cubicBezTo>
                    <a:pt x="121" y="2"/>
                    <a:pt x="117" y="6"/>
                    <a:pt x="117" y="12"/>
                  </a:cubicBezTo>
                  <a:cubicBezTo>
                    <a:pt x="117" y="15"/>
                    <a:pt x="115" y="19"/>
                    <a:pt x="112" y="23"/>
                  </a:cubicBezTo>
                  <a:cubicBezTo>
                    <a:pt x="109" y="28"/>
                    <a:pt x="104" y="34"/>
                    <a:pt x="104" y="34"/>
                  </a:cubicBezTo>
                  <a:cubicBezTo>
                    <a:pt x="104" y="34"/>
                    <a:pt x="104" y="35"/>
                    <a:pt x="103" y="35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0"/>
                    <a:pt x="101" y="40"/>
                    <a:pt x="101" y="41"/>
                  </a:cubicBezTo>
                  <a:cubicBezTo>
                    <a:pt x="99" y="45"/>
                    <a:pt x="98" y="49"/>
                    <a:pt x="98" y="53"/>
                  </a:cubicBezTo>
                  <a:cubicBezTo>
                    <a:pt x="98" y="69"/>
                    <a:pt x="110" y="83"/>
                    <a:pt x="126" y="85"/>
                  </a:cubicBezTo>
                  <a:close/>
                  <a:moveTo>
                    <a:pt x="141" y="53"/>
                  </a:moveTo>
                  <a:cubicBezTo>
                    <a:pt x="141" y="58"/>
                    <a:pt x="137" y="63"/>
                    <a:pt x="131" y="64"/>
                  </a:cubicBezTo>
                  <a:cubicBezTo>
                    <a:pt x="131" y="64"/>
                    <a:pt x="131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4" y="63"/>
                    <a:pt x="119" y="58"/>
                    <a:pt x="119" y="53"/>
                  </a:cubicBezTo>
                  <a:cubicBezTo>
                    <a:pt x="119" y="52"/>
                    <a:pt x="120" y="51"/>
                    <a:pt x="120" y="49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3" y="45"/>
                    <a:pt x="127" y="40"/>
                    <a:pt x="130" y="35"/>
                  </a:cubicBezTo>
                  <a:cubicBezTo>
                    <a:pt x="130" y="35"/>
                    <a:pt x="130" y="35"/>
                    <a:pt x="130" y="36"/>
                  </a:cubicBezTo>
                  <a:cubicBezTo>
                    <a:pt x="134" y="40"/>
                    <a:pt x="138" y="45"/>
                    <a:pt x="139" y="47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1" y="51"/>
                    <a:pt x="141" y="52"/>
                    <a:pt x="141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5" name="Freeform 334"/>
          <p:cNvSpPr>
            <a:spLocks noChangeAspect="1" noEditPoints="1"/>
          </p:cNvSpPr>
          <p:nvPr/>
        </p:nvSpPr>
        <p:spPr bwMode="auto">
          <a:xfrm>
            <a:off x="426272" y="3740795"/>
            <a:ext cx="367982" cy="367982"/>
          </a:xfrm>
          <a:custGeom>
            <a:avLst/>
            <a:gdLst>
              <a:gd name="T0" fmla="*/ 247 w 512"/>
              <a:gd name="T1" fmla="*/ 145 h 512"/>
              <a:gd name="T2" fmla="*/ 257 w 512"/>
              <a:gd name="T3" fmla="*/ 131 h 512"/>
              <a:gd name="T4" fmla="*/ 266 w 512"/>
              <a:gd name="T5" fmla="*/ 143 h 512"/>
              <a:gd name="T6" fmla="*/ 268 w 512"/>
              <a:gd name="T7" fmla="*/ 149 h 512"/>
              <a:gd name="T8" fmla="*/ 257 w 512"/>
              <a:gd name="T9" fmla="*/ 160 h 512"/>
              <a:gd name="T10" fmla="*/ 257 w 512"/>
              <a:gd name="T11" fmla="*/ 160 h 512"/>
              <a:gd name="T12" fmla="*/ 256 w 512"/>
              <a:gd name="T13" fmla="*/ 160 h 512"/>
              <a:gd name="T14" fmla="*/ 245 w 512"/>
              <a:gd name="T15" fmla="*/ 309 h 512"/>
              <a:gd name="T16" fmla="*/ 266 w 512"/>
              <a:gd name="T17" fmla="*/ 309 h 512"/>
              <a:gd name="T18" fmla="*/ 288 w 512"/>
              <a:gd name="T19" fmla="*/ 352 h 512"/>
              <a:gd name="T20" fmla="*/ 224 w 512"/>
              <a:gd name="T21" fmla="*/ 224 h 512"/>
              <a:gd name="T22" fmla="*/ 245 w 512"/>
              <a:gd name="T23" fmla="*/ 352 h 512"/>
              <a:gd name="T24" fmla="*/ 185 w 512"/>
              <a:gd name="T25" fmla="*/ 394 h 512"/>
              <a:gd name="T26" fmla="*/ 347 w 512"/>
              <a:gd name="T27" fmla="*/ 373 h 512"/>
              <a:gd name="T28" fmla="*/ 185 w 512"/>
              <a:gd name="T29" fmla="*/ 394 h 512"/>
              <a:gd name="T30" fmla="*/ 256 w 512"/>
              <a:gd name="T31" fmla="*/ 512 h 512"/>
              <a:gd name="T32" fmla="*/ 256 w 512"/>
              <a:gd name="T33" fmla="*/ 0 h 512"/>
              <a:gd name="T34" fmla="*/ 225 w 512"/>
              <a:gd name="T35" fmla="*/ 149 h 512"/>
              <a:gd name="T36" fmla="*/ 254 w 512"/>
              <a:gd name="T37" fmla="*/ 181 h 512"/>
              <a:gd name="T38" fmla="*/ 257 w 512"/>
              <a:gd name="T39" fmla="*/ 181 h 512"/>
              <a:gd name="T40" fmla="*/ 261 w 512"/>
              <a:gd name="T41" fmla="*/ 181 h 512"/>
              <a:gd name="T42" fmla="*/ 287 w 512"/>
              <a:gd name="T43" fmla="*/ 137 h 512"/>
              <a:gd name="T44" fmla="*/ 284 w 512"/>
              <a:gd name="T45" fmla="*/ 131 h 512"/>
              <a:gd name="T46" fmla="*/ 275 w 512"/>
              <a:gd name="T47" fmla="*/ 120 h 512"/>
              <a:gd name="T48" fmla="*/ 257 w 512"/>
              <a:gd name="T49" fmla="*/ 96 h 512"/>
              <a:gd name="T50" fmla="*/ 252 w 512"/>
              <a:gd name="T51" fmla="*/ 96 h 512"/>
              <a:gd name="T52" fmla="*/ 239 w 512"/>
              <a:gd name="T53" fmla="*/ 119 h 512"/>
              <a:gd name="T54" fmla="*/ 230 w 512"/>
              <a:gd name="T55" fmla="*/ 131 h 512"/>
              <a:gd name="T56" fmla="*/ 228 w 512"/>
              <a:gd name="T57" fmla="*/ 137 h 512"/>
              <a:gd name="T58" fmla="*/ 383 w 512"/>
              <a:gd name="T59" fmla="*/ 358 h 512"/>
              <a:gd name="T60" fmla="*/ 309 w 512"/>
              <a:gd name="T61" fmla="*/ 352 h 512"/>
              <a:gd name="T62" fmla="*/ 298 w 512"/>
              <a:gd name="T63" fmla="*/ 202 h 512"/>
              <a:gd name="T64" fmla="*/ 202 w 512"/>
              <a:gd name="T65" fmla="*/ 213 h 512"/>
              <a:gd name="T66" fmla="*/ 138 w 512"/>
              <a:gd name="T67" fmla="*/ 352 h 512"/>
              <a:gd name="T68" fmla="*/ 131 w 512"/>
              <a:gd name="T69" fmla="*/ 370 h 512"/>
              <a:gd name="T70" fmla="*/ 181 w 512"/>
              <a:gd name="T71" fmla="*/ 416 h 512"/>
              <a:gd name="T72" fmla="*/ 338 w 512"/>
              <a:gd name="T73" fmla="*/ 413 h 512"/>
              <a:gd name="T74" fmla="*/ 383 w 512"/>
              <a:gd name="T75" fmla="*/ 35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46" y="149"/>
                </a:moveTo>
                <a:cubicBezTo>
                  <a:pt x="246" y="148"/>
                  <a:pt x="247" y="147"/>
                  <a:pt x="247" y="145"/>
                </a:cubicBezTo>
                <a:cubicBezTo>
                  <a:pt x="249" y="143"/>
                  <a:pt x="249" y="143"/>
                  <a:pt x="249" y="143"/>
                </a:cubicBezTo>
                <a:cubicBezTo>
                  <a:pt x="250" y="141"/>
                  <a:pt x="254" y="136"/>
                  <a:pt x="257" y="131"/>
                </a:cubicBezTo>
                <a:cubicBezTo>
                  <a:pt x="257" y="131"/>
                  <a:pt x="257" y="131"/>
                  <a:pt x="257" y="132"/>
                </a:cubicBezTo>
                <a:cubicBezTo>
                  <a:pt x="261" y="136"/>
                  <a:pt x="265" y="141"/>
                  <a:pt x="266" y="143"/>
                </a:cubicBezTo>
                <a:cubicBezTo>
                  <a:pt x="268" y="146"/>
                  <a:pt x="268" y="146"/>
                  <a:pt x="268" y="146"/>
                </a:cubicBezTo>
                <a:cubicBezTo>
                  <a:pt x="268" y="147"/>
                  <a:pt x="268" y="148"/>
                  <a:pt x="268" y="149"/>
                </a:cubicBezTo>
                <a:cubicBezTo>
                  <a:pt x="268" y="154"/>
                  <a:pt x="264" y="159"/>
                  <a:pt x="258" y="160"/>
                </a:cubicBezTo>
                <a:cubicBezTo>
                  <a:pt x="258" y="160"/>
                  <a:pt x="258" y="160"/>
                  <a:pt x="257" y="160"/>
                </a:cubicBezTo>
                <a:cubicBezTo>
                  <a:pt x="257" y="160"/>
                  <a:pt x="257" y="160"/>
                  <a:pt x="257" y="160"/>
                </a:cubicBezTo>
                <a:cubicBezTo>
                  <a:pt x="257" y="160"/>
                  <a:pt x="257" y="160"/>
                  <a:pt x="257" y="160"/>
                </a:cubicBezTo>
                <a:cubicBezTo>
                  <a:pt x="257" y="160"/>
                  <a:pt x="256" y="160"/>
                  <a:pt x="256" y="160"/>
                </a:cubicBezTo>
                <a:cubicBezTo>
                  <a:pt x="256" y="160"/>
                  <a:pt x="256" y="160"/>
                  <a:pt x="256" y="160"/>
                </a:cubicBezTo>
                <a:cubicBezTo>
                  <a:pt x="251" y="159"/>
                  <a:pt x="246" y="154"/>
                  <a:pt x="246" y="149"/>
                </a:cubicBezTo>
                <a:close/>
                <a:moveTo>
                  <a:pt x="245" y="309"/>
                </a:moveTo>
                <a:cubicBezTo>
                  <a:pt x="245" y="303"/>
                  <a:pt x="250" y="298"/>
                  <a:pt x="256" y="298"/>
                </a:cubicBezTo>
                <a:cubicBezTo>
                  <a:pt x="262" y="298"/>
                  <a:pt x="266" y="303"/>
                  <a:pt x="266" y="309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45" y="352"/>
                  <a:pt x="245" y="352"/>
                  <a:pt x="245" y="352"/>
                </a:cubicBezTo>
                <a:lnTo>
                  <a:pt x="245" y="309"/>
                </a:lnTo>
                <a:close/>
                <a:moveTo>
                  <a:pt x="185" y="394"/>
                </a:moveTo>
                <a:cubicBezTo>
                  <a:pt x="326" y="394"/>
                  <a:pt x="326" y="394"/>
                  <a:pt x="326" y="394"/>
                </a:cubicBezTo>
                <a:cubicBezTo>
                  <a:pt x="347" y="373"/>
                  <a:pt x="347" y="373"/>
                  <a:pt x="347" y="373"/>
                </a:cubicBezTo>
                <a:cubicBezTo>
                  <a:pt x="164" y="373"/>
                  <a:pt x="164" y="373"/>
                  <a:pt x="164" y="373"/>
                </a:cubicBezTo>
                <a:lnTo>
                  <a:pt x="185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5" y="149"/>
                </a:moveTo>
                <a:cubicBezTo>
                  <a:pt x="225" y="165"/>
                  <a:pt x="237" y="179"/>
                  <a:pt x="253" y="181"/>
                </a:cubicBezTo>
                <a:cubicBezTo>
                  <a:pt x="254" y="181"/>
                  <a:pt x="254" y="181"/>
                  <a:pt x="254" y="181"/>
                </a:cubicBezTo>
                <a:cubicBezTo>
                  <a:pt x="255" y="181"/>
                  <a:pt x="255" y="181"/>
                  <a:pt x="256" y="181"/>
                </a:cubicBezTo>
                <a:cubicBezTo>
                  <a:pt x="257" y="181"/>
                  <a:pt x="257" y="181"/>
                  <a:pt x="257" y="181"/>
                </a:cubicBezTo>
                <a:cubicBezTo>
                  <a:pt x="257" y="181"/>
                  <a:pt x="257" y="181"/>
                  <a:pt x="257" y="181"/>
                </a:cubicBezTo>
                <a:cubicBezTo>
                  <a:pt x="259" y="181"/>
                  <a:pt x="260" y="181"/>
                  <a:pt x="261" y="181"/>
                </a:cubicBezTo>
                <a:cubicBezTo>
                  <a:pt x="277" y="179"/>
                  <a:pt x="290" y="165"/>
                  <a:pt x="290" y="149"/>
                </a:cubicBezTo>
                <a:cubicBezTo>
                  <a:pt x="290" y="145"/>
                  <a:pt x="289" y="141"/>
                  <a:pt x="287" y="137"/>
                </a:cubicBezTo>
                <a:cubicBezTo>
                  <a:pt x="287" y="136"/>
                  <a:pt x="287" y="136"/>
                  <a:pt x="287" y="135"/>
                </a:cubicBezTo>
                <a:cubicBezTo>
                  <a:pt x="284" y="131"/>
                  <a:pt x="284" y="131"/>
                  <a:pt x="284" y="131"/>
                </a:cubicBezTo>
                <a:cubicBezTo>
                  <a:pt x="284" y="131"/>
                  <a:pt x="284" y="130"/>
                  <a:pt x="283" y="130"/>
                </a:cubicBezTo>
                <a:cubicBezTo>
                  <a:pt x="283" y="130"/>
                  <a:pt x="278" y="124"/>
                  <a:pt x="275" y="120"/>
                </a:cubicBezTo>
                <a:cubicBezTo>
                  <a:pt x="272" y="115"/>
                  <a:pt x="270" y="111"/>
                  <a:pt x="270" y="108"/>
                </a:cubicBezTo>
                <a:cubicBezTo>
                  <a:pt x="269" y="101"/>
                  <a:pt x="264" y="96"/>
                  <a:pt x="257" y="96"/>
                </a:cubicBezTo>
                <a:cubicBezTo>
                  <a:pt x="257" y="96"/>
                  <a:pt x="257" y="96"/>
                  <a:pt x="256" y="96"/>
                </a:cubicBezTo>
                <a:cubicBezTo>
                  <a:pt x="255" y="96"/>
                  <a:pt x="254" y="96"/>
                  <a:pt x="252" y="96"/>
                </a:cubicBezTo>
                <a:cubicBezTo>
                  <a:pt x="248" y="98"/>
                  <a:pt x="244" y="102"/>
                  <a:pt x="244" y="108"/>
                </a:cubicBezTo>
                <a:cubicBezTo>
                  <a:pt x="244" y="111"/>
                  <a:pt x="242" y="115"/>
                  <a:pt x="239" y="119"/>
                </a:cubicBezTo>
                <a:cubicBezTo>
                  <a:pt x="236" y="124"/>
                  <a:pt x="231" y="130"/>
                  <a:pt x="231" y="130"/>
                </a:cubicBezTo>
                <a:cubicBezTo>
                  <a:pt x="231" y="130"/>
                  <a:pt x="231" y="131"/>
                  <a:pt x="230" y="131"/>
                </a:cubicBezTo>
                <a:cubicBezTo>
                  <a:pt x="228" y="136"/>
                  <a:pt x="228" y="136"/>
                  <a:pt x="228" y="136"/>
                </a:cubicBezTo>
                <a:cubicBezTo>
                  <a:pt x="228" y="136"/>
                  <a:pt x="228" y="136"/>
                  <a:pt x="228" y="137"/>
                </a:cubicBezTo>
                <a:cubicBezTo>
                  <a:pt x="226" y="141"/>
                  <a:pt x="225" y="145"/>
                  <a:pt x="225" y="149"/>
                </a:cubicBezTo>
                <a:close/>
                <a:moveTo>
                  <a:pt x="383" y="358"/>
                </a:moveTo>
                <a:cubicBezTo>
                  <a:pt x="381" y="354"/>
                  <a:pt x="377" y="352"/>
                  <a:pt x="373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07"/>
                  <a:pt x="304" y="202"/>
                  <a:pt x="298" y="202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07" y="202"/>
                  <a:pt x="202" y="207"/>
                  <a:pt x="202" y="213"/>
                </a:cubicBezTo>
                <a:cubicBezTo>
                  <a:pt x="202" y="352"/>
                  <a:pt x="202" y="352"/>
                  <a:pt x="202" y="352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34" y="352"/>
                  <a:pt x="130" y="354"/>
                  <a:pt x="128" y="358"/>
                </a:cubicBezTo>
                <a:cubicBezTo>
                  <a:pt x="127" y="362"/>
                  <a:pt x="128" y="367"/>
                  <a:pt x="131" y="370"/>
                </a:cubicBezTo>
                <a:cubicBezTo>
                  <a:pt x="173" y="413"/>
                  <a:pt x="173" y="413"/>
                  <a:pt x="173" y="413"/>
                </a:cubicBezTo>
                <a:cubicBezTo>
                  <a:pt x="175" y="415"/>
                  <a:pt x="178" y="416"/>
                  <a:pt x="181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3" y="416"/>
                  <a:pt x="336" y="415"/>
                  <a:pt x="338" y="413"/>
                </a:cubicBezTo>
                <a:cubicBezTo>
                  <a:pt x="381" y="370"/>
                  <a:pt x="381" y="370"/>
                  <a:pt x="381" y="370"/>
                </a:cubicBezTo>
                <a:cubicBezTo>
                  <a:pt x="384" y="367"/>
                  <a:pt x="385" y="362"/>
                  <a:pt x="383" y="35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6" name="Freeform 899"/>
          <p:cNvSpPr>
            <a:spLocks noChangeAspect="1" noEditPoints="1"/>
          </p:cNvSpPr>
          <p:nvPr/>
        </p:nvSpPr>
        <p:spPr bwMode="auto">
          <a:xfrm>
            <a:off x="7394072" y="3740795"/>
            <a:ext cx="367982" cy="367982"/>
          </a:xfrm>
          <a:custGeom>
            <a:avLst/>
            <a:gdLst>
              <a:gd name="T0" fmla="*/ 138 w 512"/>
              <a:gd name="T1" fmla="*/ 160 h 512"/>
              <a:gd name="T2" fmla="*/ 341 w 512"/>
              <a:gd name="T3" fmla="*/ 160 h 512"/>
              <a:gd name="T4" fmla="*/ 341 w 512"/>
              <a:gd name="T5" fmla="*/ 212 h 512"/>
              <a:gd name="T6" fmla="*/ 236 w 512"/>
              <a:gd name="T7" fmla="*/ 304 h 512"/>
              <a:gd name="T8" fmla="*/ 189 w 512"/>
              <a:gd name="T9" fmla="*/ 249 h 512"/>
              <a:gd name="T10" fmla="*/ 174 w 512"/>
              <a:gd name="T11" fmla="*/ 247 h 512"/>
              <a:gd name="T12" fmla="*/ 173 w 512"/>
              <a:gd name="T13" fmla="*/ 263 h 512"/>
              <a:gd name="T14" fmla="*/ 226 w 512"/>
              <a:gd name="T15" fmla="*/ 327 h 512"/>
              <a:gd name="T16" fmla="*/ 226 w 512"/>
              <a:gd name="T17" fmla="*/ 327 h 512"/>
              <a:gd name="T18" fmla="*/ 234 w 512"/>
              <a:gd name="T19" fmla="*/ 330 h 512"/>
              <a:gd name="T20" fmla="*/ 241 w 512"/>
              <a:gd name="T21" fmla="*/ 328 h 512"/>
              <a:gd name="T22" fmla="*/ 341 w 512"/>
              <a:gd name="T23" fmla="*/ 241 h 512"/>
              <a:gd name="T24" fmla="*/ 341 w 512"/>
              <a:gd name="T25" fmla="*/ 362 h 512"/>
              <a:gd name="T26" fmla="*/ 138 w 512"/>
              <a:gd name="T27" fmla="*/ 362 h 512"/>
              <a:gd name="T28" fmla="*/ 138 w 512"/>
              <a:gd name="T29" fmla="*/ 160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3 w 512"/>
              <a:gd name="T41" fmla="*/ 163 h 512"/>
              <a:gd name="T42" fmla="*/ 398 w 512"/>
              <a:gd name="T43" fmla="*/ 162 h 512"/>
              <a:gd name="T44" fmla="*/ 362 w 512"/>
              <a:gd name="T45" fmla="*/ 193 h 512"/>
              <a:gd name="T46" fmla="*/ 362 w 512"/>
              <a:gd name="T47" fmla="*/ 149 h 512"/>
              <a:gd name="T48" fmla="*/ 352 w 512"/>
              <a:gd name="T49" fmla="*/ 138 h 512"/>
              <a:gd name="T50" fmla="*/ 128 w 512"/>
              <a:gd name="T51" fmla="*/ 138 h 512"/>
              <a:gd name="T52" fmla="*/ 117 w 512"/>
              <a:gd name="T53" fmla="*/ 149 h 512"/>
              <a:gd name="T54" fmla="*/ 117 w 512"/>
              <a:gd name="T55" fmla="*/ 373 h 512"/>
              <a:gd name="T56" fmla="*/ 128 w 512"/>
              <a:gd name="T57" fmla="*/ 384 h 512"/>
              <a:gd name="T58" fmla="*/ 352 w 512"/>
              <a:gd name="T59" fmla="*/ 384 h 512"/>
              <a:gd name="T60" fmla="*/ 362 w 512"/>
              <a:gd name="T61" fmla="*/ 373 h 512"/>
              <a:gd name="T62" fmla="*/ 362 w 512"/>
              <a:gd name="T63" fmla="*/ 222 h 512"/>
              <a:gd name="T64" fmla="*/ 412 w 512"/>
              <a:gd name="T65" fmla="*/ 178 h 512"/>
              <a:gd name="T66" fmla="*/ 413 w 512"/>
              <a:gd name="T67" fmla="*/ 1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38" y="160"/>
                </a:moveTo>
                <a:cubicBezTo>
                  <a:pt x="341" y="160"/>
                  <a:pt x="341" y="160"/>
                  <a:pt x="341" y="160"/>
                </a:cubicBezTo>
                <a:cubicBezTo>
                  <a:pt x="341" y="212"/>
                  <a:pt x="341" y="212"/>
                  <a:pt x="341" y="212"/>
                </a:cubicBezTo>
                <a:cubicBezTo>
                  <a:pt x="236" y="304"/>
                  <a:pt x="236" y="304"/>
                  <a:pt x="236" y="304"/>
                </a:cubicBezTo>
                <a:cubicBezTo>
                  <a:pt x="189" y="249"/>
                  <a:pt x="189" y="249"/>
                  <a:pt x="189" y="249"/>
                </a:cubicBezTo>
                <a:cubicBezTo>
                  <a:pt x="185" y="244"/>
                  <a:pt x="179" y="244"/>
                  <a:pt x="174" y="247"/>
                </a:cubicBezTo>
                <a:cubicBezTo>
                  <a:pt x="170" y="251"/>
                  <a:pt x="169" y="258"/>
                  <a:pt x="173" y="263"/>
                </a:cubicBezTo>
                <a:cubicBezTo>
                  <a:pt x="226" y="327"/>
                  <a:pt x="226" y="327"/>
                  <a:pt x="226" y="327"/>
                </a:cubicBezTo>
                <a:cubicBezTo>
                  <a:pt x="226" y="327"/>
                  <a:pt x="226" y="327"/>
                  <a:pt x="226" y="327"/>
                </a:cubicBezTo>
                <a:cubicBezTo>
                  <a:pt x="228" y="329"/>
                  <a:pt x="231" y="330"/>
                  <a:pt x="234" y="330"/>
                </a:cubicBezTo>
                <a:cubicBezTo>
                  <a:pt x="237" y="330"/>
                  <a:pt x="239" y="329"/>
                  <a:pt x="241" y="328"/>
                </a:cubicBezTo>
                <a:cubicBezTo>
                  <a:pt x="341" y="241"/>
                  <a:pt x="341" y="241"/>
                  <a:pt x="341" y="241"/>
                </a:cubicBezTo>
                <a:cubicBezTo>
                  <a:pt x="341" y="362"/>
                  <a:pt x="341" y="362"/>
                  <a:pt x="341" y="362"/>
                </a:cubicBezTo>
                <a:cubicBezTo>
                  <a:pt x="138" y="362"/>
                  <a:pt x="138" y="362"/>
                  <a:pt x="138" y="362"/>
                </a:cubicBezTo>
                <a:lnTo>
                  <a:pt x="138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3" y="163"/>
                </a:moveTo>
                <a:cubicBezTo>
                  <a:pt x="409" y="159"/>
                  <a:pt x="402" y="158"/>
                  <a:pt x="398" y="162"/>
                </a:cubicBezTo>
                <a:cubicBezTo>
                  <a:pt x="362" y="193"/>
                  <a:pt x="362" y="193"/>
                  <a:pt x="362" y="193"/>
                </a:cubicBezTo>
                <a:cubicBezTo>
                  <a:pt x="362" y="149"/>
                  <a:pt x="362" y="149"/>
                  <a:pt x="362" y="149"/>
                </a:cubicBezTo>
                <a:cubicBezTo>
                  <a:pt x="362" y="143"/>
                  <a:pt x="358" y="138"/>
                  <a:pt x="352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22" y="138"/>
                  <a:pt x="117" y="143"/>
                  <a:pt x="117" y="149"/>
                </a:cubicBezTo>
                <a:cubicBezTo>
                  <a:pt x="117" y="373"/>
                  <a:pt x="117" y="373"/>
                  <a:pt x="117" y="373"/>
                </a:cubicBezTo>
                <a:cubicBezTo>
                  <a:pt x="117" y="379"/>
                  <a:pt x="122" y="384"/>
                  <a:pt x="128" y="384"/>
                </a:cubicBezTo>
                <a:cubicBezTo>
                  <a:pt x="352" y="384"/>
                  <a:pt x="352" y="384"/>
                  <a:pt x="352" y="384"/>
                </a:cubicBezTo>
                <a:cubicBezTo>
                  <a:pt x="358" y="384"/>
                  <a:pt x="362" y="379"/>
                  <a:pt x="362" y="373"/>
                </a:cubicBezTo>
                <a:cubicBezTo>
                  <a:pt x="362" y="222"/>
                  <a:pt x="362" y="222"/>
                  <a:pt x="362" y="222"/>
                </a:cubicBezTo>
                <a:cubicBezTo>
                  <a:pt x="412" y="178"/>
                  <a:pt x="412" y="178"/>
                  <a:pt x="412" y="178"/>
                </a:cubicBezTo>
                <a:cubicBezTo>
                  <a:pt x="416" y="174"/>
                  <a:pt x="417" y="168"/>
                  <a:pt x="413" y="1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7" name="Group 902"/>
          <p:cNvGrpSpPr>
            <a:grpSpLocks noChangeAspect="1"/>
          </p:cNvGrpSpPr>
          <p:nvPr/>
        </p:nvGrpSpPr>
        <p:grpSpPr bwMode="auto">
          <a:xfrm>
            <a:off x="7891772" y="3740795"/>
            <a:ext cx="367982" cy="367982"/>
            <a:chOff x="4880" y="3759"/>
            <a:chExt cx="340" cy="340"/>
          </a:xfrm>
          <a:solidFill>
            <a:schemeClr val="accent4"/>
          </a:solidFill>
        </p:grpSpPr>
        <p:sp>
          <p:nvSpPr>
            <p:cNvPr id="338" name="Freeform 903"/>
            <p:cNvSpPr>
              <a:spLocks noEditPoints="1"/>
            </p:cNvSpPr>
            <p:nvPr/>
          </p:nvSpPr>
          <p:spPr bwMode="auto">
            <a:xfrm>
              <a:off x="4880" y="375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904"/>
            <p:cNvSpPr>
              <a:spLocks noEditPoints="1"/>
            </p:cNvSpPr>
            <p:nvPr/>
          </p:nvSpPr>
          <p:spPr bwMode="auto">
            <a:xfrm>
              <a:off x="4958" y="3851"/>
              <a:ext cx="199" cy="163"/>
            </a:xfrm>
            <a:custGeom>
              <a:avLst/>
              <a:gdLst>
                <a:gd name="T0" fmla="*/ 296 w 300"/>
                <a:gd name="T1" fmla="*/ 25 h 246"/>
                <a:gd name="T2" fmla="*/ 281 w 300"/>
                <a:gd name="T3" fmla="*/ 24 h 246"/>
                <a:gd name="T4" fmla="*/ 245 w 300"/>
                <a:gd name="T5" fmla="*/ 55 h 246"/>
                <a:gd name="T6" fmla="*/ 245 w 300"/>
                <a:gd name="T7" fmla="*/ 11 h 246"/>
                <a:gd name="T8" fmla="*/ 235 w 300"/>
                <a:gd name="T9" fmla="*/ 0 h 246"/>
                <a:gd name="T10" fmla="*/ 11 w 300"/>
                <a:gd name="T11" fmla="*/ 0 h 246"/>
                <a:gd name="T12" fmla="*/ 0 w 300"/>
                <a:gd name="T13" fmla="*/ 11 h 246"/>
                <a:gd name="T14" fmla="*/ 0 w 300"/>
                <a:gd name="T15" fmla="*/ 235 h 246"/>
                <a:gd name="T16" fmla="*/ 11 w 300"/>
                <a:gd name="T17" fmla="*/ 246 h 246"/>
                <a:gd name="T18" fmla="*/ 235 w 300"/>
                <a:gd name="T19" fmla="*/ 246 h 246"/>
                <a:gd name="T20" fmla="*/ 245 w 300"/>
                <a:gd name="T21" fmla="*/ 235 h 246"/>
                <a:gd name="T22" fmla="*/ 245 w 300"/>
                <a:gd name="T23" fmla="*/ 84 h 246"/>
                <a:gd name="T24" fmla="*/ 295 w 300"/>
                <a:gd name="T25" fmla="*/ 40 h 246"/>
                <a:gd name="T26" fmla="*/ 296 w 300"/>
                <a:gd name="T27" fmla="*/ 25 h 246"/>
                <a:gd name="T28" fmla="*/ 224 w 300"/>
                <a:gd name="T29" fmla="*/ 224 h 246"/>
                <a:gd name="T30" fmla="*/ 21 w 300"/>
                <a:gd name="T31" fmla="*/ 224 h 246"/>
                <a:gd name="T32" fmla="*/ 21 w 300"/>
                <a:gd name="T33" fmla="*/ 22 h 246"/>
                <a:gd name="T34" fmla="*/ 224 w 300"/>
                <a:gd name="T35" fmla="*/ 22 h 246"/>
                <a:gd name="T36" fmla="*/ 224 w 300"/>
                <a:gd name="T37" fmla="*/ 74 h 246"/>
                <a:gd name="T38" fmla="*/ 119 w 300"/>
                <a:gd name="T39" fmla="*/ 166 h 246"/>
                <a:gd name="T40" fmla="*/ 72 w 300"/>
                <a:gd name="T41" fmla="*/ 111 h 246"/>
                <a:gd name="T42" fmla="*/ 57 w 300"/>
                <a:gd name="T43" fmla="*/ 109 h 246"/>
                <a:gd name="T44" fmla="*/ 56 w 300"/>
                <a:gd name="T45" fmla="*/ 125 h 246"/>
                <a:gd name="T46" fmla="*/ 109 w 300"/>
                <a:gd name="T47" fmla="*/ 189 h 246"/>
                <a:gd name="T48" fmla="*/ 109 w 300"/>
                <a:gd name="T49" fmla="*/ 189 h 246"/>
                <a:gd name="T50" fmla="*/ 117 w 300"/>
                <a:gd name="T51" fmla="*/ 192 h 246"/>
                <a:gd name="T52" fmla="*/ 124 w 300"/>
                <a:gd name="T53" fmla="*/ 190 h 246"/>
                <a:gd name="T54" fmla="*/ 224 w 300"/>
                <a:gd name="T55" fmla="*/ 103 h 246"/>
                <a:gd name="T56" fmla="*/ 224 w 300"/>
                <a:gd name="T57" fmla="*/ 22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0" h="246">
                  <a:moveTo>
                    <a:pt x="296" y="25"/>
                  </a:moveTo>
                  <a:cubicBezTo>
                    <a:pt x="292" y="21"/>
                    <a:pt x="285" y="20"/>
                    <a:pt x="281" y="2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5" y="11"/>
                    <a:pt x="245" y="11"/>
                    <a:pt x="245" y="11"/>
                  </a:cubicBezTo>
                  <a:cubicBezTo>
                    <a:pt x="245" y="5"/>
                    <a:pt x="241" y="0"/>
                    <a:pt x="23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1"/>
                    <a:pt x="5" y="246"/>
                    <a:pt x="11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41"/>
                    <a:pt x="245" y="235"/>
                  </a:cubicBezTo>
                  <a:cubicBezTo>
                    <a:pt x="245" y="84"/>
                    <a:pt x="245" y="84"/>
                    <a:pt x="245" y="84"/>
                  </a:cubicBezTo>
                  <a:cubicBezTo>
                    <a:pt x="295" y="40"/>
                    <a:pt x="295" y="40"/>
                    <a:pt x="295" y="40"/>
                  </a:cubicBezTo>
                  <a:cubicBezTo>
                    <a:pt x="299" y="36"/>
                    <a:pt x="300" y="30"/>
                    <a:pt x="296" y="25"/>
                  </a:cubicBezTo>
                  <a:close/>
                  <a:moveTo>
                    <a:pt x="224" y="224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24" y="74"/>
                    <a:pt x="224" y="74"/>
                    <a:pt x="224" y="74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68" y="106"/>
                    <a:pt x="62" y="106"/>
                    <a:pt x="57" y="109"/>
                  </a:cubicBezTo>
                  <a:cubicBezTo>
                    <a:pt x="53" y="113"/>
                    <a:pt x="52" y="120"/>
                    <a:pt x="56" y="125"/>
                  </a:cubicBezTo>
                  <a:cubicBezTo>
                    <a:pt x="109" y="189"/>
                    <a:pt x="109" y="189"/>
                    <a:pt x="109" y="189"/>
                  </a:cubicBezTo>
                  <a:cubicBezTo>
                    <a:pt x="109" y="189"/>
                    <a:pt x="109" y="189"/>
                    <a:pt x="109" y="189"/>
                  </a:cubicBezTo>
                  <a:cubicBezTo>
                    <a:pt x="111" y="191"/>
                    <a:pt x="114" y="192"/>
                    <a:pt x="117" y="192"/>
                  </a:cubicBezTo>
                  <a:cubicBezTo>
                    <a:pt x="120" y="192"/>
                    <a:pt x="122" y="191"/>
                    <a:pt x="124" y="190"/>
                  </a:cubicBezTo>
                  <a:cubicBezTo>
                    <a:pt x="224" y="103"/>
                    <a:pt x="224" y="103"/>
                    <a:pt x="224" y="103"/>
                  </a:cubicBezTo>
                  <a:lnTo>
                    <a:pt x="224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0" name="Freeform 917"/>
          <p:cNvSpPr>
            <a:spLocks noChangeAspect="1" noEditPoints="1"/>
          </p:cNvSpPr>
          <p:nvPr/>
        </p:nvSpPr>
        <p:spPr bwMode="auto">
          <a:xfrm>
            <a:off x="5403272" y="3740795"/>
            <a:ext cx="367982" cy="367982"/>
          </a:xfrm>
          <a:custGeom>
            <a:avLst/>
            <a:gdLst>
              <a:gd name="T0" fmla="*/ 245 w 512"/>
              <a:gd name="T1" fmla="*/ 128 h 512"/>
              <a:gd name="T2" fmla="*/ 256 w 512"/>
              <a:gd name="T3" fmla="*/ 117 h 512"/>
              <a:gd name="T4" fmla="*/ 266 w 512"/>
              <a:gd name="T5" fmla="*/ 128 h 512"/>
              <a:gd name="T6" fmla="*/ 256 w 512"/>
              <a:gd name="T7" fmla="*/ 138 h 512"/>
              <a:gd name="T8" fmla="*/ 245 w 512"/>
              <a:gd name="T9" fmla="*/ 128 h 512"/>
              <a:gd name="T10" fmla="*/ 269 w 512"/>
              <a:gd name="T11" fmla="*/ 245 h 512"/>
              <a:gd name="T12" fmla="*/ 243 w 512"/>
              <a:gd name="T13" fmla="*/ 245 h 512"/>
              <a:gd name="T14" fmla="*/ 216 w 512"/>
              <a:gd name="T15" fmla="*/ 352 h 512"/>
              <a:gd name="T16" fmla="*/ 295 w 512"/>
              <a:gd name="T17" fmla="*/ 352 h 512"/>
              <a:gd name="T18" fmla="*/ 269 w 512"/>
              <a:gd name="T19" fmla="*/ 245 h 512"/>
              <a:gd name="T20" fmla="*/ 238 w 512"/>
              <a:gd name="T21" fmla="*/ 224 h 512"/>
              <a:gd name="T22" fmla="*/ 273 w 512"/>
              <a:gd name="T23" fmla="*/ 224 h 512"/>
              <a:gd name="T24" fmla="*/ 288 w 512"/>
              <a:gd name="T25" fmla="*/ 192 h 512"/>
              <a:gd name="T26" fmla="*/ 287 w 512"/>
              <a:gd name="T27" fmla="*/ 186 h 512"/>
              <a:gd name="T28" fmla="*/ 274 w 512"/>
              <a:gd name="T29" fmla="*/ 199 h 512"/>
              <a:gd name="T30" fmla="*/ 266 w 512"/>
              <a:gd name="T31" fmla="*/ 202 h 512"/>
              <a:gd name="T32" fmla="*/ 259 w 512"/>
              <a:gd name="T33" fmla="*/ 199 h 512"/>
              <a:gd name="T34" fmla="*/ 259 w 512"/>
              <a:gd name="T35" fmla="*/ 184 h 512"/>
              <a:gd name="T36" fmla="*/ 273 w 512"/>
              <a:gd name="T37" fmla="*/ 170 h 512"/>
              <a:gd name="T38" fmla="*/ 256 w 512"/>
              <a:gd name="T39" fmla="*/ 160 h 512"/>
              <a:gd name="T40" fmla="*/ 224 w 512"/>
              <a:gd name="T41" fmla="*/ 192 h 512"/>
              <a:gd name="T42" fmla="*/ 238 w 512"/>
              <a:gd name="T43" fmla="*/ 224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30 w 512"/>
              <a:gd name="T55" fmla="*/ 362 h 512"/>
              <a:gd name="T56" fmla="*/ 320 w 512"/>
              <a:gd name="T57" fmla="*/ 352 h 512"/>
              <a:gd name="T58" fmla="*/ 317 w 512"/>
              <a:gd name="T59" fmla="*/ 352 h 512"/>
              <a:gd name="T60" fmla="*/ 289 w 512"/>
              <a:gd name="T61" fmla="*/ 238 h 512"/>
              <a:gd name="T62" fmla="*/ 309 w 512"/>
              <a:gd name="T63" fmla="*/ 192 h 512"/>
              <a:gd name="T64" fmla="*/ 279 w 512"/>
              <a:gd name="T65" fmla="*/ 149 h 512"/>
              <a:gd name="T66" fmla="*/ 288 w 512"/>
              <a:gd name="T67" fmla="*/ 128 h 512"/>
              <a:gd name="T68" fmla="*/ 256 w 512"/>
              <a:gd name="T69" fmla="*/ 96 h 512"/>
              <a:gd name="T70" fmla="*/ 224 w 512"/>
              <a:gd name="T71" fmla="*/ 128 h 512"/>
              <a:gd name="T72" fmla="*/ 232 w 512"/>
              <a:gd name="T73" fmla="*/ 149 h 512"/>
              <a:gd name="T74" fmla="*/ 202 w 512"/>
              <a:gd name="T75" fmla="*/ 192 h 512"/>
              <a:gd name="T76" fmla="*/ 222 w 512"/>
              <a:gd name="T77" fmla="*/ 238 h 512"/>
              <a:gd name="T78" fmla="*/ 194 w 512"/>
              <a:gd name="T79" fmla="*/ 352 h 512"/>
              <a:gd name="T80" fmla="*/ 192 w 512"/>
              <a:gd name="T81" fmla="*/ 352 h 512"/>
              <a:gd name="T82" fmla="*/ 181 w 512"/>
              <a:gd name="T83" fmla="*/ 362 h 512"/>
              <a:gd name="T84" fmla="*/ 181 w 512"/>
              <a:gd name="T85" fmla="*/ 405 h 512"/>
              <a:gd name="T86" fmla="*/ 192 w 512"/>
              <a:gd name="T87" fmla="*/ 416 h 512"/>
              <a:gd name="T88" fmla="*/ 320 w 512"/>
              <a:gd name="T89" fmla="*/ 416 h 512"/>
              <a:gd name="T90" fmla="*/ 330 w 512"/>
              <a:gd name="T91" fmla="*/ 405 h 512"/>
              <a:gd name="T92" fmla="*/ 330 w 512"/>
              <a:gd name="T93" fmla="*/ 362 h 512"/>
              <a:gd name="T94" fmla="*/ 202 w 512"/>
              <a:gd name="T95" fmla="*/ 394 h 512"/>
              <a:gd name="T96" fmla="*/ 309 w 512"/>
              <a:gd name="T97" fmla="*/ 394 h 512"/>
              <a:gd name="T98" fmla="*/ 309 w 512"/>
              <a:gd name="T99" fmla="*/ 373 h 512"/>
              <a:gd name="T100" fmla="*/ 202 w 512"/>
              <a:gd name="T101" fmla="*/ 373 h 512"/>
              <a:gd name="T102" fmla="*/ 202 w 512"/>
              <a:gd name="T10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  <a:moveTo>
                  <a:pt x="269" y="245"/>
                </a:moveTo>
                <a:cubicBezTo>
                  <a:pt x="243" y="245"/>
                  <a:pt x="243" y="245"/>
                  <a:pt x="243" y="245"/>
                </a:cubicBezTo>
                <a:cubicBezTo>
                  <a:pt x="216" y="352"/>
                  <a:pt x="216" y="352"/>
                  <a:pt x="216" y="352"/>
                </a:cubicBezTo>
                <a:cubicBezTo>
                  <a:pt x="295" y="352"/>
                  <a:pt x="295" y="352"/>
                  <a:pt x="295" y="352"/>
                </a:cubicBezTo>
                <a:lnTo>
                  <a:pt x="269" y="245"/>
                </a:lnTo>
                <a:close/>
                <a:moveTo>
                  <a:pt x="238" y="224"/>
                </a:moveTo>
                <a:cubicBezTo>
                  <a:pt x="273" y="224"/>
                  <a:pt x="273" y="224"/>
                  <a:pt x="273" y="224"/>
                </a:cubicBezTo>
                <a:cubicBezTo>
                  <a:pt x="278" y="219"/>
                  <a:pt x="288" y="209"/>
                  <a:pt x="288" y="192"/>
                </a:cubicBezTo>
                <a:cubicBezTo>
                  <a:pt x="288" y="190"/>
                  <a:pt x="287" y="188"/>
                  <a:pt x="287" y="186"/>
                </a:cubicBezTo>
                <a:cubicBezTo>
                  <a:pt x="274" y="199"/>
                  <a:pt x="274" y="199"/>
                  <a:pt x="274" y="199"/>
                </a:cubicBezTo>
                <a:cubicBezTo>
                  <a:pt x="272" y="201"/>
                  <a:pt x="269" y="202"/>
                  <a:pt x="266" y="202"/>
                </a:cubicBezTo>
                <a:cubicBezTo>
                  <a:pt x="264" y="202"/>
                  <a:pt x="261" y="201"/>
                  <a:pt x="259" y="199"/>
                </a:cubicBezTo>
                <a:cubicBezTo>
                  <a:pt x="255" y="195"/>
                  <a:pt x="255" y="188"/>
                  <a:pt x="259" y="184"/>
                </a:cubicBezTo>
                <a:cubicBezTo>
                  <a:pt x="273" y="170"/>
                  <a:pt x="273" y="170"/>
                  <a:pt x="273" y="170"/>
                </a:cubicBezTo>
                <a:cubicBezTo>
                  <a:pt x="267" y="166"/>
                  <a:pt x="260" y="163"/>
                  <a:pt x="256" y="160"/>
                </a:cubicBezTo>
                <a:cubicBezTo>
                  <a:pt x="245" y="165"/>
                  <a:pt x="224" y="177"/>
                  <a:pt x="224" y="192"/>
                </a:cubicBezTo>
                <a:cubicBezTo>
                  <a:pt x="224" y="208"/>
                  <a:pt x="234" y="219"/>
                  <a:pt x="238" y="22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362"/>
                </a:moveTo>
                <a:cubicBezTo>
                  <a:pt x="330" y="356"/>
                  <a:pt x="326" y="352"/>
                  <a:pt x="320" y="352"/>
                </a:cubicBezTo>
                <a:cubicBezTo>
                  <a:pt x="317" y="352"/>
                  <a:pt x="317" y="352"/>
                  <a:pt x="317" y="352"/>
                </a:cubicBezTo>
                <a:cubicBezTo>
                  <a:pt x="289" y="238"/>
                  <a:pt x="289" y="238"/>
                  <a:pt x="289" y="238"/>
                </a:cubicBezTo>
                <a:cubicBezTo>
                  <a:pt x="297" y="231"/>
                  <a:pt x="309" y="215"/>
                  <a:pt x="309" y="192"/>
                </a:cubicBezTo>
                <a:cubicBezTo>
                  <a:pt x="309" y="172"/>
                  <a:pt x="293" y="158"/>
                  <a:pt x="279" y="149"/>
                </a:cubicBezTo>
                <a:cubicBezTo>
                  <a:pt x="284" y="143"/>
                  <a:pt x="288" y="136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36"/>
                  <a:pt x="227" y="143"/>
                  <a:pt x="232" y="149"/>
                </a:cubicBezTo>
                <a:cubicBezTo>
                  <a:pt x="218" y="158"/>
                  <a:pt x="202" y="172"/>
                  <a:pt x="202" y="192"/>
                </a:cubicBezTo>
                <a:cubicBezTo>
                  <a:pt x="202" y="215"/>
                  <a:pt x="215" y="231"/>
                  <a:pt x="222" y="238"/>
                </a:cubicBezTo>
                <a:cubicBezTo>
                  <a:pt x="194" y="352"/>
                  <a:pt x="194" y="352"/>
                  <a:pt x="19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6"/>
                  <a:pt x="181" y="362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lnTo>
                  <a:pt x="330" y="362"/>
                </a:lnTo>
                <a:close/>
                <a:moveTo>
                  <a:pt x="202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202" y="373"/>
                  <a:pt x="202" y="373"/>
                  <a:pt x="202" y="373"/>
                </a:cubicBezTo>
                <a:lnTo>
                  <a:pt x="202" y="39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1" name="Group 920"/>
          <p:cNvGrpSpPr>
            <a:grpSpLocks noChangeAspect="1"/>
          </p:cNvGrpSpPr>
          <p:nvPr/>
        </p:nvGrpSpPr>
        <p:grpSpPr bwMode="auto">
          <a:xfrm>
            <a:off x="5900972" y="3740795"/>
            <a:ext cx="367982" cy="367982"/>
            <a:chOff x="5645" y="4510"/>
            <a:chExt cx="340" cy="340"/>
          </a:xfrm>
          <a:solidFill>
            <a:schemeClr val="accent4"/>
          </a:solidFill>
        </p:grpSpPr>
        <p:sp>
          <p:nvSpPr>
            <p:cNvPr id="342" name="Freeform 921"/>
            <p:cNvSpPr>
              <a:spLocks noEditPoints="1"/>
            </p:cNvSpPr>
            <p:nvPr/>
          </p:nvSpPr>
          <p:spPr bwMode="auto">
            <a:xfrm>
              <a:off x="5765" y="4574"/>
              <a:ext cx="99" cy="212"/>
            </a:xfrm>
            <a:custGeom>
              <a:avLst/>
              <a:gdLst>
                <a:gd name="T0" fmla="*/ 139 w 149"/>
                <a:gd name="T1" fmla="*/ 256 h 320"/>
                <a:gd name="T2" fmla="*/ 136 w 149"/>
                <a:gd name="T3" fmla="*/ 256 h 320"/>
                <a:gd name="T4" fmla="*/ 108 w 149"/>
                <a:gd name="T5" fmla="*/ 142 h 320"/>
                <a:gd name="T6" fmla="*/ 128 w 149"/>
                <a:gd name="T7" fmla="*/ 96 h 320"/>
                <a:gd name="T8" fmla="*/ 98 w 149"/>
                <a:gd name="T9" fmla="*/ 53 h 320"/>
                <a:gd name="T10" fmla="*/ 107 w 149"/>
                <a:gd name="T11" fmla="*/ 32 h 320"/>
                <a:gd name="T12" fmla="*/ 75 w 149"/>
                <a:gd name="T13" fmla="*/ 0 h 320"/>
                <a:gd name="T14" fmla="*/ 43 w 149"/>
                <a:gd name="T15" fmla="*/ 32 h 320"/>
                <a:gd name="T16" fmla="*/ 51 w 149"/>
                <a:gd name="T17" fmla="*/ 53 h 320"/>
                <a:gd name="T18" fmla="*/ 21 w 149"/>
                <a:gd name="T19" fmla="*/ 96 h 320"/>
                <a:gd name="T20" fmla="*/ 41 w 149"/>
                <a:gd name="T21" fmla="*/ 142 h 320"/>
                <a:gd name="T22" fmla="*/ 13 w 149"/>
                <a:gd name="T23" fmla="*/ 256 h 320"/>
                <a:gd name="T24" fmla="*/ 11 w 149"/>
                <a:gd name="T25" fmla="*/ 256 h 320"/>
                <a:gd name="T26" fmla="*/ 0 w 149"/>
                <a:gd name="T27" fmla="*/ 266 h 320"/>
                <a:gd name="T28" fmla="*/ 0 w 149"/>
                <a:gd name="T29" fmla="*/ 309 h 320"/>
                <a:gd name="T30" fmla="*/ 11 w 149"/>
                <a:gd name="T31" fmla="*/ 320 h 320"/>
                <a:gd name="T32" fmla="*/ 139 w 149"/>
                <a:gd name="T33" fmla="*/ 320 h 320"/>
                <a:gd name="T34" fmla="*/ 149 w 149"/>
                <a:gd name="T35" fmla="*/ 309 h 320"/>
                <a:gd name="T36" fmla="*/ 149 w 149"/>
                <a:gd name="T37" fmla="*/ 266 h 320"/>
                <a:gd name="T38" fmla="*/ 139 w 149"/>
                <a:gd name="T39" fmla="*/ 256 h 320"/>
                <a:gd name="T40" fmla="*/ 75 w 149"/>
                <a:gd name="T41" fmla="*/ 21 h 320"/>
                <a:gd name="T42" fmla="*/ 85 w 149"/>
                <a:gd name="T43" fmla="*/ 32 h 320"/>
                <a:gd name="T44" fmla="*/ 75 w 149"/>
                <a:gd name="T45" fmla="*/ 42 h 320"/>
                <a:gd name="T46" fmla="*/ 64 w 149"/>
                <a:gd name="T47" fmla="*/ 32 h 320"/>
                <a:gd name="T48" fmla="*/ 75 w 149"/>
                <a:gd name="T49" fmla="*/ 21 h 320"/>
                <a:gd name="T50" fmla="*/ 75 w 149"/>
                <a:gd name="T51" fmla="*/ 64 h 320"/>
                <a:gd name="T52" fmla="*/ 92 w 149"/>
                <a:gd name="T53" fmla="*/ 74 h 320"/>
                <a:gd name="T54" fmla="*/ 78 w 149"/>
                <a:gd name="T55" fmla="*/ 88 h 320"/>
                <a:gd name="T56" fmla="*/ 78 w 149"/>
                <a:gd name="T57" fmla="*/ 103 h 320"/>
                <a:gd name="T58" fmla="*/ 85 w 149"/>
                <a:gd name="T59" fmla="*/ 106 h 320"/>
                <a:gd name="T60" fmla="*/ 93 w 149"/>
                <a:gd name="T61" fmla="*/ 103 h 320"/>
                <a:gd name="T62" fmla="*/ 106 w 149"/>
                <a:gd name="T63" fmla="*/ 90 h 320"/>
                <a:gd name="T64" fmla="*/ 107 w 149"/>
                <a:gd name="T65" fmla="*/ 96 h 320"/>
                <a:gd name="T66" fmla="*/ 92 w 149"/>
                <a:gd name="T67" fmla="*/ 128 h 320"/>
                <a:gd name="T68" fmla="*/ 57 w 149"/>
                <a:gd name="T69" fmla="*/ 128 h 320"/>
                <a:gd name="T70" fmla="*/ 43 w 149"/>
                <a:gd name="T71" fmla="*/ 96 h 320"/>
                <a:gd name="T72" fmla="*/ 75 w 149"/>
                <a:gd name="T73" fmla="*/ 64 h 320"/>
                <a:gd name="T74" fmla="*/ 62 w 149"/>
                <a:gd name="T75" fmla="*/ 149 h 320"/>
                <a:gd name="T76" fmla="*/ 88 w 149"/>
                <a:gd name="T77" fmla="*/ 149 h 320"/>
                <a:gd name="T78" fmla="*/ 114 w 149"/>
                <a:gd name="T79" fmla="*/ 256 h 320"/>
                <a:gd name="T80" fmla="*/ 35 w 149"/>
                <a:gd name="T81" fmla="*/ 256 h 320"/>
                <a:gd name="T82" fmla="*/ 62 w 149"/>
                <a:gd name="T83" fmla="*/ 149 h 320"/>
                <a:gd name="T84" fmla="*/ 128 w 149"/>
                <a:gd name="T85" fmla="*/ 298 h 320"/>
                <a:gd name="T86" fmla="*/ 21 w 149"/>
                <a:gd name="T87" fmla="*/ 298 h 320"/>
                <a:gd name="T88" fmla="*/ 21 w 149"/>
                <a:gd name="T89" fmla="*/ 277 h 320"/>
                <a:gd name="T90" fmla="*/ 128 w 149"/>
                <a:gd name="T91" fmla="*/ 277 h 320"/>
                <a:gd name="T92" fmla="*/ 128 w 149"/>
                <a:gd name="T93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9" h="320">
                  <a:moveTo>
                    <a:pt x="139" y="256"/>
                  </a:moveTo>
                  <a:cubicBezTo>
                    <a:pt x="136" y="256"/>
                    <a:pt x="136" y="256"/>
                    <a:pt x="136" y="256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116" y="135"/>
                    <a:pt x="128" y="119"/>
                    <a:pt x="128" y="96"/>
                  </a:cubicBezTo>
                  <a:cubicBezTo>
                    <a:pt x="128" y="76"/>
                    <a:pt x="112" y="62"/>
                    <a:pt x="98" y="53"/>
                  </a:cubicBezTo>
                  <a:cubicBezTo>
                    <a:pt x="103" y="47"/>
                    <a:pt x="107" y="40"/>
                    <a:pt x="107" y="32"/>
                  </a:cubicBezTo>
                  <a:cubicBezTo>
                    <a:pt x="107" y="14"/>
                    <a:pt x="92" y="0"/>
                    <a:pt x="75" y="0"/>
                  </a:cubicBezTo>
                  <a:cubicBezTo>
                    <a:pt x="57" y="0"/>
                    <a:pt x="43" y="14"/>
                    <a:pt x="43" y="32"/>
                  </a:cubicBezTo>
                  <a:cubicBezTo>
                    <a:pt x="43" y="40"/>
                    <a:pt x="46" y="47"/>
                    <a:pt x="51" y="53"/>
                  </a:cubicBezTo>
                  <a:cubicBezTo>
                    <a:pt x="37" y="62"/>
                    <a:pt x="21" y="76"/>
                    <a:pt x="21" y="96"/>
                  </a:cubicBezTo>
                  <a:cubicBezTo>
                    <a:pt x="21" y="119"/>
                    <a:pt x="34" y="135"/>
                    <a:pt x="41" y="142"/>
                  </a:cubicBezTo>
                  <a:cubicBezTo>
                    <a:pt x="13" y="256"/>
                    <a:pt x="13" y="256"/>
                    <a:pt x="13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0"/>
                    <a:pt x="0" y="26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139" y="320"/>
                    <a:pt x="139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49" y="260"/>
                    <a:pt x="145" y="256"/>
                    <a:pt x="139" y="256"/>
                  </a:cubicBezTo>
                  <a:close/>
                  <a:moveTo>
                    <a:pt x="75" y="21"/>
                  </a:moveTo>
                  <a:cubicBezTo>
                    <a:pt x="81" y="21"/>
                    <a:pt x="85" y="26"/>
                    <a:pt x="85" y="32"/>
                  </a:cubicBezTo>
                  <a:cubicBezTo>
                    <a:pt x="85" y="38"/>
                    <a:pt x="81" y="42"/>
                    <a:pt x="75" y="42"/>
                  </a:cubicBezTo>
                  <a:cubicBezTo>
                    <a:pt x="69" y="42"/>
                    <a:pt x="64" y="38"/>
                    <a:pt x="64" y="32"/>
                  </a:cubicBezTo>
                  <a:cubicBezTo>
                    <a:pt x="64" y="26"/>
                    <a:pt x="69" y="21"/>
                    <a:pt x="75" y="21"/>
                  </a:cubicBezTo>
                  <a:close/>
                  <a:moveTo>
                    <a:pt x="75" y="64"/>
                  </a:moveTo>
                  <a:cubicBezTo>
                    <a:pt x="79" y="67"/>
                    <a:pt x="86" y="70"/>
                    <a:pt x="92" y="74"/>
                  </a:cubicBezTo>
                  <a:cubicBezTo>
                    <a:pt x="78" y="88"/>
                    <a:pt x="78" y="88"/>
                    <a:pt x="78" y="88"/>
                  </a:cubicBezTo>
                  <a:cubicBezTo>
                    <a:pt x="74" y="92"/>
                    <a:pt x="74" y="99"/>
                    <a:pt x="78" y="103"/>
                  </a:cubicBezTo>
                  <a:cubicBezTo>
                    <a:pt x="80" y="105"/>
                    <a:pt x="83" y="106"/>
                    <a:pt x="85" y="106"/>
                  </a:cubicBezTo>
                  <a:cubicBezTo>
                    <a:pt x="88" y="106"/>
                    <a:pt x="91" y="105"/>
                    <a:pt x="93" y="103"/>
                  </a:cubicBezTo>
                  <a:cubicBezTo>
                    <a:pt x="106" y="90"/>
                    <a:pt x="106" y="90"/>
                    <a:pt x="106" y="90"/>
                  </a:cubicBezTo>
                  <a:cubicBezTo>
                    <a:pt x="106" y="92"/>
                    <a:pt x="107" y="94"/>
                    <a:pt x="107" y="96"/>
                  </a:cubicBezTo>
                  <a:cubicBezTo>
                    <a:pt x="107" y="113"/>
                    <a:pt x="97" y="123"/>
                    <a:pt x="92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3" y="123"/>
                    <a:pt x="43" y="112"/>
                    <a:pt x="43" y="96"/>
                  </a:cubicBezTo>
                  <a:cubicBezTo>
                    <a:pt x="43" y="81"/>
                    <a:pt x="64" y="69"/>
                    <a:pt x="75" y="64"/>
                  </a:cubicBezTo>
                  <a:close/>
                  <a:moveTo>
                    <a:pt x="62" y="149"/>
                  </a:moveTo>
                  <a:cubicBezTo>
                    <a:pt x="88" y="149"/>
                    <a:pt x="88" y="149"/>
                    <a:pt x="88" y="149"/>
                  </a:cubicBezTo>
                  <a:cubicBezTo>
                    <a:pt x="114" y="256"/>
                    <a:pt x="114" y="256"/>
                    <a:pt x="114" y="256"/>
                  </a:cubicBezTo>
                  <a:cubicBezTo>
                    <a:pt x="35" y="256"/>
                    <a:pt x="35" y="256"/>
                    <a:pt x="35" y="256"/>
                  </a:cubicBezTo>
                  <a:lnTo>
                    <a:pt x="62" y="149"/>
                  </a:lnTo>
                  <a:close/>
                  <a:moveTo>
                    <a:pt x="128" y="298"/>
                  </a:moveTo>
                  <a:cubicBezTo>
                    <a:pt x="21" y="298"/>
                    <a:pt x="21" y="298"/>
                    <a:pt x="21" y="298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128" y="277"/>
                    <a:pt x="128" y="277"/>
                    <a:pt x="128" y="277"/>
                  </a:cubicBezTo>
                  <a:lnTo>
                    <a:pt x="128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922"/>
            <p:cNvSpPr>
              <a:spLocks noEditPoints="1"/>
            </p:cNvSpPr>
            <p:nvPr/>
          </p:nvSpPr>
          <p:spPr bwMode="auto">
            <a:xfrm>
              <a:off x="5645" y="45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4" name="Freeform 926"/>
          <p:cNvSpPr>
            <a:spLocks noChangeAspect="1" noEditPoints="1"/>
          </p:cNvSpPr>
          <p:nvPr/>
        </p:nvSpPr>
        <p:spPr bwMode="auto">
          <a:xfrm>
            <a:off x="6398672" y="3740795"/>
            <a:ext cx="367982" cy="367982"/>
          </a:xfrm>
          <a:custGeom>
            <a:avLst/>
            <a:gdLst>
              <a:gd name="T0" fmla="*/ 296 w 512"/>
              <a:gd name="T1" fmla="*/ 352 h 512"/>
              <a:gd name="T2" fmla="*/ 215 w 512"/>
              <a:gd name="T3" fmla="*/ 352 h 512"/>
              <a:gd name="T4" fmla="*/ 234 w 512"/>
              <a:gd name="T5" fmla="*/ 192 h 512"/>
              <a:gd name="T6" fmla="*/ 277 w 512"/>
              <a:gd name="T7" fmla="*/ 192 h 512"/>
              <a:gd name="T8" fmla="*/ 296 w 512"/>
              <a:gd name="T9" fmla="*/ 352 h 512"/>
              <a:gd name="T10" fmla="*/ 288 w 512"/>
              <a:gd name="T11" fmla="*/ 138 h 512"/>
              <a:gd name="T12" fmla="*/ 224 w 512"/>
              <a:gd name="T13" fmla="*/ 138 h 512"/>
              <a:gd name="T14" fmla="*/ 224 w 512"/>
              <a:gd name="T15" fmla="*/ 170 h 512"/>
              <a:gd name="T16" fmla="*/ 288 w 512"/>
              <a:gd name="T17" fmla="*/ 170 h 512"/>
              <a:gd name="T18" fmla="*/ 288 w 512"/>
              <a:gd name="T19" fmla="*/ 138 h 512"/>
              <a:gd name="T20" fmla="*/ 202 w 512"/>
              <a:gd name="T21" fmla="*/ 394 h 512"/>
              <a:gd name="T22" fmla="*/ 309 w 512"/>
              <a:gd name="T23" fmla="*/ 394 h 512"/>
              <a:gd name="T24" fmla="*/ 309 w 512"/>
              <a:gd name="T25" fmla="*/ 373 h 512"/>
              <a:gd name="T26" fmla="*/ 202 w 512"/>
              <a:gd name="T27" fmla="*/ 373 h 512"/>
              <a:gd name="T28" fmla="*/ 202 w 512"/>
              <a:gd name="T29" fmla="*/ 394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30 w 512"/>
              <a:gd name="T41" fmla="*/ 362 h 512"/>
              <a:gd name="T42" fmla="*/ 320 w 512"/>
              <a:gd name="T43" fmla="*/ 352 h 512"/>
              <a:gd name="T44" fmla="*/ 318 w 512"/>
              <a:gd name="T45" fmla="*/ 352 h 512"/>
              <a:gd name="T46" fmla="*/ 298 w 512"/>
              <a:gd name="T47" fmla="*/ 192 h 512"/>
              <a:gd name="T48" fmla="*/ 309 w 512"/>
              <a:gd name="T49" fmla="*/ 181 h 512"/>
              <a:gd name="T50" fmla="*/ 309 w 512"/>
              <a:gd name="T51" fmla="*/ 138 h 512"/>
              <a:gd name="T52" fmla="*/ 319 w 512"/>
              <a:gd name="T53" fmla="*/ 132 h 512"/>
              <a:gd name="T54" fmla="*/ 329 w 512"/>
              <a:gd name="T55" fmla="*/ 111 h 512"/>
              <a:gd name="T56" fmla="*/ 324 w 512"/>
              <a:gd name="T57" fmla="*/ 97 h 512"/>
              <a:gd name="T58" fmla="*/ 310 w 512"/>
              <a:gd name="T59" fmla="*/ 102 h 512"/>
              <a:gd name="T60" fmla="*/ 302 w 512"/>
              <a:gd name="T61" fmla="*/ 117 h 512"/>
              <a:gd name="T62" fmla="*/ 288 w 512"/>
              <a:gd name="T63" fmla="*/ 117 h 512"/>
              <a:gd name="T64" fmla="*/ 288 w 512"/>
              <a:gd name="T65" fmla="*/ 106 h 512"/>
              <a:gd name="T66" fmla="*/ 277 w 512"/>
              <a:gd name="T67" fmla="*/ 96 h 512"/>
              <a:gd name="T68" fmla="*/ 266 w 512"/>
              <a:gd name="T69" fmla="*/ 106 h 512"/>
              <a:gd name="T70" fmla="*/ 266 w 512"/>
              <a:gd name="T71" fmla="*/ 117 h 512"/>
              <a:gd name="T72" fmla="*/ 245 w 512"/>
              <a:gd name="T73" fmla="*/ 117 h 512"/>
              <a:gd name="T74" fmla="*/ 245 w 512"/>
              <a:gd name="T75" fmla="*/ 106 h 512"/>
              <a:gd name="T76" fmla="*/ 234 w 512"/>
              <a:gd name="T77" fmla="*/ 96 h 512"/>
              <a:gd name="T78" fmla="*/ 224 w 512"/>
              <a:gd name="T79" fmla="*/ 106 h 512"/>
              <a:gd name="T80" fmla="*/ 224 w 512"/>
              <a:gd name="T81" fmla="*/ 117 h 512"/>
              <a:gd name="T82" fmla="*/ 209 w 512"/>
              <a:gd name="T83" fmla="*/ 117 h 512"/>
              <a:gd name="T84" fmla="*/ 201 w 512"/>
              <a:gd name="T85" fmla="*/ 102 h 512"/>
              <a:gd name="T86" fmla="*/ 187 w 512"/>
              <a:gd name="T87" fmla="*/ 97 h 512"/>
              <a:gd name="T88" fmla="*/ 182 w 512"/>
              <a:gd name="T89" fmla="*/ 111 h 512"/>
              <a:gd name="T90" fmla="*/ 193 w 512"/>
              <a:gd name="T91" fmla="*/ 132 h 512"/>
              <a:gd name="T92" fmla="*/ 202 w 512"/>
              <a:gd name="T93" fmla="*/ 138 h 512"/>
              <a:gd name="T94" fmla="*/ 202 w 512"/>
              <a:gd name="T95" fmla="*/ 181 h 512"/>
              <a:gd name="T96" fmla="*/ 213 w 512"/>
              <a:gd name="T97" fmla="*/ 192 h 512"/>
              <a:gd name="T98" fmla="*/ 194 w 512"/>
              <a:gd name="T99" fmla="*/ 352 h 512"/>
              <a:gd name="T100" fmla="*/ 192 w 512"/>
              <a:gd name="T101" fmla="*/ 352 h 512"/>
              <a:gd name="T102" fmla="*/ 181 w 512"/>
              <a:gd name="T103" fmla="*/ 362 h 512"/>
              <a:gd name="T104" fmla="*/ 181 w 512"/>
              <a:gd name="T105" fmla="*/ 405 h 512"/>
              <a:gd name="T106" fmla="*/ 192 w 512"/>
              <a:gd name="T107" fmla="*/ 416 h 512"/>
              <a:gd name="T108" fmla="*/ 320 w 512"/>
              <a:gd name="T109" fmla="*/ 416 h 512"/>
              <a:gd name="T110" fmla="*/ 330 w 512"/>
              <a:gd name="T111" fmla="*/ 405 h 512"/>
              <a:gd name="T112" fmla="*/ 330 w 512"/>
              <a:gd name="T113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96" y="352"/>
                </a:moveTo>
                <a:cubicBezTo>
                  <a:pt x="215" y="352"/>
                  <a:pt x="215" y="352"/>
                  <a:pt x="215" y="352"/>
                </a:cubicBezTo>
                <a:cubicBezTo>
                  <a:pt x="221" y="324"/>
                  <a:pt x="233" y="256"/>
                  <a:pt x="234" y="192"/>
                </a:cubicBezTo>
                <a:cubicBezTo>
                  <a:pt x="277" y="192"/>
                  <a:pt x="277" y="192"/>
                  <a:pt x="277" y="192"/>
                </a:cubicBezTo>
                <a:cubicBezTo>
                  <a:pt x="278" y="256"/>
                  <a:pt x="290" y="324"/>
                  <a:pt x="296" y="352"/>
                </a:cubicBezTo>
                <a:close/>
                <a:moveTo>
                  <a:pt x="288" y="138"/>
                </a:moveTo>
                <a:cubicBezTo>
                  <a:pt x="224" y="138"/>
                  <a:pt x="224" y="138"/>
                  <a:pt x="224" y="138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88" y="170"/>
                  <a:pt x="288" y="170"/>
                  <a:pt x="288" y="170"/>
                </a:cubicBezTo>
                <a:lnTo>
                  <a:pt x="288" y="138"/>
                </a:lnTo>
                <a:close/>
                <a:moveTo>
                  <a:pt x="202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202" y="373"/>
                  <a:pt x="202" y="373"/>
                  <a:pt x="202" y="373"/>
                </a:cubicBezTo>
                <a:lnTo>
                  <a:pt x="202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362"/>
                </a:moveTo>
                <a:cubicBezTo>
                  <a:pt x="330" y="356"/>
                  <a:pt x="326" y="352"/>
                  <a:pt x="320" y="352"/>
                </a:cubicBezTo>
                <a:cubicBezTo>
                  <a:pt x="318" y="352"/>
                  <a:pt x="318" y="352"/>
                  <a:pt x="318" y="352"/>
                </a:cubicBezTo>
                <a:cubicBezTo>
                  <a:pt x="313" y="328"/>
                  <a:pt x="300" y="257"/>
                  <a:pt x="298" y="192"/>
                </a:cubicBezTo>
                <a:cubicBezTo>
                  <a:pt x="304" y="192"/>
                  <a:pt x="309" y="187"/>
                  <a:pt x="309" y="181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13" y="138"/>
                  <a:pt x="317" y="136"/>
                  <a:pt x="319" y="132"/>
                </a:cubicBezTo>
                <a:cubicBezTo>
                  <a:pt x="329" y="111"/>
                  <a:pt x="329" y="111"/>
                  <a:pt x="329" y="111"/>
                </a:cubicBezTo>
                <a:cubicBezTo>
                  <a:pt x="332" y="106"/>
                  <a:pt x="330" y="99"/>
                  <a:pt x="324" y="97"/>
                </a:cubicBezTo>
                <a:cubicBezTo>
                  <a:pt x="319" y="94"/>
                  <a:pt x="313" y="96"/>
                  <a:pt x="310" y="102"/>
                </a:cubicBezTo>
                <a:cubicBezTo>
                  <a:pt x="302" y="117"/>
                  <a:pt x="302" y="117"/>
                  <a:pt x="302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06"/>
                  <a:pt x="288" y="106"/>
                  <a:pt x="288" y="106"/>
                </a:cubicBezTo>
                <a:cubicBezTo>
                  <a:pt x="288" y="100"/>
                  <a:pt x="283" y="96"/>
                  <a:pt x="277" y="96"/>
                </a:cubicBezTo>
                <a:cubicBezTo>
                  <a:pt x="271" y="96"/>
                  <a:pt x="266" y="100"/>
                  <a:pt x="266" y="106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40" y="96"/>
                  <a:pt x="234" y="96"/>
                </a:cubicBezTo>
                <a:cubicBezTo>
                  <a:pt x="228" y="96"/>
                  <a:pt x="224" y="100"/>
                  <a:pt x="224" y="106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09" y="117"/>
                  <a:pt x="209" y="117"/>
                  <a:pt x="209" y="117"/>
                </a:cubicBezTo>
                <a:cubicBezTo>
                  <a:pt x="201" y="102"/>
                  <a:pt x="201" y="102"/>
                  <a:pt x="201" y="102"/>
                </a:cubicBezTo>
                <a:cubicBezTo>
                  <a:pt x="199" y="96"/>
                  <a:pt x="192" y="94"/>
                  <a:pt x="187" y="97"/>
                </a:cubicBezTo>
                <a:cubicBezTo>
                  <a:pt x="182" y="99"/>
                  <a:pt x="179" y="106"/>
                  <a:pt x="182" y="111"/>
                </a:cubicBezTo>
                <a:cubicBezTo>
                  <a:pt x="193" y="132"/>
                  <a:pt x="193" y="132"/>
                  <a:pt x="193" y="132"/>
                </a:cubicBezTo>
                <a:cubicBezTo>
                  <a:pt x="195" y="136"/>
                  <a:pt x="198" y="138"/>
                  <a:pt x="202" y="138"/>
                </a:cubicBezTo>
                <a:cubicBezTo>
                  <a:pt x="202" y="181"/>
                  <a:pt x="202" y="181"/>
                  <a:pt x="202" y="181"/>
                </a:cubicBezTo>
                <a:cubicBezTo>
                  <a:pt x="202" y="187"/>
                  <a:pt x="207" y="192"/>
                  <a:pt x="213" y="192"/>
                </a:cubicBezTo>
                <a:cubicBezTo>
                  <a:pt x="211" y="257"/>
                  <a:pt x="198" y="328"/>
                  <a:pt x="19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6"/>
                  <a:pt x="181" y="362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lnTo>
                  <a:pt x="330" y="36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5" name="Group 929"/>
          <p:cNvGrpSpPr>
            <a:grpSpLocks noChangeAspect="1"/>
          </p:cNvGrpSpPr>
          <p:nvPr/>
        </p:nvGrpSpPr>
        <p:grpSpPr bwMode="auto">
          <a:xfrm>
            <a:off x="6896372" y="3740795"/>
            <a:ext cx="367982" cy="367982"/>
            <a:chOff x="5834" y="4699"/>
            <a:chExt cx="340" cy="340"/>
          </a:xfrm>
          <a:solidFill>
            <a:schemeClr val="accent6"/>
          </a:solidFill>
        </p:grpSpPr>
        <p:sp>
          <p:nvSpPr>
            <p:cNvPr id="346" name="Freeform 345"/>
            <p:cNvSpPr>
              <a:spLocks noEditPoints="1"/>
            </p:cNvSpPr>
            <p:nvPr/>
          </p:nvSpPr>
          <p:spPr bwMode="auto">
            <a:xfrm>
              <a:off x="5953" y="4761"/>
              <a:ext cx="101" cy="214"/>
            </a:xfrm>
            <a:custGeom>
              <a:avLst/>
              <a:gdLst>
                <a:gd name="T0" fmla="*/ 141 w 153"/>
                <a:gd name="T1" fmla="*/ 258 h 322"/>
                <a:gd name="T2" fmla="*/ 139 w 153"/>
                <a:gd name="T3" fmla="*/ 258 h 322"/>
                <a:gd name="T4" fmla="*/ 119 w 153"/>
                <a:gd name="T5" fmla="*/ 98 h 322"/>
                <a:gd name="T6" fmla="*/ 130 w 153"/>
                <a:gd name="T7" fmla="*/ 87 h 322"/>
                <a:gd name="T8" fmla="*/ 130 w 153"/>
                <a:gd name="T9" fmla="*/ 44 h 322"/>
                <a:gd name="T10" fmla="*/ 140 w 153"/>
                <a:gd name="T11" fmla="*/ 38 h 322"/>
                <a:gd name="T12" fmla="*/ 150 w 153"/>
                <a:gd name="T13" fmla="*/ 17 h 322"/>
                <a:gd name="T14" fmla="*/ 145 w 153"/>
                <a:gd name="T15" fmla="*/ 3 h 322"/>
                <a:gd name="T16" fmla="*/ 131 w 153"/>
                <a:gd name="T17" fmla="*/ 8 h 322"/>
                <a:gd name="T18" fmla="*/ 123 w 153"/>
                <a:gd name="T19" fmla="*/ 23 h 322"/>
                <a:gd name="T20" fmla="*/ 109 w 153"/>
                <a:gd name="T21" fmla="*/ 23 h 322"/>
                <a:gd name="T22" fmla="*/ 109 w 153"/>
                <a:gd name="T23" fmla="*/ 12 h 322"/>
                <a:gd name="T24" fmla="*/ 98 w 153"/>
                <a:gd name="T25" fmla="*/ 2 h 322"/>
                <a:gd name="T26" fmla="*/ 87 w 153"/>
                <a:gd name="T27" fmla="*/ 12 h 322"/>
                <a:gd name="T28" fmla="*/ 87 w 153"/>
                <a:gd name="T29" fmla="*/ 23 h 322"/>
                <a:gd name="T30" fmla="*/ 66 w 153"/>
                <a:gd name="T31" fmla="*/ 23 h 322"/>
                <a:gd name="T32" fmla="*/ 66 w 153"/>
                <a:gd name="T33" fmla="*/ 12 h 322"/>
                <a:gd name="T34" fmla="*/ 55 w 153"/>
                <a:gd name="T35" fmla="*/ 2 h 322"/>
                <a:gd name="T36" fmla="*/ 45 w 153"/>
                <a:gd name="T37" fmla="*/ 12 h 322"/>
                <a:gd name="T38" fmla="*/ 45 w 153"/>
                <a:gd name="T39" fmla="*/ 23 h 322"/>
                <a:gd name="T40" fmla="*/ 30 w 153"/>
                <a:gd name="T41" fmla="*/ 23 h 322"/>
                <a:gd name="T42" fmla="*/ 22 w 153"/>
                <a:gd name="T43" fmla="*/ 8 h 322"/>
                <a:gd name="T44" fmla="*/ 8 w 153"/>
                <a:gd name="T45" fmla="*/ 3 h 322"/>
                <a:gd name="T46" fmla="*/ 3 w 153"/>
                <a:gd name="T47" fmla="*/ 17 h 322"/>
                <a:gd name="T48" fmla="*/ 14 w 153"/>
                <a:gd name="T49" fmla="*/ 38 h 322"/>
                <a:gd name="T50" fmla="*/ 23 w 153"/>
                <a:gd name="T51" fmla="*/ 44 h 322"/>
                <a:gd name="T52" fmla="*/ 23 w 153"/>
                <a:gd name="T53" fmla="*/ 87 h 322"/>
                <a:gd name="T54" fmla="*/ 34 w 153"/>
                <a:gd name="T55" fmla="*/ 98 h 322"/>
                <a:gd name="T56" fmla="*/ 15 w 153"/>
                <a:gd name="T57" fmla="*/ 258 h 322"/>
                <a:gd name="T58" fmla="*/ 13 w 153"/>
                <a:gd name="T59" fmla="*/ 258 h 322"/>
                <a:gd name="T60" fmla="*/ 2 w 153"/>
                <a:gd name="T61" fmla="*/ 268 h 322"/>
                <a:gd name="T62" fmla="*/ 2 w 153"/>
                <a:gd name="T63" fmla="*/ 311 h 322"/>
                <a:gd name="T64" fmla="*/ 13 w 153"/>
                <a:gd name="T65" fmla="*/ 322 h 322"/>
                <a:gd name="T66" fmla="*/ 141 w 153"/>
                <a:gd name="T67" fmla="*/ 322 h 322"/>
                <a:gd name="T68" fmla="*/ 151 w 153"/>
                <a:gd name="T69" fmla="*/ 311 h 322"/>
                <a:gd name="T70" fmla="*/ 151 w 153"/>
                <a:gd name="T71" fmla="*/ 268 h 322"/>
                <a:gd name="T72" fmla="*/ 141 w 153"/>
                <a:gd name="T73" fmla="*/ 258 h 322"/>
                <a:gd name="T74" fmla="*/ 109 w 153"/>
                <a:gd name="T75" fmla="*/ 44 h 322"/>
                <a:gd name="T76" fmla="*/ 109 w 153"/>
                <a:gd name="T77" fmla="*/ 76 h 322"/>
                <a:gd name="T78" fmla="*/ 45 w 153"/>
                <a:gd name="T79" fmla="*/ 76 h 322"/>
                <a:gd name="T80" fmla="*/ 45 w 153"/>
                <a:gd name="T81" fmla="*/ 44 h 322"/>
                <a:gd name="T82" fmla="*/ 109 w 153"/>
                <a:gd name="T83" fmla="*/ 44 h 322"/>
                <a:gd name="T84" fmla="*/ 55 w 153"/>
                <a:gd name="T85" fmla="*/ 98 h 322"/>
                <a:gd name="T86" fmla="*/ 98 w 153"/>
                <a:gd name="T87" fmla="*/ 98 h 322"/>
                <a:gd name="T88" fmla="*/ 117 w 153"/>
                <a:gd name="T89" fmla="*/ 258 h 322"/>
                <a:gd name="T90" fmla="*/ 36 w 153"/>
                <a:gd name="T91" fmla="*/ 258 h 322"/>
                <a:gd name="T92" fmla="*/ 55 w 153"/>
                <a:gd name="T93" fmla="*/ 98 h 322"/>
                <a:gd name="T94" fmla="*/ 130 w 153"/>
                <a:gd name="T95" fmla="*/ 300 h 322"/>
                <a:gd name="T96" fmla="*/ 23 w 153"/>
                <a:gd name="T97" fmla="*/ 300 h 322"/>
                <a:gd name="T98" fmla="*/ 23 w 153"/>
                <a:gd name="T99" fmla="*/ 279 h 322"/>
                <a:gd name="T100" fmla="*/ 130 w 153"/>
                <a:gd name="T101" fmla="*/ 279 h 322"/>
                <a:gd name="T102" fmla="*/ 130 w 153"/>
                <a:gd name="T103" fmla="*/ 30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3" h="322">
                  <a:moveTo>
                    <a:pt x="141" y="258"/>
                  </a:moveTo>
                  <a:cubicBezTo>
                    <a:pt x="139" y="258"/>
                    <a:pt x="139" y="258"/>
                    <a:pt x="139" y="258"/>
                  </a:cubicBezTo>
                  <a:cubicBezTo>
                    <a:pt x="134" y="234"/>
                    <a:pt x="121" y="163"/>
                    <a:pt x="119" y="98"/>
                  </a:cubicBezTo>
                  <a:cubicBezTo>
                    <a:pt x="125" y="98"/>
                    <a:pt x="130" y="93"/>
                    <a:pt x="130" y="87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4" y="44"/>
                    <a:pt x="138" y="42"/>
                    <a:pt x="140" y="38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53" y="12"/>
                    <a:pt x="151" y="5"/>
                    <a:pt x="145" y="3"/>
                  </a:cubicBezTo>
                  <a:cubicBezTo>
                    <a:pt x="140" y="0"/>
                    <a:pt x="134" y="2"/>
                    <a:pt x="131" y="8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109" y="6"/>
                    <a:pt x="104" y="2"/>
                    <a:pt x="98" y="2"/>
                  </a:cubicBezTo>
                  <a:cubicBezTo>
                    <a:pt x="92" y="2"/>
                    <a:pt x="87" y="6"/>
                    <a:pt x="87" y="12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6"/>
                    <a:pt x="61" y="2"/>
                    <a:pt x="55" y="2"/>
                  </a:cubicBezTo>
                  <a:cubicBezTo>
                    <a:pt x="49" y="2"/>
                    <a:pt x="45" y="6"/>
                    <a:pt x="45" y="12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0" y="2"/>
                    <a:pt x="13" y="0"/>
                    <a:pt x="8" y="3"/>
                  </a:cubicBezTo>
                  <a:cubicBezTo>
                    <a:pt x="3" y="5"/>
                    <a:pt x="0" y="12"/>
                    <a:pt x="3" y="17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6" y="42"/>
                    <a:pt x="19" y="44"/>
                    <a:pt x="23" y="44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3" y="93"/>
                    <a:pt x="28" y="98"/>
                    <a:pt x="34" y="98"/>
                  </a:cubicBezTo>
                  <a:cubicBezTo>
                    <a:pt x="32" y="163"/>
                    <a:pt x="19" y="234"/>
                    <a:pt x="15" y="258"/>
                  </a:cubicBezTo>
                  <a:cubicBezTo>
                    <a:pt x="13" y="258"/>
                    <a:pt x="13" y="258"/>
                    <a:pt x="13" y="258"/>
                  </a:cubicBezTo>
                  <a:cubicBezTo>
                    <a:pt x="7" y="258"/>
                    <a:pt x="2" y="262"/>
                    <a:pt x="2" y="268"/>
                  </a:cubicBezTo>
                  <a:cubicBezTo>
                    <a:pt x="2" y="311"/>
                    <a:pt x="2" y="311"/>
                    <a:pt x="2" y="311"/>
                  </a:cubicBezTo>
                  <a:cubicBezTo>
                    <a:pt x="2" y="317"/>
                    <a:pt x="7" y="322"/>
                    <a:pt x="13" y="322"/>
                  </a:cubicBezTo>
                  <a:cubicBezTo>
                    <a:pt x="141" y="322"/>
                    <a:pt x="141" y="322"/>
                    <a:pt x="141" y="322"/>
                  </a:cubicBezTo>
                  <a:cubicBezTo>
                    <a:pt x="147" y="322"/>
                    <a:pt x="151" y="317"/>
                    <a:pt x="151" y="311"/>
                  </a:cubicBezTo>
                  <a:cubicBezTo>
                    <a:pt x="151" y="268"/>
                    <a:pt x="151" y="268"/>
                    <a:pt x="151" y="268"/>
                  </a:cubicBezTo>
                  <a:cubicBezTo>
                    <a:pt x="151" y="262"/>
                    <a:pt x="147" y="258"/>
                    <a:pt x="141" y="258"/>
                  </a:cubicBezTo>
                  <a:close/>
                  <a:moveTo>
                    <a:pt x="109" y="44"/>
                  </a:moveTo>
                  <a:cubicBezTo>
                    <a:pt x="109" y="76"/>
                    <a:pt x="109" y="76"/>
                    <a:pt x="109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44"/>
                    <a:pt x="45" y="44"/>
                    <a:pt x="45" y="44"/>
                  </a:cubicBezTo>
                  <a:lnTo>
                    <a:pt x="109" y="44"/>
                  </a:lnTo>
                  <a:close/>
                  <a:moveTo>
                    <a:pt x="55" y="98"/>
                  </a:moveTo>
                  <a:cubicBezTo>
                    <a:pt x="98" y="98"/>
                    <a:pt x="98" y="98"/>
                    <a:pt x="98" y="98"/>
                  </a:cubicBezTo>
                  <a:cubicBezTo>
                    <a:pt x="99" y="162"/>
                    <a:pt x="111" y="230"/>
                    <a:pt x="117" y="258"/>
                  </a:cubicBezTo>
                  <a:cubicBezTo>
                    <a:pt x="36" y="258"/>
                    <a:pt x="36" y="258"/>
                    <a:pt x="36" y="258"/>
                  </a:cubicBezTo>
                  <a:cubicBezTo>
                    <a:pt x="42" y="230"/>
                    <a:pt x="54" y="162"/>
                    <a:pt x="55" y="98"/>
                  </a:cubicBezTo>
                  <a:close/>
                  <a:moveTo>
                    <a:pt x="130" y="300"/>
                  </a:moveTo>
                  <a:cubicBezTo>
                    <a:pt x="23" y="300"/>
                    <a:pt x="23" y="300"/>
                    <a:pt x="23" y="300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130" y="279"/>
                    <a:pt x="130" y="279"/>
                    <a:pt x="130" y="279"/>
                  </a:cubicBezTo>
                  <a:lnTo>
                    <a:pt x="13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346"/>
            <p:cNvSpPr>
              <a:spLocks noEditPoints="1"/>
            </p:cNvSpPr>
            <p:nvPr/>
          </p:nvSpPr>
          <p:spPr bwMode="auto">
            <a:xfrm>
              <a:off x="5834" y="469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8" name="Freeform 935"/>
          <p:cNvSpPr>
            <a:spLocks noChangeAspect="1" noEditPoints="1"/>
          </p:cNvSpPr>
          <p:nvPr/>
        </p:nvSpPr>
        <p:spPr bwMode="auto">
          <a:xfrm>
            <a:off x="1421672" y="3740795"/>
            <a:ext cx="367982" cy="367982"/>
          </a:xfrm>
          <a:custGeom>
            <a:avLst/>
            <a:gdLst>
              <a:gd name="T0" fmla="*/ 202 w 512"/>
              <a:gd name="T1" fmla="*/ 373 h 512"/>
              <a:gd name="T2" fmla="*/ 309 w 512"/>
              <a:gd name="T3" fmla="*/ 373 h 512"/>
              <a:gd name="T4" fmla="*/ 309 w 512"/>
              <a:gd name="T5" fmla="*/ 394 h 512"/>
              <a:gd name="T6" fmla="*/ 202 w 512"/>
              <a:gd name="T7" fmla="*/ 394 h 512"/>
              <a:gd name="T8" fmla="*/ 202 w 512"/>
              <a:gd name="T9" fmla="*/ 373 h 512"/>
              <a:gd name="T10" fmla="*/ 268 w 512"/>
              <a:gd name="T11" fmla="*/ 266 h 512"/>
              <a:gd name="T12" fmla="*/ 243 w 512"/>
              <a:gd name="T13" fmla="*/ 266 h 512"/>
              <a:gd name="T14" fmla="*/ 226 w 512"/>
              <a:gd name="T15" fmla="*/ 352 h 512"/>
              <a:gd name="T16" fmla="*/ 285 w 512"/>
              <a:gd name="T17" fmla="*/ 352 h 512"/>
              <a:gd name="T18" fmla="*/ 268 w 512"/>
              <a:gd name="T19" fmla="*/ 266 h 512"/>
              <a:gd name="T20" fmla="*/ 269 w 512"/>
              <a:gd name="T21" fmla="*/ 245 h 512"/>
              <a:gd name="T22" fmla="*/ 285 w 512"/>
              <a:gd name="T23" fmla="*/ 181 h 512"/>
              <a:gd name="T24" fmla="*/ 227 w 512"/>
              <a:gd name="T25" fmla="*/ 181 h 512"/>
              <a:gd name="T26" fmla="*/ 243 w 512"/>
              <a:gd name="T27" fmla="*/ 245 h 512"/>
              <a:gd name="T28" fmla="*/ 269 w 512"/>
              <a:gd name="T29" fmla="*/ 245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30 w 512"/>
              <a:gd name="T41" fmla="*/ 362 h 512"/>
              <a:gd name="T42" fmla="*/ 320 w 512"/>
              <a:gd name="T43" fmla="*/ 352 h 512"/>
              <a:gd name="T44" fmla="*/ 307 w 512"/>
              <a:gd name="T45" fmla="*/ 352 h 512"/>
              <a:gd name="T46" fmla="*/ 288 w 512"/>
              <a:gd name="T47" fmla="*/ 256 h 512"/>
              <a:gd name="T48" fmla="*/ 309 w 512"/>
              <a:gd name="T49" fmla="*/ 173 h 512"/>
              <a:gd name="T50" fmla="*/ 307 w 512"/>
              <a:gd name="T51" fmla="*/ 164 h 512"/>
              <a:gd name="T52" fmla="*/ 298 w 512"/>
              <a:gd name="T53" fmla="*/ 160 h 512"/>
              <a:gd name="T54" fmla="*/ 266 w 512"/>
              <a:gd name="T55" fmla="*/ 160 h 512"/>
              <a:gd name="T56" fmla="*/ 266 w 512"/>
              <a:gd name="T57" fmla="*/ 138 h 512"/>
              <a:gd name="T58" fmla="*/ 277 w 512"/>
              <a:gd name="T59" fmla="*/ 138 h 512"/>
              <a:gd name="T60" fmla="*/ 288 w 512"/>
              <a:gd name="T61" fmla="*/ 128 h 512"/>
              <a:gd name="T62" fmla="*/ 277 w 512"/>
              <a:gd name="T63" fmla="*/ 117 h 512"/>
              <a:gd name="T64" fmla="*/ 266 w 512"/>
              <a:gd name="T65" fmla="*/ 117 h 512"/>
              <a:gd name="T66" fmla="*/ 266 w 512"/>
              <a:gd name="T67" fmla="*/ 106 h 512"/>
              <a:gd name="T68" fmla="*/ 256 w 512"/>
              <a:gd name="T69" fmla="*/ 96 h 512"/>
              <a:gd name="T70" fmla="*/ 245 w 512"/>
              <a:gd name="T71" fmla="*/ 106 h 512"/>
              <a:gd name="T72" fmla="*/ 245 w 512"/>
              <a:gd name="T73" fmla="*/ 117 h 512"/>
              <a:gd name="T74" fmla="*/ 234 w 512"/>
              <a:gd name="T75" fmla="*/ 117 h 512"/>
              <a:gd name="T76" fmla="*/ 224 w 512"/>
              <a:gd name="T77" fmla="*/ 128 h 512"/>
              <a:gd name="T78" fmla="*/ 234 w 512"/>
              <a:gd name="T79" fmla="*/ 138 h 512"/>
              <a:gd name="T80" fmla="*/ 245 w 512"/>
              <a:gd name="T81" fmla="*/ 138 h 512"/>
              <a:gd name="T82" fmla="*/ 245 w 512"/>
              <a:gd name="T83" fmla="*/ 160 h 512"/>
              <a:gd name="T84" fmla="*/ 213 w 512"/>
              <a:gd name="T85" fmla="*/ 160 h 512"/>
              <a:gd name="T86" fmla="*/ 205 w 512"/>
              <a:gd name="T87" fmla="*/ 164 h 512"/>
              <a:gd name="T88" fmla="*/ 203 w 512"/>
              <a:gd name="T89" fmla="*/ 173 h 512"/>
              <a:gd name="T90" fmla="*/ 223 w 512"/>
              <a:gd name="T91" fmla="*/ 256 h 512"/>
              <a:gd name="T92" fmla="*/ 204 w 512"/>
              <a:gd name="T93" fmla="*/ 352 h 512"/>
              <a:gd name="T94" fmla="*/ 192 w 512"/>
              <a:gd name="T95" fmla="*/ 352 h 512"/>
              <a:gd name="T96" fmla="*/ 181 w 512"/>
              <a:gd name="T97" fmla="*/ 362 h 512"/>
              <a:gd name="T98" fmla="*/ 181 w 512"/>
              <a:gd name="T99" fmla="*/ 405 h 512"/>
              <a:gd name="T100" fmla="*/ 192 w 512"/>
              <a:gd name="T101" fmla="*/ 416 h 512"/>
              <a:gd name="T102" fmla="*/ 320 w 512"/>
              <a:gd name="T103" fmla="*/ 416 h 512"/>
              <a:gd name="T104" fmla="*/ 330 w 512"/>
              <a:gd name="T105" fmla="*/ 405 h 512"/>
              <a:gd name="T106" fmla="*/ 330 w 512"/>
              <a:gd name="T107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02" y="373"/>
                </a:moveTo>
                <a:cubicBezTo>
                  <a:pt x="309" y="373"/>
                  <a:pt x="309" y="373"/>
                  <a:pt x="309" y="373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202" y="394"/>
                  <a:pt x="202" y="394"/>
                  <a:pt x="202" y="394"/>
                </a:cubicBezTo>
                <a:lnTo>
                  <a:pt x="202" y="373"/>
                </a:lnTo>
                <a:close/>
                <a:moveTo>
                  <a:pt x="268" y="266"/>
                </a:moveTo>
                <a:cubicBezTo>
                  <a:pt x="243" y="266"/>
                  <a:pt x="243" y="266"/>
                  <a:pt x="243" y="266"/>
                </a:cubicBezTo>
                <a:cubicBezTo>
                  <a:pt x="226" y="352"/>
                  <a:pt x="226" y="352"/>
                  <a:pt x="226" y="352"/>
                </a:cubicBezTo>
                <a:cubicBezTo>
                  <a:pt x="285" y="352"/>
                  <a:pt x="285" y="352"/>
                  <a:pt x="285" y="352"/>
                </a:cubicBezTo>
                <a:lnTo>
                  <a:pt x="268" y="266"/>
                </a:lnTo>
                <a:close/>
                <a:moveTo>
                  <a:pt x="269" y="245"/>
                </a:moveTo>
                <a:cubicBezTo>
                  <a:pt x="285" y="181"/>
                  <a:pt x="285" y="181"/>
                  <a:pt x="285" y="181"/>
                </a:cubicBezTo>
                <a:cubicBezTo>
                  <a:pt x="227" y="181"/>
                  <a:pt x="227" y="181"/>
                  <a:pt x="227" y="181"/>
                </a:cubicBezTo>
                <a:cubicBezTo>
                  <a:pt x="243" y="245"/>
                  <a:pt x="243" y="245"/>
                  <a:pt x="243" y="245"/>
                </a:cubicBezTo>
                <a:lnTo>
                  <a:pt x="269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362"/>
                </a:moveTo>
                <a:cubicBezTo>
                  <a:pt x="330" y="356"/>
                  <a:pt x="326" y="352"/>
                  <a:pt x="320" y="352"/>
                </a:cubicBezTo>
                <a:cubicBezTo>
                  <a:pt x="307" y="352"/>
                  <a:pt x="307" y="352"/>
                  <a:pt x="307" y="352"/>
                </a:cubicBezTo>
                <a:cubicBezTo>
                  <a:pt x="288" y="256"/>
                  <a:pt x="288" y="256"/>
                  <a:pt x="288" y="256"/>
                </a:cubicBezTo>
                <a:cubicBezTo>
                  <a:pt x="309" y="173"/>
                  <a:pt x="309" y="173"/>
                  <a:pt x="309" y="173"/>
                </a:cubicBezTo>
                <a:cubicBezTo>
                  <a:pt x="309" y="170"/>
                  <a:pt x="309" y="166"/>
                  <a:pt x="307" y="164"/>
                </a:cubicBezTo>
                <a:cubicBezTo>
                  <a:pt x="305" y="161"/>
                  <a:pt x="302" y="160"/>
                  <a:pt x="298" y="160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77" y="138"/>
                  <a:pt x="277" y="138"/>
                  <a:pt x="277" y="138"/>
                </a:cubicBezTo>
                <a:cubicBezTo>
                  <a:pt x="283" y="138"/>
                  <a:pt x="288" y="134"/>
                  <a:pt x="288" y="128"/>
                </a:cubicBezTo>
                <a:cubicBezTo>
                  <a:pt x="288" y="122"/>
                  <a:pt x="283" y="117"/>
                  <a:pt x="277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28" y="117"/>
                  <a:pt x="224" y="122"/>
                  <a:pt x="224" y="128"/>
                </a:cubicBezTo>
                <a:cubicBezTo>
                  <a:pt x="224" y="134"/>
                  <a:pt x="228" y="138"/>
                  <a:pt x="234" y="138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10" y="160"/>
                  <a:pt x="207" y="161"/>
                  <a:pt x="205" y="164"/>
                </a:cubicBezTo>
                <a:cubicBezTo>
                  <a:pt x="203" y="166"/>
                  <a:pt x="202" y="170"/>
                  <a:pt x="203" y="173"/>
                </a:cubicBezTo>
                <a:cubicBezTo>
                  <a:pt x="223" y="256"/>
                  <a:pt x="223" y="256"/>
                  <a:pt x="223" y="256"/>
                </a:cubicBezTo>
                <a:cubicBezTo>
                  <a:pt x="204" y="352"/>
                  <a:pt x="204" y="352"/>
                  <a:pt x="20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6"/>
                  <a:pt x="181" y="362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lnTo>
                  <a:pt x="330" y="3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9" name="Group 938"/>
          <p:cNvGrpSpPr>
            <a:grpSpLocks noChangeAspect="1"/>
          </p:cNvGrpSpPr>
          <p:nvPr/>
        </p:nvGrpSpPr>
        <p:grpSpPr bwMode="auto">
          <a:xfrm>
            <a:off x="1919372" y="3740795"/>
            <a:ext cx="367982" cy="367982"/>
            <a:chOff x="942" y="3861"/>
            <a:chExt cx="340" cy="340"/>
          </a:xfrm>
          <a:solidFill>
            <a:schemeClr val="accent5"/>
          </a:solidFill>
        </p:grpSpPr>
        <p:sp>
          <p:nvSpPr>
            <p:cNvPr id="350" name="Freeform 939"/>
            <p:cNvSpPr>
              <a:spLocks noEditPoints="1"/>
            </p:cNvSpPr>
            <p:nvPr/>
          </p:nvSpPr>
          <p:spPr bwMode="auto">
            <a:xfrm>
              <a:off x="1062" y="3925"/>
              <a:ext cx="99" cy="212"/>
            </a:xfrm>
            <a:custGeom>
              <a:avLst/>
              <a:gdLst>
                <a:gd name="T0" fmla="*/ 139 w 149"/>
                <a:gd name="T1" fmla="*/ 256 h 320"/>
                <a:gd name="T2" fmla="*/ 126 w 149"/>
                <a:gd name="T3" fmla="*/ 256 h 320"/>
                <a:gd name="T4" fmla="*/ 107 w 149"/>
                <a:gd name="T5" fmla="*/ 160 h 320"/>
                <a:gd name="T6" fmla="*/ 128 w 149"/>
                <a:gd name="T7" fmla="*/ 77 h 320"/>
                <a:gd name="T8" fmla="*/ 126 w 149"/>
                <a:gd name="T9" fmla="*/ 68 h 320"/>
                <a:gd name="T10" fmla="*/ 117 w 149"/>
                <a:gd name="T11" fmla="*/ 64 h 320"/>
                <a:gd name="T12" fmla="*/ 85 w 149"/>
                <a:gd name="T13" fmla="*/ 64 h 320"/>
                <a:gd name="T14" fmla="*/ 85 w 149"/>
                <a:gd name="T15" fmla="*/ 42 h 320"/>
                <a:gd name="T16" fmla="*/ 96 w 149"/>
                <a:gd name="T17" fmla="*/ 42 h 320"/>
                <a:gd name="T18" fmla="*/ 107 w 149"/>
                <a:gd name="T19" fmla="*/ 32 h 320"/>
                <a:gd name="T20" fmla="*/ 96 w 149"/>
                <a:gd name="T21" fmla="*/ 21 h 320"/>
                <a:gd name="T22" fmla="*/ 85 w 149"/>
                <a:gd name="T23" fmla="*/ 21 h 320"/>
                <a:gd name="T24" fmla="*/ 85 w 149"/>
                <a:gd name="T25" fmla="*/ 10 h 320"/>
                <a:gd name="T26" fmla="*/ 75 w 149"/>
                <a:gd name="T27" fmla="*/ 0 h 320"/>
                <a:gd name="T28" fmla="*/ 64 w 149"/>
                <a:gd name="T29" fmla="*/ 10 h 320"/>
                <a:gd name="T30" fmla="*/ 64 w 149"/>
                <a:gd name="T31" fmla="*/ 21 h 320"/>
                <a:gd name="T32" fmla="*/ 53 w 149"/>
                <a:gd name="T33" fmla="*/ 21 h 320"/>
                <a:gd name="T34" fmla="*/ 43 w 149"/>
                <a:gd name="T35" fmla="*/ 32 h 320"/>
                <a:gd name="T36" fmla="*/ 53 w 149"/>
                <a:gd name="T37" fmla="*/ 42 h 320"/>
                <a:gd name="T38" fmla="*/ 64 w 149"/>
                <a:gd name="T39" fmla="*/ 42 h 320"/>
                <a:gd name="T40" fmla="*/ 64 w 149"/>
                <a:gd name="T41" fmla="*/ 64 h 320"/>
                <a:gd name="T42" fmla="*/ 32 w 149"/>
                <a:gd name="T43" fmla="*/ 64 h 320"/>
                <a:gd name="T44" fmla="*/ 24 w 149"/>
                <a:gd name="T45" fmla="*/ 68 h 320"/>
                <a:gd name="T46" fmla="*/ 22 w 149"/>
                <a:gd name="T47" fmla="*/ 77 h 320"/>
                <a:gd name="T48" fmla="*/ 42 w 149"/>
                <a:gd name="T49" fmla="*/ 160 h 320"/>
                <a:gd name="T50" fmla="*/ 23 w 149"/>
                <a:gd name="T51" fmla="*/ 256 h 320"/>
                <a:gd name="T52" fmla="*/ 11 w 149"/>
                <a:gd name="T53" fmla="*/ 256 h 320"/>
                <a:gd name="T54" fmla="*/ 0 w 149"/>
                <a:gd name="T55" fmla="*/ 266 h 320"/>
                <a:gd name="T56" fmla="*/ 0 w 149"/>
                <a:gd name="T57" fmla="*/ 309 h 320"/>
                <a:gd name="T58" fmla="*/ 11 w 149"/>
                <a:gd name="T59" fmla="*/ 320 h 320"/>
                <a:gd name="T60" fmla="*/ 139 w 149"/>
                <a:gd name="T61" fmla="*/ 320 h 320"/>
                <a:gd name="T62" fmla="*/ 149 w 149"/>
                <a:gd name="T63" fmla="*/ 309 h 320"/>
                <a:gd name="T64" fmla="*/ 149 w 149"/>
                <a:gd name="T65" fmla="*/ 266 h 320"/>
                <a:gd name="T66" fmla="*/ 139 w 149"/>
                <a:gd name="T67" fmla="*/ 256 h 320"/>
                <a:gd name="T68" fmla="*/ 104 w 149"/>
                <a:gd name="T69" fmla="*/ 85 h 320"/>
                <a:gd name="T70" fmla="*/ 88 w 149"/>
                <a:gd name="T71" fmla="*/ 149 h 320"/>
                <a:gd name="T72" fmla="*/ 62 w 149"/>
                <a:gd name="T73" fmla="*/ 149 h 320"/>
                <a:gd name="T74" fmla="*/ 46 w 149"/>
                <a:gd name="T75" fmla="*/ 85 h 320"/>
                <a:gd name="T76" fmla="*/ 104 w 149"/>
                <a:gd name="T77" fmla="*/ 85 h 320"/>
                <a:gd name="T78" fmla="*/ 62 w 149"/>
                <a:gd name="T79" fmla="*/ 170 h 320"/>
                <a:gd name="T80" fmla="*/ 87 w 149"/>
                <a:gd name="T81" fmla="*/ 170 h 320"/>
                <a:gd name="T82" fmla="*/ 104 w 149"/>
                <a:gd name="T83" fmla="*/ 256 h 320"/>
                <a:gd name="T84" fmla="*/ 45 w 149"/>
                <a:gd name="T85" fmla="*/ 256 h 320"/>
                <a:gd name="T86" fmla="*/ 62 w 149"/>
                <a:gd name="T87" fmla="*/ 170 h 320"/>
                <a:gd name="T88" fmla="*/ 128 w 149"/>
                <a:gd name="T89" fmla="*/ 298 h 320"/>
                <a:gd name="T90" fmla="*/ 21 w 149"/>
                <a:gd name="T91" fmla="*/ 298 h 320"/>
                <a:gd name="T92" fmla="*/ 21 w 149"/>
                <a:gd name="T93" fmla="*/ 277 h 320"/>
                <a:gd name="T94" fmla="*/ 128 w 149"/>
                <a:gd name="T95" fmla="*/ 277 h 320"/>
                <a:gd name="T96" fmla="*/ 128 w 149"/>
                <a:gd name="T97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9" h="320">
                  <a:moveTo>
                    <a:pt x="139" y="256"/>
                  </a:moveTo>
                  <a:cubicBezTo>
                    <a:pt x="126" y="256"/>
                    <a:pt x="126" y="256"/>
                    <a:pt x="126" y="256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4"/>
                    <a:pt x="128" y="70"/>
                    <a:pt x="126" y="68"/>
                  </a:cubicBezTo>
                  <a:cubicBezTo>
                    <a:pt x="124" y="65"/>
                    <a:pt x="121" y="64"/>
                    <a:pt x="117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102" y="42"/>
                    <a:pt x="107" y="38"/>
                    <a:pt x="107" y="32"/>
                  </a:cubicBezTo>
                  <a:cubicBezTo>
                    <a:pt x="107" y="26"/>
                    <a:pt x="102" y="21"/>
                    <a:pt x="96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7" y="21"/>
                    <a:pt x="43" y="26"/>
                    <a:pt x="43" y="32"/>
                  </a:cubicBezTo>
                  <a:cubicBezTo>
                    <a:pt x="43" y="38"/>
                    <a:pt x="47" y="42"/>
                    <a:pt x="53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29" y="64"/>
                    <a:pt x="26" y="65"/>
                    <a:pt x="24" y="68"/>
                  </a:cubicBezTo>
                  <a:cubicBezTo>
                    <a:pt x="22" y="70"/>
                    <a:pt x="21" y="74"/>
                    <a:pt x="22" y="77"/>
                  </a:cubicBezTo>
                  <a:cubicBezTo>
                    <a:pt x="42" y="160"/>
                    <a:pt x="42" y="160"/>
                    <a:pt x="42" y="1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0"/>
                    <a:pt x="0" y="26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139" y="320"/>
                    <a:pt x="139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49" y="260"/>
                    <a:pt x="145" y="256"/>
                    <a:pt x="139" y="256"/>
                  </a:cubicBezTo>
                  <a:close/>
                  <a:moveTo>
                    <a:pt x="104" y="85"/>
                  </a:moveTo>
                  <a:cubicBezTo>
                    <a:pt x="88" y="149"/>
                    <a:pt x="88" y="149"/>
                    <a:pt x="88" y="149"/>
                  </a:cubicBezTo>
                  <a:cubicBezTo>
                    <a:pt x="62" y="149"/>
                    <a:pt x="62" y="149"/>
                    <a:pt x="62" y="149"/>
                  </a:cubicBezTo>
                  <a:cubicBezTo>
                    <a:pt x="46" y="85"/>
                    <a:pt x="46" y="85"/>
                    <a:pt x="46" y="85"/>
                  </a:cubicBezTo>
                  <a:lnTo>
                    <a:pt x="104" y="85"/>
                  </a:lnTo>
                  <a:close/>
                  <a:moveTo>
                    <a:pt x="62" y="170"/>
                  </a:moveTo>
                  <a:cubicBezTo>
                    <a:pt x="87" y="170"/>
                    <a:pt x="87" y="170"/>
                    <a:pt x="87" y="170"/>
                  </a:cubicBezTo>
                  <a:cubicBezTo>
                    <a:pt x="104" y="256"/>
                    <a:pt x="104" y="256"/>
                    <a:pt x="104" y="256"/>
                  </a:cubicBezTo>
                  <a:cubicBezTo>
                    <a:pt x="45" y="256"/>
                    <a:pt x="45" y="256"/>
                    <a:pt x="45" y="256"/>
                  </a:cubicBezTo>
                  <a:lnTo>
                    <a:pt x="62" y="170"/>
                  </a:lnTo>
                  <a:close/>
                  <a:moveTo>
                    <a:pt x="128" y="298"/>
                  </a:moveTo>
                  <a:cubicBezTo>
                    <a:pt x="21" y="298"/>
                    <a:pt x="21" y="298"/>
                    <a:pt x="21" y="298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128" y="277"/>
                    <a:pt x="128" y="277"/>
                    <a:pt x="128" y="277"/>
                  </a:cubicBezTo>
                  <a:lnTo>
                    <a:pt x="128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940"/>
            <p:cNvSpPr>
              <a:spLocks noEditPoints="1"/>
            </p:cNvSpPr>
            <p:nvPr/>
          </p:nvSpPr>
          <p:spPr bwMode="auto">
            <a:xfrm>
              <a:off x="942" y="38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2" name="Freeform 944"/>
          <p:cNvSpPr>
            <a:spLocks noChangeAspect="1" noEditPoints="1"/>
          </p:cNvSpPr>
          <p:nvPr/>
        </p:nvSpPr>
        <p:spPr bwMode="auto">
          <a:xfrm>
            <a:off x="2417072" y="3740795"/>
            <a:ext cx="367982" cy="367982"/>
          </a:xfrm>
          <a:custGeom>
            <a:avLst/>
            <a:gdLst>
              <a:gd name="T0" fmla="*/ 330 w 512"/>
              <a:gd name="T1" fmla="*/ 362 h 512"/>
              <a:gd name="T2" fmla="*/ 181 w 512"/>
              <a:gd name="T3" fmla="*/ 384 h 512"/>
              <a:gd name="T4" fmla="*/ 335 w 512"/>
              <a:gd name="T5" fmla="*/ 227 h 512"/>
              <a:gd name="T6" fmla="*/ 320 w 512"/>
              <a:gd name="T7" fmla="*/ 209 h 512"/>
              <a:gd name="T8" fmla="*/ 308 w 512"/>
              <a:gd name="T9" fmla="*/ 186 h 512"/>
              <a:gd name="T10" fmla="*/ 306 w 512"/>
              <a:gd name="T11" fmla="*/ 149 h 512"/>
              <a:gd name="T12" fmla="*/ 271 w 512"/>
              <a:gd name="T13" fmla="*/ 147 h 512"/>
              <a:gd name="T14" fmla="*/ 245 w 512"/>
              <a:gd name="T15" fmla="*/ 149 h 512"/>
              <a:gd name="T16" fmla="*/ 142 w 512"/>
              <a:gd name="T17" fmla="*/ 217 h 512"/>
              <a:gd name="T18" fmla="*/ 221 w 512"/>
              <a:gd name="T19" fmla="*/ 224 h 512"/>
              <a:gd name="T20" fmla="*/ 252 w 512"/>
              <a:gd name="T21" fmla="*/ 246 h 512"/>
              <a:gd name="T22" fmla="*/ 203 w 512"/>
              <a:gd name="T23" fmla="*/ 341 h 512"/>
              <a:gd name="T24" fmla="*/ 309 w 512"/>
              <a:gd name="T25" fmla="*/ 320 h 512"/>
              <a:gd name="T26" fmla="*/ 321 w 512"/>
              <a:gd name="T27" fmla="*/ 309 h 512"/>
              <a:gd name="T28" fmla="*/ 310 w 512"/>
              <a:gd name="T29" fmla="*/ 284 h 512"/>
              <a:gd name="T30" fmla="*/ 334 w 512"/>
              <a:gd name="T31" fmla="*/ 272 h 512"/>
              <a:gd name="T32" fmla="*/ 323 w 512"/>
              <a:gd name="T33" fmla="*/ 242 h 512"/>
              <a:gd name="T34" fmla="*/ 512 w 512"/>
              <a:gd name="T35" fmla="*/ 256 h 512"/>
              <a:gd name="T36" fmla="*/ 0 w 512"/>
              <a:gd name="T37" fmla="*/ 256 h 512"/>
              <a:gd name="T38" fmla="*/ 512 w 512"/>
              <a:gd name="T39" fmla="*/ 256 h 512"/>
              <a:gd name="T40" fmla="*/ 345 w 512"/>
              <a:gd name="T41" fmla="*/ 249 h 512"/>
              <a:gd name="T42" fmla="*/ 362 w 512"/>
              <a:gd name="T43" fmla="*/ 221 h 512"/>
              <a:gd name="T44" fmla="*/ 344 w 512"/>
              <a:gd name="T45" fmla="*/ 208 h 512"/>
              <a:gd name="T46" fmla="*/ 350 w 512"/>
              <a:gd name="T47" fmla="*/ 179 h 512"/>
              <a:gd name="T48" fmla="*/ 324 w 512"/>
              <a:gd name="T49" fmla="*/ 168 h 512"/>
              <a:gd name="T50" fmla="*/ 328 w 512"/>
              <a:gd name="T51" fmla="*/ 132 h 512"/>
              <a:gd name="T52" fmla="*/ 281 w 512"/>
              <a:gd name="T53" fmla="*/ 128 h 512"/>
              <a:gd name="T54" fmla="*/ 230 w 512"/>
              <a:gd name="T55" fmla="*/ 97 h 512"/>
              <a:gd name="T56" fmla="*/ 224 w 512"/>
              <a:gd name="T57" fmla="*/ 143 h 512"/>
              <a:gd name="T58" fmla="*/ 118 w 512"/>
              <a:gd name="T59" fmla="*/ 218 h 512"/>
              <a:gd name="T60" fmla="*/ 152 w 512"/>
              <a:gd name="T61" fmla="*/ 266 h 512"/>
              <a:gd name="T62" fmla="*/ 231 w 512"/>
              <a:gd name="T63" fmla="*/ 252 h 512"/>
              <a:gd name="T64" fmla="*/ 182 w 512"/>
              <a:gd name="T65" fmla="*/ 341 h 512"/>
              <a:gd name="T66" fmla="*/ 160 w 512"/>
              <a:gd name="T67" fmla="*/ 352 h 512"/>
              <a:gd name="T68" fmla="*/ 170 w 512"/>
              <a:gd name="T69" fmla="*/ 405 h 512"/>
              <a:gd name="T70" fmla="*/ 352 w 512"/>
              <a:gd name="T71" fmla="*/ 394 h 512"/>
              <a:gd name="T72" fmla="*/ 341 w 512"/>
              <a:gd name="T73" fmla="*/ 341 h 512"/>
              <a:gd name="T74" fmla="*/ 330 w 512"/>
              <a:gd name="T75" fmla="*/ 330 h 512"/>
              <a:gd name="T76" fmla="*/ 350 w 512"/>
              <a:gd name="T77" fmla="*/ 325 h 512"/>
              <a:gd name="T78" fmla="*/ 336 w 512"/>
              <a:gd name="T79" fmla="*/ 293 h 512"/>
              <a:gd name="T80" fmla="*/ 362 w 512"/>
              <a:gd name="T81" fmla="*/ 28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181" y="362"/>
                </a:moveTo>
                <a:cubicBezTo>
                  <a:pt x="330" y="362"/>
                  <a:pt x="330" y="362"/>
                  <a:pt x="330" y="362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181" y="384"/>
                  <a:pt x="181" y="384"/>
                  <a:pt x="181" y="384"/>
                </a:cubicBezTo>
                <a:lnTo>
                  <a:pt x="181" y="362"/>
                </a:lnTo>
                <a:close/>
                <a:moveTo>
                  <a:pt x="335" y="227"/>
                </a:moveTo>
                <a:cubicBezTo>
                  <a:pt x="326" y="223"/>
                  <a:pt x="326" y="223"/>
                  <a:pt x="326" y="223"/>
                </a:cubicBezTo>
                <a:cubicBezTo>
                  <a:pt x="321" y="220"/>
                  <a:pt x="318" y="215"/>
                  <a:pt x="320" y="209"/>
                </a:cubicBezTo>
                <a:cubicBezTo>
                  <a:pt x="327" y="191"/>
                  <a:pt x="327" y="191"/>
                  <a:pt x="327" y="191"/>
                </a:cubicBezTo>
                <a:cubicBezTo>
                  <a:pt x="308" y="186"/>
                  <a:pt x="308" y="186"/>
                  <a:pt x="308" y="186"/>
                </a:cubicBezTo>
                <a:cubicBezTo>
                  <a:pt x="303" y="184"/>
                  <a:pt x="300" y="178"/>
                  <a:pt x="301" y="173"/>
                </a:cubicBezTo>
                <a:cubicBezTo>
                  <a:pt x="306" y="149"/>
                  <a:pt x="306" y="149"/>
                  <a:pt x="306" y="149"/>
                </a:cubicBezTo>
                <a:cubicBezTo>
                  <a:pt x="277" y="149"/>
                  <a:pt x="277" y="149"/>
                  <a:pt x="277" y="149"/>
                </a:cubicBezTo>
                <a:cubicBezTo>
                  <a:pt x="275" y="149"/>
                  <a:pt x="272" y="148"/>
                  <a:pt x="271" y="147"/>
                </a:cubicBezTo>
                <a:cubicBezTo>
                  <a:pt x="245" y="128"/>
                  <a:pt x="245" y="128"/>
                  <a:pt x="245" y="128"/>
                </a:cubicBezTo>
                <a:cubicBezTo>
                  <a:pt x="245" y="149"/>
                  <a:pt x="245" y="149"/>
                  <a:pt x="245" y="149"/>
                </a:cubicBezTo>
                <a:cubicBezTo>
                  <a:pt x="245" y="153"/>
                  <a:pt x="243" y="156"/>
                  <a:pt x="240" y="158"/>
                </a:cubicBezTo>
                <a:cubicBezTo>
                  <a:pt x="142" y="217"/>
                  <a:pt x="142" y="217"/>
                  <a:pt x="142" y="217"/>
                </a:cubicBezTo>
                <a:cubicBezTo>
                  <a:pt x="155" y="243"/>
                  <a:pt x="155" y="243"/>
                  <a:pt x="155" y="243"/>
                </a:cubicBezTo>
                <a:cubicBezTo>
                  <a:pt x="221" y="224"/>
                  <a:pt x="221" y="224"/>
                  <a:pt x="221" y="224"/>
                </a:cubicBezTo>
                <a:cubicBezTo>
                  <a:pt x="223" y="224"/>
                  <a:pt x="225" y="224"/>
                  <a:pt x="227" y="224"/>
                </a:cubicBezTo>
                <a:cubicBezTo>
                  <a:pt x="229" y="225"/>
                  <a:pt x="248" y="231"/>
                  <a:pt x="252" y="246"/>
                </a:cubicBezTo>
                <a:cubicBezTo>
                  <a:pt x="254" y="253"/>
                  <a:pt x="253" y="263"/>
                  <a:pt x="242" y="274"/>
                </a:cubicBezTo>
                <a:cubicBezTo>
                  <a:pt x="218" y="298"/>
                  <a:pt x="206" y="319"/>
                  <a:pt x="203" y="341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09" y="314"/>
                  <a:pt x="314" y="309"/>
                  <a:pt x="320" y="309"/>
                </a:cubicBezTo>
                <a:cubicBezTo>
                  <a:pt x="321" y="309"/>
                  <a:pt x="321" y="309"/>
                  <a:pt x="321" y="309"/>
                </a:cubicBezTo>
                <a:cubicBezTo>
                  <a:pt x="311" y="294"/>
                  <a:pt x="311" y="294"/>
                  <a:pt x="311" y="294"/>
                </a:cubicBezTo>
                <a:cubicBezTo>
                  <a:pt x="309" y="291"/>
                  <a:pt x="309" y="287"/>
                  <a:pt x="310" y="284"/>
                </a:cubicBezTo>
                <a:cubicBezTo>
                  <a:pt x="311" y="281"/>
                  <a:pt x="313" y="279"/>
                  <a:pt x="316" y="278"/>
                </a:cubicBezTo>
                <a:cubicBezTo>
                  <a:pt x="334" y="272"/>
                  <a:pt x="334" y="272"/>
                  <a:pt x="334" y="272"/>
                </a:cubicBezTo>
                <a:cubicBezTo>
                  <a:pt x="323" y="256"/>
                  <a:pt x="323" y="256"/>
                  <a:pt x="323" y="256"/>
                </a:cubicBezTo>
                <a:cubicBezTo>
                  <a:pt x="320" y="252"/>
                  <a:pt x="320" y="246"/>
                  <a:pt x="323" y="242"/>
                </a:cubicBezTo>
                <a:lnTo>
                  <a:pt x="335" y="22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0" y="271"/>
                </a:moveTo>
                <a:cubicBezTo>
                  <a:pt x="345" y="249"/>
                  <a:pt x="345" y="249"/>
                  <a:pt x="345" y="249"/>
                </a:cubicBezTo>
                <a:cubicBezTo>
                  <a:pt x="360" y="230"/>
                  <a:pt x="360" y="230"/>
                  <a:pt x="360" y="230"/>
                </a:cubicBezTo>
                <a:cubicBezTo>
                  <a:pt x="362" y="228"/>
                  <a:pt x="363" y="225"/>
                  <a:pt x="362" y="221"/>
                </a:cubicBezTo>
                <a:cubicBezTo>
                  <a:pt x="361" y="218"/>
                  <a:pt x="359" y="216"/>
                  <a:pt x="356" y="214"/>
                </a:cubicBezTo>
                <a:cubicBezTo>
                  <a:pt x="344" y="208"/>
                  <a:pt x="344" y="208"/>
                  <a:pt x="344" y="208"/>
                </a:cubicBezTo>
                <a:cubicBezTo>
                  <a:pt x="351" y="187"/>
                  <a:pt x="351" y="187"/>
                  <a:pt x="351" y="187"/>
                </a:cubicBezTo>
                <a:cubicBezTo>
                  <a:pt x="352" y="184"/>
                  <a:pt x="351" y="181"/>
                  <a:pt x="350" y="179"/>
                </a:cubicBezTo>
                <a:cubicBezTo>
                  <a:pt x="349" y="176"/>
                  <a:pt x="346" y="174"/>
                  <a:pt x="344" y="173"/>
                </a:cubicBezTo>
                <a:cubicBezTo>
                  <a:pt x="324" y="168"/>
                  <a:pt x="324" y="168"/>
                  <a:pt x="324" y="168"/>
                </a:cubicBezTo>
                <a:cubicBezTo>
                  <a:pt x="330" y="141"/>
                  <a:pt x="330" y="141"/>
                  <a:pt x="330" y="141"/>
                </a:cubicBezTo>
                <a:cubicBezTo>
                  <a:pt x="331" y="138"/>
                  <a:pt x="330" y="134"/>
                  <a:pt x="328" y="132"/>
                </a:cubicBezTo>
                <a:cubicBezTo>
                  <a:pt x="326" y="129"/>
                  <a:pt x="323" y="128"/>
                  <a:pt x="320" y="128"/>
                </a:cubicBezTo>
                <a:cubicBezTo>
                  <a:pt x="281" y="128"/>
                  <a:pt x="281" y="128"/>
                  <a:pt x="281" y="128"/>
                </a:cubicBezTo>
                <a:cubicBezTo>
                  <a:pt x="241" y="98"/>
                  <a:pt x="241" y="98"/>
                  <a:pt x="241" y="98"/>
                </a:cubicBezTo>
                <a:cubicBezTo>
                  <a:pt x="237" y="95"/>
                  <a:pt x="233" y="95"/>
                  <a:pt x="230" y="97"/>
                </a:cubicBezTo>
                <a:cubicBezTo>
                  <a:pt x="226" y="99"/>
                  <a:pt x="224" y="102"/>
                  <a:pt x="224" y="106"/>
                </a:cubicBezTo>
                <a:cubicBezTo>
                  <a:pt x="224" y="143"/>
                  <a:pt x="224" y="143"/>
                  <a:pt x="224" y="143"/>
                </a:cubicBezTo>
                <a:cubicBezTo>
                  <a:pt x="122" y="204"/>
                  <a:pt x="122" y="204"/>
                  <a:pt x="122" y="204"/>
                </a:cubicBezTo>
                <a:cubicBezTo>
                  <a:pt x="117" y="207"/>
                  <a:pt x="116" y="213"/>
                  <a:pt x="118" y="218"/>
                </a:cubicBezTo>
                <a:cubicBezTo>
                  <a:pt x="139" y="260"/>
                  <a:pt x="139" y="260"/>
                  <a:pt x="139" y="260"/>
                </a:cubicBezTo>
                <a:cubicBezTo>
                  <a:pt x="142" y="265"/>
                  <a:pt x="147" y="267"/>
                  <a:pt x="152" y="266"/>
                </a:cubicBezTo>
                <a:cubicBezTo>
                  <a:pt x="223" y="246"/>
                  <a:pt x="223" y="246"/>
                  <a:pt x="223" y="246"/>
                </a:cubicBezTo>
                <a:cubicBezTo>
                  <a:pt x="227" y="247"/>
                  <a:pt x="231" y="250"/>
                  <a:pt x="231" y="252"/>
                </a:cubicBezTo>
                <a:cubicBezTo>
                  <a:pt x="231" y="252"/>
                  <a:pt x="231" y="255"/>
                  <a:pt x="227" y="259"/>
                </a:cubicBezTo>
                <a:cubicBezTo>
                  <a:pt x="209" y="277"/>
                  <a:pt x="186" y="304"/>
                  <a:pt x="182" y="341"/>
                </a:cubicBezTo>
                <a:cubicBezTo>
                  <a:pt x="170" y="341"/>
                  <a:pt x="170" y="341"/>
                  <a:pt x="170" y="341"/>
                </a:cubicBezTo>
                <a:cubicBezTo>
                  <a:pt x="164" y="341"/>
                  <a:pt x="160" y="346"/>
                  <a:pt x="160" y="352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400"/>
                  <a:pt x="164" y="405"/>
                  <a:pt x="170" y="405"/>
                </a:cubicBezTo>
                <a:cubicBezTo>
                  <a:pt x="341" y="405"/>
                  <a:pt x="341" y="405"/>
                  <a:pt x="341" y="405"/>
                </a:cubicBezTo>
                <a:cubicBezTo>
                  <a:pt x="347" y="405"/>
                  <a:pt x="352" y="400"/>
                  <a:pt x="352" y="394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52" y="346"/>
                  <a:pt x="347" y="341"/>
                  <a:pt x="341" y="341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341" y="330"/>
                  <a:pt x="341" y="330"/>
                  <a:pt x="341" y="330"/>
                </a:cubicBezTo>
                <a:cubicBezTo>
                  <a:pt x="345" y="330"/>
                  <a:pt x="349" y="328"/>
                  <a:pt x="350" y="325"/>
                </a:cubicBezTo>
                <a:cubicBezTo>
                  <a:pt x="352" y="321"/>
                  <a:pt x="352" y="317"/>
                  <a:pt x="350" y="314"/>
                </a:cubicBezTo>
                <a:cubicBezTo>
                  <a:pt x="336" y="293"/>
                  <a:pt x="336" y="293"/>
                  <a:pt x="336" y="293"/>
                </a:cubicBezTo>
                <a:cubicBezTo>
                  <a:pt x="355" y="287"/>
                  <a:pt x="355" y="287"/>
                  <a:pt x="355" y="287"/>
                </a:cubicBezTo>
                <a:cubicBezTo>
                  <a:pt x="358" y="286"/>
                  <a:pt x="361" y="283"/>
                  <a:pt x="362" y="280"/>
                </a:cubicBezTo>
                <a:cubicBezTo>
                  <a:pt x="363" y="277"/>
                  <a:pt x="362" y="273"/>
                  <a:pt x="360" y="2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3" name="Group 947"/>
          <p:cNvGrpSpPr>
            <a:grpSpLocks noChangeAspect="1"/>
          </p:cNvGrpSpPr>
          <p:nvPr/>
        </p:nvGrpSpPr>
        <p:grpSpPr bwMode="auto">
          <a:xfrm>
            <a:off x="2914772" y="3740795"/>
            <a:ext cx="367982" cy="367982"/>
            <a:chOff x="1851" y="3960"/>
            <a:chExt cx="340" cy="340"/>
          </a:xfrm>
          <a:solidFill>
            <a:schemeClr val="accent5"/>
          </a:solidFill>
        </p:grpSpPr>
        <p:sp>
          <p:nvSpPr>
            <p:cNvPr id="354" name="Freeform 948"/>
            <p:cNvSpPr>
              <a:spLocks noEditPoints="1"/>
            </p:cNvSpPr>
            <p:nvPr/>
          </p:nvSpPr>
          <p:spPr bwMode="auto">
            <a:xfrm>
              <a:off x="1928" y="4023"/>
              <a:ext cx="164" cy="206"/>
            </a:xfrm>
            <a:custGeom>
              <a:avLst/>
              <a:gdLst>
                <a:gd name="T0" fmla="*/ 229 w 247"/>
                <a:gd name="T1" fmla="*/ 154 h 310"/>
                <a:gd name="T2" fmla="*/ 246 w 247"/>
                <a:gd name="T3" fmla="*/ 126 h 310"/>
                <a:gd name="T4" fmla="*/ 228 w 247"/>
                <a:gd name="T5" fmla="*/ 113 h 310"/>
                <a:gd name="T6" fmla="*/ 234 w 247"/>
                <a:gd name="T7" fmla="*/ 84 h 310"/>
                <a:gd name="T8" fmla="*/ 208 w 247"/>
                <a:gd name="T9" fmla="*/ 73 h 310"/>
                <a:gd name="T10" fmla="*/ 212 w 247"/>
                <a:gd name="T11" fmla="*/ 37 h 310"/>
                <a:gd name="T12" fmla="*/ 165 w 247"/>
                <a:gd name="T13" fmla="*/ 33 h 310"/>
                <a:gd name="T14" fmla="*/ 114 w 247"/>
                <a:gd name="T15" fmla="*/ 2 h 310"/>
                <a:gd name="T16" fmla="*/ 108 w 247"/>
                <a:gd name="T17" fmla="*/ 48 h 310"/>
                <a:gd name="T18" fmla="*/ 2 w 247"/>
                <a:gd name="T19" fmla="*/ 123 h 310"/>
                <a:gd name="T20" fmla="*/ 36 w 247"/>
                <a:gd name="T21" fmla="*/ 171 h 310"/>
                <a:gd name="T22" fmla="*/ 115 w 247"/>
                <a:gd name="T23" fmla="*/ 157 h 310"/>
                <a:gd name="T24" fmla="*/ 66 w 247"/>
                <a:gd name="T25" fmla="*/ 246 h 310"/>
                <a:gd name="T26" fmla="*/ 44 w 247"/>
                <a:gd name="T27" fmla="*/ 257 h 310"/>
                <a:gd name="T28" fmla="*/ 54 w 247"/>
                <a:gd name="T29" fmla="*/ 310 h 310"/>
                <a:gd name="T30" fmla="*/ 236 w 247"/>
                <a:gd name="T31" fmla="*/ 299 h 310"/>
                <a:gd name="T32" fmla="*/ 225 w 247"/>
                <a:gd name="T33" fmla="*/ 246 h 310"/>
                <a:gd name="T34" fmla="*/ 214 w 247"/>
                <a:gd name="T35" fmla="*/ 235 h 310"/>
                <a:gd name="T36" fmla="*/ 234 w 247"/>
                <a:gd name="T37" fmla="*/ 230 h 310"/>
                <a:gd name="T38" fmla="*/ 220 w 247"/>
                <a:gd name="T39" fmla="*/ 198 h 310"/>
                <a:gd name="T40" fmla="*/ 246 w 247"/>
                <a:gd name="T41" fmla="*/ 185 h 310"/>
                <a:gd name="T42" fmla="*/ 214 w 247"/>
                <a:gd name="T43" fmla="*/ 289 h 310"/>
                <a:gd name="T44" fmla="*/ 65 w 247"/>
                <a:gd name="T45" fmla="*/ 267 h 310"/>
                <a:gd name="T46" fmla="*/ 214 w 247"/>
                <a:gd name="T47" fmla="*/ 289 h 310"/>
                <a:gd name="T48" fmla="*/ 218 w 247"/>
                <a:gd name="T49" fmla="*/ 177 h 310"/>
                <a:gd name="T50" fmla="*/ 194 w 247"/>
                <a:gd name="T51" fmla="*/ 189 h 310"/>
                <a:gd name="T52" fmla="*/ 205 w 247"/>
                <a:gd name="T53" fmla="*/ 214 h 310"/>
                <a:gd name="T54" fmla="*/ 193 w 247"/>
                <a:gd name="T55" fmla="*/ 225 h 310"/>
                <a:gd name="T56" fmla="*/ 87 w 247"/>
                <a:gd name="T57" fmla="*/ 246 h 310"/>
                <a:gd name="T58" fmla="*/ 136 w 247"/>
                <a:gd name="T59" fmla="*/ 151 h 310"/>
                <a:gd name="T60" fmla="*/ 105 w 247"/>
                <a:gd name="T61" fmla="*/ 129 h 310"/>
                <a:gd name="T62" fmla="*/ 26 w 247"/>
                <a:gd name="T63" fmla="*/ 122 h 310"/>
                <a:gd name="T64" fmla="*/ 129 w 247"/>
                <a:gd name="T65" fmla="*/ 54 h 310"/>
                <a:gd name="T66" fmla="*/ 155 w 247"/>
                <a:gd name="T67" fmla="*/ 52 h 310"/>
                <a:gd name="T68" fmla="*/ 190 w 247"/>
                <a:gd name="T69" fmla="*/ 54 h 310"/>
                <a:gd name="T70" fmla="*/ 192 w 247"/>
                <a:gd name="T71" fmla="*/ 91 h 310"/>
                <a:gd name="T72" fmla="*/ 204 w 247"/>
                <a:gd name="T73" fmla="*/ 114 h 310"/>
                <a:gd name="T74" fmla="*/ 219 w 247"/>
                <a:gd name="T75" fmla="*/ 132 h 310"/>
                <a:gd name="T76" fmla="*/ 207 w 247"/>
                <a:gd name="T77" fmla="*/ 16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7" h="310">
                  <a:moveTo>
                    <a:pt x="244" y="176"/>
                  </a:moveTo>
                  <a:cubicBezTo>
                    <a:pt x="229" y="154"/>
                    <a:pt x="229" y="154"/>
                    <a:pt x="229" y="154"/>
                  </a:cubicBezTo>
                  <a:cubicBezTo>
                    <a:pt x="244" y="135"/>
                    <a:pt x="244" y="135"/>
                    <a:pt x="244" y="135"/>
                  </a:cubicBezTo>
                  <a:cubicBezTo>
                    <a:pt x="246" y="133"/>
                    <a:pt x="247" y="130"/>
                    <a:pt x="246" y="126"/>
                  </a:cubicBezTo>
                  <a:cubicBezTo>
                    <a:pt x="245" y="123"/>
                    <a:pt x="243" y="121"/>
                    <a:pt x="240" y="119"/>
                  </a:cubicBezTo>
                  <a:cubicBezTo>
                    <a:pt x="228" y="113"/>
                    <a:pt x="228" y="113"/>
                    <a:pt x="228" y="113"/>
                  </a:cubicBezTo>
                  <a:cubicBezTo>
                    <a:pt x="235" y="92"/>
                    <a:pt x="235" y="92"/>
                    <a:pt x="235" y="92"/>
                  </a:cubicBezTo>
                  <a:cubicBezTo>
                    <a:pt x="236" y="89"/>
                    <a:pt x="235" y="86"/>
                    <a:pt x="234" y="84"/>
                  </a:cubicBezTo>
                  <a:cubicBezTo>
                    <a:pt x="233" y="81"/>
                    <a:pt x="230" y="79"/>
                    <a:pt x="228" y="78"/>
                  </a:cubicBezTo>
                  <a:cubicBezTo>
                    <a:pt x="208" y="73"/>
                    <a:pt x="208" y="73"/>
                    <a:pt x="208" y="73"/>
                  </a:cubicBezTo>
                  <a:cubicBezTo>
                    <a:pt x="214" y="46"/>
                    <a:pt x="214" y="46"/>
                    <a:pt x="214" y="46"/>
                  </a:cubicBezTo>
                  <a:cubicBezTo>
                    <a:pt x="215" y="43"/>
                    <a:pt x="214" y="39"/>
                    <a:pt x="212" y="37"/>
                  </a:cubicBezTo>
                  <a:cubicBezTo>
                    <a:pt x="210" y="34"/>
                    <a:pt x="207" y="33"/>
                    <a:pt x="204" y="3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1" y="0"/>
                    <a:pt x="117" y="0"/>
                    <a:pt x="114" y="2"/>
                  </a:cubicBezTo>
                  <a:cubicBezTo>
                    <a:pt x="110" y="4"/>
                    <a:pt x="108" y="7"/>
                    <a:pt x="108" y="11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1" y="112"/>
                    <a:pt x="0" y="118"/>
                    <a:pt x="2" y="123"/>
                  </a:cubicBezTo>
                  <a:cubicBezTo>
                    <a:pt x="23" y="165"/>
                    <a:pt x="23" y="165"/>
                    <a:pt x="23" y="165"/>
                  </a:cubicBezTo>
                  <a:cubicBezTo>
                    <a:pt x="26" y="170"/>
                    <a:pt x="31" y="172"/>
                    <a:pt x="36" y="171"/>
                  </a:cubicBezTo>
                  <a:cubicBezTo>
                    <a:pt x="107" y="151"/>
                    <a:pt x="107" y="151"/>
                    <a:pt x="107" y="151"/>
                  </a:cubicBezTo>
                  <a:cubicBezTo>
                    <a:pt x="111" y="152"/>
                    <a:pt x="115" y="155"/>
                    <a:pt x="115" y="157"/>
                  </a:cubicBezTo>
                  <a:cubicBezTo>
                    <a:pt x="115" y="157"/>
                    <a:pt x="115" y="160"/>
                    <a:pt x="111" y="164"/>
                  </a:cubicBezTo>
                  <a:cubicBezTo>
                    <a:pt x="93" y="182"/>
                    <a:pt x="70" y="209"/>
                    <a:pt x="66" y="246"/>
                  </a:cubicBezTo>
                  <a:cubicBezTo>
                    <a:pt x="54" y="246"/>
                    <a:pt x="54" y="246"/>
                    <a:pt x="54" y="246"/>
                  </a:cubicBezTo>
                  <a:cubicBezTo>
                    <a:pt x="48" y="246"/>
                    <a:pt x="44" y="251"/>
                    <a:pt x="44" y="257"/>
                  </a:cubicBezTo>
                  <a:cubicBezTo>
                    <a:pt x="44" y="299"/>
                    <a:pt x="44" y="299"/>
                    <a:pt x="44" y="299"/>
                  </a:cubicBezTo>
                  <a:cubicBezTo>
                    <a:pt x="44" y="305"/>
                    <a:pt x="48" y="310"/>
                    <a:pt x="54" y="310"/>
                  </a:cubicBezTo>
                  <a:cubicBezTo>
                    <a:pt x="225" y="310"/>
                    <a:pt x="225" y="310"/>
                    <a:pt x="225" y="310"/>
                  </a:cubicBezTo>
                  <a:cubicBezTo>
                    <a:pt x="231" y="310"/>
                    <a:pt x="236" y="305"/>
                    <a:pt x="236" y="299"/>
                  </a:cubicBezTo>
                  <a:cubicBezTo>
                    <a:pt x="236" y="257"/>
                    <a:pt x="236" y="257"/>
                    <a:pt x="236" y="257"/>
                  </a:cubicBezTo>
                  <a:cubicBezTo>
                    <a:pt x="236" y="251"/>
                    <a:pt x="231" y="246"/>
                    <a:pt x="225" y="246"/>
                  </a:cubicBezTo>
                  <a:cubicBezTo>
                    <a:pt x="214" y="246"/>
                    <a:pt x="214" y="246"/>
                    <a:pt x="214" y="246"/>
                  </a:cubicBezTo>
                  <a:cubicBezTo>
                    <a:pt x="214" y="235"/>
                    <a:pt x="214" y="235"/>
                    <a:pt x="214" y="235"/>
                  </a:cubicBezTo>
                  <a:cubicBezTo>
                    <a:pt x="225" y="235"/>
                    <a:pt x="225" y="235"/>
                    <a:pt x="225" y="235"/>
                  </a:cubicBezTo>
                  <a:cubicBezTo>
                    <a:pt x="229" y="235"/>
                    <a:pt x="233" y="233"/>
                    <a:pt x="234" y="230"/>
                  </a:cubicBezTo>
                  <a:cubicBezTo>
                    <a:pt x="236" y="226"/>
                    <a:pt x="236" y="222"/>
                    <a:pt x="234" y="219"/>
                  </a:cubicBezTo>
                  <a:cubicBezTo>
                    <a:pt x="220" y="198"/>
                    <a:pt x="220" y="198"/>
                    <a:pt x="220" y="198"/>
                  </a:cubicBezTo>
                  <a:cubicBezTo>
                    <a:pt x="239" y="192"/>
                    <a:pt x="239" y="192"/>
                    <a:pt x="239" y="192"/>
                  </a:cubicBezTo>
                  <a:cubicBezTo>
                    <a:pt x="242" y="191"/>
                    <a:pt x="245" y="188"/>
                    <a:pt x="246" y="185"/>
                  </a:cubicBezTo>
                  <a:cubicBezTo>
                    <a:pt x="247" y="182"/>
                    <a:pt x="246" y="178"/>
                    <a:pt x="244" y="176"/>
                  </a:cubicBezTo>
                  <a:close/>
                  <a:moveTo>
                    <a:pt x="214" y="289"/>
                  </a:moveTo>
                  <a:cubicBezTo>
                    <a:pt x="65" y="289"/>
                    <a:pt x="65" y="289"/>
                    <a:pt x="65" y="289"/>
                  </a:cubicBezTo>
                  <a:cubicBezTo>
                    <a:pt x="65" y="267"/>
                    <a:pt x="65" y="267"/>
                    <a:pt x="65" y="267"/>
                  </a:cubicBezTo>
                  <a:cubicBezTo>
                    <a:pt x="214" y="267"/>
                    <a:pt x="214" y="267"/>
                    <a:pt x="214" y="267"/>
                  </a:cubicBezTo>
                  <a:lnTo>
                    <a:pt x="214" y="289"/>
                  </a:lnTo>
                  <a:close/>
                  <a:moveTo>
                    <a:pt x="207" y="161"/>
                  </a:moveTo>
                  <a:cubicBezTo>
                    <a:pt x="218" y="177"/>
                    <a:pt x="218" y="177"/>
                    <a:pt x="218" y="177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197" y="184"/>
                    <a:pt x="195" y="186"/>
                    <a:pt x="194" y="189"/>
                  </a:cubicBezTo>
                  <a:cubicBezTo>
                    <a:pt x="193" y="192"/>
                    <a:pt x="193" y="196"/>
                    <a:pt x="195" y="199"/>
                  </a:cubicBezTo>
                  <a:cubicBezTo>
                    <a:pt x="205" y="214"/>
                    <a:pt x="205" y="214"/>
                    <a:pt x="205" y="214"/>
                  </a:cubicBezTo>
                  <a:cubicBezTo>
                    <a:pt x="204" y="214"/>
                    <a:pt x="204" y="214"/>
                    <a:pt x="204" y="214"/>
                  </a:cubicBezTo>
                  <a:cubicBezTo>
                    <a:pt x="198" y="214"/>
                    <a:pt x="193" y="219"/>
                    <a:pt x="193" y="225"/>
                  </a:cubicBezTo>
                  <a:cubicBezTo>
                    <a:pt x="193" y="246"/>
                    <a:pt x="193" y="246"/>
                    <a:pt x="193" y="246"/>
                  </a:cubicBezTo>
                  <a:cubicBezTo>
                    <a:pt x="87" y="246"/>
                    <a:pt x="87" y="246"/>
                    <a:pt x="87" y="246"/>
                  </a:cubicBezTo>
                  <a:cubicBezTo>
                    <a:pt x="90" y="224"/>
                    <a:pt x="102" y="203"/>
                    <a:pt x="126" y="179"/>
                  </a:cubicBezTo>
                  <a:cubicBezTo>
                    <a:pt x="137" y="168"/>
                    <a:pt x="138" y="158"/>
                    <a:pt x="136" y="151"/>
                  </a:cubicBezTo>
                  <a:cubicBezTo>
                    <a:pt x="132" y="136"/>
                    <a:pt x="113" y="130"/>
                    <a:pt x="111" y="129"/>
                  </a:cubicBezTo>
                  <a:cubicBezTo>
                    <a:pt x="109" y="129"/>
                    <a:pt x="107" y="129"/>
                    <a:pt x="105" y="129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7" y="61"/>
                    <a:pt x="129" y="58"/>
                    <a:pt x="129" y="54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6" y="53"/>
                    <a:pt x="159" y="54"/>
                    <a:pt x="161" y="54"/>
                  </a:cubicBezTo>
                  <a:cubicBezTo>
                    <a:pt x="190" y="54"/>
                    <a:pt x="190" y="54"/>
                    <a:pt x="190" y="54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184" y="83"/>
                    <a:pt x="187" y="89"/>
                    <a:pt x="192" y="9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4" y="114"/>
                    <a:pt x="204" y="114"/>
                    <a:pt x="204" y="114"/>
                  </a:cubicBezTo>
                  <a:cubicBezTo>
                    <a:pt x="202" y="120"/>
                    <a:pt x="205" y="125"/>
                    <a:pt x="210" y="128"/>
                  </a:cubicBezTo>
                  <a:cubicBezTo>
                    <a:pt x="219" y="132"/>
                    <a:pt x="219" y="132"/>
                    <a:pt x="219" y="132"/>
                  </a:cubicBezTo>
                  <a:cubicBezTo>
                    <a:pt x="207" y="147"/>
                    <a:pt x="207" y="147"/>
                    <a:pt x="207" y="147"/>
                  </a:cubicBezTo>
                  <a:cubicBezTo>
                    <a:pt x="204" y="151"/>
                    <a:pt x="204" y="157"/>
                    <a:pt x="207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949"/>
            <p:cNvSpPr>
              <a:spLocks noEditPoints="1"/>
            </p:cNvSpPr>
            <p:nvPr/>
          </p:nvSpPr>
          <p:spPr bwMode="auto">
            <a:xfrm>
              <a:off x="1851" y="39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6" name="Freeform 953"/>
          <p:cNvSpPr>
            <a:spLocks noChangeAspect="1" noEditPoints="1"/>
          </p:cNvSpPr>
          <p:nvPr/>
        </p:nvSpPr>
        <p:spPr bwMode="auto">
          <a:xfrm>
            <a:off x="3412472" y="3740795"/>
            <a:ext cx="367982" cy="367982"/>
          </a:xfrm>
          <a:custGeom>
            <a:avLst/>
            <a:gdLst>
              <a:gd name="T0" fmla="*/ 289 w 512"/>
              <a:gd name="T1" fmla="*/ 309 h 512"/>
              <a:gd name="T2" fmla="*/ 222 w 512"/>
              <a:gd name="T3" fmla="*/ 309 h 512"/>
              <a:gd name="T4" fmla="*/ 245 w 512"/>
              <a:gd name="T5" fmla="*/ 213 h 512"/>
              <a:gd name="T6" fmla="*/ 267 w 512"/>
              <a:gd name="T7" fmla="*/ 213 h 512"/>
              <a:gd name="T8" fmla="*/ 289 w 512"/>
              <a:gd name="T9" fmla="*/ 309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30 w 512"/>
              <a:gd name="T21" fmla="*/ 320 h 512"/>
              <a:gd name="T22" fmla="*/ 320 w 512"/>
              <a:gd name="T23" fmla="*/ 309 h 512"/>
              <a:gd name="T24" fmla="*/ 314 w 512"/>
              <a:gd name="T25" fmla="*/ 309 h 512"/>
              <a:gd name="T26" fmla="*/ 288 w 512"/>
              <a:gd name="T27" fmla="*/ 213 h 512"/>
              <a:gd name="T28" fmla="*/ 298 w 512"/>
              <a:gd name="T29" fmla="*/ 213 h 512"/>
              <a:gd name="T30" fmla="*/ 309 w 512"/>
              <a:gd name="T31" fmla="*/ 202 h 512"/>
              <a:gd name="T32" fmla="*/ 298 w 512"/>
              <a:gd name="T33" fmla="*/ 192 h 512"/>
              <a:gd name="T34" fmla="*/ 284 w 512"/>
              <a:gd name="T35" fmla="*/ 192 h 512"/>
              <a:gd name="T36" fmla="*/ 298 w 512"/>
              <a:gd name="T37" fmla="*/ 160 h 512"/>
              <a:gd name="T38" fmla="*/ 256 w 512"/>
              <a:gd name="T39" fmla="*/ 117 h 512"/>
              <a:gd name="T40" fmla="*/ 213 w 512"/>
              <a:gd name="T41" fmla="*/ 160 h 512"/>
              <a:gd name="T42" fmla="*/ 228 w 512"/>
              <a:gd name="T43" fmla="*/ 192 h 512"/>
              <a:gd name="T44" fmla="*/ 213 w 512"/>
              <a:gd name="T45" fmla="*/ 192 h 512"/>
              <a:gd name="T46" fmla="*/ 202 w 512"/>
              <a:gd name="T47" fmla="*/ 202 h 512"/>
              <a:gd name="T48" fmla="*/ 213 w 512"/>
              <a:gd name="T49" fmla="*/ 213 h 512"/>
              <a:gd name="T50" fmla="*/ 223 w 512"/>
              <a:gd name="T51" fmla="*/ 213 h 512"/>
              <a:gd name="T52" fmla="*/ 197 w 512"/>
              <a:gd name="T53" fmla="*/ 309 h 512"/>
              <a:gd name="T54" fmla="*/ 192 w 512"/>
              <a:gd name="T55" fmla="*/ 309 h 512"/>
              <a:gd name="T56" fmla="*/ 181 w 512"/>
              <a:gd name="T57" fmla="*/ 320 h 512"/>
              <a:gd name="T58" fmla="*/ 181 w 512"/>
              <a:gd name="T59" fmla="*/ 362 h 512"/>
              <a:gd name="T60" fmla="*/ 192 w 512"/>
              <a:gd name="T61" fmla="*/ 373 h 512"/>
              <a:gd name="T62" fmla="*/ 320 w 512"/>
              <a:gd name="T63" fmla="*/ 373 h 512"/>
              <a:gd name="T64" fmla="*/ 330 w 512"/>
              <a:gd name="T65" fmla="*/ 362 h 512"/>
              <a:gd name="T66" fmla="*/ 330 w 512"/>
              <a:gd name="T67" fmla="*/ 320 h 512"/>
              <a:gd name="T68" fmla="*/ 202 w 512"/>
              <a:gd name="T69" fmla="*/ 352 h 512"/>
              <a:gd name="T70" fmla="*/ 309 w 512"/>
              <a:gd name="T71" fmla="*/ 352 h 512"/>
              <a:gd name="T72" fmla="*/ 309 w 512"/>
              <a:gd name="T73" fmla="*/ 330 h 512"/>
              <a:gd name="T74" fmla="*/ 202 w 512"/>
              <a:gd name="T75" fmla="*/ 330 h 512"/>
              <a:gd name="T76" fmla="*/ 202 w 512"/>
              <a:gd name="T77" fmla="*/ 352 h 512"/>
              <a:gd name="T78" fmla="*/ 256 w 512"/>
              <a:gd name="T79" fmla="*/ 181 h 512"/>
              <a:gd name="T80" fmla="*/ 277 w 512"/>
              <a:gd name="T81" fmla="*/ 160 h 512"/>
              <a:gd name="T82" fmla="*/ 256 w 512"/>
              <a:gd name="T83" fmla="*/ 138 h 512"/>
              <a:gd name="T84" fmla="*/ 234 w 512"/>
              <a:gd name="T85" fmla="*/ 160 h 512"/>
              <a:gd name="T86" fmla="*/ 256 w 512"/>
              <a:gd name="T87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89" y="309"/>
                </a:moveTo>
                <a:cubicBezTo>
                  <a:pt x="222" y="309"/>
                  <a:pt x="222" y="309"/>
                  <a:pt x="222" y="309"/>
                </a:cubicBezTo>
                <a:cubicBezTo>
                  <a:pt x="232" y="291"/>
                  <a:pt x="243" y="260"/>
                  <a:pt x="245" y="213"/>
                </a:cubicBezTo>
                <a:cubicBezTo>
                  <a:pt x="267" y="213"/>
                  <a:pt x="267" y="213"/>
                  <a:pt x="267" y="213"/>
                </a:cubicBezTo>
                <a:cubicBezTo>
                  <a:pt x="268" y="260"/>
                  <a:pt x="280" y="291"/>
                  <a:pt x="289" y="30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320"/>
                </a:moveTo>
                <a:cubicBezTo>
                  <a:pt x="330" y="314"/>
                  <a:pt x="326" y="309"/>
                  <a:pt x="320" y="309"/>
                </a:cubicBezTo>
                <a:cubicBezTo>
                  <a:pt x="314" y="309"/>
                  <a:pt x="314" y="309"/>
                  <a:pt x="314" y="309"/>
                </a:cubicBezTo>
                <a:cubicBezTo>
                  <a:pt x="307" y="300"/>
                  <a:pt x="290" y="270"/>
                  <a:pt x="288" y="213"/>
                </a:cubicBezTo>
                <a:cubicBezTo>
                  <a:pt x="298" y="213"/>
                  <a:pt x="298" y="213"/>
                  <a:pt x="298" y="213"/>
                </a:cubicBezTo>
                <a:cubicBezTo>
                  <a:pt x="304" y="213"/>
                  <a:pt x="309" y="208"/>
                  <a:pt x="309" y="202"/>
                </a:cubicBezTo>
                <a:cubicBezTo>
                  <a:pt x="309" y="196"/>
                  <a:pt x="304" y="192"/>
                  <a:pt x="298" y="192"/>
                </a:cubicBezTo>
                <a:cubicBezTo>
                  <a:pt x="284" y="192"/>
                  <a:pt x="284" y="192"/>
                  <a:pt x="284" y="192"/>
                </a:cubicBezTo>
                <a:cubicBezTo>
                  <a:pt x="293" y="184"/>
                  <a:pt x="298" y="172"/>
                  <a:pt x="298" y="160"/>
                </a:cubicBezTo>
                <a:cubicBezTo>
                  <a:pt x="298" y="136"/>
                  <a:pt x="279" y="117"/>
                  <a:pt x="256" y="117"/>
                </a:cubicBezTo>
                <a:cubicBezTo>
                  <a:pt x="232" y="117"/>
                  <a:pt x="213" y="136"/>
                  <a:pt x="213" y="160"/>
                </a:cubicBezTo>
                <a:cubicBezTo>
                  <a:pt x="213" y="172"/>
                  <a:pt x="219" y="184"/>
                  <a:pt x="228" y="192"/>
                </a:cubicBezTo>
                <a:cubicBezTo>
                  <a:pt x="213" y="192"/>
                  <a:pt x="213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208"/>
                  <a:pt x="207" y="213"/>
                  <a:pt x="213" y="213"/>
                </a:cubicBezTo>
                <a:cubicBezTo>
                  <a:pt x="223" y="213"/>
                  <a:pt x="223" y="213"/>
                  <a:pt x="223" y="213"/>
                </a:cubicBezTo>
                <a:cubicBezTo>
                  <a:pt x="221" y="270"/>
                  <a:pt x="204" y="300"/>
                  <a:pt x="197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ubicBezTo>
                  <a:pt x="181" y="362"/>
                  <a:pt x="181" y="362"/>
                  <a:pt x="181" y="362"/>
                </a:cubicBezTo>
                <a:cubicBezTo>
                  <a:pt x="181" y="368"/>
                  <a:pt x="186" y="373"/>
                  <a:pt x="192" y="373"/>
                </a:cubicBezTo>
                <a:cubicBezTo>
                  <a:pt x="320" y="373"/>
                  <a:pt x="320" y="373"/>
                  <a:pt x="320" y="373"/>
                </a:cubicBezTo>
                <a:cubicBezTo>
                  <a:pt x="326" y="373"/>
                  <a:pt x="330" y="368"/>
                  <a:pt x="330" y="362"/>
                </a:cubicBezTo>
                <a:lnTo>
                  <a:pt x="330" y="320"/>
                </a:lnTo>
                <a:close/>
                <a:moveTo>
                  <a:pt x="202" y="352"/>
                </a:moveTo>
                <a:cubicBezTo>
                  <a:pt x="309" y="352"/>
                  <a:pt x="309" y="352"/>
                  <a:pt x="309" y="352"/>
                </a:cubicBezTo>
                <a:cubicBezTo>
                  <a:pt x="309" y="330"/>
                  <a:pt x="309" y="330"/>
                  <a:pt x="309" y="330"/>
                </a:cubicBezTo>
                <a:cubicBezTo>
                  <a:pt x="202" y="330"/>
                  <a:pt x="202" y="330"/>
                  <a:pt x="202" y="330"/>
                </a:cubicBezTo>
                <a:lnTo>
                  <a:pt x="202" y="352"/>
                </a:lnTo>
                <a:close/>
                <a:moveTo>
                  <a:pt x="256" y="181"/>
                </a:moveTo>
                <a:cubicBezTo>
                  <a:pt x="267" y="181"/>
                  <a:pt x="277" y="171"/>
                  <a:pt x="277" y="160"/>
                </a:cubicBezTo>
                <a:cubicBezTo>
                  <a:pt x="277" y="148"/>
                  <a:pt x="267" y="138"/>
                  <a:pt x="256" y="138"/>
                </a:cubicBezTo>
                <a:cubicBezTo>
                  <a:pt x="244" y="138"/>
                  <a:pt x="234" y="148"/>
                  <a:pt x="234" y="160"/>
                </a:cubicBezTo>
                <a:cubicBezTo>
                  <a:pt x="234" y="171"/>
                  <a:pt x="244" y="181"/>
                  <a:pt x="256" y="18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7" name="Group 956"/>
          <p:cNvGrpSpPr>
            <a:grpSpLocks noChangeAspect="1"/>
          </p:cNvGrpSpPr>
          <p:nvPr/>
        </p:nvGrpSpPr>
        <p:grpSpPr bwMode="auto">
          <a:xfrm>
            <a:off x="3910172" y="3740795"/>
            <a:ext cx="367982" cy="367982"/>
            <a:chOff x="2474" y="4027"/>
            <a:chExt cx="340" cy="340"/>
          </a:xfrm>
          <a:solidFill>
            <a:schemeClr val="accent1"/>
          </a:solidFill>
        </p:grpSpPr>
        <p:sp>
          <p:nvSpPr>
            <p:cNvPr id="358" name="Freeform 957"/>
            <p:cNvSpPr>
              <a:spLocks noEditPoints="1"/>
            </p:cNvSpPr>
            <p:nvPr/>
          </p:nvSpPr>
          <p:spPr bwMode="auto">
            <a:xfrm>
              <a:off x="2594" y="4105"/>
              <a:ext cx="99" cy="170"/>
            </a:xfrm>
            <a:custGeom>
              <a:avLst/>
              <a:gdLst>
                <a:gd name="T0" fmla="*/ 139 w 149"/>
                <a:gd name="T1" fmla="*/ 192 h 256"/>
                <a:gd name="T2" fmla="*/ 133 w 149"/>
                <a:gd name="T3" fmla="*/ 192 h 256"/>
                <a:gd name="T4" fmla="*/ 107 w 149"/>
                <a:gd name="T5" fmla="*/ 96 h 256"/>
                <a:gd name="T6" fmla="*/ 117 w 149"/>
                <a:gd name="T7" fmla="*/ 96 h 256"/>
                <a:gd name="T8" fmla="*/ 128 w 149"/>
                <a:gd name="T9" fmla="*/ 85 h 256"/>
                <a:gd name="T10" fmla="*/ 117 w 149"/>
                <a:gd name="T11" fmla="*/ 75 h 256"/>
                <a:gd name="T12" fmla="*/ 103 w 149"/>
                <a:gd name="T13" fmla="*/ 75 h 256"/>
                <a:gd name="T14" fmla="*/ 117 w 149"/>
                <a:gd name="T15" fmla="*/ 43 h 256"/>
                <a:gd name="T16" fmla="*/ 75 w 149"/>
                <a:gd name="T17" fmla="*/ 0 h 256"/>
                <a:gd name="T18" fmla="*/ 32 w 149"/>
                <a:gd name="T19" fmla="*/ 43 h 256"/>
                <a:gd name="T20" fmla="*/ 47 w 149"/>
                <a:gd name="T21" fmla="*/ 75 h 256"/>
                <a:gd name="T22" fmla="*/ 32 w 149"/>
                <a:gd name="T23" fmla="*/ 75 h 256"/>
                <a:gd name="T24" fmla="*/ 21 w 149"/>
                <a:gd name="T25" fmla="*/ 85 h 256"/>
                <a:gd name="T26" fmla="*/ 32 w 149"/>
                <a:gd name="T27" fmla="*/ 96 h 256"/>
                <a:gd name="T28" fmla="*/ 42 w 149"/>
                <a:gd name="T29" fmla="*/ 96 h 256"/>
                <a:gd name="T30" fmla="*/ 16 w 149"/>
                <a:gd name="T31" fmla="*/ 192 h 256"/>
                <a:gd name="T32" fmla="*/ 11 w 149"/>
                <a:gd name="T33" fmla="*/ 192 h 256"/>
                <a:gd name="T34" fmla="*/ 0 w 149"/>
                <a:gd name="T35" fmla="*/ 203 h 256"/>
                <a:gd name="T36" fmla="*/ 0 w 149"/>
                <a:gd name="T37" fmla="*/ 245 h 256"/>
                <a:gd name="T38" fmla="*/ 11 w 149"/>
                <a:gd name="T39" fmla="*/ 256 h 256"/>
                <a:gd name="T40" fmla="*/ 139 w 149"/>
                <a:gd name="T41" fmla="*/ 256 h 256"/>
                <a:gd name="T42" fmla="*/ 149 w 149"/>
                <a:gd name="T43" fmla="*/ 245 h 256"/>
                <a:gd name="T44" fmla="*/ 149 w 149"/>
                <a:gd name="T45" fmla="*/ 203 h 256"/>
                <a:gd name="T46" fmla="*/ 139 w 149"/>
                <a:gd name="T47" fmla="*/ 192 h 256"/>
                <a:gd name="T48" fmla="*/ 75 w 149"/>
                <a:gd name="T49" fmla="*/ 21 h 256"/>
                <a:gd name="T50" fmla="*/ 96 w 149"/>
                <a:gd name="T51" fmla="*/ 43 h 256"/>
                <a:gd name="T52" fmla="*/ 75 w 149"/>
                <a:gd name="T53" fmla="*/ 64 h 256"/>
                <a:gd name="T54" fmla="*/ 53 w 149"/>
                <a:gd name="T55" fmla="*/ 43 h 256"/>
                <a:gd name="T56" fmla="*/ 75 w 149"/>
                <a:gd name="T57" fmla="*/ 21 h 256"/>
                <a:gd name="T58" fmla="*/ 64 w 149"/>
                <a:gd name="T59" fmla="*/ 96 h 256"/>
                <a:gd name="T60" fmla="*/ 86 w 149"/>
                <a:gd name="T61" fmla="*/ 96 h 256"/>
                <a:gd name="T62" fmla="*/ 108 w 149"/>
                <a:gd name="T63" fmla="*/ 192 h 256"/>
                <a:gd name="T64" fmla="*/ 41 w 149"/>
                <a:gd name="T65" fmla="*/ 192 h 256"/>
                <a:gd name="T66" fmla="*/ 64 w 149"/>
                <a:gd name="T67" fmla="*/ 96 h 256"/>
                <a:gd name="T68" fmla="*/ 128 w 149"/>
                <a:gd name="T69" fmla="*/ 235 h 256"/>
                <a:gd name="T70" fmla="*/ 21 w 149"/>
                <a:gd name="T71" fmla="*/ 235 h 256"/>
                <a:gd name="T72" fmla="*/ 21 w 149"/>
                <a:gd name="T73" fmla="*/ 213 h 256"/>
                <a:gd name="T74" fmla="*/ 128 w 149"/>
                <a:gd name="T75" fmla="*/ 213 h 256"/>
                <a:gd name="T76" fmla="*/ 128 w 149"/>
                <a:gd name="T77" fmla="*/ 23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9" h="256">
                  <a:moveTo>
                    <a:pt x="139" y="192"/>
                  </a:moveTo>
                  <a:cubicBezTo>
                    <a:pt x="133" y="192"/>
                    <a:pt x="133" y="192"/>
                    <a:pt x="133" y="192"/>
                  </a:cubicBezTo>
                  <a:cubicBezTo>
                    <a:pt x="126" y="183"/>
                    <a:pt x="109" y="153"/>
                    <a:pt x="107" y="96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23" y="96"/>
                    <a:pt x="128" y="91"/>
                    <a:pt x="128" y="85"/>
                  </a:cubicBezTo>
                  <a:cubicBezTo>
                    <a:pt x="128" y="79"/>
                    <a:pt x="123" y="75"/>
                    <a:pt x="117" y="75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2" y="67"/>
                    <a:pt x="117" y="55"/>
                    <a:pt x="117" y="43"/>
                  </a:cubicBezTo>
                  <a:cubicBezTo>
                    <a:pt x="117" y="19"/>
                    <a:pt x="98" y="0"/>
                    <a:pt x="75" y="0"/>
                  </a:cubicBezTo>
                  <a:cubicBezTo>
                    <a:pt x="51" y="0"/>
                    <a:pt x="32" y="19"/>
                    <a:pt x="32" y="43"/>
                  </a:cubicBezTo>
                  <a:cubicBezTo>
                    <a:pt x="32" y="55"/>
                    <a:pt x="38" y="67"/>
                    <a:pt x="47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26" y="75"/>
                    <a:pt x="21" y="79"/>
                    <a:pt x="21" y="85"/>
                  </a:cubicBezTo>
                  <a:cubicBezTo>
                    <a:pt x="21" y="91"/>
                    <a:pt x="26" y="96"/>
                    <a:pt x="32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0" y="153"/>
                    <a:pt x="23" y="183"/>
                    <a:pt x="16" y="192"/>
                  </a:cubicBezTo>
                  <a:cubicBezTo>
                    <a:pt x="11" y="192"/>
                    <a:pt x="11" y="192"/>
                    <a:pt x="11" y="192"/>
                  </a:cubicBezTo>
                  <a:cubicBezTo>
                    <a:pt x="5" y="192"/>
                    <a:pt x="0" y="197"/>
                    <a:pt x="0" y="203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51"/>
                    <a:pt x="5" y="256"/>
                    <a:pt x="11" y="256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45" y="256"/>
                    <a:pt x="149" y="251"/>
                    <a:pt x="149" y="245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197"/>
                    <a:pt x="145" y="192"/>
                    <a:pt x="139" y="192"/>
                  </a:cubicBezTo>
                  <a:close/>
                  <a:moveTo>
                    <a:pt x="75" y="21"/>
                  </a:moveTo>
                  <a:cubicBezTo>
                    <a:pt x="86" y="21"/>
                    <a:pt x="96" y="31"/>
                    <a:pt x="96" y="43"/>
                  </a:cubicBezTo>
                  <a:cubicBezTo>
                    <a:pt x="96" y="54"/>
                    <a:pt x="86" y="64"/>
                    <a:pt x="75" y="64"/>
                  </a:cubicBezTo>
                  <a:cubicBezTo>
                    <a:pt x="63" y="64"/>
                    <a:pt x="53" y="54"/>
                    <a:pt x="53" y="43"/>
                  </a:cubicBezTo>
                  <a:cubicBezTo>
                    <a:pt x="53" y="31"/>
                    <a:pt x="63" y="21"/>
                    <a:pt x="75" y="21"/>
                  </a:cubicBezTo>
                  <a:close/>
                  <a:moveTo>
                    <a:pt x="64" y="96"/>
                  </a:moveTo>
                  <a:cubicBezTo>
                    <a:pt x="86" y="96"/>
                    <a:pt x="86" y="96"/>
                    <a:pt x="86" y="96"/>
                  </a:cubicBezTo>
                  <a:cubicBezTo>
                    <a:pt x="87" y="143"/>
                    <a:pt x="99" y="174"/>
                    <a:pt x="108" y="192"/>
                  </a:cubicBezTo>
                  <a:cubicBezTo>
                    <a:pt x="41" y="192"/>
                    <a:pt x="41" y="192"/>
                    <a:pt x="41" y="192"/>
                  </a:cubicBezTo>
                  <a:cubicBezTo>
                    <a:pt x="51" y="174"/>
                    <a:pt x="62" y="143"/>
                    <a:pt x="64" y="96"/>
                  </a:cubicBezTo>
                  <a:close/>
                  <a:moveTo>
                    <a:pt x="128" y="235"/>
                  </a:moveTo>
                  <a:cubicBezTo>
                    <a:pt x="21" y="235"/>
                    <a:pt x="21" y="235"/>
                    <a:pt x="21" y="235"/>
                  </a:cubicBezTo>
                  <a:cubicBezTo>
                    <a:pt x="21" y="213"/>
                    <a:pt x="21" y="213"/>
                    <a:pt x="21" y="213"/>
                  </a:cubicBezTo>
                  <a:cubicBezTo>
                    <a:pt x="128" y="213"/>
                    <a:pt x="128" y="213"/>
                    <a:pt x="128" y="213"/>
                  </a:cubicBezTo>
                  <a:lnTo>
                    <a:pt x="128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Freeform 958"/>
            <p:cNvSpPr>
              <a:spLocks noEditPoints="1"/>
            </p:cNvSpPr>
            <p:nvPr/>
          </p:nvSpPr>
          <p:spPr bwMode="auto">
            <a:xfrm>
              <a:off x="2474" y="402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0" name="Freeform 962"/>
          <p:cNvSpPr>
            <a:spLocks noChangeAspect="1" noEditPoints="1"/>
          </p:cNvSpPr>
          <p:nvPr/>
        </p:nvSpPr>
        <p:spPr bwMode="auto">
          <a:xfrm>
            <a:off x="4407872" y="3740795"/>
            <a:ext cx="367982" cy="367982"/>
          </a:xfrm>
          <a:custGeom>
            <a:avLst/>
            <a:gdLst>
              <a:gd name="T0" fmla="*/ 234 w 512"/>
              <a:gd name="T1" fmla="*/ 192 h 512"/>
              <a:gd name="T2" fmla="*/ 228 w 512"/>
              <a:gd name="T3" fmla="*/ 170 h 512"/>
              <a:gd name="T4" fmla="*/ 283 w 512"/>
              <a:gd name="T5" fmla="*/ 170 h 512"/>
              <a:gd name="T6" fmla="*/ 276 w 512"/>
              <a:gd name="T7" fmla="*/ 192 h 512"/>
              <a:gd name="T8" fmla="*/ 234 w 512"/>
              <a:gd name="T9" fmla="*/ 192 h 512"/>
              <a:gd name="T10" fmla="*/ 256 w 512"/>
              <a:gd name="T11" fmla="*/ 138 h 512"/>
              <a:gd name="T12" fmla="*/ 266 w 512"/>
              <a:gd name="T13" fmla="*/ 128 h 512"/>
              <a:gd name="T14" fmla="*/ 256 w 512"/>
              <a:gd name="T15" fmla="*/ 117 h 512"/>
              <a:gd name="T16" fmla="*/ 245 w 512"/>
              <a:gd name="T17" fmla="*/ 128 h 512"/>
              <a:gd name="T18" fmla="*/ 256 w 512"/>
              <a:gd name="T19" fmla="*/ 138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30 w 512"/>
              <a:gd name="T31" fmla="*/ 352 h 512"/>
              <a:gd name="T32" fmla="*/ 320 w 512"/>
              <a:gd name="T33" fmla="*/ 341 h 512"/>
              <a:gd name="T34" fmla="*/ 306 w 512"/>
              <a:gd name="T35" fmla="*/ 341 h 512"/>
              <a:gd name="T36" fmla="*/ 294 w 512"/>
              <a:gd name="T37" fmla="*/ 213 h 512"/>
              <a:gd name="T38" fmla="*/ 309 w 512"/>
              <a:gd name="T39" fmla="*/ 213 h 512"/>
              <a:gd name="T40" fmla="*/ 320 w 512"/>
              <a:gd name="T41" fmla="*/ 202 h 512"/>
              <a:gd name="T42" fmla="*/ 309 w 512"/>
              <a:gd name="T43" fmla="*/ 192 h 512"/>
              <a:gd name="T44" fmla="*/ 299 w 512"/>
              <a:gd name="T45" fmla="*/ 192 h 512"/>
              <a:gd name="T46" fmla="*/ 308 w 512"/>
              <a:gd name="T47" fmla="*/ 164 h 512"/>
              <a:gd name="T48" fmla="*/ 307 w 512"/>
              <a:gd name="T49" fmla="*/ 154 h 512"/>
              <a:gd name="T50" fmla="*/ 298 w 512"/>
              <a:gd name="T51" fmla="*/ 149 h 512"/>
              <a:gd name="T52" fmla="*/ 279 w 512"/>
              <a:gd name="T53" fmla="*/ 149 h 512"/>
              <a:gd name="T54" fmla="*/ 288 w 512"/>
              <a:gd name="T55" fmla="*/ 128 h 512"/>
              <a:gd name="T56" fmla="*/ 256 w 512"/>
              <a:gd name="T57" fmla="*/ 96 h 512"/>
              <a:gd name="T58" fmla="*/ 224 w 512"/>
              <a:gd name="T59" fmla="*/ 128 h 512"/>
              <a:gd name="T60" fmla="*/ 232 w 512"/>
              <a:gd name="T61" fmla="*/ 149 h 512"/>
              <a:gd name="T62" fmla="*/ 213 w 512"/>
              <a:gd name="T63" fmla="*/ 149 h 512"/>
              <a:gd name="T64" fmla="*/ 204 w 512"/>
              <a:gd name="T65" fmla="*/ 154 h 512"/>
              <a:gd name="T66" fmla="*/ 203 w 512"/>
              <a:gd name="T67" fmla="*/ 164 h 512"/>
              <a:gd name="T68" fmla="*/ 212 w 512"/>
              <a:gd name="T69" fmla="*/ 192 h 512"/>
              <a:gd name="T70" fmla="*/ 202 w 512"/>
              <a:gd name="T71" fmla="*/ 192 h 512"/>
              <a:gd name="T72" fmla="*/ 192 w 512"/>
              <a:gd name="T73" fmla="*/ 202 h 512"/>
              <a:gd name="T74" fmla="*/ 202 w 512"/>
              <a:gd name="T75" fmla="*/ 213 h 512"/>
              <a:gd name="T76" fmla="*/ 217 w 512"/>
              <a:gd name="T77" fmla="*/ 213 h 512"/>
              <a:gd name="T78" fmla="*/ 206 w 512"/>
              <a:gd name="T79" fmla="*/ 341 h 512"/>
              <a:gd name="T80" fmla="*/ 192 w 512"/>
              <a:gd name="T81" fmla="*/ 341 h 512"/>
              <a:gd name="T82" fmla="*/ 181 w 512"/>
              <a:gd name="T83" fmla="*/ 352 h 512"/>
              <a:gd name="T84" fmla="*/ 181 w 512"/>
              <a:gd name="T85" fmla="*/ 394 h 512"/>
              <a:gd name="T86" fmla="*/ 192 w 512"/>
              <a:gd name="T87" fmla="*/ 405 h 512"/>
              <a:gd name="T88" fmla="*/ 320 w 512"/>
              <a:gd name="T89" fmla="*/ 405 h 512"/>
              <a:gd name="T90" fmla="*/ 330 w 512"/>
              <a:gd name="T91" fmla="*/ 394 h 512"/>
              <a:gd name="T92" fmla="*/ 330 w 512"/>
              <a:gd name="T93" fmla="*/ 352 h 512"/>
              <a:gd name="T94" fmla="*/ 283 w 512"/>
              <a:gd name="T95" fmla="*/ 341 h 512"/>
              <a:gd name="T96" fmla="*/ 272 w 512"/>
              <a:gd name="T97" fmla="*/ 213 h 512"/>
              <a:gd name="T98" fmla="*/ 238 w 512"/>
              <a:gd name="T99" fmla="*/ 213 h 512"/>
              <a:gd name="T100" fmla="*/ 229 w 512"/>
              <a:gd name="T101" fmla="*/ 341 h 512"/>
              <a:gd name="T102" fmla="*/ 283 w 512"/>
              <a:gd name="T103" fmla="*/ 341 h 512"/>
              <a:gd name="T104" fmla="*/ 202 w 512"/>
              <a:gd name="T105" fmla="*/ 384 h 512"/>
              <a:gd name="T106" fmla="*/ 309 w 512"/>
              <a:gd name="T107" fmla="*/ 384 h 512"/>
              <a:gd name="T108" fmla="*/ 309 w 512"/>
              <a:gd name="T109" fmla="*/ 362 h 512"/>
              <a:gd name="T110" fmla="*/ 202 w 512"/>
              <a:gd name="T111" fmla="*/ 362 h 512"/>
              <a:gd name="T112" fmla="*/ 202 w 512"/>
              <a:gd name="T113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34" y="192"/>
                </a:moveTo>
                <a:cubicBezTo>
                  <a:pt x="232" y="183"/>
                  <a:pt x="230" y="176"/>
                  <a:pt x="228" y="170"/>
                </a:cubicBezTo>
                <a:cubicBezTo>
                  <a:pt x="283" y="170"/>
                  <a:pt x="283" y="170"/>
                  <a:pt x="283" y="170"/>
                </a:cubicBezTo>
                <a:cubicBezTo>
                  <a:pt x="281" y="176"/>
                  <a:pt x="278" y="183"/>
                  <a:pt x="276" y="192"/>
                </a:cubicBezTo>
                <a:lnTo>
                  <a:pt x="234" y="192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352"/>
                </a:moveTo>
                <a:cubicBezTo>
                  <a:pt x="330" y="346"/>
                  <a:pt x="326" y="341"/>
                  <a:pt x="320" y="341"/>
                </a:cubicBezTo>
                <a:cubicBezTo>
                  <a:pt x="306" y="341"/>
                  <a:pt x="306" y="341"/>
                  <a:pt x="306" y="341"/>
                </a:cubicBezTo>
                <a:cubicBezTo>
                  <a:pt x="287" y="291"/>
                  <a:pt x="288" y="245"/>
                  <a:pt x="294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15" y="213"/>
                  <a:pt x="320" y="208"/>
                  <a:pt x="320" y="202"/>
                </a:cubicBezTo>
                <a:cubicBezTo>
                  <a:pt x="320" y="196"/>
                  <a:pt x="315" y="192"/>
                  <a:pt x="309" y="192"/>
                </a:cubicBezTo>
                <a:cubicBezTo>
                  <a:pt x="299" y="192"/>
                  <a:pt x="299" y="192"/>
                  <a:pt x="299" y="192"/>
                </a:cubicBezTo>
                <a:cubicBezTo>
                  <a:pt x="303" y="175"/>
                  <a:pt x="308" y="165"/>
                  <a:pt x="308" y="164"/>
                </a:cubicBezTo>
                <a:cubicBezTo>
                  <a:pt x="310" y="161"/>
                  <a:pt x="309" y="157"/>
                  <a:pt x="307" y="154"/>
                </a:cubicBezTo>
                <a:cubicBezTo>
                  <a:pt x="305" y="151"/>
                  <a:pt x="302" y="149"/>
                  <a:pt x="298" y="149"/>
                </a:cubicBezTo>
                <a:cubicBezTo>
                  <a:pt x="279" y="149"/>
                  <a:pt x="279" y="149"/>
                  <a:pt x="279" y="149"/>
                </a:cubicBezTo>
                <a:cubicBezTo>
                  <a:pt x="284" y="143"/>
                  <a:pt x="288" y="136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36"/>
                  <a:pt x="227" y="143"/>
                  <a:pt x="232" y="149"/>
                </a:cubicBezTo>
                <a:cubicBezTo>
                  <a:pt x="213" y="149"/>
                  <a:pt x="213" y="149"/>
                  <a:pt x="213" y="149"/>
                </a:cubicBezTo>
                <a:cubicBezTo>
                  <a:pt x="209" y="149"/>
                  <a:pt x="206" y="151"/>
                  <a:pt x="204" y="154"/>
                </a:cubicBezTo>
                <a:cubicBezTo>
                  <a:pt x="202" y="157"/>
                  <a:pt x="202" y="160"/>
                  <a:pt x="203" y="164"/>
                </a:cubicBezTo>
                <a:cubicBezTo>
                  <a:pt x="203" y="164"/>
                  <a:pt x="207" y="175"/>
                  <a:pt x="212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196" y="192"/>
                  <a:pt x="192" y="196"/>
                  <a:pt x="192" y="202"/>
                </a:cubicBezTo>
                <a:cubicBezTo>
                  <a:pt x="192" y="208"/>
                  <a:pt x="196" y="213"/>
                  <a:pt x="202" y="213"/>
                </a:cubicBezTo>
                <a:cubicBezTo>
                  <a:pt x="217" y="213"/>
                  <a:pt x="217" y="213"/>
                  <a:pt x="217" y="213"/>
                </a:cubicBezTo>
                <a:cubicBezTo>
                  <a:pt x="223" y="249"/>
                  <a:pt x="226" y="298"/>
                  <a:pt x="206" y="341"/>
                </a:cubicBezTo>
                <a:cubicBezTo>
                  <a:pt x="192" y="341"/>
                  <a:pt x="192" y="341"/>
                  <a:pt x="192" y="341"/>
                </a:cubicBezTo>
                <a:cubicBezTo>
                  <a:pt x="186" y="341"/>
                  <a:pt x="181" y="346"/>
                  <a:pt x="181" y="352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81" y="400"/>
                  <a:pt x="186" y="405"/>
                  <a:pt x="192" y="405"/>
                </a:cubicBezTo>
                <a:cubicBezTo>
                  <a:pt x="320" y="405"/>
                  <a:pt x="320" y="405"/>
                  <a:pt x="320" y="405"/>
                </a:cubicBezTo>
                <a:cubicBezTo>
                  <a:pt x="326" y="405"/>
                  <a:pt x="330" y="400"/>
                  <a:pt x="330" y="394"/>
                </a:cubicBezTo>
                <a:lnTo>
                  <a:pt x="330" y="352"/>
                </a:lnTo>
                <a:close/>
                <a:moveTo>
                  <a:pt x="283" y="341"/>
                </a:moveTo>
                <a:cubicBezTo>
                  <a:pt x="266" y="291"/>
                  <a:pt x="267" y="246"/>
                  <a:pt x="272" y="213"/>
                </a:cubicBezTo>
                <a:cubicBezTo>
                  <a:pt x="238" y="213"/>
                  <a:pt x="238" y="213"/>
                  <a:pt x="238" y="213"/>
                </a:cubicBezTo>
                <a:cubicBezTo>
                  <a:pt x="245" y="249"/>
                  <a:pt x="247" y="297"/>
                  <a:pt x="229" y="341"/>
                </a:cubicBezTo>
                <a:lnTo>
                  <a:pt x="283" y="341"/>
                </a:lnTo>
                <a:close/>
                <a:moveTo>
                  <a:pt x="202" y="384"/>
                </a:moveTo>
                <a:cubicBezTo>
                  <a:pt x="309" y="384"/>
                  <a:pt x="309" y="384"/>
                  <a:pt x="309" y="384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202" y="362"/>
                  <a:pt x="202" y="362"/>
                  <a:pt x="202" y="362"/>
                </a:cubicBezTo>
                <a:lnTo>
                  <a:pt x="202" y="38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1" name="Group 965"/>
          <p:cNvGrpSpPr>
            <a:grpSpLocks noChangeAspect="1"/>
          </p:cNvGrpSpPr>
          <p:nvPr/>
        </p:nvGrpSpPr>
        <p:grpSpPr bwMode="auto">
          <a:xfrm>
            <a:off x="4905572" y="3739714"/>
            <a:ext cx="367982" cy="369064"/>
            <a:chOff x="3319" y="4077"/>
            <a:chExt cx="340" cy="341"/>
          </a:xfrm>
          <a:solidFill>
            <a:schemeClr val="accent5"/>
          </a:solidFill>
        </p:grpSpPr>
        <p:sp>
          <p:nvSpPr>
            <p:cNvPr id="362" name="Freeform 966"/>
            <p:cNvSpPr>
              <a:spLocks noEditPoints="1"/>
            </p:cNvSpPr>
            <p:nvPr/>
          </p:nvSpPr>
          <p:spPr bwMode="auto">
            <a:xfrm>
              <a:off x="3439" y="4141"/>
              <a:ext cx="99" cy="206"/>
            </a:xfrm>
            <a:custGeom>
              <a:avLst/>
              <a:gdLst>
                <a:gd name="T0" fmla="*/ 139 w 149"/>
                <a:gd name="T1" fmla="*/ 245 h 309"/>
                <a:gd name="T2" fmla="*/ 125 w 149"/>
                <a:gd name="T3" fmla="*/ 245 h 309"/>
                <a:gd name="T4" fmla="*/ 113 w 149"/>
                <a:gd name="T5" fmla="*/ 117 h 309"/>
                <a:gd name="T6" fmla="*/ 128 w 149"/>
                <a:gd name="T7" fmla="*/ 117 h 309"/>
                <a:gd name="T8" fmla="*/ 139 w 149"/>
                <a:gd name="T9" fmla="*/ 106 h 309"/>
                <a:gd name="T10" fmla="*/ 128 w 149"/>
                <a:gd name="T11" fmla="*/ 96 h 309"/>
                <a:gd name="T12" fmla="*/ 118 w 149"/>
                <a:gd name="T13" fmla="*/ 96 h 309"/>
                <a:gd name="T14" fmla="*/ 127 w 149"/>
                <a:gd name="T15" fmla="*/ 68 h 309"/>
                <a:gd name="T16" fmla="*/ 126 w 149"/>
                <a:gd name="T17" fmla="*/ 58 h 309"/>
                <a:gd name="T18" fmla="*/ 117 w 149"/>
                <a:gd name="T19" fmla="*/ 53 h 309"/>
                <a:gd name="T20" fmla="*/ 98 w 149"/>
                <a:gd name="T21" fmla="*/ 53 h 309"/>
                <a:gd name="T22" fmla="*/ 107 w 149"/>
                <a:gd name="T23" fmla="*/ 32 h 309"/>
                <a:gd name="T24" fmla="*/ 75 w 149"/>
                <a:gd name="T25" fmla="*/ 0 h 309"/>
                <a:gd name="T26" fmla="*/ 43 w 149"/>
                <a:gd name="T27" fmla="*/ 32 h 309"/>
                <a:gd name="T28" fmla="*/ 51 w 149"/>
                <a:gd name="T29" fmla="*/ 53 h 309"/>
                <a:gd name="T30" fmla="*/ 32 w 149"/>
                <a:gd name="T31" fmla="*/ 53 h 309"/>
                <a:gd name="T32" fmla="*/ 23 w 149"/>
                <a:gd name="T33" fmla="*/ 58 h 309"/>
                <a:gd name="T34" fmla="*/ 22 w 149"/>
                <a:gd name="T35" fmla="*/ 68 h 309"/>
                <a:gd name="T36" fmla="*/ 31 w 149"/>
                <a:gd name="T37" fmla="*/ 96 h 309"/>
                <a:gd name="T38" fmla="*/ 21 w 149"/>
                <a:gd name="T39" fmla="*/ 96 h 309"/>
                <a:gd name="T40" fmla="*/ 11 w 149"/>
                <a:gd name="T41" fmla="*/ 106 h 309"/>
                <a:gd name="T42" fmla="*/ 21 w 149"/>
                <a:gd name="T43" fmla="*/ 117 h 309"/>
                <a:gd name="T44" fmla="*/ 36 w 149"/>
                <a:gd name="T45" fmla="*/ 117 h 309"/>
                <a:gd name="T46" fmla="*/ 25 w 149"/>
                <a:gd name="T47" fmla="*/ 245 h 309"/>
                <a:gd name="T48" fmla="*/ 11 w 149"/>
                <a:gd name="T49" fmla="*/ 245 h 309"/>
                <a:gd name="T50" fmla="*/ 0 w 149"/>
                <a:gd name="T51" fmla="*/ 256 h 309"/>
                <a:gd name="T52" fmla="*/ 0 w 149"/>
                <a:gd name="T53" fmla="*/ 298 h 309"/>
                <a:gd name="T54" fmla="*/ 11 w 149"/>
                <a:gd name="T55" fmla="*/ 309 h 309"/>
                <a:gd name="T56" fmla="*/ 139 w 149"/>
                <a:gd name="T57" fmla="*/ 309 h 309"/>
                <a:gd name="T58" fmla="*/ 149 w 149"/>
                <a:gd name="T59" fmla="*/ 298 h 309"/>
                <a:gd name="T60" fmla="*/ 149 w 149"/>
                <a:gd name="T61" fmla="*/ 256 h 309"/>
                <a:gd name="T62" fmla="*/ 139 w 149"/>
                <a:gd name="T63" fmla="*/ 245 h 309"/>
                <a:gd name="T64" fmla="*/ 75 w 149"/>
                <a:gd name="T65" fmla="*/ 21 h 309"/>
                <a:gd name="T66" fmla="*/ 85 w 149"/>
                <a:gd name="T67" fmla="*/ 32 h 309"/>
                <a:gd name="T68" fmla="*/ 75 w 149"/>
                <a:gd name="T69" fmla="*/ 42 h 309"/>
                <a:gd name="T70" fmla="*/ 64 w 149"/>
                <a:gd name="T71" fmla="*/ 32 h 309"/>
                <a:gd name="T72" fmla="*/ 75 w 149"/>
                <a:gd name="T73" fmla="*/ 21 h 309"/>
                <a:gd name="T74" fmla="*/ 47 w 149"/>
                <a:gd name="T75" fmla="*/ 74 h 309"/>
                <a:gd name="T76" fmla="*/ 102 w 149"/>
                <a:gd name="T77" fmla="*/ 74 h 309"/>
                <a:gd name="T78" fmla="*/ 95 w 149"/>
                <a:gd name="T79" fmla="*/ 96 h 309"/>
                <a:gd name="T80" fmla="*/ 53 w 149"/>
                <a:gd name="T81" fmla="*/ 96 h 309"/>
                <a:gd name="T82" fmla="*/ 47 w 149"/>
                <a:gd name="T83" fmla="*/ 74 h 309"/>
                <a:gd name="T84" fmla="*/ 57 w 149"/>
                <a:gd name="T85" fmla="*/ 117 h 309"/>
                <a:gd name="T86" fmla="*/ 91 w 149"/>
                <a:gd name="T87" fmla="*/ 117 h 309"/>
                <a:gd name="T88" fmla="*/ 102 w 149"/>
                <a:gd name="T89" fmla="*/ 245 h 309"/>
                <a:gd name="T90" fmla="*/ 48 w 149"/>
                <a:gd name="T91" fmla="*/ 245 h 309"/>
                <a:gd name="T92" fmla="*/ 57 w 149"/>
                <a:gd name="T93" fmla="*/ 117 h 309"/>
                <a:gd name="T94" fmla="*/ 128 w 149"/>
                <a:gd name="T95" fmla="*/ 288 h 309"/>
                <a:gd name="T96" fmla="*/ 21 w 149"/>
                <a:gd name="T97" fmla="*/ 288 h 309"/>
                <a:gd name="T98" fmla="*/ 21 w 149"/>
                <a:gd name="T99" fmla="*/ 266 h 309"/>
                <a:gd name="T100" fmla="*/ 128 w 149"/>
                <a:gd name="T101" fmla="*/ 266 h 309"/>
                <a:gd name="T102" fmla="*/ 128 w 149"/>
                <a:gd name="T103" fmla="*/ 28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9" h="309">
                  <a:moveTo>
                    <a:pt x="139" y="245"/>
                  </a:moveTo>
                  <a:cubicBezTo>
                    <a:pt x="125" y="245"/>
                    <a:pt x="125" y="245"/>
                    <a:pt x="125" y="245"/>
                  </a:cubicBezTo>
                  <a:cubicBezTo>
                    <a:pt x="106" y="195"/>
                    <a:pt x="107" y="149"/>
                    <a:pt x="113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4" y="117"/>
                    <a:pt x="139" y="112"/>
                    <a:pt x="139" y="106"/>
                  </a:cubicBezTo>
                  <a:cubicBezTo>
                    <a:pt x="139" y="100"/>
                    <a:pt x="134" y="96"/>
                    <a:pt x="128" y="96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22" y="79"/>
                    <a:pt x="127" y="69"/>
                    <a:pt x="127" y="68"/>
                  </a:cubicBezTo>
                  <a:cubicBezTo>
                    <a:pt x="129" y="65"/>
                    <a:pt x="128" y="61"/>
                    <a:pt x="126" y="58"/>
                  </a:cubicBezTo>
                  <a:cubicBezTo>
                    <a:pt x="124" y="55"/>
                    <a:pt x="121" y="53"/>
                    <a:pt x="117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103" y="47"/>
                    <a:pt x="107" y="40"/>
                    <a:pt x="107" y="32"/>
                  </a:cubicBezTo>
                  <a:cubicBezTo>
                    <a:pt x="107" y="14"/>
                    <a:pt x="92" y="0"/>
                    <a:pt x="75" y="0"/>
                  </a:cubicBezTo>
                  <a:cubicBezTo>
                    <a:pt x="57" y="0"/>
                    <a:pt x="43" y="14"/>
                    <a:pt x="43" y="32"/>
                  </a:cubicBezTo>
                  <a:cubicBezTo>
                    <a:pt x="43" y="40"/>
                    <a:pt x="46" y="47"/>
                    <a:pt x="51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8" y="53"/>
                    <a:pt x="25" y="55"/>
                    <a:pt x="23" y="58"/>
                  </a:cubicBezTo>
                  <a:cubicBezTo>
                    <a:pt x="21" y="61"/>
                    <a:pt x="21" y="64"/>
                    <a:pt x="22" y="68"/>
                  </a:cubicBezTo>
                  <a:cubicBezTo>
                    <a:pt x="22" y="68"/>
                    <a:pt x="26" y="79"/>
                    <a:pt x="31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15" y="96"/>
                    <a:pt x="11" y="100"/>
                    <a:pt x="11" y="106"/>
                  </a:cubicBezTo>
                  <a:cubicBezTo>
                    <a:pt x="11" y="112"/>
                    <a:pt x="15" y="117"/>
                    <a:pt x="21" y="11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42" y="153"/>
                    <a:pt x="45" y="202"/>
                    <a:pt x="25" y="245"/>
                  </a:cubicBezTo>
                  <a:cubicBezTo>
                    <a:pt x="11" y="245"/>
                    <a:pt x="11" y="245"/>
                    <a:pt x="11" y="245"/>
                  </a:cubicBezTo>
                  <a:cubicBezTo>
                    <a:pt x="5" y="245"/>
                    <a:pt x="0" y="250"/>
                    <a:pt x="0" y="256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0" y="304"/>
                    <a:pt x="5" y="309"/>
                    <a:pt x="11" y="309"/>
                  </a:cubicBezTo>
                  <a:cubicBezTo>
                    <a:pt x="139" y="309"/>
                    <a:pt x="139" y="309"/>
                    <a:pt x="139" y="309"/>
                  </a:cubicBezTo>
                  <a:cubicBezTo>
                    <a:pt x="145" y="309"/>
                    <a:pt x="149" y="304"/>
                    <a:pt x="149" y="298"/>
                  </a:cubicBezTo>
                  <a:cubicBezTo>
                    <a:pt x="149" y="256"/>
                    <a:pt x="149" y="256"/>
                    <a:pt x="149" y="256"/>
                  </a:cubicBezTo>
                  <a:cubicBezTo>
                    <a:pt x="149" y="250"/>
                    <a:pt x="145" y="245"/>
                    <a:pt x="139" y="245"/>
                  </a:cubicBezTo>
                  <a:close/>
                  <a:moveTo>
                    <a:pt x="75" y="21"/>
                  </a:moveTo>
                  <a:cubicBezTo>
                    <a:pt x="81" y="21"/>
                    <a:pt x="85" y="26"/>
                    <a:pt x="85" y="32"/>
                  </a:cubicBezTo>
                  <a:cubicBezTo>
                    <a:pt x="85" y="38"/>
                    <a:pt x="81" y="42"/>
                    <a:pt x="75" y="42"/>
                  </a:cubicBezTo>
                  <a:cubicBezTo>
                    <a:pt x="69" y="42"/>
                    <a:pt x="64" y="38"/>
                    <a:pt x="64" y="32"/>
                  </a:cubicBezTo>
                  <a:cubicBezTo>
                    <a:pt x="64" y="26"/>
                    <a:pt x="69" y="21"/>
                    <a:pt x="75" y="21"/>
                  </a:cubicBezTo>
                  <a:close/>
                  <a:moveTo>
                    <a:pt x="47" y="74"/>
                  </a:moveTo>
                  <a:cubicBezTo>
                    <a:pt x="102" y="74"/>
                    <a:pt x="102" y="74"/>
                    <a:pt x="102" y="74"/>
                  </a:cubicBezTo>
                  <a:cubicBezTo>
                    <a:pt x="100" y="80"/>
                    <a:pt x="97" y="87"/>
                    <a:pt x="95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1" y="87"/>
                    <a:pt x="49" y="80"/>
                    <a:pt x="47" y="74"/>
                  </a:cubicBezTo>
                  <a:close/>
                  <a:moveTo>
                    <a:pt x="57" y="117"/>
                  </a:moveTo>
                  <a:cubicBezTo>
                    <a:pt x="91" y="117"/>
                    <a:pt x="91" y="117"/>
                    <a:pt x="91" y="117"/>
                  </a:cubicBezTo>
                  <a:cubicBezTo>
                    <a:pt x="86" y="150"/>
                    <a:pt x="85" y="195"/>
                    <a:pt x="102" y="245"/>
                  </a:cubicBezTo>
                  <a:cubicBezTo>
                    <a:pt x="48" y="245"/>
                    <a:pt x="48" y="245"/>
                    <a:pt x="48" y="245"/>
                  </a:cubicBezTo>
                  <a:cubicBezTo>
                    <a:pt x="66" y="201"/>
                    <a:pt x="64" y="153"/>
                    <a:pt x="57" y="117"/>
                  </a:cubicBezTo>
                  <a:close/>
                  <a:moveTo>
                    <a:pt x="128" y="288"/>
                  </a:moveTo>
                  <a:cubicBezTo>
                    <a:pt x="21" y="288"/>
                    <a:pt x="21" y="288"/>
                    <a:pt x="21" y="288"/>
                  </a:cubicBezTo>
                  <a:cubicBezTo>
                    <a:pt x="21" y="266"/>
                    <a:pt x="21" y="266"/>
                    <a:pt x="21" y="266"/>
                  </a:cubicBezTo>
                  <a:cubicBezTo>
                    <a:pt x="128" y="266"/>
                    <a:pt x="128" y="266"/>
                    <a:pt x="128" y="266"/>
                  </a:cubicBezTo>
                  <a:lnTo>
                    <a:pt x="128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967"/>
            <p:cNvSpPr>
              <a:spLocks noEditPoints="1"/>
            </p:cNvSpPr>
            <p:nvPr/>
          </p:nvSpPr>
          <p:spPr bwMode="auto">
            <a:xfrm>
              <a:off x="3319" y="407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4" name="Freeform 980"/>
          <p:cNvSpPr>
            <a:spLocks noChangeAspect="1" noEditPoints="1"/>
          </p:cNvSpPr>
          <p:nvPr/>
        </p:nvSpPr>
        <p:spPr bwMode="auto">
          <a:xfrm>
            <a:off x="8389472" y="3740795"/>
            <a:ext cx="367982" cy="367982"/>
          </a:xfrm>
          <a:custGeom>
            <a:avLst/>
            <a:gdLst>
              <a:gd name="T0" fmla="*/ 288 w 512"/>
              <a:gd name="T1" fmla="*/ 138 h 512"/>
              <a:gd name="T2" fmla="*/ 224 w 512"/>
              <a:gd name="T3" fmla="*/ 138 h 512"/>
              <a:gd name="T4" fmla="*/ 224 w 512"/>
              <a:gd name="T5" fmla="*/ 117 h 512"/>
              <a:gd name="T6" fmla="*/ 288 w 512"/>
              <a:gd name="T7" fmla="*/ 117 h 512"/>
              <a:gd name="T8" fmla="*/ 288 w 512"/>
              <a:gd name="T9" fmla="*/ 138 h 512"/>
              <a:gd name="T10" fmla="*/ 309 w 512"/>
              <a:gd name="T11" fmla="*/ 149 h 512"/>
              <a:gd name="T12" fmla="*/ 298 w 512"/>
              <a:gd name="T13" fmla="*/ 160 h 512"/>
              <a:gd name="T14" fmla="*/ 213 w 512"/>
              <a:gd name="T15" fmla="*/ 160 h 512"/>
              <a:gd name="T16" fmla="*/ 202 w 512"/>
              <a:gd name="T17" fmla="*/ 149 h 512"/>
              <a:gd name="T18" fmla="*/ 202 w 512"/>
              <a:gd name="T19" fmla="*/ 138 h 512"/>
              <a:gd name="T20" fmla="*/ 160 w 512"/>
              <a:gd name="T21" fmla="*/ 138 h 512"/>
              <a:gd name="T22" fmla="*/ 160 w 512"/>
              <a:gd name="T23" fmla="*/ 394 h 512"/>
              <a:gd name="T24" fmla="*/ 352 w 512"/>
              <a:gd name="T25" fmla="*/ 394 h 512"/>
              <a:gd name="T26" fmla="*/ 352 w 512"/>
              <a:gd name="T27" fmla="*/ 138 h 512"/>
              <a:gd name="T28" fmla="*/ 309 w 512"/>
              <a:gd name="T29" fmla="*/ 138 h 512"/>
              <a:gd name="T30" fmla="*/ 309 w 512"/>
              <a:gd name="T31" fmla="*/ 149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373 w 512"/>
              <a:gd name="T43" fmla="*/ 128 h 512"/>
              <a:gd name="T44" fmla="*/ 362 w 512"/>
              <a:gd name="T45" fmla="*/ 117 h 512"/>
              <a:gd name="T46" fmla="*/ 309 w 512"/>
              <a:gd name="T47" fmla="*/ 117 h 512"/>
              <a:gd name="T48" fmla="*/ 309 w 512"/>
              <a:gd name="T49" fmla="*/ 106 h 512"/>
              <a:gd name="T50" fmla="*/ 298 w 512"/>
              <a:gd name="T51" fmla="*/ 96 h 512"/>
              <a:gd name="T52" fmla="*/ 213 w 512"/>
              <a:gd name="T53" fmla="*/ 96 h 512"/>
              <a:gd name="T54" fmla="*/ 202 w 512"/>
              <a:gd name="T55" fmla="*/ 106 h 512"/>
              <a:gd name="T56" fmla="*/ 202 w 512"/>
              <a:gd name="T57" fmla="*/ 117 h 512"/>
              <a:gd name="T58" fmla="*/ 149 w 512"/>
              <a:gd name="T59" fmla="*/ 117 h 512"/>
              <a:gd name="T60" fmla="*/ 138 w 512"/>
              <a:gd name="T61" fmla="*/ 128 h 512"/>
              <a:gd name="T62" fmla="*/ 138 w 512"/>
              <a:gd name="T63" fmla="*/ 405 h 512"/>
              <a:gd name="T64" fmla="*/ 149 w 512"/>
              <a:gd name="T65" fmla="*/ 416 h 512"/>
              <a:gd name="T66" fmla="*/ 362 w 512"/>
              <a:gd name="T67" fmla="*/ 416 h 512"/>
              <a:gd name="T68" fmla="*/ 373 w 512"/>
              <a:gd name="T69" fmla="*/ 405 h 512"/>
              <a:gd name="T70" fmla="*/ 373 w 512"/>
              <a:gd name="T71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88" y="138"/>
                </a:moveTo>
                <a:cubicBezTo>
                  <a:pt x="224" y="138"/>
                  <a:pt x="224" y="138"/>
                  <a:pt x="224" y="138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88" y="117"/>
                  <a:pt x="288" y="117"/>
                  <a:pt x="288" y="117"/>
                </a:cubicBezTo>
                <a:lnTo>
                  <a:pt x="288" y="138"/>
                </a:lnTo>
                <a:close/>
                <a:moveTo>
                  <a:pt x="309" y="149"/>
                </a:moveTo>
                <a:cubicBezTo>
                  <a:pt x="309" y="155"/>
                  <a:pt x="304" y="160"/>
                  <a:pt x="298" y="160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07" y="160"/>
                  <a:pt x="202" y="155"/>
                  <a:pt x="202" y="149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309" y="138"/>
                  <a:pt x="309" y="138"/>
                  <a:pt x="309" y="138"/>
                </a:cubicBezTo>
                <a:lnTo>
                  <a:pt x="309" y="14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28"/>
                </a:moveTo>
                <a:cubicBezTo>
                  <a:pt x="373" y="122"/>
                  <a:pt x="368" y="117"/>
                  <a:pt x="36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49" y="117"/>
                  <a:pt x="149" y="117"/>
                  <a:pt x="149" y="117"/>
                </a:cubicBezTo>
                <a:cubicBezTo>
                  <a:pt x="143" y="117"/>
                  <a:pt x="138" y="122"/>
                  <a:pt x="138" y="128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2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5" name="Freeform 984"/>
          <p:cNvSpPr>
            <a:spLocks noChangeAspect="1" noEditPoints="1"/>
          </p:cNvSpPr>
          <p:nvPr/>
        </p:nvSpPr>
        <p:spPr bwMode="auto">
          <a:xfrm>
            <a:off x="8887172" y="3740795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2 w 512"/>
              <a:gd name="T21" fmla="*/ 117 h 512"/>
              <a:gd name="T22" fmla="*/ 309 w 512"/>
              <a:gd name="T23" fmla="*/ 117 h 512"/>
              <a:gd name="T24" fmla="*/ 309 w 512"/>
              <a:gd name="T25" fmla="*/ 106 h 512"/>
              <a:gd name="T26" fmla="*/ 298 w 512"/>
              <a:gd name="T27" fmla="*/ 96 h 512"/>
              <a:gd name="T28" fmla="*/ 213 w 512"/>
              <a:gd name="T29" fmla="*/ 96 h 512"/>
              <a:gd name="T30" fmla="*/ 202 w 512"/>
              <a:gd name="T31" fmla="*/ 106 h 512"/>
              <a:gd name="T32" fmla="*/ 202 w 512"/>
              <a:gd name="T33" fmla="*/ 117 h 512"/>
              <a:gd name="T34" fmla="*/ 149 w 512"/>
              <a:gd name="T35" fmla="*/ 117 h 512"/>
              <a:gd name="T36" fmla="*/ 138 w 512"/>
              <a:gd name="T37" fmla="*/ 128 h 512"/>
              <a:gd name="T38" fmla="*/ 138 w 512"/>
              <a:gd name="T39" fmla="*/ 405 h 512"/>
              <a:gd name="T40" fmla="*/ 149 w 512"/>
              <a:gd name="T41" fmla="*/ 416 h 512"/>
              <a:gd name="T42" fmla="*/ 362 w 512"/>
              <a:gd name="T43" fmla="*/ 416 h 512"/>
              <a:gd name="T44" fmla="*/ 373 w 512"/>
              <a:gd name="T45" fmla="*/ 405 h 512"/>
              <a:gd name="T46" fmla="*/ 373 w 512"/>
              <a:gd name="T47" fmla="*/ 128 h 512"/>
              <a:gd name="T48" fmla="*/ 362 w 512"/>
              <a:gd name="T49" fmla="*/ 117 h 512"/>
              <a:gd name="T50" fmla="*/ 224 w 512"/>
              <a:gd name="T51" fmla="*/ 117 h 512"/>
              <a:gd name="T52" fmla="*/ 288 w 512"/>
              <a:gd name="T53" fmla="*/ 117 h 512"/>
              <a:gd name="T54" fmla="*/ 288 w 512"/>
              <a:gd name="T55" fmla="*/ 138 h 512"/>
              <a:gd name="T56" fmla="*/ 224 w 512"/>
              <a:gd name="T57" fmla="*/ 138 h 512"/>
              <a:gd name="T58" fmla="*/ 224 w 512"/>
              <a:gd name="T59" fmla="*/ 117 h 512"/>
              <a:gd name="T60" fmla="*/ 352 w 512"/>
              <a:gd name="T61" fmla="*/ 394 h 512"/>
              <a:gd name="T62" fmla="*/ 160 w 512"/>
              <a:gd name="T63" fmla="*/ 394 h 512"/>
              <a:gd name="T64" fmla="*/ 160 w 512"/>
              <a:gd name="T65" fmla="*/ 138 h 512"/>
              <a:gd name="T66" fmla="*/ 202 w 512"/>
              <a:gd name="T67" fmla="*/ 138 h 512"/>
              <a:gd name="T68" fmla="*/ 202 w 512"/>
              <a:gd name="T69" fmla="*/ 149 h 512"/>
              <a:gd name="T70" fmla="*/ 213 w 512"/>
              <a:gd name="T71" fmla="*/ 160 h 512"/>
              <a:gd name="T72" fmla="*/ 298 w 512"/>
              <a:gd name="T73" fmla="*/ 160 h 512"/>
              <a:gd name="T74" fmla="*/ 309 w 512"/>
              <a:gd name="T75" fmla="*/ 149 h 512"/>
              <a:gd name="T76" fmla="*/ 309 w 512"/>
              <a:gd name="T77" fmla="*/ 138 h 512"/>
              <a:gd name="T78" fmla="*/ 352 w 512"/>
              <a:gd name="T79" fmla="*/ 138 h 512"/>
              <a:gd name="T80" fmla="*/ 352 w 512"/>
              <a:gd name="T81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117"/>
                </a:moveTo>
                <a:cubicBezTo>
                  <a:pt x="309" y="117"/>
                  <a:pt x="309" y="117"/>
                  <a:pt x="309" y="117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49" y="117"/>
                  <a:pt x="149" y="117"/>
                  <a:pt x="149" y="117"/>
                </a:cubicBezTo>
                <a:cubicBezTo>
                  <a:pt x="143" y="117"/>
                  <a:pt x="138" y="122"/>
                  <a:pt x="138" y="128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28"/>
                  <a:pt x="373" y="128"/>
                  <a:pt x="373" y="128"/>
                </a:cubicBezTo>
                <a:cubicBezTo>
                  <a:pt x="373" y="122"/>
                  <a:pt x="368" y="117"/>
                  <a:pt x="362" y="117"/>
                </a:cubicBezTo>
                <a:close/>
                <a:moveTo>
                  <a:pt x="224" y="117"/>
                </a:moveTo>
                <a:cubicBezTo>
                  <a:pt x="288" y="117"/>
                  <a:pt x="288" y="117"/>
                  <a:pt x="288" y="117"/>
                </a:cubicBezTo>
                <a:cubicBezTo>
                  <a:pt x="288" y="138"/>
                  <a:pt x="288" y="138"/>
                  <a:pt x="288" y="138"/>
                </a:cubicBezTo>
                <a:cubicBezTo>
                  <a:pt x="224" y="138"/>
                  <a:pt x="224" y="138"/>
                  <a:pt x="224" y="138"/>
                </a:cubicBezTo>
                <a:lnTo>
                  <a:pt x="224" y="117"/>
                </a:lnTo>
                <a:close/>
                <a:moveTo>
                  <a:pt x="352" y="394"/>
                </a:moveTo>
                <a:cubicBezTo>
                  <a:pt x="160" y="394"/>
                  <a:pt x="160" y="394"/>
                  <a:pt x="160" y="394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55"/>
                  <a:pt x="207" y="160"/>
                  <a:pt x="213" y="160"/>
                </a:cubicBezTo>
                <a:cubicBezTo>
                  <a:pt x="298" y="160"/>
                  <a:pt x="298" y="160"/>
                  <a:pt x="298" y="160"/>
                </a:cubicBezTo>
                <a:cubicBezTo>
                  <a:pt x="30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52" y="138"/>
                  <a:pt x="352" y="138"/>
                  <a:pt x="352" y="138"/>
                </a:cubicBezTo>
                <a:lnTo>
                  <a:pt x="352" y="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6" name="Freeform 988"/>
          <p:cNvSpPr>
            <a:spLocks noChangeAspect="1" noEditPoints="1"/>
          </p:cNvSpPr>
          <p:nvPr/>
        </p:nvSpPr>
        <p:spPr bwMode="auto">
          <a:xfrm>
            <a:off x="9386460" y="2914983"/>
            <a:ext cx="367982" cy="367982"/>
          </a:xfrm>
          <a:custGeom>
            <a:avLst/>
            <a:gdLst>
              <a:gd name="T0" fmla="*/ 256 w 512"/>
              <a:gd name="T1" fmla="*/ 117 h 512"/>
              <a:gd name="T2" fmla="*/ 117 w 512"/>
              <a:gd name="T3" fmla="*/ 256 h 512"/>
              <a:gd name="T4" fmla="*/ 256 w 512"/>
              <a:gd name="T5" fmla="*/ 394 h 512"/>
              <a:gd name="T6" fmla="*/ 394 w 512"/>
              <a:gd name="T7" fmla="*/ 256 h 512"/>
              <a:gd name="T8" fmla="*/ 256 w 512"/>
              <a:gd name="T9" fmla="*/ 117 h 512"/>
              <a:gd name="T10" fmla="*/ 245 w 512"/>
              <a:gd name="T11" fmla="*/ 149 h 512"/>
              <a:gd name="T12" fmla="*/ 256 w 512"/>
              <a:gd name="T13" fmla="*/ 138 h 512"/>
              <a:gd name="T14" fmla="*/ 266 w 512"/>
              <a:gd name="T15" fmla="*/ 149 h 512"/>
              <a:gd name="T16" fmla="*/ 266 w 512"/>
              <a:gd name="T17" fmla="*/ 160 h 512"/>
              <a:gd name="T18" fmla="*/ 256 w 512"/>
              <a:gd name="T19" fmla="*/ 170 h 512"/>
              <a:gd name="T20" fmla="*/ 245 w 512"/>
              <a:gd name="T21" fmla="*/ 160 h 512"/>
              <a:gd name="T22" fmla="*/ 245 w 512"/>
              <a:gd name="T23" fmla="*/ 149 h 512"/>
              <a:gd name="T24" fmla="*/ 160 w 512"/>
              <a:gd name="T25" fmla="*/ 266 h 512"/>
              <a:gd name="T26" fmla="*/ 149 w 512"/>
              <a:gd name="T27" fmla="*/ 266 h 512"/>
              <a:gd name="T28" fmla="*/ 138 w 512"/>
              <a:gd name="T29" fmla="*/ 256 h 512"/>
              <a:gd name="T30" fmla="*/ 149 w 512"/>
              <a:gd name="T31" fmla="*/ 245 h 512"/>
              <a:gd name="T32" fmla="*/ 160 w 512"/>
              <a:gd name="T33" fmla="*/ 245 h 512"/>
              <a:gd name="T34" fmla="*/ 170 w 512"/>
              <a:gd name="T35" fmla="*/ 256 h 512"/>
              <a:gd name="T36" fmla="*/ 160 w 512"/>
              <a:gd name="T37" fmla="*/ 266 h 512"/>
              <a:gd name="T38" fmla="*/ 266 w 512"/>
              <a:gd name="T39" fmla="*/ 362 h 512"/>
              <a:gd name="T40" fmla="*/ 256 w 512"/>
              <a:gd name="T41" fmla="*/ 373 h 512"/>
              <a:gd name="T42" fmla="*/ 245 w 512"/>
              <a:gd name="T43" fmla="*/ 362 h 512"/>
              <a:gd name="T44" fmla="*/ 245 w 512"/>
              <a:gd name="T45" fmla="*/ 352 h 512"/>
              <a:gd name="T46" fmla="*/ 256 w 512"/>
              <a:gd name="T47" fmla="*/ 341 h 512"/>
              <a:gd name="T48" fmla="*/ 266 w 512"/>
              <a:gd name="T49" fmla="*/ 352 h 512"/>
              <a:gd name="T50" fmla="*/ 266 w 512"/>
              <a:gd name="T51" fmla="*/ 362 h 512"/>
              <a:gd name="T52" fmla="*/ 306 w 512"/>
              <a:gd name="T53" fmla="*/ 231 h 512"/>
              <a:gd name="T54" fmla="*/ 263 w 512"/>
              <a:gd name="T55" fmla="*/ 274 h 512"/>
              <a:gd name="T56" fmla="*/ 256 w 512"/>
              <a:gd name="T57" fmla="*/ 277 h 512"/>
              <a:gd name="T58" fmla="*/ 248 w 512"/>
              <a:gd name="T59" fmla="*/ 274 h 512"/>
              <a:gd name="T60" fmla="*/ 173 w 512"/>
              <a:gd name="T61" fmla="*/ 199 h 512"/>
              <a:gd name="T62" fmla="*/ 173 w 512"/>
              <a:gd name="T63" fmla="*/ 184 h 512"/>
              <a:gd name="T64" fmla="*/ 189 w 512"/>
              <a:gd name="T65" fmla="*/ 184 h 512"/>
              <a:gd name="T66" fmla="*/ 256 w 512"/>
              <a:gd name="T67" fmla="*/ 251 h 512"/>
              <a:gd name="T68" fmla="*/ 291 w 512"/>
              <a:gd name="T69" fmla="*/ 216 h 512"/>
              <a:gd name="T70" fmla="*/ 306 w 512"/>
              <a:gd name="T71" fmla="*/ 216 h 512"/>
              <a:gd name="T72" fmla="*/ 306 w 512"/>
              <a:gd name="T73" fmla="*/ 231 h 512"/>
              <a:gd name="T74" fmla="*/ 373 w 512"/>
              <a:gd name="T75" fmla="*/ 256 h 512"/>
              <a:gd name="T76" fmla="*/ 362 w 512"/>
              <a:gd name="T77" fmla="*/ 266 h 512"/>
              <a:gd name="T78" fmla="*/ 352 w 512"/>
              <a:gd name="T79" fmla="*/ 266 h 512"/>
              <a:gd name="T80" fmla="*/ 341 w 512"/>
              <a:gd name="T81" fmla="*/ 256 h 512"/>
              <a:gd name="T82" fmla="*/ 352 w 512"/>
              <a:gd name="T83" fmla="*/ 245 h 512"/>
              <a:gd name="T84" fmla="*/ 362 w 512"/>
              <a:gd name="T85" fmla="*/ 245 h 512"/>
              <a:gd name="T86" fmla="*/ 373 w 512"/>
              <a:gd name="T87" fmla="*/ 256 h 512"/>
              <a:gd name="T88" fmla="*/ 256 w 512"/>
              <a:gd name="T89" fmla="*/ 0 h 512"/>
              <a:gd name="T90" fmla="*/ 0 w 512"/>
              <a:gd name="T91" fmla="*/ 256 h 512"/>
              <a:gd name="T92" fmla="*/ 256 w 512"/>
              <a:gd name="T93" fmla="*/ 512 h 512"/>
              <a:gd name="T94" fmla="*/ 512 w 512"/>
              <a:gd name="T95" fmla="*/ 256 h 512"/>
              <a:gd name="T96" fmla="*/ 256 w 512"/>
              <a:gd name="T97" fmla="*/ 0 h 512"/>
              <a:gd name="T98" fmla="*/ 256 w 512"/>
              <a:gd name="T99" fmla="*/ 416 h 512"/>
              <a:gd name="T100" fmla="*/ 96 w 512"/>
              <a:gd name="T101" fmla="*/ 256 h 512"/>
              <a:gd name="T102" fmla="*/ 256 w 512"/>
              <a:gd name="T103" fmla="*/ 96 h 512"/>
              <a:gd name="T104" fmla="*/ 416 w 512"/>
              <a:gd name="T105" fmla="*/ 256 h 512"/>
              <a:gd name="T106" fmla="*/ 256 w 512"/>
              <a:gd name="T107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117"/>
                </a:moveTo>
                <a:cubicBezTo>
                  <a:pt x="179" y="117"/>
                  <a:pt x="117" y="179"/>
                  <a:pt x="117" y="256"/>
                </a:cubicBezTo>
                <a:cubicBezTo>
                  <a:pt x="117" y="332"/>
                  <a:pt x="179" y="394"/>
                  <a:pt x="256" y="394"/>
                </a:cubicBezTo>
                <a:cubicBezTo>
                  <a:pt x="332" y="394"/>
                  <a:pt x="394" y="332"/>
                  <a:pt x="394" y="256"/>
                </a:cubicBezTo>
                <a:cubicBezTo>
                  <a:pt x="394" y="179"/>
                  <a:pt x="332" y="117"/>
                  <a:pt x="256" y="117"/>
                </a:cubicBezTo>
                <a:close/>
                <a:moveTo>
                  <a:pt x="245" y="149"/>
                </a:moveTo>
                <a:cubicBezTo>
                  <a:pt x="245" y="143"/>
                  <a:pt x="250" y="138"/>
                  <a:pt x="256" y="138"/>
                </a:cubicBezTo>
                <a:cubicBezTo>
                  <a:pt x="262" y="138"/>
                  <a:pt x="266" y="143"/>
                  <a:pt x="266" y="149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66"/>
                  <a:pt x="262" y="170"/>
                  <a:pt x="256" y="170"/>
                </a:cubicBezTo>
                <a:cubicBezTo>
                  <a:pt x="250" y="170"/>
                  <a:pt x="245" y="166"/>
                  <a:pt x="245" y="160"/>
                </a:cubicBezTo>
                <a:lnTo>
                  <a:pt x="245" y="149"/>
                </a:lnTo>
                <a:close/>
                <a:moveTo>
                  <a:pt x="160" y="266"/>
                </a:moveTo>
                <a:cubicBezTo>
                  <a:pt x="149" y="266"/>
                  <a:pt x="149" y="266"/>
                  <a:pt x="149" y="266"/>
                </a:cubicBezTo>
                <a:cubicBezTo>
                  <a:pt x="143" y="266"/>
                  <a:pt x="138" y="262"/>
                  <a:pt x="138" y="256"/>
                </a:cubicBezTo>
                <a:cubicBezTo>
                  <a:pt x="138" y="250"/>
                  <a:pt x="143" y="245"/>
                  <a:pt x="149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66" y="245"/>
                  <a:pt x="170" y="250"/>
                  <a:pt x="170" y="256"/>
                </a:cubicBezTo>
                <a:cubicBezTo>
                  <a:pt x="170" y="262"/>
                  <a:pt x="166" y="266"/>
                  <a:pt x="160" y="266"/>
                </a:cubicBezTo>
                <a:close/>
                <a:moveTo>
                  <a:pt x="266" y="362"/>
                </a:move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346"/>
                  <a:pt x="250" y="341"/>
                  <a:pt x="256" y="341"/>
                </a:cubicBezTo>
                <a:cubicBezTo>
                  <a:pt x="262" y="341"/>
                  <a:pt x="266" y="346"/>
                  <a:pt x="266" y="352"/>
                </a:cubicBezTo>
                <a:lnTo>
                  <a:pt x="266" y="362"/>
                </a:lnTo>
                <a:close/>
                <a:moveTo>
                  <a:pt x="306" y="231"/>
                </a:moveTo>
                <a:cubicBezTo>
                  <a:pt x="263" y="274"/>
                  <a:pt x="263" y="274"/>
                  <a:pt x="263" y="274"/>
                </a:cubicBezTo>
                <a:cubicBezTo>
                  <a:pt x="261" y="276"/>
                  <a:pt x="258" y="277"/>
                  <a:pt x="256" y="277"/>
                </a:cubicBezTo>
                <a:cubicBezTo>
                  <a:pt x="253" y="277"/>
                  <a:pt x="250" y="276"/>
                  <a:pt x="248" y="274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169" y="195"/>
                  <a:pt x="169" y="188"/>
                  <a:pt x="173" y="184"/>
                </a:cubicBezTo>
                <a:cubicBezTo>
                  <a:pt x="178" y="180"/>
                  <a:pt x="184" y="180"/>
                  <a:pt x="189" y="184"/>
                </a:cubicBezTo>
                <a:cubicBezTo>
                  <a:pt x="256" y="251"/>
                  <a:pt x="256" y="251"/>
                  <a:pt x="256" y="251"/>
                </a:cubicBezTo>
                <a:cubicBezTo>
                  <a:pt x="291" y="216"/>
                  <a:pt x="291" y="216"/>
                  <a:pt x="291" y="216"/>
                </a:cubicBezTo>
                <a:cubicBezTo>
                  <a:pt x="295" y="212"/>
                  <a:pt x="302" y="212"/>
                  <a:pt x="306" y="216"/>
                </a:cubicBezTo>
                <a:cubicBezTo>
                  <a:pt x="310" y="220"/>
                  <a:pt x="310" y="227"/>
                  <a:pt x="306" y="231"/>
                </a:cubicBezTo>
                <a:close/>
                <a:moveTo>
                  <a:pt x="373" y="256"/>
                </a:moveTo>
                <a:cubicBezTo>
                  <a:pt x="373" y="262"/>
                  <a:pt x="368" y="266"/>
                  <a:pt x="362" y="266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46" y="266"/>
                  <a:pt x="341" y="262"/>
                  <a:pt x="341" y="256"/>
                </a:cubicBezTo>
                <a:cubicBezTo>
                  <a:pt x="341" y="250"/>
                  <a:pt x="346" y="245"/>
                  <a:pt x="352" y="245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16"/>
                </a:moveTo>
                <a:cubicBezTo>
                  <a:pt x="167" y="416"/>
                  <a:pt x="96" y="344"/>
                  <a:pt x="96" y="256"/>
                </a:cubicBezTo>
                <a:cubicBezTo>
                  <a:pt x="96" y="167"/>
                  <a:pt x="167" y="96"/>
                  <a:pt x="256" y="96"/>
                </a:cubicBezTo>
                <a:cubicBezTo>
                  <a:pt x="344" y="96"/>
                  <a:pt x="416" y="167"/>
                  <a:pt x="416" y="256"/>
                </a:cubicBezTo>
                <a:cubicBezTo>
                  <a:pt x="416" y="344"/>
                  <a:pt x="344" y="416"/>
                  <a:pt x="256" y="41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7" name="Group 991"/>
          <p:cNvGrpSpPr>
            <a:grpSpLocks noChangeAspect="1"/>
          </p:cNvGrpSpPr>
          <p:nvPr/>
        </p:nvGrpSpPr>
        <p:grpSpPr bwMode="auto">
          <a:xfrm>
            <a:off x="9883565" y="2914983"/>
            <a:ext cx="369064" cy="367982"/>
            <a:chOff x="5285" y="4317"/>
            <a:chExt cx="341" cy="340"/>
          </a:xfrm>
          <a:solidFill>
            <a:schemeClr val="accent5"/>
          </a:solidFill>
        </p:grpSpPr>
        <p:sp>
          <p:nvSpPr>
            <p:cNvPr id="368" name="Freeform 992"/>
            <p:cNvSpPr>
              <a:spLocks noEditPoints="1"/>
            </p:cNvSpPr>
            <p:nvPr/>
          </p:nvSpPr>
          <p:spPr bwMode="auto">
            <a:xfrm>
              <a:off x="5285" y="431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9" name="Freeform 993"/>
            <p:cNvSpPr>
              <a:spLocks noEditPoints="1"/>
            </p:cNvSpPr>
            <p:nvPr/>
          </p:nvSpPr>
          <p:spPr bwMode="auto">
            <a:xfrm>
              <a:off x="5349" y="4381"/>
              <a:ext cx="213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160 w 320"/>
                <a:gd name="T11" fmla="*/ 298 h 320"/>
                <a:gd name="T12" fmla="*/ 21 w 320"/>
                <a:gd name="T13" fmla="*/ 160 h 320"/>
                <a:gd name="T14" fmla="*/ 160 w 320"/>
                <a:gd name="T15" fmla="*/ 21 h 320"/>
                <a:gd name="T16" fmla="*/ 298 w 320"/>
                <a:gd name="T17" fmla="*/ 160 h 320"/>
                <a:gd name="T18" fmla="*/ 160 w 320"/>
                <a:gd name="T19" fmla="*/ 298 h 320"/>
                <a:gd name="T20" fmla="*/ 210 w 320"/>
                <a:gd name="T21" fmla="*/ 120 h 320"/>
                <a:gd name="T22" fmla="*/ 210 w 320"/>
                <a:gd name="T23" fmla="*/ 135 h 320"/>
                <a:gd name="T24" fmla="*/ 167 w 320"/>
                <a:gd name="T25" fmla="*/ 178 h 320"/>
                <a:gd name="T26" fmla="*/ 160 w 320"/>
                <a:gd name="T27" fmla="*/ 181 h 320"/>
                <a:gd name="T28" fmla="*/ 152 w 320"/>
                <a:gd name="T29" fmla="*/ 178 h 320"/>
                <a:gd name="T30" fmla="*/ 77 w 320"/>
                <a:gd name="T31" fmla="*/ 103 h 320"/>
                <a:gd name="T32" fmla="*/ 77 w 320"/>
                <a:gd name="T33" fmla="*/ 88 h 320"/>
                <a:gd name="T34" fmla="*/ 93 w 320"/>
                <a:gd name="T35" fmla="*/ 88 h 320"/>
                <a:gd name="T36" fmla="*/ 160 w 320"/>
                <a:gd name="T37" fmla="*/ 155 h 320"/>
                <a:gd name="T38" fmla="*/ 195 w 320"/>
                <a:gd name="T39" fmla="*/ 120 h 320"/>
                <a:gd name="T40" fmla="*/ 210 w 320"/>
                <a:gd name="T41" fmla="*/ 120 h 320"/>
                <a:gd name="T42" fmla="*/ 149 w 320"/>
                <a:gd name="T43" fmla="*/ 64 h 320"/>
                <a:gd name="T44" fmla="*/ 149 w 320"/>
                <a:gd name="T45" fmla="*/ 53 h 320"/>
                <a:gd name="T46" fmla="*/ 160 w 320"/>
                <a:gd name="T47" fmla="*/ 42 h 320"/>
                <a:gd name="T48" fmla="*/ 170 w 320"/>
                <a:gd name="T49" fmla="*/ 53 h 320"/>
                <a:gd name="T50" fmla="*/ 170 w 320"/>
                <a:gd name="T51" fmla="*/ 64 h 320"/>
                <a:gd name="T52" fmla="*/ 160 w 320"/>
                <a:gd name="T53" fmla="*/ 74 h 320"/>
                <a:gd name="T54" fmla="*/ 149 w 320"/>
                <a:gd name="T55" fmla="*/ 64 h 320"/>
                <a:gd name="T56" fmla="*/ 170 w 320"/>
                <a:gd name="T57" fmla="*/ 256 h 320"/>
                <a:gd name="T58" fmla="*/ 170 w 320"/>
                <a:gd name="T59" fmla="*/ 266 h 320"/>
                <a:gd name="T60" fmla="*/ 160 w 320"/>
                <a:gd name="T61" fmla="*/ 277 h 320"/>
                <a:gd name="T62" fmla="*/ 149 w 320"/>
                <a:gd name="T63" fmla="*/ 266 h 320"/>
                <a:gd name="T64" fmla="*/ 149 w 320"/>
                <a:gd name="T65" fmla="*/ 256 h 320"/>
                <a:gd name="T66" fmla="*/ 160 w 320"/>
                <a:gd name="T67" fmla="*/ 245 h 320"/>
                <a:gd name="T68" fmla="*/ 170 w 320"/>
                <a:gd name="T69" fmla="*/ 256 h 320"/>
                <a:gd name="T70" fmla="*/ 277 w 320"/>
                <a:gd name="T71" fmla="*/ 160 h 320"/>
                <a:gd name="T72" fmla="*/ 266 w 320"/>
                <a:gd name="T73" fmla="*/ 170 h 320"/>
                <a:gd name="T74" fmla="*/ 256 w 320"/>
                <a:gd name="T75" fmla="*/ 170 h 320"/>
                <a:gd name="T76" fmla="*/ 245 w 320"/>
                <a:gd name="T77" fmla="*/ 160 h 320"/>
                <a:gd name="T78" fmla="*/ 256 w 320"/>
                <a:gd name="T79" fmla="*/ 149 h 320"/>
                <a:gd name="T80" fmla="*/ 266 w 320"/>
                <a:gd name="T81" fmla="*/ 149 h 320"/>
                <a:gd name="T82" fmla="*/ 277 w 320"/>
                <a:gd name="T83" fmla="*/ 160 h 320"/>
                <a:gd name="T84" fmla="*/ 74 w 320"/>
                <a:gd name="T85" fmla="*/ 160 h 320"/>
                <a:gd name="T86" fmla="*/ 64 w 320"/>
                <a:gd name="T87" fmla="*/ 170 h 320"/>
                <a:gd name="T88" fmla="*/ 53 w 320"/>
                <a:gd name="T89" fmla="*/ 170 h 320"/>
                <a:gd name="T90" fmla="*/ 42 w 320"/>
                <a:gd name="T91" fmla="*/ 160 h 320"/>
                <a:gd name="T92" fmla="*/ 53 w 320"/>
                <a:gd name="T93" fmla="*/ 149 h 320"/>
                <a:gd name="T94" fmla="*/ 64 w 320"/>
                <a:gd name="T95" fmla="*/ 149 h 320"/>
                <a:gd name="T96" fmla="*/ 74 w 320"/>
                <a:gd name="T97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160" y="298"/>
                  </a:moveTo>
                  <a:cubicBezTo>
                    <a:pt x="83" y="298"/>
                    <a:pt x="21" y="236"/>
                    <a:pt x="21" y="160"/>
                  </a:cubicBezTo>
                  <a:cubicBezTo>
                    <a:pt x="21" y="83"/>
                    <a:pt x="83" y="21"/>
                    <a:pt x="160" y="21"/>
                  </a:cubicBezTo>
                  <a:cubicBezTo>
                    <a:pt x="236" y="21"/>
                    <a:pt x="298" y="83"/>
                    <a:pt x="298" y="160"/>
                  </a:cubicBezTo>
                  <a:cubicBezTo>
                    <a:pt x="298" y="236"/>
                    <a:pt x="236" y="298"/>
                    <a:pt x="160" y="298"/>
                  </a:cubicBezTo>
                  <a:close/>
                  <a:moveTo>
                    <a:pt x="210" y="120"/>
                  </a:moveTo>
                  <a:cubicBezTo>
                    <a:pt x="214" y="124"/>
                    <a:pt x="214" y="131"/>
                    <a:pt x="210" y="135"/>
                  </a:cubicBezTo>
                  <a:cubicBezTo>
                    <a:pt x="167" y="178"/>
                    <a:pt x="167" y="178"/>
                    <a:pt x="167" y="178"/>
                  </a:cubicBezTo>
                  <a:cubicBezTo>
                    <a:pt x="165" y="180"/>
                    <a:pt x="162" y="181"/>
                    <a:pt x="160" y="181"/>
                  </a:cubicBezTo>
                  <a:cubicBezTo>
                    <a:pt x="157" y="181"/>
                    <a:pt x="154" y="180"/>
                    <a:pt x="152" y="178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3" y="99"/>
                    <a:pt x="73" y="92"/>
                    <a:pt x="77" y="88"/>
                  </a:cubicBezTo>
                  <a:cubicBezTo>
                    <a:pt x="82" y="84"/>
                    <a:pt x="88" y="84"/>
                    <a:pt x="93" y="88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9" y="116"/>
                    <a:pt x="206" y="116"/>
                    <a:pt x="210" y="120"/>
                  </a:cubicBezTo>
                  <a:close/>
                  <a:moveTo>
                    <a:pt x="149" y="64"/>
                  </a:moveTo>
                  <a:cubicBezTo>
                    <a:pt x="149" y="53"/>
                    <a:pt x="149" y="53"/>
                    <a:pt x="149" y="53"/>
                  </a:cubicBezTo>
                  <a:cubicBezTo>
                    <a:pt x="149" y="47"/>
                    <a:pt x="154" y="42"/>
                    <a:pt x="160" y="42"/>
                  </a:cubicBezTo>
                  <a:cubicBezTo>
                    <a:pt x="166" y="42"/>
                    <a:pt x="170" y="47"/>
                    <a:pt x="170" y="53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170" y="70"/>
                    <a:pt x="166" y="74"/>
                    <a:pt x="160" y="74"/>
                  </a:cubicBezTo>
                  <a:cubicBezTo>
                    <a:pt x="154" y="74"/>
                    <a:pt x="149" y="70"/>
                    <a:pt x="149" y="64"/>
                  </a:cubicBezTo>
                  <a:close/>
                  <a:moveTo>
                    <a:pt x="170" y="25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72"/>
                    <a:pt x="166" y="277"/>
                    <a:pt x="160" y="277"/>
                  </a:cubicBezTo>
                  <a:cubicBezTo>
                    <a:pt x="154" y="277"/>
                    <a:pt x="149" y="272"/>
                    <a:pt x="149" y="266"/>
                  </a:cubicBezTo>
                  <a:cubicBezTo>
                    <a:pt x="149" y="256"/>
                    <a:pt x="149" y="256"/>
                    <a:pt x="149" y="256"/>
                  </a:cubicBezTo>
                  <a:cubicBezTo>
                    <a:pt x="149" y="250"/>
                    <a:pt x="154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lose/>
                  <a:moveTo>
                    <a:pt x="277" y="160"/>
                  </a:moveTo>
                  <a:cubicBezTo>
                    <a:pt x="277" y="166"/>
                    <a:pt x="272" y="170"/>
                    <a:pt x="266" y="170"/>
                  </a:cubicBezTo>
                  <a:cubicBezTo>
                    <a:pt x="256" y="170"/>
                    <a:pt x="256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cubicBezTo>
                    <a:pt x="245" y="154"/>
                    <a:pt x="250" y="149"/>
                    <a:pt x="256" y="149"/>
                  </a:cubicBezTo>
                  <a:cubicBezTo>
                    <a:pt x="266" y="149"/>
                    <a:pt x="266" y="149"/>
                    <a:pt x="266" y="149"/>
                  </a:cubicBezTo>
                  <a:cubicBezTo>
                    <a:pt x="272" y="149"/>
                    <a:pt x="277" y="154"/>
                    <a:pt x="277" y="160"/>
                  </a:cubicBezTo>
                  <a:close/>
                  <a:moveTo>
                    <a:pt x="74" y="160"/>
                  </a:moveTo>
                  <a:cubicBezTo>
                    <a:pt x="74" y="166"/>
                    <a:pt x="70" y="170"/>
                    <a:pt x="64" y="170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47" y="170"/>
                    <a:pt x="42" y="166"/>
                    <a:pt x="42" y="160"/>
                  </a:cubicBezTo>
                  <a:cubicBezTo>
                    <a:pt x="42" y="154"/>
                    <a:pt x="47" y="149"/>
                    <a:pt x="5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70" y="149"/>
                    <a:pt x="74" y="154"/>
                    <a:pt x="74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6" name="Group 771"/>
          <p:cNvGrpSpPr>
            <a:grpSpLocks noChangeAspect="1"/>
          </p:cNvGrpSpPr>
          <p:nvPr/>
        </p:nvGrpSpPr>
        <p:grpSpPr bwMode="auto">
          <a:xfrm>
            <a:off x="437072" y="2914987"/>
            <a:ext cx="367631" cy="367631"/>
            <a:chOff x="6303" y="3281"/>
            <a:chExt cx="340" cy="340"/>
          </a:xfrm>
          <a:solidFill>
            <a:schemeClr val="accent2"/>
          </a:solidFill>
        </p:grpSpPr>
        <p:sp>
          <p:nvSpPr>
            <p:cNvPr id="537" name="Freeform 772"/>
            <p:cNvSpPr>
              <a:spLocks/>
            </p:cNvSpPr>
            <p:nvPr/>
          </p:nvSpPr>
          <p:spPr bwMode="auto">
            <a:xfrm>
              <a:off x="6393" y="3387"/>
              <a:ext cx="160" cy="149"/>
            </a:xfrm>
            <a:custGeom>
              <a:avLst/>
              <a:gdLst>
                <a:gd name="T0" fmla="*/ 105 w 240"/>
                <a:gd name="T1" fmla="*/ 87 h 224"/>
                <a:gd name="T2" fmla="*/ 109 w 240"/>
                <a:gd name="T3" fmla="*/ 96 h 224"/>
                <a:gd name="T4" fmla="*/ 109 w 240"/>
                <a:gd name="T5" fmla="*/ 224 h 224"/>
                <a:gd name="T6" fmla="*/ 130 w 240"/>
                <a:gd name="T7" fmla="*/ 208 h 224"/>
                <a:gd name="T8" fmla="*/ 130 w 240"/>
                <a:gd name="T9" fmla="*/ 96 h 224"/>
                <a:gd name="T10" fmla="*/ 134 w 240"/>
                <a:gd name="T11" fmla="*/ 87 h 224"/>
                <a:gd name="T12" fmla="*/ 240 w 240"/>
                <a:gd name="T13" fmla="*/ 0 h 224"/>
                <a:gd name="T14" fmla="*/ 0 w 240"/>
                <a:gd name="T15" fmla="*/ 0 h 224"/>
                <a:gd name="T16" fmla="*/ 105 w 240"/>
                <a:gd name="T17" fmla="*/ 8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224">
                  <a:moveTo>
                    <a:pt x="105" y="87"/>
                  </a:moveTo>
                  <a:cubicBezTo>
                    <a:pt x="108" y="90"/>
                    <a:pt x="109" y="93"/>
                    <a:pt x="109" y="96"/>
                  </a:cubicBezTo>
                  <a:cubicBezTo>
                    <a:pt x="109" y="224"/>
                    <a:pt x="109" y="224"/>
                    <a:pt x="109" y="224"/>
                  </a:cubicBezTo>
                  <a:cubicBezTo>
                    <a:pt x="130" y="208"/>
                    <a:pt x="130" y="208"/>
                    <a:pt x="130" y="208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0" y="93"/>
                    <a:pt x="132" y="90"/>
                    <a:pt x="134" y="87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5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8" name="Freeform 773"/>
            <p:cNvSpPr>
              <a:spLocks noEditPoints="1"/>
            </p:cNvSpPr>
            <p:nvPr/>
          </p:nvSpPr>
          <p:spPr bwMode="auto">
            <a:xfrm>
              <a:off x="6303" y="328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2 w 512"/>
                <a:gd name="T11" fmla="*/ 157 h 512"/>
                <a:gd name="T12" fmla="*/ 288 w 512"/>
                <a:gd name="T13" fmla="*/ 261 h 512"/>
                <a:gd name="T14" fmla="*/ 288 w 512"/>
                <a:gd name="T15" fmla="*/ 373 h 512"/>
                <a:gd name="T16" fmla="*/ 283 w 512"/>
                <a:gd name="T17" fmla="*/ 382 h 512"/>
                <a:gd name="T18" fmla="*/ 241 w 512"/>
                <a:gd name="T19" fmla="*/ 414 h 512"/>
                <a:gd name="T20" fmla="*/ 234 w 512"/>
                <a:gd name="T21" fmla="*/ 416 h 512"/>
                <a:gd name="T22" fmla="*/ 230 w 512"/>
                <a:gd name="T23" fmla="*/ 415 h 512"/>
                <a:gd name="T24" fmla="*/ 224 w 512"/>
                <a:gd name="T25" fmla="*/ 405 h 512"/>
                <a:gd name="T26" fmla="*/ 224 w 512"/>
                <a:gd name="T27" fmla="*/ 261 h 512"/>
                <a:gd name="T28" fmla="*/ 100 w 512"/>
                <a:gd name="T29" fmla="*/ 157 h 512"/>
                <a:gd name="T30" fmla="*/ 96 w 512"/>
                <a:gd name="T31" fmla="*/ 145 h 512"/>
                <a:gd name="T32" fmla="*/ 106 w 512"/>
                <a:gd name="T33" fmla="*/ 138 h 512"/>
                <a:gd name="T34" fmla="*/ 405 w 512"/>
                <a:gd name="T35" fmla="*/ 138 h 512"/>
                <a:gd name="T36" fmla="*/ 415 w 512"/>
                <a:gd name="T37" fmla="*/ 145 h 512"/>
                <a:gd name="T38" fmla="*/ 412 w 512"/>
                <a:gd name="T39" fmla="*/ 15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2" y="157"/>
                  </a:moveTo>
                  <a:cubicBezTo>
                    <a:pt x="288" y="261"/>
                    <a:pt x="288" y="261"/>
                    <a:pt x="288" y="261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88" y="376"/>
                    <a:pt x="286" y="380"/>
                    <a:pt x="283" y="382"/>
                  </a:cubicBezTo>
                  <a:cubicBezTo>
                    <a:pt x="241" y="414"/>
                    <a:pt x="241" y="414"/>
                    <a:pt x="241" y="414"/>
                  </a:cubicBezTo>
                  <a:cubicBezTo>
                    <a:pt x="239" y="415"/>
                    <a:pt x="237" y="416"/>
                    <a:pt x="234" y="416"/>
                  </a:cubicBezTo>
                  <a:cubicBezTo>
                    <a:pt x="233" y="416"/>
                    <a:pt x="231" y="415"/>
                    <a:pt x="230" y="415"/>
                  </a:cubicBezTo>
                  <a:cubicBezTo>
                    <a:pt x="226" y="413"/>
                    <a:pt x="224" y="409"/>
                    <a:pt x="224" y="405"/>
                  </a:cubicBezTo>
                  <a:cubicBezTo>
                    <a:pt x="224" y="261"/>
                    <a:pt x="224" y="261"/>
                    <a:pt x="224" y="261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96" y="154"/>
                    <a:pt x="95" y="150"/>
                    <a:pt x="96" y="145"/>
                  </a:cubicBezTo>
                  <a:cubicBezTo>
                    <a:pt x="98" y="141"/>
                    <a:pt x="102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09" y="138"/>
                    <a:pt x="414" y="141"/>
                    <a:pt x="415" y="145"/>
                  </a:cubicBezTo>
                  <a:cubicBezTo>
                    <a:pt x="417" y="150"/>
                    <a:pt x="415" y="154"/>
                    <a:pt x="412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9" name="Group 776"/>
          <p:cNvGrpSpPr>
            <a:grpSpLocks noChangeAspect="1"/>
          </p:cNvGrpSpPr>
          <p:nvPr/>
        </p:nvGrpSpPr>
        <p:grpSpPr bwMode="auto">
          <a:xfrm>
            <a:off x="933828" y="2914987"/>
            <a:ext cx="367631" cy="367631"/>
            <a:chOff x="6852" y="3483"/>
            <a:chExt cx="340" cy="340"/>
          </a:xfrm>
          <a:solidFill>
            <a:schemeClr val="accent2"/>
          </a:solidFill>
        </p:grpSpPr>
        <p:sp>
          <p:nvSpPr>
            <p:cNvPr id="540" name="Freeform 777"/>
            <p:cNvSpPr>
              <a:spLocks noEditPoints="1"/>
            </p:cNvSpPr>
            <p:nvPr/>
          </p:nvSpPr>
          <p:spPr bwMode="auto">
            <a:xfrm>
              <a:off x="6852" y="34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1" name="Freeform 778"/>
            <p:cNvSpPr>
              <a:spLocks noEditPoints="1"/>
            </p:cNvSpPr>
            <p:nvPr/>
          </p:nvSpPr>
          <p:spPr bwMode="auto">
            <a:xfrm>
              <a:off x="6915" y="3575"/>
              <a:ext cx="214" cy="184"/>
            </a:xfrm>
            <a:custGeom>
              <a:avLst/>
              <a:gdLst>
                <a:gd name="T0" fmla="*/ 139 w 322"/>
                <a:gd name="T1" fmla="*/ 278 h 278"/>
                <a:gd name="T2" fmla="*/ 135 w 322"/>
                <a:gd name="T3" fmla="*/ 277 h 278"/>
                <a:gd name="T4" fmla="*/ 129 w 322"/>
                <a:gd name="T5" fmla="*/ 267 h 278"/>
                <a:gd name="T6" fmla="*/ 129 w 322"/>
                <a:gd name="T7" fmla="*/ 123 h 278"/>
                <a:gd name="T8" fmla="*/ 5 w 322"/>
                <a:gd name="T9" fmla="*/ 19 h 278"/>
                <a:gd name="T10" fmla="*/ 1 w 322"/>
                <a:gd name="T11" fmla="*/ 7 h 278"/>
                <a:gd name="T12" fmla="*/ 11 w 322"/>
                <a:gd name="T13" fmla="*/ 0 h 278"/>
                <a:gd name="T14" fmla="*/ 310 w 322"/>
                <a:gd name="T15" fmla="*/ 0 h 278"/>
                <a:gd name="T16" fmla="*/ 320 w 322"/>
                <a:gd name="T17" fmla="*/ 7 h 278"/>
                <a:gd name="T18" fmla="*/ 317 w 322"/>
                <a:gd name="T19" fmla="*/ 19 h 278"/>
                <a:gd name="T20" fmla="*/ 193 w 322"/>
                <a:gd name="T21" fmla="*/ 123 h 278"/>
                <a:gd name="T22" fmla="*/ 193 w 322"/>
                <a:gd name="T23" fmla="*/ 235 h 278"/>
                <a:gd name="T24" fmla="*/ 188 w 322"/>
                <a:gd name="T25" fmla="*/ 244 h 278"/>
                <a:gd name="T26" fmla="*/ 146 w 322"/>
                <a:gd name="T27" fmla="*/ 276 h 278"/>
                <a:gd name="T28" fmla="*/ 139 w 322"/>
                <a:gd name="T29" fmla="*/ 278 h 278"/>
                <a:gd name="T30" fmla="*/ 41 w 322"/>
                <a:gd name="T31" fmla="*/ 22 h 278"/>
                <a:gd name="T32" fmla="*/ 146 w 322"/>
                <a:gd name="T33" fmla="*/ 109 h 278"/>
                <a:gd name="T34" fmla="*/ 150 w 322"/>
                <a:gd name="T35" fmla="*/ 118 h 278"/>
                <a:gd name="T36" fmla="*/ 150 w 322"/>
                <a:gd name="T37" fmla="*/ 246 h 278"/>
                <a:gd name="T38" fmla="*/ 171 w 322"/>
                <a:gd name="T39" fmla="*/ 230 h 278"/>
                <a:gd name="T40" fmla="*/ 171 w 322"/>
                <a:gd name="T41" fmla="*/ 118 h 278"/>
                <a:gd name="T42" fmla="*/ 175 w 322"/>
                <a:gd name="T43" fmla="*/ 109 h 278"/>
                <a:gd name="T44" fmla="*/ 281 w 322"/>
                <a:gd name="T45" fmla="*/ 22 h 278"/>
                <a:gd name="T46" fmla="*/ 41 w 322"/>
                <a:gd name="T47" fmla="*/ 2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2" h="278">
                  <a:moveTo>
                    <a:pt x="139" y="278"/>
                  </a:moveTo>
                  <a:cubicBezTo>
                    <a:pt x="138" y="278"/>
                    <a:pt x="136" y="277"/>
                    <a:pt x="135" y="277"/>
                  </a:cubicBezTo>
                  <a:cubicBezTo>
                    <a:pt x="131" y="275"/>
                    <a:pt x="129" y="271"/>
                    <a:pt x="129" y="267"/>
                  </a:cubicBezTo>
                  <a:cubicBezTo>
                    <a:pt x="129" y="123"/>
                    <a:pt x="129" y="123"/>
                    <a:pt x="129" y="12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" y="16"/>
                    <a:pt x="0" y="12"/>
                    <a:pt x="1" y="7"/>
                  </a:cubicBezTo>
                  <a:cubicBezTo>
                    <a:pt x="3" y="3"/>
                    <a:pt x="7" y="0"/>
                    <a:pt x="11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14" y="0"/>
                    <a:pt x="319" y="3"/>
                    <a:pt x="320" y="7"/>
                  </a:cubicBezTo>
                  <a:cubicBezTo>
                    <a:pt x="322" y="12"/>
                    <a:pt x="320" y="16"/>
                    <a:pt x="317" y="19"/>
                  </a:cubicBezTo>
                  <a:cubicBezTo>
                    <a:pt x="193" y="123"/>
                    <a:pt x="193" y="123"/>
                    <a:pt x="193" y="123"/>
                  </a:cubicBezTo>
                  <a:cubicBezTo>
                    <a:pt x="193" y="235"/>
                    <a:pt x="193" y="235"/>
                    <a:pt x="193" y="235"/>
                  </a:cubicBezTo>
                  <a:cubicBezTo>
                    <a:pt x="193" y="238"/>
                    <a:pt x="191" y="242"/>
                    <a:pt x="188" y="244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44" y="277"/>
                    <a:pt x="142" y="278"/>
                    <a:pt x="139" y="278"/>
                  </a:cubicBezTo>
                  <a:close/>
                  <a:moveTo>
                    <a:pt x="41" y="22"/>
                  </a:moveTo>
                  <a:cubicBezTo>
                    <a:pt x="146" y="109"/>
                    <a:pt x="146" y="109"/>
                    <a:pt x="146" y="109"/>
                  </a:cubicBezTo>
                  <a:cubicBezTo>
                    <a:pt x="149" y="112"/>
                    <a:pt x="150" y="115"/>
                    <a:pt x="150" y="118"/>
                  </a:cubicBezTo>
                  <a:cubicBezTo>
                    <a:pt x="150" y="246"/>
                    <a:pt x="150" y="246"/>
                    <a:pt x="150" y="246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71" y="118"/>
                    <a:pt x="171" y="118"/>
                    <a:pt x="171" y="118"/>
                  </a:cubicBezTo>
                  <a:cubicBezTo>
                    <a:pt x="171" y="115"/>
                    <a:pt x="173" y="112"/>
                    <a:pt x="175" y="109"/>
                  </a:cubicBezTo>
                  <a:cubicBezTo>
                    <a:pt x="281" y="22"/>
                    <a:pt x="281" y="22"/>
                    <a:pt x="281" y="22"/>
                  </a:cubicBezTo>
                  <a:lnTo>
                    <a:pt x="41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48" name="Freeform 606"/>
          <p:cNvSpPr>
            <a:spLocks noChangeAspect="1" noEditPoints="1"/>
          </p:cNvSpPr>
          <p:nvPr/>
        </p:nvSpPr>
        <p:spPr bwMode="auto">
          <a:xfrm>
            <a:off x="426277" y="2051054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41 w 512"/>
              <a:gd name="T5" fmla="*/ 416 h 512"/>
              <a:gd name="T6" fmla="*/ 311 w 512"/>
              <a:gd name="T7" fmla="*/ 371 h 512"/>
              <a:gd name="T8" fmla="*/ 332 w 512"/>
              <a:gd name="T9" fmla="*/ 336 h 512"/>
              <a:gd name="T10" fmla="*/ 370 w 512"/>
              <a:gd name="T11" fmla="*/ 370 h 512"/>
              <a:gd name="T12" fmla="*/ 373 w 512"/>
              <a:gd name="T13" fmla="*/ 384 h 512"/>
              <a:gd name="T14" fmla="*/ 373 w 512"/>
              <a:gd name="T15" fmla="*/ 309 h 512"/>
              <a:gd name="T16" fmla="*/ 320 w 512"/>
              <a:gd name="T17" fmla="*/ 309 h 512"/>
              <a:gd name="T18" fmla="*/ 298 w 512"/>
              <a:gd name="T19" fmla="*/ 298 h 512"/>
              <a:gd name="T20" fmla="*/ 309 w 512"/>
              <a:gd name="T21" fmla="*/ 277 h 512"/>
              <a:gd name="T22" fmla="*/ 276 w 512"/>
              <a:gd name="T23" fmla="*/ 266 h 512"/>
              <a:gd name="T24" fmla="*/ 171 w 512"/>
              <a:gd name="T25" fmla="*/ 266 h 512"/>
              <a:gd name="T26" fmla="*/ 96 w 512"/>
              <a:gd name="T27" fmla="*/ 256 h 512"/>
              <a:gd name="T28" fmla="*/ 181 w 512"/>
              <a:gd name="T29" fmla="*/ 245 h 512"/>
              <a:gd name="T30" fmla="*/ 224 w 512"/>
              <a:gd name="T31" fmla="*/ 288 h 512"/>
              <a:gd name="T32" fmla="*/ 266 w 512"/>
              <a:gd name="T33" fmla="*/ 245 h 512"/>
              <a:gd name="T34" fmla="*/ 330 w 512"/>
              <a:gd name="T35" fmla="*/ 277 h 512"/>
              <a:gd name="T36" fmla="*/ 352 w 512"/>
              <a:gd name="T37" fmla="*/ 288 h 512"/>
              <a:gd name="T38" fmla="*/ 298 w 512"/>
              <a:gd name="T39" fmla="*/ 224 h 512"/>
              <a:gd name="T40" fmla="*/ 245 w 512"/>
              <a:gd name="T41" fmla="*/ 213 h 512"/>
              <a:gd name="T42" fmla="*/ 202 w 512"/>
              <a:gd name="T43" fmla="*/ 192 h 512"/>
              <a:gd name="T44" fmla="*/ 192 w 512"/>
              <a:gd name="T45" fmla="*/ 224 h 512"/>
              <a:gd name="T46" fmla="*/ 96 w 512"/>
              <a:gd name="T47" fmla="*/ 213 h 512"/>
              <a:gd name="T48" fmla="*/ 181 w 512"/>
              <a:gd name="T49" fmla="*/ 202 h 512"/>
              <a:gd name="T50" fmla="*/ 192 w 512"/>
              <a:gd name="T51" fmla="*/ 170 h 512"/>
              <a:gd name="T52" fmla="*/ 213 w 512"/>
              <a:gd name="T53" fmla="*/ 138 h 512"/>
              <a:gd name="T54" fmla="*/ 181 w 512"/>
              <a:gd name="T55" fmla="*/ 128 h 512"/>
              <a:gd name="T56" fmla="*/ 256 w 512"/>
              <a:gd name="T57" fmla="*/ 117 h 512"/>
              <a:gd name="T58" fmla="*/ 256 w 512"/>
              <a:gd name="T59" fmla="*/ 138 h 512"/>
              <a:gd name="T60" fmla="*/ 234 w 512"/>
              <a:gd name="T61" fmla="*/ 170 h 512"/>
              <a:gd name="T62" fmla="*/ 266 w 512"/>
              <a:gd name="T63" fmla="*/ 181 h 512"/>
              <a:gd name="T64" fmla="*/ 298 w 512"/>
              <a:gd name="T65" fmla="*/ 202 h 512"/>
              <a:gd name="T66" fmla="*/ 373 w 512"/>
              <a:gd name="T67" fmla="*/ 288 h 512"/>
              <a:gd name="T68" fmla="*/ 373 w 512"/>
              <a:gd name="T69" fmla="*/ 309 h 512"/>
              <a:gd name="T70" fmla="*/ 352 w 512"/>
              <a:gd name="T71" fmla="*/ 384 h 512"/>
              <a:gd name="T72" fmla="*/ 330 w 512"/>
              <a:gd name="T73" fmla="*/ 384 h 512"/>
              <a:gd name="T74" fmla="*/ 341 w 512"/>
              <a:gd name="T75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1" y="416"/>
                </a:moveTo>
                <a:cubicBezTo>
                  <a:pt x="323" y="416"/>
                  <a:pt x="309" y="401"/>
                  <a:pt x="309" y="384"/>
                </a:cubicBezTo>
                <a:cubicBezTo>
                  <a:pt x="309" y="379"/>
                  <a:pt x="310" y="375"/>
                  <a:pt x="311" y="371"/>
                </a:cubicBezTo>
                <a:cubicBezTo>
                  <a:pt x="312" y="371"/>
                  <a:pt x="312" y="371"/>
                  <a:pt x="312" y="370"/>
                </a:cubicBezTo>
                <a:cubicBezTo>
                  <a:pt x="332" y="336"/>
                  <a:pt x="332" y="336"/>
                  <a:pt x="332" y="336"/>
                </a:cubicBezTo>
                <a:cubicBezTo>
                  <a:pt x="336" y="329"/>
                  <a:pt x="346" y="329"/>
                  <a:pt x="350" y="336"/>
                </a:cubicBezTo>
                <a:cubicBezTo>
                  <a:pt x="370" y="370"/>
                  <a:pt x="370" y="370"/>
                  <a:pt x="370" y="370"/>
                </a:cubicBezTo>
                <a:cubicBezTo>
                  <a:pt x="370" y="371"/>
                  <a:pt x="370" y="371"/>
                  <a:pt x="371" y="371"/>
                </a:cubicBezTo>
                <a:cubicBezTo>
                  <a:pt x="372" y="375"/>
                  <a:pt x="373" y="379"/>
                  <a:pt x="373" y="384"/>
                </a:cubicBezTo>
                <a:cubicBezTo>
                  <a:pt x="373" y="401"/>
                  <a:pt x="359" y="416"/>
                  <a:pt x="341" y="416"/>
                </a:cubicBezTo>
                <a:close/>
                <a:moveTo>
                  <a:pt x="373" y="309"/>
                </a:moveTo>
                <a:cubicBezTo>
                  <a:pt x="362" y="309"/>
                  <a:pt x="362" y="309"/>
                  <a:pt x="362" y="309"/>
                </a:cubicBezTo>
                <a:cubicBezTo>
                  <a:pt x="320" y="309"/>
                  <a:pt x="320" y="309"/>
                  <a:pt x="320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3" y="309"/>
                  <a:pt x="298" y="304"/>
                  <a:pt x="298" y="298"/>
                </a:cubicBezTo>
                <a:cubicBezTo>
                  <a:pt x="298" y="292"/>
                  <a:pt x="303" y="288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68"/>
                  <a:pt x="303" y="266"/>
                  <a:pt x="298" y="266"/>
                </a:cubicBezTo>
                <a:cubicBezTo>
                  <a:pt x="276" y="266"/>
                  <a:pt x="276" y="266"/>
                  <a:pt x="276" y="266"/>
                </a:cubicBezTo>
                <a:cubicBezTo>
                  <a:pt x="271" y="291"/>
                  <a:pt x="249" y="309"/>
                  <a:pt x="224" y="309"/>
                </a:cubicBezTo>
                <a:cubicBezTo>
                  <a:pt x="198" y="309"/>
                  <a:pt x="176" y="291"/>
                  <a:pt x="171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87" y="245"/>
                  <a:pt x="192" y="250"/>
                  <a:pt x="192" y="256"/>
                </a:cubicBezTo>
                <a:cubicBezTo>
                  <a:pt x="192" y="273"/>
                  <a:pt x="206" y="288"/>
                  <a:pt x="224" y="288"/>
                </a:cubicBezTo>
                <a:cubicBezTo>
                  <a:pt x="241" y="288"/>
                  <a:pt x="256" y="273"/>
                  <a:pt x="256" y="256"/>
                </a:cubicBezTo>
                <a:cubicBezTo>
                  <a:pt x="256" y="250"/>
                  <a:pt x="260" y="245"/>
                  <a:pt x="266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311" y="245"/>
                  <a:pt x="330" y="254"/>
                  <a:pt x="330" y="277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2" y="272"/>
                  <a:pt x="350" y="224"/>
                  <a:pt x="298" y="224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0" y="224"/>
                  <a:pt x="245" y="219"/>
                  <a:pt x="245" y="213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19"/>
                  <a:pt x="198" y="224"/>
                  <a:pt x="192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181" y="175"/>
                  <a:pt x="186" y="170"/>
                  <a:pt x="192" y="170"/>
                </a:cubicBezTo>
                <a:cubicBezTo>
                  <a:pt x="213" y="170"/>
                  <a:pt x="213" y="170"/>
                  <a:pt x="213" y="170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86" y="138"/>
                  <a:pt x="181" y="134"/>
                  <a:pt x="181" y="128"/>
                </a:cubicBezTo>
                <a:cubicBezTo>
                  <a:pt x="181" y="122"/>
                  <a:pt x="186" y="117"/>
                  <a:pt x="192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70"/>
                  <a:pt x="234" y="170"/>
                  <a:pt x="234" y="170"/>
                </a:cubicBezTo>
                <a:cubicBezTo>
                  <a:pt x="256" y="170"/>
                  <a:pt x="256" y="170"/>
                  <a:pt x="256" y="170"/>
                </a:cubicBezTo>
                <a:cubicBezTo>
                  <a:pt x="262" y="170"/>
                  <a:pt x="266" y="175"/>
                  <a:pt x="266" y="181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357" y="202"/>
                  <a:pt x="373" y="251"/>
                  <a:pt x="373" y="277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9" y="288"/>
                  <a:pt x="384" y="292"/>
                  <a:pt x="384" y="298"/>
                </a:cubicBezTo>
                <a:cubicBezTo>
                  <a:pt x="384" y="304"/>
                  <a:pt x="379" y="309"/>
                  <a:pt x="373" y="309"/>
                </a:cubicBezTo>
                <a:close/>
                <a:moveTo>
                  <a:pt x="351" y="380"/>
                </a:moveTo>
                <a:cubicBezTo>
                  <a:pt x="351" y="381"/>
                  <a:pt x="352" y="382"/>
                  <a:pt x="352" y="384"/>
                </a:cubicBezTo>
                <a:cubicBezTo>
                  <a:pt x="352" y="390"/>
                  <a:pt x="347" y="394"/>
                  <a:pt x="341" y="394"/>
                </a:cubicBezTo>
                <a:cubicBezTo>
                  <a:pt x="335" y="394"/>
                  <a:pt x="330" y="390"/>
                  <a:pt x="330" y="384"/>
                </a:cubicBezTo>
                <a:cubicBezTo>
                  <a:pt x="330" y="382"/>
                  <a:pt x="331" y="381"/>
                  <a:pt x="331" y="380"/>
                </a:cubicBezTo>
                <a:cubicBezTo>
                  <a:pt x="341" y="363"/>
                  <a:pt x="341" y="363"/>
                  <a:pt x="341" y="363"/>
                </a:cubicBezTo>
                <a:lnTo>
                  <a:pt x="351" y="38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49" name="Group 609"/>
          <p:cNvGrpSpPr>
            <a:grpSpLocks noChangeAspect="1"/>
          </p:cNvGrpSpPr>
          <p:nvPr/>
        </p:nvGrpSpPr>
        <p:grpSpPr bwMode="auto">
          <a:xfrm>
            <a:off x="923494" y="2051054"/>
            <a:ext cx="367631" cy="367631"/>
            <a:chOff x="2715" y="2414"/>
            <a:chExt cx="340" cy="340"/>
          </a:xfrm>
          <a:solidFill>
            <a:schemeClr val="accent1"/>
          </a:solidFill>
        </p:grpSpPr>
        <p:sp>
          <p:nvSpPr>
            <p:cNvPr id="550" name="Freeform 610"/>
            <p:cNvSpPr>
              <a:spLocks noEditPoints="1"/>
            </p:cNvSpPr>
            <p:nvPr/>
          </p:nvSpPr>
          <p:spPr bwMode="auto">
            <a:xfrm>
              <a:off x="2779" y="2492"/>
              <a:ext cx="191" cy="198"/>
            </a:xfrm>
            <a:custGeom>
              <a:avLst/>
              <a:gdLst>
                <a:gd name="T0" fmla="*/ 277 w 288"/>
                <a:gd name="T1" fmla="*/ 192 h 299"/>
                <a:gd name="T2" fmla="*/ 224 w 288"/>
                <a:gd name="T3" fmla="*/ 192 h 299"/>
                <a:gd name="T4" fmla="*/ 202 w 288"/>
                <a:gd name="T5" fmla="*/ 181 h 299"/>
                <a:gd name="T6" fmla="*/ 213 w 288"/>
                <a:gd name="T7" fmla="*/ 160 h 299"/>
                <a:gd name="T8" fmla="*/ 180 w 288"/>
                <a:gd name="T9" fmla="*/ 149 h 299"/>
                <a:gd name="T10" fmla="*/ 75 w 288"/>
                <a:gd name="T11" fmla="*/ 149 h 299"/>
                <a:gd name="T12" fmla="*/ 0 w 288"/>
                <a:gd name="T13" fmla="*/ 139 h 299"/>
                <a:gd name="T14" fmla="*/ 85 w 288"/>
                <a:gd name="T15" fmla="*/ 128 h 299"/>
                <a:gd name="T16" fmla="*/ 128 w 288"/>
                <a:gd name="T17" fmla="*/ 171 h 299"/>
                <a:gd name="T18" fmla="*/ 170 w 288"/>
                <a:gd name="T19" fmla="*/ 128 h 299"/>
                <a:gd name="T20" fmla="*/ 234 w 288"/>
                <a:gd name="T21" fmla="*/ 160 h 299"/>
                <a:gd name="T22" fmla="*/ 256 w 288"/>
                <a:gd name="T23" fmla="*/ 171 h 299"/>
                <a:gd name="T24" fmla="*/ 202 w 288"/>
                <a:gd name="T25" fmla="*/ 107 h 299"/>
                <a:gd name="T26" fmla="*/ 149 w 288"/>
                <a:gd name="T27" fmla="*/ 96 h 299"/>
                <a:gd name="T28" fmla="*/ 106 w 288"/>
                <a:gd name="T29" fmla="*/ 75 h 299"/>
                <a:gd name="T30" fmla="*/ 96 w 288"/>
                <a:gd name="T31" fmla="*/ 107 h 299"/>
                <a:gd name="T32" fmla="*/ 0 w 288"/>
                <a:gd name="T33" fmla="*/ 96 h 299"/>
                <a:gd name="T34" fmla="*/ 85 w 288"/>
                <a:gd name="T35" fmla="*/ 85 h 299"/>
                <a:gd name="T36" fmla="*/ 96 w 288"/>
                <a:gd name="T37" fmla="*/ 53 h 299"/>
                <a:gd name="T38" fmla="*/ 117 w 288"/>
                <a:gd name="T39" fmla="*/ 21 h 299"/>
                <a:gd name="T40" fmla="*/ 85 w 288"/>
                <a:gd name="T41" fmla="*/ 11 h 299"/>
                <a:gd name="T42" fmla="*/ 160 w 288"/>
                <a:gd name="T43" fmla="*/ 0 h 299"/>
                <a:gd name="T44" fmla="*/ 160 w 288"/>
                <a:gd name="T45" fmla="*/ 21 h 299"/>
                <a:gd name="T46" fmla="*/ 138 w 288"/>
                <a:gd name="T47" fmla="*/ 53 h 299"/>
                <a:gd name="T48" fmla="*/ 170 w 288"/>
                <a:gd name="T49" fmla="*/ 64 h 299"/>
                <a:gd name="T50" fmla="*/ 202 w 288"/>
                <a:gd name="T51" fmla="*/ 85 h 299"/>
                <a:gd name="T52" fmla="*/ 277 w 288"/>
                <a:gd name="T53" fmla="*/ 171 h 299"/>
                <a:gd name="T54" fmla="*/ 275 w 288"/>
                <a:gd name="T55" fmla="*/ 254 h 299"/>
                <a:gd name="T56" fmla="*/ 245 w 288"/>
                <a:gd name="T57" fmla="*/ 299 h 299"/>
                <a:gd name="T58" fmla="*/ 215 w 288"/>
                <a:gd name="T59" fmla="*/ 254 h 299"/>
                <a:gd name="T60" fmla="*/ 236 w 288"/>
                <a:gd name="T61" fmla="*/ 219 h 299"/>
                <a:gd name="T62" fmla="*/ 274 w 288"/>
                <a:gd name="T63" fmla="*/ 253 h 299"/>
                <a:gd name="T64" fmla="*/ 256 w 288"/>
                <a:gd name="T65" fmla="*/ 267 h 299"/>
                <a:gd name="T66" fmla="*/ 245 w 288"/>
                <a:gd name="T67" fmla="*/ 246 h 299"/>
                <a:gd name="T68" fmla="*/ 234 w 288"/>
                <a:gd name="T69" fmla="*/ 267 h 299"/>
                <a:gd name="T70" fmla="*/ 256 w 288"/>
                <a:gd name="T71" fmla="*/ 267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8" h="299">
                  <a:moveTo>
                    <a:pt x="288" y="181"/>
                  </a:moveTo>
                  <a:cubicBezTo>
                    <a:pt x="288" y="187"/>
                    <a:pt x="283" y="192"/>
                    <a:pt x="277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07" y="192"/>
                    <a:pt x="202" y="187"/>
                    <a:pt x="202" y="181"/>
                  </a:cubicBezTo>
                  <a:cubicBezTo>
                    <a:pt x="202" y="175"/>
                    <a:pt x="207" y="171"/>
                    <a:pt x="213" y="171"/>
                  </a:cubicBezTo>
                  <a:cubicBezTo>
                    <a:pt x="213" y="160"/>
                    <a:pt x="213" y="160"/>
                    <a:pt x="213" y="160"/>
                  </a:cubicBezTo>
                  <a:cubicBezTo>
                    <a:pt x="213" y="151"/>
                    <a:pt x="207" y="149"/>
                    <a:pt x="202" y="149"/>
                  </a:cubicBezTo>
                  <a:cubicBezTo>
                    <a:pt x="180" y="149"/>
                    <a:pt x="180" y="149"/>
                    <a:pt x="180" y="149"/>
                  </a:cubicBezTo>
                  <a:cubicBezTo>
                    <a:pt x="175" y="174"/>
                    <a:pt x="153" y="192"/>
                    <a:pt x="128" y="192"/>
                  </a:cubicBezTo>
                  <a:cubicBezTo>
                    <a:pt x="102" y="192"/>
                    <a:pt x="80" y="174"/>
                    <a:pt x="75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45"/>
                    <a:pt x="0" y="139"/>
                  </a:cubicBezTo>
                  <a:cubicBezTo>
                    <a:pt x="0" y="133"/>
                    <a:pt x="4" y="128"/>
                    <a:pt x="10" y="128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1" y="128"/>
                    <a:pt x="96" y="133"/>
                    <a:pt x="96" y="139"/>
                  </a:cubicBezTo>
                  <a:cubicBezTo>
                    <a:pt x="96" y="156"/>
                    <a:pt x="110" y="171"/>
                    <a:pt x="128" y="171"/>
                  </a:cubicBezTo>
                  <a:cubicBezTo>
                    <a:pt x="145" y="171"/>
                    <a:pt x="160" y="156"/>
                    <a:pt x="160" y="139"/>
                  </a:cubicBezTo>
                  <a:cubicBezTo>
                    <a:pt x="160" y="133"/>
                    <a:pt x="164" y="128"/>
                    <a:pt x="170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15" y="128"/>
                    <a:pt x="234" y="137"/>
                    <a:pt x="234" y="160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56" y="171"/>
                    <a:pt x="256" y="171"/>
                    <a:pt x="256" y="171"/>
                  </a:cubicBezTo>
                  <a:cubicBezTo>
                    <a:pt x="256" y="160"/>
                    <a:pt x="256" y="160"/>
                    <a:pt x="256" y="160"/>
                  </a:cubicBezTo>
                  <a:cubicBezTo>
                    <a:pt x="256" y="155"/>
                    <a:pt x="254" y="107"/>
                    <a:pt x="202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54" y="107"/>
                    <a:pt x="149" y="102"/>
                    <a:pt x="149" y="96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102"/>
                    <a:pt x="102" y="107"/>
                    <a:pt x="96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4" y="107"/>
                    <a:pt x="0" y="102"/>
                    <a:pt x="0" y="96"/>
                  </a:cubicBezTo>
                  <a:cubicBezTo>
                    <a:pt x="0" y="90"/>
                    <a:pt x="4" y="85"/>
                    <a:pt x="10" y="85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58"/>
                    <a:pt x="90" y="53"/>
                    <a:pt x="96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0" y="21"/>
                    <a:pt x="85" y="17"/>
                    <a:pt x="85" y="11"/>
                  </a:cubicBezTo>
                  <a:cubicBezTo>
                    <a:pt x="85" y="5"/>
                    <a:pt x="90" y="0"/>
                    <a:pt x="96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6" y="0"/>
                    <a:pt x="170" y="5"/>
                    <a:pt x="170" y="11"/>
                  </a:cubicBezTo>
                  <a:cubicBezTo>
                    <a:pt x="170" y="17"/>
                    <a:pt x="166" y="21"/>
                    <a:pt x="160" y="21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66" y="53"/>
                    <a:pt x="170" y="58"/>
                    <a:pt x="170" y="64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202" y="85"/>
                    <a:pt x="202" y="85"/>
                    <a:pt x="202" y="85"/>
                  </a:cubicBezTo>
                  <a:cubicBezTo>
                    <a:pt x="261" y="85"/>
                    <a:pt x="277" y="134"/>
                    <a:pt x="277" y="160"/>
                  </a:cubicBezTo>
                  <a:cubicBezTo>
                    <a:pt x="277" y="171"/>
                    <a:pt x="277" y="171"/>
                    <a:pt x="277" y="171"/>
                  </a:cubicBezTo>
                  <a:cubicBezTo>
                    <a:pt x="283" y="171"/>
                    <a:pt x="288" y="175"/>
                    <a:pt x="288" y="181"/>
                  </a:cubicBezTo>
                  <a:close/>
                  <a:moveTo>
                    <a:pt x="275" y="254"/>
                  </a:moveTo>
                  <a:cubicBezTo>
                    <a:pt x="276" y="258"/>
                    <a:pt x="277" y="262"/>
                    <a:pt x="277" y="267"/>
                  </a:cubicBezTo>
                  <a:cubicBezTo>
                    <a:pt x="277" y="284"/>
                    <a:pt x="263" y="299"/>
                    <a:pt x="245" y="299"/>
                  </a:cubicBezTo>
                  <a:cubicBezTo>
                    <a:pt x="227" y="299"/>
                    <a:pt x="213" y="284"/>
                    <a:pt x="213" y="267"/>
                  </a:cubicBezTo>
                  <a:cubicBezTo>
                    <a:pt x="213" y="262"/>
                    <a:pt x="214" y="258"/>
                    <a:pt x="215" y="254"/>
                  </a:cubicBezTo>
                  <a:cubicBezTo>
                    <a:pt x="216" y="254"/>
                    <a:pt x="216" y="254"/>
                    <a:pt x="216" y="253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240" y="212"/>
                    <a:pt x="250" y="212"/>
                    <a:pt x="254" y="219"/>
                  </a:cubicBezTo>
                  <a:cubicBezTo>
                    <a:pt x="274" y="253"/>
                    <a:pt x="274" y="253"/>
                    <a:pt x="274" y="253"/>
                  </a:cubicBezTo>
                  <a:cubicBezTo>
                    <a:pt x="274" y="254"/>
                    <a:pt x="274" y="254"/>
                    <a:pt x="275" y="254"/>
                  </a:cubicBezTo>
                  <a:close/>
                  <a:moveTo>
                    <a:pt x="256" y="267"/>
                  </a:moveTo>
                  <a:cubicBezTo>
                    <a:pt x="256" y="265"/>
                    <a:pt x="255" y="264"/>
                    <a:pt x="255" y="263"/>
                  </a:cubicBezTo>
                  <a:cubicBezTo>
                    <a:pt x="245" y="246"/>
                    <a:pt x="245" y="246"/>
                    <a:pt x="245" y="246"/>
                  </a:cubicBezTo>
                  <a:cubicBezTo>
                    <a:pt x="235" y="263"/>
                    <a:pt x="235" y="263"/>
                    <a:pt x="235" y="263"/>
                  </a:cubicBezTo>
                  <a:cubicBezTo>
                    <a:pt x="235" y="264"/>
                    <a:pt x="234" y="265"/>
                    <a:pt x="234" y="267"/>
                  </a:cubicBezTo>
                  <a:cubicBezTo>
                    <a:pt x="234" y="273"/>
                    <a:pt x="239" y="277"/>
                    <a:pt x="245" y="277"/>
                  </a:cubicBezTo>
                  <a:cubicBezTo>
                    <a:pt x="251" y="277"/>
                    <a:pt x="256" y="273"/>
                    <a:pt x="256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1" name="Freeform 611"/>
            <p:cNvSpPr>
              <a:spLocks noEditPoints="1"/>
            </p:cNvSpPr>
            <p:nvPr/>
          </p:nvSpPr>
          <p:spPr bwMode="auto">
            <a:xfrm>
              <a:off x="2715" y="241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2" name="Freeform 624"/>
          <p:cNvSpPr>
            <a:spLocks noChangeAspect="1" noEditPoints="1"/>
          </p:cNvSpPr>
          <p:nvPr/>
        </p:nvSpPr>
        <p:spPr bwMode="auto">
          <a:xfrm>
            <a:off x="9385624" y="2051054"/>
            <a:ext cx="368713" cy="367631"/>
          </a:xfrm>
          <a:custGeom>
            <a:avLst/>
            <a:gdLst>
              <a:gd name="T0" fmla="*/ 245 w 512"/>
              <a:gd name="T1" fmla="*/ 118 h 512"/>
              <a:gd name="T2" fmla="*/ 245 w 512"/>
              <a:gd name="T3" fmla="*/ 358 h 512"/>
              <a:gd name="T4" fmla="*/ 243 w 512"/>
              <a:gd name="T5" fmla="*/ 356 h 512"/>
              <a:gd name="T6" fmla="*/ 242 w 512"/>
              <a:gd name="T7" fmla="*/ 355 h 512"/>
              <a:gd name="T8" fmla="*/ 220 w 512"/>
              <a:gd name="T9" fmla="*/ 317 h 512"/>
              <a:gd name="T10" fmla="*/ 221 w 512"/>
              <a:gd name="T11" fmla="*/ 316 h 512"/>
              <a:gd name="T12" fmla="*/ 226 w 512"/>
              <a:gd name="T13" fmla="*/ 310 h 512"/>
              <a:gd name="T14" fmla="*/ 225 w 512"/>
              <a:gd name="T15" fmla="*/ 295 h 512"/>
              <a:gd name="T16" fmla="*/ 213 w 512"/>
              <a:gd name="T17" fmla="*/ 294 h 512"/>
              <a:gd name="T18" fmla="*/ 207 w 512"/>
              <a:gd name="T19" fmla="*/ 255 h 512"/>
              <a:gd name="T20" fmla="*/ 210 w 512"/>
              <a:gd name="T21" fmla="*/ 253 h 512"/>
              <a:gd name="T22" fmla="*/ 231 w 512"/>
              <a:gd name="T23" fmla="*/ 231 h 512"/>
              <a:gd name="T24" fmla="*/ 231 w 512"/>
              <a:gd name="T25" fmla="*/ 216 h 512"/>
              <a:gd name="T26" fmla="*/ 216 w 512"/>
              <a:gd name="T27" fmla="*/ 216 h 512"/>
              <a:gd name="T28" fmla="*/ 204 w 512"/>
              <a:gd name="T29" fmla="*/ 228 h 512"/>
              <a:gd name="T30" fmla="*/ 202 w 512"/>
              <a:gd name="T31" fmla="*/ 195 h 512"/>
              <a:gd name="T32" fmla="*/ 205 w 512"/>
              <a:gd name="T33" fmla="*/ 194 h 512"/>
              <a:gd name="T34" fmla="*/ 231 w 512"/>
              <a:gd name="T35" fmla="*/ 167 h 512"/>
              <a:gd name="T36" fmla="*/ 231 w 512"/>
              <a:gd name="T37" fmla="*/ 152 h 512"/>
              <a:gd name="T38" fmla="*/ 216 w 512"/>
              <a:gd name="T39" fmla="*/ 152 h 512"/>
              <a:gd name="T40" fmla="*/ 203 w 512"/>
              <a:gd name="T41" fmla="*/ 165 h 512"/>
              <a:gd name="T42" fmla="*/ 245 w 512"/>
              <a:gd name="T43" fmla="*/ 118 h 512"/>
              <a:gd name="T44" fmla="*/ 266 w 512"/>
              <a:gd name="T45" fmla="*/ 118 h 512"/>
              <a:gd name="T46" fmla="*/ 266 w 512"/>
              <a:gd name="T47" fmla="*/ 358 h 512"/>
              <a:gd name="T48" fmla="*/ 269 w 512"/>
              <a:gd name="T49" fmla="*/ 355 h 512"/>
              <a:gd name="T50" fmla="*/ 299 w 512"/>
              <a:gd name="T51" fmla="*/ 282 h 512"/>
              <a:gd name="T52" fmla="*/ 280 w 512"/>
              <a:gd name="T53" fmla="*/ 263 h 512"/>
              <a:gd name="T54" fmla="*/ 280 w 512"/>
              <a:gd name="T55" fmla="*/ 248 h 512"/>
              <a:gd name="T56" fmla="*/ 295 w 512"/>
              <a:gd name="T57" fmla="*/ 248 h 512"/>
              <a:gd name="T58" fmla="*/ 303 w 512"/>
              <a:gd name="T59" fmla="*/ 256 h 512"/>
              <a:gd name="T60" fmla="*/ 307 w 512"/>
              <a:gd name="T61" fmla="*/ 213 h 512"/>
              <a:gd name="T62" fmla="*/ 301 w 512"/>
              <a:gd name="T63" fmla="*/ 210 h 512"/>
              <a:gd name="T64" fmla="*/ 280 w 512"/>
              <a:gd name="T65" fmla="*/ 189 h 512"/>
              <a:gd name="T66" fmla="*/ 280 w 512"/>
              <a:gd name="T67" fmla="*/ 173 h 512"/>
              <a:gd name="T68" fmla="*/ 295 w 512"/>
              <a:gd name="T69" fmla="*/ 173 h 512"/>
              <a:gd name="T70" fmla="*/ 309 w 512"/>
              <a:gd name="T71" fmla="*/ 187 h 512"/>
              <a:gd name="T72" fmla="*/ 309 w 512"/>
              <a:gd name="T73" fmla="*/ 170 h 512"/>
              <a:gd name="T74" fmla="*/ 266 w 512"/>
              <a:gd name="T75" fmla="*/ 118 h 512"/>
              <a:gd name="T76" fmla="*/ 512 w 512"/>
              <a:gd name="T77" fmla="*/ 256 h 512"/>
              <a:gd name="T78" fmla="*/ 256 w 512"/>
              <a:gd name="T79" fmla="*/ 512 h 512"/>
              <a:gd name="T80" fmla="*/ 0 w 512"/>
              <a:gd name="T81" fmla="*/ 256 h 512"/>
              <a:gd name="T82" fmla="*/ 256 w 512"/>
              <a:gd name="T83" fmla="*/ 0 h 512"/>
              <a:gd name="T84" fmla="*/ 512 w 512"/>
              <a:gd name="T85" fmla="*/ 256 h 512"/>
              <a:gd name="T86" fmla="*/ 330 w 512"/>
              <a:gd name="T87" fmla="*/ 170 h 512"/>
              <a:gd name="T88" fmla="*/ 256 w 512"/>
              <a:gd name="T89" fmla="*/ 96 h 512"/>
              <a:gd name="T90" fmla="*/ 181 w 512"/>
              <a:gd name="T91" fmla="*/ 170 h 512"/>
              <a:gd name="T92" fmla="*/ 226 w 512"/>
              <a:gd name="T93" fmla="*/ 369 h 512"/>
              <a:gd name="T94" fmla="*/ 245 w 512"/>
              <a:gd name="T95" fmla="*/ 382 h 512"/>
              <a:gd name="T96" fmla="*/ 245 w 512"/>
              <a:gd name="T97" fmla="*/ 405 h 512"/>
              <a:gd name="T98" fmla="*/ 256 w 512"/>
              <a:gd name="T99" fmla="*/ 416 h 512"/>
              <a:gd name="T100" fmla="*/ 266 w 512"/>
              <a:gd name="T101" fmla="*/ 405 h 512"/>
              <a:gd name="T102" fmla="*/ 266 w 512"/>
              <a:gd name="T103" fmla="*/ 382 h 512"/>
              <a:gd name="T104" fmla="*/ 285 w 512"/>
              <a:gd name="T105" fmla="*/ 369 h 512"/>
              <a:gd name="T106" fmla="*/ 330 w 512"/>
              <a:gd name="T107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45" y="118"/>
                </a:moveTo>
                <a:cubicBezTo>
                  <a:pt x="245" y="358"/>
                  <a:pt x="245" y="358"/>
                  <a:pt x="245" y="358"/>
                </a:cubicBezTo>
                <a:cubicBezTo>
                  <a:pt x="244" y="357"/>
                  <a:pt x="243" y="356"/>
                  <a:pt x="243" y="356"/>
                </a:cubicBezTo>
                <a:cubicBezTo>
                  <a:pt x="243" y="355"/>
                  <a:pt x="242" y="355"/>
                  <a:pt x="242" y="355"/>
                </a:cubicBezTo>
                <a:cubicBezTo>
                  <a:pt x="233" y="346"/>
                  <a:pt x="226" y="332"/>
                  <a:pt x="220" y="317"/>
                </a:cubicBezTo>
                <a:cubicBezTo>
                  <a:pt x="220" y="316"/>
                  <a:pt x="221" y="316"/>
                  <a:pt x="221" y="316"/>
                </a:cubicBezTo>
                <a:cubicBezTo>
                  <a:pt x="226" y="310"/>
                  <a:pt x="226" y="310"/>
                  <a:pt x="226" y="310"/>
                </a:cubicBezTo>
                <a:cubicBezTo>
                  <a:pt x="230" y="306"/>
                  <a:pt x="229" y="299"/>
                  <a:pt x="225" y="295"/>
                </a:cubicBezTo>
                <a:cubicBezTo>
                  <a:pt x="222" y="292"/>
                  <a:pt x="217" y="292"/>
                  <a:pt x="213" y="294"/>
                </a:cubicBezTo>
                <a:cubicBezTo>
                  <a:pt x="210" y="281"/>
                  <a:pt x="208" y="268"/>
                  <a:pt x="207" y="255"/>
                </a:cubicBezTo>
                <a:cubicBezTo>
                  <a:pt x="208" y="254"/>
                  <a:pt x="209" y="254"/>
                  <a:pt x="210" y="253"/>
                </a:cubicBezTo>
                <a:cubicBezTo>
                  <a:pt x="231" y="231"/>
                  <a:pt x="231" y="231"/>
                  <a:pt x="231" y="231"/>
                </a:cubicBezTo>
                <a:cubicBezTo>
                  <a:pt x="235" y="227"/>
                  <a:pt x="235" y="220"/>
                  <a:pt x="231" y="216"/>
                </a:cubicBezTo>
                <a:cubicBezTo>
                  <a:pt x="227" y="212"/>
                  <a:pt x="220" y="212"/>
                  <a:pt x="216" y="216"/>
                </a:cubicBezTo>
                <a:cubicBezTo>
                  <a:pt x="204" y="228"/>
                  <a:pt x="204" y="228"/>
                  <a:pt x="204" y="228"/>
                </a:cubicBezTo>
                <a:cubicBezTo>
                  <a:pt x="203" y="216"/>
                  <a:pt x="203" y="205"/>
                  <a:pt x="202" y="195"/>
                </a:cubicBezTo>
                <a:cubicBezTo>
                  <a:pt x="203" y="195"/>
                  <a:pt x="204" y="195"/>
                  <a:pt x="205" y="194"/>
                </a:cubicBezTo>
                <a:cubicBezTo>
                  <a:pt x="231" y="167"/>
                  <a:pt x="231" y="167"/>
                  <a:pt x="231" y="167"/>
                </a:cubicBezTo>
                <a:cubicBezTo>
                  <a:pt x="235" y="163"/>
                  <a:pt x="235" y="156"/>
                  <a:pt x="231" y="152"/>
                </a:cubicBezTo>
                <a:cubicBezTo>
                  <a:pt x="227" y="148"/>
                  <a:pt x="220" y="148"/>
                  <a:pt x="216" y="152"/>
                </a:cubicBezTo>
                <a:cubicBezTo>
                  <a:pt x="203" y="165"/>
                  <a:pt x="203" y="165"/>
                  <a:pt x="203" y="165"/>
                </a:cubicBezTo>
                <a:cubicBezTo>
                  <a:pt x="205" y="142"/>
                  <a:pt x="222" y="123"/>
                  <a:pt x="245" y="118"/>
                </a:cubicBezTo>
                <a:close/>
                <a:moveTo>
                  <a:pt x="266" y="118"/>
                </a:moveTo>
                <a:cubicBezTo>
                  <a:pt x="266" y="358"/>
                  <a:pt x="266" y="358"/>
                  <a:pt x="266" y="358"/>
                </a:cubicBezTo>
                <a:cubicBezTo>
                  <a:pt x="267" y="357"/>
                  <a:pt x="268" y="356"/>
                  <a:pt x="269" y="355"/>
                </a:cubicBezTo>
                <a:cubicBezTo>
                  <a:pt x="283" y="339"/>
                  <a:pt x="293" y="311"/>
                  <a:pt x="299" y="282"/>
                </a:cubicBezTo>
                <a:cubicBezTo>
                  <a:pt x="280" y="263"/>
                  <a:pt x="280" y="263"/>
                  <a:pt x="280" y="263"/>
                </a:cubicBezTo>
                <a:cubicBezTo>
                  <a:pt x="276" y="259"/>
                  <a:pt x="276" y="252"/>
                  <a:pt x="280" y="248"/>
                </a:cubicBezTo>
                <a:cubicBezTo>
                  <a:pt x="284" y="244"/>
                  <a:pt x="291" y="244"/>
                  <a:pt x="295" y="248"/>
                </a:cubicBezTo>
                <a:cubicBezTo>
                  <a:pt x="303" y="256"/>
                  <a:pt x="303" y="256"/>
                  <a:pt x="303" y="256"/>
                </a:cubicBezTo>
                <a:cubicBezTo>
                  <a:pt x="305" y="241"/>
                  <a:pt x="307" y="226"/>
                  <a:pt x="307" y="213"/>
                </a:cubicBezTo>
                <a:cubicBezTo>
                  <a:pt x="305" y="212"/>
                  <a:pt x="303" y="212"/>
                  <a:pt x="301" y="210"/>
                </a:cubicBezTo>
                <a:cubicBezTo>
                  <a:pt x="280" y="189"/>
                  <a:pt x="280" y="189"/>
                  <a:pt x="280" y="189"/>
                </a:cubicBezTo>
                <a:cubicBezTo>
                  <a:pt x="276" y="184"/>
                  <a:pt x="276" y="178"/>
                  <a:pt x="280" y="173"/>
                </a:cubicBezTo>
                <a:cubicBezTo>
                  <a:pt x="284" y="169"/>
                  <a:pt x="291" y="169"/>
                  <a:pt x="295" y="173"/>
                </a:cubicBezTo>
                <a:cubicBezTo>
                  <a:pt x="309" y="187"/>
                  <a:pt x="309" y="187"/>
                  <a:pt x="309" y="187"/>
                </a:cubicBezTo>
                <a:cubicBezTo>
                  <a:pt x="309" y="177"/>
                  <a:pt x="309" y="171"/>
                  <a:pt x="309" y="170"/>
                </a:cubicBezTo>
                <a:cubicBezTo>
                  <a:pt x="309" y="145"/>
                  <a:pt x="291" y="123"/>
                  <a:pt x="266" y="11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70"/>
                </a:moveTo>
                <a:cubicBezTo>
                  <a:pt x="330" y="129"/>
                  <a:pt x="297" y="96"/>
                  <a:pt x="256" y="96"/>
                </a:cubicBezTo>
                <a:cubicBezTo>
                  <a:pt x="214" y="96"/>
                  <a:pt x="181" y="129"/>
                  <a:pt x="181" y="170"/>
                </a:cubicBezTo>
                <a:cubicBezTo>
                  <a:pt x="181" y="176"/>
                  <a:pt x="177" y="318"/>
                  <a:pt x="226" y="369"/>
                </a:cubicBezTo>
                <a:cubicBezTo>
                  <a:pt x="228" y="371"/>
                  <a:pt x="235" y="379"/>
                  <a:pt x="245" y="382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82"/>
                  <a:pt x="266" y="382"/>
                  <a:pt x="266" y="382"/>
                </a:cubicBezTo>
                <a:cubicBezTo>
                  <a:pt x="272" y="380"/>
                  <a:pt x="279" y="376"/>
                  <a:pt x="285" y="369"/>
                </a:cubicBezTo>
                <a:cubicBezTo>
                  <a:pt x="331" y="316"/>
                  <a:pt x="330" y="176"/>
                  <a:pt x="330" y="1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53" name="Group 627"/>
          <p:cNvGrpSpPr>
            <a:grpSpLocks noChangeAspect="1"/>
          </p:cNvGrpSpPr>
          <p:nvPr/>
        </p:nvGrpSpPr>
        <p:grpSpPr bwMode="auto">
          <a:xfrm>
            <a:off x="9883917" y="2051054"/>
            <a:ext cx="368712" cy="367631"/>
            <a:chOff x="4183" y="2415"/>
            <a:chExt cx="341" cy="340"/>
          </a:xfrm>
          <a:solidFill>
            <a:schemeClr val="accent1"/>
          </a:solidFill>
        </p:grpSpPr>
        <p:sp>
          <p:nvSpPr>
            <p:cNvPr id="554" name="Freeform 628"/>
            <p:cNvSpPr>
              <a:spLocks noEditPoints="1"/>
            </p:cNvSpPr>
            <p:nvPr/>
          </p:nvSpPr>
          <p:spPr bwMode="auto">
            <a:xfrm>
              <a:off x="4183" y="241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5" name="Freeform 629"/>
            <p:cNvSpPr>
              <a:spLocks noEditPoints="1"/>
            </p:cNvSpPr>
            <p:nvPr/>
          </p:nvSpPr>
          <p:spPr bwMode="auto">
            <a:xfrm>
              <a:off x="4301" y="2479"/>
              <a:ext cx="102" cy="212"/>
            </a:xfrm>
            <a:custGeom>
              <a:avLst/>
              <a:gdLst>
                <a:gd name="T0" fmla="*/ 153 w 154"/>
                <a:gd name="T1" fmla="*/ 74 h 320"/>
                <a:gd name="T2" fmla="*/ 79 w 154"/>
                <a:gd name="T3" fmla="*/ 0 h 320"/>
                <a:gd name="T4" fmla="*/ 4 w 154"/>
                <a:gd name="T5" fmla="*/ 74 h 320"/>
                <a:gd name="T6" fmla="*/ 49 w 154"/>
                <a:gd name="T7" fmla="*/ 273 h 320"/>
                <a:gd name="T8" fmla="*/ 68 w 154"/>
                <a:gd name="T9" fmla="*/ 286 h 320"/>
                <a:gd name="T10" fmla="*/ 68 w 154"/>
                <a:gd name="T11" fmla="*/ 309 h 320"/>
                <a:gd name="T12" fmla="*/ 79 w 154"/>
                <a:gd name="T13" fmla="*/ 320 h 320"/>
                <a:gd name="T14" fmla="*/ 89 w 154"/>
                <a:gd name="T15" fmla="*/ 309 h 320"/>
                <a:gd name="T16" fmla="*/ 89 w 154"/>
                <a:gd name="T17" fmla="*/ 286 h 320"/>
                <a:gd name="T18" fmla="*/ 108 w 154"/>
                <a:gd name="T19" fmla="*/ 273 h 320"/>
                <a:gd name="T20" fmla="*/ 153 w 154"/>
                <a:gd name="T21" fmla="*/ 74 h 320"/>
                <a:gd name="T22" fmla="*/ 66 w 154"/>
                <a:gd name="T23" fmla="*/ 260 h 320"/>
                <a:gd name="T24" fmla="*/ 65 w 154"/>
                <a:gd name="T25" fmla="*/ 259 h 320"/>
                <a:gd name="T26" fmla="*/ 43 w 154"/>
                <a:gd name="T27" fmla="*/ 221 h 320"/>
                <a:gd name="T28" fmla="*/ 44 w 154"/>
                <a:gd name="T29" fmla="*/ 220 h 320"/>
                <a:gd name="T30" fmla="*/ 49 w 154"/>
                <a:gd name="T31" fmla="*/ 214 h 320"/>
                <a:gd name="T32" fmla="*/ 48 w 154"/>
                <a:gd name="T33" fmla="*/ 199 h 320"/>
                <a:gd name="T34" fmla="*/ 36 w 154"/>
                <a:gd name="T35" fmla="*/ 198 h 320"/>
                <a:gd name="T36" fmla="*/ 30 w 154"/>
                <a:gd name="T37" fmla="*/ 159 h 320"/>
                <a:gd name="T38" fmla="*/ 33 w 154"/>
                <a:gd name="T39" fmla="*/ 157 h 320"/>
                <a:gd name="T40" fmla="*/ 54 w 154"/>
                <a:gd name="T41" fmla="*/ 135 h 320"/>
                <a:gd name="T42" fmla="*/ 54 w 154"/>
                <a:gd name="T43" fmla="*/ 120 h 320"/>
                <a:gd name="T44" fmla="*/ 39 w 154"/>
                <a:gd name="T45" fmla="*/ 120 h 320"/>
                <a:gd name="T46" fmla="*/ 27 w 154"/>
                <a:gd name="T47" fmla="*/ 132 h 320"/>
                <a:gd name="T48" fmla="*/ 25 w 154"/>
                <a:gd name="T49" fmla="*/ 99 h 320"/>
                <a:gd name="T50" fmla="*/ 28 w 154"/>
                <a:gd name="T51" fmla="*/ 98 h 320"/>
                <a:gd name="T52" fmla="*/ 54 w 154"/>
                <a:gd name="T53" fmla="*/ 71 h 320"/>
                <a:gd name="T54" fmla="*/ 54 w 154"/>
                <a:gd name="T55" fmla="*/ 56 h 320"/>
                <a:gd name="T56" fmla="*/ 39 w 154"/>
                <a:gd name="T57" fmla="*/ 56 h 320"/>
                <a:gd name="T58" fmla="*/ 26 w 154"/>
                <a:gd name="T59" fmla="*/ 69 h 320"/>
                <a:gd name="T60" fmla="*/ 68 w 154"/>
                <a:gd name="T61" fmla="*/ 22 h 320"/>
                <a:gd name="T62" fmla="*/ 68 w 154"/>
                <a:gd name="T63" fmla="*/ 262 h 320"/>
                <a:gd name="T64" fmla="*/ 66 w 154"/>
                <a:gd name="T65" fmla="*/ 260 h 320"/>
                <a:gd name="T66" fmla="*/ 92 w 154"/>
                <a:gd name="T67" fmla="*/ 259 h 320"/>
                <a:gd name="T68" fmla="*/ 89 w 154"/>
                <a:gd name="T69" fmla="*/ 262 h 320"/>
                <a:gd name="T70" fmla="*/ 89 w 154"/>
                <a:gd name="T71" fmla="*/ 22 h 320"/>
                <a:gd name="T72" fmla="*/ 132 w 154"/>
                <a:gd name="T73" fmla="*/ 74 h 320"/>
                <a:gd name="T74" fmla="*/ 132 w 154"/>
                <a:gd name="T75" fmla="*/ 91 h 320"/>
                <a:gd name="T76" fmla="*/ 118 w 154"/>
                <a:gd name="T77" fmla="*/ 77 h 320"/>
                <a:gd name="T78" fmla="*/ 103 w 154"/>
                <a:gd name="T79" fmla="*/ 77 h 320"/>
                <a:gd name="T80" fmla="*/ 103 w 154"/>
                <a:gd name="T81" fmla="*/ 93 h 320"/>
                <a:gd name="T82" fmla="*/ 124 w 154"/>
                <a:gd name="T83" fmla="*/ 114 h 320"/>
                <a:gd name="T84" fmla="*/ 130 w 154"/>
                <a:gd name="T85" fmla="*/ 117 h 320"/>
                <a:gd name="T86" fmla="*/ 126 w 154"/>
                <a:gd name="T87" fmla="*/ 160 h 320"/>
                <a:gd name="T88" fmla="*/ 118 w 154"/>
                <a:gd name="T89" fmla="*/ 152 h 320"/>
                <a:gd name="T90" fmla="*/ 103 w 154"/>
                <a:gd name="T91" fmla="*/ 152 h 320"/>
                <a:gd name="T92" fmla="*/ 103 w 154"/>
                <a:gd name="T93" fmla="*/ 167 h 320"/>
                <a:gd name="T94" fmla="*/ 122 w 154"/>
                <a:gd name="T95" fmla="*/ 186 h 320"/>
                <a:gd name="T96" fmla="*/ 92 w 154"/>
                <a:gd name="T97" fmla="*/ 25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4" h="320">
                  <a:moveTo>
                    <a:pt x="153" y="74"/>
                  </a:moveTo>
                  <a:cubicBezTo>
                    <a:pt x="153" y="33"/>
                    <a:pt x="120" y="0"/>
                    <a:pt x="79" y="0"/>
                  </a:cubicBezTo>
                  <a:cubicBezTo>
                    <a:pt x="37" y="0"/>
                    <a:pt x="4" y="33"/>
                    <a:pt x="4" y="74"/>
                  </a:cubicBezTo>
                  <a:cubicBezTo>
                    <a:pt x="4" y="80"/>
                    <a:pt x="0" y="222"/>
                    <a:pt x="49" y="273"/>
                  </a:cubicBezTo>
                  <a:cubicBezTo>
                    <a:pt x="51" y="275"/>
                    <a:pt x="58" y="283"/>
                    <a:pt x="68" y="286"/>
                  </a:cubicBezTo>
                  <a:cubicBezTo>
                    <a:pt x="68" y="309"/>
                    <a:pt x="68" y="309"/>
                    <a:pt x="68" y="309"/>
                  </a:cubicBezTo>
                  <a:cubicBezTo>
                    <a:pt x="68" y="315"/>
                    <a:pt x="73" y="320"/>
                    <a:pt x="79" y="320"/>
                  </a:cubicBezTo>
                  <a:cubicBezTo>
                    <a:pt x="85" y="320"/>
                    <a:pt x="89" y="315"/>
                    <a:pt x="89" y="309"/>
                  </a:cubicBezTo>
                  <a:cubicBezTo>
                    <a:pt x="89" y="286"/>
                    <a:pt x="89" y="286"/>
                    <a:pt x="89" y="286"/>
                  </a:cubicBezTo>
                  <a:cubicBezTo>
                    <a:pt x="95" y="284"/>
                    <a:pt x="102" y="280"/>
                    <a:pt x="108" y="273"/>
                  </a:cubicBezTo>
                  <a:cubicBezTo>
                    <a:pt x="154" y="220"/>
                    <a:pt x="153" y="80"/>
                    <a:pt x="153" y="74"/>
                  </a:cubicBezTo>
                  <a:close/>
                  <a:moveTo>
                    <a:pt x="66" y="260"/>
                  </a:moveTo>
                  <a:cubicBezTo>
                    <a:pt x="66" y="259"/>
                    <a:pt x="65" y="259"/>
                    <a:pt x="65" y="259"/>
                  </a:cubicBezTo>
                  <a:cubicBezTo>
                    <a:pt x="56" y="250"/>
                    <a:pt x="49" y="236"/>
                    <a:pt x="43" y="221"/>
                  </a:cubicBezTo>
                  <a:cubicBezTo>
                    <a:pt x="43" y="220"/>
                    <a:pt x="44" y="220"/>
                    <a:pt x="44" y="220"/>
                  </a:cubicBezTo>
                  <a:cubicBezTo>
                    <a:pt x="49" y="214"/>
                    <a:pt x="49" y="214"/>
                    <a:pt x="49" y="214"/>
                  </a:cubicBezTo>
                  <a:cubicBezTo>
                    <a:pt x="53" y="210"/>
                    <a:pt x="52" y="203"/>
                    <a:pt x="48" y="199"/>
                  </a:cubicBezTo>
                  <a:cubicBezTo>
                    <a:pt x="45" y="196"/>
                    <a:pt x="40" y="196"/>
                    <a:pt x="36" y="198"/>
                  </a:cubicBezTo>
                  <a:cubicBezTo>
                    <a:pt x="33" y="185"/>
                    <a:pt x="31" y="172"/>
                    <a:pt x="30" y="159"/>
                  </a:cubicBezTo>
                  <a:cubicBezTo>
                    <a:pt x="31" y="158"/>
                    <a:pt x="32" y="158"/>
                    <a:pt x="33" y="157"/>
                  </a:cubicBezTo>
                  <a:cubicBezTo>
                    <a:pt x="54" y="135"/>
                    <a:pt x="54" y="135"/>
                    <a:pt x="54" y="135"/>
                  </a:cubicBezTo>
                  <a:cubicBezTo>
                    <a:pt x="58" y="131"/>
                    <a:pt x="58" y="124"/>
                    <a:pt x="54" y="120"/>
                  </a:cubicBezTo>
                  <a:cubicBezTo>
                    <a:pt x="50" y="116"/>
                    <a:pt x="43" y="116"/>
                    <a:pt x="39" y="120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26" y="120"/>
                    <a:pt x="26" y="109"/>
                    <a:pt x="25" y="99"/>
                  </a:cubicBezTo>
                  <a:cubicBezTo>
                    <a:pt x="26" y="99"/>
                    <a:pt x="27" y="99"/>
                    <a:pt x="28" y="98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8" y="67"/>
                    <a:pt x="58" y="60"/>
                    <a:pt x="54" y="56"/>
                  </a:cubicBezTo>
                  <a:cubicBezTo>
                    <a:pt x="50" y="52"/>
                    <a:pt x="43" y="52"/>
                    <a:pt x="39" y="56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8" y="46"/>
                    <a:pt x="45" y="27"/>
                    <a:pt x="68" y="22"/>
                  </a:cubicBezTo>
                  <a:cubicBezTo>
                    <a:pt x="68" y="262"/>
                    <a:pt x="68" y="262"/>
                    <a:pt x="68" y="262"/>
                  </a:cubicBezTo>
                  <a:cubicBezTo>
                    <a:pt x="67" y="261"/>
                    <a:pt x="66" y="260"/>
                    <a:pt x="66" y="260"/>
                  </a:cubicBezTo>
                  <a:close/>
                  <a:moveTo>
                    <a:pt x="92" y="259"/>
                  </a:moveTo>
                  <a:cubicBezTo>
                    <a:pt x="91" y="260"/>
                    <a:pt x="90" y="261"/>
                    <a:pt x="89" y="262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114" y="27"/>
                    <a:pt x="132" y="49"/>
                    <a:pt x="132" y="74"/>
                  </a:cubicBezTo>
                  <a:cubicBezTo>
                    <a:pt x="132" y="75"/>
                    <a:pt x="132" y="81"/>
                    <a:pt x="132" y="91"/>
                  </a:cubicBezTo>
                  <a:cubicBezTo>
                    <a:pt x="118" y="77"/>
                    <a:pt x="118" y="77"/>
                    <a:pt x="118" y="77"/>
                  </a:cubicBezTo>
                  <a:cubicBezTo>
                    <a:pt x="114" y="73"/>
                    <a:pt x="107" y="73"/>
                    <a:pt x="103" y="77"/>
                  </a:cubicBezTo>
                  <a:cubicBezTo>
                    <a:pt x="99" y="82"/>
                    <a:pt x="99" y="88"/>
                    <a:pt x="103" y="9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6" y="116"/>
                    <a:pt x="128" y="116"/>
                    <a:pt x="130" y="117"/>
                  </a:cubicBezTo>
                  <a:cubicBezTo>
                    <a:pt x="130" y="130"/>
                    <a:pt x="128" y="145"/>
                    <a:pt x="126" y="160"/>
                  </a:cubicBezTo>
                  <a:cubicBezTo>
                    <a:pt x="118" y="152"/>
                    <a:pt x="118" y="152"/>
                    <a:pt x="118" y="152"/>
                  </a:cubicBezTo>
                  <a:cubicBezTo>
                    <a:pt x="114" y="148"/>
                    <a:pt x="107" y="148"/>
                    <a:pt x="103" y="152"/>
                  </a:cubicBezTo>
                  <a:cubicBezTo>
                    <a:pt x="99" y="156"/>
                    <a:pt x="99" y="163"/>
                    <a:pt x="103" y="167"/>
                  </a:cubicBezTo>
                  <a:cubicBezTo>
                    <a:pt x="122" y="186"/>
                    <a:pt x="122" y="186"/>
                    <a:pt x="122" y="186"/>
                  </a:cubicBezTo>
                  <a:cubicBezTo>
                    <a:pt x="116" y="215"/>
                    <a:pt x="106" y="243"/>
                    <a:pt x="92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10" name="TextBox 709"/>
          <p:cNvSpPr txBox="1"/>
          <p:nvPr/>
        </p:nvSpPr>
        <p:spPr>
          <a:xfrm>
            <a:off x="440759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llipsis</a:t>
            </a:r>
          </a:p>
        </p:txBody>
      </p:sp>
      <p:sp>
        <p:nvSpPr>
          <p:cNvPr id="711" name="TextBox 710"/>
          <p:cNvSpPr txBox="1"/>
          <p:nvPr/>
        </p:nvSpPr>
        <p:spPr>
          <a:xfrm>
            <a:off x="2426427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gnet 1</a:t>
            </a:r>
          </a:p>
        </p:txBody>
      </p:sp>
      <p:sp>
        <p:nvSpPr>
          <p:cNvPr id="712" name="TextBox 711"/>
          <p:cNvSpPr txBox="1"/>
          <p:nvPr/>
        </p:nvSpPr>
        <p:spPr>
          <a:xfrm>
            <a:off x="3419261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gnet 2</a:t>
            </a:r>
          </a:p>
        </p:txBody>
      </p:sp>
      <p:sp>
        <p:nvSpPr>
          <p:cNvPr id="713" name="TextBox 712"/>
          <p:cNvSpPr txBox="1"/>
          <p:nvPr/>
        </p:nvSpPr>
        <p:spPr>
          <a:xfrm>
            <a:off x="1433593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gic</a:t>
            </a:r>
          </a:p>
        </p:txBody>
      </p:sp>
      <p:sp>
        <p:nvSpPr>
          <p:cNvPr id="714" name="Freeform 463"/>
          <p:cNvSpPr>
            <a:spLocks noChangeAspect="1" noEditPoints="1"/>
          </p:cNvSpPr>
          <p:nvPr/>
        </p:nvSpPr>
        <p:spPr bwMode="auto">
          <a:xfrm>
            <a:off x="426273" y="4530514"/>
            <a:ext cx="368712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49 w 512"/>
              <a:gd name="T11" fmla="*/ 278 h 512"/>
              <a:gd name="T12" fmla="*/ 128 w 512"/>
              <a:gd name="T13" fmla="*/ 256 h 512"/>
              <a:gd name="T14" fmla="*/ 149 w 512"/>
              <a:gd name="T15" fmla="*/ 235 h 512"/>
              <a:gd name="T16" fmla="*/ 171 w 512"/>
              <a:gd name="T17" fmla="*/ 256 h 512"/>
              <a:gd name="T18" fmla="*/ 149 w 512"/>
              <a:gd name="T19" fmla="*/ 278 h 512"/>
              <a:gd name="T20" fmla="*/ 256 w 512"/>
              <a:gd name="T21" fmla="*/ 278 h 512"/>
              <a:gd name="T22" fmla="*/ 235 w 512"/>
              <a:gd name="T23" fmla="*/ 256 h 512"/>
              <a:gd name="T24" fmla="*/ 256 w 512"/>
              <a:gd name="T25" fmla="*/ 235 h 512"/>
              <a:gd name="T26" fmla="*/ 277 w 512"/>
              <a:gd name="T27" fmla="*/ 256 h 512"/>
              <a:gd name="T28" fmla="*/ 256 w 512"/>
              <a:gd name="T29" fmla="*/ 278 h 512"/>
              <a:gd name="T30" fmla="*/ 363 w 512"/>
              <a:gd name="T31" fmla="*/ 278 h 512"/>
              <a:gd name="T32" fmla="*/ 341 w 512"/>
              <a:gd name="T33" fmla="*/ 256 h 512"/>
              <a:gd name="T34" fmla="*/ 363 w 512"/>
              <a:gd name="T35" fmla="*/ 235 h 512"/>
              <a:gd name="T36" fmla="*/ 384 w 512"/>
              <a:gd name="T37" fmla="*/ 256 h 512"/>
              <a:gd name="T38" fmla="*/ 363 w 512"/>
              <a:gd name="T39" fmla="*/ 2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49" y="278"/>
                </a:moveTo>
                <a:cubicBezTo>
                  <a:pt x="138" y="278"/>
                  <a:pt x="128" y="268"/>
                  <a:pt x="128" y="256"/>
                </a:cubicBezTo>
                <a:cubicBezTo>
                  <a:pt x="128" y="245"/>
                  <a:pt x="138" y="235"/>
                  <a:pt x="149" y="235"/>
                </a:cubicBezTo>
                <a:cubicBezTo>
                  <a:pt x="161" y="235"/>
                  <a:pt x="171" y="245"/>
                  <a:pt x="171" y="256"/>
                </a:cubicBezTo>
                <a:cubicBezTo>
                  <a:pt x="171" y="268"/>
                  <a:pt x="161" y="278"/>
                  <a:pt x="149" y="278"/>
                </a:cubicBezTo>
                <a:close/>
                <a:moveTo>
                  <a:pt x="256" y="278"/>
                </a:moveTo>
                <a:cubicBezTo>
                  <a:pt x="244" y="278"/>
                  <a:pt x="235" y="268"/>
                  <a:pt x="235" y="256"/>
                </a:cubicBezTo>
                <a:cubicBezTo>
                  <a:pt x="235" y="245"/>
                  <a:pt x="244" y="235"/>
                  <a:pt x="256" y="235"/>
                </a:cubicBezTo>
                <a:cubicBezTo>
                  <a:pt x="268" y="235"/>
                  <a:pt x="277" y="245"/>
                  <a:pt x="277" y="256"/>
                </a:cubicBezTo>
                <a:cubicBezTo>
                  <a:pt x="277" y="268"/>
                  <a:pt x="268" y="278"/>
                  <a:pt x="256" y="278"/>
                </a:cubicBezTo>
                <a:close/>
                <a:moveTo>
                  <a:pt x="363" y="278"/>
                </a:moveTo>
                <a:cubicBezTo>
                  <a:pt x="351" y="278"/>
                  <a:pt x="341" y="268"/>
                  <a:pt x="341" y="256"/>
                </a:cubicBezTo>
                <a:cubicBezTo>
                  <a:pt x="341" y="245"/>
                  <a:pt x="351" y="235"/>
                  <a:pt x="363" y="235"/>
                </a:cubicBezTo>
                <a:cubicBezTo>
                  <a:pt x="374" y="235"/>
                  <a:pt x="384" y="245"/>
                  <a:pt x="384" y="256"/>
                </a:cubicBezTo>
                <a:cubicBezTo>
                  <a:pt x="384" y="268"/>
                  <a:pt x="374" y="278"/>
                  <a:pt x="363" y="2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15" name="Group 466"/>
          <p:cNvGrpSpPr>
            <a:grpSpLocks noChangeAspect="1"/>
          </p:cNvGrpSpPr>
          <p:nvPr/>
        </p:nvGrpSpPr>
        <p:grpSpPr bwMode="auto">
          <a:xfrm>
            <a:off x="925357" y="4530514"/>
            <a:ext cx="367631" cy="367631"/>
            <a:chOff x="6651" y="1616"/>
            <a:chExt cx="340" cy="340"/>
          </a:xfrm>
          <a:solidFill>
            <a:schemeClr val="accent5"/>
          </a:solidFill>
        </p:grpSpPr>
        <p:sp>
          <p:nvSpPr>
            <p:cNvPr id="716" name="Freeform 467"/>
            <p:cNvSpPr>
              <a:spLocks noEditPoints="1"/>
            </p:cNvSpPr>
            <p:nvPr/>
          </p:nvSpPr>
          <p:spPr bwMode="auto">
            <a:xfrm>
              <a:off x="6651" y="1616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7" name="Freeform 468"/>
            <p:cNvSpPr>
              <a:spLocks noEditPoints="1"/>
            </p:cNvSpPr>
            <p:nvPr/>
          </p:nvSpPr>
          <p:spPr bwMode="auto">
            <a:xfrm>
              <a:off x="6736" y="1772"/>
              <a:ext cx="170" cy="29"/>
            </a:xfrm>
            <a:custGeom>
              <a:avLst/>
              <a:gdLst>
                <a:gd name="T0" fmla="*/ 128 w 256"/>
                <a:gd name="T1" fmla="*/ 43 h 43"/>
                <a:gd name="T2" fmla="*/ 107 w 256"/>
                <a:gd name="T3" fmla="*/ 21 h 43"/>
                <a:gd name="T4" fmla="*/ 128 w 256"/>
                <a:gd name="T5" fmla="*/ 0 h 43"/>
                <a:gd name="T6" fmla="*/ 149 w 256"/>
                <a:gd name="T7" fmla="*/ 21 h 43"/>
                <a:gd name="T8" fmla="*/ 128 w 256"/>
                <a:gd name="T9" fmla="*/ 43 h 43"/>
                <a:gd name="T10" fmla="*/ 256 w 256"/>
                <a:gd name="T11" fmla="*/ 21 h 43"/>
                <a:gd name="T12" fmla="*/ 235 w 256"/>
                <a:gd name="T13" fmla="*/ 0 h 43"/>
                <a:gd name="T14" fmla="*/ 213 w 256"/>
                <a:gd name="T15" fmla="*/ 21 h 43"/>
                <a:gd name="T16" fmla="*/ 235 w 256"/>
                <a:gd name="T17" fmla="*/ 43 h 43"/>
                <a:gd name="T18" fmla="*/ 256 w 256"/>
                <a:gd name="T19" fmla="*/ 21 h 43"/>
                <a:gd name="T20" fmla="*/ 43 w 256"/>
                <a:gd name="T21" fmla="*/ 21 h 43"/>
                <a:gd name="T22" fmla="*/ 21 w 256"/>
                <a:gd name="T23" fmla="*/ 0 h 43"/>
                <a:gd name="T24" fmla="*/ 0 w 256"/>
                <a:gd name="T25" fmla="*/ 21 h 43"/>
                <a:gd name="T26" fmla="*/ 21 w 256"/>
                <a:gd name="T27" fmla="*/ 43 h 43"/>
                <a:gd name="T28" fmla="*/ 43 w 256"/>
                <a:gd name="T29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43">
                  <a:moveTo>
                    <a:pt x="128" y="43"/>
                  </a:moveTo>
                  <a:cubicBezTo>
                    <a:pt x="116" y="43"/>
                    <a:pt x="107" y="33"/>
                    <a:pt x="107" y="21"/>
                  </a:cubicBezTo>
                  <a:cubicBezTo>
                    <a:pt x="107" y="10"/>
                    <a:pt x="116" y="0"/>
                    <a:pt x="128" y="0"/>
                  </a:cubicBezTo>
                  <a:cubicBezTo>
                    <a:pt x="140" y="0"/>
                    <a:pt x="149" y="10"/>
                    <a:pt x="149" y="21"/>
                  </a:cubicBezTo>
                  <a:cubicBezTo>
                    <a:pt x="149" y="33"/>
                    <a:pt x="140" y="43"/>
                    <a:pt x="128" y="43"/>
                  </a:cubicBezTo>
                  <a:close/>
                  <a:moveTo>
                    <a:pt x="256" y="21"/>
                  </a:moveTo>
                  <a:cubicBezTo>
                    <a:pt x="256" y="10"/>
                    <a:pt x="246" y="0"/>
                    <a:pt x="235" y="0"/>
                  </a:cubicBezTo>
                  <a:cubicBezTo>
                    <a:pt x="223" y="0"/>
                    <a:pt x="213" y="10"/>
                    <a:pt x="213" y="21"/>
                  </a:cubicBezTo>
                  <a:cubicBezTo>
                    <a:pt x="213" y="33"/>
                    <a:pt x="223" y="43"/>
                    <a:pt x="235" y="43"/>
                  </a:cubicBezTo>
                  <a:cubicBezTo>
                    <a:pt x="246" y="43"/>
                    <a:pt x="256" y="33"/>
                    <a:pt x="256" y="21"/>
                  </a:cubicBezTo>
                  <a:close/>
                  <a:moveTo>
                    <a:pt x="43" y="21"/>
                  </a:moveTo>
                  <a:cubicBezTo>
                    <a:pt x="43" y="10"/>
                    <a:pt x="33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33"/>
                    <a:pt x="10" y="43"/>
                    <a:pt x="21" y="43"/>
                  </a:cubicBezTo>
                  <a:cubicBezTo>
                    <a:pt x="33" y="43"/>
                    <a:pt x="43" y="33"/>
                    <a:pt x="4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18" name="Freeform 645"/>
          <p:cNvSpPr>
            <a:spLocks noChangeAspect="1" noEditPoints="1"/>
          </p:cNvSpPr>
          <p:nvPr/>
        </p:nvSpPr>
        <p:spPr bwMode="auto">
          <a:xfrm>
            <a:off x="1423360" y="4530514"/>
            <a:ext cx="367041" cy="367041"/>
          </a:xfrm>
          <a:custGeom>
            <a:avLst/>
            <a:gdLst>
              <a:gd name="T0" fmla="*/ 222 w 512"/>
              <a:gd name="T1" fmla="*/ 217 h 512"/>
              <a:gd name="T2" fmla="*/ 221 w 512"/>
              <a:gd name="T3" fmla="*/ 126 h 512"/>
              <a:gd name="T4" fmla="*/ 234 w 512"/>
              <a:gd name="T5" fmla="*/ 213 h 512"/>
              <a:gd name="T6" fmla="*/ 237 w 512"/>
              <a:gd name="T7" fmla="*/ 220 h 512"/>
              <a:gd name="T8" fmla="*/ 245 w 512"/>
              <a:gd name="T9" fmla="*/ 224 h 512"/>
              <a:gd name="T10" fmla="*/ 266 w 512"/>
              <a:gd name="T11" fmla="*/ 224 h 512"/>
              <a:gd name="T12" fmla="*/ 274 w 512"/>
              <a:gd name="T13" fmla="*/ 220 h 512"/>
              <a:gd name="T14" fmla="*/ 277 w 512"/>
              <a:gd name="T15" fmla="*/ 213 h 512"/>
              <a:gd name="T16" fmla="*/ 290 w 512"/>
              <a:gd name="T17" fmla="*/ 126 h 512"/>
              <a:gd name="T18" fmla="*/ 290 w 512"/>
              <a:gd name="T19" fmla="*/ 217 h 512"/>
              <a:gd name="T20" fmla="*/ 290 w 512"/>
              <a:gd name="T21" fmla="*/ 231 h 512"/>
              <a:gd name="T22" fmla="*/ 294 w 512"/>
              <a:gd name="T23" fmla="*/ 235 h 512"/>
              <a:gd name="T24" fmla="*/ 256 w 512"/>
              <a:gd name="T25" fmla="*/ 234 h 512"/>
              <a:gd name="T26" fmla="*/ 217 w 512"/>
              <a:gd name="T27" fmla="*/ 235 h 512"/>
              <a:gd name="T28" fmla="*/ 221 w 512"/>
              <a:gd name="T29" fmla="*/ 231 h 512"/>
              <a:gd name="T30" fmla="*/ 222 w 512"/>
              <a:gd name="T31" fmla="*/ 217 h 512"/>
              <a:gd name="T32" fmla="*/ 204 w 512"/>
              <a:gd name="T33" fmla="*/ 309 h 512"/>
              <a:gd name="T34" fmla="*/ 194 w 512"/>
              <a:gd name="T35" fmla="*/ 394 h 512"/>
              <a:gd name="T36" fmla="*/ 317 w 512"/>
              <a:gd name="T37" fmla="*/ 394 h 512"/>
              <a:gd name="T38" fmla="*/ 307 w 512"/>
              <a:gd name="T39" fmla="*/ 309 h 512"/>
              <a:gd name="T40" fmla="*/ 204 w 512"/>
              <a:gd name="T41" fmla="*/ 309 h 512"/>
              <a:gd name="T42" fmla="*/ 309 w 512"/>
              <a:gd name="T43" fmla="*/ 288 h 512"/>
              <a:gd name="T44" fmla="*/ 316 w 512"/>
              <a:gd name="T45" fmla="*/ 259 h 512"/>
              <a:gd name="T46" fmla="*/ 256 w 512"/>
              <a:gd name="T47" fmla="*/ 256 h 512"/>
              <a:gd name="T48" fmla="*/ 195 w 512"/>
              <a:gd name="T49" fmla="*/ 259 h 512"/>
              <a:gd name="T50" fmla="*/ 203 w 512"/>
              <a:gd name="T51" fmla="*/ 288 h 512"/>
              <a:gd name="T52" fmla="*/ 309 w 512"/>
              <a:gd name="T53" fmla="*/ 288 h 512"/>
              <a:gd name="T54" fmla="*/ 512 w 512"/>
              <a:gd name="T55" fmla="*/ 256 h 512"/>
              <a:gd name="T56" fmla="*/ 256 w 512"/>
              <a:gd name="T57" fmla="*/ 512 h 512"/>
              <a:gd name="T58" fmla="*/ 0 w 512"/>
              <a:gd name="T59" fmla="*/ 256 h 512"/>
              <a:gd name="T60" fmla="*/ 256 w 512"/>
              <a:gd name="T61" fmla="*/ 0 h 512"/>
              <a:gd name="T62" fmla="*/ 512 w 512"/>
              <a:gd name="T63" fmla="*/ 256 h 512"/>
              <a:gd name="T64" fmla="*/ 366 w 512"/>
              <a:gd name="T65" fmla="*/ 246 h 512"/>
              <a:gd name="T66" fmla="*/ 319 w 512"/>
              <a:gd name="T67" fmla="*/ 237 h 512"/>
              <a:gd name="T68" fmla="*/ 311 w 512"/>
              <a:gd name="T69" fmla="*/ 223 h 512"/>
              <a:gd name="T70" fmla="*/ 295 w 512"/>
              <a:gd name="T71" fmla="*/ 99 h 512"/>
              <a:gd name="T72" fmla="*/ 287 w 512"/>
              <a:gd name="T73" fmla="*/ 96 h 512"/>
              <a:gd name="T74" fmla="*/ 279 w 512"/>
              <a:gd name="T75" fmla="*/ 100 h 512"/>
              <a:gd name="T76" fmla="*/ 256 w 512"/>
              <a:gd name="T77" fmla="*/ 200 h 512"/>
              <a:gd name="T78" fmla="*/ 233 w 512"/>
              <a:gd name="T79" fmla="*/ 100 h 512"/>
              <a:gd name="T80" fmla="*/ 225 w 512"/>
              <a:gd name="T81" fmla="*/ 96 h 512"/>
              <a:gd name="T82" fmla="*/ 216 w 512"/>
              <a:gd name="T83" fmla="*/ 99 h 512"/>
              <a:gd name="T84" fmla="*/ 200 w 512"/>
              <a:gd name="T85" fmla="*/ 223 h 512"/>
              <a:gd name="T86" fmla="*/ 193 w 512"/>
              <a:gd name="T87" fmla="*/ 237 h 512"/>
              <a:gd name="T88" fmla="*/ 146 w 512"/>
              <a:gd name="T89" fmla="*/ 246 h 512"/>
              <a:gd name="T90" fmla="*/ 139 w 512"/>
              <a:gd name="T91" fmla="*/ 259 h 512"/>
              <a:gd name="T92" fmla="*/ 152 w 512"/>
              <a:gd name="T93" fmla="*/ 266 h 512"/>
              <a:gd name="T94" fmla="*/ 172 w 512"/>
              <a:gd name="T95" fmla="*/ 261 h 512"/>
              <a:gd name="T96" fmla="*/ 173 w 512"/>
              <a:gd name="T97" fmla="*/ 263 h 512"/>
              <a:gd name="T98" fmla="*/ 183 w 512"/>
              <a:gd name="T99" fmla="*/ 309 h 512"/>
              <a:gd name="T100" fmla="*/ 171 w 512"/>
              <a:gd name="T101" fmla="*/ 403 h 512"/>
              <a:gd name="T102" fmla="*/ 173 w 512"/>
              <a:gd name="T103" fmla="*/ 412 h 512"/>
              <a:gd name="T104" fmla="*/ 181 w 512"/>
              <a:gd name="T105" fmla="*/ 416 h 512"/>
              <a:gd name="T106" fmla="*/ 330 w 512"/>
              <a:gd name="T107" fmla="*/ 416 h 512"/>
              <a:gd name="T108" fmla="*/ 339 w 512"/>
              <a:gd name="T109" fmla="*/ 412 h 512"/>
              <a:gd name="T110" fmla="*/ 341 w 512"/>
              <a:gd name="T111" fmla="*/ 403 h 512"/>
              <a:gd name="T112" fmla="*/ 329 w 512"/>
              <a:gd name="T113" fmla="*/ 309 h 512"/>
              <a:gd name="T114" fmla="*/ 338 w 512"/>
              <a:gd name="T115" fmla="*/ 263 h 512"/>
              <a:gd name="T116" fmla="*/ 339 w 512"/>
              <a:gd name="T117" fmla="*/ 261 h 512"/>
              <a:gd name="T118" fmla="*/ 359 w 512"/>
              <a:gd name="T119" fmla="*/ 266 h 512"/>
              <a:gd name="T120" fmla="*/ 362 w 512"/>
              <a:gd name="T121" fmla="*/ 266 h 512"/>
              <a:gd name="T122" fmla="*/ 372 w 512"/>
              <a:gd name="T123" fmla="*/ 259 h 512"/>
              <a:gd name="T124" fmla="*/ 366 w 512"/>
              <a:gd name="T125" fmla="*/ 2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222" y="217"/>
                </a:moveTo>
                <a:cubicBezTo>
                  <a:pt x="220" y="215"/>
                  <a:pt x="190" y="172"/>
                  <a:pt x="221" y="126"/>
                </a:cubicBezTo>
                <a:cubicBezTo>
                  <a:pt x="227" y="142"/>
                  <a:pt x="235" y="170"/>
                  <a:pt x="234" y="213"/>
                </a:cubicBezTo>
                <a:cubicBezTo>
                  <a:pt x="234" y="216"/>
                  <a:pt x="235" y="218"/>
                  <a:pt x="237" y="220"/>
                </a:cubicBezTo>
                <a:cubicBezTo>
                  <a:pt x="239" y="223"/>
                  <a:pt x="242" y="224"/>
                  <a:pt x="245" y="224"/>
                </a:cubicBezTo>
                <a:cubicBezTo>
                  <a:pt x="266" y="224"/>
                  <a:pt x="266" y="224"/>
                  <a:pt x="266" y="224"/>
                </a:cubicBezTo>
                <a:cubicBezTo>
                  <a:pt x="269" y="224"/>
                  <a:pt x="272" y="223"/>
                  <a:pt x="274" y="220"/>
                </a:cubicBezTo>
                <a:cubicBezTo>
                  <a:pt x="276" y="218"/>
                  <a:pt x="277" y="216"/>
                  <a:pt x="277" y="213"/>
                </a:cubicBezTo>
                <a:cubicBezTo>
                  <a:pt x="276" y="170"/>
                  <a:pt x="284" y="142"/>
                  <a:pt x="290" y="126"/>
                </a:cubicBezTo>
                <a:cubicBezTo>
                  <a:pt x="321" y="172"/>
                  <a:pt x="291" y="215"/>
                  <a:pt x="290" y="217"/>
                </a:cubicBezTo>
                <a:cubicBezTo>
                  <a:pt x="287" y="222"/>
                  <a:pt x="287" y="227"/>
                  <a:pt x="290" y="231"/>
                </a:cubicBezTo>
                <a:cubicBezTo>
                  <a:pt x="292" y="233"/>
                  <a:pt x="293" y="234"/>
                  <a:pt x="294" y="235"/>
                </a:cubicBezTo>
                <a:cubicBezTo>
                  <a:pt x="283" y="235"/>
                  <a:pt x="270" y="234"/>
                  <a:pt x="256" y="234"/>
                </a:cubicBezTo>
                <a:cubicBezTo>
                  <a:pt x="241" y="234"/>
                  <a:pt x="229" y="235"/>
                  <a:pt x="217" y="235"/>
                </a:cubicBezTo>
                <a:cubicBezTo>
                  <a:pt x="218" y="234"/>
                  <a:pt x="219" y="232"/>
                  <a:pt x="221" y="231"/>
                </a:cubicBezTo>
                <a:cubicBezTo>
                  <a:pt x="224" y="227"/>
                  <a:pt x="225" y="222"/>
                  <a:pt x="222" y="217"/>
                </a:cubicBezTo>
                <a:close/>
                <a:moveTo>
                  <a:pt x="204" y="309"/>
                </a:moveTo>
                <a:cubicBezTo>
                  <a:pt x="204" y="338"/>
                  <a:pt x="198" y="375"/>
                  <a:pt x="194" y="394"/>
                </a:cubicBezTo>
                <a:cubicBezTo>
                  <a:pt x="317" y="394"/>
                  <a:pt x="317" y="394"/>
                  <a:pt x="317" y="394"/>
                </a:cubicBezTo>
                <a:cubicBezTo>
                  <a:pt x="314" y="375"/>
                  <a:pt x="307" y="338"/>
                  <a:pt x="307" y="309"/>
                </a:cubicBezTo>
                <a:lnTo>
                  <a:pt x="204" y="309"/>
                </a:lnTo>
                <a:close/>
                <a:moveTo>
                  <a:pt x="309" y="288"/>
                </a:moveTo>
                <a:cubicBezTo>
                  <a:pt x="310" y="274"/>
                  <a:pt x="313" y="265"/>
                  <a:pt x="316" y="259"/>
                </a:cubicBezTo>
                <a:cubicBezTo>
                  <a:pt x="301" y="257"/>
                  <a:pt x="281" y="256"/>
                  <a:pt x="256" y="256"/>
                </a:cubicBezTo>
                <a:cubicBezTo>
                  <a:pt x="230" y="256"/>
                  <a:pt x="210" y="257"/>
                  <a:pt x="195" y="259"/>
                </a:cubicBezTo>
                <a:cubicBezTo>
                  <a:pt x="198" y="265"/>
                  <a:pt x="201" y="274"/>
                  <a:pt x="203" y="288"/>
                </a:cubicBezTo>
                <a:lnTo>
                  <a:pt x="309" y="28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6" y="246"/>
                </a:moveTo>
                <a:cubicBezTo>
                  <a:pt x="365" y="245"/>
                  <a:pt x="351" y="241"/>
                  <a:pt x="319" y="237"/>
                </a:cubicBezTo>
                <a:cubicBezTo>
                  <a:pt x="318" y="233"/>
                  <a:pt x="315" y="228"/>
                  <a:pt x="311" y="223"/>
                </a:cubicBezTo>
                <a:cubicBezTo>
                  <a:pt x="322" y="204"/>
                  <a:pt x="343" y="150"/>
                  <a:pt x="295" y="99"/>
                </a:cubicBezTo>
                <a:cubicBezTo>
                  <a:pt x="293" y="97"/>
                  <a:pt x="290" y="95"/>
                  <a:pt x="287" y="96"/>
                </a:cubicBezTo>
                <a:cubicBezTo>
                  <a:pt x="284" y="96"/>
                  <a:pt x="281" y="98"/>
                  <a:pt x="279" y="100"/>
                </a:cubicBezTo>
                <a:cubicBezTo>
                  <a:pt x="278" y="102"/>
                  <a:pt x="257" y="134"/>
                  <a:pt x="256" y="200"/>
                </a:cubicBezTo>
                <a:cubicBezTo>
                  <a:pt x="254" y="134"/>
                  <a:pt x="233" y="102"/>
                  <a:pt x="233" y="100"/>
                </a:cubicBezTo>
                <a:cubicBezTo>
                  <a:pt x="231" y="98"/>
                  <a:pt x="228" y="96"/>
                  <a:pt x="225" y="96"/>
                </a:cubicBezTo>
                <a:cubicBezTo>
                  <a:pt x="221" y="95"/>
                  <a:pt x="218" y="97"/>
                  <a:pt x="216" y="99"/>
                </a:cubicBezTo>
                <a:cubicBezTo>
                  <a:pt x="168" y="150"/>
                  <a:pt x="190" y="204"/>
                  <a:pt x="200" y="223"/>
                </a:cubicBezTo>
                <a:cubicBezTo>
                  <a:pt x="196" y="228"/>
                  <a:pt x="194" y="233"/>
                  <a:pt x="193" y="237"/>
                </a:cubicBezTo>
                <a:cubicBezTo>
                  <a:pt x="161" y="241"/>
                  <a:pt x="146" y="245"/>
                  <a:pt x="146" y="246"/>
                </a:cubicBezTo>
                <a:cubicBezTo>
                  <a:pt x="140" y="247"/>
                  <a:pt x="137" y="254"/>
                  <a:pt x="139" y="259"/>
                </a:cubicBezTo>
                <a:cubicBezTo>
                  <a:pt x="141" y="265"/>
                  <a:pt x="147" y="268"/>
                  <a:pt x="152" y="266"/>
                </a:cubicBezTo>
                <a:cubicBezTo>
                  <a:pt x="153" y="266"/>
                  <a:pt x="159" y="264"/>
                  <a:pt x="172" y="261"/>
                </a:cubicBezTo>
                <a:cubicBezTo>
                  <a:pt x="173" y="262"/>
                  <a:pt x="173" y="262"/>
                  <a:pt x="173" y="263"/>
                </a:cubicBezTo>
                <a:cubicBezTo>
                  <a:pt x="173" y="263"/>
                  <a:pt x="183" y="275"/>
                  <a:pt x="183" y="309"/>
                </a:cubicBezTo>
                <a:cubicBezTo>
                  <a:pt x="183" y="347"/>
                  <a:pt x="171" y="402"/>
                  <a:pt x="171" y="403"/>
                </a:cubicBezTo>
                <a:cubicBezTo>
                  <a:pt x="170" y="406"/>
                  <a:pt x="171" y="409"/>
                  <a:pt x="173" y="412"/>
                </a:cubicBezTo>
                <a:cubicBezTo>
                  <a:pt x="175" y="414"/>
                  <a:pt x="178" y="416"/>
                  <a:pt x="181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4" y="416"/>
                  <a:pt x="337" y="414"/>
                  <a:pt x="339" y="412"/>
                </a:cubicBezTo>
                <a:cubicBezTo>
                  <a:pt x="341" y="409"/>
                  <a:pt x="341" y="406"/>
                  <a:pt x="341" y="403"/>
                </a:cubicBezTo>
                <a:cubicBezTo>
                  <a:pt x="341" y="402"/>
                  <a:pt x="329" y="347"/>
                  <a:pt x="329" y="309"/>
                </a:cubicBezTo>
                <a:cubicBezTo>
                  <a:pt x="329" y="275"/>
                  <a:pt x="338" y="263"/>
                  <a:pt x="338" y="263"/>
                </a:cubicBezTo>
                <a:cubicBezTo>
                  <a:pt x="339" y="262"/>
                  <a:pt x="339" y="262"/>
                  <a:pt x="339" y="261"/>
                </a:cubicBezTo>
                <a:cubicBezTo>
                  <a:pt x="352" y="264"/>
                  <a:pt x="359" y="266"/>
                  <a:pt x="359" y="266"/>
                </a:cubicBezTo>
                <a:cubicBezTo>
                  <a:pt x="360" y="266"/>
                  <a:pt x="361" y="266"/>
                  <a:pt x="362" y="266"/>
                </a:cubicBezTo>
                <a:cubicBezTo>
                  <a:pt x="367" y="266"/>
                  <a:pt x="371" y="264"/>
                  <a:pt x="372" y="259"/>
                </a:cubicBezTo>
                <a:cubicBezTo>
                  <a:pt x="374" y="254"/>
                  <a:pt x="371" y="247"/>
                  <a:pt x="366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19" name="Group 648"/>
          <p:cNvGrpSpPr>
            <a:grpSpLocks noChangeAspect="1"/>
          </p:cNvGrpSpPr>
          <p:nvPr/>
        </p:nvGrpSpPr>
        <p:grpSpPr bwMode="auto">
          <a:xfrm>
            <a:off x="1920773" y="4530514"/>
            <a:ext cx="367041" cy="367041"/>
            <a:chOff x="5899" y="3152"/>
            <a:chExt cx="340" cy="340"/>
          </a:xfrm>
          <a:solidFill>
            <a:schemeClr val="accent1"/>
          </a:solidFill>
        </p:grpSpPr>
        <p:sp>
          <p:nvSpPr>
            <p:cNvPr id="720" name="Freeform 649"/>
            <p:cNvSpPr>
              <a:spLocks noEditPoints="1"/>
            </p:cNvSpPr>
            <p:nvPr/>
          </p:nvSpPr>
          <p:spPr bwMode="auto">
            <a:xfrm>
              <a:off x="5899" y="315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1" name="Freeform 650"/>
            <p:cNvSpPr>
              <a:spLocks noEditPoints="1"/>
            </p:cNvSpPr>
            <p:nvPr/>
          </p:nvSpPr>
          <p:spPr bwMode="auto">
            <a:xfrm>
              <a:off x="5990" y="3215"/>
              <a:ext cx="157" cy="213"/>
            </a:xfrm>
            <a:custGeom>
              <a:avLst/>
              <a:gdLst>
                <a:gd name="T0" fmla="*/ 229 w 237"/>
                <a:gd name="T1" fmla="*/ 151 h 321"/>
                <a:gd name="T2" fmla="*/ 182 w 237"/>
                <a:gd name="T3" fmla="*/ 142 h 321"/>
                <a:gd name="T4" fmla="*/ 174 w 237"/>
                <a:gd name="T5" fmla="*/ 128 h 321"/>
                <a:gd name="T6" fmla="*/ 158 w 237"/>
                <a:gd name="T7" fmla="*/ 4 h 321"/>
                <a:gd name="T8" fmla="*/ 150 w 237"/>
                <a:gd name="T9" fmla="*/ 1 h 321"/>
                <a:gd name="T10" fmla="*/ 142 w 237"/>
                <a:gd name="T11" fmla="*/ 5 h 321"/>
                <a:gd name="T12" fmla="*/ 119 w 237"/>
                <a:gd name="T13" fmla="*/ 105 h 321"/>
                <a:gd name="T14" fmla="*/ 96 w 237"/>
                <a:gd name="T15" fmla="*/ 5 h 321"/>
                <a:gd name="T16" fmla="*/ 88 w 237"/>
                <a:gd name="T17" fmla="*/ 1 h 321"/>
                <a:gd name="T18" fmla="*/ 79 w 237"/>
                <a:gd name="T19" fmla="*/ 4 h 321"/>
                <a:gd name="T20" fmla="*/ 63 w 237"/>
                <a:gd name="T21" fmla="*/ 128 h 321"/>
                <a:gd name="T22" fmla="*/ 56 w 237"/>
                <a:gd name="T23" fmla="*/ 142 h 321"/>
                <a:gd name="T24" fmla="*/ 9 w 237"/>
                <a:gd name="T25" fmla="*/ 151 h 321"/>
                <a:gd name="T26" fmla="*/ 2 w 237"/>
                <a:gd name="T27" fmla="*/ 164 h 321"/>
                <a:gd name="T28" fmla="*/ 15 w 237"/>
                <a:gd name="T29" fmla="*/ 171 h 321"/>
                <a:gd name="T30" fmla="*/ 35 w 237"/>
                <a:gd name="T31" fmla="*/ 166 h 321"/>
                <a:gd name="T32" fmla="*/ 36 w 237"/>
                <a:gd name="T33" fmla="*/ 168 h 321"/>
                <a:gd name="T34" fmla="*/ 46 w 237"/>
                <a:gd name="T35" fmla="*/ 214 h 321"/>
                <a:gd name="T36" fmla="*/ 34 w 237"/>
                <a:gd name="T37" fmla="*/ 308 h 321"/>
                <a:gd name="T38" fmla="*/ 36 w 237"/>
                <a:gd name="T39" fmla="*/ 317 h 321"/>
                <a:gd name="T40" fmla="*/ 44 w 237"/>
                <a:gd name="T41" fmla="*/ 321 h 321"/>
                <a:gd name="T42" fmla="*/ 193 w 237"/>
                <a:gd name="T43" fmla="*/ 321 h 321"/>
                <a:gd name="T44" fmla="*/ 202 w 237"/>
                <a:gd name="T45" fmla="*/ 317 h 321"/>
                <a:gd name="T46" fmla="*/ 204 w 237"/>
                <a:gd name="T47" fmla="*/ 308 h 321"/>
                <a:gd name="T48" fmla="*/ 192 w 237"/>
                <a:gd name="T49" fmla="*/ 214 h 321"/>
                <a:gd name="T50" fmla="*/ 201 w 237"/>
                <a:gd name="T51" fmla="*/ 168 h 321"/>
                <a:gd name="T52" fmla="*/ 202 w 237"/>
                <a:gd name="T53" fmla="*/ 166 h 321"/>
                <a:gd name="T54" fmla="*/ 222 w 237"/>
                <a:gd name="T55" fmla="*/ 171 h 321"/>
                <a:gd name="T56" fmla="*/ 225 w 237"/>
                <a:gd name="T57" fmla="*/ 171 h 321"/>
                <a:gd name="T58" fmla="*/ 235 w 237"/>
                <a:gd name="T59" fmla="*/ 164 h 321"/>
                <a:gd name="T60" fmla="*/ 229 w 237"/>
                <a:gd name="T61" fmla="*/ 151 h 321"/>
                <a:gd name="T62" fmla="*/ 85 w 237"/>
                <a:gd name="T63" fmla="*/ 122 h 321"/>
                <a:gd name="T64" fmla="*/ 84 w 237"/>
                <a:gd name="T65" fmla="*/ 31 h 321"/>
                <a:gd name="T66" fmla="*/ 97 w 237"/>
                <a:gd name="T67" fmla="*/ 118 h 321"/>
                <a:gd name="T68" fmla="*/ 100 w 237"/>
                <a:gd name="T69" fmla="*/ 125 h 321"/>
                <a:gd name="T70" fmla="*/ 108 w 237"/>
                <a:gd name="T71" fmla="*/ 129 h 321"/>
                <a:gd name="T72" fmla="*/ 129 w 237"/>
                <a:gd name="T73" fmla="*/ 129 h 321"/>
                <a:gd name="T74" fmla="*/ 137 w 237"/>
                <a:gd name="T75" fmla="*/ 125 h 321"/>
                <a:gd name="T76" fmla="*/ 140 w 237"/>
                <a:gd name="T77" fmla="*/ 118 h 321"/>
                <a:gd name="T78" fmla="*/ 153 w 237"/>
                <a:gd name="T79" fmla="*/ 31 h 321"/>
                <a:gd name="T80" fmla="*/ 153 w 237"/>
                <a:gd name="T81" fmla="*/ 122 h 321"/>
                <a:gd name="T82" fmla="*/ 153 w 237"/>
                <a:gd name="T83" fmla="*/ 136 h 321"/>
                <a:gd name="T84" fmla="*/ 157 w 237"/>
                <a:gd name="T85" fmla="*/ 140 h 321"/>
                <a:gd name="T86" fmla="*/ 119 w 237"/>
                <a:gd name="T87" fmla="*/ 139 h 321"/>
                <a:gd name="T88" fmla="*/ 80 w 237"/>
                <a:gd name="T89" fmla="*/ 140 h 321"/>
                <a:gd name="T90" fmla="*/ 84 w 237"/>
                <a:gd name="T91" fmla="*/ 136 h 321"/>
                <a:gd name="T92" fmla="*/ 85 w 237"/>
                <a:gd name="T93" fmla="*/ 122 h 321"/>
                <a:gd name="T94" fmla="*/ 57 w 237"/>
                <a:gd name="T95" fmla="*/ 299 h 321"/>
                <a:gd name="T96" fmla="*/ 67 w 237"/>
                <a:gd name="T97" fmla="*/ 214 h 321"/>
                <a:gd name="T98" fmla="*/ 170 w 237"/>
                <a:gd name="T99" fmla="*/ 214 h 321"/>
                <a:gd name="T100" fmla="*/ 180 w 237"/>
                <a:gd name="T101" fmla="*/ 299 h 321"/>
                <a:gd name="T102" fmla="*/ 57 w 237"/>
                <a:gd name="T103" fmla="*/ 299 h 321"/>
                <a:gd name="T104" fmla="*/ 172 w 237"/>
                <a:gd name="T105" fmla="*/ 193 h 321"/>
                <a:gd name="T106" fmla="*/ 66 w 237"/>
                <a:gd name="T107" fmla="*/ 193 h 321"/>
                <a:gd name="T108" fmla="*/ 58 w 237"/>
                <a:gd name="T109" fmla="*/ 164 h 321"/>
                <a:gd name="T110" fmla="*/ 119 w 237"/>
                <a:gd name="T111" fmla="*/ 161 h 321"/>
                <a:gd name="T112" fmla="*/ 179 w 237"/>
                <a:gd name="T113" fmla="*/ 164 h 321"/>
                <a:gd name="T114" fmla="*/ 172 w 237"/>
                <a:gd name="T115" fmla="*/ 19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7" h="321">
                  <a:moveTo>
                    <a:pt x="229" y="151"/>
                  </a:moveTo>
                  <a:cubicBezTo>
                    <a:pt x="228" y="150"/>
                    <a:pt x="214" y="146"/>
                    <a:pt x="182" y="142"/>
                  </a:cubicBezTo>
                  <a:cubicBezTo>
                    <a:pt x="181" y="138"/>
                    <a:pt x="178" y="133"/>
                    <a:pt x="174" y="128"/>
                  </a:cubicBezTo>
                  <a:cubicBezTo>
                    <a:pt x="185" y="109"/>
                    <a:pt x="206" y="55"/>
                    <a:pt x="158" y="4"/>
                  </a:cubicBezTo>
                  <a:cubicBezTo>
                    <a:pt x="156" y="2"/>
                    <a:pt x="153" y="0"/>
                    <a:pt x="150" y="1"/>
                  </a:cubicBezTo>
                  <a:cubicBezTo>
                    <a:pt x="147" y="1"/>
                    <a:pt x="144" y="3"/>
                    <a:pt x="142" y="5"/>
                  </a:cubicBezTo>
                  <a:cubicBezTo>
                    <a:pt x="141" y="7"/>
                    <a:pt x="120" y="39"/>
                    <a:pt x="119" y="105"/>
                  </a:cubicBezTo>
                  <a:cubicBezTo>
                    <a:pt x="117" y="39"/>
                    <a:pt x="96" y="7"/>
                    <a:pt x="96" y="5"/>
                  </a:cubicBezTo>
                  <a:cubicBezTo>
                    <a:pt x="94" y="3"/>
                    <a:pt x="91" y="1"/>
                    <a:pt x="88" y="1"/>
                  </a:cubicBezTo>
                  <a:cubicBezTo>
                    <a:pt x="84" y="0"/>
                    <a:pt x="81" y="2"/>
                    <a:pt x="79" y="4"/>
                  </a:cubicBezTo>
                  <a:cubicBezTo>
                    <a:pt x="31" y="55"/>
                    <a:pt x="53" y="109"/>
                    <a:pt x="63" y="128"/>
                  </a:cubicBezTo>
                  <a:cubicBezTo>
                    <a:pt x="59" y="133"/>
                    <a:pt x="57" y="138"/>
                    <a:pt x="56" y="142"/>
                  </a:cubicBezTo>
                  <a:cubicBezTo>
                    <a:pt x="24" y="146"/>
                    <a:pt x="9" y="150"/>
                    <a:pt x="9" y="151"/>
                  </a:cubicBezTo>
                  <a:cubicBezTo>
                    <a:pt x="3" y="152"/>
                    <a:pt x="0" y="159"/>
                    <a:pt x="2" y="164"/>
                  </a:cubicBezTo>
                  <a:cubicBezTo>
                    <a:pt x="4" y="170"/>
                    <a:pt x="10" y="173"/>
                    <a:pt x="15" y="171"/>
                  </a:cubicBezTo>
                  <a:cubicBezTo>
                    <a:pt x="16" y="171"/>
                    <a:pt x="22" y="169"/>
                    <a:pt x="35" y="166"/>
                  </a:cubicBezTo>
                  <a:cubicBezTo>
                    <a:pt x="36" y="167"/>
                    <a:pt x="36" y="167"/>
                    <a:pt x="36" y="168"/>
                  </a:cubicBezTo>
                  <a:cubicBezTo>
                    <a:pt x="36" y="168"/>
                    <a:pt x="46" y="180"/>
                    <a:pt x="46" y="214"/>
                  </a:cubicBezTo>
                  <a:cubicBezTo>
                    <a:pt x="46" y="252"/>
                    <a:pt x="34" y="307"/>
                    <a:pt x="34" y="308"/>
                  </a:cubicBezTo>
                  <a:cubicBezTo>
                    <a:pt x="33" y="311"/>
                    <a:pt x="34" y="314"/>
                    <a:pt x="36" y="317"/>
                  </a:cubicBezTo>
                  <a:cubicBezTo>
                    <a:pt x="38" y="319"/>
                    <a:pt x="41" y="321"/>
                    <a:pt x="44" y="321"/>
                  </a:cubicBezTo>
                  <a:cubicBezTo>
                    <a:pt x="193" y="321"/>
                    <a:pt x="193" y="321"/>
                    <a:pt x="193" y="321"/>
                  </a:cubicBezTo>
                  <a:cubicBezTo>
                    <a:pt x="197" y="321"/>
                    <a:pt x="200" y="319"/>
                    <a:pt x="202" y="317"/>
                  </a:cubicBezTo>
                  <a:cubicBezTo>
                    <a:pt x="204" y="314"/>
                    <a:pt x="204" y="311"/>
                    <a:pt x="204" y="308"/>
                  </a:cubicBezTo>
                  <a:cubicBezTo>
                    <a:pt x="204" y="307"/>
                    <a:pt x="192" y="252"/>
                    <a:pt x="192" y="214"/>
                  </a:cubicBezTo>
                  <a:cubicBezTo>
                    <a:pt x="192" y="180"/>
                    <a:pt x="201" y="168"/>
                    <a:pt x="201" y="168"/>
                  </a:cubicBezTo>
                  <a:cubicBezTo>
                    <a:pt x="202" y="167"/>
                    <a:pt x="202" y="167"/>
                    <a:pt x="202" y="166"/>
                  </a:cubicBezTo>
                  <a:cubicBezTo>
                    <a:pt x="215" y="169"/>
                    <a:pt x="222" y="171"/>
                    <a:pt x="222" y="171"/>
                  </a:cubicBezTo>
                  <a:cubicBezTo>
                    <a:pt x="223" y="171"/>
                    <a:pt x="224" y="171"/>
                    <a:pt x="225" y="171"/>
                  </a:cubicBezTo>
                  <a:cubicBezTo>
                    <a:pt x="230" y="171"/>
                    <a:pt x="234" y="169"/>
                    <a:pt x="235" y="164"/>
                  </a:cubicBezTo>
                  <a:cubicBezTo>
                    <a:pt x="237" y="159"/>
                    <a:pt x="234" y="152"/>
                    <a:pt x="229" y="151"/>
                  </a:cubicBezTo>
                  <a:close/>
                  <a:moveTo>
                    <a:pt x="85" y="122"/>
                  </a:moveTo>
                  <a:cubicBezTo>
                    <a:pt x="83" y="120"/>
                    <a:pt x="53" y="77"/>
                    <a:pt x="84" y="31"/>
                  </a:cubicBezTo>
                  <a:cubicBezTo>
                    <a:pt x="90" y="47"/>
                    <a:pt x="98" y="75"/>
                    <a:pt x="97" y="118"/>
                  </a:cubicBezTo>
                  <a:cubicBezTo>
                    <a:pt x="97" y="121"/>
                    <a:pt x="98" y="123"/>
                    <a:pt x="100" y="125"/>
                  </a:cubicBezTo>
                  <a:cubicBezTo>
                    <a:pt x="102" y="128"/>
                    <a:pt x="105" y="129"/>
                    <a:pt x="108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132" y="129"/>
                    <a:pt x="135" y="128"/>
                    <a:pt x="137" y="125"/>
                  </a:cubicBezTo>
                  <a:cubicBezTo>
                    <a:pt x="139" y="123"/>
                    <a:pt x="140" y="121"/>
                    <a:pt x="140" y="118"/>
                  </a:cubicBezTo>
                  <a:cubicBezTo>
                    <a:pt x="139" y="75"/>
                    <a:pt x="147" y="47"/>
                    <a:pt x="153" y="31"/>
                  </a:cubicBezTo>
                  <a:cubicBezTo>
                    <a:pt x="184" y="77"/>
                    <a:pt x="154" y="120"/>
                    <a:pt x="153" y="122"/>
                  </a:cubicBezTo>
                  <a:cubicBezTo>
                    <a:pt x="150" y="127"/>
                    <a:pt x="150" y="132"/>
                    <a:pt x="153" y="136"/>
                  </a:cubicBezTo>
                  <a:cubicBezTo>
                    <a:pt x="155" y="138"/>
                    <a:pt x="156" y="139"/>
                    <a:pt x="157" y="140"/>
                  </a:cubicBezTo>
                  <a:cubicBezTo>
                    <a:pt x="146" y="140"/>
                    <a:pt x="133" y="139"/>
                    <a:pt x="119" y="139"/>
                  </a:cubicBezTo>
                  <a:cubicBezTo>
                    <a:pt x="104" y="139"/>
                    <a:pt x="92" y="140"/>
                    <a:pt x="80" y="140"/>
                  </a:cubicBezTo>
                  <a:cubicBezTo>
                    <a:pt x="81" y="139"/>
                    <a:pt x="82" y="137"/>
                    <a:pt x="84" y="136"/>
                  </a:cubicBezTo>
                  <a:cubicBezTo>
                    <a:pt x="87" y="132"/>
                    <a:pt x="88" y="127"/>
                    <a:pt x="85" y="122"/>
                  </a:cubicBezTo>
                  <a:close/>
                  <a:moveTo>
                    <a:pt x="57" y="299"/>
                  </a:moveTo>
                  <a:cubicBezTo>
                    <a:pt x="61" y="280"/>
                    <a:pt x="67" y="243"/>
                    <a:pt x="67" y="214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170" y="243"/>
                    <a:pt x="177" y="280"/>
                    <a:pt x="180" y="299"/>
                  </a:cubicBezTo>
                  <a:lnTo>
                    <a:pt x="57" y="299"/>
                  </a:lnTo>
                  <a:close/>
                  <a:moveTo>
                    <a:pt x="172" y="193"/>
                  </a:moveTo>
                  <a:cubicBezTo>
                    <a:pt x="66" y="193"/>
                    <a:pt x="66" y="193"/>
                    <a:pt x="66" y="193"/>
                  </a:cubicBezTo>
                  <a:cubicBezTo>
                    <a:pt x="64" y="179"/>
                    <a:pt x="61" y="170"/>
                    <a:pt x="58" y="164"/>
                  </a:cubicBezTo>
                  <a:cubicBezTo>
                    <a:pt x="73" y="162"/>
                    <a:pt x="93" y="161"/>
                    <a:pt x="119" y="161"/>
                  </a:cubicBezTo>
                  <a:cubicBezTo>
                    <a:pt x="144" y="161"/>
                    <a:pt x="164" y="162"/>
                    <a:pt x="179" y="164"/>
                  </a:cubicBezTo>
                  <a:cubicBezTo>
                    <a:pt x="176" y="170"/>
                    <a:pt x="173" y="179"/>
                    <a:pt x="172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22" name="Freeform 654"/>
          <p:cNvSpPr>
            <a:spLocks noChangeAspect="1" noEditPoints="1"/>
          </p:cNvSpPr>
          <p:nvPr/>
        </p:nvSpPr>
        <p:spPr bwMode="auto">
          <a:xfrm>
            <a:off x="2418186" y="4530514"/>
            <a:ext cx="367041" cy="367041"/>
          </a:xfrm>
          <a:custGeom>
            <a:avLst/>
            <a:gdLst>
              <a:gd name="T0" fmla="*/ 192 w 512"/>
              <a:gd name="T1" fmla="*/ 353 h 512"/>
              <a:gd name="T2" fmla="*/ 197 w 512"/>
              <a:gd name="T3" fmla="*/ 384 h 512"/>
              <a:gd name="T4" fmla="*/ 161 w 512"/>
              <a:gd name="T5" fmla="*/ 390 h 512"/>
              <a:gd name="T6" fmla="*/ 156 w 512"/>
              <a:gd name="T7" fmla="*/ 360 h 512"/>
              <a:gd name="T8" fmla="*/ 192 w 512"/>
              <a:gd name="T9" fmla="*/ 353 h 512"/>
              <a:gd name="T10" fmla="*/ 256 w 512"/>
              <a:gd name="T11" fmla="*/ 117 h 512"/>
              <a:gd name="T12" fmla="*/ 135 w 512"/>
              <a:gd name="T13" fmla="*/ 237 h 512"/>
              <a:gd name="T14" fmla="*/ 136 w 512"/>
              <a:gd name="T15" fmla="*/ 245 h 512"/>
              <a:gd name="T16" fmla="*/ 136 w 512"/>
              <a:gd name="T17" fmla="*/ 246 h 512"/>
              <a:gd name="T18" fmla="*/ 152 w 512"/>
              <a:gd name="T19" fmla="*/ 339 h 512"/>
              <a:gd name="T20" fmla="*/ 188 w 512"/>
              <a:gd name="T21" fmla="*/ 332 h 512"/>
              <a:gd name="T22" fmla="*/ 174 w 512"/>
              <a:gd name="T23" fmla="*/ 251 h 512"/>
              <a:gd name="T24" fmla="*/ 172 w 512"/>
              <a:gd name="T25" fmla="*/ 237 h 512"/>
              <a:gd name="T26" fmla="*/ 256 w 512"/>
              <a:gd name="T27" fmla="*/ 154 h 512"/>
              <a:gd name="T28" fmla="*/ 339 w 512"/>
              <a:gd name="T29" fmla="*/ 237 h 512"/>
              <a:gd name="T30" fmla="*/ 338 w 512"/>
              <a:gd name="T31" fmla="*/ 250 h 512"/>
              <a:gd name="T32" fmla="*/ 323 w 512"/>
              <a:gd name="T33" fmla="*/ 332 h 512"/>
              <a:gd name="T34" fmla="*/ 359 w 512"/>
              <a:gd name="T35" fmla="*/ 339 h 512"/>
              <a:gd name="T36" fmla="*/ 375 w 512"/>
              <a:gd name="T37" fmla="*/ 245 h 512"/>
              <a:gd name="T38" fmla="*/ 375 w 512"/>
              <a:gd name="T39" fmla="*/ 245 h 512"/>
              <a:gd name="T40" fmla="*/ 376 w 512"/>
              <a:gd name="T41" fmla="*/ 237 h 512"/>
              <a:gd name="T42" fmla="*/ 256 w 512"/>
              <a:gd name="T43" fmla="*/ 117 h 512"/>
              <a:gd name="T44" fmla="*/ 314 w 512"/>
              <a:gd name="T45" fmla="*/ 384 h 512"/>
              <a:gd name="T46" fmla="*/ 351 w 512"/>
              <a:gd name="T47" fmla="*/ 390 h 512"/>
              <a:gd name="T48" fmla="*/ 356 w 512"/>
              <a:gd name="T49" fmla="*/ 360 h 512"/>
              <a:gd name="T50" fmla="*/ 320 w 512"/>
              <a:gd name="T51" fmla="*/ 353 h 512"/>
              <a:gd name="T52" fmla="*/ 314 w 512"/>
              <a:gd name="T53" fmla="*/ 384 h 512"/>
              <a:gd name="T54" fmla="*/ 512 w 512"/>
              <a:gd name="T55" fmla="*/ 256 h 512"/>
              <a:gd name="T56" fmla="*/ 256 w 512"/>
              <a:gd name="T57" fmla="*/ 512 h 512"/>
              <a:gd name="T58" fmla="*/ 0 w 512"/>
              <a:gd name="T59" fmla="*/ 256 h 512"/>
              <a:gd name="T60" fmla="*/ 256 w 512"/>
              <a:gd name="T61" fmla="*/ 0 h 512"/>
              <a:gd name="T62" fmla="*/ 512 w 512"/>
              <a:gd name="T63" fmla="*/ 256 h 512"/>
              <a:gd name="T64" fmla="*/ 397 w 512"/>
              <a:gd name="T65" fmla="*/ 237 h 512"/>
              <a:gd name="T66" fmla="*/ 256 w 512"/>
              <a:gd name="T67" fmla="*/ 96 h 512"/>
              <a:gd name="T68" fmla="*/ 114 w 512"/>
              <a:gd name="T69" fmla="*/ 237 h 512"/>
              <a:gd name="T70" fmla="*/ 115 w 512"/>
              <a:gd name="T71" fmla="*/ 247 h 512"/>
              <a:gd name="T72" fmla="*/ 141 w 512"/>
              <a:gd name="T73" fmla="*/ 404 h 512"/>
              <a:gd name="T74" fmla="*/ 146 w 512"/>
              <a:gd name="T75" fmla="*/ 411 h 512"/>
              <a:gd name="T76" fmla="*/ 154 w 512"/>
              <a:gd name="T77" fmla="*/ 413 h 512"/>
              <a:gd name="T78" fmla="*/ 211 w 512"/>
              <a:gd name="T79" fmla="*/ 403 h 512"/>
              <a:gd name="T80" fmla="*/ 220 w 512"/>
              <a:gd name="T81" fmla="*/ 391 h 512"/>
              <a:gd name="T82" fmla="*/ 195 w 512"/>
              <a:gd name="T83" fmla="*/ 247 h 512"/>
              <a:gd name="T84" fmla="*/ 194 w 512"/>
              <a:gd name="T85" fmla="*/ 237 h 512"/>
              <a:gd name="T86" fmla="*/ 256 w 512"/>
              <a:gd name="T87" fmla="*/ 175 h 512"/>
              <a:gd name="T88" fmla="*/ 318 w 512"/>
              <a:gd name="T89" fmla="*/ 237 h 512"/>
              <a:gd name="T90" fmla="*/ 317 w 512"/>
              <a:gd name="T91" fmla="*/ 247 h 512"/>
              <a:gd name="T92" fmla="*/ 292 w 512"/>
              <a:gd name="T93" fmla="*/ 391 h 512"/>
              <a:gd name="T94" fmla="*/ 300 w 512"/>
              <a:gd name="T95" fmla="*/ 403 h 512"/>
              <a:gd name="T96" fmla="*/ 357 w 512"/>
              <a:gd name="T97" fmla="*/ 413 h 512"/>
              <a:gd name="T98" fmla="*/ 359 w 512"/>
              <a:gd name="T99" fmla="*/ 413 h 512"/>
              <a:gd name="T100" fmla="*/ 365 w 512"/>
              <a:gd name="T101" fmla="*/ 411 h 512"/>
              <a:gd name="T102" fmla="*/ 370 w 512"/>
              <a:gd name="T103" fmla="*/ 404 h 512"/>
              <a:gd name="T104" fmla="*/ 397 w 512"/>
              <a:gd name="T105" fmla="*/ 248 h 512"/>
              <a:gd name="T106" fmla="*/ 397 w 512"/>
              <a:gd name="T107" fmla="*/ 247 h 512"/>
              <a:gd name="T108" fmla="*/ 397 w 512"/>
              <a:gd name="T109" fmla="*/ 23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192" y="353"/>
                </a:moveTo>
                <a:cubicBezTo>
                  <a:pt x="197" y="384"/>
                  <a:pt x="197" y="384"/>
                  <a:pt x="197" y="384"/>
                </a:cubicBezTo>
                <a:cubicBezTo>
                  <a:pt x="161" y="390"/>
                  <a:pt x="161" y="390"/>
                  <a:pt x="161" y="390"/>
                </a:cubicBezTo>
                <a:cubicBezTo>
                  <a:pt x="156" y="360"/>
                  <a:pt x="156" y="360"/>
                  <a:pt x="156" y="360"/>
                </a:cubicBezTo>
                <a:lnTo>
                  <a:pt x="192" y="353"/>
                </a:lnTo>
                <a:close/>
                <a:moveTo>
                  <a:pt x="256" y="117"/>
                </a:moveTo>
                <a:cubicBezTo>
                  <a:pt x="189" y="117"/>
                  <a:pt x="135" y="171"/>
                  <a:pt x="135" y="237"/>
                </a:cubicBezTo>
                <a:cubicBezTo>
                  <a:pt x="135" y="240"/>
                  <a:pt x="136" y="242"/>
                  <a:pt x="136" y="245"/>
                </a:cubicBezTo>
                <a:cubicBezTo>
                  <a:pt x="136" y="246"/>
                  <a:pt x="136" y="246"/>
                  <a:pt x="136" y="246"/>
                </a:cubicBezTo>
                <a:cubicBezTo>
                  <a:pt x="152" y="339"/>
                  <a:pt x="152" y="339"/>
                  <a:pt x="152" y="339"/>
                </a:cubicBezTo>
                <a:cubicBezTo>
                  <a:pt x="188" y="332"/>
                  <a:pt x="188" y="332"/>
                  <a:pt x="188" y="332"/>
                </a:cubicBezTo>
                <a:cubicBezTo>
                  <a:pt x="174" y="251"/>
                  <a:pt x="174" y="251"/>
                  <a:pt x="174" y="251"/>
                </a:cubicBezTo>
                <a:cubicBezTo>
                  <a:pt x="173" y="247"/>
                  <a:pt x="172" y="242"/>
                  <a:pt x="172" y="237"/>
                </a:cubicBezTo>
                <a:cubicBezTo>
                  <a:pt x="172" y="190"/>
                  <a:pt x="208" y="154"/>
                  <a:pt x="256" y="154"/>
                </a:cubicBezTo>
                <a:cubicBezTo>
                  <a:pt x="302" y="154"/>
                  <a:pt x="339" y="191"/>
                  <a:pt x="339" y="237"/>
                </a:cubicBezTo>
                <a:cubicBezTo>
                  <a:pt x="339" y="242"/>
                  <a:pt x="338" y="247"/>
                  <a:pt x="338" y="250"/>
                </a:cubicBezTo>
                <a:cubicBezTo>
                  <a:pt x="323" y="332"/>
                  <a:pt x="323" y="332"/>
                  <a:pt x="323" y="332"/>
                </a:cubicBezTo>
                <a:cubicBezTo>
                  <a:pt x="359" y="339"/>
                  <a:pt x="359" y="339"/>
                  <a:pt x="359" y="339"/>
                </a:cubicBezTo>
                <a:cubicBezTo>
                  <a:pt x="375" y="245"/>
                  <a:pt x="375" y="245"/>
                  <a:pt x="375" y="245"/>
                </a:cubicBezTo>
                <a:cubicBezTo>
                  <a:pt x="375" y="245"/>
                  <a:pt x="375" y="245"/>
                  <a:pt x="375" y="245"/>
                </a:cubicBezTo>
                <a:cubicBezTo>
                  <a:pt x="376" y="242"/>
                  <a:pt x="376" y="240"/>
                  <a:pt x="376" y="237"/>
                </a:cubicBezTo>
                <a:cubicBezTo>
                  <a:pt x="376" y="171"/>
                  <a:pt x="322" y="117"/>
                  <a:pt x="256" y="117"/>
                </a:cubicBezTo>
                <a:close/>
                <a:moveTo>
                  <a:pt x="314" y="384"/>
                </a:moveTo>
                <a:cubicBezTo>
                  <a:pt x="351" y="390"/>
                  <a:pt x="351" y="390"/>
                  <a:pt x="351" y="390"/>
                </a:cubicBezTo>
                <a:cubicBezTo>
                  <a:pt x="356" y="360"/>
                  <a:pt x="356" y="360"/>
                  <a:pt x="356" y="360"/>
                </a:cubicBezTo>
                <a:cubicBezTo>
                  <a:pt x="320" y="353"/>
                  <a:pt x="320" y="353"/>
                  <a:pt x="320" y="353"/>
                </a:cubicBezTo>
                <a:lnTo>
                  <a:pt x="314" y="38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7" y="237"/>
                </a:moveTo>
                <a:cubicBezTo>
                  <a:pt x="397" y="159"/>
                  <a:pt x="334" y="96"/>
                  <a:pt x="256" y="96"/>
                </a:cubicBezTo>
                <a:cubicBezTo>
                  <a:pt x="178" y="96"/>
                  <a:pt x="114" y="159"/>
                  <a:pt x="114" y="237"/>
                </a:cubicBezTo>
                <a:cubicBezTo>
                  <a:pt x="114" y="240"/>
                  <a:pt x="114" y="243"/>
                  <a:pt x="115" y="247"/>
                </a:cubicBezTo>
                <a:cubicBezTo>
                  <a:pt x="141" y="404"/>
                  <a:pt x="141" y="404"/>
                  <a:pt x="141" y="404"/>
                </a:cubicBezTo>
                <a:cubicBezTo>
                  <a:pt x="142" y="407"/>
                  <a:pt x="144" y="410"/>
                  <a:pt x="146" y="411"/>
                </a:cubicBezTo>
                <a:cubicBezTo>
                  <a:pt x="148" y="413"/>
                  <a:pt x="151" y="414"/>
                  <a:pt x="154" y="413"/>
                </a:cubicBezTo>
                <a:cubicBezTo>
                  <a:pt x="211" y="403"/>
                  <a:pt x="211" y="403"/>
                  <a:pt x="211" y="403"/>
                </a:cubicBezTo>
                <a:cubicBezTo>
                  <a:pt x="217" y="402"/>
                  <a:pt x="221" y="396"/>
                  <a:pt x="220" y="391"/>
                </a:cubicBezTo>
                <a:cubicBezTo>
                  <a:pt x="195" y="247"/>
                  <a:pt x="195" y="247"/>
                  <a:pt x="195" y="247"/>
                </a:cubicBezTo>
                <a:cubicBezTo>
                  <a:pt x="194" y="244"/>
                  <a:pt x="194" y="240"/>
                  <a:pt x="194" y="237"/>
                </a:cubicBezTo>
                <a:cubicBezTo>
                  <a:pt x="194" y="201"/>
                  <a:pt x="220" y="175"/>
                  <a:pt x="256" y="175"/>
                </a:cubicBezTo>
                <a:cubicBezTo>
                  <a:pt x="290" y="175"/>
                  <a:pt x="318" y="203"/>
                  <a:pt x="318" y="237"/>
                </a:cubicBezTo>
                <a:cubicBezTo>
                  <a:pt x="318" y="240"/>
                  <a:pt x="317" y="244"/>
                  <a:pt x="317" y="247"/>
                </a:cubicBezTo>
                <a:cubicBezTo>
                  <a:pt x="292" y="391"/>
                  <a:pt x="292" y="391"/>
                  <a:pt x="292" y="391"/>
                </a:cubicBezTo>
                <a:cubicBezTo>
                  <a:pt x="291" y="396"/>
                  <a:pt x="294" y="402"/>
                  <a:pt x="300" y="403"/>
                </a:cubicBezTo>
                <a:cubicBezTo>
                  <a:pt x="357" y="413"/>
                  <a:pt x="357" y="413"/>
                  <a:pt x="357" y="413"/>
                </a:cubicBezTo>
                <a:cubicBezTo>
                  <a:pt x="358" y="413"/>
                  <a:pt x="359" y="413"/>
                  <a:pt x="359" y="413"/>
                </a:cubicBezTo>
                <a:cubicBezTo>
                  <a:pt x="362" y="413"/>
                  <a:pt x="364" y="413"/>
                  <a:pt x="365" y="411"/>
                </a:cubicBezTo>
                <a:cubicBezTo>
                  <a:pt x="368" y="410"/>
                  <a:pt x="369" y="407"/>
                  <a:pt x="370" y="404"/>
                </a:cubicBezTo>
                <a:cubicBezTo>
                  <a:pt x="397" y="248"/>
                  <a:pt x="397" y="248"/>
                  <a:pt x="397" y="248"/>
                </a:cubicBezTo>
                <a:cubicBezTo>
                  <a:pt x="397" y="247"/>
                  <a:pt x="397" y="247"/>
                  <a:pt x="397" y="247"/>
                </a:cubicBezTo>
                <a:cubicBezTo>
                  <a:pt x="397" y="243"/>
                  <a:pt x="397" y="240"/>
                  <a:pt x="397" y="23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23" name="Group 657"/>
          <p:cNvGrpSpPr>
            <a:grpSpLocks noChangeAspect="1"/>
          </p:cNvGrpSpPr>
          <p:nvPr/>
        </p:nvGrpSpPr>
        <p:grpSpPr bwMode="auto">
          <a:xfrm>
            <a:off x="2915599" y="4530514"/>
            <a:ext cx="367041" cy="367041"/>
            <a:chOff x="5986" y="3351"/>
            <a:chExt cx="340" cy="340"/>
          </a:xfrm>
          <a:solidFill>
            <a:schemeClr val="accent4"/>
          </a:solidFill>
        </p:grpSpPr>
        <p:sp>
          <p:nvSpPr>
            <p:cNvPr id="724" name="Freeform 658"/>
            <p:cNvSpPr>
              <a:spLocks noEditPoints="1"/>
            </p:cNvSpPr>
            <p:nvPr/>
          </p:nvSpPr>
          <p:spPr bwMode="auto">
            <a:xfrm>
              <a:off x="5986" y="33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5" name="Freeform 659"/>
            <p:cNvSpPr>
              <a:spLocks noEditPoints="1"/>
            </p:cNvSpPr>
            <p:nvPr/>
          </p:nvSpPr>
          <p:spPr bwMode="auto">
            <a:xfrm>
              <a:off x="6062" y="3415"/>
              <a:ext cx="188" cy="211"/>
            </a:xfrm>
            <a:custGeom>
              <a:avLst/>
              <a:gdLst>
                <a:gd name="T0" fmla="*/ 142 w 283"/>
                <a:gd name="T1" fmla="*/ 0 h 318"/>
                <a:gd name="T2" fmla="*/ 0 w 283"/>
                <a:gd name="T3" fmla="*/ 141 h 318"/>
                <a:gd name="T4" fmla="*/ 1 w 283"/>
                <a:gd name="T5" fmla="*/ 151 h 318"/>
                <a:gd name="T6" fmla="*/ 27 w 283"/>
                <a:gd name="T7" fmla="*/ 308 h 318"/>
                <a:gd name="T8" fmla="*/ 32 w 283"/>
                <a:gd name="T9" fmla="*/ 315 h 318"/>
                <a:gd name="T10" fmla="*/ 40 w 283"/>
                <a:gd name="T11" fmla="*/ 317 h 318"/>
                <a:gd name="T12" fmla="*/ 97 w 283"/>
                <a:gd name="T13" fmla="*/ 307 h 318"/>
                <a:gd name="T14" fmla="*/ 106 w 283"/>
                <a:gd name="T15" fmla="*/ 295 h 318"/>
                <a:gd name="T16" fmla="*/ 81 w 283"/>
                <a:gd name="T17" fmla="*/ 151 h 318"/>
                <a:gd name="T18" fmla="*/ 80 w 283"/>
                <a:gd name="T19" fmla="*/ 141 h 318"/>
                <a:gd name="T20" fmla="*/ 142 w 283"/>
                <a:gd name="T21" fmla="*/ 79 h 318"/>
                <a:gd name="T22" fmla="*/ 204 w 283"/>
                <a:gd name="T23" fmla="*/ 141 h 318"/>
                <a:gd name="T24" fmla="*/ 203 w 283"/>
                <a:gd name="T25" fmla="*/ 151 h 318"/>
                <a:gd name="T26" fmla="*/ 178 w 283"/>
                <a:gd name="T27" fmla="*/ 295 h 318"/>
                <a:gd name="T28" fmla="*/ 186 w 283"/>
                <a:gd name="T29" fmla="*/ 307 h 318"/>
                <a:gd name="T30" fmla="*/ 243 w 283"/>
                <a:gd name="T31" fmla="*/ 317 h 318"/>
                <a:gd name="T32" fmla="*/ 245 w 283"/>
                <a:gd name="T33" fmla="*/ 317 h 318"/>
                <a:gd name="T34" fmla="*/ 251 w 283"/>
                <a:gd name="T35" fmla="*/ 315 h 318"/>
                <a:gd name="T36" fmla="*/ 256 w 283"/>
                <a:gd name="T37" fmla="*/ 308 h 318"/>
                <a:gd name="T38" fmla="*/ 283 w 283"/>
                <a:gd name="T39" fmla="*/ 152 h 318"/>
                <a:gd name="T40" fmla="*/ 283 w 283"/>
                <a:gd name="T41" fmla="*/ 151 h 318"/>
                <a:gd name="T42" fmla="*/ 283 w 283"/>
                <a:gd name="T43" fmla="*/ 141 h 318"/>
                <a:gd name="T44" fmla="*/ 142 w 283"/>
                <a:gd name="T45" fmla="*/ 0 h 318"/>
                <a:gd name="T46" fmla="*/ 47 w 283"/>
                <a:gd name="T47" fmla="*/ 294 h 318"/>
                <a:gd name="T48" fmla="*/ 42 w 283"/>
                <a:gd name="T49" fmla="*/ 264 h 318"/>
                <a:gd name="T50" fmla="*/ 78 w 283"/>
                <a:gd name="T51" fmla="*/ 257 h 318"/>
                <a:gd name="T52" fmla="*/ 83 w 283"/>
                <a:gd name="T53" fmla="*/ 288 h 318"/>
                <a:gd name="T54" fmla="*/ 47 w 283"/>
                <a:gd name="T55" fmla="*/ 294 h 318"/>
                <a:gd name="T56" fmla="*/ 200 w 283"/>
                <a:gd name="T57" fmla="*/ 288 h 318"/>
                <a:gd name="T58" fmla="*/ 206 w 283"/>
                <a:gd name="T59" fmla="*/ 257 h 318"/>
                <a:gd name="T60" fmla="*/ 242 w 283"/>
                <a:gd name="T61" fmla="*/ 264 h 318"/>
                <a:gd name="T62" fmla="*/ 237 w 283"/>
                <a:gd name="T63" fmla="*/ 294 h 318"/>
                <a:gd name="T64" fmla="*/ 200 w 283"/>
                <a:gd name="T65" fmla="*/ 288 h 318"/>
                <a:gd name="T66" fmla="*/ 261 w 283"/>
                <a:gd name="T67" fmla="*/ 149 h 318"/>
                <a:gd name="T68" fmla="*/ 245 w 283"/>
                <a:gd name="T69" fmla="*/ 243 h 318"/>
                <a:gd name="T70" fmla="*/ 209 w 283"/>
                <a:gd name="T71" fmla="*/ 236 h 318"/>
                <a:gd name="T72" fmla="*/ 224 w 283"/>
                <a:gd name="T73" fmla="*/ 154 h 318"/>
                <a:gd name="T74" fmla="*/ 225 w 283"/>
                <a:gd name="T75" fmla="*/ 141 h 318"/>
                <a:gd name="T76" fmla="*/ 142 w 283"/>
                <a:gd name="T77" fmla="*/ 58 h 318"/>
                <a:gd name="T78" fmla="*/ 58 w 283"/>
                <a:gd name="T79" fmla="*/ 141 h 318"/>
                <a:gd name="T80" fmla="*/ 60 w 283"/>
                <a:gd name="T81" fmla="*/ 155 h 318"/>
                <a:gd name="T82" fmla="*/ 74 w 283"/>
                <a:gd name="T83" fmla="*/ 236 h 318"/>
                <a:gd name="T84" fmla="*/ 38 w 283"/>
                <a:gd name="T85" fmla="*/ 243 h 318"/>
                <a:gd name="T86" fmla="*/ 22 w 283"/>
                <a:gd name="T87" fmla="*/ 150 h 318"/>
                <a:gd name="T88" fmla="*/ 22 w 283"/>
                <a:gd name="T89" fmla="*/ 149 h 318"/>
                <a:gd name="T90" fmla="*/ 21 w 283"/>
                <a:gd name="T91" fmla="*/ 141 h 318"/>
                <a:gd name="T92" fmla="*/ 142 w 283"/>
                <a:gd name="T93" fmla="*/ 21 h 318"/>
                <a:gd name="T94" fmla="*/ 262 w 283"/>
                <a:gd name="T95" fmla="*/ 141 h 318"/>
                <a:gd name="T96" fmla="*/ 261 w 283"/>
                <a:gd name="T97" fmla="*/ 14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3" h="318">
                  <a:moveTo>
                    <a:pt x="142" y="0"/>
                  </a:moveTo>
                  <a:cubicBezTo>
                    <a:pt x="64" y="0"/>
                    <a:pt x="0" y="63"/>
                    <a:pt x="0" y="141"/>
                  </a:cubicBezTo>
                  <a:cubicBezTo>
                    <a:pt x="0" y="144"/>
                    <a:pt x="0" y="147"/>
                    <a:pt x="1" y="151"/>
                  </a:cubicBezTo>
                  <a:cubicBezTo>
                    <a:pt x="27" y="308"/>
                    <a:pt x="27" y="308"/>
                    <a:pt x="27" y="308"/>
                  </a:cubicBezTo>
                  <a:cubicBezTo>
                    <a:pt x="28" y="311"/>
                    <a:pt x="30" y="314"/>
                    <a:pt x="32" y="315"/>
                  </a:cubicBezTo>
                  <a:cubicBezTo>
                    <a:pt x="34" y="317"/>
                    <a:pt x="37" y="318"/>
                    <a:pt x="40" y="31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103" y="306"/>
                    <a:pt x="107" y="300"/>
                    <a:pt x="106" y="295"/>
                  </a:cubicBezTo>
                  <a:cubicBezTo>
                    <a:pt x="81" y="151"/>
                    <a:pt x="81" y="151"/>
                    <a:pt x="81" y="151"/>
                  </a:cubicBezTo>
                  <a:cubicBezTo>
                    <a:pt x="80" y="148"/>
                    <a:pt x="80" y="144"/>
                    <a:pt x="80" y="141"/>
                  </a:cubicBezTo>
                  <a:cubicBezTo>
                    <a:pt x="80" y="105"/>
                    <a:pt x="106" y="79"/>
                    <a:pt x="142" y="79"/>
                  </a:cubicBezTo>
                  <a:cubicBezTo>
                    <a:pt x="176" y="79"/>
                    <a:pt x="204" y="107"/>
                    <a:pt x="204" y="141"/>
                  </a:cubicBezTo>
                  <a:cubicBezTo>
                    <a:pt x="204" y="144"/>
                    <a:pt x="203" y="148"/>
                    <a:pt x="203" y="151"/>
                  </a:cubicBezTo>
                  <a:cubicBezTo>
                    <a:pt x="178" y="295"/>
                    <a:pt x="178" y="295"/>
                    <a:pt x="178" y="295"/>
                  </a:cubicBezTo>
                  <a:cubicBezTo>
                    <a:pt x="177" y="300"/>
                    <a:pt x="180" y="306"/>
                    <a:pt x="186" y="307"/>
                  </a:cubicBezTo>
                  <a:cubicBezTo>
                    <a:pt x="243" y="317"/>
                    <a:pt x="243" y="317"/>
                    <a:pt x="243" y="317"/>
                  </a:cubicBezTo>
                  <a:cubicBezTo>
                    <a:pt x="244" y="317"/>
                    <a:pt x="245" y="317"/>
                    <a:pt x="245" y="317"/>
                  </a:cubicBezTo>
                  <a:cubicBezTo>
                    <a:pt x="248" y="317"/>
                    <a:pt x="250" y="317"/>
                    <a:pt x="251" y="315"/>
                  </a:cubicBezTo>
                  <a:cubicBezTo>
                    <a:pt x="254" y="314"/>
                    <a:pt x="255" y="311"/>
                    <a:pt x="256" y="308"/>
                  </a:cubicBezTo>
                  <a:cubicBezTo>
                    <a:pt x="283" y="152"/>
                    <a:pt x="283" y="152"/>
                    <a:pt x="283" y="152"/>
                  </a:cubicBezTo>
                  <a:cubicBezTo>
                    <a:pt x="283" y="151"/>
                    <a:pt x="283" y="151"/>
                    <a:pt x="283" y="151"/>
                  </a:cubicBezTo>
                  <a:cubicBezTo>
                    <a:pt x="283" y="147"/>
                    <a:pt x="283" y="144"/>
                    <a:pt x="283" y="141"/>
                  </a:cubicBezTo>
                  <a:cubicBezTo>
                    <a:pt x="283" y="63"/>
                    <a:pt x="220" y="0"/>
                    <a:pt x="142" y="0"/>
                  </a:cubicBezTo>
                  <a:close/>
                  <a:moveTo>
                    <a:pt x="47" y="294"/>
                  </a:moveTo>
                  <a:cubicBezTo>
                    <a:pt x="42" y="264"/>
                    <a:pt x="42" y="264"/>
                    <a:pt x="42" y="264"/>
                  </a:cubicBezTo>
                  <a:cubicBezTo>
                    <a:pt x="78" y="257"/>
                    <a:pt x="78" y="257"/>
                    <a:pt x="78" y="257"/>
                  </a:cubicBezTo>
                  <a:cubicBezTo>
                    <a:pt x="83" y="288"/>
                    <a:pt x="83" y="288"/>
                    <a:pt x="83" y="288"/>
                  </a:cubicBezTo>
                  <a:lnTo>
                    <a:pt x="47" y="294"/>
                  </a:lnTo>
                  <a:close/>
                  <a:moveTo>
                    <a:pt x="200" y="288"/>
                  </a:moveTo>
                  <a:cubicBezTo>
                    <a:pt x="206" y="257"/>
                    <a:pt x="206" y="257"/>
                    <a:pt x="206" y="257"/>
                  </a:cubicBezTo>
                  <a:cubicBezTo>
                    <a:pt x="242" y="264"/>
                    <a:pt x="242" y="264"/>
                    <a:pt x="242" y="264"/>
                  </a:cubicBezTo>
                  <a:cubicBezTo>
                    <a:pt x="237" y="294"/>
                    <a:pt x="237" y="294"/>
                    <a:pt x="237" y="294"/>
                  </a:cubicBezTo>
                  <a:lnTo>
                    <a:pt x="200" y="288"/>
                  </a:lnTo>
                  <a:close/>
                  <a:moveTo>
                    <a:pt x="261" y="149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24" y="154"/>
                    <a:pt x="224" y="154"/>
                    <a:pt x="224" y="154"/>
                  </a:cubicBezTo>
                  <a:cubicBezTo>
                    <a:pt x="224" y="151"/>
                    <a:pt x="225" y="146"/>
                    <a:pt x="225" y="141"/>
                  </a:cubicBezTo>
                  <a:cubicBezTo>
                    <a:pt x="225" y="95"/>
                    <a:pt x="188" y="58"/>
                    <a:pt x="142" y="58"/>
                  </a:cubicBezTo>
                  <a:cubicBezTo>
                    <a:pt x="94" y="58"/>
                    <a:pt x="58" y="94"/>
                    <a:pt x="58" y="141"/>
                  </a:cubicBezTo>
                  <a:cubicBezTo>
                    <a:pt x="58" y="146"/>
                    <a:pt x="59" y="151"/>
                    <a:pt x="60" y="155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38" y="243"/>
                    <a:pt x="38" y="243"/>
                    <a:pt x="38" y="243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2" y="146"/>
                    <a:pt x="21" y="144"/>
                    <a:pt x="21" y="141"/>
                  </a:cubicBezTo>
                  <a:cubicBezTo>
                    <a:pt x="21" y="75"/>
                    <a:pt x="75" y="21"/>
                    <a:pt x="142" y="21"/>
                  </a:cubicBezTo>
                  <a:cubicBezTo>
                    <a:pt x="208" y="21"/>
                    <a:pt x="262" y="75"/>
                    <a:pt x="262" y="141"/>
                  </a:cubicBezTo>
                  <a:cubicBezTo>
                    <a:pt x="262" y="144"/>
                    <a:pt x="262" y="146"/>
                    <a:pt x="26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6" name="Freeform 660"/>
            <p:cNvSpPr>
              <a:spLocks noEditPoints="1"/>
            </p:cNvSpPr>
            <p:nvPr/>
          </p:nvSpPr>
          <p:spPr bwMode="auto">
            <a:xfrm>
              <a:off x="5986" y="33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27" name="Freeform 664"/>
          <p:cNvSpPr>
            <a:spLocks noChangeAspect="1" noEditPoints="1"/>
          </p:cNvSpPr>
          <p:nvPr/>
        </p:nvSpPr>
        <p:spPr bwMode="auto">
          <a:xfrm>
            <a:off x="3413012" y="4530514"/>
            <a:ext cx="367041" cy="367041"/>
          </a:xfrm>
          <a:custGeom>
            <a:avLst/>
            <a:gdLst>
              <a:gd name="T0" fmla="*/ 209 w 512"/>
              <a:gd name="T1" fmla="*/ 308 h 512"/>
              <a:gd name="T2" fmla="*/ 184 w 512"/>
              <a:gd name="T3" fmla="*/ 286 h 512"/>
              <a:gd name="T4" fmla="*/ 302 w 512"/>
              <a:gd name="T5" fmla="*/ 308 h 512"/>
              <a:gd name="T6" fmla="*/ 327 w 512"/>
              <a:gd name="T7" fmla="*/ 286 h 512"/>
              <a:gd name="T8" fmla="*/ 302 w 512"/>
              <a:gd name="T9" fmla="*/ 308 h 512"/>
              <a:gd name="T10" fmla="*/ 170 w 512"/>
              <a:gd name="T11" fmla="*/ 202 h 512"/>
              <a:gd name="T12" fmla="*/ 180 w 512"/>
              <a:gd name="T13" fmla="*/ 265 h 512"/>
              <a:gd name="T14" fmla="*/ 193 w 512"/>
              <a:gd name="T15" fmla="*/ 213 h 512"/>
              <a:gd name="T16" fmla="*/ 256 w 512"/>
              <a:gd name="T17" fmla="*/ 138 h 512"/>
              <a:gd name="T18" fmla="*/ 319 w 512"/>
              <a:gd name="T19" fmla="*/ 213 h 512"/>
              <a:gd name="T20" fmla="*/ 331 w 512"/>
              <a:gd name="T21" fmla="*/ 265 h 512"/>
              <a:gd name="T22" fmla="*/ 341 w 512"/>
              <a:gd name="T23" fmla="*/ 202 h 512"/>
              <a:gd name="T24" fmla="*/ 512 w 512"/>
              <a:gd name="T25" fmla="*/ 256 h 512"/>
              <a:gd name="T26" fmla="*/ 0 w 512"/>
              <a:gd name="T27" fmla="*/ 256 h 512"/>
              <a:gd name="T28" fmla="*/ 512 w 512"/>
              <a:gd name="T29" fmla="*/ 256 h 512"/>
              <a:gd name="T30" fmla="*/ 224 w 512"/>
              <a:gd name="T31" fmla="*/ 373 h 512"/>
              <a:gd name="T32" fmla="*/ 213 w 512"/>
              <a:gd name="T33" fmla="*/ 362 h 512"/>
              <a:gd name="T34" fmla="*/ 192 w 512"/>
              <a:gd name="T35" fmla="*/ 362 h 512"/>
              <a:gd name="T36" fmla="*/ 181 w 512"/>
              <a:gd name="T37" fmla="*/ 373 h 512"/>
              <a:gd name="T38" fmla="*/ 181 w 512"/>
              <a:gd name="T39" fmla="*/ 394 h 512"/>
              <a:gd name="T40" fmla="*/ 192 w 512"/>
              <a:gd name="T41" fmla="*/ 405 h 512"/>
              <a:gd name="T42" fmla="*/ 213 w 512"/>
              <a:gd name="T43" fmla="*/ 405 h 512"/>
              <a:gd name="T44" fmla="*/ 224 w 512"/>
              <a:gd name="T45" fmla="*/ 394 h 512"/>
              <a:gd name="T46" fmla="*/ 341 w 512"/>
              <a:gd name="T47" fmla="*/ 384 h 512"/>
              <a:gd name="T48" fmla="*/ 288 w 512"/>
              <a:gd name="T49" fmla="*/ 373 h 512"/>
              <a:gd name="T50" fmla="*/ 288 w 512"/>
              <a:gd name="T51" fmla="*/ 394 h 512"/>
              <a:gd name="T52" fmla="*/ 341 w 512"/>
              <a:gd name="T53" fmla="*/ 384 h 512"/>
              <a:gd name="T54" fmla="*/ 256 w 512"/>
              <a:gd name="T55" fmla="*/ 96 h 512"/>
              <a:gd name="T56" fmla="*/ 149 w 512"/>
              <a:gd name="T57" fmla="*/ 209 h 512"/>
              <a:gd name="T58" fmla="*/ 169 w 512"/>
              <a:gd name="T59" fmla="*/ 325 h 512"/>
              <a:gd name="T60" fmla="*/ 181 w 512"/>
              <a:gd name="T61" fmla="*/ 334 h 512"/>
              <a:gd name="T62" fmla="*/ 232 w 512"/>
              <a:gd name="T63" fmla="*/ 314 h 512"/>
              <a:gd name="T64" fmla="*/ 213 w 512"/>
              <a:gd name="T65" fmla="*/ 202 h 512"/>
              <a:gd name="T66" fmla="*/ 298 w 512"/>
              <a:gd name="T67" fmla="*/ 202 h 512"/>
              <a:gd name="T68" fmla="*/ 279 w 512"/>
              <a:gd name="T69" fmla="*/ 314 h 512"/>
              <a:gd name="T70" fmla="*/ 330 w 512"/>
              <a:gd name="T71" fmla="*/ 334 h 512"/>
              <a:gd name="T72" fmla="*/ 338 w 512"/>
              <a:gd name="T73" fmla="*/ 332 h 512"/>
              <a:gd name="T74" fmla="*/ 362 w 512"/>
              <a:gd name="T75" fmla="*/ 211 h 512"/>
              <a:gd name="T76" fmla="*/ 362 w 512"/>
              <a:gd name="T77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05" y="282"/>
                </a:moveTo>
                <a:cubicBezTo>
                  <a:pt x="209" y="308"/>
                  <a:pt x="209" y="308"/>
                  <a:pt x="209" y="308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184" y="286"/>
                  <a:pt x="184" y="286"/>
                  <a:pt x="184" y="286"/>
                </a:cubicBezTo>
                <a:lnTo>
                  <a:pt x="205" y="282"/>
                </a:lnTo>
                <a:close/>
                <a:moveTo>
                  <a:pt x="302" y="308"/>
                </a:moveTo>
                <a:cubicBezTo>
                  <a:pt x="323" y="311"/>
                  <a:pt x="323" y="311"/>
                  <a:pt x="323" y="311"/>
                </a:cubicBezTo>
                <a:cubicBezTo>
                  <a:pt x="327" y="286"/>
                  <a:pt x="327" y="286"/>
                  <a:pt x="327" y="286"/>
                </a:cubicBezTo>
                <a:cubicBezTo>
                  <a:pt x="307" y="282"/>
                  <a:pt x="307" y="282"/>
                  <a:pt x="307" y="282"/>
                </a:cubicBezTo>
                <a:lnTo>
                  <a:pt x="302" y="308"/>
                </a:lnTo>
                <a:close/>
                <a:moveTo>
                  <a:pt x="256" y="117"/>
                </a:moveTo>
                <a:cubicBezTo>
                  <a:pt x="209" y="117"/>
                  <a:pt x="170" y="155"/>
                  <a:pt x="170" y="202"/>
                </a:cubicBezTo>
                <a:cubicBezTo>
                  <a:pt x="170" y="204"/>
                  <a:pt x="170" y="206"/>
                  <a:pt x="171" y="208"/>
                </a:cubicBezTo>
                <a:cubicBezTo>
                  <a:pt x="180" y="265"/>
                  <a:pt x="180" y="265"/>
                  <a:pt x="180" y="265"/>
                </a:cubicBezTo>
                <a:cubicBezTo>
                  <a:pt x="201" y="261"/>
                  <a:pt x="201" y="261"/>
                  <a:pt x="201" y="261"/>
                </a:cubicBezTo>
                <a:cubicBezTo>
                  <a:pt x="193" y="213"/>
                  <a:pt x="193" y="213"/>
                  <a:pt x="193" y="213"/>
                </a:cubicBezTo>
                <a:cubicBezTo>
                  <a:pt x="192" y="210"/>
                  <a:pt x="192" y="206"/>
                  <a:pt x="192" y="202"/>
                </a:cubicBezTo>
                <a:cubicBezTo>
                  <a:pt x="192" y="166"/>
                  <a:pt x="219" y="138"/>
                  <a:pt x="256" y="138"/>
                </a:cubicBezTo>
                <a:cubicBezTo>
                  <a:pt x="291" y="138"/>
                  <a:pt x="320" y="167"/>
                  <a:pt x="320" y="202"/>
                </a:cubicBezTo>
                <a:cubicBezTo>
                  <a:pt x="320" y="206"/>
                  <a:pt x="319" y="210"/>
                  <a:pt x="319" y="213"/>
                </a:cubicBezTo>
                <a:cubicBezTo>
                  <a:pt x="310" y="261"/>
                  <a:pt x="310" y="261"/>
                  <a:pt x="310" y="261"/>
                </a:cubicBezTo>
                <a:cubicBezTo>
                  <a:pt x="331" y="265"/>
                  <a:pt x="331" y="265"/>
                  <a:pt x="331" y="265"/>
                </a:cubicBezTo>
                <a:cubicBezTo>
                  <a:pt x="341" y="208"/>
                  <a:pt x="341" y="208"/>
                  <a:pt x="341" y="208"/>
                </a:cubicBezTo>
                <a:cubicBezTo>
                  <a:pt x="341" y="206"/>
                  <a:pt x="341" y="204"/>
                  <a:pt x="341" y="202"/>
                </a:cubicBezTo>
                <a:cubicBezTo>
                  <a:pt x="341" y="155"/>
                  <a:pt x="303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4" y="384"/>
                </a:moveTo>
                <a:cubicBezTo>
                  <a:pt x="234" y="378"/>
                  <a:pt x="230" y="373"/>
                  <a:pt x="224" y="373"/>
                </a:cubicBezTo>
                <a:cubicBezTo>
                  <a:pt x="213" y="373"/>
                  <a:pt x="213" y="373"/>
                  <a:pt x="213" y="373"/>
                </a:cubicBezTo>
                <a:cubicBezTo>
                  <a:pt x="213" y="362"/>
                  <a:pt x="213" y="362"/>
                  <a:pt x="213" y="362"/>
                </a:cubicBezTo>
                <a:cubicBezTo>
                  <a:pt x="213" y="356"/>
                  <a:pt x="208" y="352"/>
                  <a:pt x="202" y="352"/>
                </a:cubicBezTo>
                <a:cubicBezTo>
                  <a:pt x="196" y="352"/>
                  <a:pt x="192" y="356"/>
                  <a:pt x="192" y="362"/>
                </a:cubicBezTo>
                <a:cubicBezTo>
                  <a:pt x="192" y="373"/>
                  <a:pt x="192" y="373"/>
                  <a:pt x="192" y="373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75" y="373"/>
                  <a:pt x="170" y="378"/>
                  <a:pt x="170" y="384"/>
                </a:cubicBezTo>
                <a:cubicBezTo>
                  <a:pt x="170" y="390"/>
                  <a:pt x="175" y="394"/>
                  <a:pt x="181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92" y="405"/>
                  <a:pt x="192" y="405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208" y="416"/>
                  <a:pt x="213" y="411"/>
                  <a:pt x="213" y="405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close/>
                <a:moveTo>
                  <a:pt x="341" y="384"/>
                </a:moveTo>
                <a:cubicBezTo>
                  <a:pt x="341" y="378"/>
                  <a:pt x="336" y="373"/>
                  <a:pt x="330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2" y="373"/>
                  <a:pt x="277" y="378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336" y="394"/>
                  <a:pt x="341" y="390"/>
                  <a:pt x="341" y="384"/>
                </a:cubicBezTo>
                <a:close/>
                <a:moveTo>
                  <a:pt x="362" y="202"/>
                </a:moveTo>
                <a:cubicBezTo>
                  <a:pt x="362" y="144"/>
                  <a:pt x="314" y="96"/>
                  <a:pt x="256" y="96"/>
                </a:cubicBezTo>
                <a:cubicBezTo>
                  <a:pt x="197" y="96"/>
                  <a:pt x="149" y="144"/>
                  <a:pt x="149" y="202"/>
                </a:cubicBezTo>
                <a:cubicBezTo>
                  <a:pt x="149" y="205"/>
                  <a:pt x="149" y="207"/>
                  <a:pt x="149" y="209"/>
                </a:cubicBezTo>
                <a:cubicBezTo>
                  <a:pt x="149" y="210"/>
                  <a:pt x="149" y="211"/>
                  <a:pt x="150" y="211"/>
                </a:cubicBezTo>
                <a:cubicBezTo>
                  <a:pt x="169" y="325"/>
                  <a:pt x="169" y="325"/>
                  <a:pt x="169" y="325"/>
                </a:cubicBezTo>
                <a:cubicBezTo>
                  <a:pt x="170" y="328"/>
                  <a:pt x="171" y="331"/>
                  <a:pt x="173" y="332"/>
                </a:cubicBezTo>
                <a:cubicBezTo>
                  <a:pt x="176" y="334"/>
                  <a:pt x="179" y="335"/>
                  <a:pt x="181" y="334"/>
                </a:cubicBezTo>
                <a:cubicBezTo>
                  <a:pt x="223" y="327"/>
                  <a:pt x="223" y="327"/>
                  <a:pt x="223" y="327"/>
                </a:cubicBezTo>
                <a:cubicBezTo>
                  <a:pt x="229" y="326"/>
                  <a:pt x="233" y="320"/>
                  <a:pt x="232" y="314"/>
                </a:cubicBezTo>
                <a:cubicBezTo>
                  <a:pt x="214" y="209"/>
                  <a:pt x="214" y="209"/>
                  <a:pt x="214" y="209"/>
                </a:cubicBezTo>
                <a:cubicBezTo>
                  <a:pt x="213" y="207"/>
                  <a:pt x="213" y="205"/>
                  <a:pt x="213" y="202"/>
                </a:cubicBezTo>
                <a:cubicBezTo>
                  <a:pt x="213" y="178"/>
                  <a:pt x="231" y="160"/>
                  <a:pt x="256" y="160"/>
                </a:cubicBezTo>
                <a:cubicBezTo>
                  <a:pt x="279" y="160"/>
                  <a:pt x="298" y="179"/>
                  <a:pt x="298" y="202"/>
                </a:cubicBezTo>
                <a:cubicBezTo>
                  <a:pt x="298" y="205"/>
                  <a:pt x="298" y="207"/>
                  <a:pt x="298" y="209"/>
                </a:cubicBezTo>
                <a:cubicBezTo>
                  <a:pt x="279" y="314"/>
                  <a:pt x="279" y="314"/>
                  <a:pt x="279" y="314"/>
                </a:cubicBezTo>
                <a:cubicBezTo>
                  <a:pt x="278" y="320"/>
                  <a:pt x="282" y="326"/>
                  <a:pt x="288" y="327"/>
                </a:cubicBezTo>
                <a:cubicBezTo>
                  <a:pt x="330" y="334"/>
                  <a:pt x="330" y="334"/>
                  <a:pt x="330" y="334"/>
                </a:cubicBezTo>
                <a:cubicBezTo>
                  <a:pt x="330" y="334"/>
                  <a:pt x="331" y="334"/>
                  <a:pt x="332" y="334"/>
                </a:cubicBezTo>
                <a:cubicBezTo>
                  <a:pt x="334" y="334"/>
                  <a:pt x="336" y="334"/>
                  <a:pt x="338" y="332"/>
                </a:cubicBezTo>
                <a:cubicBezTo>
                  <a:pt x="340" y="331"/>
                  <a:pt x="342" y="328"/>
                  <a:pt x="342" y="325"/>
                </a:cubicBezTo>
                <a:cubicBezTo>
                  <a:pt x="362" y="211"/>
                  <a:pt x="362" y="211"/>
                  <a:pt x="362" y="211"/>
                </a:cubicBezTo>
                <a:cubicBezTo>
                  <a:pt x="362" y="211"/>
                  <a:pt x="362" y="210"/>
                  <a:pt x="362" y="209"/>
                </a:cubicBezTo>
                <a:cubicBezTo>
                  <a:pt x="362" y="207"/>
                  <a:pt x="362" y="205"/>
                  <a:pt x="362" y="2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28" name="Group 667"/>
          <p:cNvGrpSpPr>
            <a:grpSpLocks noChangeAspect="1"/>
          </p:cNvGrpSpPr>
          <p:nvPr/>
        </p:nvGrpSpPr>
        <p:grpSpPr bwMode="auto">
          <a:xfrm>
            <a:off x="3910425" y="4530514"/>
            <a:ext cx="367041" cy="367041"/>
            <a:chOff x="6153" y="3521"/>
            <a:chExt cx="340" cy="340"/>
          </a:xfrm>
          <a:solidFill>
            <a:schemeClr val="accent1"/>
          </a:solidFill>
        </p:grpSpPr>
        <p:sp>
          <p:nvSpPr>
            <p:cNvPr id="729" name="Freeform 728"/>
            <p:cNvSpPr>
              <a:spLocks noEditPoints="1"/>
            </p:cNvSpPr>
            <p:nvPr/>
          </p:nvSpPr>
          <p:spPr bwMode="auto">
            <a:xfrm>
              <a:off x="6153" y="352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0" name="Freeform 729"/>
            <p:cNvSpPr>
              <a:spLocks noEditPoints="1"/>
            </p:cNvSpPr>
            <p:nvPr/>
          </p:nvSpPr>
          <p:spPr bwMode="auto">
            <a:xfrm>
              <a:off x="6252" y="3585"/>
              <a:ext cx="141" cy="212"/>
            </a:xfrm>
            <a:custGeom>
              <a:avLst/>
              <a:gdLst>
                <a:gd name="T0" fmla="*/ 75 w 213"/>
                <a:gd name="T1" fmla="*/ 298 h 320"/>
                <a:gd name="T2" fmla="*/ 64 w 213"/>
                <a:gd name="T3" fmla="*/ 309 h 320"/>
                <a:gd name="T4" fmla="*/ 43 w 213"/>
                <a:gd name="T5" fmla="*/ 309 h 320"/>
                <a:gd name="T6" fmla="*/ 32 w 213"/>
                <a:gd name="T7" fmla="*/ 298 h 320"/>
                <a:gd name="T8" fmla="*/ 32 w 213"/>
                <a:gd name="T9" fmla="*/ 277 h 320"/>
                <a:gd name="T10" fmla="*/ 43 w 213"/>
                <a:gd name="T11" fmla="*/ 266 h 320"/>
                <a:gd name="T12" fmla="*/ 64 w 213"/>
                <a:gd name="T13" fmla="*/ 266 h 320"/>
                <a:gd name="T14" fmla="*/ 75 w 213"/>
                <a:gd name="T15" fmla="*/ 277 h 320"/>
                <a:gd name="T16" fmla="*/ 181 w 213"/>
                <a:gd name="T17" fmla="*/ 277 h 320"/>
                <a:gd name="T18" fmla="*/ 128 w 213"/>
                <a:gd name="T19" fmla="*/ 288 h 320"/>
                <a:gd name="T20" fmla="*/ 181 w 213"/>
                <a:gd name="T21" fmla="*/ 298 h 320"/>
                <a:gd name="T22" fmla="*/ 181 w 213"/>
                <a:gd name="T23" fmla="*/ 277 h 320"/>
                <a:gd name="T24" fmla="*/ 213 w 213"/>
                <a:gd name="T25" fmla="*/ 113 h 320"/>
                <a:gd name="T26" fmla="*/ 193 w 213"/>
                <a:gd name="T27" fmla="*/ 229 h 320"/>
                <a:gd name="T28" fmla="*/ 183 w 213"/>
                <a:gd name="T29" fmla="*/ 238 h 320"/>
                <a:gd name="T30" fmla="*/ 139 w 213"/>
                <a:gd name="T31" fmla="*/ 231 h 320"/>
                <a:gd name="T32" fmla="*/ 149 w 213"/>
                <a:gd name="T33" fmla="*/ 113 h 320"/>
                <a:gd name="T34" fmla="*/ 107 w 213"/>
                <a:gd name="T35" fmla="*/ 64 h 320"/>
                <a:gd name="T36" fmla="*/ 65 w 213"/>
                <a:gd name="T37" fmla="*/ 113 h 320"/>
                <a:gd name="T38" fmla="*/ 74 w 213"/>
                <a:gd name="T39" fmla="*/ 231 h 320"/>
                <a:gd name="T40" fmla="*/ 24 w 213"/>
                <a:gd name="T41" fmla="*/ 236 h 320"/>
                <a:gd name="T42" fmla="*/ 1 w 213"/>
                <a:gd name="T43" fmla="*/ 115 h 320"/>
                <a:gd name="T44" fmla="*/ 0 w 213"/>
                <a:gd name="T45" fmla="*/ 106 h 320"/>
                <a:gd name="T46" fmla="*/ 213 w 213"/>
                <a:gd name="T47" fmla="*/ 106 h 320"/>
                <a:gd name="T48" fmla="*/ 56 w 213"/>
                <a:gd name="T49" fmla="*/ 186 h 320"/>
                <a:gd name="T50" fmla="*/ 39 w 213"/>
                <a:gd name="T51" fmla="*/ 215 h 320"/>
                <a:gd name="T52" fmla="*/ 171 w 213"/>
                <a:gd name="T53" fmla="*/ 106 h 320"/>
                <a:gd name="T54" fmla="*/ 161 w 213"/>
                <a:gd name="T55" fmla="*/ 165 h 320"/>
                <a:gd name="T56" fmla="*/ 192 w 213"/>
                <a:gd name="T57" fmla="*/ 112 h 320"/>
                <a:gd name="T58" fmla="*/ 107 w 213"/>
                <a:gd name="T59" fmla="*/ 21 h 320"/>
                <a:gd name="T60" fmla="*/ 22 w 213"/>
                <a:gd name="T61" fmla="*/ 112 h 320"/>
                <a:gd name="T62" fmla="*/ 52 w 213"/>
                <a:gd name="T63" fmla="*/ 165 h 320"/>
                <a:gd name="T64" fmla="*/ 43 w 213"/>
                <a:gd name="T65" fmla="*/ 106 h 320"/>
                <a:gd name="T66" fmla="*/ 171 w 213"/>
                <a:gd name="T67" fmla="*/ 106 h 320"/>
                <a:gd name="T68" fmla="*/ 178 w 213"/>
                <a:gd name="T69" fmla="*/ 190 h 320"/>
                <a:gd name="T70" fmla="*/ 153 w 213"/>
                <a:gd name="T71" fmla="*/ 21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3" h="320">
                  <a:moveTo>
                    <a:pt x="85" y="288"/>
                  </a:moveTo>
                  <a:cubicBezTo>
                    <a:pt x="85" y="294"/>
                    <a:pt x="81" y="298"/>
                    <a:pt x="75" y="298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64" y="315"/>
                    <a:pt x="59" y="320"/>
                    <a:pt x="53" y="320"/>
                  </a:cubicBezTo>
                  <a:cubicBezTo>
                    <a:pt x="47" y="320"/>
                    <a:pt x="43" y="315"/>
                    <a:pt x="43" y="309"/>
                  </a:cubicBezTo>
                  <a:cubicBezTo>
                    <a:pt x="43" y="298"/>
                    <a:pt x="43" y="298"/>
                    <a:pt x="43" y="298"/>
                  </a:cubicBezTo>
                  <a:cubicBezTo>
                    <a:pt x="32" y="298"/>
                    <a:pt x="32" y="298"/>
                    <a:pt x="32" y="298"/>
                  </a:cubicBezTo>
                  <a:cubicBezTo>
                    <a:pt x="26" y="298"/>
                    <a:pt x="21" y="294"/>
                    <a:pt x="21" y="288"/>
                  </a:cubicBezTo>
                  <a:cubicBezTo>
                    <a:pt x="21" y="282"/>
                    <a:pt x="26" y="277"/>
                    <a:pt x="32" y="277"/>
                  </a:cubicBezTo>
                  <a:cubicBezTo>
                    <a:pt x="43" y="277"/>
                    <a:pt x="43" y="277"/>
                    <a:pt x="43" y="277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7" y="256"/>
                    <a:pt x="53" y="256"/>
                  </a:cubicBezTo>
                  <a:cubicBezTo>
                    <a:pt x="59" y="256"/>
                    <a:pt x="64" y="260"/>
                    <a:pt x="64" y="266"/>
                  </a:cubicBezTo>
                  <a:cubicBezTo>
                    <a:pt x="64" y="277"/>
                    <a:pt x="64" y="277"/>
                    <a:pt x="64" y="277"/>
                  </a:cubicBezTo>
                  <a:cubicBezTo>
                    <a:pt x="75" y="277"/>
                    <a:pt x="75" y="277"/>
                    <a:pt x="75" y="277"/>
                  </a:cubicBezTo>
                  <a:cubicBezTo>
                    <a:pt x="81" y="277"/>
                    <a:pt x="85" y="282"/>
                    <a:pt x="85" y="288"/>
                  </a:cubicBezTo>
                  <a:close/>
                  <a:moveTo>
                    <a:pt x="181" y="277"/>
                  </a:moveTo>
                  <a:cubicBezTo>
                    <a:pt x="139" y="277"/>
                    <a:pt x="139" y="277"/>
                    <a:pt x="139" y="277"/>
                  </a:cubicBezTo>
                  <a:cubicBezTo>
                    <a:pt x="133" y="277"/>
                    <a:pt x="128" y="282"/>
                    <a:pt x="128" y="288"/>
                  </a:cubicBezTo>
                  <a:cubicBezTo>
                    <a:pt x="128" y="294"/>
                    <a:pt x="133" y="298"/>
                    <a:pt x="139" y="298"/>
                  </a:cubicBezTo>
                  <a:cubicBezTo>
                    <a:pt x="181" y="298"/>
                    <a:pt x="181" y="298"/>
                    <a:pt x="181" y="298"/>
                  </a:cubicBezTo>
                  <a:cubicBezTo>
                    <a:pt x="187" y="298"/>
                    <a:pt x="192" y="294"/>
                    <a:pt x="192" y="288"/>
                  </a:cubicBezTo>
                  <a:cubicBezTo>
                    <a:pt x="192" y="282"/>
                    <a:pt x="187" y="277"/>
                    <a:pt x="181" y="277"/>
                  </a:cubicBezTo>
                  <a:close/>
                  <a:moveTo>
                    <a:pt x="213" y="106"/>
                  </a:moveTo>
                  <a:cubicBezTo>
                    <a:pt x="213" y="109"/>
                    <a:pt x="213" y="111"/>
                    <a:pt x="213" y="113"/>
                  </a:cubicBezTo>
                  <a:cubicBezTo>
                    <a:pt x="213" y="114"/>
                    <a:pt x="213" y="115"/>
                    <a:pt x="213" y="115"/>
                  </a:cubicBezTo>
                  <a:cubicBezTo>
                    <a:pt x="193" y="229"/>
                    <a:pt x="193" y="229"/>
                    <a:pt x="193" y="229"/>
                  </a:cubicBezTo>
                  <a:cubicBezTo>
                    <a:pt x="193" y="232"/>
                    <a:pt x="191" y="235"/>
                    <a:pt x="189" y="236"/>
                  </a:cubicBezTo>
                  <a:cubicBezTo>
                    <a:pt x="187" y="238"/>
                    <a:pt x="185" y="238"/>
                    <a:pt x="183" y="238"/>
                  </a:cubicBezTo>
                  <a:cubicBezTo>
                    <a:pt x="182" y="238"/>
                    <a:pt x="181" y="238"/>
                    <a:pt x="181" y="238"/>
                  </a:cubicBezTo>
                  <a:cubicBezTo>
                    <a:pt x="139" y="231"/>
                    <a:pt x="139" y="231"/>
                    <a:pt x="139" y="231"/>
                  </a:cubicBezTo>
                  <a:cubicBezTo>
                    <a:pt x="133" y="230"/>
                    <a:pt x="129" y="224"/>
                    <a:pt x="130" y="218"/>
                  </a:cubicBezTo>
                  <a:cubicBezTo>
                    <a:pt x="149" y="113"/>
                    <a:pt x="149" y="113"/>
                    <a:pt x="149" y="113"/>
                  </a:cubicBezTo>
                  <a:cubicBezTo>
                    <a:pt x="149" y="111"/>
                    <a:pt x="149" y="109"/>
                    <a:pt x="149" y="106"/>
                  </a:cubicBezTo>
                  <a:cubicBezTo>
                    <a:pt x="149" y="83"/>
                    <a:pt x="130" y="64"/>
                    <a:pt x="107" y="64"/>
                  </a:cubicBezTo>
                  <a:cubicBezTo>
                    <a:pt x="82" y="64"/>
                    <a:pt x="64" y="82"/>
                    <a:pt x="64" y="106"/>
                  </a:cubicBezTo>
                  <a:cubicBezTo>
                    <a:pt x="64" y="109"/>
                    <a:pt x="64" y="111"/>
                    <a:pt x="65" y="113"/>
                  </a:cubicBezTo>
                  <a:cubicBezTo>
                    <a:pt x="83" y="218"/>
                    <a:pt x="83" y="218"/>
                    <a:pt x="83" y="218"/>
                  </a:cubicBezTo>
                  <a:cubicBezTo>
                    <a:pt x="84" y="224"/>
                    <a:pt x="80" y="230"/>
                    <a:pt x="74" y="231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39"/>
                    <a:pt x="27" y="238"/>
                    <a:pt x="24" y="236"/>
                  </a:cubicBezTo>
                  <a:cubicBezTo>
                    <a:pt x="22" y="235"/>
                    <a:pt x="21" y="232"/>
                    <a:pt x="20" y="22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5"/>
                    <a:pt x="0" y="114"/>
                    <a:pt x="0" y="113"/>
                  </a:cubicBezTo>
                  <a:cubicBezTo>
                    <a:pt x="0" y="111"/>
                    <a:pt x="0" y="109"/>
                    <a:pt x="0" y="106"/>
                  </a:cubicBezTo>
                  <a:cubicBezTo>
                    <a:pt x="0" y="48"/>
                    <a:pt x="48" y="0"/>
                    <a:pt x="107" y="0"/>
                  </a:cubicBezTo>
                  <a:cubicBezTo>
                    <a:pt x="165" y="0"/>
                    <a:pt x="213" y="48"/>
                    <a:pt x="213" y="106"/>
                  </a:cubicBezTo>
                  <a:close/>
                  <a:moveTo>
                    <a:pt x="60" y="212"/>
                  </a:moveTo>
                  <a:cubicBezTo>
                    <a:pt x="56" y="186"/>
                    <a:pt x="56" y="186"/>
                    <a:pt x="56" y="186"/>
                  </a:cubicBezTo>
                  <a:cubicBezTo>
                    <a:pt x="35" y="190"/>
                    <a:pt x="35" y="190"/>
                    <a:pt x="35" y="190"/>
                  </a:cubicBezTo>
                  <a:cubicBezTo>
                    <a:pt x="39" y="215"/>
                    <a:pt x="39" y="215"/>
                    <a:pt x="39" y="215"/>
                  </a:cubicBezTo>
                  <a:lnTo>
                    <a:pt x="60" y="212"/>
                  </a:lnTo>
                  <a:close/>
                  <a:moveTo>
                    <a:pt x="171" y="106"/>
                  </a:moveTo>
                  <a:cubicBezTo>
                    <a:pt x="171" y="110"/>
                    <a:pt x="170" y="114"/>
                    <a:pt x="170" y="117"/>
                  </a:cubicBezTo>
                  <a:cubicBezTo>
                    <a:pt x="161" y="165"/>
                    <a:pt x="161" y="165"/>
                    <a:pt x="161" y="165"/>
                  </a:cubicBezTo>
                  <a:cubicBezTo>
                    <a:pt x="182" y="169"/>
                    <a:pt x="182" y="169"/>
                    <a:pt x="182" y="169"/>
                  </a:cubicBezTo>
                  <a:cubicBezTo>
                    <a:pt x="192" y="112"/>
                    <a:pt x="192" y="112"/>
                    <a:pt x="192" y="112"/>
                  </a:cubicBezTo>
                  <a:cubicBezTo>
                    <a:pt x="192" y="110"/>
                    <a:pt x="192" y="108"/>
                    <a:pt x="192" y="106"/>
                  </a:cubicBezTo>
                  <a:cubicBezTo>
                    <a:pt x="192" y="59"/>
                    <a:pt x="154" y="21"/>
                    <a:pt x="107" y="21"/>
                  </a:cubicBezTo>
                  <a:cubicBezTo>
                    <a:pt x="60" y="21"/>
                    <a:pt x="21" y="59"/>
                    <a:pt x="21" y="106"/>
                  </a:cubicBezTo>
                  <a:cubicBezTo>
                    <a:pt x="21" y="108"/>
                    <a:pt x="21" y="110"/>
                    <a:pt x="22" y="112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52" y="165"/>
                    <a:pt x="52" y="165"/>
                    <a:pt x="52" y="165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3" y="114"/>
                    <a:pt x="43" y="110"/>
                    <a:pt x="43" y="106"/>
                  </a:cubicBezTo>
                  <a:cubicBezTo>
                    <a:pt x="43" y="70"/>
                    <a:pt x="70" y="42"/>
                    <a:pt x="107" y="42"/>
                  </a:cubicBezTo>
                  <a:cubicBezTo>
                    <a:pt x="142" y="42"/>
                    <a:pt x="171" y="71"/>
                    <a:pt x="171" y="106"/>
                  </a:cubicBezTo>
                  <a:close/>
                  <a:moveTo>
                    <a:pt x="174" y="215"/>
                  </a:moveTo>
                  <a:cubicBezTo>
                    <a:pt x="178" y="190"/>
                    <a:pt x="178" y="190"/>
                    <a:pt x="178" y="190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53" y="212"/>
                    <a:pt x="153" y="212"/>
                    <a:pt x="153" y="212"/>
                  </a:cubicBezTo>
                  <a:lnTo>
                    <a:pt x="174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31" name="TextBox 730"/>
          <p:cNvSpPr txBox="1"/>
          <p:nvPr/>
        </p:nvSpPr>
        <p:spPr>
          <a:xfrm>
            <a:off x="5404929" y="4982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le/female</a:t>
            </a:r>
          </a:p>
        </p:txBody>
      </p:sp>
      <p:sp>
        <p:nvSpPr>
          <p:cNvPr id="732" name="TextBox 731"/>
          <p:cNvSpPr txBox="1"/>
          <p:nvPr/>
        </p:nvSpPr>
        <p:spPr>
          <a:xfrm>
            <a:off x="6397763" y="4982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le symbol</a:t>
            </a:r>
          </a:p>
        </p:txBody>
      </p:sp>
      <p:sp>
        <p:nvSpPr>
          <p:cNvPr id="733" name="TextBox 732"/>
          <p:cNvSpPr txBox="1"/>
          <p:nvPr/>
        </p:nvSpPr>
        <p:spPr>
          <a:xfrm>
            <a:off x="9400327" y="4164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lette</a:t>
            </a:r>
          </a:p>
        </p:txBody>
      </p:sp>
      <p:sp>
        <p:nvSpPr>
          <p:cNvPr id="734" name="TextBox 733"/>
          <p:cNvSpPr txBox="1"/>
          <p:nvPr/>
        </p:nvSpPr>
        <p:spPr>
          <a:xfrm>
            <a:off x="7390597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ckage</a:t>
            </a:r>
          </a:p>
        </p:txBody>
      </p:sp>
      <p:sp>
        <p:nvSpPr>
          <p:cNvPr id="735" name="Freeform 719"/>
          <p:cNvSpPr>
            <a:spLocks noChangeAspect="1" noEditPoints="1"/>
          </p:cNvSpPr>
          <p:nvPr/>
        </p:nvSpPr>
        <p:spPr bwMode="auto">
          <a:xfrm>
            <a:off x="5403844" y="4530514"/>
            <a:ext cx="367041" cy="367041"/>
          </a:xfrm>
          <a:custGeom>
            <a:avLst/>
            <a:gdLst>
              <a:gd name="T0" fmla="*/ 389 w 512"/>
              <a:gd name="T1" fmla="*/ 303 h 512"/>
              <a:gd name="T2" fmla="*/ 341 w 512"/>
              <a:gd name="T3" fmla="*/ 352 h 512"/>
              <a:gd name="T4" fmla="*/ 293 w 512"/>
              <a:gd name="T5" fmla="*/ 303 h 512"/>
              <a:gd name="T6" fmla="*/ 341 w 512"/>
              <a:gd name="T7" fmla="*/ 255 h 512"/>
              <a:gd name="T8" fmla="*/ 389 w 512"/>
              <a:gd name="T9" fmla="*/ 303 h 512"/>
              <a:gd name="T10" fmla="*/ 181 w 512"/>
              <a:gd name="T11" fmla="*/ 160 h 512"/>
              <a:gd name="T12" fmla="*/ 133 w 512"/>
              <a:gd name="T13" fmla="*/ 208 h 512"/>
              <a:gd name="T14" fmla="*/ 181 w 512"/>
              <a:gd name="T15" fmla="*/ 256 h 512"/>
              <a:gd name="T16" fmla="*/ 229 w 512"/>
              <a:gd name="T17" fmla="*/ 208 h 512"/>
              <a:gd name="T18" fmla="*/ 181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92 w 512"/>
              <a:gd name="T31" fmla="*/ 277 h 512"/>
              <a:gd name="T32" fmla="*/ 251 w 512"/>
              <a:gd name="T33" fmla="*/ 208 h 512"/>
              <a:gd name="T34" fmla="*/ 181 w 512"/>
              <a:gd name="T35" fmla="*/ 138 h 512"/>
              <a:gd name="T36" fmla="*/ 111 w 512"/>
              <a:gd name="T37" fmla="*/ 208 h 512"/>
              <a:gd name="T38" fmla="*/ 170 w 512"/>
              <a:gd name="T39" fmla="*/ 277 h 512"/>
              <a:gd name="T40" fmla="*/ 170 w 512"/>
              <a:gd name="T41" fmla="*/ 277 h 512"/>
              <a:gd name="T42" fmla="*/ 170 w 512"/>
              <a:gd name="T43" fmla="*/ 309 h 512"/>
              <a:gd name="T44" fmla="*/ 138 w 512"/>
              <a:gd name="T45" fmla="*/ 309 h 512"/>
              <a:gd name="T46" fmla="*/ 128 w 512"/>
              <a:gd name="T47" fmla="*/ 320 h 512"/>
              <a:gd name="T48" fmla="*/ 138 w 512"/>
              <a:gd name="T49" fmla="*/ 330 h 512"/>
              <a:gd name="T50" fmla="*/ 170 w 512"/>
              <a:gd name="T51" fmla="*/ 330 h 512"/>
              <a:gd name="T52" fmla="*/ 170 w 512"/>
              <a:gd name="T53" fmla="*/ 362 h 512"/>
              <a:gd name="T54" fmla="*/ 181 w 512"/>
              <a:gd name="T55" fmla="*/ 373 h 512"/>
              <a:gd name="T56" fmla="*/ 192 w 512"/>
              <a:gd name="T57" fmla="*/ 362 h 512"/>
              <a:gd name="T58" fmla="*/ 192 w 512"/>
              <a:gd name="T59" fmla="*/ 330 h 512"/>
              <a:gd name="T60" fmla="*/ 224 w 512"/>
              <a:gd name="T61" fmla="*/ 330 h 512"/>
              <a:gd name="T62" fmla="*/ 234 w 512"/>
              <a:gd name="T63" fmla="*/ 320 h 512"/>
              <a:gd name="T64" fmla="*/ 224 w 512"/>
              <a:gd name="T65" fmla="*/ 309 h 512"/>
              <a:gd name="T66" fmla="*/ 192 w 512"/>
              <a:gd name="T67" fmla="*/ 309 h 512"/>
              <a:gd name="T68" fmla="*/ 192 w 512"/>
              <a:gd name="T69" fmla="*/ 277 h 512"/>
              <a:gd name="T70" fmla="*/ 192 w 512"/>
              <a:gd name="T71" fmla="*/ 277 h 512"/>
              <a:gd name="T72" fmla="*/ 411 w 512"/>
              <a:gd name="T73" fmla="*/ 303 h 512"/>
              <a:gd name="T74" fmla="*/ 352 w 512"/>
              <a:gd name="T75" fmla="*/ 235 h 512"/>
              <a:gd name="T76" fmla="*/ 352 w 512"/>
              <a:gd name="T77" fmla="*/ 234 h 512"/>
              <a:gd name="T78" fmla="*/ 352 w 512"/>
              <a:gd name="T79" fmla="*/ 175 h 512"/>
              <a:gd name="T80" fmla="*/ 376 w 512"/>
              <a:gd name="T81" fmla="*/ 199 h 512"/>
              <a:gd name="T82" fmla="*/ 384 w 512"/>
              <a:gd name="T83" fmla="*/ 202 h 512"/>
              <a:gd name="T84" fmla="*/ 391 w 512"/>
              <a:gd name="T85" fmla="*/ 199 h 512"/>
              <a:gd name="T86" fmla="*/ 391 w 512"/>
              <a:gd name="T87" fmla="*/ 184 h 512"/>
              <a:gd name="T88" fmla="*/ 349 w 512"/>
              <a:gd name="T89" fmla="*/ 141 h 512"/>
              <a:gd name="T90" fmla="*/ 345 w 512"/>
              <a:gd name="T91" fmla="*/ 139 h 512"/>
              <a:gd name="T92" fmla="*/ 337 w 512"/>
              <a:gd name="T93" fmla="*/ 139 h 512"/>
              <a:gd name="T94" fmla="*/ 333 w 512"/>
              <a:gd name="T95" fmla="*/ 141 h 512"/>
              <a:gd name="T96" fmla="*/ 291 w 512"/>
              <a:gd name="T97" fmla="*/ 184 h 512"/>
              <a:gd name="T98" fmla="*/ 291 w 512"/>
              <a:gd name="T99" fmla="*/ 199 h 512"/>
              <a:gd name="T100" fmla="*/ 298 w 512"/>
              <a:gd name="T101" fmla="*/ 202 h 512"/>
              <a:gd name="T102" fmla="*/ 306 w 512"/>
              <a:gd name="T103" fmla="*/ 199 h 512"/>
              <a:gd name="T104" fmla="*/ 330 w 512"/>
              <a:gd name="T105" fmla="*/ 175 h 512"/>
              <a:gd name="T106" fmla="*/ 330 w 512"/>
              <a:gd name="T107" fmla="*/ 234 h 512"/>
              <a:gd name="T108" fmla="*/ 330 w 512"/>
              <a:gd name="T109" fmla="*/ 235 h 512"/>
              <a:gd name="T110" fmla="*/ 271 w 512"/>
              <a:gd name="T111" fmla="*/ 303 h 512"/>
              <a:gd name="T112" fmla="*/ 341 w 512"/>
              <a:gd name="T113" fmla="*/ 373 h 512"/>
              <a:gd name="T114" fmla="*/ 411 w 512"/>
              <a:gd name="T115" fmla="*/ 30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389" y="303"/>
                </a:moveTo>
                <a:cubicBezTo>
                  <a:pt x="389" y="330"/>
                  <a:pt x="368" y="352"/>
                  <a:pt x="341" y="352"/>
                </a:cubicBezTo>
                <a:cubicBezTo>
                  <a:pt x="314" y="352"/>
                  <a:pt x="293" y="330"/>
                  <a:pt x="293" y="303"/>
                </a:cubicBezTo>
                <a:cubicBezTo>
                  <a:pt x="293" y="277"/>
                  <a:pt x="314" y="255"/>
                  <a:pt x="341" y="255"/>
                </a:cubicBezTo>
                <a:cubicBezTo>
                  <a:pt x="368" y="255"/>
                  <a:pt x="389" y="277"/>
                  <a:pt x="389" y="303"/>
                </a:cubicBezTo>
                <a:close/>
                <a:moveTo>
                  <a:pt x="181" y="160"/>
                </a:moveTo>
                <a:cubicBezTo>
                  <a:pt x="154" y="160"/>
                  <a:pt x="133" y="181"/>
                  <a:pt x="133" y="208"/>
                </a:cubicBezTo>
                <a:cubicBezTo>
                  <a:pt x="133" y="235"/>
                  <a:pt x="154" y="256"/>
                  <a:pt x="181" y="256"/>
                </a:cubicBezTo>
                <a:cubicBezTo>
                  <a:pt x="208" y="256"/>
                  <a:pt x="229" y="235"/>
                  <a:pt x="229" y="208"/>
                </a:cubicBezTo>
                <a:cubicBezTo>
                  <a:pt x="229" y="181"/>
                  <a:pt x="208" y="160"/>
                  <a:pt x="181" y="16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92" y="277"/>
                </a:moveTo>
                <a:cubicBezTo>
                  <a:pt x="225" y="272"/>
                  <a:pt x="251" y="243"/>
                  <a:pt x="251" y="208"/>
                </a:cubicBezTo>
                <a:cubicBezTo>
                  <a:pt x="251" y="170"/>
                  <a:pt x="219" y="138"/>
                  <a:pt x="181" y="138"/>
                </a:cubicBezTo>
                <a:cubicBezTo>
                  <a:pt x="143" y="138"/>
                  <a:pt x="111" y="170"/>
                  <a:pt x="111" y="208"/>
                </a:cubicBezTo>
                <a:cubicBezTo>
                  <a:pt x="111" y="243"/>
                  <a:pt x="137" y="272"/>
                  <a:pt x="170" y="277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2" y="309"/>
                  <a:pt x="128" y="314"/>
                  <a:pt x="128" y="320"/>
                </a:cubicBezTo>
                <a:cubicBezTo>
                  <a:pt x="128" y="326"/>
                  <a:pt x="132" y="330"/>
                  <a:pt x="138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70" y="362"/>
                  <a:pt x="170" y="362"/>
                  <a:pt x="170" y="362"/>
                </a:cubicBezTo>
                <a:cubicBezTo>
                  <a:pt x="170" y="368"/>
                  <a:pt x="175" y="373"/>
                  <a:pt x="181" y="373"/>
                </a:cubicBezTo>
                <a:cubicBezTo>
                  <a:pt x="187" y="373"/>
                  <a:pt x="192" y="368"/>
                  <a:pt x="192" y="362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30" y="330"/>
                  <a:pt x="234" y="326"/>
                  <a:pt x="234" y="320"/>
                </a:cubicBezTo>
                <a:cubicBezTo>
                  <a:pt x="234" y="314"/>
                  <a:pt x="230" y="309"/>
                  <a:pt x="224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277"/>
                  <a:pt x="192" y="277"/>
                  <a:pt x="192" y="277"/>
                </a:cubicBezTo>
                <a:cubicBezTo>
                  <a:pt x="192" y="277"/>
                  <a:pt x="192" y="277"/>
                  <a:pt x="192" y="277"/>
                </a:cubicBezTo>
                <a:close/>
                <a:moveTo>
                  <a:pt x="411" y="303"/>
                </a:moveTo>
                <a:cubicBezTo>
                  <a:pt x="411" y="269"/>
                  <a:pt x="385" y="240"/>
                  <a:pt x="352" y="235"/>
                </a:cubicBezTo>
                <a:cubicBezTo>
                  <a:pt x="352" y="235"/>
                  <a:pt x="352" y="234"/>
                  <a:pt x="352" y="234"/>
                </a:cubicBezTo>
                <a:cubicBezTo>
                  <a:pt x="352" y="175"/>
                  <a:pt x="352" y="175"/>
                  <a:pt x="352" y="175"/>
                </a:cubicBezTo>
                <a:cubicBezTo>
                  <a:pt x="376" y="199"/>
                  <a:pt x="376" y="199"/>
                  <a:pt x="376" y="199"/>
                </a:cubicBezTo>
                <a:cubicBezTo>
                  <a:pt x="378" y="201"/>
                  <a:pt x="381" y="202"/>
                  <a:pt x="384" y="202"/>
                </a:cubicBezTo>
                <a:cubicBezTo>
                  <a:pt x="386" y="202"/>
                  <a:pt x="389" y="201"/>
                  <a:pt x="391" y="199"/>
                </a:cubicBezTo>
                <a:cubicBezTo>
                  <a:pt x="395" y="195"/>
                  <a:pt x="395" y="188"/>
                  <a:pt x="391" y="184"/>
                </a:cubicBezTo>
                <a:cubicBezTo>
                  <a:pt x="349" y="141"/>
                  <a:pt x="349" y="141"/>
                  <a:pt x="349" y="141"/>
                </a:cubicBezTo>
                <a:cubicBezTo>
                  <a:pt x="348" y="140"/>
                  <a:pt x="346" y="140"/>
                  <a:pt x="345" y="139"/>
                </a:cubicBezTo>
                <a:cubicBezTo>
                  <a:pt x="342" y="138"/>
                  <a:pt x="340" y="138"/>
                  <a:pt x="337" y="139"/>
                </a:cubicBezTo>
                <a:cubicBezTo>
                  <a:pt x="336" y="140"/>
                  <a:pt x="334" y="140"/>
                  <a:pt x="333" y="141"/>
                </a:cubicBezTo>
                <a:cubicBezTo>
                  <a:pt x="291" y="184"/>
                  <a:pt x="291" y="184"/>
                  <a:pt x="291" y="184"/>
                </a:cubicBezTo>
                <a:cubicBezTo>
                  <a:pt x="287" y="188"/>
                  <a:pt x="287" y="195"/>
                  <a:pt x="291" y="199"/>
                </a:cubicBezTo>
                <a:cubicBezTo>
                  <a:pt x="293" y="201"/>
                  <a:pt x="296" y="202"/>
                  <a:pt x="298" y="202"/>
                </a:cubicBezTo>
                <a:cubicBezTo>
                  <a:pt x="301" y="202"/>
                  <a:pt x="304" y="201"/>
                  <a:pt x="306" y="199"/>
                </a:cubicBezTo>
                <a:cubicBezTo>
                  <a:pt x="330" y="175"/>
                  <a:pt x="330" y="175"/>
                  <a:pt x="330" y="175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0" y="234"/>
                  <a:pt x="330" y="235"/>
                  <a:pt x="330" y="235"/>
                </a:cubicBezTo>
                <a:cubicBezTo>
                  <a:pt x="297" y="240"/>
                  <a:pt x="271" y="269"/>
                  <a:pt x="271" y="303"/>
                </a:cubicBezTo>
                <a:cubicBezTo>
                  <a:pt x="271" y="342"/>
                  <a:pt x="303" y="373"/>
                  <a:pt x="341" y="373"/>
                </a:cubicBezTo>
                <a:cubicBezTo>
                  <a:pt x="379" y="373"/>
                  <a:pt x="411" y="342"/>
                  <a:pt x="411" y="3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6" name="Group 722"/>
          <p:cNvGrpSpPr>
            <a:grpSpLocks noChangeAspect="1"/>
          </p:cNvGrpSpPr>
          <p:nvPr/>
        </p:nvGrpSpPr>
        <p:grpSpPr bwMode="auto">
          <a:xfrm>
            <a:off x="5901257" y="4530514"/>
            <a:ext cx="368120" cy="367041"/>
            <a:chOff x="4003" y="3131"/>
            <a:chExt cx="341" cy="340"/>
          </a:xfrm>
          <a:solidFill>
            <a:schemeClr val="accent2"/>
          </a:solidFill>
        </p:grpSpPr>
        <p:sp>
          <p:nvSpPr>
            <p:cNvPr id="737" name="Freeform 723"/>
            <p:cNvSpPr>
              <a:spLocks noEditPoints="1"/>
            </p:cNvSpPr>
            <p:nvPr/>
          </p:nvSpPr>
          <p:spPr bwMode="auto">
            <a:xfrm>
              <a:off x="4077" y="3223"/>
              <a:ext cx="93" cy="156"/>
            </a:xfrm>
            <a:custGeom>
              <a:avLst/>
              <a:gdLst>
                <a:gd name="T0" fmla="*/ 140 w 140"/>
                <a:gd name="T1" fmla="*/ 70 h 235"/>
                <a:gd name="T2" fmla="*/ 70 w 140"/>
                <a:gd name="T3" fmla="*/ 0 h 235"/>
                <a:gd name="T4" fmla="*/ 0 w 140"/>
                <a:gd name="T5" fmla="*/ 70 h 235"/>
                <a:gd name="T6" fmla="*/ 59 w 140"/>
                <a:gd name="T7" fmla="*/ 139 h 235"/>
                <a:gd name="T8" fmla="*/ 59 w 140"/>
                <a:gd name="T9" fmla="*/ 139 h 235"/>
                <a:gd name="T10" fmla="*/ 59 w 140"/>
                <a:gd name="T11" fmla="*/ 171 h 235"/>
                <a:gd name="T12" fmla="*/ 27 w 140"/>
                <a:gd name="T13" fmla="*/ 171 h 235"/>
                <a:gd name="T14" fmla="*/ 17 w 140"/>
                <a:gd name="T15" fmla="*/ 182 h 235"/>
                <a:gd name="T16" fmla="*/ 27 w 140"/>
                <a:gd name="T17" fmla="*/ 192 h 235"/>
                <a:gd name="T18" fmla="*/ 59 w 140"/>
                <a:gd name="T19" fmla="*/ 192 h 235"/>
                <a:gd name="T20" fmla="*/ 59 w 140"/>
                <a:gd name="T21" fmla="*/ 224 h 235"/>
                <a:gd name="T22" fmla="*/ 70 w 140"/>
                <a:gd name="T23" fmla="*/ 235 h 235"/>
                <a:gd name="T24" fmla="*/ 81 w 140"/>
                <a:gd name="T25" fmla="*/ 224 h 235"/>
                <a:gd name="T26" fmla="*/ 81 w 140"/>
                <a:gd name="T27" fmla="*/ 192 h 235"/>
                <a:gd name="T28" fmla="*/ 113 w 140"/>
                <a:gd name="T29" fmla="*/ 192 h 235"/>
                <a:gd name="T30" fmla="*/ 123 w 140"/>
                <a:gd name="T31" fmla="*/ 182 h 235"/>
                <a:gd name="T32" fmla="*/ 113 w 140"/>
                <a:gd name="T33" fmla="*/ 171 h 235"/>
                <a:gd name="T34" fmla="*/ 81 w 140"/>
                <a:gd name="T35" fmla="*/ 171 h 235"/>
                <a:gd name="T36" fmla="*/ 81 w 140"/>
                <a:gd name="T37" fmla="*/ 139 h 235"/>
                <a:gd name="T38" fmla="*/ 81 w 140"/>
                <a:gd name="T39" fmla="*/ 139 h 235"/>
                <a:gd name="T40" fmla="*/ 140 w 140"/>
                <a:gd name="T41" fmla="*/ 70 h 235"/>
                <a:gd name="T42" fmla="*/ 70 w 140"/>
                <a:gd name="T43" fmla="*/ 118 h 235"/>
                <a:gd name="T44" fmla="*/ 22 w 140"/>
                <a:gd name="T45" fmla="*/ 70 h 235"/>
                <a:gd name="T46" fmla="*/ 70 w 140"/>
                <a:gd name="T47" fmla="*/ 22 h 235"/>
                <a:gd name="T48" fmla="*/ 118 w 140"/>
                <a:gd name="T49" fmla="*/ 70 h 235"/>
                <a:gd name="T50" fmla="*/ 70 w 140"/>
                <a:gd name="T51" fmla="*/ 11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0" h="235">
                  <a:moveTo>
                    <a:pt x="140" y="70"/>
                  </a:moveTo>
                  <a:cubicBezTo>
                    <a:pt x="140" y="32"/>
                    <a:pt x="108" y="0"/>
                    <a:pt x="70" y="0"/>
                  </a:cubicBezTo>
                  <a:cubicBezTo>
                    <a:pt x="32" y="0"/>
                    <a:pt x="0" y="32"/>
                    <a:pt x="0" y="70"/>
                  </a:cubicBezTo>
                  <a:cubicBezTo>
                    <a:pt x="0" y="105"/>
                    <a:pt x="26" y="134"/>
                    <a:pt x="59" y="139"/>
                  </a:cubicBezTo>
                  <a:cubicBezTo>
                    <a:pt x="59" y="139"/>
                    <a:pt x="59" y="139"/>
                    <a:pt x="59" y="139"/>
                  </a:cubicBezTo>
                  <a:cubicBezTo>
                    <a:pt x="59" y="171"/>
                    <a:pt x="59" y="171"/>
                    <a:pt x="59" y="171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1" y="171"/>
                    <a:pt x="17" y="176"/>
                    <a:pt x="17" y="182"/>
                  </a:cubicBezTo>
                  <a:cubicBezTo>
                    <a:pt x="17" y="188"/>
                    <a:pt x="21" y="192"/>
                    <a:pt x="27" y="192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59" y="224"/>
                    <a:pt x="59" y="224"/>
                    <a:pt x="59" y="224"/>
                  </a:cubicBezTo>
                  <a:cubicBezTo>
                    <a:pt x="59" y="230"/>
                    <a:pt x="64" y="235"/>
                    <a:pt x="70" y="235"/>
                  </a:cubicBezTo>
                  <a:cubicBezTo>
                    <a:pt x="76" y="235"/>
                    <a:pt x="81" y="230"/>
                    <a:pt x="81" y="224"/>
                  </a:cubicBezTo>
                  <a:cubicBezTo>
                    <a:pt x="81" y="192"/>
                    <a:pt x="81" y="192"/>
                    <a:pt x="81" y="192"/>
                  </a:cubicBezTo>
                  <a:cubicBezTo>
                    <a:pt x="113" y="192"/>
                    <a:pt x="113" y="192"/>
                    <a:pt x="113" y="192"/>
                  </a:cubicBezTo>
                  <a:cubicBezTo>
                    <a:pt x="119" y="192"/>
                    <a:pt x="123" y="188"/>
                    <a:pt x="123" y="182"/>
                  </a:cubicBezTo>
                  <a:cubicBezTo>
                    <a:pt x="123" y="176"/>
                    <a:pt x="119" y="171"/>
                    <a:pt x="113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114" y="134"/>
                    <a:pt x="140" y="105"/>
                    <a:pt x="140" y="70"/>
                  </a:cubicBezTo>
                  <a:close/>
                  <a:moveTo>
                    <a:pt x="70" y="118"/>
                  </a:moveTo>
                  <a:cubicBezTo>
                    <a:pt x="43" y="118"/>
                    <a:pt x="22" y="97"/>
                    <a:pt x="22" y="70"/>
                  </a:cubicBezTo>
                  <a:cubicBezTo>
                    <a:pt x="22" y="43"/>
                    <a:pt x="43" y="22"/>
                    <a:pt x="70" y="22"/>
                  </a:cubicBezTo>
                  <a:cubicBezTo>
                    <a:pt x="97" y="22"/>
                    <a:pt x="118" y="43"/>
                    <a:pt x="118" y="70"/>
                  </a:cubicBezTo>
                  <a:cubicBezTo>
                    <a:pt x="118" y="97"/>
                    <a:pt x="97" y="118"/>
                    <a:pt x="70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8" name="Freeform 724"/>
            <p:cNvSpPr>
              <a:spLocks noEditPoints="1"/>
            </p:cNvSpPr>
            <p:nvPr/>
          </p:nvSpPr>
          <p:spPr bwMode="auto">
            <a:xfrm>
              <a:off x="4183" y="3223"/>
              <a:ext cx="94" cy="156"/>
            </a:xfrm>
            <a:custGeom>
              <a:avLst/>
              <a:gdLst>
                <a:gd name="T0" fmla="*/ 81 w 140"/>
                <a:gd name="T1" fmla="*/ 97 h 235"/>
                <a:gd name="T2" fmla="*/ 81 w 140"/>
                <a:gd name="T3" fmla="*/ 96 h 235"/>
                <a:gd name="T4" fmla="*/ 81 w 140"/>
                <a:gd name="T5" fmla="*/ 37 h 235"/>
                <a:gd name="T6" fmla="*/ 105 w 140"/>
                <a:gd name="T7" fmla="*/ 61 h 235"/>
                <a:gd name="T8" fmla="*/ 113 w 140"/>
                <a:gd name="T9" fmla="*/ 64 h 235"/>
                <a:gd name="T10" fmla="*/ 120 w 140"/>
                <a:gd name="T11" fmla="*/ 61 h 235"/>
                <a:gd name="T12" fmla="*/ 120 w 140"/>
                <a:gd name="T13" fmla="*/ 46 h 235"/>
                <a:gd name="T14" fmla="*/ 78 w 140"/>
                <a:gd name="T15" fmla="*/ 3 h 235"/>
                <a:gd name="T16" fmla="*/ 74 w 140"/>
                <a:gd name="T17" fmla="*/ 1 h 235"/>
                <a:gd name="T18" fmla="*/ 66 w 140"/>
                <a:gd name="T19" fmla="*/ 1 h 235"/>
                <a:gd name="T20" fmla="*/ 62 w 140"/>
                <a:gd name="T21" fmla="*/ 3 h 235"/>
                <a:gd name="T22" fmla="*/ 20 w 140"/>
                <a:gd name="T23" fmla="*/ 46 h 235"/>
                <a:gd name="T24" fmla="*/ 20 w 140"/>
                <a:gd name="T25" fmla="*/ 61 h 235"/>
                <a:gd name="T26" fmla="*/ 27 w 140"/>
                <a:gd name="T27" fmla="*/ 64 h 235"/>
                <a:gd name="T28" fmla="*/ 35 w 140"/>
                <a:gd name="T29" fmla="*/ 61 h 235"/>
                <a:gd name="T30" fmla="*/ 59 w 140"/>
                <a:gd name="T31" fmla="*/ 37 h 235"/>
                <a:gd name="T32" fmla="*/ 59 w 140"/>
                <a:gd name="T33" fmla="*/ 96 h 235"/>
                <a:gd name="T34" fmla="*/ 59 w 140"/>
                <a:gd name="T35" fmla="*/ 97 h 235"/>
                <a:gd name="T36" fmla="*/ 0 w 140"/>
                <a:gd name="T37" fmla="*/ 165 h 235"/>
                <a:gd name="T38" fmla="*/ 70 w 140"/>
                <a:gd name="T39" fmla="*/ 235 h 235"/>
                <a:gd name="T40" fmla="*/ 140 w 140"/>
                <a:gd name="T41" fmla="*/ 165 h 235"/>
                <a:gd name="T42" fmla="*/ 81 w 140"/>
                <a:gd name="T43" fmla="*/ 97 h 235"/>
                <a:gd name="T44" fmla="*/ 70 w 140"/>
                <a:gd name="T45" fmla="*/ 214 h 235"/>
                <a:gd name="T46" fmla="*/ 22 w 140"/>
                <a:gd name="T47" fmla="*/ 165 h 235"/>
                <a:gd name="T48" fmla="*/ 70 w 140"/>
                <a:gd name="T49" fmla="*/ 117 h 235"/>
                <a:gd name="T50" fmla="*/ 118 w 140"/>
                <a:gd name="T51" fmla="*/ 165 h 235"/>
                <a:gd name="T52" fmla="*/ 70 w 140"/>
                <a:gd name="T53" fmla="*/ 21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35">
                  <a:moveTo>
                    <a:pt x="81" y="97"/>
                  </a:moveTo>
                  <a:cubicBezTo>
                    <a:pt x="81" y="97"/>
                    <a:pt x="81" y="96"/>
                    <a:pt x="81" y="9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3"/>
                    <a:pt x="110" y="64"/>
                    <a:pt x="113" y="64"/>
                  </a:cubicBezTo>
                  <a:cubicBezTo>
                    <a:pt x="115" y="64"/>
                    <a:pt x="118" y="63"/>
                    <a:pt x="120" y="61"/>
                  </a:cubicBezTo>
                  <a:cubicBezTo>
                    <a:pt x="124" y="57"/>
                    <a:pt x="124" y="50"/>
                    <a:pt x="120" y="46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7" y="2"/>
                    <a:pt x="75" y="2"/>
                    <a:pt x="74" y="1"/>
                  </a:cubicBezTo>
                  <a:cubicBezTo>
                    <a:pt x="71" y="0"/>
                    <a:pt x="69" y="0"/>
                    <a:pt x="66" y="1"/>
                  </a:cubicBezTo>
                  <a:cubicBezTo>
                    <a:pt x="65" y="2"/>
                    <a:pt x="63" y="2"/>
                    <a:pt x="62" y="3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16" y="50"/>
                    <a:pt x="16" y="57"/>
                    <a:pt x="20" y="61"/>
                  </a:cubicBezTo>
                  <a:cubicBezTo>
                    <a:pt x="22" y="63"/>
                    <a:pt x="25" y="64"/>
                    <a:pt x="27" y="64"/>
                  </a:cubicBezTo>
                  <a:cubicBezTo>
                    <a:pt x="30" y="64"/>
                    <a:pt x="33" y="63"/>
                    <a:pt x="35" y="61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7"/>
                    <a:pt x="59" y="97"/>
                  </a:cubicBezTo>
                  <a:cubicBezTo>
                    <a:pt x="26" y="102"/>
                    <a:pt x="0" y="131"/>
                    <a:pt x="0" y="165"/>
                  </a:cubicBezTo>
                  <a:cubicBezTo>
                    <a:pt x="0" y="204"/>
                    <a:pt x="32" y="235"/>
                    <a:pt x="70" y="235"/>
                  </a:cubicBezTo>
                  <a:cubicBezTo>
                    <a:pt x="108" y="235"/>
                    <a:pt x="140" y="204"/>
                    <a:pt x="140" y="165"/>
                  </a:cubicBezTo>
                  <a:cubicBezTo>
                    <a:pt x="140" y="131"/>
                    <a:pt x="114" y="102"/>
                    <a:pt x="81" y="97"/>
                  </a:cubicBezTo>
                  <a:close/>
                  <a:moveTo>
                    <a:pt x="70" y="214"/>
                  </a:moveTo>
                  <a:cubicBezTo>
                    <a:pt x="43" y="214"/>
                    <a:pt x="22" y="192"/>
                    <a:pt x="22" y="165"/>
                  </a:cubicBezTo>
                  <a:cubicBezTo>
                    <a:pt x="22" y="139"/>
                    <a:pt x="43" y="117"/>
                    <a:pt x="70" y="117"/>
                  </a:cubicBezTo>
                  <a:cubicBezTo>
                    <a:pt x="97" y="117"/>
                    <a:pt x="118" y="139"/>
                    <a:pt x="118" y="165"/>
                  </a:cubicBezTo>
                  <a:cubicBezTo>
                    <a:pt x="118" y="192"/>
                    <a:pt x="97" y="214"/>
                    <a:pt x="70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9" name="Freeform 725"/>
            <p:cNvSpPr>
              <a:spLocks noEditPoints="1"/>
            </p:cNvSpPr>
            <p:nvPr/>
          </p:nvSpPr>
          <p:spPr bwMode="auto">
            <a:xfrm>
              <a:off x="4003" y="313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0" name="Freeform 729"/>
          <p:cNvSpPr>
            <a:spLocks noChangeAspect="1" noEditPoints="1"/>
          </p:cNvSpPr>
          <p:nvPr/>
        </p:nvSpPr>
        <p:spPr bwMode="auto">
          <a:xfrm>
            <a:off x="6399749" y="4530514"/>
            <a:ext cx="367041" cy="367041"/>
          </a:xfrm>
          <a:custGeom>
            <a:avLst/>
            <a:gdLst>
              <a:gd name="T0" fmla="*/ 294 w 512"/>
              <a:gd name="T1" fmla="*/ 218 h 512"/>
              <a:gd name="T2" fmla="*/ 294 w 512"/>
              <a:gd name="T3" fmla="*/ 354 h 512"/>
              <a:gd name="T4" fmla="*/ 157 w 512"/>
              <a:gd name="T5" fmla="*/ 354 h 512"/>
              <a:gd name="T6" fmla="*/ 157 w 512"/>
              <a:gd name="T7" fmla="*/ 218 h 512"/>
              <a:gd name="T8" fmla="*/ 225 w 512"/>
              <a:gd name="T9" fmla="*/ 189 h 512"/>
              <a:gd name="T10" fmla="*/ 294 w 512"/>
              <a:gd name="T11" fmla="*/ 218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384 w 512"/>
              <a:gd name="T23" fmla="*/ 138 h 512"/>
              <a:gd name="T24" fmla="*/ 373 w 512"/>
              <a:gd name="T25" fmla="*/ 128 h 512"/>
              <a:gd name="T26" fmla="*/ 298 w 512"/>
              <a:gd name="T27" fmla="*/ 128 h 512"/>
              <a:gd name="T28" fmla="*/ 288 w 512"/>
              <a:gd name="T29" fmla="*/ 138 h 512"/>
              <a:gd name="T30" fmla="*/ 298 w 512"/>
              <a:gd name="T31" fmla="*/ 149 h 512"/>
              <a:gd name="T32" fmla="*/ 347 w 512"/>
              <a:gd name="T33" fmla="*/ 149 h 512"/>
              <a:gd name="T34" fmla="*/ 301 w 512"/>
              <a:gd name="T35" fmla="*/ 195 h 512"/>
              <a:gd name="T36" fmla="*/ 142 w 512"/>
              <a:gd name="T37" fmla="*/ 203 h 512"/>
              <a:gd name="T38" fmla="*/ 142 w 512"/>
              <a:gd name="T39" fmla="*/ 369 h 512"/>
              <a:gd name="T40" fmla="*/ 226 w 512"/>
              <a:gd name="T41" fmla="*/ 403 h 512"/>
              <a:gd name="T42" fmla="*/ 309 w 512"/>
              <a:gd name="T43" fmla="*/ 369 h 512"/>
              <a:gd name="T44" fmla="*/ 316 w 512"/>
              <a:gd name="T45" fmla="*/ 210 h 512"/>
              <a:gd name="T46" fmla="*/ 362 w 512"/>
              <a:gd name="T47" fmla="*/ 164 h 512"/>
              <a:gd name="T48" fmla="*/ 362 w 512"/>
              <a:gd name="T49" fmla="*/ 213 h 512"/>
              <a:gd name="T50" fmla="*/ 373 w 512"/>
              <a:gd name="T51" fmla="*/ 224 h 512"/>
              <a:gd name="T52" fmla="*/ 384 w 512"/>
              <a:gd name="T53" fmla="*/ 213 h 512"/>
              <a:gd name="T54" fmla="*/ 384 w 512"/>
              <a:gd name="T55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12" h="512">
                <a:moveTo>
                  <a:pt x="294" y="218"/>
                </a:moveTo>
                <a:cubicBezTo>
                  <a:pt x="331" y="255"/>
                  <a:pt x="331" y="316"/>
                  <a:pt x="294" y="354"/>
                </a:cubicBezTo>
                <a:cubicBezTo>
                  <a:pt x="256" y="391"/>
                  <a:pt x="195" y="391"/>
                  <a:pt x="157" y="354"/>
                </a:cubicBezTo>
                <a:cubicBezTo>
                  <a:pt x="120" y="316"/>
                  <a:pt x="120" y="255"/>
                  <a:pt x="157" y="218"/>
                </a:cubicBezTo>
                <a:cubicBezTo>
                  <a:pt x="176" y="199"/>
                  <a:pt x="201" y="189"/>
                  <a:pt x="225" y="189"/>
                </a:cubicBezTo>
                <a:cubicBezTo>
                  <a:pt x="250" y="189"/>
                  <a:pt x="275" y="199"/>
                  <a:pt x="294" y="21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138"/>
                </a:moveTo>
                <a:cubicBezTo>
                  <a:pt x="384" y="132"/>
                  <a:pt x="379" y="128"/>
                  <a:pt x="373" y="128"/>
                </a:cubicBezTo>
                <a:cubicBezTo>
                  <a:pt x="298" y="128"/>
                  <a:pt x="298" y="128"/>
                  <a:pt x="298" y="128"/>
                </a:cubicBezTo>
                <a:cubicBezTo>
                  <a:pt x="292" y="128"/>
                  <a:pt x="288" y="132"/>
                  <a:pt x="288" y="138"/>
                </a:cubicBezTo>
                <a:cubicBezTo>
                  <a:pt x="288" y="144"/>
                  <a:pt x="292" y="149"/>
                  <a:pt x="298" y="149"/>
                </a:cubicBezTo>
                <a:cubicBezTo>
                  <a:pt x="347" y="149"/>
                  <a:pt x="347" y="149"/>
                  <a:pt x="347" y="149"/>
                </a:cubicBezTo>
                <a:cubicBezTo>
                  <a:pt x="301" y="195"/>
                  <a:pt x="301" y="195"/>
                  <a:pt x="301" y="195"/>
                </a:cubicBezTo>
                <a:cubicBezTo>
                  <a:pt x="255" y="157"/>
                  <a:pt x="186" y="159"/>
                  <a:pt x="142" y="203"/>
                </a:cubicBezTo>
                <a:cubicBezTo>
                  <a:pt x="97" y="248"/>
                  <a:pt x="97" y="323"/>
                  <a:pt x="142" y="369"/>
                </a:cubicBezTo>
                <a:cubicBezTo>
                  <a:pt x="165" y="392"/>
                  <a:pt x="195" y="403"/>
                  <a:pt x="226" y="403"/>
                </a:cubicBezTo>
                <a:cubicBezTo>
                  <a:pt x="256" y="403"/>
                  <a:pt x="286" y="392"/>
                  <a:pt x="309" y="369"/>
                </a:cubicBezTo>
                <a:cubicBezTo>
                  <a:pt x="352" y="325"/>
                  <a:pt x="354" y="257"/>
                  <a:pt x="316" y="210"/>
                </a:cubicBezTo>
                <a:cubicBezTo>
                  <a:pt x="362" y="164"/>
                  <a:pt x="362" y="164"/>
                  <a:pt x="362" y="164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2" y="219"/>
                  <a:pt x="367" y="224"/>
                  <a:pt x="373" y="224"/>
                </a:cubicBezTo>
                <a:cubicBezTo>
                  <a:pt x="379" y="224"/>
                  <a:pt x="384" y="219"/>
                  <a:pt x="384" y="213"/>
                </a:cubicBezTo>
                <a:lnTo>
                  <a:pt x="384" y="1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41" name="Freeform 733"/>
          <p:cNvSpPr>
            <a:spLocks noChangeAspect="1" noEditPoints="1"/>
          </p:cNvSpPr>
          <p:nvPr/>
        </p:nvSpPr>
        <p:spPr bwMode="auto">
          <a:xfrm>
            <a:off x="6897162" y="4530514"/>
            <a:ext cx="367041" cy="36704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73 w 512"/>
              <a:gd name="T21" fmla="*/ 128 h 512"/>
              <a:gd name="T22" fmla="*/ 298 w 512"/>
              <a:gd name="T23" fmla="*/ 128 h 512"/>
              <a:gd name="T24" fmla="*/ 288 w 512"/>
              <a:gd name="T25" fmla="*/ 138 h 512"/>
              <a:gd name="T26" fmla="*/ 298 w 512"/>
              <a:gd name="T27" fmla="*/ 149 h 512"/>
              <a:gd name="T28" fmla="*/ 347 w 512"/>
              <a:gd name="T29" fmla="*/ 149 h 512"/>
              <a:gd name="T30" fmla="*/ 301 w 512"/>
              <a:gd name="T31" fmla="*/ 195 h 512"/>
              <a:gd name="T32" fmla="*/ 142 w 512"/>
              <a:gd name="T33" fmla="*/ 203 h 512"/>
              <a:gd name="T34" fmla="*/ 142 w 512"/>
              <a:gd name="T35" fmla="*/ 369 h 512"/>
              <a:gd name="T36" fmla="*/ 226 w 512"/>
              <a:gd name="T37" fmla="*/ 403 h 512"/>
              <a:gd name="T38" fmla="*/ 309 w 512"/>
              <a:gd name="T39" fmla="*/ 369 h 512"/>
              <a:gd name="T40" fmla="*/ 316 w 512"/>
              <a:gd name="T41" fmla="*/ 210 h 512"/>
              <a:gd name="T42" fmla="*/ 362 w 512"/>
              <a:gd name="T43" fmla="*/ 164 h 512"/>
              <a:gd name="T44" fmla="*/ 362 w 512"/>
              <a:gd name="T45" fmla="*/ 213 h 512"/>
              <a:gd name="T46" fmla="*/ 373 w 512"/>
              <a:gd name="T47" fmla="*/ 224 h 512"/>
              <a:gd name="T48" fmla="*/ 384 w 512"/>
              <a:gd name="T49" fmla="*/ 213 h 512"/>
              <a:gd name="T50" fmla="*/ 384 w 512"/>
              <a:gd name="T51" fmla="*/ 138 h 512"/>
              <a:gd name="T52" fmla="*/ 373 w 512"/>
              <a:gd name="T53" fmla="*/ 128 h 512"/>
              <a:gd name="T54" fmla="*/ 294 w 512"/>
              <a:gd name="T55" fmla="*/ 354 h 512"/>
              <a:gd name="T56" fmla="*/ 157 w 512"/>
              <a:gd name="T57" fmla="*/ 354 h 512"/>
              <a:gd name="T58" fmla="*/ 157 w 512"/>
              <a:gd name="T59" fmla="*/ 218 h 512"/>
              <a:gd name="T60" fmla="*/ 225 w 512"/>
              <a:gd name="T61" fmla="*/ 189 h 512"/>
              <a:gd name="T62" fmla="*/ 294 w 512"/>
              <a:gd name="T63" fmla="*/ 218 h 512"/>
              <a:gd name="T64" fmla="*/ 294 w 512"/>
              <a:gd name="T65" fmla="*/ 3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128"/>
                </a:moveTo>
                <a:cubicBezTo>
                  <a:pt x="298" y="128"/>
                  <a:pt x="298" y="128"/>
                  <a:pt x="298" y="128"/>
                </a:cubicBezTo>
                <a:cubicBezTo>
                  <a:pt x="292" y="128"/>
                  <a:pt x="288" y="132"/>
                  <a:pt x="288" y="138"/>
                </a:cubicBezTo>
                <a:cubicBezTo>
                  <a:pt x="288" y="144"/>
                  <a:pt x="292" y="149"/>
                  <a:pt x="298" y="149"/>
                </a:cubicBezTo>
                <a:cubicBezTo>
                  <a:pt x="347" y="149"/>
                  <a:pt x="347" y="149"/>
                  <a:pt x="347" y="149"/>
                </a:cubicBezTo>
                <a:cubicBezTo>
                  <a:pt x="301" y="195"/>
                  <a:pt x="301" y="195"/>
                  <a:pt x="301" y="195"/>
                </a:cubicBezTo>
                <a:cubicBezTo>
                  <a:pt x="255" y="157"/>
                  <a:pt x="186" y="159"/>
                  <a:pt x="142" y="203"/>
                </a:cubicBezTo>
                <a:cubicBezTo>
                  <a:pt x="97" y="248"/>
                  <a:pt x="97" y="323"/>
                  <a:pt x="142" y="369"/>
                </a:cubicBezTo>
                <a:cubicBezTo>
                  <a:pt x="165" y="392"/>
                  <a:pt x="195" y="403"/>
                  <a:pt x="226" y="403"/>
                </a:cubicBezTo>
                <a:cubicBezTo>
                  <a:pt x="256" y="403"/>
                  <a:pt x="286" y="392"/>
                  <a:pt x="309" y="369"/>
                </a:cubicBezTo>
                <a:cubicBezTo>
                  <a:pt x="352" y="325"/>
                  <a:pt x="354" y="257"/>
                  <a:pt x="316" y="210"/>
                </a:cubicBezTo>
                <a:cubicBezTo>
                  <a:pt x="362" y="164"/>
                  <a:pt x="362" y="164"/>
                  <a:pt x="362" y="164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2" y="219"/>
                  <a:pt x="367" y="224"/>
                  <a:pt x="373" y="224"/>
                </a:cubicBezTo>
                <a:cubicBezTo>
                  <a:pt x="379" y="224"/>
                  <a:pt x="384" y="219"/>
                  <a:pt x="384" y="213"/>
                </a:cubicBezTo>
                <a:cubicBezTo>
                  <a:pt x="384" y="138"/>
                  <a:pt x="384" y="138"/>
                  <a:pt x="384" y="138"/>
                </a:cubicBezTo>
                <a:cubicBezTo>
                  <a:pt x="384" y="132"/>
                  <a:pt x="379" y="128"/>
                  <a:pt x="373" y="128"/>
                </a:cubicBezTo>
                <a:close/>
                <a:moveTo>
                  <a:pt x="294" y="354"/>
                </a:moveTo>
                <a:cubicBezTo>
                  <a:pt x="256" y="391"/>
                  <a:pt x="195" y="391"/>
                  <a:pt x="157" y="354"/>
                </a:cubicBezTo>
                <a:cubicBezTo>
                  <a:pt x="120" y="316"/>
                  <a:pt x="120" y="255"/>
                  <a:pt x="157" y="218"/>
                </a:cubicBezTo>
                <a:cubicBezTo>
                  <a:pt x="176" y="199"/>
                  <a:pt x="201" y="189"/>
                  <a:pt x="225" y="189"/>
                </a:cubicBezTo>
                <a:cubicBezTo>
                  <a:pt x="250" y="189"/>
                  <a:pt x="275" y="199"/>
                  <a:pt x="294" y="218"/>
                </a:cubicBezTo>
                <a:cubicBezTo>
                  <a:pt x="331" y="255"/>
                  <a:pt x="331" y="316"/>
                  <a:pt x="294" y="35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42" name="Freeform 153"/>
          <p:cNvSpPr>
            <a:spLocks noChangeAspect="1" noEditPoints="1"/>
          </p:cNvSpPr>
          <p:nvPr/>
        </p:nvSpPr>
        <p:spPr bwMode="auto">
          <a:xfrm>
            <a:off x="7394575" y="4530514"/>
            <a:ext cx="369021" cy="369021"/>
          </a:xfrm>
          <a:custGeom>
            <a:avLst/>
            <a:gdLst>
              <a:gd name="T0" fmla="*/ 378 w 512"/>
              <a:gd name="T1" fmla="*/ 181 h 512"/>
              <a:gd name="T2" fmla="*/ 256 w 512"/>
              <a:gd name="T3" fmla="*/ 233 h 512"/>
              <a:gd name="T4" fmla="*/ 208 w 512"/>
              <a:gd name="T5" fmla="*/ 213 h 512"/>
              <a:gd name="T6" fmla="*/ 330 w 512"/>
              <a:gd name="T7" fmla="*/ 161 h 512"/>
              <a:gd name="T8" fmla="*/ 378 w 512"/>
              <a:gd name="T9" fmla="*/ 181 h 512"/>
              <a:gd name="T10" fmla="*/ 303 w 512"/>
              <a:gd name="T11" fmla="*/ 149 h 512"/>
              <a:gd name="T12" fmla="*/ 256 w 512"/>
              <a:gd name="T13" fmla="*/ 129 h 512"/>
              <a:gd name="T14" fmla="*/ 133 w 512"/>
              <a:gd name="T15" fmla="*/ 181 h 512"/>
              <a:gd name="T16" fmla="*/ 181 w 512"/>
              <a:gd name="T17" fmla="*/ 201 h 512"/>
              <a:gd name="T18" fmla="*/ 303 w 512"/>
              <a:gd name="T19" fmla="*/ 149 h 512"/>
              <a:gd name="T20" fmla="*/ 117 w 512"/>
              <a:gd name="T21" fmla="*/ 324 h 512"/>
              <a:gd name="T22" fmla="*/ 245 w 512"/>
              <a:gd name="T23" fmla="*/ 388 h 512"/>
              <a:gd name="T24" fmla="*/ 245 w 512"/>
              <a:gd name="T25" fmla="*/ 252 h 512"/>
              <a:gd name="T26" fmla="*/ 117 w 512"/>
              <a:gd name="T27" fmla="*/ 197 h 512"/>
              <a:gd name="T28" fmla="*/ 117 w 512"/>
              <a:gd name="T29" fmla="*/ 324 h 512"/>
              <a:gd name="T30" fmla="*/ 334 w 512"/>
              <a:gd name="T31" fmla="*/ 292 h 512"/>
              <a:gd name="T32" fmla="*/ 309 w 512"/>
              <a:gd name="T33" fmla="*/ 302 h 512"/>
              <a:gd name="T34" fmla="*/ 309 w 512"/>
              <a:gd name="T35" fmla="*/ 325 h 512"/>
              <a:gd name="T36" fmla="*/ 334 w 512"/>
              <a:gd name="T37" fmla="*/ 314 h 512"/>
              <a:gd name="T38" fmla="*/ 334 w 512"/>
              <a:gd name="T39" fmla="*/ 292 h 512"/>
              <a:gd name="T40" fmla="*/ 266 w 512"/>
              <a:gd name="T41" fmla="*/ 252 h 512"/>
              <a:gd name="T42" fmla="*/ 394 w 512"/>
              <a:gd name="T43" fmla="*/ 197 h 512"/>
              <a:gd name="T44" fmla="*/ 394 w 512"/>
              <a:gd name="T45" fmla="*/ 334 h 512"/>
              <a:gd name="T46" fmla="*/ 266 w 512"/>
              <a:gd name="T47" fmla="*/ 389 h 512"/>
              <a:gd name="T48" fmla="*/ 266 w 512"/>
              <a:gd name="T49" fmla="*/ 252 h 512"/>
              <a:gd name="T50" fmla="*/ 288 w 512"/>
              <a:gd name="T51" fmla="*/ 341 h 512"/>
              <a:gd name="T52" fmla="*/ 292 w 512"/>
              <a:gd name="T53" fmla="*/ 350 h 512"/>
              <a:gd name="T54" fmla="*/ 298 w 512"/>
              <a:gd name="T55" fmla="*/ 352 h 512"/>
              <a:gd name="T56" fmla="*/ 303 w 512"/>
              <a:gd name="T57" fmla="*/ 351 h 512"/>
              <a:gd name="T58" fmla="*/ 348 w 512"/>
              <a:gd name="T59" fmla="*/ 331 h 512"/>
              <a:gd name="T60" fmla="*/ 355 w 512"/>
              <a:gd name="T61" fmla="*/ 321 h 512"/>
              <a:gd name="T62" fmla="*/ 355 w 512"/>
              <a:gd name="T63" fmla="*/ 275 h 512"/>
              <a:gd name="T64" fmla="*/ 350 w 512"/>
              <a:gd name="T65" fmla="*/ 267 h 512"/>
              <a:gd name="T66" fmla="*/ 340 w 512"/>
              <a:gd name="T67" fmla="*/ 266 h 512"/>
              <a:gd name="T68" fmla="*/ 294 w 512"/>
              <a:gd name="T69" fmla="*/ 285 h 512"/>
              <a:gd name="T70" fmla="*/ 288 w 512"/>
              <a:gd name="T71" fmla="*/ 295 h 512"/>
              <a:gd name="T72" fmla="*/ 288 w 512"/>
              <a:gd name="T73" fmla="*/ 341 h 512"/>
              <a:gd name="T74" fmla="*/ 512 w 512"/>
              <a:gd name="T75" fmla="*/ 256 h 512"/>
              <a:gd name="T76" fmla="*/ 256 w 512"/>
              <a:gd name="T77" fmla="*/ 512 h 512"/>
              <a:gd name="T78" fmla="*/ 0 w 512"/>
              <a:gd name="T79" fmla="*/ 256 h 512"/>
              <a:gd name="T80" fmla="*/ 256 w 512"/>
              <a:gd name="T81" fmla="*/ 0 h 512"/>
              <a:gd name="T82" fmla="*/ 512 w 512"/>
              <a:gd name="T83" fmla="*/ 256 h 512"/>
              <a:gd name="T84" fmla="*/ 416 w 512"/>
              <a:gd name="T85" fmla="*/ 181 h 512"/>
              <a:gd name="T86" fmla="*/ 409 w 512"/>
              <a:gd name="T87" fmla="*/ 171 h 512"/>
              <a:gd name="T88" fmla="*/ 260 w 512"/>
              <a:gd name="T89" fmla="*/ 107 h 512"/>
              <a:gd name="T90" fmla="*/ 251 w 512"/>
              <a:gd name="T91" fmla="*/ 107 h 512"/>
              <a:gd name="T92" fmla="*/ 102 w 512"/>
              <a:gd name="T93" fmla="*/ 171 h 512"/>
              <a:gd name="T94" fmla="*/ 102 w 512"/>
              <a:gd name="T95" fmla="*/ 171 h 512"/>
              <a:gd name="T96" fmla="*/ 102 w 512"/>
              <a:gd name="T97" fmla="*/ 171 h 512"/>
              <a:gd name="T98" fmla="*/ 102 w 512"/>
              <a:gd name="T99" fmla="*/ 171 h 512"/>
              <a:gd name="T100" fmla="*/ 96 w 512"/>
              <a:gd name="T101" fmla="*/ 181 h 512"/>
              <a:gd name="T102" fmla="*/ 96 w 512"/>
              <a:gd name="T103" fmla="*/ 330 h 512"/>
              <a:gd name="T104" fmla="*/ 102 w 512"/>
              <a:gd name="T105" fmla="*/ 340 h 512"/>
              <a:gd name="T106" fmla="*/ 251 w 512"/>
              <a:gd name="T107" fmla="*/ 415 h 512"/>
              <a:gd name="T108" fmla="*/ 256 w 512"/>
              <a:gd name="T109" fmla="*/ 416 h 512"/>
              <a:gd name="T110" fmla="*/ 256 w 512"/>
              <a:gd name="T111" fmla="*/ 416 h 512"/>
              <a:gd name="T112" fmla="*/ 256 w 512"/>
              <a:gd name="T113" fmla="*/ 416 h 512"/>
              <a:gd name="T114" fmla="*/ 256 w 512"/>
              <a:gd name="T115" fmla="*/ 416 h 512"/>
              <a:gd name="T116" fmla="*/ 259 w 512"/>
              <a:gd name="T117" fmla="*/ 415 h 512"/>
              <a:gd name="T118" fmla="*/ 260 w 512"/>
              <a:gd name="T119" fmla="*/ 415 h 512"/>
              <a:gd name="T120" fmla="*/ 409 w 512"/>
              <a:gd name="T121" fmla="*/ 351 h 512"/>
              <a:gd name="T122" fmla="*/ 416 w 512"/>
              <a:gd name="T123" fmla="*/ 341 h 512"/>
              <a:gd name="T124" fmla="*/ 416 w 512"/>
              <a:gd name="T125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78" y="181"/>
                </a:moveTo>
                <a:cubicBezTo>
                  <a:pt x="256" y="233"/>
                  <a:pt x="256" y="233"/>
                  <a:pt x="256" y="233"/>
                </a:cubicBezTo>
                <a:cubicBezTo>
                  <a:pt x="208" y="213"/>
                  <a:pt x="208" y="213"/>
                  <a:pt x="208" y="213"/>
                </a:cubicBezTo>
                <a:cubicBezTo>
                  <a:pt x="330" y="161"/>
                  <a:pt x="330" y="161"/>
                  <a:pt x="330" y="161"/>
                </a:cubicBezTo>
                <a:lnTo>
                  <a:pt x="378" y="181"/>
                </a:lnTo>
                <a:close/>
                <a:moveTo>
                  <a:pt x="303" y="149"/>
                </a:moveTo>
                <a:cubicBezTo>
                  <a:pt x="256" y="129"/>
                  <a:pt x="256" y="129"/>
                  <a:pt x="256" y="129"/>
                </a:cubicBezTo>
                <a:cubicBezTo>
                  <a:pt x="133" y="181"/>
                  <a:pt x="133" y="181"/>
                  <a:pt x="133" y="181"/>
                </a:cubicBezTo>
                <a:cubicBezTo>
                  <a:pt x="181" y="201"/>
                  <a:pt x="181" y="201"/>
                  <a:pt x="181" y="201"/>
                </a:cubicBezTo>
                <a:lnTo>
                  <a:pt x="303" y="149"/>
                </a:lnTo>
                <a:close/>
                <a:moveTo>
                  <a:pt x="117" y="324"/>
                </a:moveTo>
                <a:cubicBezTo>
                  <a:pt x="245" y="388"/>
                  <a:pt x="245" y="388"/>
                  <a:pt x="245" y="388"/>
                </a:cubicBezTo>
                <a:cubicBezTo>
                  <a:pt x="245" y="252"/>
                  <a:pt x="245" y="252"/>
                  <a:pt x="245" y="252"/>
                </a:cubicBezTo>
                <a:cubicBezTo>
                  <a:pt x="117" y="197"/>
                  <a:pt x="117" y="197"/>
                  <a:pt x="117" y="197"/>
                </a:cubicBezTo>
                <a:lnTo>
                  <a:pt x="117" y="324"/>
                </a:lnTo>
                <a:close/>
                <a:moveTo>
                  <a:pt x="334" y="292"/>
                </a:moveTo>
                <a:cubicBezTo>
                  <a:pt x="309" y="302"/>
                  <a:pt x="309" y="302"/>
                  <a:pt x="309" y="302"/>
                </a:cubicBezTo>
                <a:cubicBezTo>
                  <a:pt x="309" y="325"/>
                  <a:pt x="309" y="325"/>
                  <a:pt x="309" y="325"/>
                </a:cubicBezTo>
                <a:cubicBezTo>
                  <a:pt x="334" y="314"/>
                  <a:pt x="334" y="314"/>
                  <a:pt x="334" y="314"/>
                </a:cubicBezTo>
                <a:lnTo>
                  <a:pt x="334" y="292"/>
                </a:lnTo>
                <a:close/>
                <a:moveTo>
                  <a:pt x="266" y="252"/>
                </a:moveTo>
                <a:cubicBezTo>
                  <a:pt x="394" y="197"/>
                  <a:pt x="394" y="197"/>
                  <a:pt x="394" y="197"/>
                </a:cubicBezTo>
                <a:cubicBezTo>
                  <a:pt x="394" y="223"/>
                  <a:pt x="394" y="334"/>
                  <a:pt x="394" y="334"/>
                </a:cubicBezTo>
                <a:cubicBezTo>
                  <a:pt x="266" y="389"/>
                  <a:pt x="266" y="389"/>
                  <a:pt x="266" y="389"/>
                </a:cubicBezTo>
                <a:lnTo>
                  <a:pt x="266" y="252"/>
                </a:lnTo>
                <a:close/>
                <a:moveTo>
                  <a:pt x="288" y="341"/>
                </a:moveTo>
                <a:cubicBezTo>
                  <a:pt x="288" y="345"/>
                  <a:pt x="289" y="348"/>
                  <a:pt x="292" y="350"/>
                </a:cubicBezTo>
                <a:cubicBezTo>
                  <a:pt x="294" y="351"/>
                  <a:pt x="296" y="352"/>
                  <a:pt x="298" y="352"/>
                </a:cubicBezTo>
                <a:cubicBezTo>
                  <a:pt x="300" y="352"/>
                  <a:pt x="301" y="351"/>
                  <a:pt x="303" y="351"/>
                </a:cubicBezTo>
                <a:cubicBezTo>
                  <a:pt x="348" y="331"/>
                  <a:pt x="348" y="331"/>
                  <a:pt x="348" y="331"/>
                </a:cubicBezTo>
                <a:cubicBezTo>
                  <a:pt x="352" y="329"/>
                  <a:pt x="355" y="326"/>
                  <a:pt x="355" y="321"/>
                </a:cubicBezTo>
                <a:cubicBezTo>
                  <a:pt x="355" y="275"/>
                  <a:pt x="355" y="275"/>
                  <a:pt x="355" y="275"/>
                </a:cubicBezTo>
                <a:cubicBezTo>
                  <a:pt x="355" y="272"/>
                  <a:pt x="353" y="269"/>
                  <a:pt x="350" y="267"/>
                </a:cubicBezTo>
                <a:cubicBezTo>
                  <a:pt x="347" y="265"/>
                  <a:pt x="343" y="264"/>
                  <a:pt x="340" y="266"/>
                </a:cubicBezTo>
                <a:cubicBezTo>
                  <a:pt x="294" y="285"/>
                  <a:pt x="294" y="285"/>
                  <a:pt x="294" y="285"/>
                </a:cubicBezTo>
                <a:cubicBezTo>
                  <a:pt x="290" y="287"/>
                  <a:pt x="288" y="291"/>
                  <a:pt x="288" y="295"/>
                </a:cubicBezTo>
                <a:lnTo>
                  <a:pt x="288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77"/>
                  <a:pt x="413" y="173"/>
                  <a:pt x="409" y="171"/>
                </a:cubicBezTo>
                <a:cubicBezTo>
                  <a:pt x="260" y="107"/>
                  <a:pt x="260" y="107"/>
                  <a:pt x="260" y="107"/>
                </a:cubicBezTo>
                <a:cubicBezTo>
                  <a:pt x="257" y="106"/>
                  <a:pt x="254" y="106"/>
                  <a:pt x="251" y="107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98" y="173"/>
                  <a:pt x="96" y="177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4"/>
                  <a:pt x="98" y="338"/>
                  <a:pt x="102" y="340"/>
                </a:cubicBezTo>
                <a:cubicBezTo>
                  <a:pt x="251" y="415"/>
                  <a:pt x="251" y="415"/>
                  <a:pt x="251" y="415"/>
                </a:cubicBezTo>
                <a:cubicBezTo>
                  <a:pt x="252" y="415"/>
                  <a:pt x="254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7" y="416"/>
                  <a:pt x="258" y="415"/>
                  <a:pt x="259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409" y="351"/>
                  <a:pt x="409" y="351"/>
                  <a:pt x="409" y="351"/>
                </a:cubicBezTo>
                <a:cubicBezTo>
                  <a:pt x="413" y="349"/>
                  <a:pt x="416" y="345"/>
                  <a:pt x="416" y="341"/>
                </a:cubicBezTo>
                <a:lnTo>
                  <a:pt x="416" y="18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3" name="Group 156"/>
          <p:cNvGrpSpPr>
            <a:grpSpLocks noChangeAspect="1"/>
          </p:cNvGrpSpPr>
          <p:nvPr/>
        </p:nvGrpSpPr>
        <p:grpSpPr bwMode="auto">
          <a:xfrm>
            <a:off x="7893968" y="4530514"/>
            <a:ext cx="369021" cy="369021"/>
            <a:chOff x="4259" y="394"/>
            <a:chExt cx="340" cy="340"/>
          </a:xfrm>
          <a:solidFill>
            <a:schemeClr val="accent2"/>
          </a:solidFill>
        </p:grpSpPr>
        <p:sp>
          <p:nvSpPr>
            <p:cNvPr id="744" name="Freeform 157"/>
            <p:cNvSpPr>
              <a:spLocks noEditPoints="1"/>
            </p:cNvSpPr>
            <p:nvPr/>
          </p:nvSpPr>
          <p:spPr bwMode="auto">
            <a:xfrm>
              <a:off x="4259" y="3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5" name="Freeform 158"/>
            <p:cNvSpPr>
              <a:spLocks noEditPoints="1"/>
            </p:cNvSpPr>
            <p:nvPr/>
          </p:nvSpPr>
          <p:spPr bwMode="auto">
            <a:xfrm>
              <a:off x="4323" y="464"/>
              <a:ext cx="212" cy="206"/>
            </a:xfrm>
            <a:custGeom>
              <a:avLst/>
              <a:gdLst>
                <a:gd name="T0" fmla="*/ 254 w 320"/>
                <a:gd name="T1" fmla="*/ 161 h 310"/>
                <a:gd name="T2" fmla="*/ 244 w 320"/>
                <a:gd name="T3" fmla="*/ 160 h 310"/>
                <a:gd name="T4" fmla="*/ 198 w 320"/>
                <a:gd name="T5" fmla="*/ 179 h 310"/>
                <a:gd name="T6" fmla="*/ 192 w 320"/>
                <a:gd name="T7" fmla="*/ 189 h 310"/>
                <a:gd name="T8" fmla="*/ 192 w 320"/>
                <a:gd name="T9" fmla="*/ 235 h 310"/>
                <a:gd name="T10" fmla="*/ 196 w 320"/>
                <a:gd name="T11" fmla="*/ 244 h 310"/>
                <a:gd name="T12" fmla="*/ 202 w 320"/>
                <a:gd name="T13" fmla="*/ 246 h 310"/>
                <a:gd name="T14" fmla="*/ 207 w 320"/>
                <a:gd name="T15" fmla="*/ 245 h 310"/>
                <a:gd name="T16" fmla="*/ 252 w 320"/>
                <a:gd name="T17" fmla="*/ 225 h 310"/>
                <a:gd name="T18" fmla="*/ 259 w 320"/>
                <a:gd name="T19" fmla="*/ 215 h 310"/>
                <a:gd name="T20" fmla="*/ 259 w 320"/>
                <a:gd name="T21" fmla="*/ 169 h 310"/>
                <a:gd name="T22" fmla="*/ 254 w 320"/>
                <a:gd name="T23" fmla="*/ 161 h 310"/>
                <a:gd name="T24" fmla="*/ 238 w 320"/>
                <a:gd name="T25" fmla="*/ 208 h 310"/>
                <a:gd name="T26" fmla="*/ 213 w 320"/>
                <a:gd name="T27" fmla="*/ 219 h 310"/>
                <a:gd name="T28" fmla="*/ 213 w 320"/>
                <a:gd name="T29" fmla="*/ 196 h 310"/>
                <a:gd name="T30" fmla="*/ 238 w 320"/>
                <a:gd name="T31" fmla="*/ 186 h 310"/>
                <a:gd name="T32" fmla="*/ 238 w 320"/>
                <a:gd name="T33" fmla="*/ 208 h 310"/>
                <a:gd name="T34" fmla="*/ 313 w 320"/>
                <a:gd name="T35" fmla="*/ 65 h 310"/>
                <a:gd name="T36" fmla="*/ 164 w 320"/>
                <a:gd name="T37" fmla="*/ 1 h 310"/>
                <a:gd name="T38" fmla="*/ 155 w 320"/>
                <a:gd name="T39" fmla="*/ 1 h 310"/>
                <a:gd name="T40" fmla="*/ 6 w 320"/>
                <a:gd name="T41" fmla="*/ 65 h 310"/>
                <a:gd name="T42" fmla="*/ 6 w 320"/>
                <a:gd name="T43" fmla="*/ 65 h 310"/>
                <a:gd name="T44" fmla="*/ 6 w 320"/>
                <a:gd name="T45" fmla="*/ 65 h 310"/>
                <a:gd name="T46" fmla="*/ 6 w 320"/>
                <a:gd name="T47" fmla="*/ 65 h 310"/>
                <a:gd name="T48" fmla="*/ 0 w 320"/>
                <a:gd name="T49" fmla="*/ 75 h 310"/>
                <a:gd name="T50" fmla="*/ 0 w 320"/>
                <a:gd name="T51" fmla="*/ 224 h 310"/>
                <a:gd name="T52" fmla="*/ 6 w 320"/>
                <a:gd name="T53" fmla="*/ 234 h 310"/>
                <a:gd name="T54" fmla="*/ 155 w 320"/>
                <a:gd name="T55" fmla="*/ 309 h 310"/>
                <a:gd name="T56" fmla="*/ 160 w 320"/>
                <a:gd name="T57" fmla="*/ 310 h 310"/>
                <a:gd name="T58" fmla="*/ 160 w 320"/>
                <a:gd name="T59" fmla="*/ 310 h 310"/>
                <a:gd name="T60" fmla="*/ 160 w 320"/>
                <a:gd name="T61" fmla="*/ 310 h 310"/>
                <a:gd name="T62" fmla="*/ 160 w 320"/>
                <a:gd name="T63" fmla="*/ 310 h 310"/>
                <a:gd name="T64" fmla="*/ 163 w 320"/>
                <a:gd name="T65" fmla="*/ 309 h 310"/>
                <a:gd name="T66" fmla="*/ 164 w 320"/>
                <a:gd name="T67" fmla="*/ 309 h 310"/>
                <a:gd name="T68" fmla="*/ 313 w 320"/>
                <a:gd name="T69" fmla="*/ 245 h 310"/>
                <a:gd name="T70" fmla="*/ 320 w 320"/>
                <a:gd name="T71" fmla="*/ 235 h 310"/>
                <a:gd name="T72" fmla="*/ 320 w 320"/>
                <a:gd name="T73" fmla="*/ 75 h 310"/>
                <a:gd name="T74" fmla="*/ 313 w 320"/>
                <a:gd name="T75" fmla="*/ 65 h 310"/>
                <a:gd name="T76" fmla="*/ 160 w 320"/>
                <a:gd name="T77" fmla="*/ 127 h 310"/>
                <a:gd name="T78" fmla="*/ 112 w 320"/>
                <a:gd name="T79" fmla="*/ 107 h 310"/>
                <a:gd name="T80" fmla="*/ 234 w 320"/>
                <a:gd name="T81" fmla="*/ 55 h 310"/>
                <a:gd name="T82" fmla="*/ 282 w 320"/>
                <a:gd name="T83" fmla="*/ 75 h 310"/>
                <a:gd name="T84" fmla="*/ 160 w 320"/>
                <a:gd name="T85" fmla="*/ 127 h 310"/>
                <a:gd name="T86" fmla="*/ 160 w 320"/>
                <a:gd name="T87" fmla="*/ 23 h 310"/>
                <a:gd name="T88" fmla="*/ 207 w 320"/>
                <a:gd name="T89" fmla="*/ 43 h 310"/>
                <a:gd name="T90" fmla="*/ 85 w 320"/>
                <a:gd name="T91" fmla="*/ 95 h 310"/>
                <a:gd name="T92" fmla="*/ 37 w 320"/>
                <a:gd name="T93" fmla="*/ 75 h 310"/>
                <a:gd name="T94" fmla="*/ 160 w 320"/>
                <a:gd name="T95" fmla="*/ 23 h 310"/>
                <a:gd name="T96" fmla="*/ 21 w 320"/>
                <a:gd name="T97" fmla="*/ 218 h 310"/>
                <a:gd name="T98" fmla="*/ 21 w 320"/>
                <a:gd name="T99" fmla="*/ 91 h 310"/>
                <a:gd name="T100" fmla="*/ 149 w 320"/>
                <a:gd name="T101" fmla="*/ 146 h 310"/>
                <a:gd name="T102" fmla="*/ 149 w 320"/>
                <a:gd name="T103" fmla="*/ 282 h 310"/>
                <a:gd name="T104" fmla="*/ 21 w 320"/>
                <a:gd name="T105" fmla="*/ 218 h 310"/>
                <a:gd name="T106" fmla="*/ 170 w 320"/>
                <a:gd name="T107" fmla="*/ 283 h 310"/>
                <a:gd name="T108" fmla="*/ 170 w 320"/>
                <a:gd name="T109" fmla="*/ 146 h 310"/>
                <a:gd name="T110" fmla="*/ 298 w 320"/>
                <a:gd name="T111" fmla="*/ 91 h 310"/>
                <a:gd name="T112" fmla="*/ 298 w 320"/>
                <a:gd name="T113" fmla="*/ 228 h 310"/>
                <a:gd name="T114" fmla="*/ 170 w 320"/>
                <a:gd name="T115" fmla="*/ 28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10">
                  <a:moveTo>
                    <a:pt x="254" y="161"/>
                  </a:moveTo>
                  <a:cubicBezTo>
                    <a:pt x="251" y="159"/>
                    <a:pt x="247" y="158"/>
                    <a:pt x="244" y="160"/>
                  </a:cubicBezTo>
                  <a:cubicBezTo>
                    <a:pt x="198" y="179"/>
                    <a:pt x="198" y="179"/>
                    <a:pt x="198" y="179"/>
                  </a:cubicBezTo>
                  <a:cubicBezTo>
                    <a:pt x="194" y="181"/>
                    <a:pt x="192" y="185"/>
                    <a:pt x="192" y="189"/>
                  </a:cubicBezTo>
                  <a:cubicBezTo>
                    <a:pt x="192" y="235"/>
                    <a:pt x="192" y="235"/>
                    <a:pt x="192" y="235"/>
                  </a:cubicBezTo>
                  <a:cubicBezTo>
                    <a:pt x="192" y="239"/>
                    <a:pt x="193" y="242"/>
                    <a:pt x="196" y="244"/>
                  </a:cubicBezTo>
                  <a:cubicBezTo>
                    <a:pt x="198" y="245"/>
                    <a:pt x="200" y="246"/>
                    <a:pt x="202" y="246"/>
                  </a:cubicBezTo>
                  <a:cubicBezTo>
                    <a:pt x="204" y="246"/>
                    <a:pt x="205" y="245"/>
                    <a:pt x="207" y="245"/>
                  </a:cubicBezTo>
                  <a:cubicBezTo>
                    <a:pt x="252" y="225"/>
                    <a:pt x="252" y="225"/>
                    <a:pt x="252" y="225"/>
                  </a:cubicBezTo>
                  <a:cubicBezTo>
                    <a:pt x="256" y="223"/>
                    <a:pt x="259" y="220"/>
                    <a:pt x="259" y="215"/>
                  </a:cubicBezTo>
                  <a:cubicBezTo>
                    <a:pt x="259" y="169"/>
                    <a:pt x="259" y="169"/>
                    <a:pt x="259" y="169"/>
                  </a:cubicBezTo>
                  <a:cubicBezTo>
                    <a:pt x="259" y="166"/>
                    <a:pt x="257" y="163"/>
                    <a:pt x="254" y="161"/>
                  </a:cubicBezTo>
                  <a:close/>
                  <a:moveTo>
                    <a:pt x="238" y="208"/>
                  </a:moveTo>
                  <a:cubicBezTo>
                    <a:pt x="213" y="219"/>
                    <a:pt x="213" y="219"/>
                    <a:pt x="213" y="219"/>
                  </a:cubicBezTo>
                  <a:cubicBezTo>
                    <a:pt x="213" y="196"/>
                    <a:pt x="213" y="196"/>
                    <a:pt x="213" y="196"/>
                  </a:cubicBezTo>
                  <a:cubicBezTo>
                    <a:pt x="238" y="186"/>
                    <a:pt x="238" y="186"/>
                    <a:pt x="238" y="186"/>
                  </a:cubicBezTo>
                  <a:lnTo>
                    <a:pt x="238" y="208"/>
                  </a:lnTo>
                  <a:close/>
                  <a:moveTo>
                    <a:pt x="313" y="65"/>
                  </a:moveTo>
                  <a:cubicBezTo>
                    <a:pt x="164" y="1"/>
                    <a:pt x="164" y="1"/>
                    <a:pt x="164" y="1"/>
                  </a:cubicBezTo>
                  <a:cubicBezTo>
                    <a:pt x="161" y="0"/>
                    <a:pt x="158" y="0"/>
                    <a:pt x="155" y="1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" y="67"/>
                    <a:pt x="0" y="71"/>
                    <a:pt x="0" y="7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8"/>
                    <a:pt x="2" y="232"/>
                    <a:pt x="6" y="234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56" y="309"/>
                    <a:pt x="158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0" y="310"/>
                    <a:pt x="160" y="310"/>
                    <a:pt x="160" y="310"/>
                  </a:cubicBezTo>
                  <a:cubicBezTo>
                    <a:pt x="161" y="310"/>
                    <a:pt x="162" y="309"/>
                    <a:pt x="163" y="309"/>
                  </a:cubicBezTo>
                  <a:cubicBezTo>
                    <a:pt x="164" y="309"/>
                    <a:pt x="164" y="309"/>
                    <a:pt x="164" y="309"/>
                  </a:cubicBezTo>
                  <a:cubicBezTo>
                    <a:pt x="313" y="245"/>
                    <a:pt x="313" y="245"/>
                    <a:pt x="313" y="245"/>
                  </a:cubicBezTo>
                  <a:cubicBezTo>
                    <a:pt x="317" y="243"/>
                    <a:pt x="320" y="239"/>
                    <a:pt x="320" y="235"/>
                  </a:cubicBezTo>
                  <a:cubicBezTo>
                    <a:pt x="320" y="75"/>
                    <a:pt x="320" y="75"/>
                    <a:pt x="320" y="75"/>
                  </a:cubicBezTo>
                  <a:cubicBezTo>
                    <a:pt x="320" y="71"/>
                    <a:pt x="317" y="67"/>
                    <a:pt x="313" y="65"/>
                  </a:cubicBezTo>
                  <a:close/>
                  <a:moveTo>
                    <a:pt x="160" y="127"/>
                  </a:moveTo>
                  <a:cubicBezTo>
                    <a:pt x="112" y="107"/>
                    <a:pt x="112" y="107"/>
                    <a:pt x="112" y="107"/>
                  </a:cubicBezTo>
                  <a:cubicBezTo>
                    <a:pt x="234" y="55"/>
                    <a:pt x="234" y="55"/>
                    <a:pt x="234" y="55"/>
                  </a:cubicBezTo>
                  <a:cubicBezTo>
                    <a:pt x="282" y="75"/>
                    <a:pt x="282" y="75"/>
                    <a:pt x="282" y="75"/>
                  </a:cubicBezTo>
                  <a:lnTo>
                    <a:pt x="160" y="127"/>
                  </a:lnTo>
                  <a:close/>
                  <a:moveTo>
                    <a:pt x="160" y="23"/>
                  </a:moveTo>
                  <a:cubicBezTo>
                    <a:pt x="207" y="43"/>
                    <a:pt x="207" y="43"/>
                    <a:pt x="207" y="43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37" y="75"/>
                    <a:pt x="37" y="75"/>
                    <a:pt x="37" y="75"/>
                  </a:cubicBezTo>
                  <a:lnTo>
                    <a:pt x="160" y="23"/>
                  </a:lnTo>
                  <a:close/>
                  <a:moveTo>
                    <a:pt x="21" y="218"/>
                  </a:moveTo>
                  <a:cubicBezTo>
                    <a:pt x="21" y="91"/>
                    <a:pt x="21" y="91"/>
                    <a:pt x="21" y="91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282"/>
                    <a:pt x="149" y="282"/>
                    <a:pt x="149" y="282"/>
                  </a:cubicBezTo>
                  <a:lnTo>
                    <a:pt x="21" y="218"/>
                  </a:lnTo>
                  <a:close/>
                  <a:moveTo>
                    <a:pt x="170" y="283"/>
                  </a:moveTo>
                  <a:cubicBezTo>
                    <a:pt x="170" y="146"/>
                    <a:pt x="170" y="146"/>
                    <a:pt x="170" y="146"/>
                  </a:cubicBezTo>
                  <a:cubicBezTo>
                    <a:pt x="298" y="91"/>
                    <a:pt x="298" y="91"/>
                    <a:pt x="298" y="91"/>
                  </a:cubicBezTo>
                  <a:cubicBezTo>
                    <a:pt x="298" y="117"/>
                    <a:pt x="298" y="228"/>
                    <a:pt x="298" y="228"/>
                  </a:cubicBez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6" name="Freeform 162"/>
          <p:cNvSpPr>
            <a:spLocks noChangeAspect="1" noEditPoints="1"/>
          </p:cNvSpPr>
          <p:nvPr/>
        </p:nvSpPr>
        <p:spPr bwMode="auto">
          <a:xfrm>
            <a:off x="9384872" y="3739760"/>
            <a:ext cx="369021" cy="369021"/>
          </a:xfrm>
          <a:custGeom>
            <a:avLst/>
            <a:gdLst>
              <a:gd name="T0" fmla="*/ 349 w 512"/>
              <a:gd name="T1" fmla="*/ 210 h 512"/>
              <a:gd name="T2" fmla="*/ 309 w 512"/>
              <a:gd name="T3" fmla="*/ 182 h 512"/>
              <a:gd name="T4" fmla="*/ 343 w 512"/>
              <a:gd name="T5" fmla="*/ 156 h 512"/>
              <a:gd name="T6" fmla="*/ 300 w 512"/>
              <a:gd name="T7" fmla="*/ 278 h 512"/>
              <a:gd name="T8" fmla="*/ 284 w 512"/>
              <a:gd name="T9" fmla="*/ 278 h 512"/>
              <a:gd name="T10" fmla="*/ 243 w 512"/>
              <a:gd name="T11" fmla="*/ 313 h 512"/>
              <a:gd name="T12" fmla="*/ 269 w 512"/>
              <a:gd name="T13" fmla="*/ 350 h 512"/>
              <a:gd name="T14" fmla="*/ 256 w 512"/>
              <a:gd name="T15" fmla="*/ 363 h 512"/>
              <a:gd name="T16" fmla="*/ 139 w 512"/>
              <a:gd name="T17" fmla="*/ 249 h 512"/>
              <a:gd name="T18" fmla="*/ 218 w 512"/>
              <a:gd name="T19" fmla="*/ 144 h 512"/>
              <a:gd name="T20" fmla="*/ 295 w 512"/>
              <a:gd name="T21" fmla="*/ 144 h 512"/>
              <a:gd name="T22" fmla="*/ 277 w 512"/>
              <a:gd name="T23" fmla="*/ 171 h 512"/>
              <a:gd name="T24" fmla="*/ 277 w 512"/>
              <a:gd name="T25" fmla="*/ 214 h 512"/>
              <a:gd name="T26" fmla="*/ 299 w 512"/>
              <a:gd name="T27" fmla="*/ 216 h 512"/>
              <a:gd name="T28" fmla="*/ 224 w 512"/>
              <a:gd name="T29" fmla="*/ 288 h 512"/>
              <a:gd name="T30" fmla="*/ 181 w 512"/>
              <a:gd name="T31" fmla="*/ 288 h 512"/>
              <a:gd name="T32" fmla="*/ 224 w 512"/>
              <a:gd name="T33" fmla="*/ 288 h 512"/>
              <a:gd name="T34" fmla="*/ 203 w 512"/>
              <a:gd name="T35" fmla="*/ 192 h 512"/>
              <a:gd name="T36" fmla="*/ 203 w 512"/>
              <a:gd name="T37" fmla="*/ 235 h 512"/>
              <a:gd name="T38" fmla="*/ 339 w 512"/>
              <a:gd name="T39" fmla="*/ 236 h 512"/>
              <a:gd name="T40" fmla="*/ 320 w 512"/>
              <a:gd name="T41" fmla="*/ 232 h 512"/>
              <a:gd name="T42" fmla="*/ 330 w 512"/>
              <a:gd name="T43" fmla="*/ 384 h 512"/>
              <a:gd name="T44" fmla="*/ 341 w 512"/>
              <a:gd name="T45" fmla="*/ 266 h 512"/>
              <a:gd name="T46" fmla="*/ 339 w 512"/>
              <a:gd name="T47" fmla="*/ 236 h 512"/>
              <a:gd name="T48" fmla="*/ 363 w 512"/>
              <a:gd name="T49" fmla="*/ 267 h 512"/>
              <a:gd name="T50" fmla="*/ 382 w 512"/>
              <a:gd name="T51" fmla="*/ 266 h 512"/>
              <a:gd name="T52" fmla="*/ 366 w 512"/>
              <a:gd name="T53" fmla="*/ 222 h 512"/>
              <a:gd name="T54" fmla="*/ 512 w 512"/>
              <a:gd name="T55" fmla="*/ 256 h 512"/>
              <a:gd name="T56" fmla="*/ 0 w 512"/>
              <a:gd name="T57" fmla="*/ 256 h 512"/>
              <a:gd name="T58" fmla="*/ 512 w 512"/>
              <a:gd name="T59" fmla="*/ 256 h 512"/>
              <a:gd name="T60" fmla="*/ 371 w 512"/>
              <a:gd name="T61" fmla="*/ 164 h 512"/>
              <a:gd name="T62" fmla="*/ 350 w 512"/>
              <a:gd name="T63" fmla="*/ 113 h 512"/>
              <a:gd name="T64" fmla="*/ 337 w 512"/>
              <a:gd name="T65" fmla="*/ 97 h 512"/>
              <a:gd name="T66" fmla="*/ 256 w 512"/>
              <a:gd name="T67" fmla="*/ 118 h 512"/>
              <a:gd name="T68" fmla="*/ 151 w 512"/>
              <a:gd name="T69" fmla="*/ 164 h 512"/>
              <a:gd name="T70" fmla="*/ 146 w 512"/>
              <a:gd name="T71" fmla="*/ 330 h 512"/>
              <a:gd name="T72" fmla="*/ 286 w 512"/>
              <a:gd name="T73" fmla="*/ 373 h 512"/>
              <a:gd name="T74" fmla="*/ 274 w 512"/>
              <a:gd name="T75" fmla="*/ 325 h 512"/>
              <a:gd name="T76" fmla="*/ 266 w 512"/>
              <a:gd name="T77" fmla="*/ 302 h 512"/>
              <a:gd name="T78" fmla="*/ 289 w 512"/>
              <a:gd name="T79" fmla="*/ 299 h 512"/>
              <a:gd name="T80" fmla="*/ 309 w 512"/>
              <a:gd name="T81" fmla="*/ 396 h 512"/>
              <a:gd name="T82" fmla="*/ 341 w 512"/>
              <a:gd name="T83" fmla="*/ 406 h 512"/>
              <a:gd name="T84" fmla="*/ 360 w 512"/>
              <a:gd name="T85" fmla="*/ 299 h 512"/>
              <a:gd name="T86" fmla="*/ 371 w 512"/>
              <a:gd name="T87" fmla="*/ 1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43" y="156"/>
                </a:moveTo>
                <a:cubicBezTo>
                  <a:pt x="354" y="172"/>
                  <a:pt x="357" y="198"/>
                  <a:pt x="349" y="210"/>
                </a:cubicBezTo>
                <a:cubicBezTo>
                  <a:pt x="347" y="213"/>
                  <a:pt x="343" y="216"/>
                  <a:pt x="333" y="214"/>
                </a:cubicBezTo>
                <a:cubicBezTo>
                  <a:pt x="309" y="208"/>
                  <a:pt x="309" y="185"/>
                  <a:pt x="309" y="182"/>
                </a:cubicBezTo>
                <a:cubicBezTo>
                  <a:pt x="309" y="155"/>
                  <a:pt x="320" y="138"/>
                  <a:pt x="330" y="128"/>
                </a:cubicBezTo>
                <a:cubicBezTo>
                  <a:pt x="332" y="136"/>
                  <a:pt x="336" y="145"/>
                  <a:pt x="343" y="156"/>
                </a:cubicBezTo>
                <a:close/>
                <a:moveTo>
                  <a:pt x="299" y="257"/>
                </a:moveTo>
                <a:cubicBezTo>
                  <a:pt x="300" y="278"/>
                  <a:pt x="300" y="278"/>
                  <a:pt x="300" y="278"/>
                </a:cubicBezTo>
                <a:cubicBezTo>
                  <a:pt x="289" y="278"/>
                  <a:pt x="289" y="278"/>
                  <a:pt x="289" y="278"/>
                </a:cubicBezTo>
                <a:cubicBezTo>
                  <a:pt x="287" y="278"/>
                  <a:pt x="286" y="278"/>
                  <a:pt x="284" y="278"/>
                </a:cubicBezTo>
                <a:cubicBezTo>
                  <a:pt x="275" y="277"/>
                  <a:pt x="262" y="277"/>
                  <a:pt x="252" y="286"/>
                </a:cubicBezTo>
                <a:cubicBezTo>
                  <a:pt x="245" y="292"/>
                  <a:pt x="241" y="303"/>
                  <a:pt x="243" y="313"/>
                </a:cubicBezTo>
                <a:cubicBezTo>
                  <a:pt x="245" y="327"/>
                  <a:pt x="253" y="335"/>
                  <a:pt x="260" y="341"/>
                </a:cubicBezTo>
                <a:cubicBezTo>
                  <a:pt x="264" y="343"/>
                  <a:pt x="267" y="346"/>
                  <a:pt x="269" y="350"/>
                </a:cubicBezTo>
                <a:cubicBezTo>
                  <a:pt x="271" y="352"/>
                  <a:pt x="271" y="358"/>
                  <a:pt x="269" y="360"/>
                </a:cubicBezTo>
                <a:cubicBezTo>
                  <a:pt x="269" y="361"/>
                  <a:pt x="266" y="363"/>
                  <a:pt x="256" y="363"/>
                </a:cubicBezTo>
                <a:cubicBezTo>
                  <a:pt x="222" y="363"/>
                  <a:pt x="184" y="344"/>
                  <a:pt x="163" y="317"/>
                </a:cubicBezTo>
                <a:cubicBezTo>
                  <a:pt x="148" y="298"/>
                  <a:pt x="140" y="273"/>
                  <a:pt x="139" y="249"/>
                </a:cubicBezTo>
                <a:cubicBezTo>
                  <a:pt x="139" y="224"/>
                  <a:pt x="148" y="201"/>
                  <a:pt x="167" y="178"/>
                </a:cubicBezTo>
                <a:cubicBezTo>
                  <a:pt x="181" y="162"/>
                  <a:pt x="198" y="150"/>
                  <a:pt x="218" y="144"/>
                </a:cubicBezTo>
                <a:cubicBezTo>
                  <a:pt x="229" y="141"/>
                  <a:pt x="242" y="139"/>
                  <a:pt x="256" y="139"/>
                </a:cubicBezTo>
                <a:cubicBezTo>
                  <a:pt x="263" y="139"/>
                  <a:pt x="281" y="140"/>
                  <a:pt x="295" y="144"/>
                </a:cubicBezTo>
                <a:cubicBezTo>
                  <a:pt x="291" y="153"/>
                  <a:pt x="289" y="163"/>
                  <a:pt x="288" y="174"/>
                </a:cubicBezTo>
                <a:cubicBezTo>
                  <a:pt x="285" y="172"/>
                  <a:pt x="281" y="171"/>
                  <a:pt x="277" y="171"/>
                </a:cubicBezTo>
                <a:cubicBezTo>
                  <a:pt x="266" y="171"/>
                  <a:pt x="256" y="181"/>
                  <a:pt x="256" y="192"/>
                </a:cubicBezTo>
                <a:cubicBezTo>
                  <a:pt x="256" y="204"/>
                  <a:pt x="266" y="214"/>
                  <a:pt x="277" y="214"/>
                </a:cubicBezTo>
                <a:cubicBezTo>
                  <a:pt x="284" y="214"/>
                  <a:pt x="289" y="211"/>
                  <a:pt x="293" y="207"/>
                </a:cubicBezTo>
                <a:cubicBezTo>
                  <a:pt x="295" y="210"/>
                  <a:pt x="296" y="213"/>
                  <a:pt x="299" y="216"/>
                </a:cubicBezTo>
                <a:lnTo>
                  <a:pt x="299" y="257"/>
                </a:lnTo>
                <a:close/>
                <a:moveTo>
                  <a:pt x="224" y="288"/>
                </a:moveTo>
                <a:cubicBezTo>
                  <a:pt x="224" y="277"/>
                  <a:pt x="214" y="267"/>
                  <a:pt x="203" y="267"/>
                </a:cubicBezTo>
                <a:cubicBezTo>
                  <a:pt x="191" y="267"/>
                  <a:pt x="181" y="277"/>
                  <a:pt x="181" y="288"/>
                </a:cubicBezTo>
                <a:cubicBezTo>
                  <a:pt x="181" y="300"/>
                  <a:pt x="191" y="310"/>
                  <a:pt x="203" y="310"/>
                </a:cubicBezTo>
                <a:cubicBezTo>
                  <a:pt x="214" y="310"/>
                  <a:pt x="224" y="300"/>
                  <a:pt x="224" y="288"/>
                </a:cubicBezTo>
                <a:close/>
                <a:moveTo>
                  <a:pt x="224" y="214"/>
                </a:moveTo>
                <a:cubicBezTo>
                  <a:pt x="224" y="202"/>
                  <a:pt x="214" y="192"/>
                  <a:pt x="203" y="192"/>
                </a:cubicBezTo>
                <a:cubicBezTo>
                  <a:pt x="191" y="192"/>
                  <a:pt x="181" y="202"/>
                  <a:pt x="181" y="214"/>
                </a:cubicBezTo>
                <a:cubicBezTo>
                  <a:pt x="181" y="225"/>
                  <a:pt x="191" y="235"/>
                  <a:pt x="203" y="235"/>
                </a:cubicBezTo>
                <a:cubicBezTo>
                  <a:pt x="214" y="235"/>
                  <a:pt x="224" y="225"/>
                  <a:pt x="224" y="214"/>
                </a:cubicBezTo>
                <a:close/>
                <a:moveTo>
                  <a:pt x="339" y="236"/>
                </a:moveTo>
                <a:cubicBezTo>
                  <a:pt x="336" y="236"/>
                  <a:pt x="332" y="236"/>
                  <a:pt x="328" y="235"/>
                </a:cubicBezTo>
                <a:cubicBezTo>
                  <a:pt x="325" y="234"/>
                  <a:pt x="323" y="233"/>
                  <a:pt x="320" y="232"/>
                </a:cubicBezTo>
                <a:cubicBezTo>
                  <a:pt x="320" y="256"/>
                  <a:pt x="320" y="256"/>
                  <a:pt x="320" y="256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2" y="384"/>
                  <a:pt x="332" y="384"/>
                  <a:pt x="332" y="384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341" y="236"/>
                  <a:pt x="341" y="236"/>
                  <a:pt x="341" y="236"/>
                </a:cubicBezTo>
                <a:cubicBezTo>
                  <a:pt x="341" y="236"/>
                  <a:pt x="340" y="236"/>
                  <a:pt x="339" y="236"/>
                </a:cubicBezTo>
                <a:close/>
                <a:moveTo>
                  <a:pt x="363" y="226"/>
                </a:moveTo>
                <a:cubicBezTo>
                  <a:pt x="363" y="267"/>
                  <a:pt x="363" y="267"/>
                  <a:pt x="363" y="267"/>
                </a:cubicBezTo>
                <a:cubicBezTo>
                  <a:pt x="362" y="277"/>
                  <a:pt x="362" y="277"/>
                  <a:pt x="362" y="277"/>
                </a:cubicBezTo>
                <a:cubicBezTo>
                  <a:pt x="372" y="276"/>
                  <a:pt x="379" y="272"/>
                  <a:pt x="382" y="266"/>
                </a:cubicBezTo>
                <a:cubicBezTo>
                  <a:pt x="389" y="253"/>
                  <a:pt x="382" y="230"/>
                  <a:pt x="372" y="209"/>
                </a:cubicBezTo>
                <a:cubicBezTo>
                  <a:pt x="371" y="214"/>
                  <a:pt x="369" y="218"/>
                  <a:pt x="366" y="222"/>
                </a:cubicBezTo>
                <a:cubicBezTo>
                  <a:pt x="365" y="224"/>
                  <a:pt x="364" y="225"/>
                  <a:pt x="363" y="226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71" y="165"/>
                </a:moveTo>
                <a:cubicBezTo>
                  <a:pt x="371" y="165"/>
                  <a:pt x="371" y="164"/>
                  <a:pt x="371" y="164"/>
                </a:cubicBezTo>
                <a:cubicBezTo>
                  <a:pt x="368" y="157"/>
                  <a:pt x="365" y="150"/>
                  <a:pt x="361" y="144"/>
                </a:cubicBezTo>
                <a:cubicBezTo>
                  <a:pt x="348" y="124"/>
                  <a:pt x="350" y="115"/>
                  <a:pt x="350" y="113"/>
                </a:cubicBezTo>
                <a:cubicBezTo>
                  <a:pt x="354" y="109"/>
                  <a:pt x="354" y="105"/>
                  <a:pt x="351" y="100"/>
                </a:cubicBezTo>
                <a:cubicBezTo>
                  <a:pt x="348" y="96"/>
                  <a:pt x="342" y="95"/>
                  <a:pt x="337" y="97"/>
                </a:cubicBezTo>
                <a:cubicBezTo>
                  <a:pt x="336" y="98"/>
                  <a:pt x="318" y="106"/>
                  <a:pt x="305" y="125"/>
                </a:cubicBezTo>
                <a:cubicBezTo>
                  <a:pt x="285" y="118"/>
                  <a:pt x="260" y="118"/>
                  <a:pt x="256" y="118"/>
                </a:cubicBezTo>
                <a:cubicBezTo>
                  <a:pt x="240" y="118"/>
                  <a:pt x="225" y="120"/>
                  <a:pt x="211" y="124"/>
                </a:cubicBezTo>
                <a:cubicBezTo>
                  <a:pt x="188" y="131"/>
                  <a:pt x="167" y="145"/>
                  <a:pt x="151" y="164"/>
                </a:cubicBezTo>
                <a:cubicBezTo>
                  <a:pt x="129" y="190"/>
                  <a:pt x="118" y="219"/>
                  <a:pt x="118" y="249"/>
                </a:cubicBezTo>
                <a:cubicBezTo>
                  <a:pt x="118" y="278"/>
                  <a:pt x="128" y="307"/>
                  <a:pt x="146" y="330"/>
                </a:cubicBezTo>
                <a:cubicBezTo>
                  <a:pt x="172" y="363"/>
                  <a:pt x="216" y="384"/>
                  <a:pt x="256" y="384"/>
                </a:cubicBezTo>
                <a:cubicBezTo>
                  <a:pt x="261" y="384"/>
                  <a:pt x="277" y="384"/>
                  <a:pt x="286" y="373"/>
                </a:cubicBezTo>
                <a:cubicBezTo>
                  <a:pt x="295" y="363"/>
                  <a:pt x="293" y="347"/>
                  <a:pt x="286" y="337"/>
                </a:cubicBezTo>
                <a:cubicBezTo>
                  <a:pt x="283" y="332"/>
                  <a:pt x="278" y="328"/>
                  <a:pt x="274" y="325"/>
                </a:cubicBezTo>
                <a:cubicBezTo>
                  <a:pt x="268" y="319"/>
                  <a:pt x="265" y="316"/>
                  <a:pt x="264" y="310"/>
                </a:cubicBezTo>
                <a:cubicBezTo>
                  <a:pt x="263" y="307"/>
                  <a:pt x="264" y="303"/>
                  <a:pt x="266" y="302"/>
                </a:cubicBezTo>
                <a:cubicBezTo>
                  <a:pt x="269" y="299"/>
                  <a:pt x="277" y="299"/>
                  <a:pt x="284" y="299"/>
                </a:cubicBezTo>
                <a:cubicBezTo>
                  <a:pt x="286" y="299"/>
                  <a:pt x="287" y="299"/>
                  <a:pt x="289" y="299"/>
                </a:cubicBezTo>
                <a:cubicBezTo>
                  <a:pt x="302" y="299"/>
                  <a:pt x="302" y="299"/>
                  <a:pt x="302" y="299"/>
                </a:cubicBezTo>
                <a:cubicBezTo>
                  <a:pt x="309" y="396"/>
                  <a:pt x="309" y="396"/>
                  <a:pt x="309" y="396"/>
                </a:cubicBezTo>
                <a:cubicBezTo>
                  <a:pt x="310" y="401"/>
                  <a:pt x="314" y="406"/>
                  <a:pt x="320" y="406"/>
                </a:cubicBezTo>
                <a:cubicBezTo>
                  <a:pt x="341" y="406"/>
                  <a:pt x="341" y="406"/>
                  <a:pt x="341" y="406"/>
                </a:cubicBezTo>
                <a:cubicBezTo>
                  <a:pt x="347" y="406"/>
                  <a:pt x="351" y="401"/>
                  <a:pt x="352" y="396"/>
                </a:cubicBezTo>
                <a:cubicBezTo>
                  <a:pt x="360" y="299"/>
                  <a:pt x="360" y="299"/>
                  <a:pt x="360" y="299"/>
                </a:cubicBezTo>
                <a:cubicBezTo>
                  <a:pt x="380" y="297"/>
                  <a:pt x="394" y="289"/>
                  <a:pt x="401" y="276"/>
                </a:cubicBezTo>
                <a:cubicBezTo>
                  <a:pt x="421" y="239"/>
                  <a:pt x="377" y="172"/>
                  <a:pt x="371" y="1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7" name="Group 165"/>
          <p:cNvGrpSpPr>
            <a:grpSpLocks noChangeAspect="1"/>
          </p:cNvGrpSpPr>
          <p:nvPr/>
        </p:nvGrpSpPr>
        <p:grpSpPr bwMode="auto">
          <a:xfrm>
            <a:off x="9883611" y="3739760"/>
            <a:ext cx="369021" cy="369021"/>
            <a:chOff x="5035" y="390"/>
            <a:chExt cx="340" cy="340"/>
          </a:xfrm>
          <a:solidFill>
            <a:schemeClr val="accent2"/>
          </a:solidFill>
        </p:grpSpPr>
        <p:sp>
          <p:nvSpPr>
            <p:cNvPr id="748" name="Freeform 166"/>
            <p:cNvSpPr>
              <a:spLocks noEditPoints="1"/>
            </p:cNvSpPr>
            <p:nvPr/>
          </p:nvSpPr>
          <p:spPr bwMode="auto">
            <a:xfrm>
              <a:off x="5035" y="390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9" name="Oval 167"/>
            <p:cNvSpPr>
              <a:spLocks noChangeArrowheads="1"/>
            </p:cNvSpPr>
            <p:nvPr/>
          </p:nvSpPr>
          <p:spPr bwMode="auto">
            <a:xfrm>
              <a:off x="5155" y="567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0" name="Oval 168"/>
            <p:cNvSpPr>
              <a:spLocks noChangeArrowheads="1"/>
            </p:cNvSpPr>
            <p:nvPr/>
          </p:nvSpPr>
          <p:spPr bwMode="auto">
            <a:xfrm>
              <a:off x="5155" y="518"/>
              <a:ext cx="29" cy="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1" name="Freeform 169"/>
            <p:cNvSpPr>
              <a:spLocks noEditPoints="1"/>
            </p:cNvSpPr>
            <p:nvPr/>
          </p:nvSpPr>
          <p:spPr bwMode="auto">
            <a:xfrm>
              <a:off x="5113" y="453"/>
              <a:ext cx="202" cy="207"/>
            </a:xfrm>
            <a:custGeom>
              <a:avLst/>
              <a:gdLst>
                <a:gd name="T0" fmla="*/ 253 w 303"/>
                <a:gd name="T1" fmla="*/ 69 h 311"/>
                <a:gd name="T2" fmla="*/ 232 w 303"/>
                <a:gd name="T3" fmla="*/ 18 h 311"/>
                <a:gd name="T4" fmla="*/ 219 w 303"/>
                <a:gd name="T5" fmla="*/ 2 h 311"/>
                <a:gd name="T6" fmla="*/ 138 w 303"/>
                <a:gd name="T7" fmla="*/ 23 h 311"/>
                <a:gd name="T8" fmla="*/ 33 w 303"/>
                <a:gd name="T9" fmla="*/ 69 h 311"/>
                <a:gd name="T10" fmla="*/ 28 w 303"/>
                <a:gd name="T11" fmla="*/ 235 h 311"/>
                <a:gd name="T12" fmla="*/ 168 w 303"/>
                <a:gd name="T13" fmla="*/ 278 h 311"/>
                <a:gd name="T14" fmla="*/ 156 w 303"/>
                <a:gd name="T15" fmla="*/ 230 h 311"/>
                <a:gd name="T16" fmla="*/ 148 w 303"/>
                <a:gd name="T17" fmla="*/ 207 h 311"/>
                <a:gd name="T18" fmla="*/ 171 w 303"/>
                <a:gd name="T19" fmla="*/ 204 h 311"/>
                <a:gd name="T20" fmla="*/ 191 w 303"/>
                <a:gd name="T21" fmla="*/ 301 h 311"/>
                <a:gd name="T22" fmla="*/ 223 w 303"/>
                <a:gd name="T23" fmla="*/ 311 h 311"/>
                <a:gd name="T24" fmla="*/ 242 w 303"/>
                <a:gd name="T25" fmla="*/ 204 h 311"/>
                <a:gd name="T26" fmla="*/ 253 w 303"/>
                <a:gd name="T27" fmla="*/ 70 h 311"/>
                <a:gd name="T28" fmla="*/ 225 w 303"/>
                <a:gd name="T29" fmla="*/ 61 h 311"/>
                <a:gd name="T30" fmla="*/ 215 w 303"/>
                <a:gd name="T31" fmla="*/ 119 h 311"/>
                <a:gd name="T32" fmla="*/ 212 w 303"/>
                <a:gd name="T33" fmla="*/ 33 h 311"/>
                <a:gd name="T34" fmla="*/ 166 w 303"/>
                <a:gd name="T35" fmla="*/ 183 h 311"/>
                <a:gd name="T36" fmla="*/ 125 w 303"/>
                <a:gd name="T37" fmla="*/ 218 h 311"/>
                <a:gd name="T38" fmla="*/ 151 w 303"/>
                <a:gd name="T39" fmla="*/ 255 h 311"/>
                <a:gd name="T40" fmla="*/ 138 w 303"/>
                <a:gd name="T41" fmla="*/ 268 h 311"/>
                <a:gd name="T42" fmla="*/ 21 w 303"/>
                <a:gd name="T43" fmla="*/ 154 h 311"/>
                <a:gd name="T44" fmla="*/ 100 w 303"/>
                <a:gd name="T45" fmla="*/ 49 h 311"/>
                <a:gd name="T46" fmla="*/ 177 w 303"/>
                <a:gd name="T47" fmla="*/ 49 h 311"/>
                <a:gd name="T48" fmla="*/ 159 w 303"/>
                <a:gd name="T49" fmla="*/ 76 h 311"/>
                <a:gd name="T50" fmla="*/ 159 w 303"/>
                <a:gd name="T51" fmla="*/ 119 h 311"/>
                <a:gd name="T52" fmla="*/ 181 w 303"/>
                <a:gd name="T53" fmla="*/ 121 h 311"/>
                <a:gd name="T54" fmla="*/ 182 w 303"/>
                <a:gd name="T55" fmla="*/ 183 h 311"/>
                <a:gd name="T56" fmla="*/ 214 w 303"/>
                <a:gd name="T57" fmla="*/ 289 h 311"/>
                <a:gd name="T58" fmla="*/ 202 w 303"/>
                <a:gd name="T59" fmla="*/ 161 h 311"/>
                <a:gd name="T60" fmla="*/ 210 w 303"/>
                <a:gd name="T61" fmla="*/ 140 h 311"/>
                <a:gd name="T62" fmla="*/ 223 w 303"/>
                <a:gd name="T63" fmla="*/ 141 h 311"/>
                <a:gd name="T64" fmla="*/ 214 w 303"/>
                <a:gd name="T65" fmla="*/ 289 h 311"/>
                <a:gd name="T66" fmla="*/ 244 w 303"/>
                <a:gd name="T67" fmla="*/ 182 h 311"/>
                <a:gd name="T68" fmla="*/ 245 w 303"/>
                <a:gd name="T69" fmla="*/ 131 h 311"/>
                <a:gd name="T70" fmla="*/ 254 w 303"/>
                <a:gd name="T71" fmla="*/ 114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3" h="311">
                  <a:moveTo>
                    <a:pt x="253" y="70"/>
                  </a:moveTo>
                  <a:cubicBezTo>
                    <a:pt x="253" y="70"/>
                    <a:pt x="253" y="69"/>
                    <a:pt x="253" y="69"/>
                  </a:cubicBezTo>
                  <a:cubicBezTo>
                    <a:pt x="250" y="62"/>
                    <a:pt x="247" y="55"/>
                    <a:pt x="243" y="49"/>
                  </a:cubicBezTo>
                  <a:cubicBezTo>
                    <a:pt x="230" y="29"/>
                    <a:pt x="232" y="20"/>
                    <a:pt x="232" y="18"/>
                  </a:cubicBezTo>
                  <a:cubicBezTo>
                    <a:pt x="236" y="14"/>
                    <a:pt x="236" y="10"/>
                    <a:pt x="233" y="5"/>
                  </a:cubicBezTo>
                  <a:cubicBezTo>
                    <a:pt x="230" y="1"/>
                    <a:pt x="224" y="0"/>
                    <a:pt x="219" y="2"/>
                  </a:cubicBezTo>
                  <a:cubicBezTo>
                    <a:pt x="218" y="3"/>
                    <a:pt x="200" y="11"/>
                    <a:pt x="187" y="30"/>
                  </a:cubicBezTo>
                  <a:cubicBezTo>
                    <a:pt x="167" y="23"/>
                    <a:pt x="142" y="23"/>
                    <a:pt x="138" y="23"/>
                  </a:cubicBezTo>
                  <a:cubicBezTo>
                    <a:pt x="122" y="23"/>
                    <a:pt x="107" y="25"/>
                    <a:pt x="93" y="29"/>
                  </a:cubicBezTo>
                  <a:cubicBezTo>
                    <a:pt x="70" y="36"/>
                    <a:pt x="49" y="50"/>
                    <a:pt x="33" y="69"/>
                  </a:cubicBezTo>
                  <a:cubicBezTo>
                    <a:pt x="11" y="95"/>
                    <a:pt x="0" y="124"/>
                    <a:pt x="0" y="154"/>
                  </a:cubicBezTo>
                  <a:cubicBezTo>
                    <a:pt x="0" y="183"/>
                    <a:pt x="10" y="212"/>
                    <a:pt x="28" y="235"/>
                  </a:cubicBezTo>
                  <a:cubicBezTo>
                    <a:pt x="54" y="268"/>
                    <a:pt x="98" y="289"/>
                    <a:pt x="138" y="289"/>
                  </a:cubicBezTo>
                  <a:cubicBezTo>
                    <a:pt x="143" y="289"/>
                    <a:pt x="159" y="289"/>
                    <a:pt x="168" y="278"/>
                  </a:cubicBezTo>
                  <a:cubicBezTo>
                    <a:pt x="177" y="268"/>
                    <a:pt x="175" y="252"/>
                    <a:pt x="168" y="242"/>
                  </a:cubicBezTo>
                  <a:cubicBezTo>
                    <a:pt x="165" y="237"/>
                    <a:pt x="160" y="233"/>
                    <a:pt x="156" y="230"/>
                  </a:cubicBezTo>
                  <a:cubicBezTo>
                    <a:pt x="150" y="224"/>
                    <a:pt x="147" y="221"/>
                    <a:pt x="146" y="215"/>
                  </a:cubicBezTo>
                  <a:cubicBezTo>
                    <a:pt x="145" y="212"/>
                    <a:pt x="146" y="208"/>
                    <a:pt x="148" y="207"/>
                  </a:cubicBezTo>
                  <a:cubicBezTo>
                    <a:pt x="151" y="204"/>
                    <a:pt x="159" y="204"/>
                    <a:pt x="166" y="204"/>
                  </a:cubicBezTo>
                  <a:cubicBezTo>
                    <a:pt x="168" y="204"/>
                    <a:pt x="169" y="204"/>
                    <a:pt x="171" y="204"/>
                  </a:cubicBezTo>
                  <a:cubicBezTo>
                    <a:pt x="184" y="204"/>
                    <a:pt x="184" y="204"/>
                    <a:pt x="184" y="204"/>
                  </a:cubicBezTo>
                  <a:cubicBezTo>
                    <a:pt x="191" y="301"/>
                    <a:pt x="191" y="301"/>
                    <a:pt x="191" y="301"/>
                  </a:cubicBezTo>
                  <a:cubicBezTo>
                    <a:pt x="192" y="306"/>
                    <a:pt x="196" y="311"/>
                    <a:pt x="202" y="311"/>
                  </a:cubicBezTo>
                  <a:cubicBezTo>
                    <a:pt x="223" y="311"/>
                    <a:pt x="223" y="311"/>
                    <a:pt x="223" y="311"/>
                  </a:cubicBezTo>
                  <a:cubicBezTo>
                    <a:pt x="229" y="311"/>
                    <a:pt x="233" y="306"/>
                    <a:pt x="234" y="301"/>
                  </a:cubicBezTo>
                  <a:cubicBezTo>
                    <a:pt x="242" y="204"/>
                    <a:pt x="242" y="204"/>
                    <a:pt x="242" y="204"/>
                  </a:cubicBezTo>
                  <a:cubicBezTo>
                    <a:pt x="262" y="202"/>
                    <a:pt x="276" y="194"/>
                    <a:pt x="283" y="181"/>
                  </a:cubicBezTo>
                  <a:cubicBezTo>
                    <a:pt x="303" y="144"/>
                    <a:pt x="259" y="77"/>
                    <a:pt x="253" y="70"/>
                  </a:cubicBezTo>
                  <a:close/>
                  <a:moveTo>
                    <a:pt x="212" y="33"/>
                  </a:moveTo>
                  <a:cubicBezTo>
                    <a:pt x="214" y="41"/>
                    <a:pt x="218" y="50"/>
                    <a:pt x="225" y="61"/>
                  </a:cubicBezTo>
                  <a:cubicBezTo>
                    <a:pt x="236" y="77"/>
                    <a:pt x="239" y="103"/>
                    <a:pt x="231" y="115"/>
                  </a:cubicBezTo>
                  <a:cubicBezTo>
                    <a:pt x="229" y="118"/>
                    <a:pt x="225" y="121"/>
                    <a:pt x="215" y="119"/>
                  </a:cubicBezTo>
                  <a:cubicBezTo>
                    <a:pt x="191" y="113"/>
                    <a:pt x="191" y="90"/>
                    <a:pt x="191" y="87"/>
                  </a:cubicBezTo>
                  <a:cubicBezTo>
                    <a:pt x="191" y="60"/>
                    <a:pt x="202" y="43"/>
                    <a:pt x="212" y="33"/>
                  </a:cubicBezTo>
                  <a:close/>
                  <a:moveTo>
                    <a:pt x="171" y="183"/>
                  </a:moveTo>
                  <a:cubicBezTo>
                    <a:pt x="169" y="183"/>
                    <a:pt x="168" y="183"/>
                    <a:pt x="166" y="183"/>
                  </a:cubicBezTo>
                  <a:cubicBezTo>
                    <a:pt x="157" y="182"/>
                    <a:pt x="144" y="182"/>
                    <a:pt x="134" y="191"/>
                  </a:cubicBezTo>
                  <a:cubicBezTo>
                    <a:pt x="127" y="197"/>
                    <a:pt x="123" y="208"/>
                    <a:pt x="125" y="218"/>
                  </a:cubicBezTo>
                  <a:cubicBezTo>
                    <a:pt x="127" y="232"/>
                    <a:pt x="135" y="240"/>
                    <a:pt x="142" y="246"/>
                  </a:cubicBezTo>
                  <a:cubicBezTo>
                    <a:pt x="146" y="248"/>
                    <a:pt x="149" y="251"/>
                    <a:pt x="151" y="255"/>
                  </a:cubicBezTo>
                  <a:cubicBezTo>
                    <a:pt x="153" y="257"/>
                    <a:pt x="153" y="263"/>
                    <a:pt x="151" y="265"/>
                  </a:cubicBezTo>
                  <a:cubicBezTo>
                    <a:pt x="151" y="266"/>
                    <a:pt x="148" y="268"/>
                    <a:pt x="138" y="268"/>
                  </a:cubicBezTo>
                  <a:cubicBezTo>
                    <a:pt x="104" y="268"/>
                    <a:pt x="66" y="249"/>
                    <a:pt x="45" y="222"/>
                  </a:cubicBezTo>
                  <a:cubicBezTo>
                    <a:pt x="30" y="203"/>
                    <a:pt x="22" y="178"/>
                    <a:pt x="21" y="154"/>
                  </a:cubicBezTo>
                  <a:cubicBezTo>
                    <a:pt x="21" y="129"/>
                    <a:pt x="30" y="106"/>
                    <a:pt x="49" y="83"/>
                  </a:cubicBezTo>
                  <a:cubicBezTo>
                    <a:pt x="63" y="67"/>
                    <a:pt x="80" y="55"/>
                    <a:pt x="100" y="49"/>
                  </a:cubicBezTo>
                  <a:cubicBezTo>
                    <a:pt x="111" y="46"/>
                    <a:pt x="124" y="44"/>
                    <a:pt x="138" y="44"/>
                  </a:cubicBezTo>
                  <a:cubicBezTo>
                    <a:pt x="145" y="44"/>
                    <a:pt x="163" y="45"/>
                    <a:pt x="177" y="49"/>
                  </a:cubicBezTo>
                  <a:cubicBezTo>
                    <a:pt x="173" y="58"/>
                    <a:pt x="171" y="68"/>
                    <a:pt x="170" y="79"/>
                  </a:cubicBezTo>
                  <a:cubicBezTo>
                    <a:pt x="167" y="77"/>
                    <a:pt x="163" y="76"/>
                    <a:pt x="159" y="76"/>
                  </a:cubicBezTo>
                  <a:cubicBezTo>
                    <a:pt x="148" y="76"/>
                    <a:pt x="138" y="86"/>
                    <a:pt x="138" y="97"/>
                  </a:cubicBezTo>
                  <a:cubicBezTo>
                    <a:pt x="138" y="109"/>
                    <a:pt x="148" y="119"/>
                    <a:pt x="159" y="119"/>
                  </a:cubicBezTo>
                  <a:cubicBezTo>
                    <a:pt x="166" y="119"/>
                    <a:pt x="171" y="116"/>
                    <a:pt x="175" y="112"/>
                  </a:cubicBezTo>
                  <a:cubicBezTo>
                    <a:pt x="177" y="115"/>
                    <a:pt x="178" y="118"/>
                    <a:pt x="181" y="121"/>
                  </a:cubicBezTo>
                  <a:cubicBezTo>
                    <a:pt x="181" y="162"/>
                    <a:pt x="181" y="162"/>
                    <a:pt x="181" y="162"/>
                  </a:cubicBezTo>
                  <a:cubicBezTo>
                    <a:pt x="182" y="183"/>
                    <a:pt x="182" y="183"/>
                    <a:pt x="182" y="183"/>
                  </a:cubicBezTo>
                  <a:lnTo>
                    <a:pt x="171" y="183"/>
                  </a:lnTo>
                  <a:close/>
                  <a:moveTo>
                    <a:pt x="214" y="289"/>
                  </a:moveTo>
                  <a:cubicBezTo>
                    <a:pt x="212" y="289"/>
                    <a:pt x="212" y="289"/>
                    <a:pt x="212" y="289"/>
                  </a:cubicBezTo>
                  <a:cubicBezTo>
                    <a:pt x="202" y="161"/>
                    <a:pt x="202" y="161"/>
                    <a:pt x="202" y="161"/>
                  </a:cubicBezTo>
                  <a:cubicBezTo>
                    <a:pt x="202" y="137"/>
                    <a:pt x="202" y="137"/>
                    <a:pt x="202" y="137"/>
                  </a:cubicBezTo>
                  <a:cubicBezTo>
                    <a:pt x="205" y="138"/>
                    <a:pt x="207" y="139"/>
                    <a:pt x="210" y="140"/>
                  </a:cubicBezTo>
                  <a:cubicBezTo>
                    <a:pt x="214" y="141"/>
                    <a:pt x="218" y="141"/>
                    <a:pt x="221" y="141"/>
                  </a:cubicBezTo>
                  <a:cubicBezTo>
                    <a:pt x="222" y="141"/>
                    <a:pt x="223" y="141"/>
                    <a:pt x="223" y="141"/>
                  </a:cubicBezTo>
                  <a:cubicBezTo>
                    <a:pt x="223" y="171"/>
                    <a:pt x="223" y="171"/>
                    <a:pt x="223" y="171"/>
                  </a:cubicBezTo>
                  <a:lnTo>
                    <a:pt x="214" y="289"/>
                  </a:lnTo>
                  <a:close/>
                  <a:moveTo>
                    <a:pt x="264" y="171"/>
                  </a:moveTo>
                  <a:cubicBezTo>
                    <a:pt x="261" y="177"/>
                    <a:pt x="254" y="181"/>
                    <a:pt x="244" y="182"/>
                  </a:cubicBezTo>
                  <a:cubicBezTo>
                    <a:pt x="245" y="172"/>
                    <a:pt x="245" y="172"/>
                    <a:pt x="245" y="172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6" y="130"/>
                    <a:pt x="247" y="129"/>
                    <a:pt x="248" y="127"/>
                  </a:cubicBezTo>
                  <a:cubicBezTo>
                    <a:pt x="251" y="123"/>
                    <a:pt x="253" y="119"/>
                    <a:pt x="254" y="114"/>
                  </a:cubicBezTo>
                  <a:cubicBezTo>
                    <a:pt x="264" y="135"/>
                    <a:pt x="271" y="158"/>
                    <a:pt x="264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2" name="TextBox 751"/>
          <p:cNvSpPr txBox="1"/>
          <p:nvPr/>
        </p:nvSpPr>
        <p:spPr>
          <a:xfrm>
            <a:off x="4412095" y="498249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emale symbol</a:t>
            </a:r>
          </a:p>
        </p:txBody>
      </p:sp>
      <p:sp>
        <p:nvSpPr>
          <p:cNvPr id="753" name="Freeform 633"/>
          <p:cNvSpPr>
            <a:spLocks noChangeAspect="1" noEditPoints="1"/>
          </p:cNvSpPr>
          <p:nvPr/>
        </p:nvSpPr>
        <p:spPr bwMode="auto">
          <a:xfrm>
            <a:off x="4407838" y="4530514"/>
            <a:ext cx="367631" cy="367631"/>
          </a:xfrm>
          <a:custGeom>
            <a:avLst/>
            <a:gdLst>
              <a:gd name="T0" fmla="*/ 352 w 512"/>
              <a:gd name="T1" fmla="*/ 213 h 512"/>
              <a:gd name="T2" fmla="*/ 256 w 512"/>
              <a:gd name="T3" fmla="*/ 309 h 512"/>
              <a:gd name="T4" fmla="*/ 160 w 512"/>
              <a:gd name="T5" fmla="*/ 213 h 512"/>
              <a:gd name="T6" fmla="*/ 256 w 512"/>
              <a:gd name="T7" fmla="*/ 117 h 512"/>
              <a:gd name="T8" fmla="*/ 352 w 512"/>
              <a:gd name="T9" fmla="*/ 213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73 w 512"/>
              <a:gd name="T21" fmla="*/ 213 h 512"/>
              <a:gd name="T22" fmla="*/ 256 w 512"/>
              <a:gd name="T23" fmla="*/ 96 h 512"/>
              <a:gd name="T24" fmla="*/ 138 w 512"/>
              <a:gd name="T25" fmla="*/ 213 h 512"/>
              <a:gd name="T26" fmla="*/ 245 w 512"/>
              <a:gd name="T27" fmla="*/ 330 h 512"/>
              <a:gd name="T28" fmla="*/ 245 w 512"/>
              <a:gd name="T29" fmla="*/ 352 h 512"/>
              <a:gd name="T30" fmla="*/ 213 w 512"/>
              <a:gd name="T31" fmla="*/ 352 h 512"/>
              <a:gd name="T32" fmla="*/ 202 w 512"/>
              <a:gd name="T33" fmla="*/ 362 h 512"/>
              <a:gd name="T34" fmla="*/ 213 w 512"/>
              <a:gd name="T35" fmla="*/ 373 h 512"/>
              <a:gd name="T36" fmla="*/ 245 w 512"/>
              <a:gd name="T37" fmla="*/ 373 h 512"/>
              <a:gd name="T38" fmla="*/ 245 w 512"/>
              <a:gd name="T39" fmla="*/ 405 h 512"/>
              <a:gd name="T40" fmla="*/ 256 w 512"/>
              <a:gd name="T41" fmla="*/ 416 h 512"/>
              <a:gd name="T42" fmla="*/ 266 w 512"/>
              <a:gd name="T43" fmla="*/ 405 h 512"/>
              <a:gd name="T44" fmla="*/ 266 w 512"/>
              <a:gd name="T45" fmla="*/ 373 h 512"/>
              <a:gd name="T46" fmla="*/ 298 w 512"/>
              <a:gd name="T47" fmla="*/ 373 h 512"/>
              <a:gd name="T48" fmla="*/ 309 w 512"/>
              <a:gd name="T49" fmla="*/ 362 h 512"/>
              <a:gd name="T50" fmla="*/ 298 w 512"/>
              <a:gd name="T51" fmla="*/ 352 h 512"/>
              <a:gd name="T52" fmla="*/ 266 w 512"/>
              <a:gd name="T53" fmla="*/ 352 h 512"/>
              <a:gd name="T54" fmla="*/ 266 w 512"/>
              <a:gd name="T55" fmla="*/ 330 h 512"/>
              <a:gd name="T56" fmla="*/ 373 w 512"/>
              <a:gd name="T57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2" h="512">
                <a:moveTo>
                  <a:pt x="352" y="213"/>
                </a:moveTo>
                <a:cubicBezTo>
                  <a:pt x="352" y="266"/>
                  <a:pt x="309" y="309"/>
                  <a:pt x="256" y="309"/>
                </a:cubicBezTo>
                <a:cubicBezTo>
                  <a:pt x="203" y="309"/>
                  <a:pt x="160" y="266"/>
                  <a:pt x="160" y="213"/>
                </a:cubicBezTo>
                <a:cubicBezTo>
                  <a:pt x="160" y="160"/>
                  <a:pt x="203" y="117"/>
                  <a:pt x="256" y="117"/>
                </a:cubicBezTo>
                <a:cubicBezTo>
                  <a:pt x="309" y="117"/>
                  <a:pt x="352" y="160"/>
                  <a:pt x="352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148"/>
                  <a:pt x="320" y="96"/>
                  <a:pt x="256" y="96"/>
                </a:cubicBezTo>
                <a:cubicBezTo>
                  <a:pt x="191" y="96"/>
                  <a:pt x="138" y="148"/>
                  <a:pt x="138" y="213"/>
                </a:cubicBezTo>
                <a:cubicBezTo>
                  <a:pt x="138" y="274"/>
                  <a:pt x="185" y="324"/>
                  <a:pt x="245" y="330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07" y="352"/>
                  <a:pt x="202" y="356"/>
                  <a:pt x="202" y="362"/>
                </a:cubicBezTo>
                <a:cubicBezTo>
                  <a:pt x="202" y="368"/>
                  <a:pt x="207" y="373"/>
                  <a:pt x="213" y="373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304" y="373"/>
                  <a:pt x="309" y="368"/>
                  <a:pt x="309" y="362"/>
                </a:cubicBezTo>
                <a:cubicBezTo>
                  <a:pt x="309" y="356"/>
                  <a:pt x="304" y="352"/>
                  <a:pt x="298" y="352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326" y="324"/>
                  <a:pt x="373" y="274"/>
                  <a:pt x="373" y="21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54" name="Freeform 637"/>
          <p:cNvSpPr>
            <a:spLocks noChangeAspect="1" noEditPoints="1"/>
          </p:cNvSpPr>
          <p:nvPr/>
        </p:nvSpPr>
        <p:spPr bwMode="auto">
          <a:xfrm>
            <a:off x="4905841" y="4530514"/>
            <a:ext cx="367631" cy="36763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73 w 512"/>
              <a:gd name="T21" fmla="*/ 213 h 512"/>
              <a:gd name="T22" fmla="*/ 256 w 512"/>
              <a:gd name="T23" fmla="*/ 96 h 512"/>
              <a:gd name="T24" fmla="*/ 138 w 512"/>
              <a:gd name="T25" fmla="*/ 213 h 512"/>
              <a:gd name="T26" fmla="*/ 245 w 512"/>
              <a:gd name="T27" fmla="*/ 330 h 512"/>
              <a:gd name="T28" fmla="*/ 245 w 512"/>
              <a:gd name="T29" fmla="*/ 352 h 512"/>
              <a:gd name="T30" fmla="*/ 213 w 512"/>
              <a:gd name="T31" fmla="*/ 352 h 512"/>
              <a:gd name="T32" fmla="*/ 202 w 512"/>
              <a:gd name="T33" fmla="*/ 362 h 512"/>
              <a:gd name="T34" fmla="*/ 213 w 512"/>
              <a:gd name="T35" fmla="*/ 373 h 512"/>
              <a:gd name="T36" fmla="*/ 245 w 512"/>
              <a:gd name="T37" fmla="*/ 373 h 512"/>
              <a:gd name="T38" fmla="*/ 245 w 512"/>
              <a:gd name="T39" fmla="*/ 405 h 512"/>
              <a:gd name="T40" fmla="*/ 256 w 512"/>
              <a:gd name="T41" fmla="*/ 416 h 512"/>
              <a:gd name="T42" fmla="*/ 266 w 512"/>
              <a:gd name="T43" fmla="*/ 405 h 512"/>
              <a:gd name="T44" fmla="*/ 266 w 512"/>
              <a:gd name="T45" fmla="*/ 373 h 512"/>
              <a:gd name="T46" fmla="*/ 298 w 512"/>
              <a:gd name="T47" fmla="*/ 373 h 512"/>
              <a:gd name="T48" fmla="*/ 309 w 512"/>
              <a:gd name="T49" fmla="*/ 362 h 512"/>
              <a:gd name="T50" fmla="*/ 298 w 512"/>
              <a:gd name="T51" fmla="*/ 352 h 512"/>
              <a:gd name="T52" fmla="*/ 266 w 512"/>
              <a:gd name="T53" fmla="*/ 352 h 512"/>
              <a:gd name="T54" fmla="*/ 266 w 512"/>
              <a:gd name="T55" fmla="*/ 330 h 512"/>
              <a:gd name="T56" fmla="*/ 373 w 512"/>
              <a:gd name="T57" fmla="*/ 213 h 512"/>
              <a:gd name="T58" fmla="*/ 160 w 512"/>
              <a:gd name="T59" fmla="*/ 213 h 512"/>
              <a:gd name="T60" fmla="*/ 256 w 512"/>
              <a:gd name="T61" fmla="*/ 117 h 512"/>
              <a:gd name="T62" fmla="*/ 352 w 512"/>
              <a:gd name="T63" fmla="*/ 213 h 512"/>
              <a:gd name="T64" fmla="*/ 256 w 512"/>
              <a:gd name="T65" fmla="*/ 309 h 512"/>
              <a:gd name="T66" fmla="*/ 160 w 512"/>
              <a:gd name="T67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213"/>
                </a:moveTo>
                <a:cubicBezTo>
                  <a:pt x="373" y="148"/>
                  <a:pt x="320" y="96"/>
                  <a:pt x="256" y="96"/>
                </a:cubicBezTo>
                <a:cubicBezTo>
                  <a:pt x="191" y="96"/>
                  <a:pt x="138" y="148"/>
                  <a:pt x="138" y="213"/>
                </a:cubicBezTo>
                <a:cubicBezTo>
                  <a:pt x="138" y="274"/>
                  <a:pt x="185" y="324"/>
                  <a:pt x="245" y="330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07" y="352"/>
                  <a:pt x="202" y="356"/>
                  <a:pt x="202" y="362"/>
                </a:cubicBezTo>
                <a:cubicBezTo>
                  <a:pt x="202" y="368"/>
                  <a:pt x="207" y="373"/>
                  <a:pt x="213" y="373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304" y="373"/>
                  <a:pt x="309" y="368"/>
                  <a:pt x="309" y="362"/>
                </a:cubicBezTo>
                <a:cubicBezTo>
                  <a:pt x="309" y="356"/>
                  <a:pt x="304" y="352"/>
                  <a:pt x="298" y="352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326" y="324"/>
                  <a:pt x="373" y="274"/>
                  <a:pt x="373" y="213"/>
                </a:cubicBezTo>
                <a:close/>
                <a:moveTo>
                  <a:pt x="160" y="213"/>
                </a:moveTo>
                <a:cubicBezTo>
                  <a:pt x="160" y="160"/>
                  <a:pt x="203" y="117"/>
                  <a:pt x="256" y="117"/>
                </a:cubicBezTo>
                <a:cubicBezTo>
                  <a:pt x="309" y="117"/>
                  <a:pt x="352" y="160"/>
                  <a:pt x="352" y="213"/>
                </a:cubicBezTo>
                <a:cubicBezTo>
                  <a:pt x="352" y="266"/>
                  <a:pt x="309" y="309"/>
                  <a:pt x="256" y="309"/>
                </a:cubicBezTo>
                <a:cubicBezTo>
                  <a:pt x="203" y="309"/>
                  <a:pt x="160" y="266"/>
                  <a:pt x="160" y="21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55" name="TextBox 754"/>
          <p:cNvSpPr txBox="1"/>
          <p:nvPr/>
        </p:nvSpPr>
        <p:spPr>
          <a:xfrm>
            <a:off x="446580" y="585066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ze</a:t>
            </a:r>
          </a:p>
        </p:txBody>
      </p:sp>
      <p:sp>
        <p:nvSpPr>
          <p:cNvPr id="756" name="TextBox 755"/>
          <p:cNvSpPr txBox="1"/>
          <p:nvPr/>
        </p:nvSpPr>
        <p:spPr>
          <a:xfrm>
            <a:off x="9376263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adder</a:t>
            </a:r>
          </a:p>
        </p:txBody>
      </p:sp>
      <p:sp>
        <p:nvSpPr>
          <p:cNvPr id="757" name="TextBox 756"/>
          <p:cNvSpPr txBox="1"/>
          <p:nvPr/>
        </p:nvSpPr>
        <p:spPr>
          <a:xfrm>
            <a:off x="8383431" y="49824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fe buoy</a:t>
            </a:r>
          </a:p>
        </p:txBody>
      </p:sp>
      <p:sp>
        <p:nvSpPr>
          <p:cNvPr id="758" name="Freeform 505"/>
          <p:cNvSpPr>
            <a:spLocks noChangeAspect="1" noEditPoints="1"/>
          </p:cNvSpPr>
          <p:nvPr/>
        </p:nvSpPr>
        <p:spPr bwMode="auto">
          <a:xfrm>
            <a:off x="8393361" y="4530514"/>
            <a:ext cx="367041" cy="367041"/>
          </a:xfrm>
          <a:custGeom>
            <a:avLst/>
            <a:gdLst>
              <a:gd name="T0" fmla="*/ 223 w 512"/>
              <a:gd name="T1" fmla="*/ 334 h 512"/>
              <a:gd name="T2" fmla="*/ 215 w 512"/>
              <a:gd name="T3" fmla="*/ 388 h 512"/>
              <a:gd name="T4" fmla="*/ 123 w 512"/>
              <a:gd name="T5" fmla="*/ 296 h 512"/>
              <a:gd name="T6" fmla="*/ 177 w 512"/>
              <a:gd name="T7" fmla="*/ 288 h 512"/>
              <a:gd name="T8" fmla="*/ 223 w 512"/>
              <a:gd name="T9" fmla="*/ 334 h 512"/>
              <a:gd name="T10" fmla="*/ 170 w 512"/>
              <a:gd name="T11" fmla="*/ 256 h 512"/>
              <a:gd name="T12" fmla="*/ 171 w 512"/>
              <a:gd name="T13" fmla="*/ 244 h 512"/>
              <a:gd name="T14" fmla="*/ 119 w 512"/>
              <a:gd name="T15" fmla="*/ 236 h 512"/>
              <a:gd name="T16" fmla="*/ 117 w 512"/>
              <a:gd name="T17" fmla="*/ 256 h 512"/>
              <a:gd name="T18" fmla="*/ 119 w 512"/>
              <a:gd name="T19" fmla="*/ 275 h 512"/>
              <a:gd name="T20" fmla="*/ 171 w 512"/>
              <a:gd name="T21" fmla="*/ 268 h 512"/>
              <a:gd name="T22" fmla="*/ 170 w 512"/>
              <a:gd name="T23" fmla="*/ 256 h 512"/>
              <a:gd name="T24" fmla="*/ 223 w 512"/>
              <a:gd name="T25" fmla="*/ 177 h 512"/>
              <a:gd name="T26" fmla="*/ 215 w 512"/>
              <a:gd name="T27" fmla="*/ 123 h 512"/>
              <a:gd name="T28" fmla="*/ 123 w 512"/>
              <a:gd name="T29" fmla="*/ 215 h 512"/>
              <a:gd name="T30" fmla="*/ 177 w 512"/>
              <a:gd name="T31" fmla="*/ 223 h 512"/>
              <a:gd name="T32" fmla="*/ 223 w 512"/>
              <a:gd name="T33" fmla="*/ 177 h 512"/>
              <a:gd name="T34" fmla="*/ 256 w 512"/>
              <a:gd name="T35" fmla="*/ 170 h 512"/>
              <a:gd name="T36" fmla="*/ 268 w 512"/>
              <a:gd name="T37" fmla="*/ 171 h 512"/>
              <a:gd name="T38" fmla="*/ 275 w 512"/>
              <a:gd name="T39" fmla="*/ 119 h 512"/>
              <a:gd name="T40" fmla="*/ 256 w 512"/>
              <a:gd name="T41" fmla="*/ 117 h 512"/>
              <a:gd name="T42" fmla="*/ 236 w 512"/>
              <a:gd name="T43" fmla="*/ 119 h 512"/>
              <a:gd name="T44" fmla="*/ 244 w 512"/>
              <a:gd name="T45" fmla="*/ 171 h 512"/>
              <a:gd name="T46" fmla="*/ 256 w 512"/>
              <a:gd name="T47" fmla="*/ 170 h 512"/>
              <a:gd name="T48" fmla="*/ 192 w 512"/>
              <a:gd name="T49" fmla="*/ 256 h 512"/>
              <a:gd name="T50" fmla="*/ 256 w 512"/>
              <a:gd name="T51" fmla="*/ 320 h 512"/>
              <a:gd name="T52" fmla="*/ 320 w 512"/>
              <a:gd name="T53" fmla="*/ 256 h 512"/>
              <a:gd name="T54" fmla="*/ 256 w 512"/>
              <a:gd name="T55" fmla="*/ 192 h 512"/>
              <a:gd name="T56" fmla="*/ 192 w 512"/>
              <a:gd name="T57" fmla="*/ 256 h 512"/>
              <a:gd name="T58" fmla="*/ 341 w 512"/>
              <a:gd name="T59" fmla="*/ 256 h 512"/>
              <a:gd name="T60" fmla="*/ 340 w 512"/>
              <a:gd name="T61" fmla="*/ 268 h 512"/>
              <a:gd name="T62" fmla="*/ 393 w 512"/>
              <a:gd name="T63" fmla="*/ 275 h 512"/>
              <a:gd name="T64" fmla="*/ 394 w 512"/>
              <a:gd name="T65" fmla="*/ 256 h 512"/>
              <a:gd name="T66" fmla="*/ 393 w 512"/>
              <a:gd name="T67" fmla="*/ 236 h 512"/>
              <a:gd name="T68" fmla="*/ 340 w 512"/>
              <a:gd name="T69" fmla="*/ 244 h 512"/>
              <a:gd name="T70" fmla="*/ 341 w 512"/>
              <a:gd name="T71" fmla="*/ 256 h 512"/>
              <a:gd name="T72" fmla="*/ 296 w 512"/>
              <a:gd name="T73" fmla="*/ 123 h 512"/>
              <a:gd name="T74" fmla="*/ 288 w 512"/>
              <a:gd name="T75" fmla="*/ 177 h 512"/>
              <a:gd name="T76" fmla="*/ 334 w 512"/>
              <a:gd name="T77" fmla="*/ 223 h 512"/>
              <a:gd name="T78" fmla="*/ 388 w 512"/>
              <a:gd name="T79" fmla="*/ 215 h 512"/>
              <a:gd name="T80" fmla="*/ 296 w 512"/>
              <a:gd name="T81" fmla="*/ 123 h 512"/>
              <a:gd name="T82" fmla="*/ 512 w 512"/>
              <a:gd name="T83" fmla="*/ 256 h 512"/>
              <a:gd name="T84" fmla="*/ 256 w 512"/>
              <a:gd name="T85" fmla="*/ 512 h 512"/>
              <a:gd name="T86" fmla="*/ 0 w 512"/>
              <a:gd name="T87" fmla="*/ 256 h 512"/>
              <a:gd name="T88" fmla="*/ 256 w 512"/>
              <a:gd name="T89" fmla="*/ 0 h 512"/>
              <a:gd name="T90" fmla="*/ 512 w 512"/>
              <a:gd name="T91" fmla="*/ 256 h 512"/>
              <a:gd name="T92" fmla="*/ 416 w 512"/>
              <a:gd name="T93" fmla="*/ 256 h 512"/>
              <a:gd name="T94" fmla="*/ 256 w 512"/>
              <a:gd name="T95" fmla="*/ 96 h 512"/>
              <a:gd name="T96" fmla="*/ 96 w 512"/>
              <a:gd name="T97" fmla="*/ 256 h 512"/>
              <a:gd name="T98" fmla="*/ 256 w 512"/>
              <a:gd name="T99" fmla="*/ 416 h 512"/>
              <a:gd name="T100" fmla="*/ 416 w 512"/>
              <a:gd name="T101" fmla="*/ 256 h 512"/>
              <a:gd name="T102" fmla="*/ 288 w 512"/>
              <a:gd name="T103" fmla="*/ 334 h 512"/>
              <a:gd name="T104" fmla="*/ 296 w 512"/>
              <a:gd name="T105" fmla="*/ 388 h 512"/>
              <a:gd name="T106" fmla="*/ 388 w 512"/>
              <a:gd name="T107" fmla="*/ 296 h 512"/>
              <a:gd name="T108" fmla="*/ 334 w 512"/>
              <a:gd name="T109" fmla="*/ 288 h 512"/>
              <a:gd name="T110" fmla="*/ 288 w 512"/>
              <a:gd name="T111" fmla="*/ 334 h 512"/>
              <a:gd name="T112" fmla="*/ 256 w 512"/>
              <a:gd name="T113" fmla="*/ 341 h 512"/>
              <a:gd name="T114" fmla="*/ 244 w 512"/>
              <a:gd name="T115" fmla="*/ 340 h 512"/>
              <a:gd name="T116" fmla="*/ 236 w 512"/>
              <a:gd name="T117" fmla="*/ 393 h 512"/>
              <a:gd name="T118" fmla="*/ 256 w 512"/>
              <a:gd name="T119" fmla="*/ 394 h 512"/>
              <a:gd name="T120" fmla="*/ 275 w 512"/>
              <a:gd name="T121" fmla="*/ 393 h 512"/>
              <a:gd name="T122" fmla="*/ 268 w 512"/>
              <a:gd name="T123" fmla="*/ 340 h 512"/>
              <a:gd name="T124" fmla="*/ 256 w 512"/>
              <a:gd name="T125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223" y="334"/>
                </a:moveTo>
                <a:cubicBezTo>
                  <a:pt x="215" y="388"/>
                  <a:pt x="215" y="388"/>
                  <a:pt x="215" y="388"/>
                </a:cubicBezTo>
                <a:cubicBezTo>
                  <a:pt x="171" y="375"/>
                  <a:pt x="136" y="340"/>
                  <a:pt x="123" y="296"/>
                </a:cubicBezTo>
                <a:cubicBezTo>
                  <a:pt x="177" y="288"/>
                  <a:pt x="177" y="288"/>
                  <a:pt x="177" y="288"/>
                </a:cubicBezTo>
                <a:cubicBezTo>
                  <a:pt x="186" y="309"/>
                  <a:pt x="202" y="326"/>
                  <a:pt x="223" y="334"/>
                </a:cubicBezTo>
                <a:close/>
                <a:moveTo>
                  <a:pt x="170" y="256"/>
                </a:moveTo>
                <a:cubicBezTo>
                  <a:pt x="170" y="252"/>
                  <a:pt x="171" y="248"/>
                  <a:pt x="171" y="244"/>
                </a:cubicBezTo>
                <a:cubicBezTo>
                  <a:pt x="119" y="236"/>
                  <a:pt x="119" y="236"/>
                  <a:pt x="119" y="236"/>
                </a:cubicBezTo>
                <a:cubicBezTo>
                  <a:pt x="118" y="243"/>
                  <a:pt x="117" y="249"/>
                  <a:pt x="117" y="256"/>
                </a:cubicBezTo>
                <a:cubicBezTo>
                  <a:pt x="117" y="262"/>
                  <a:pt x="118" y="269"/>
                  <a:pt x="119" y="275"/>
                </a:cubicBezTo>
                <a:cubicBezTo>
                  <a:pt x="171" y="268"/>
                  <a:pt x="171" y="268"/>
                  <a:pt x="171" y="268"/>
                </a:cubicBezTo>
                <a:cubicBezTo>
                  <a:pt x="171" y="264"/>
                  <a:pt x="170" y="260"/>
                  <a:pt x="170" y="256"/>
                </a:cubicBezTo>
                <a:close/>
                <a:moveTo>
                  <a:pt x="223" y="177"/>
                </a:moveTo>
                <a:cubicBezTo>
                  <a:pt x="215" y="123"/>
                  <a:pt x="215" y="123"/>
                  <a:pt x="215" y="123"/>
                </a:cubicBezTo>
                <a:cubicBezTo>
                  <a:pt x="171" y="136"/>
                  <a:pt x="136" y="171"/>
                  <a:pt x="123" y="215"/>
                </a:cubicBezTo>
                <a:cubicBezTo>
                  <a:pt x="177" y="223"/>
                  <a:pt x="177" y="223"/>
                  <a:pt x="177" y="223"/>
                </a:cubicBezTo>
                <a:cubicBezTo>
                  <a:pt x="186" y="202"/>
                  <a:pt x="202" y="186"/>
                  <a:pt x="223" y="177"/>
                </a:cubicBezTo>
                <a:close/>
                <a:moveTo>
                  <a:pt x="256" y="170"/>
                </a:moveTo>
                <a:cubicBezTo>
                  <a:pt x="260" y="170"/>
                  <a:pt x="264" y="171"/>
                  <a:pt x="268" y="171"/>
                </a:cubicBezTo>
                <a:cubicBezTo>
                  <a:pt x="275" y="119"/>
                  <a:pt x="275" y="119"/>
                  <a:pt x="275" y="119"/>
                </a:cubicBezTo>
                <a:cubicBezTo>
                  <a:pt x="269" y="118"/>
                  <a:pt x="262" y="117"/>
                  <a:pt x="256" y="117"/>
                </a:cubicBezTo>
                <a:cubicBezTo>
                  <a:pt x="249" y="117"/>
                  <a:pt x="243" y="118"/>
                  <a:pt x="236" y="119"/>
                </a:cubicBezTo>
                <a:cubicBezTo>
                  <a:pt x="244" y="171"/>
                  <a:pt x="244" y="171"/>
                  <a:pt x="244" y="171"/>
                </a:cubicBezTo>
                <a:cubicBezTo>
                  <a:pt x="248" y="171"/>
                  <a:pt x="252" y="170"/>
                  <a:pt x="256" y="170"/>
                </a:cubicBezTo>
                <a:close/>
                <a:moveTo>
                  <a:pt x="192" y="256"/>
                </a:moveTo>
                <a:cubicBezTo>
                  <a:pt x="192" y="291"/>
                  <a:pt x="220" y="320"/>
                  <a:pt x="256" y="320"/>
                </a:cubicBezTo>
                <a:cubicBezTo>
                  <a:pt x="291" y="320"/>
                  <a:pt x="320" y="291"/>
                  <a:pt x="320" y="256"/>
                </a:cubicBezTo>
                <a:cubicBezTo>
                  <a:pt x="320" y="220"/>
                  <a:pt x="291" y="192"/>
                  <a:pt x="256" y="192"/>
                </a:cubicBezTo>
                <a:cubicBezTo>
                  <a:pt x="220" y="192"/>
                  <a:pt x="192" y="220"/>
                  <a:pt x="192" y="256"/>
                </a:cubicBezTo>
                <a:close/>
                <a:moveTo>
                  <a:pt x="341" y="256"/>
                </a:moveTo>
                <a:cubicBezTo>
                  <a:pt x="341" y="260"/>
                  <a:pt x="341" y="264"/>
                  <a:pt x="340" y="268"/>
                </a:cubicBezTo>
                <a:cubicBezTo>
                  <a:pt x="393" y="275"/>
                  <a:pt x="393" y="275"/>
                  <a:pt x="393" y="275"/>
                </a:cubicBezTo>
                <a:cubicBezTo>
                  <a:pt x="394" y="269"/>
                  <a:pt x="394" y="262"/>
                  <a:pt x="394" y="256"/>
                </a:cubicBezTo>
                <a:cubicBezTo>
                  <a:pt x="394" y="249"/>
                  <a:pt x="394" y="243"/>
                  <a:pt x="393" y="236"/>
                </a:cubicBezTo>
                <a:cubicBezTo>
                  <a:pt x="340" y="244"/>
                  <a:pt x="340" y="244"/>
                  <a:pt x="340" y="244"/>
                </a:cubicBezTo>
                <a:cubicBezTo>
                  <a:pt x="341" y="248"/>
                  <a:pt x="341" y="252"/>
                  <a:pt x="341" y="256"/>
                </a:cubicBezTo>
                <a:close/>
                <a:moveTo>
                  <a:pt x="296" y="123"/>
                </a:moveTo>
                <a:cubicBezTo>
                  <a:pt x="288" y="177"/>
                  <a:pt x="288" y="177"/>
                  <a:pt x="288" y="177"/>
                </a:cubicBezTo>
                <a:cubicBezTo>
                  <a:pt x="309" y="186"/>
                  <a:pt x="326" y="202"/>
                  <a:pt x="334" y="223"/>
                </a:cubicBezTo>
                <a:cubicBezTo>
                  <a:pt x="388" y="215"/>
                  <a:pt x="388" y="215"/>
                  <a:pt x="388" y="215"/>
                </a:cubicBezTo>
                <a:cubicBezTo>
                  <a:pt x="375" y="171"/>
                  <a:pt x="340" y="136"/>
                  <a:pt x="296" y="12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288" y="334"/>
                </a:moveTo>
                <a:cubicBezTo>
                  <a:pt x="296" y="388"/>
                  <a:pt x="296" y="388"/>
                  <a:pt x="296" y="388"/>
                </a:cubicBezTo>
                <a:cubicBezTo>
                  <a:pt x="340" y="375"/>
                  <a:pt x="375" y="340"/>
                  <a:pt x="388" y="296"/>
                </a:cubicBezTo>
                <a:cubicBezTo>
                  <a:pt x="334" y="288"/>
                  <a:pt x="334" y="288"/>
                  <a:pt x="334" y="288"/>
                </a:cubicBezTo>
                <a:cubicBezTo>
                  <a:pt x="326" y="309"/>
                  <a:pt x="309" y="326"/>
                  <a:pt x="288" y="334"/>
                </a:cubicBezTo>
                <a:close/>
                <a:moveTo>
                  <a:pt x="256" y="341"/>
                </a:moveTo>
                <a:cubicBezTo>
                  <a:pt x="252" y="341"/>
                  <a:pt x="248" y="341"/>
                  <a:pt x="244" y="340"/>
                </a:cubicBezTo>
                <a:cubicBezTo>
                  <a:pt x="236" y="393"/>
                  <a:pt x="236" y="393"/>
                  <a:pt x="236" y="393"/>
                </a:cubicBezTo>
                <a:cubicBezTo>
                  <a:pt x="243" y="394"/>
                  <a:pt x="249" y="394"/>
                  <a:pt x="256" y="394"/>
                </a:cubicBezTo>
                <a:cubicBezTo>
                  <a:pt x="262" y="394"/>
                  <a:pt x="269" y="394"/>
                  <a:pt x="275" y="393"/>
                </a:cubicBezTo>
                <a:cubicBezTo>
                  <a:pt x="268" y="340"/>
                  <a:pt x="268" y="340"/>
                  <a:pt x="268" y="340"/>
                </a:cubicBezTo>
                <a:cubicBezTo>
                  <a:pt x="264" y="341"/>
                  <a:pt x="260" y="341"/>
                  <a:pt x="256" y="34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59" name="Group 508"/>
          <p:cNvGrpSpPr>
            <a:grpSpLocks noChangeAspect="1"/>
          </p:cNvGrpSpPr>
          <p:nvPr/>
        </p:nvGrpSpPr>
        <p:grpSpPr bwMode="auto">
          <a:xfrm>
            <a:off x="8890774" y="4530514"/>
            <a:ext cx="367041" cy="367041"/>
            <a:chOff x="3297" y="2398"/>
            <a:chExt cx="340" cy="340"/>
          </a:xfrm>
          <a:solidFill>
            <a:schemeClr val="accent6"/>
          </a:solidFill>
        </p:grpSpPr>
        <p:sp>
          <p:nvSpPr>
            <p:cNvPr id="760" name="Freeform 509"/>
            <p:cNvSpPr>
              <a:spLocks noEditPoints="1"/>
            </p:cNvSpPr>
            <p:nvPr/>
          </p:nvSpPr>
          <p:spPr bwMode="auto">
            <a:xfrm>
              <a:off x="3361" y="2462"/>
              <a:ext cx="212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98 w 320"/>
                <a:gd name="T11" fmla="*/ 160 h 320"/>
                <a:gd name="T12" fmla="*/ 297 w 320"/>
                <a:gd name="T13" fmla="*/ 179 h 320"/>
                <a:gd name="T14" fmla="*/ 244 w 320"/>
                <a:gd name="T15" fmla="*/ 172 h 320"/>
                <a:gd name="T16" fmla="*/ 245 w 320"/>
                <a:gd name="T17" fmla="*/ 160 h 320"/>
                <a:gd name="T18" fmla="*/ 244 w 320"/>
                <a:gd name="T19" fmla="*/ 148 h 320"/>
                <a:gd name="T20" fmla="*/ 297 w 320"/>
                <a:gd name="T21" fmla="*/ 140 h 320"/>
                <a:gd name="T22" fmla="*/ 298 w 320"/>
                <a:gd name="T23" fmla="*/ 160 h 320"/>
                <a:gd name="T24" fmla="*/ 292 w 320"/>
                <a:gd name="T25" fmla="*/ 119 h 320"/>
                <a:gd name="T26" fmla="*/ 238 w 320"/>
                <a:gd name="T27" fmla="*/ 127 h 320"/>
                <a:gd name="T28" fmla="*/ 192 w 320"/>
                <a:gd name="T29" fmla="*/ 81 h 320"/>
                <a:gd name="T30" fmla="*/ 200 w 320"/>
                <a:gd name="T31" fmla="*/ 27 h 320"/>
                <a:gd name="T32" fmla="*/ 292 w 320"/>
                <a:gd name="T33" fmla="*/ 119 h 320"/>
                <a:gd name="T34" fmla="*/ 160 w 320"/>
                <a:gd name="T35" fmla="*/ 224 h 320"/>
                <a:gd name="T36" fmla="*/ 96 w 320"/>
                <a:gd name="T37" fmla="*/ 160 h 320"/>
                <a:gd name="T38" fmla="*/ 160 w 320"/>
                <a:gd name="T39" fmla="*/ 96 h 320"/>
                <a:gd name="T40" fmla="*/ 224 w 320"/>
                <a:gd name="T41" fmla="*/ 160 h 320"/>
                <a:gd name="T42" fmla="*/ 160 w 320"/>
                <a:gd name="T43" fmla="*/ 224 h 320"/>
                <a:gd name="T44" fmla="*/ 179 w 320"/>
                <a:gd name="T45" fmla="*/ 23 h 320"/>
                <a:gd name="T46" fmla="*/ 172 w 320"/>
                <a:gd name="T47" fmla="*/ 75 h 320"/>
                <a:gd name="T48" fmla="*/ 160 w 320"/>
                <a:gd name="T49" fmla="*/ 74 h 320"/>
                <a:gd name="T50" fmla="*/ 148 w 320"/>
                <a:gd name="T51" fmla="*/ 75 h 320"/>
                <a:gd name="T52" fmla="*/ 140 w 320"/>
                <a:gd name="T53" fmla="*/ 23 h 320"/>
                <a:gd name="T54" fmla="*/ 160 w 320"/>
                <a:gd name="T55" fmla="*/ 21 h 320"/>
                <a:gd name="T56" fmla="*/ 179 w 320"/>
                <a:gd name="T57" fmla="*/ 23 h 320"/>
                <a:gd name="T58" fmla="*/ 119 w 320"/>
                <a:gd name="T59" fmla="*/ 27 h 320"/>
                <a:gd name="T60" fmla="*/ 127 w 320"/>
                <a:gd name="T61" fmla="*/ 81 h 320"/>
                <a:gd name="T62" fmla="*/ 81 w 320"/>
                <a:gd name="T63" fmla="*/ 127 h 320"/>
                <a:gd name="T64" fmla="*/ 27 w 320"/>
                <a:gd name="T65" fmla="*/ 119 h 320"/>
                <a:gd name="T66" fmla="*/ 119 w 320"/>
                <a:gd name="T67" fmla="*/ 27 h 320"/>
                <a:gd name="T68" fmla="*/ 21 w 320"/>
                <a:gd name="T69" fmla="*/ 160 h 320"/>
                <a:gd name="T70" fmla="*/ 23 w 320"/>
                <a:gd name="T71" fmla="*/ 140 h 320"/>
                <a:gd name="T72" fmla="*/ 75 w 320"/>
                <a:gd name="T73" fmla="*/ 148 h 320"/>
                <a:gd name="T74" fmla="*/ 74 w 320"/>
                <a:gd name="T75" fmla="*/ 160 h 320"/>
                <a:gd name="T76" fmla="*/ 75 w 320"/>
                <a:gd name="T77" fmla="*/ 172 h 320"/>
                <a:gd name="T78" fmla="*/ 23 w 320"/>
                <a:gd name="T79" fmla="*/ 179 h 320"/>
                <a:gd name="T80" fmla="*/ 21 w 320"/>
                <a:gd name="T81" fmla="*/ 160 h 320"/>
                <a:gd name="T82" fmla="*/ 27 w 320"/>
                <a:gd name="T83" fmla="*/ 200 h 320"/>
                <a:gd name="T84" fmla="*/ 81 w 320"/>
                <a:gd name="T85" fmla="*/ 192 h 320"/>
                <a:gd name="T86" fmla="*/ 127 w 320"/>
                <a:gd name="T87" fmla="*/ 238 h 320"/>
                <a:gd name="T88" fmla="*/ 119 w 320"/>
                <a:gd name="T89" fmla="*/ 292 h 320"/>
                <a:gd name="T90" fmla="*/ 27 w 320"/>
                <a:gd name="T91" fmla="*/ 200 h 320"/>
                <a:gd name="T92" fmla="*/ 140 w 320"/>
                <a:gd name="T93" fmla="*/ 297 h 320"/>
                <a:gd name="T94" fmla="*/ 148 w 320"/>
                <a:gd name="T95" fmla="*/ 244 h 320"/>
                <a:gd name="T96" fmla="*/ 160 w 320"/>
                <a:gd name="T97" fmla="*/ 245 h 320"/>
                <a:gd name="T98" fmla="*/ 172 w 320"/>
                <a:gd name="T99" fmla="*/ 244 h 320"/>
                <a:gd name="T100" fmla="*/ 179 w 320"/>
                <a:gd name="T101" fmla="*/ 297 h 320"/>
                <a:gd name="T102" fmla="*/ 160 w 320"/>
                <a:gd name="T103" fmla="*/ 298 h 320"/>
                <a:gd name="T104" fmla="*/ 140 w 320"/>
                <a:gd name="T105" fmla="*/ 297 h 320"/>
                <a:gd name="T106" fmla="*/ 200 w 320"/>
                <a:gd name="T107" fmla="*/ 292 h 320"/>
                <a:gd name="T108" fmla="*/ 192 w 320"/>
                <a:gd name="T109" fmla="*/ 238 h 320"/>
                <a:gd name="T110" fmla="*/ 238 w 320"/>
                <a:gd name="T111" fmla="*/ 192 h 320"/>
                <a:gd name="T112" fmla="*/ 292 w 320"/>
                <a:gd name="T113" fmla="*/ 200 h 320"/>
                <a:gd name="T114" fmla="*/ 200 w 320"/>
                <a:gd name="T115" fmla="*/ 2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298" y="160"/>
                  </a:moveTo>
                  <a:cubicBezTo>
                    <a:pt x="298" y="166"/>
                    <a:pt x="298" y="173"/>
                    <a:pt x="297" y="179"/>
                  </a:cubicBezTo>
                  <a:cubicBezTo>
                    <a:pt x="244" y="172"/>
                    <a:pt x="244" y="172"/>
                    <a:pt x="244" y="172"/>
                  </a:cubicBezTo>
                  <a:cubicBezTo>
                    <a:pt x="245" y="168"/>
                    <a:pt x="245" y="164"/>
                    <a:pt x="245" y="160"/>
                  </a:cubicBezTo>
                  <a:cubicBezTo>
                    <a:pt x="245" y="156"/>
                    <a:pt x="245" y="152"/>
                    <a:pt x="244" y="148"/>
                  </a:cubicBezTo>
                  <a:cubicBezTo>
                    <a:pt x="297" y="140"/>
                    <a:pt x="297" y="140"/>
                    <a:pt x="297" y="140"/>
                  </a:cubicBezTo>
                  <a:cubicBezTo>
                    <a:pt x="298" y="147"/>
                    <a:pt x="298" y="153"/>
                    <a:pt x="298" y="160"/>
                  </a:cubicBezTo>
                  <a:close/>
                  <a:moveTo>
                    <a:pt x="292" y="119"/>
                  </a:moveTo>
                  <a:cubicBezTo>
                    <a:pt x="238" y="127"/>
                    <a:pt x="238" y="127"/>
                    <a:pt x="238" y="127"/>
                  </a:cubicBezTo>
                  <a:cubicBezTo>
                    <a:pt x="230" y="106"/>
                    <a:pt x="213" y="90"/>
                    <a:pt x="192" y="81"/>
                  </a:cubicBezTo>
                  <a:cubicBezTo>
                    <a:pt x="200" y="27"/>
                    <a:pt x="200" y="27"/>
                    <a:pt x="200" y="27"/>
                  </a:cubicBezTo>
                  <a:cubicBezTo>
                    <a:pt x="244" y="40"/>
                    <a:pt x="279" y="75"/>
                    <a:pt x="292" y="119"/>
                  </a:cubicBezTo>
                  <a:close/>
                  <a:moveTo>
                    <a:pt x="160" y="224"/>
                  </a:moveTo>
                  <a:cubicBezTo>
                    <a:pt x="124" y="224"/>
                    <a:pt x="96" y="195"/>
                    <a:pt x="96" y="160"/>
                  </a:cubicBezTo>
                  <a:cubicBezTo>
                    <a:pt x="96" y="124"/>
                    <a:pt x="124" y="96"/>
                    <a:pt x="160" y="96"/>
                  </a:cubicBezTo>
                  <a:cubicBezTo>
                    <a:pt x="195" y="96"/>
                    <a:pt x="224" y="124"/>
                    <a:pt x="224" y="160"/>
                  </a:cubicBezTo>
                  <a:cubicBezTo>
                    <a:pt x="224" y="195"/>
                    <a:pt x="195" y="224"/>
                    <a:pt x="160" y="224"/>
                  </a:cubicBezTo>
                  <a:close/>
                  <a:moveTo>
                    <a:pt x="179" y="23"/>
                  </a:moveTo>
                  <a:cubicBezTo>
                    <a:pt x="172" y="75"/>
                    <a:pt x="172" y="75"/>
                    <a:pt x="172" y="75"/>
                  </a:cubicBezTo>
                  <a:cubicBezTo>
                    <a:pt x="168" y="75"/>
                    <a:pt x="164" y="74"/>
                    <a:pt x="160" y="74"/>
                  </a:cubicBezTo>
                  <a:cubicBezTo>
                    <a:pt x="156" y="74"/>
                    <a:pt x="152" y="75"/>
                    <a:pt x="148" y="75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7" y="22"/>
                    <a:pt x="153" y="21"/>
                    <a:pt x="160" y="21"/>
                  </a:cubicBezTo>
                  <a:cubicBezTo>
                    <a:pt x="166" y="21"/>
                    <a:pt x="173" y="22"/>
                    <a:pt x="179" y="23"/>
                  </a:cubicBezTo>
                  <a:close/>
                  <a:moveTo>
                    <a:pt x="119" y="27"/>
                  </a:moveTo>
                  <a:cubicBezTo>
                    <a:pt x="127" y="81"/>
                    <a:pt x="127" y="81"/>
                    <a:pt x="127" y="81"/>
                  </a:cubicBezTo>
                  <a:cubicBezTo>
                    <a:pt x="106" y="90"/>
                    <a:pt x="90" y="106"/>
                    <a:pt x="81" y="127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40" y="75"/>
                    <a:pt x="75" y="40"/>
                    <a:pt x="119" y="27"/>
                  </a:cubicBezTo>
                  <a:close/>
                  <a:moveTo>
                    <a:pt x="21" y="160"/>
                  </a:moveTo>
                  <a:cubicBezTo>
                    <a:pt x="21" y="153"/>
                    <a:pt x="22" y="147"/>
                    <a:pt x="23" y="140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52"/>
                    <a:pt x="74" y="156"/>
                    <a:pt x="74" y="160"/>
                  </a:cubicBezTo>
                  <a:cubicBezTo>
                    <a:pt x="74" y="164"/>
                    <a:pt x="75" y="168"/>
                    <a:pt x="75" y="172"/>
                  </a:cubicBezTo>
                  <a:cubicBezTo>
                    <a:pt x="23" y="179"/>
                    <a:pt x="23" y="179"/>
                    <a:pt x="23" y="179"/>
                  </a:cubicBezTo>
                  <a:cubicBezTo>
                    <a:pt x="22" y="173"/>
                    <a:pt x="21" y="166"/>
                    <a:pt x="21" y="160"/>
                  </a:cubicBezTo>
                  <a:close/>
                  <a:moveTo>
                    <a:pt x="27" y="200"/>
                  </a:moveTo>
                  <a:cubicBezTo>
                    <a:pt x="81" y="192"/>
                    <a:pt x="81" y="192"/>
                    <a:pt x="81" y="192"/>
                  </a:cubicBezTo>
                  <a:cubicBezTo>
                    <a:pt x="90" y="213"/>
                    <a:pt x="106" y="230"/>
                    <a:pt x="127" y="238"/>
                  </a:cubicBezTo>
                  <a:cubicBezTo>
                    <a:pt x="119" y="292"/>
                    <a:pt x="119" y="292"/>
                    <a:pt x="119" y="292"/>
                  </a:cubicBezTo>
                  <a:cubicBezTo>
                    <a:pt x="75" y="279"/>
                    <a:pt x="40" y="244"/>
                    <a:pt x="27" y="200"/>
                  </a:cubicBezTo>
                  <a:close/>
                  <a:moveTo>
                    <a:pt x="140" y="297"/>
                  </a:moveTo>
                  <a:cubicBezTo>
                    <a:pt x="148" y="244"/>
                    <a:pt x="148" y="244"/>
                    <a:pt x="148" y="244"/>
                  </a:cubicBezTo>
                  <a:cubicBezTo>
                    <a:pt x="152" y="245"/>
                    <a:pt x="156" y="245"/>
                    <a:pt x="160" y="245"/>
                  </a:cubicBezTo>
                  <a:cubicBezTo>
                    <a:pt x="164" y="245"/>
                    <a:pt x="168" y="245"/>
                    <a:pt x="172" y="244"/>
                  </a:cubicBezTo>
                  <a:cubicBezTo>
                    <a:pt x="179" y="297"/>
                    <a:pt x="179" y="297"/>
                    <a:pt x="179" y="297"/>
                  </a:cubicBezTo>
                  <a:cubicBezTo>
                    <a:pt x="173" y="298"/>
                    <a:pt x="166" y="298"/>
                    <a:pt x="160" y="298"/>
                  </a:cubicBezTo>
                  <a:cubicBezTo>
                    <a:pt x="153" y="298"/>
                    <a:pt x="147" y="298"/>
                    <a:pt x="140" y="297"/>
                  </a:cubicBezTo>
                  <a:close/>
                  <a:moveTo>
                    <a:pt x="200" y="292"/>
                  </a:moveTo>
                  <a:cubicBezTo>
                    <a:pt x="192" y="238"/>
                    <a:pt x="192" y="238"/>
                    <a:pt x="192" y="238"/>
                  </a:cubicBezTo>
                  <a:cubicBezTo>
                    <a:pt x="213" y="230"/>
                    <a:pt x="230" y="213"/>
                    <a:pt x="238" y="192"/>
                  </a:cubicBezTo>
                  <a:cubicBezTo>
                    <a:pt x="292" y="200"/>
                    <a:pt x="292" y="200"/>
                    <a:pt x="292" y="200"/>
                  </a:cubicBezTo>
                  <a:cubicBezTo>
                    <a:pt x="279" y="244"/>
                    <a:pt x="244" y="279"/>
                    <a:pt x="200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1" name="Freeform 510"/>
            <p:cNvSpPr>
              <a:spLocks noEditPoints="1"/>
            </p:cNvSpPr>
            <p:nvPr/>
          </p:nvSpPr>
          <p:spPr bwMode="auto">
            <a:xfrm>
              <a:off x="3297" y="23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62" name="Freeform 477"/>
          <p:cNvSpPr>
            <a:spLocks noChangeAspect="1" noEditPoints="1"/>
          </p:cNvSpPr>
          <p:nvPr/>
        </p:nvSpPr>
        <p:spPr bwMode="auto">
          <a:xfrm>
            <a:off x="9388187" y="4530514"/>
            <a:ext cx="367041" cy="368121"/>
          </a:xfrm>
          <a:custGeom>
            <a:avLst/>
            <a:gdLst>
              <a:gd name="T0" fmla="*/ 202 w 512"/>
              <a:gd name="T1" fmla="*/ 170 h 512"/>
              <a:gd name="T2" fmla="*/ 309 w 512"/>
              <a:gd name="T3" fmla="*/ 170 h 512"/>
              <a:gd name="T4" fmla="*/ 309 w 512"/>
              <a:gd name="T5" fmla="*/ 213 h 512"/>
              <a:gd name="T6" fmla="*/ 202 w 512"/>
              <a:gd name="T7" fmla="*/ 213 h 512"/>
              <a:gd name="T8" fmla="*/ 202 w 512"/>
              <a:gd name="T9" fmla="*/ 170 h 512"/>
              <a:gd name="T10" fmla="*/ 202 w 512"/>
              <a:gd name="T11" fmla="*/ 341 h 512"/>
              <a:gd name="T12" fmla="*/ 309 w 512"/>
              <a:gd name="T13" fmla="*/ 341 h 512"/>
              <a:gd name="T14" fmla="*/ 309 w 512"/>
              <a:gd name="T15" fmla="*/ 298 h 512"/>
              <a:gd name="T16" fmla="*/ 202 w 512"/>
              <a:gd name="T17" fmla="*/ 298 h 512"/>
              <a:gd name="T18" fmla="*/ 202 w 512"/>
              <a:gd name="T19" fmla="*/ 341 h 512"/>
              <a:gd name="T20" fmla="*/ 202 w 512"/>
              <a:gd name="T21" fmla="*/ 277 h 512"/>
              <a:gd name="T22" fmla="*/ 309 w 512"/>
              <a:gd name="T23" fmla="*/ 277 h 512"/>
              <a:gd name="T24" fmla="*/ 309 w 512"/>
              <a:gd name="T25" fmla="*/ 234 h 512"/>
              <a:gd name="T26" fmla="*/ 202 w 512"/>
              <a:gd name="T27" fmla="*/ 234 h 512"/>
              <a:gd name="T28" fmla="*/ 202 w 512"/>
              <a:gd name="T29" fmla="*/ 277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30 w 512"/>
              <a:gd name="T41" fmla="*/ 106 h 512"/>
              <a:gd name="T42" fmla="*/ 320 w 512"/>
              <a:gd name="T43" fmla="*/ 96 h 512"/>
              <a:gd name="T44" fmla="*/ 309 w 512"/>
              <a:gd name="T45" fmla="*/ 106 h 512"/>
              <a:gd name="T46" fmla="*/ 309 w 512"/>
              <a:gd name="T47" fmla="*/ 149 h 512"/>
              <a:gd name="T48" fmla="*/ 202 w 512"/>
              <a:gd name="T49" fmla="*/ 149 h 512"/>
              <a:gd name="T50" fmla="*/ 202 w 512"/>
              <a:gd name="T51" fmla="*/ 106 h 512"/>
              <a:gd name="T52" fmla="*/ 192 w 512"/>
              <a:gd name="T53" fmla="*/ 96 h 512"/>
              <a:gd name="T54" fmla="*/ 181 w 512"/>
              <a:gd name="T55" fmla="*/ 106 h 512"/>
              <a:gd name="T56" fmla="*/ 181 w 512"/>
              <a:gd name="T57" fmla="*/ 405 h 512"/>
              <a:gd name="T58" fmla="*/ 192 w 512"/>
              <a:gd name="T59" fmla="*/ 416 h 512"/>
              <a:gd name="T60" fmla="*/ 202 w 512"/>
              <a:gd name="T61" fmla="*/ 405 h 512"/>
              <a:gd name="T62" fmla="*/ 202 w 512"/>
              <a:gd name="T63" fmla="*/ 362 h 512"/>
              <a:gd name="T64" fmla="*/ 309 w 512"/>
              <a:gd name="T65" fmla="*/ 362 h 512"/>
              <a:gd name="T66" fmla="*/ 309 w 512"/>
              <a:gd name="T67" fmla="*/ 405 h 512"/>
              <a:gd name="T68" fmla="*/ 320 w 512"/>
              <a:gd name="T69" fmla="*/ 416 h 512"/>
              <a:gd name="T70" fmla="*/ 330 w 512"/>
              <a:gd name="T71" fmla="*/ 405 h 512"/>
              <a:gd name="T72" fmla="*/ 330 w 512"/>
              <a:gd name="T73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02" y="170"/>
                </a:moveTo>
                <a:cubicBezTo>
                  <a:pt x="309" y="170"/>
                  <a:pt x="309" y="170"/>
                  <a:pt x="309" y="170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202" y="213"/>
                  <a:pt x="202" y="213"/>
                  <a:pt x="202" y="213"/>
                </a:cubicBezTo>
                <a:lnTo>
                  <a:pt x="202" y="170"/>
                </a:lnTo>
                <a:close/>
                <a:moveTo>
                  <a:pt x="202" y="341"/>
                </a:moveTo>
                <a:cubicBezTo>
                  <a:pt x="309" y="341"/>
                  <a:pt x="309" y="341"/>
                  <a:pt x="309" y="341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202" y="298"/>
                  <a:pt x="202" y="298"/>
                  <a:pt x="202" y="298"/>
                </a:cubicBezTo>
                <a:lnTo>
                  <a:pt x="202" y="341"/>
                </a:lnTo>
                <a:close/>
                <a:moveTo>
                  <a:pt x="202" y="277"/>
                </a:moveTo>
                <a:cubicBezTo>
                  <a:pt x="309" y="277"/>
                  <a:pt x="309" y="277"/>
                  <a:pt x="309" y="277"/>
                </a:cubicBezTo>
                <a:cubicBezTo>
                  <a:pt x="309" y="234"/>
                  <a:pt x="309" y="234"/>
                  <a:pt x="309" y="234"/>
                </a:cubicBezTo>
                <a:cubicBezTo>
                  <a:pt x="202" y="234"/>
                  <a:pt x="202" y="234"/>
                  <a:pt x="202" y="234"/>
                </a:cubicBezTo>
                <a:lnTo>
                  <a:pt x="202" y="2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06"/>
                </a:moveTo>
                <a:cubicBezTo>
                  <a:pt x="330" y="100"/>
                  <a:pt x="326" y="96"/>
                  <a:pt x="320" y="96"/>
                </a:cubicBezTo>
                <a:cubicBezTo>
                  <a:pt x="314" y="96"/>
                  <a:pt x="309" y="100"/>
                  <a:pt x="309" y="106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06"/>
                  <a:pt x="202" y="106"/>
                  <a:pt x="202" y="106"/>
                </a:cubicBezTo>
                <a:cubicBezTo>
                  <a:pt x="202" y="100"/>
                  <a:pt x="198" y="96"/>
                  <a:pt x="192" y="96"/>
                </a:cubicBezTo>
                <a:cubicBezTo>
                  <a:pt x="186" y="96"/>
                  <a:pt x="181" y="100"/>
                  <a:pt x="181" y="106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198" y="416"/>
                  <a:pt x="202" y="411"/>
                  <a:pt x="202" y="405"/>
                </a:cubicBezTo>
                <a:cubicBezTo>
                  <a:pt x="202" y="362"/>
                  <a:pt x="202" y="362"/>
                  <a:pt x="202" y="362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405"/>
                  <a:pt x="309" y="405"/>
                  <a:pt x="309" y="405"/>
                </a:cubicBezTo>
                <a:cubicBezTo>
                  <a:pt x="309" y="411"/>
                  <a:pt x="314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lnTo>
                  <a:pt x="330" y="10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63" name="Group 480"/>
          <p:cNvGrpSpPr>
            <a:grpSpLocks noChangeAspect="1"/>
          </p:cNvGrpSpPr>
          <p:nvPr/>
        </p:nvGrpSpPr>
        <p:grpSpPr bwMode="auto">
          <a:xfrm>
            <a:off x="9885591" y="4530514"/>
            <a:ext cx="367041" cy="367041"/>
            <a:chOff x="1027" y="2077"/>
            <a:chExt cx="340" cy="340"/>
          </a:xfrm>
          <a:solidFill>
            <a:schemeClr val="accent6"/>
          </a:solidFill>
        </p:grpSpPr>
        <p:sp>
          <p:nvSpPr>
            <p:cNvPr id="764" name="Freeform 481"/>
            <p:cNvSpPr>
              <a:spLocks noEditPoints="1"/>
            </p:cNvSpPr>
            <p:nvPr/>
          </p:nvSpPr>
          <p:spPr bwMode="auto">
            <a:xfrm>
              <a:off x="1147" y="2141"/>
              <a:ext cx="99" cy="212"/>
            </a:xfrm>
            <a:custGeom>
              <a:avLst/>
              <a:gdLst>
                <a:gd name="T0" fmla="*/ 139 w 149"/>
                <a:gd name="T1" fmla="*/ 0 h 320"/>
                <a:gd name="T2" fmla="*/ 128 w 149"/>
                <a:gd name="T3" fmla="*/ 10 h 320"/>
                <a:gd name="T4" fmla="*/ 128 w 149"/>
                <a:gd name="T5" fmla="*/ 53 h 320"/>
                <a:gd name="T6" fmla="*/ 21 w 149"/>
                <a:gd name="T7" fmla="*/ 53 h 320"/>
                <a:gd name="T8" fmla="*/ 21 w 149"/>
                <a:gd name="T9" fmla="*/ 10 h 320"/>
                <a:gd name="T10" fmla="*/ 11 w 149"/>
                <a:gd name="T11" fmla="*/ 0 h 320"/>
                <a:gd name="T12" fmla="*/ 0 w 149"/>
                <a:gd name="T13" fmla="*/ 10 h 320"/>
                <a:gd name="T14" fmla="*/ 0 w 149"/>
                <a:gd name="T15" fmla="*/ 309 h 320"/>
                <a:gd name="T16" fmla="*/ 11 w 149"/>
                <a:gd name="T17" fmla="*/ 320 h 320"/>
                <a:gd name="T18" fmla="*/ 21 w 149"/>
                <a:gd name="T19" fmla="*/ 309 h 320"/>
                <a:gd name="T20" fmla="*/ 21 w 149"/>
                <a:gd name="T21" fmla="*/ 266 h 320"/>
                <a:gd name="T22" fmla="*/ 128 w 149"/>
                <a:gd name="T23" fmla="*/ 266 h 320"/>
                <a:gd name="T24" fmla="*/ 128 w 149"/>
                <a:gd name="T25" fmla="*/ 309 h 320"/>
                <a:gd name="T26" fmla="*/ 139 w 149"/>
                <a:gd name="T27" fmla="*/ 320 h 320"/>
                <a:gd name="T28" fmla="*/ 149 w 149"/>
                <a:gd name="T29" fmla="*/ 309 h 320"/>
                <a:gd name="T30" fmla="*/ 149 w 149"/>
                <a:gd name="T31" fmla="*/ 10 h 320"/>
                <a:gd name="T32" fmla="*/ 139 w 149"/>
                <a:gd name="T33" fmla="*/ 0 h 320"/>
                <a:gd name="T34" fmla="*/ 128 w 149"/>
                <a:gd name="T35" fmla="*/ 74 h 320"/>
                <a:gd name="T36" fmla="*/ 128 w 149"/>
                <a:gd name="T37" fmla="*/ 117 h 320"/>
                <a:gd name="T38" fmla="*/ 21 w 149"/>
                <a:gd name="T39" fmla="*/ 117 h 320"/>
                <a:gd name="T40" fmla="*/ 21 w 149"/>
                <a:gd name="T41" fmla="*/ 74 h 320"/>
                <a:gd name="T42" fmla="*/ 128 w 149"/>
                <a:gd name="T43" fmla="*/ 74 h 320"/>
                <a:gd name="T44" fmla="*/ 128 w 149"/>
                <a:gd name="T45" fmla="*/ 138 h 320"/>
                <a:gd name="T46" fmla="*/ 128 w 149"/>
                <a:gd name="T47" fmla="*/ 181 h 320"/>
                <a:gd name="T48" fmla="*/ 21 w 149"/>
                <a:gd name="T49" fmla="*/ 181 h 320"/>
                <a:gd name="T50" fmla="*/ 21 w 149"/>
                <a:gd name="T51" fmla="*/ 138 h 320"/>
                <a:gd name="T52" fmla="*/ 128 w 149"/>
                <a:gd name="T53" fmla="*/ 138 h 320"/>
                <a:gd name="T54" fmla="*/ 21 w 149"/>
                <a:gd name="T55" fmla="*/ 245 h 320"/>
                <a:gd name="T56" fmla="*/ 21 w 149"/>
                <a:gd name="T57" fmla="*/ 202 h 320"/>
                <a:gd name="T58" fmla="*/ 128 w 149"/>
                <a:gd name="T59" fmla="*/ 202 h 320"/>
                <a:gd name="T60" fmla="*/ 128 w 149"/>
                <a:gd name="T61" fmla="*/ 245 h 320"/>
                <a:gd name="T62" fmla="*/ 21 w 149"/>
                <a:gd name="T63" fmla="*/ 24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9" h="320">
                  <a:moveTo>
                    <a:pt x="139" y="0"/>
                  </a:moveTo>
                  <a:cubicBezTo>
                    <a:pt x="133" y="0"/>
                    <a:pt x="128" y="4"/>
                    <a:pt x="128" y="10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17" y="320"/>
                    <a:pt x="21" y="315"/>
                    <a:pt x="21" y="309"/>
                  </a:cubicBezTo>
                  <a:cubicBezTo>
                    <a:pt x="21" y="266"/>
                    <a:pt x="21" y="266"/>
                    <a:pt x="21" y="266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28" y="309"/>
                    <a:pt x="128" y="309"/>
                    <a:pt x="128" y="309"/>
                  </a:cubicBezTo>
                  <a:cubicBezTo>
                    <a:pt x="128" y="315"/>
                    <a:pt x="133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  <a:moveTo>
                    <a:pt x="128" y="74"/>
                  </a:moveTo>
                  <a:cubicBezTo>
                    <a:pt x="128" y="117"/>
                    <a:pt x="128" y="117"/>
                    <a:pt x="128" y="117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1" y="74"/>
                    <a:pt x="21" y="74"/>
                    <a:pt x="21" y="74"/>
                  </a:cubicBezTo>
                  <a:lnTo>
                    <a:pt x="128" y="74"/>
                  </a:lnTo>
                  <a:close/>
                  <a:moveTo>
                    <a:pt x="128" y="138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1" y="138"/>
                    <a:pt x="21" y="138"/>
                    <a:pt x="21" y="138"/>
                  </a:cubicBezTo>
                  <a:lnTo>
                    <a:pt x="128" y="138"/>
                  </a:lnTo>
                  <a:close/>
                  <a:moveTo>
                    <a:pt x="21" y="245"/>
                  </a:moveTo>
                  <a:cubicBezTo>
                    <a:pt x="21" y="202"/>
                    <a:pt x="21" y="202"/>
                    <a:pt x="21" y="202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28" y="245"/>
                    <a:pt x="128" y="245"/>
                    <a:pt x="128" y="245"/>
                  </a:cubicBezTo>
                  <a:lnTo>
                    <a:pt x="21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5" name="Freeform 482"/>
            <p:cNvSpPr>
              <a:spLocks noEditPoints="1"/>
            </p:cNvSpPr>
            <p:nvPr/>
          </p:nvSpPr>
          <p:spPr bwMode="auto">
            <a:xfrm>
              <a:off x="1027" y="20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66" name="Freeform 803"/>
          <p:cNvSpPr>
            <a:spLocks noChangeAspect="1" noEditPoints="1"/>
          </p:cNvSpPr>
          <p:nvPr/>
        </p:nvSpPr>
        <p:spPr bwMode="auto">
          <a:xfrm>
            <a:off x="437662" y="5400121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0 w 512"/>
              <a:gd name="T11" fmla="*/ 412 h 512"/>
              <a:gd name="T12" fmla="*/ 288 w 512"/>
              <a:gd name="T13" fmla="*/ 412 h 512"/>
              <a:gd name="T14" fmla="*/ 277 w 512"/>
              <a:gd name="T15" fmla="*/ 404 h 512"/>
              <a:gd name="T16" fmla="*/ 285 w 512"/>
              <a:gd name="T17" fmla="*/ 391 h 512"/>
              <a:gd name="T18" fmla="*/ 346 w 512"/>
              <a:gd name="T19" fmla="*/ 361 h 512"/>
              <a:gd name="T20" fmla="*/ 316 w 512"/>
              <a:gd name="T21" fmla="*/ 331 h 512"/>
              <a:gd name="T22" fmla="*/ 256 w 512"/>
              <a:gd name="T23" fmla="*/ 352 h 512"/>
              <a:gd name="T24" fmla="*/ 167 w 512"/>
              <a:gd name="T25" fmla="*/ 292 h 512"/>
              <a:gd name="T26" fmla="*/ 173 w 512"/>
              <a:gd name="T27" fmla="*/ 278 h 512"/>
              <a:gd name="T28" fmla="*/ 186 w 512"/>
              <a:gd name="T29" fmla="*/ 284 h 512"/>
              <a:gd name="T30" fmla="*/ 256 w 512"/>
              <a:gd name="T31" fmla="*/ 330 h 512"/>
              <a:gd name="T32" fmla="*/ 330 w 512"/>
              <a:gd name="T33" fmla="*/ 256 h 512"/>
              <a:gd name="T34" fmla="*/ 256 w 512"/>
              <a:gd name="T35" fmla="*/ 181 h 512"/>
              <a:gd name="T36" fmla="*/ 186 w 512"/>
              <a:gd name="T37" fmla="*/ 228 h 512"/>
              <a:gd name="T38" fmla="*/ 173 w 512"/>
              <a:gd name="T39" fmla="*/ 234 h 512"/>
              <a:gd name="T40" fmla="*/ 167 w 512"/>
              <a:gd name="T41" fmla="*/ 220 h 512"/>
              <a:gd name="T42" fmla="*/ 245 w 512"/>
              <a:gd name="T43" fmla="*/ 160 h 512"/>
              <a:gd name="T44" fmla="*/ 245 w 512"/>
              <a:gd name="T45" fmla="*/ 118 h 512"/>
              <a:gd name="T46" fmla="*/ 117 w 512"/>
              <a:gd name="T47" fmla="*/ 256 h 512"/>
              <a:gd name="T48" fmla="*/ 226 w 512"/>
              <a:gd name="T49" fmla="*/ 391 h 512"/>
              <a:gd name="T50" fmla="*/ 234 w 512"/>
              <a:gd name="T51" fmla="*/ 404 h 512"/>
              <a:gd name="T52" fmla="*/ 224 w 512"/>
              <a:gd name="T53" fmla="*/ 412 h 512"/>
              <a:gd name="T54" fmla="*/ 221 w 512"/>
              <a:gd name="T55" fmla="*/ 412 h 512"/>
              <a:gd name="T56" fmla="*/ 96 w 512"/>
              <a:gd name="T57" fmla="*/ 256 h 512"/>
              <a:gd name="T58" fmla="*/ 256 w 512"/>
              <a:gd name="T59" fmla="*/ 96 h 512"/>
              <a:gd name="T60" fmla="*/ 324 w 512"/>
              <a:gd name="T61" fmla="*/ 111 h 512"/>
              <a:gd name="T62" fmla="*/ 329 w 512"/>
              <a:gd name="T63" fmla="*/ 125 h 512"/>
              <a:gd name="T64" fmla="*/ 315 w 512"/>
              <a:gd name="T65" fmla="*/ 130 h 512"/>
              <a:gd name="T66" fmla="*/ 266 w 512"/>
              <a:gd name="T67" fmla="*/ 118 h 512"/>
              <a:gd name="T68" fmla="*/ 266 w 512"/>
              <a:gd name="T69" fmla="*/ 160 h 512"/>
              <a:gd name="T70" fmla="*/ 352 w 512"/>
              <a:gd name="T71" fmla="*/ 256 h 512"/>
              <a:gd name="T72" fmla="*/ 331 w 512"/>
              <a:gd name="T73" fmla="*/ 316 h 512"/>
              <a:gd name="T74" fmla="*/ 361 w 512"/>
              <a:gd name="T75" fmla="*/ 346 h 512"/>
              <a:gd name="T76" fmla="*/ 394 w 512"/>
              <a:gd name="T77" fmla="*/ 256 h 512"/>
              <a:gd name="T78" fmla="*/ 362 w 512"/>
              <a:gd name="T79" fmla="*/ 167 h 512"/>
              <a:gd name="T80" fmla="*/ 363 w 512"/>
              <a:gd name="T81" fmla="*/ 151 h 512"/>
              <a:gd name="T82" fmla="*/ 378 w 512"/>
              <a:gd name="T83" fmla="*/ 153 h 512"/>
              <a:gd name="T84" fmla="*/ 416 w 512"/>
              <a:gd name="T85" fmla="*/ 256 h 512"/>
              <a:gd name="T86" fmla="*/ 290 w 512"/>
              <a:gd name="T87" fmla="*/ 412 h 512"/>
              <a:gd name="T88" fmla="*/ 213 w 512"/>
              <a:gd name="T89" fmla="*/ 256 h 512"/>
              <a:gd name="T90" fmla="*/ 256 w 512"/>
              <a:gd name="T91" fmla="*/ 213 h 512"/>
              <a:gd name="T92" fmla="*/ 298 w 512"/>
              <a:gd name="T93" fmla="*/ 256 h 512"/>
              <a:gd name="T94" fmla="*/ 256 w 512"/>
              <a:gd name="T95" fmla="*/ 298 h 512"/>
              <a:gd name="T96" fmla="*/ 213 w 512"/>
              <a:gd name="T97" fmla="*/ 256 h 512"/>
              <a:gd name="T98" fmla="*/ 256 w 512"/>
              <a:gd name="T99" fmla="*/ 277 h 512"/>
              <a:gd name="T100" fmla="*/ 234 w 512"/>
              <a:gd name="T101" fmla="*/ 256 h 512"/>
              <a:gd name="T102" fmla="*/ 256 w 512"/>
              <a:gd name="T103" fmla="*/ 234 h 512"/>
              <a:gd name="T104" fmla="*/ 277 w 512"/>
              <a:gd name="T105" fmla="*/ 256 h 512"/>
              <a:gd name="T106" fmla="*/ 256 w 512"/>
              <a:gd name="T107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0" y="412"/>
                </a:moveTo>
                <a:cubicBezTo>
                  <a:pt x="289" y="412"/>
                  <a:pt x="288" y="412"/>
                  <a:pt x="288" y="412"/>
                </a:cubicBezTo>
                <a:cubicBezTo>
                  <a:pt x="283" y="412"/>
                  <a:pt x="278" y="409"/>
                  <a:pt x="277" y="404"/>
                </a:cubicBezTo>
                <a:cubicBezTo>
                  <a:pt x="276" y="398"/>
                  <a:pt x="280" y="392"/>
                  <a:pt x="285" y="391"/>
                </a:cubicBezTo>
                <a:cubicBezTo>
                  <a:pt x="308" y="386"/>
                  <a:pt x="329" y="375"/>
                  <a:pt x="346" y="361"/>
                </a:cubicBezTo>
                <a:cubicBezTo>
                  <a:pt x="316" y="331"/>
                  <a:pt x="316" y="331"/>
                  <a:pt x="316" y="331"/>
                </a:cubicBezTo>
                <a:cubicBezTo>
                  <a:pt x="299" y="344"/>
                  <a:pt x="278" y="352"/>
                  <a:pt x="256" y="352"/>
                </a:cubicBezTo>
                <a:cubicBezTo>
                  <a:pt x="216" y="352"/>
                  <a:pt x="181" y="328"/>
                  <a:pt x="167" y="292"/>
                </a:cubicBezTo>
                <a:cubicBezTo>
                  <a:pt x="164" y="286"/>
                  <a:pt x="167" y="280"/>
                  <a:pt x="173" y="278"/>
                </a:cubicBezTo>
                <a:cubicBezTo>
                  <a:pt x="178" y="276"/>
                  <a:pt x="184" y="278"/>
                  <a:pt x="186" y="284"/>
                </a:cubicBezTo>
                <a:cubicBezTo>
                  <a:pt x="198" y="312"/>
                  <a:pt x="225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14"/>
                  <a:pt x="297" y="181"/>
                  <a:pt x="256" y="181"/>
                </a:cubicBezTo>
                <a:cubicBezTo>
                  <a:pt x="225" y="181"/>
                  <a:pt x="198" y="199"/>
                  <a:pt x="186" y="228"/>
                </a:cubicBezTo>
                <a:cubicBezTo>
                  <a:pt x="184" y="233"/>
                  <a:pt x="178" y="236"/>
                  <a:pt x="173" y="234"/>
                </a:cubicBezTo>
                <a:cubicBezTo>
                  <a:pt x="167" y="231"/>
                  <a:pt x="164" y="225"/>
                  <a:pt x="167" y="220"/>
                </a:cubicBezTo>
                <a:cubicBezTo>
                  <a:pt x="180" y="187"/>
                  <a:pt x="210" y="164"/>
                  <a:pt x="245" y="160"/>
                </a:cubicBezTo>
                <a:cubicBezTo>
                  <a:pt x="245" y="118"/>
                  <a:pt x="245" y="118"/>
                  <a:pt x="245" y="118"/>
                </a:cubicBezTo>
                <a:cubicBezTo>
                  <a:pt x="174" y="123"/>
                  <a:pt x="117" y="183"/>
                  <a:pt x="117" y="256"/>
                </a:cubicBezTo>
                <a:cubicBezTo>
                  <a:pt x="117" y="320"/>
                  <a:pt x="163" y="377"/>
                  <a:pt x="226" y="391"/>
                </a:cubicBezTo>
                <a:cubicBezTo>
                  <a:pt x="232" y="392"/>
                  <a:pt x="235" y="398"/>
                  <a:pt x="234" y="404"/>
                </a:cubicBezTo>
                <a:cubicBezTo>
                  <a:pt x="233" y="409"/>
                  <a:pt x="229" y="412"/>
                  <a:pt x="224" y="412"/>
                </a:cubicBezTo>
                <a:cubicBezTo>
                  <a:pt x="223" y="412"/>
                  <a:pt x="222" y="412"/>
                  <a:pt x="221" y="412"/>
                </a:cubicBezTo>
                <a:cubicBezTo>
                  <a:pt x="149" y="396"/>
                  <a:pt x="96" y="330"/>
                  <a:pt x="96" y="256"/>
                </a:cubicBezTo>
                <a:cubicBezTo>
                  <a:pt x="96" y="167"/>
                  <a:pt x="167" y="96"/>
                  <a:pt x="256" y="96"/>
                </a:cubicBezTo>
                <a:cubicBezTo>
                  <a:pt x="280" y="96"/>
                  <a:pt x="303" y="101"/>
                  <a:pt x="324" y="111"/>
                </a:cubicBezTo>
                <a:cubicBezTo>
                  <a:pt x="330" y="114"/>
                  <a:pt x="332" y="120"/>
                  <a:pt x="329" y="125"/>
                </a:cubicBezTo>
                <a:cubicBezTo>
                  <a:pt x="327" y="131"/>
                  <a:pt x="320" y="133"/>
                  <a:pt x="315" y="130"/>
                </a:cubicBezTo>
                <a:cubicBezTo>
                  <a:pt x="300" y="123"/>
                  <a:pt x="283" y="119"/>
                  <a:pt x="266" y="118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314" y="166"/>
                  <a:pt x="352" y="206"/>
                  <a:pt x="352" y="256"/>
                </a:cubicBezTo>
                <a:cubicBezTo>
                  <a:pt x="352" y="278"/>
                  <a:pt x="344" y="299"/>
                  <a:pt x="331" y="316"/>
                </a:cubicBezTo>
                <a:cubicBezTo>
                  <a:pt x="361" y="346"/>
                  <a:pt x="361" y="346"/>
                  <a:pt x="361" y="346"/>
                </a:cubicBezTo>
                <a:cubicBezTo>
                  <a:pt x="382" y="321"/>
                  <a:pt x="394" y="289"/>
                  <a:pt x="394" y="256"/>
                </a:cubicBezTo>
                <a:cubicBezTo>
                  <a:pt x="394" y="223"/>
                  <a:pt x="383" y="191"/>
                  <a:pt x="362" y="167"/>
                </a:cubicBezTo>
                <a:cubicBezTo>
                  <a:pt x="358" y="162"/>
                  <a:pt x="359" y="155"/>
                  <a:pt x="363" y="151"/>
                </a:cubicBezTo>
                <a:cubicBezTo>
                  <a:pt x="368" y="148"/>
                  <a:pt x="374" y="148"/>
                  <a:pt x="378" y="153"/>
                </a:cubicBezTo>
                <a:cubicBezTo>
                  <a:pt x="402" y="182"/>
                  <a:pt x="416" y="218"/>
                  <a:pt x="416" y="256"/>
                </a:cubicBezTo>
                <a:cubicBezTo>
                  <a:pt x="416" y="330"/>
                  <a:pt x="363" y="396"/>
                  <a:pt x="290" y="412"/>
                </a:cubicBezTo>
                <a:close/>
                <a:moveTo>
                  <a:pt x="213" y="256"/>
                </a:move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lose/>
                <a:moveTo>
                  <a:pt x="256" y="277"/>
                </a:moveTo>
                <a:cubicBezTo>
                  <a:pt x="244" y="277"/>
                  <a:pt x="234" y="267"/>
                  <a:pt x="234" y="256"/>
                </a:cubicBezTo>
                <a:cubicBezTo>
                  <a:pt x="234" y="244"/>
                  <a:pt x="244" y="234"/>
                  <a:pt x="256" y="234"/>
                </a:cubicBezTo>
                <a:cubicBezTo>
                  <a:pt x="267" y="234"/>
                  <a:pt x="277" y="244"/>
                  <a:pt x="277" y="256"/>
                </a:cubicBezTo>
                <a:cubicBezTo>
                  <a:pt x="277" y="267"/>
                  <a:pt x="267" y="277"/>
                  <a:pt x="256" y="27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67" name="Group 806"/>
          <p:cNvGrpSpPr>
            <a:grpSpLocks noChangeAspect="1"/>
          </p:cNvGrpSpPr>
          <p:nvPr/>
        </p:nvGrpSpPr>
        <p:grpSpPr bwMode="auto">
          <a:xfrm>
            <a:off x="933201" y="5400121"/>
            <a:ext cx="367041" cy="367041"/>
            <a:chOff x="4173" y="3508"/>
            <a:chExt cx="340" cy="340"/>
          </a:xfrm>
          <a:solidFill>
            <a:schemeClr val="accent3"/>
          </a:solidFill>
        </p:grpSpPr>
        <p:sp>
          <p:nvSpPr>
            <p:cNvPr id="768" name="Freeform 807"/>
            <p:cNvSpPr>
              <a:spLocks noEditPoints="1"/>
            </p:cNvSpPr>
            <p:nvPr/>
          </p:nvSpPr>
          <p:spPr bwMode="auto">
            <a:xfrm>
              <a:off x="4173" y="350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9" name="Freeform 808"/>
            <p:cNvSpPr>
              <a:spLocks noEditPoints="1"/>
            </p:cNvSpPr>
            <p:nvPr/>
          </p:nvSpPr>
          <p:spPr bwMode="auto">
            <a:xfrm>
              <a:off x="4314" y="3649"/>
              <a:ext cx="57" cy="57"/>
            </a:xfrm>
            <a:custGeom>
              <a:avLst/>
              <a:gdLst>
                <a:gd name="T0" fmla="*/ 85 w 85"/>
                <a:gd name="T1" fmla="*/ 43 h 85"/>
                <a:gd name="T2" fmla="*/ 43 w 85"/>
                <a:gd name="T3" fmla="*/ 0 h 85"/>
                <a:gd name="T4" fmla="*/ 0 w 85"/>
                <a:gd name="T5" fmla="*/ 43 h 85"/>
                <a:gd name="T6" fmla="*/ 43 w 85"/>
                <a:gd name="T7" fmla="*/ 85 h 85"/>
                <a:gd name="T8" fmla="*/ 85 w 85"/>
                <a:gd name="T9" fmla="*/ 43 h 85"/>
                <a:gd name="T10" fmla="*/ 21 w 85"/>
                <a:gd name="T11" fmla="*/ 43 h 85"/>
                <a:gd name="T12" fmla="*/ 43 w 85"/>
                <a:gd name="T13" fmla="*/ 21 h 85"/>
                <a:gd name="T14" fmla="*/ 64 w 85"/>
                <a:gd name="T15" fmla="*/ 43 h 85"/>
                <a:gd name="T16" fmla="*/ 43 w 85"/>
                <a:gd name="T17" fmla="*/ 64 h 85"/>
                <a:gd name="T18" fmla="*/ 21 w 85"/>
                <a:gd name="T19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85" y="43"/>
                  </a:moveTo>
                  <a:cubicBezTo>
                    <a:pt x="85" y="19"/>
                    <a:pt x="66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19" y="85"/>
                    <a:pt x="43" y="85"/>
                  </a:cubicBezTo>
                  <a:cubicBezTo>
                    <a:pt x="66" y="85"/>
                    <a:pt x="85" y="66"/>
                    <a:pt x="85" y="43"/>
                  </a:cubicBezTo>
                  <a:close/>
                  <a:moveTo>
                    <a:pt x="21" y="43"/>
                  </a:moveTo>
                  <a:cubicBezTo>
                    <a:pt x="21" y="31"/>
                    <a:pt x="31" y="21"/>
                    <a:pt x="43" y="21"/>
                  </a:cubicBezTo>
                  <a:cubicBezTo>
                    <a:pt x="54" y="21"/>
                    <a:pt x="64" y="31"/>
                    <a:pt x="64" y="43"/>
                  </a:cubicBezTo>
                  <a:cubicBezTo>
                    <a:pt x="64" y="54"/>
                    <a:pt x="54" y="64"/>
                    <a:pt x="43" y="64"/>
                  </a:cubicBezTo>
                  <a:cubicBezTo>
                    <a:pt x="31" y="64"/>
                    <a:pt x="21" y="54"/>
                    <a:pt x="2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0" name="Freeform 809"/>
            <p:cNvSpPr>
              <a:spLocks/>
            </p:cNvSpPr>
            <p:nvPr/>
          </p:nvSpPr>
          <p:spPr bwMode="auto">
            <a:xfrm>
              <a:off x="4237" y="3572"/>
              <a:ext cx="212" cy="210"/>
            </a:xfrm>
            <a:custGeom>
              <a:avLst/>
              <a:gdLst>
                <a:gd name="T0" fmla="*/ 282 w 320"/>
                <a:gd name="T1" fmla="*/ 57 h 316"/>
                <a:gd name="T2" fmla="*/ 267 w 320"/>
                <a:gd name="T3" fmla="*/ 55 h 316"/>
                <a:gd name="T4" fmla="*/ 266 w 320"/>
                <a:gd name="T5" fmla="*/ 71 h 316"/>
                <a:gd name="T6" fmla="*/ 298 w 320"/>
                <a:gd name="T7" fmla="*/ 160 h 316"/>
                <a:gd name="T8" fmla="*/ 265 w 320"/>
                <a:gd name="T9" fmla="*/ 250 h 316"/>
                <a:gd name="T10" fmla="*/ 235 w 320"/>
                <a:gd name="T11" fmla="*/ 220 h 316"/>
                <a:gd name="T12" fmla="*/ 256 w 320"/>
                <a:gd name="T13" fmla="*/ 160 h 316"/>
                <a:gd name="T14" fmla="*/ 170 w 320"/>
                <a:gd name="T15" fmla="*/ 64 h 316"/>
                <a:gd name="T16" fmla="*/ 170 w 320"/>
                <a:gd name="T17" fmla="*/ 22 h 316"/>
                <a:gd name="T18" fmla="*/ 219 w 320"/>
                <a:gd name="T19" fmla="*/ 34 h 316"/>
                <a:gd name="T20" fmla="*/ 233 w 320"/>
                <a:gd name="T21" fmla="*/ 29 h 316"/>
                <a:gd name="T22" fmla="*/ 228 w 320"/>
                <a:gd name="T23" fmla="*/ 15 h 316"/>
                <a:gd name="T24" fmla="*/ 160 w 320"/>
                <a:gd name="T25" fmla="*/ 0 h 316"/>
                <a:gd name="T26" fmla="*/ 0 w 320"/>
                <a:gd name="T27" fmla="*/ 160 h 316"/>
                <a:gd name="T28" fmla="*/ 125 w 320"/>
                <a:gd name="T29" fmla="*/ 316 h 316"/>
                <a:gd name="T30" fmla="*/ 128 w 320"/>
                <a:gd name="T31" fmla="*/ 316 h 316"/>
                <a:gd name="T32" fmla="*/ 138 w 320"/>
                <a:gd name="T33" fmla="*/ 308 h 316"/>
                <a:gd name="T34" fmla="*/ 130 w 320"/>
                <a:gd name="T35" fmla="*/ 295 h 316"/>
                <a:gd name="T36" fmla="*/ 21 w 320"/>
                <a:gd name="T37" fmla="*/ 160 h 316"/>
                <a:gd name="T38" fmla="*/ 149 w 320"/>
                <a:gd name="T39" fmla="*/ 22 h 316"/>
                <a:gd name="T40" fmla="*/ 149 w 320"/>
                <a:gd name="T41" fmla="*/ 64 h 316"/>
                <a:gd name="T42" fmla="*/ 71 w 320"/>
                <a:gd name="T43" fmla="*/ 124 h 316"/>
                <a:gd name="T44" fmla="*/ 77 w 320"/>
                <a:gd name="T45" fmla="*/ 138 h 316"/>
                <a:gd name="T46" fmla="*/ 90 w 320"/>
                <a:gd name="T47" fmla="*/ 132 h 316"/>
                <a:gd name="T48" fmla="*/ 160 w 320"/>
                <a:gd name="T49" fmla="*/ 85 h 316"/>
                <a:gd name="T50" fmla="*/ 234 w 320"/>
                <a:gd name="T51" fmla="*/ 160 h 316"/>
                <a:gd name="T52" fmla="*/ 160 w 320"/>
                <a:gd name="T53" fmla="*/ 234 h 316"/>
                <a:gd name="T54" fmla="*/ 90 w 320"/>
                <a:gd name="T55" fmla="*/ 188 h 316"/>
                <a:gd name="T56" fmla="*/ 77 w 320"/>
                <a:gd name="T57" fmla="*/ 182 h 316"/>
                <a:gd name="T58" fmla="*/ 71 w 320"/>
                <a:gd name="T59" fmla="*/ 196 h 316"/>
                <a:gd name="T60" fmla="*/ 160 w 320"/>
                <a:gd name="T61" fmla="*/ 256 h 316"/>
                <a:gd name="T62" fmla="*/ 220 w 320"/>
                <a:gd name="T63" fmla="*/ 235 h 316"/>
                <a:gd name="T64" fmla="*/ 250 w 320"/>
                <a:gd name="T65" fmla="*/ 265 h 316"/>
                <a:gd name="T66" fmla="*/ 189 w 320"/>
                <a:gd name="T67" fmla="*/ 295 h 316"/>
                <a:gd name="T68" fmla="*/ 181 w 320"/>
                <a:gd name="T69" fmla="*/ 308 h 316"/>
                <a:gd name="T70" fmla="*/ 192 w 320"/>
                <a:gd name="T71" fmla="*/ 316 h 316"/>
                <a:gd name="T72" fmla="*/ 194 w 320"/>
                <a:gd name="T73" fmla="*/ 316 h 316"/>
                <a:gd name="T74" fmla="*/ 320 w 320"/>
                <a:gd name="T75" fmla="*/ 160 h 316"/>
                <a:gd name="T76" fmla="*/ 282 w 320"/>
                <a:gd name="T77" fmla="*/ 57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0" h="316">
                  <a:moveTo>
                    <a:pt x="282" y="57"/>
                  </a:moveTo>
                  <a:cubicBezTo>
                    <a:pt x="278" y="52"/>
                    <a:pt x="272" y="52"/>
                    <a:pt x="267" y="55"/>
                  </a:cubicBezTo>
                  <a:cubicBezTo>
                    <a:pt x="263" y="59"/>
                    <a:pt x="262" y="66"/>
                    <a:pt x="266" y="71"/>
                  </a:cubicBezTo>
                  <a:cubicBezTo>
                    <a:pt x="287" y="95"/>
                    <a:pt x="298" y="127"/>
                    <a:pt x="298" y="160"/>
                  </a:cubicBezTo>
                  <a:cubicBezTo>
                    <a:pt x="298" y="193"/>
                    <a:pt x="286" y="225"/>
                    <a:pt x="265" y="250"/>
                  </a:cubicBezTo>
                  <a:cubicBezTo>
                    <a:pt x="235" y="220"/>
                    <a:pt x="235" y="220"/>
                    <a:pt x="235" y="220"/>
                  </a:cubicBezTo>
                  <a:cubicBezTo>
                    <a:pt x="248" y="203"/>
                    <a:pt x="256" y="182"/>
                    <a:pt x="256" y="160"/>
                  </a:cubicBezTo>
                  <a:cubicBezTo>
                    <a:pt x="256" y="110"/>
                    <a:pt x="218" y="70"/>
                    <a:pt x="170" y="64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87" y="23"/>
                    <a:pt x="204" y="27"/>
                    <a:pt x="219" y="34"/>
                  </a:cubicBezTo>
                  <a:cubicBezTo>
                    <a:pt x="224" y="37"/>
                    <a:pt x="231" y="35"/>
                    <a:pt x="233" y="29"/>
                  </a:cubicBezTo>
                  <a:cubicBezTo>
                    <a:pt x="236" y="24"/>
                    <a:pt x="234" y="18"/>
                    <a:pt x="228" y="15"/>
                  </a:cubicBezTo>
                  <a:cubicBezTo>
                    <a:pt x="207" y="5"/>
                    <a:pt x="184" y="0"/>
                    <a:pt x="160" y="0"/>
                  </a:cubicBezTo>
                  <a:cubicBezTo>
                    <a:pt x="71" y="0"/>
                    <a:pt x="0" y="71"/>
                    <a:pt x="0" y="160"/>
                  </a:cubicBezTo>
                  <a:cubicBezTo>
                    <a:pt x="0" y="234"/>
                    <a:pt x="53" y="300"/>
                    <a:pt x="125" y="316"/>
                  </a:cubicBezTo>
                  <a:cubicBezTo>
                    <a:pt x="126" y="316"/>
                    <a:pt x="127" y="316"/>
                    <a:pt x="128" y="316"/>
                  </a:cubicBezTo>
                  <a:cubicBezTo>
                    <a:pt x="133" y="316"/>
                    <a:pt x="137" y="313"/>
                    <a:pt x="138" y="308"/>
                  </a:cubicBezTo>
                  <a:cubicBezTo>
                    <a:pt x="139" y="302"/>
                    <a:pt x="136" y="296"/>
                    <a:pt x="130" y="295"/>
                  </a:cubicBezTo>
                  <a:cubicBezTo>
                    <a:pt x="67" y="281"/>
                    <a:pt x="21" y="224"/>
                    <a:pt x="21" y="160"/>
                  </a:cubicBezTo>
                  <a:cubicBezTo>
                    <a:pt x="21" y="87"/>
                    <a:pt x="78" y="27"/>
                    <a:pt x="149" y="22"/>
                  </a:cubicBezTo>
                  <a:cubicBezTo>
                    <a:pt x="149" y="64"/>
                    <a:pt x="149" y="64"/>
                    <a:pt x="149" y="64"/>
                  </a:cubicBezTo>
                  <a:cubicBezTo>
                    <a:pt x="114" y="68"/>
                    <a:pt x="84" y="91"/>
                    <a:pt x="71" y="124"/>
                  </a:cubicBezTo>
                  <a:cubicBezTo>
                    <a:pt x="68" y="129"/>
                    <a:pt x="71" y="135"/>
                    <a:pt x="77" y="138"/>
                  </a:cubicBezTo>
                  <a:cubicBezTo>
                    <a:pt x="82" y="140"/>
                    <a:pt x="88" y="137"/>
                    <a:pt x="90" y="132"/>
                  </a:cubicBezTo>
                  <a:cubicBezTo>
                    <a:pt x="102" y="103"/>
                    <a:pt x="129" y="85"/>
                    <a:pt x="160" y="85"/>
                  </a:cubicBezTo>
                  <a:cubicBezTo>
                    <a:pt x="201" y="85"/>
                    <a:pt x="234" y="118"/>
                    <a:pt x="234" y="160"/>
                  </a:cubicBezTo>
                  <a:cubicBezTo>
                    <a:pt x="234" y="201"/>
                    <a:pt x="201" y="234"/>
                    <a:pt x="160" y="234"/>
                  </a:cubicBezTo>
                  <a:cubicBezTo>
                    <a:pt x="129" y="234"/>
                    <a:pt x="102" y="216"/>
                    <a:pt x="90" y="188"/>
                  </a:cubicBezTo>
                  <a:cubicBezTo>
                    <a:pt x="88" y="182"/>
                    <a:pt x="82" y="180"/>
                    <a:pt x="77" y="182"/>
                  </a:cubicBezTo>
                  <a:cubicBezTo>
                    <a:pt x="71" y="184"/>
                    <a:pt x="68" y="190"/>
                    <a:pt x="71" y="196"/>
                  </a:cubicBezTo>
                  <a:cubicBezTo>
                    <a:pt x="85" y="232"/>
                    <a:pt x="120" y="256"/>
                    <a:pt x="160" y="256"/>
                  </a:cubicBezTo>
                  <a:cubicBezTo>
                    <a:pt x="182" y="256"/>
                    <a:pt x="203" y="248"/>
                    <a:pt x="220" y="235"/>
                  </a:cubicBezTo>
                  <a:cubicBezTo>
                    <a:pt x="250" y="265"/>
                    <a:pt x="250" y="265"/>
                    <a:pt x="250" y="265"/>
                  </a:cubicBezTo>
                  <a:cubicBezTo>
                    <a:pt x="233" y="279"/>
                    <a:pt x="212" y="290"/>
                    <a:pt x="189" y="295"/>
                  </a:cubicBezTo>
                  <a:cubicBezTo>
                    <a:pt x="184" y="296"/>
                    <a:pt x="180" y="302"/>
                    <a:pt x="181" y="308"/>
                  </a:cubicBezTo>
                  <a:cubicBezTo>
                    <a:pt x="182" y="313"/>
                    <a:pt x="187" y="316"/>
                    <a:pt x="192" y="316"/>
                  </a:cubicBezTo>
                  <a:cubicBezTo>
                    <a:pt x="192" y="316"/>
                    <a:pt x="193" y="316"/>
                    <a:pt x="194" y="316"/>
                  </a:cubicBezTo>
                  <a:cubicBezTo>
                    <a:pt x="267" y="300"/>
                    <a:pt x="320" y="234"/>
                    <a:pt x="320" y="160"/>
                  </a:cubicBezTo>
                  <a:cubicBezTo>
                    <a:pt x="320" y="122"/>
                    <a:pt x="306" y="86"/>
                    <a:pt x="282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71" name="TextBox 770"/>
          <p:cNvSpPr txBox="1"/>
          <p:nvPr/>
        </p:nvSpPr>
        <p:spPr>
          <a:xfrm>
            <a:off x="1447371" y="585066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otball</a:t>
            </a:r>
          </a:p>
        </p:txBody>
      </p:sp>
      <p:sp>
        <p:nvSpPr>
          <p:cNvPr id="772" name="TextBox 771"/>
          <p:cNvSpPr txBox="1"/>
          <p:nvPr/>
        </p:nvSpPr>
        <p:spPr>
          <a:xfrm>
            <a:off x="2448162" y="585066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fo</a:t>
            </a:r>
          </a:p>
        </p:txBody>
      </p:sp>
      <p:sp>
        <p:nvSpPr>
          <p:cNvPr id="773" name="TextBox 772"/>
          <p:cNvSpPr txBox="1"/>
          <p:nvPr/>
        </p:nvSpPr>
        <p:spPr>
          <a:xfrm>
            <a:off x="3448953" y="585066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rward</a:t>
            </a:r>
          </a:p>
        </p:txBody>
      </p:sp>
      <p:sp>
        <p:nvSpPr>
          <p:cNvPr id="774" name="Freeform 923"/>
          <p:cNvSpPr>
            <a:spLocks noChangeAspect="1" noEditPoints="1"/>
          </p:cNvSpPr>
          <p:nvPr/>
        </p:nvSpPr>
        <p:spPr bwMode="auto">
          <a:xfrm>
            <a:off x="1428740" y="5400121"/>
            <a:ext cx="367631" cy="367631"/>
          </a:xfrm>
          <a:custGeom>
            <a:avLst/>
            <a:gdLst>
              <a:gd name="T0" fmla="*/ 118 w 512"/>
              <a:gd name="T1" fmla="*/ 275 h 512"/>
              <a:gd name="T2" fmla="*/ 134 w 512"/>
              <a:gd name="T3" fmla="*/ 256 h 512"/>
              <a:gd name="T4" fmla="*/ 211 w 512"/>
              <a:gd name="T5" fmla="*/ 387 h 512"/>
              <a:gd name="T6" fmla="*/ 176 w 512"/>
              <a:gd name="T7" fmla="*/ 369 h 512"/>
              <a:gd name="T8" fmla="*/ 300 w 512"/>
              <a:gd name="T9" fmla="*/ 124 h 512"/>
              <a:gd name="T10" fmla="*/ 336 w 512"/>
              <a:gd name="T11" fmla="*/ 142 h 512"/>
              <a:gd name="T12" fmla="*/ 157 w 512"/>
              <a:gd name="T13" fmla="*/ 158 h 512"/>
              <a:gd name="T14" fmla="*/ 188 w 512"/>
              <a:gd name="T15" fmla="*/ 135 h 512"/>
              <a:gd name="T16" fmla="*/ 219 w 512"/>
              <a:gd name="T17" fmla="*/ 256 h 512"/>
              <a:gd name="T18" fmla="*/ 274 w 512"/>
              <a:gd name="T19" fmla="*/ 288 h 512"/>
              <a:gd name="T20" fmla="*/ 274 w 512"/>
              <a:gd name="T21" fmla="*/ 224 h 512"/>
              <a:gd name="T22" fmla="*/ 323 w 512"/>
              <a:gd name="T23" fmla="*/ 377 h 512"/>
              <a:gd name="T24" fmla="*/ 330 w 512"/>
              <a:gd name="T25" fmla="*/ 353 h 512"/>
              <a:gd name="T26" fmla="*/ 512 w 512"/>
              <a:gd name="T27" fmla="*/ 256 h 512"/>
              <a:gd name="T28" fmla="*/ 0 w 512"/>
              <a:gd name="T29" fmla="*/ 256 h 512"/>
              <a:gd name="T30" fmla="*/ 512 w 512"/>
              <a:gd name="T31" fmla="*/ 256 h 512"/>
              <a:gd name="T32" fmla="*/ 306 w 512"/>
              <a:gd name="T33" fmla="*/ 104 h 512"/>
              <a:gd name="T34" fmla="*/ 104 w 512"/>
              <a:gd name="T35" fmla="*/ 206 h 512"/>
              <a:gd name="T36" fmla="*/ 206 w 512"/>
              <a:gd name="T37" fmla="*/ 408 h 512"/>
              <a:gd name="T38" fmla="*/ 328 w 512"/>
              <a:gd name="T39" fmla="*/ 399 h 512"/>
              <a:gd name="T40" fmla="*/ 399 w 512"/>
              <a:gd name="T41" fmla="*/ 184 h 512"/>
              <a:gd name="T42" fmla="*/ 393 w 512"/>
              <a:gd name="T43" fmla="*/ 276 h 512"/>
              <a:gd name="T44" fmla="*/ 378 w 512"/>
              <a:gd name="T45" fmla="*/ 256 h 512"/>
              <a:gd name="T46" fmla="*/ 386 w 512"/>
              <a:gd name="T47" fmla="*/ 303 h 512"/>
              <a:gd name="T48" fmla="*/ 322 w 512"/>
              <a:gd name="T49" fmla="*/ 331 h 512"/>
              <a:gd name="T50" fmla="*/ 298 w 512"/>
              <a:gd name="T51" fmla="*/ 388 h 512"/>
              <a:gd name="T52" fmla="*/ 217 w 512"/>
              <a:gd name="T53" fmla="*/ 348 h 512"/>
              <a:gd name="T54" fmla="*/ 155 w 512"/>
              <a:gd name="T55" fmla="*/ 351 h 512"/>
              <a:gd name="T56" fmla="*/ 125 w 512"/>
              <a:gd name="T57" fmla="*/ 301 h 512"/>
              <a:gd name="T58" fmla="*/ 156 w 512"/>
              <a:gd name="T59" fmla="*/ 249 h 512"/>
              <a:gd name="T60" fmla="*/ 140 w 512"/>
              <a:gd name="T61" fmla="*/ 180 h 512"/>
              <a:gd name="T62" fmla="*/ 190 w 512"/>
              <a:gd name="T63" fmla="*/ 181 h 512"/>
              <a:gd name="T64" fmla="*/ 214 w 512"/>
              <a:gd name="T65" fmla="*/ 124 h 512"/>
              <a:gd name="T66" fmla="*/ 274 w 512"/>
              <a:gd name="T67" fmla="*/ 118 h 512"/>
              <a:gd name="T68" fmla="*/ 304 w 512"/>
              <a:gd name="T69" fmla="*/ 169 h 512"/>
              <a:gd name="T70" fmla="*/ 356 w 512"/>
              <a:gd name="T71" fmla="*/ 160 h 512"/>
              <a:gd name="T72" fmla="*/ 386 w 512"/>
              <a:gd name="T73" fmla="*/ 210 h 512"/>
              <a:gd name="T74" fmla="*/ 356 w 512"/>
              <a:gd name="T75" fmla="*/ 262 h 512"/>
              <a:gd name="T76" fmla="*/ 290 w 512"/>
              <a:gd name="T77" fmla="*/ 208 h 512"/>
              <a:gd name="T78" fmla="*/ 231 w 512"/>
              <a:gd name="T79" fmla="*/ 202 h 512"/>
              <a:gd name="T80" fmla="*/ 197 w 512"/>
              <a:gd name="T81" fmla="*/ 250 h 512"/>
              <a:gd name="T82" fmla="*/ 222 w 512"/>
              <a:gd name="T83" fmla="*/ 304 h 512"/>
              <a:gd name="T84" fmla="*/ 280 w 512"/>
              <a:gd name="T85" fmla="*/ 309 h 512"/>
              <a:gd name="T86" fmla="*/ 314 w 512"/>
              <a:gd name="T87" fmla="*/ 2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134" y="256"/>
                </a:moveTo>
                <a:cubicBezTo>
                  <a:pt x="118" y="275"/>
                  <a:pt x="118" y="275"/>
                  <a:pt x="118" y="275"/>
                </a:cubicBezTo>
                <a:cubicBezTo>
                  <a:pt x="117" y="262"/>
                  <a:pt x="117" y="249"/>
                  <a:pt x="119" y="235"/>
                </a:cubicBezTo>
                <a:lnTo>
                  <a:pt x="134" y="256"/>
                </a:lnTo>
                <a:close/>
                <a:moveTo>
                  <a:pt x="176" y="369"/>
                </a:moveTo>
                <a:cubicBezTo>
                  <a:pt x="186" y="377"/>
                  <a:pt x="198" y="383"/>
                  <a:pt x="211" y="387"/>
                </a:cubicBezTo>
                <a:cubicBezTo>
                  <a:pt x="201" y="365"/>
                  <a:pt x="201" y="365"/>
                  <a:pt x="201" y="365"/>
                </a:cubicBezTo>
                <a:lnTo>
                  <a:pt x="176" y="369"/>
                </a:lnTo>
                <a:close/>
                <a:moveTo>
                  <a:pt x="336" y="142"/>
                </a:moveTo>
                <a:cubicBezTo>
                  <a:pt x="325" y="135"/>
                  <a:pt x="313" y="129"/>
                  <a:pt x="300" y="124"/>
                </a:cubicBezTo>
                <a:cubicBezTo>
                  <a:pt x="311" y="147"/>
                  <a:pt x="311" y="147"/>
                  <a:pt x="311" y="147"/>
                </a:cubicBezTo>
                <a:lnTo>
                  <a:pt x="336" y="142"/>
                </a:lnTo>
                <a:close/>
                <a:moveTo>
                  <a:pt x="188" y="135"/>
                </a:moveTo>
                <a:cubicBezTo>
                  <a:pt x="177" y="141"/>
                  <a:pt x="166" y="149"/>
                  <a:pt x="157" y="158"/>
                </a:cubicBezTo>
                <a:cubicBezTo>
                  <a:pt x="182" y="159"/>
                  <a:pt x="182" y="159"/>
                  <a:pt x="182" y="159"/>
                </a:cubicBezTo>
                <a:lnTo>
                  <a:pt x="188" y="135"/>
                </a:lnTo>
                <a:close/>
                <a:moveTo>
                  <a:pt x="237" y="224"/>
                </a:moveTo>
                <a:cubicBezTo>
                  <a:pt x="219" y="256"/>
                  <a:pt x="219" y="256"/>
                  <a:pt x="219" y="256"/>
                </a:cubicBezTo>
                <a:cubicBezTo>
                  <a:pt x="237" y="288"/>
                  <a:pt x="237" y="288"/>
                  <a:pt x="237" y="288"/>
                </a:cubicBezTo>
                <a:cubicBezTo>
                  <a:pt x="274" y="288"/>
                  <a:pt x="274" y="288"/>
                  <a:pt x="274" y="288"/>
                </a:cubicBezTo>
                <a:cubicBezTo>
                  <a:pt x="293" y="256"/>
                  <a:pt x="293" y="256"/>
                  <a:pt x="293" y="256"/>
                </a:cubicBezTo>
                <a:cubicBezTo>
                  <a:pt x="274" y="224"/>
                  <a:pt x="274" y="224"/>
                  <a:pt x="274" y="224"/>
                </a:cubicBezTo>
                <a:lnTo>
                  <a:pt x="237" y="224"/>
                </a:lnTo>
                <a:close/>
                <a:moveTo>
                  <a:pt x="323" y="377"/>
                </a:moveTo>
                <a:cubicBezTo>
                  <a:pt x="335" y="370"/>
                  <a:pt x="345" y="362"/>
                  <a:pt x="354" y="353"/>
                </a:cubicBezTo>
                <a:cubicBezTo>
                  <a:pt x="330" y="353"/>
                  <a:pt x="330" y="353"/>
                  <a:pt x="330" y="353"/>
                </a:cubicBezTo>
                <a:lnTo>
                  <a:pt x="323" y="3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9" y="184"/>
                </a:moveTo>
                <a:cubicBezTo>
                  <a:pt x="379" y="145"/>
                  <a:pt x="346" y="117"/>
                  <a:pt x="306" y="104"/>
                </a:cubicBezTo>
                <a:cubicBezTo>
                  <a:pt x="265" y="90"/>
                  <a:pt x="222" y="94"/>
                  <a:pt x="184" y="113"/>
                </a:cubicBezTo>
                <a:cubicBezTo>
                  <a:pt x="145" y="132"/>
                  <a:pt x="117" y="165"/>
                  <a:pt x="104" y="206"/>
                </a:cubicBezTo>
                <a:cubicBezTo>
                  <a:pt x="90" y="246"/>
                  <a:pt x="94" y="290"/>
                  <a:pt x="113" y="328"/>
                </a:cubicBezTo>
                <a:cubicBezTo>
                  <a:pt x="132" y="366"/>
                  <a:pt x="165" y="394"/>
                  <a:pt x="206" y="408"/>
                </a:cubicBezTo>
                <a:cubicBezTo>
                  <a:pt x="222" y="413"/>
                  <a:pt x="239" y="416"/>
                  <a:pt x="256" y="416"/>
                </a:cubicBezTo>
                <a:cubicBezTo>
                  <a:pt x="281" y="416"/>
                  <a:pt x="305" y="410"/>
                  <a:pt x="328" y="399"/>
                </a:cubicBezTo>
                <a:cubicBezTo>
                  <a:pt x="366" y="379"/>
                  <a:pt x="394" y="346"/>
                  <a:pt x="408" y="306"/>
                </a:cubicBezTo>
                <a:cubicBezTo>
                  <a:pt x="421" y="265"/>
                  <a:pt x="418" y="222"/>
                  <a:pt x="399" y="184"/>
                </a:cubicBezTo>
                <a:close/>
                <a:moveTo>
                  <a:pt x="378" y="256"/>
                </a:moveTo>
                <a:cubicBezTo>
                  <a:pt x="393" y="276"/>
                  <a:pt x="393" y="276"/>
                  <a:pt x="393" y="276"/>
                </a:cubicBezTo>
                <a:cubicBezTo>
                  <a:pt x="395" y="263"/>
                  <a:pt x="395" y="249"/>
                  <a:pt x="393" y="236"/>
                </a:cubicBezTo>
                <a:lnTo>
                  <a:pt x="378" y="256"/>
                </a:lnTo>
                <a:close/>
                <a:moveTo>
                  <a:pt x="356" y="262"/>
                </a:moveTo>
                <a:cubicBezTo>
                  <a:pt x="386" y="303"/>
                  <a:pt x="386" y="303"/>
                  <a:pt x="386" y="303"/>
                </a:cubicBezTo>
                <a:cubicBezTo>
                  <a:pt x="382" y="313"/>
                  <a:pt x="377" y="323"/>
                  <a:pt x="372" y="332"/>
                </a:cubicBezTo>
                <a:cubicBezTo>
                  <a:pt x="322" y="331"/>
                  <a:pt x="322" y="331"/>
                  <a:pt x="322" y="331"/>
                </a:cubicBezTo>
                <a:cubicBezTo>
                  <a:pt x="317" y="331"/>
                  <a:pt x="313" y="334"/>
                  <a:pt x="312" y="339"/>
                </a:cubicBezTo>
                <a:cubicBezTo>
                  <a:pt x="298" y="388"/>
                  <a:pt x="298" y="388"/>
                  <a:pt x="298" y="388"/>
                </a:cubicBezTo>
                <a:cubicBezTo>
                  <a:pt x="278" y="394"/>
                  <a:pt x="258" y="396"/>
                  <a:pt x="238" y="393"/>
                </a:cubicBezTo>
                <a:cubicBezTo>
                  <a:pt x="217" y="348"/>
                  <a:pt x="217" y="348"/>
                  <a:pt x="217" y="348"/>
                </a:cubicBezTo>
                <a:cubicBezTo>
                  <a:pt x="215" y="344"/>
                  <a:pt x="210" y="341"/>
                  <a:pt x="205" y="342"/>
                </a:cubicBezTo>
                <a:cubicBezTo>
                  <a:pt x="155" y="351"/>
                  <a:pt x="155" y="351"/>
                  <a:pt x="155" y="351"/>
                </a:cubicBezTo>
                <a:cubicBezTo>
                  <a:pt x="146" y="341"/>
                  <a:pt x="138" y="330"/>
                  <a:pt x="132" y="318"/>
                </a:cubicBezTo>
                <a:cubicBezTo>
                  <a:pt x="129" y="313"/>
                  <a:pt x="127" y="307"/>
                  <a:pt x="125" y="301"/>
                </a:cubicBezTo>
                <a:cubicBezTo>
                  <a:pt x="155" y="262"/>
                  <a:pt x="155" y="262"/>
                  <a:pt x="155" y="262"/>
                </a:cubicBezTo>
                <a:cubicBezTo>
                  <a:pt x="158" y="259"/>
                  <a:pt x="158" y="253"/>
                  <a:pt x="156" y="249"/>
                </a:cubicBezTo>
                <a:cubicBezTo>
                  <a:pt x="125" y="209"/>
                  <a:pt x="125" y="209"/>
                  <a:pt x="125" y="209"/>
                </a:cubicBezTo>
                <a:cubicBezTo>
                  <a:pt x="129" y="198"/>
                  <a:pt x="134" y="189"/>
                  <a:pt x="140" y="180"/>
                </a:cubicBezTo>
                <a:cubicBezTo>
                  <a:pt x="189" y="181"/>
                  <a:pt x="189" y="181"/>
                  <a:pt x="189" y="181"/>
                </a:cubicBezTo>
                <a:cubicBezTo>
                  <a:pt x="189" y="181"/>
                  <a:pt x="190" y="181"/>
                  <a:pt x="190" y="181"/>
                </a:cubicBezTo>
                <a:cubicBezTo>
                  <a:pt x="194" y="181"/>
                  <a:pt x="198" y="177"/>
                  <a:pt x="200" y="173"/>
                </a:cubicBezTo>
                <a:cubicBezTo>
                  <a:pt x="214" y="124"/>
                  <a:pt x="214" y="124"/>
                  <a:pt x="214" y="124"/>
                </a:cubicBezTo>
                <a:cubicBezTo>
                  <a:pt x="227" y="120"/>
                  <a:pt x="241" y="117"/>
                  <a:pt x="256" y="117"/>
                </a:cubicBezTo>
                <a:cubicBezTo>
                  <a:pt x="262" y="117"/>
                  <a:pt x="268" y="117"/>
                  <a:pt x="274" y="118"/>
                </a:cubicBezTo>
                <a:cubicBezTo>
                  <a:pt x="295" y="163"/>
                  <a:pt x="295" y="163"/>
                  <a:pt x="295" y="163"/>
                </a:cubicBezTo>
                <a:cubicBezTo>
                  <a:pt x="297" y="167"/>
                  <a:pt x="300" y="169"/>
                  <a:pt x="304" y="169"/>
                </a:cubicBezTo>
                <a:cubicBezTo>
                  <a:pt x="305" y="169"/>
                  <a:pt x="306" y="169"/>
                  <a:pt x="306" y="169"/>
                </a:cubicBezTo>
                <a:cubicBezTo>
                  <a:pt x="356" y="160"/>
                  <a:pt x="356" y="160"/>
                  <a:pt x="356" y="160"/>
                </a:cubicBezTo>
                <a:cubicBezTo>
                  <a:pt x="366" y="170"/>
                  <a:pt x="373" y="181"/>
                  <a:pt x="379" y="193"/>
                </a:cubicBezTo>
                <a:cubicBezTo>
                  <a:pt x="382" y="199"/>
                  <a:pt x="384" y="204"/>
                  <a:pt x="386" y="210"/>
                </a:cubicBezTo>
                <a:cubicBezTo>
                  <a:pt x="356" y="249"/>
                  <a:pt x="356" y="249"/>
                  <a:pt x="356" y="249"/>
                </a:cubicBezTo>
                <a:cubicBezTo>
                  <a:pt x="353" y="253"/>
                  <a:pt x="353" y="258"/>
                  <a:pt x="356" y="262"/>
                </a:cubicBezTo>
                <a:close/>
                <a:moveTo>
                  <a:pt x="314" y="250"/>
                </a:moveTo>
                <a:cubicBezTo>
                  <a:pt x="290" y="208"/>
                  <a:pt x="290" y="208"/>
                  <a:pt x="290" y="208"/>
                </a:cubicBezTo>
                <a:cubicBezTo>
                  <a:pt x="288" y="204"/>
                  <a:pt x="284" y="202"/>
                  <a:pt x="280" y="202"/>
                </a:cubicBezTo>
                <a:cubicBezTo>
                  <a:pt x="231" y="202"/>
                  <a:pt x="231" y="202"/>
                  <a:pt x="231" y="202"/>
                </a:cubicBezTo>
                <a:cubicBezTo>
                  <a:pt x="227" y="202"/>
                  <a:pt x="224" y="204"/>
                  <a:pt x="222" y="208"/>
                </a:cubicBezTo>
                <a:cubicBezTo>
                  <a:pt x="197" y="250"/>
                  <a:pt x="197" y="250"/>
                  <a:pt x="197" y="250"/>
                </a:cubicBezTo>
                <a:cubicBezTo>
                  <a:pt x="195" y="254"/>
                  <a:pt x="195" y="258"/>
                  <a:pt x="197" y="261"/>
                </a:cubicBezTo>
                <a:cubicBezTo>
                  <a:pt x="222" y="304"/>
                  <a:pt x="222" y="304"/>
                  <a:pt x="222" y="304"/>
                </a:cubicBezTo>
                <a:cubicBezTo>
                  <a:pt x="224" y="307"/>
                  <a:pt x="227" y="309"/>
                  <a:pt x="231" y="309"/>
                </a:cubicBezTo>
                <a:cubicBezTo>
                  <a:pt x="280" y="309"/>
                  <a:pt x="280" y="309"/>
                  <a:pt x="280" y="309"/>
                </a:cubicBezTo>
                <a:cubicBezTo>
                  <a:pt x="284" y="309"/>
                  <a:pt x="288" y="307"/>
                  <a:pt x="290" y="304"/>
                </a:cubicBezTo>
                <a:cubicBezTo>
                  <a:pt x="314" y="261"/>
                  <a:pt x="314" y="261"/>
                  <a:pt x="314" y="261"/>
                </a:cubicBezTo>
                <a:cubicBezTo>
                  <a:pt x="316" y="258"/>
                  <a:pt x="316" y="254"/>
                  <a:pt x="314" y="25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75" name="Group 926"/>
          <p:cNvGrpSpPr>
            <a:grpSpLocks noChangeAspect="1"/>
          </p:cNvGrpSpPr>
          <p:nvPr/>
        </p:nvGrpSpPr>
        <p:grpSpPr bwMode="auto">
          <a:xfrm>
            <a:off x="1924869" y="5400121"/>
            <a:ext cx="367631" cy="367631"/>
            <a:chOff x="3520" y="3599"/>
            <a:chExt cx="340" cy="340"/>
          </a:xfrm>
          <a:solidFill>
            <a:schemeClr val="accent4"/>
          </a:solidFill>
        </p:grpSpPr>
        <p:sp>
          <p:nvSpPr>
            <p:cNvPr id="776" name="Freeform 927"/>
            <p:cNvSpPr>
              <a:spLocks noEditPoints="1"/>
            </p:cNvSpPr>
            <p:nvPr/>
          </p:nvSpPr>
          <p:spPr bwMode="auto">
            <a:xfrm>
              <a:off x="3520" y="359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7" name="Freeform 928"/>
            <p:cNvSpPr>
              <a:spLocks noEditPoints="1"/>
            </p:cNvSpPr>
            <p:nvPr/>
          </p:nvSpPr>
          <p:spPr bwMode="auto">
            <a:xfrm>
              <a:off x="3649" y="3733"/>
              <a:ext cx="81" cy="71"/>
            </a:xfrm>
            <a:custGeom>
              <a:avLst/>
              <a:gdLst>
                <a:gd name="T0" fmla="*/ 119 w 121"/>
                <a:gd name="T1" fmla="*/ 59 h 107"/>
                <a:gd name="T2" fmla="*/ 119 w 121"/>
                <a:gd name="T3" fmla="*/ 48 h 107"/>
                <a:gd name="T4" fmla="*/ 95 w 121"/>
                <a:gd name="T5" fmla="*/ 6 h 107"/>
                <a:gd name="T6" fmla="*/ 85 w 121"/>
                <a:gd name="T7" fmla="*/ 0 h 107"/>
                <a:gd name="T8" fmla="*/ 36 w 121"/>
                <a:gd name="T9" fmla="*/ 0 h 107"/>
                <a:gd name="T10" fmla="*/ 27 w 121"/>
                <a:gd name="T11" fmla="*/ 6 h 107"/>
                <a:gd name="T12" fmla="*/ 2 w 121"/>
                <a:gd name="T13" fmla="*/ 48 h 107"/>
                <a:gd name="T14" fmla="*/ 2 w 121"/>
                <a:gd name="T15" fmla="*/ 59 h 107"/>
                <a:gd name="T16" fmla="*/ 27 w 121"/>
                <a:gd name="T17" fmla="*/ 102 h 107"/>
                <a:gd name="T18" fmla="*/ 36 w 121"/>
                <a:gd name="T19" fmla="*/ 107 h 107"/>
                <a:gd name="T20" fmla="*/ 85 w 121"/>
                <a:gd name="T21" fmla="*/ 107 h 107"/>
                <a:gd name="T22" fmla="*/ 95 w 121"/>
                <a:gd name="T23" fmla="*/ 102 h 107"/>
                <a:gd name="T24" fmla="*/ 119 w 121"/>
                <a:gd name="T25" fmla="*/ 59 h 107"/>
                <a:gd name="T26" fmla="*/ 79 w 121"/>
                <a:gd name="T27" fmla="*/ 86 h 107"/>
                <a:gd name="T28" fmla="*/ 42 w 121"/>
                <a:gd name="T29" fmla="*/ 86 h 107"/>
                <a:gd name="T30" fmla="*/ 24 w 121"/>
                <a:gd name="T31" fmla="*/ 54 h 107"/>
                <a:gd name="T32" fmla="*/ 42 w 121"/>
                <a:gd name="T33" fmla="*/ 22 h 107"/>
                <a:gd name="T34" fmla="*/ 79 w 121"/>
                <a:gd name="T35" fmla="*/ 22 h 107"/>
                <a:gd name="T36" fmla="*/ 98 w 121"/>
                <a:gd name="T37" fmla="*/ 54 h 107"/>
                <a:gd name="T38" fmla="*/ 79 w 121"/>
                <a:gd name="T39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07">
                  <a:moveTo>
                    <a:pt x="119" y="59"/>
                  </a:moveTo>
                  <a:cubicBezTo>
                    <a:pt x="121" y="56"/>
                    <a:pt x="121" y="52"/>
                    <a:pt x="119" y="48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3" y="2"/>
                    <a:pt x="89" y="0"/>
                    <a:pt x="8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2" y="0"/>
                    <a:pt x="29" y="2"/>
                    <a:pt x="27" y="6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52"/>
                    <a:pt x="0" y="56"/>
                    <a:pt x="2" y="59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9" y="105"/>
                    <a:pt x="32" y="107"/>
                    <a:pt x="36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9" y="107"/>
                    <a:pt x="93" y="105"/>
                    <a:pt x="95" y="102"/>
                  </a:cubicBezTo>
                  <a:lnTo>
                    <a:pt x="119" y="59"/>
                  </a:lnTo>
                  <a:close/>
                  <a:moveTo>
                    <a:pt x="79" y="86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98" y="54"/>
                    <a:pt x="98" y="54"/>
                    <a:pt x="98" y="54"/>
                  </a:cubicBezTo>
                  <a:lnTo>
                    <a:pt x="79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8" name="Freeform 929"/>
            <p:cNvSpPr>
              <a:spLocks noEditPoints="1"/>
            </p:cNvSpPr>
            <p:nvPr/>
          </p:nvSpPr>
          <p:spPr bwMode="auto">
            <a:xfrm>
              <a:off x="3580" y="3659"/>
              <a:ext cx="220" cy="216"/>
            </a:xfrm>
            <a:custGeom>
              <a:avLst/>
              <a:gdLst>
                <a:gd name="T0" fmla="*/ 216 w 331"/>
                <a:gd name="T1" fmla="*/ 14 h 326"/>
                <a:gd name="T2" fmla="*/ 14 w 331"/>
                <a:gd name="T3" fmla="*/ 116 h 326"/>
                <a:gd name="T4" fmla="*/ 116 w 331"/>
                <a:gd name="T5" fmla="*/ 318 h 326"/>
                <a:gd name="T6" fmla="*/ 238 w 331"/>
                <a:gd name="T7" fmla="*/ 309 h 326"/>
                <a:gd name="T8" fmla="*/ 309 w 331"/>
                <a:gd name="T9" fmla="*/ 94 h 326"/>
                <a:gd name="T10" fmla="*/ 303 w 331"/>
                <a:gd name="T11" fmla="*/ 146 h 326"/>
                <a:gd name="T12" fmla="*/ 288 w 331"/>
                <a:gd name="T13" fmla="*/ 166 h 326"/>
                <a:gd name="T14" fmla="*/ 221 w 331"/>
                <a:gd name="T15" fmla="*/ 57 h 326"/>
                <a:gd name="T16" fmla="*/ 246 w 331"/>
                <a:gd name="T17" fmla="*/ 52 h 326"/>
                <a:gd name="T18" fmla="*/ 92 w 331"/>
                <a:gd name="T19" fmla="*/ 69 h 326"/>
                <a:gd name="T20" fmla="*/ 98 w 331"/>
                <a:gd name="T21" fmla="*/ 45 h 326"/>
                <a:gd name="T22" fmla="*/ 44 w 331"/>
                <a:gd name="T23" fmla="*/ 166 h 326"/>
                <a:gd name="T24" fmla="*/ 29 w 331"/>
                <a:gd name="T25" fmla="*/ 145 h 326"/>
                <a:gd name="T26" fmla="*/ 111 w 331"/>
                <a:gd name="T27" fmla="*/ 275 h 326"/>
                <a:gd name="T28" fmla="*/ 86 w 331"/>
                <a:gd name="T29" fmla="*/ 279 h 326"/>
                <a:gd name="T30" fmla="*/ 127 w 331"/>
                <a:gd name="T31" fmla="*/ 258 h 326"/>
                <a:gd name="T32" fmla="*/ 65 w 331"/>
                <a:gd name="T33" fmla="*/ 261 h 326"/>
                <a:gd name="T34" fmla="*/ 35 w 331"/>
                <a:gd name="T35" fmla="*/ 211 h 326"/>
                <a:gd name="T36" fmla="*/ 66 w 331"/>
                <a:gd name="T37" fmla="*/ 159 h 326"/>
                <a:gd name="T38" fmla="*/ 50 w 331"/>
                <a:gd name="T39" fmla="*/ 90 h 326"/>
                <a:gd name="T40" fmla="*/ 100 w 331"/>
                <a:gd name="T41" fmla="*/ 91 h 326"/>
                <a:gd name="T42" fmla="*/ 124 w 331"/>
                <a:gd name="T43" fmla="*/ 34 h 326"/>
                <a:gd name="T44" fmla="*/ 184 w 331"/>
                <a:gd name="T45" fmla="*/ 28 h 326"/>
                <a:gd name="T46" fmla="*/ 214 w 331"/>
                <a:gd name="T47" fmla="*/ 79 h 326"/>
                <a:gd name="T48" fmla="*/ 266 w 331"/>
                <a:gd name="T49" fmla="*/ 70 h 326"/>
                <a:gd name="T50" fmla="*/ 296 w 331"/>
                <a:gd name="T51" fmla="*/ 120 h 326"/>
                <a:gd name="T52" fmla="*/ 266 w 331"/>
                <a:gd name="T53" fmla="*/ 172 h 326"/>
                <a:gd name="T54" fmla="*/ 282 w 331"/>
                <a:gd name="T55" fmla="*/ 242 h 326"/>
                <a:gd name="T56" fmla="*/ 222 w 331"/>
                <a:gd name="T57" fmla="*/ 249 h 326"/>
                <a:gd name="T58" fmla="*/ 148 w 331"/>
                <a:gd name="T59" fmla="*/ 303 h 326"/>
                <a:gd name="T60" fmla="*/ 240 w 331"/>
                <a:gd name="T61" fmla="*/ 263 h 326"/>
                <a:gd name="T62" fmla="*/ 233 w 331"/>
                <a:gd name="T63" fmla="*/ 287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1" h="326">
                  <a:moveTo>
                    <a:pt x="309" y="94"/>
                  </a:moveTo>
                  <a:cubicBezTo>
                    <a:pt x="289" y="55"/>
                    <a:pt x="256" y="27"/>
                    <a:pt x="216" y="14"/>
                  </a:cubicBezTo>
                  <a:cubicBezTo>
                    <a:pt x="175" y="0"/>
                    <a:pt x="132" y="4"/>
                    <a:pt x="94" y="23"/>
                  </a:cubicBezTo>
                  <a:cubicBezTo>
                    <a:pt x="55" y="42"/>
                    <a:pt x="27" y="75"/>
                    <a:pt x="14" y="116"/>
                  </a:cubicBezTo>
                  <a:cubicBezTo>
                    <a:pt x="0" y="156"/>
                    <a:pt x="4" y="200"/>
                    <a:pt x="23" y="238"/>
                  </a:cubicBezTo>
                  <a:cubicBezTo>
                    <a:pt x="42" y="276"/>
                    <a:pt x="75" y="304"/>
                    <a:pt x="116" y="318"/>
                  </a:cubicBezTo>
                  <a:cubicBezTo>
                    <a:pt x="132" y="323"/>
                    <a:pt x="149" y="326"/>
                    <a:pt x="166" y="326"/>
                  </a:cubicBezTo>
                  <a:cubicBezTo>
                    <a:pt x="191" y="326"/>
                    <a:pt x="215" y="320"/>
                    <a:pt x="238" y="309"/>
                  </a:cubicBezTo>
                  <a:cubicBezTo>
                    <a:pt x="276" y="289"/>
                    <a:pt x="304" y="256"/>
                    <a:pt x="318" y="216"/>
                  </a:cubicBezTo>
                  <a:cubicBezTo>
                    <a:pt x="331" y="175"/>
                    <a:pt x="328" y="132"/>
                    <a:pt x="309" y="94"/>
                  </a:cubicBezTo>
                  <a:close/>
                  <a:moveTo>
                    <a:pt x="288" y="166"/>
                  </a:moveTo>
                  <a:cubicBezTo>
                    <a:pt x="303" y="146"/>
                    <a:pt x="303" y="146"/>
                    <a:pt x="303" y="146"/>
                  </a:cubicBezTo>
                  <a:cubicBezTo>
                    <a:pt x="305" y="159"/>
                    <a:pt x="305" y="173"/>
                    <a:pt x="303" y="186"/>
                  </a:cubicBezTo>
                  <a:lnTo>
                    <a:pt x="288" y="166"/>
                  </a:lnTo>
                  <a:close/>
                  <a:moveTo>
                    <a:pt x="246" y="52"/>
                  </a:moveTo>
                  <a:cubicBezTo>
                    <a:pt x="221" y="57"/>
                    <a:pt x="221" y="57"/>
                    <a:pt x="221" y="57"/>
                  </a:cubicBezTo>
                  <a:cubicBezTo>
                    <a:pt x="210" y="34"/>
                    <a:pt x="210" y="34"/>
                    <a:pt x="210" y="34"/>
                  </a:cubicBezTo>
                  <a:cubicBezTo>
                    <a:pt x="223" y="39"/>
                    <a:pt x="235" y="45"/>
                    <a:pt x="246" y="52"/>
                  </a:cubicBezTo>
                  <a:close/>
                  <a:moveTo>
                    <a:pt x="98" y="45"/>
                  </a:moveTo>
                  <a:cubicBezTo>
                    <a:pt x="92" y="69"/>
                    <a:pt x="92" y="69"/>
                    <a:pt x="92" y="69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76" y="59"/>
                    <a:pt x="87" y="51"/>
                    <a:pt x="98" y="45"/>
                  </a:cubicBezTo>
                  <a:close/>
                  <a:moveTo>
                    <a:pt x="29" y="145"/>
                  </a:moveTo>
                  <a:cubicBezTo>
                    <a:pt x="44" y="166"/>
                    <a:pt x="44" y="166"/>
                    <a:pt x="44" y="166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27" y="172"/>
                    <a:pt x="27" y="159"/>
                    <a:pt x="29" y="145"/>
                  </a:cubicBezTo>
                  <a:close/>
                  <a:moveTo>
                    <a:pt x="86" y="279"/>
                  </a:moveTo>
                  <a:cubicBezTo>
                    <a:pt x="111" y="275"/>
                    <a:pt x="111" y="275"/>
                    <a:pt x="111" y="275"/>
                  </a:cubicBezTo>
                  <a:cubicBezTo>
                    <a:pt x="121" y="297"/>
                    <a:pt x="121" y="297"/>
                    <a:pt x="121" y="297"/>
                  </a:cubicBezTo>
                  <a:cubicBezTo>
                    <a:pt x="108" y="293"/>
                    <a:pt x="96" y="287"/>
                    <a:pt x="86" y="279"/>
                  </a:cubicBezTo>
                  <a:close/>
                  <a:moveTo>
                    <a:pt x="148" y="303"/>
                  </a:moveTo>
                  <a:cubicBezTo>
                    <a:pt x="127" y="258"/>
                    <a:pt x="127" y="258"/>
                    <a:pt x="127" y="258"/>
                  </a:cubicBezTo>
                  <a:cubicBezTo>
                    <a:pt x="125" y="254"/>
                    <a:pt x="120" y="251"/>
                    <a:pt x="115" y="252"/>
                  </a:cubicBezTo>
                  <a:cubicBezTo>
                    <a:pt x="65" y="261"/>
                    <a:pt x="65" y="261"/>
                    <a:pt x="65" y="261"/>
                  </a:cubicBezTo>
                  <a:cubicBezTo>
                    <a:pt x="56" y="251"/>
                    <a:pt x="48" y="240"/>
                    <a:pt x="42" y="228"/>
                  </a:cubicBezTo>
                  <a:cubicBezTo>
                    <a:pt x="39" y="223"/>
                    <a:pt x="37" y="217"/>
                    <a:pt x="35" y="211"/>
                  </a:cubicBezTo>
                  <a:cubicBezTo>
                    <a:pt x="65" y="172"/>
                    <a:pt x="65" y="172"/>
                    <a:pt x="65" y="172"/>
                  </a:cubicBezTo>
                  <a:cubicBezTo>
                    <a:pt x="68" y="169"/>
                    <a:pt x="68" y="163"/>
                    <a:pt x="66" y="159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9" y="108"/>
                    <a:pt x="44" y="99"/>
                    <a:pt x="50" y="90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99" y="91"/>
                    <a:pt x="100" y="91"/>
                    <a:pt x="100" y="91"/>
                  </a:cubicBezTo>
                  <a:cubicBezTo>
                    <a:pt x="104" y="91"/>
                    <a:pt x="108" y="87"/>
                    <a:pt x="110" y="83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137" y="30"/>
                    <a:pt x="151" y="27"/>
                    <a:pt x="166" y="27"/>
                  </a:cubicBezTo>
                  <a:cubicBezTo>
                    <a:pt x="172" y="27"/>
                    <a:pt x="178" y="27"/>
                    <a:pt x="184" y="28"/>
                  </a:cubicBezTo>
                  <a:cubicBezTo>
                    <a:pt x="205" y="73"/>
                    <a:pt x="205" y="73"/>
                    <a:pt x="205" y="73"/>
                  </a:cubicBezTo>
                  <a:cubicBezTo>
                    <a:pt x="207" y="77"/>
                    <a:pt x="210" y="79"/>
                    <a:pt x="214" y="79"/>
                  </a:cubicBezTo>
                  <a:cubicBezTo>
                    <a:pt x="215" y="79"/>
                    <a:pt x="216" y="79"/>
                    <a:pt x="216" y="79"/>
                  </a:cubicBezTo>
                  <a:cubicBezTo>
                    <a:pt x="266" y="70"/>
                    <a:pt x="266" y="70"/>
                    <a:pt x="266" y="70"/>
                  </a:cubicBezTo>
                  <a:cubicBezTo>
                    <a:pt x="276" y="80"/>
                    <a:pt x="283" y="91"/>
                    <a:pt x="289" y="103"/>
                  </a:cubicBezTo>
                  <a:cubicBezTo>
                    <a:pt x="292" y="109"/>
                    <a:pt x="294" y="114"/>
                    <a:pt x="296" y="120"/>
                  </a:cubicBezTo>
                  <a:cubicBezTo>
                    <a:pt x="266" y="159"/>
                    <a:pt x="266" y="159"/>
                    <a:pt x="266" y="159"/>
                  </a:cubicBezTo>
                  <a:cubicBezTo>
                    <a:pt x="263" y="163"/>
                    <a:pt x="263" y="168"/>
                    <a:pt x="266" y="172"/>
                  </a:cubicBezTo>
                  <a:cubicBezTo>
                    <a:pt x="296" y="213"/>
                    <a:pt x="296" y="213"/>
                    <a:pt x="296" y="213"/>
                  </a:cubicBezTo>
                  <a:cubicBezTo>
                    <a:pt x="292" y="223"/>
                    <a:pt x="287" y="233"/>
                    <a:pt x="282" y="242"/>
                  </a:cubicBezTo>
                  <a:cubicBezTo>
                    <a:pt x="232" y="241"/>
                    <a:pt x="232" y="241"/>
                    <a:pt x="232" y="241"/>
                  </a:cubicBezTo>
                  <a:cubicBezTo>
                    <a:pt x="227" y="241"/>
                    <a:pt x="223" y="244"/>
                    <a:pt x="222" y="249"/>
                  </a:cubicBezTo>
                  <a:cubicBezTo>
                    <a:pt x="208" y="298"/>
                    <a:pt x="208" y="298"/>
                    <a:pt x="208" y="298"/>
                  </a:cubicBezTo>
                  <a:cubicBezTo>
                    <a:pt x="188" y="304"/>
                    <a:pt x="168" y="306"/>
                    <a:pt x="148" y="303"/>
                  </a:cubicBezTo>
                  <a:close/>
                  <a:moveTo>
                    <a:pt x="233" y="287"/>
                  </a:moveTo>
                  <a:cubicBezTo>
                    <a:pt x="240" y="263"/>
                    <a:pt x="240" y="263"/>
                    <a:pt x="240" y="263"/>
                  </a:cubicBezTo>
                  <a:cubicBezTo>
                    <a:pt x="264" y="263"/>
                    <a:pt x="264" y="263"/>
                    <a:pt x="264" y="263"/>
                  </a:cubicBezTo>
                  <a:cubicBezTo>
                    <a:pt x="255" y="272"/>
                    <a:pt x="245" y="280"/>
                    <a:pt x="233" y="2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79" name="Freeform 942"/>
          <p:cNvSpPr>
            <a:spLocks noChangeAspect="1" noEditPoints="1"/>
          </p:cNvSpPr>
          <p:nvPr/>
        </p:nvSpPr>
        <p:spPr bwMode="auto">
          <a:xfrm>
            <a:off x="3412076" y="5400121"/>
            <a:ext cx="368713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1 w 512"/>
              <a:gd name="T11" fmla="*/ 221 h 512"/>
              <a:gd name="T12" fmla="*/ 274 w 512"/>
              <a:gd name="T13" fmla="*/ 327 h 512"/>
              <a:gd name="T14" fmla="*/ 262 w 512"/>
              <a:gd name="T15" fmla="*/ 330 h 512"/>
              <a:gd name="T16" fmla="*/ 256 w 512"/>
              <a:gd name="T17" fmla="*/ 320 h 512"/>
              <a:gd name="T18" fmla="*/ 256 w 512"/>
              <a:gd name="T19" fmla="*/ 266 h 512"/>
              <a:gd name="T20" fmla="*/ 181 w 512"/>
              <a:gd name="T21" fmla="*/ 341 h 512"/>
              <a:gd name="T22" fmla="*/ 209 w 512"/>
              <a:gd name="T23" fmla="*/ 397 h 512"/>
              <a:gd name="T24" fmla="*/ 211 w 512"/>
              <a:gd name="T25" fmla="*/ 411 h 512"/>
              <a:gd name="T26" fmla="*/ 202 w 512"/>
              <a:gd name="T27" fmla="*/ 416 h 512"/>
              <a:gd name="T28" fmla="*/ 198 w 512"/>
              <a:gd name="T29" fmla="*/ 415 h 512"/>
              <a:gd name="T30" fmla="*/ 117 w 512"/>
              <a:gd name="T31" fmla="*/ 288 h 512"/>
              <a:gd name="T32" fmla="*/ 256 w 512"/>
              <a:gd name="T33" fmla="*/ 149 h 512"/>
              <a:gd name="T34" fmla="*/ 256 w 512"/>
              <a:gd name="T35" fmla="*/ 106 h 512"/>
              <a:gd name="T36" fmla="*/ 262 w 512"/>
              <a:gd name="T37" fmla="*/ 96 h 512"/>
              <a:gd name="T38" fmla="*/ 274 w 512"/>
              <a:gd name="T39" fmla="*/ 99 h 512"/>
              <a:gd name="T40" fmla="*/ 381 w 512"/>
              <a:gd name="T41" fmla="*/ 205 h 512"/>
              <a:gd name="T42" fmla="*/ 381 w 512"/>
              <a:gd name="T43" fmla="*/ 221 h 512"/>
              <a:gd name="T44" fmla="*/ 277 w 512"/>
              <a:gd name="T45" fmla="*/ 132 h 512"/>
              <a:gd name="T46" fmla="*/ 358 w 512"/>
              <a:gd name="T47" fmla="*/ 213 h 512"/>
              <a:gd name="T48" fmla="*/ 277 w 512"/>
              <a:gd name="T49" fmla="*/ 294 h 512"/>
              <a:gd name="T50" fmla="*/ 277 w 512"/>
              <a:gd name="T51" fmla="*/ 256 h 512"/>
              <a:gd name="T52" fmla="*/ 266 w 512"/>
              <a:gd name="T53" fmla="*/ 245 h 512"/>
              <a:gd name="T54" fmla="*/ 256 w 512"/>
              <a:gd name="T55" fmla="*/ 245 h 512"/>
              <a:gd name="T56" fmla="*/ 160 w 512"/>
              <a:gd name="T57" fmla="*/ 341 h 512"/>
              <a:gd name="T58" fmla="*/ 162 w 512"/>
              <a:gd name="T59" fmla="*/ 360 h 512"/>
              <a:gd name="T60" fmla="*/ 138 w 512"/>
              <a:gd name="T61" fmla="*/ 288 h 512"/>
              <a:gd name="T62" fmla="*/ 256 w 512"/>
              <a:gd name="T63" fmla="*/ 170 h 512"/>
              <a:gd name="T64" fmla="*/ 266 w 512"/>
              <a:gd name="T65" fmla="*/ 170 h 512"/>
              <a:gd name="T66" fmla="*/ 277 w 512"/>
              <a:gd name="T67" fmla="*/ 160 h 512"/>
              <a:gd name="T68" fmla="*/ 277 w 512"/>
              <a:gd name="T69" fmla="*/ 13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221"/>
                </a:moveTo>
                <a:cubicBezTo>
                  <a:pt x="274" y="327"/>
                  <a:pt x="274" y="327"/>
                  <a:pt x="274" y="327"/>
                </a:cubicBezTo>
                <a:cubicBezTo>
                  <a:pt x="271" y="330"/>
                  <a:pt x="266" y="331"/>
                  <a:pt x="262" y="330"/>
                </a:cubicBezTo>
                <a:cubicBezTo>
                  <a:pt x="258" y="328"/>
                  <a:pt x="256" y="324"/>
                  <a:pt x="256" y="320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04" y="266"/>
                  <a:pt x="181" y="304"/>
                  <a:pt x="181" y="341"/>
                </a:cubicBezTo>
                <a:cubicBezTo>
                  <a:pt x="181" y="362"/>
                  <a:pt x="191" y="382"/>
                  <a:pt x="209" y="397"/>
                </a:cubicBezTo>
                <a:cubicBezTo>
                  <a:pt x="213" y="400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1" y="416"/>
                  <a:pt x="199" y="415"/>
                  <a:pt x="198" y="415"/>
                </a:cubicBezTo>
                <a:cubicBezTo>
                  <a:pt x="149" y="393"/>
                  <a:pt x="117" y="343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56" y="106"/>
                  <a:pt x="256" y="106"/>
                  <a:pt x="256" y="106"/>
                </a:cubicBezTo>
                <a:cubicBezTo>
                  <a:pt x="256" y="102"/>
                  <a:pt x="258" y="98"/>
                  <a:pt x="262" y="96"/>
                </a:cubicBezTo>
                <a:cubicBezTo>
                  <a:pt x="266" y="95"/>
                  <a:pt x="271" y="96"/>
                  <a:pt x="274" y="99"/>
                </a:cubicBezTo>
                <a:cubicBezTo>
                  <a:pt x="381" y="205"/>
                  <a:pt x="381" y="205"/>
                  <a:pt x="381" y="205"/>
                </a:cubicBezTo>
                <a:cubicBezTo>
                  <a:pt x="385" y="210"/>
                  <a:pt x="385" y="216"/>
                  <a:pt x="381" y="221"/>
                </a:cubicBezTo>
                <a:close/>
                <a:moveTo>
                  <a:pt x="277" y="132"/>
                </a:moveTo>
                <a:cubicBezTo>
                  <a:pt x="358" y="213"/>
                  <a:pt x="358" y="213"/>
                  <a:pt x="358" y="213"/>
                </a:cubicBezTo>
                <a:cubicBezTo>
                  <a:pt x="277" y="294"/>
                  <a:pt x="277" y="294"/>
                  <a:pt x="277" y="294"/>
                </a:cubicBezTo>
                <a:cubicBezTo>
                  <a:pt x="277" y="256"/>
                  <a:pt x="277" y="256"/>
                  <a:pt x="277" y="256"/>
                </a:cubicBezTo>
                <a:cubicBezTo>
                  <a:pt x="277" y="250"/>
                  <a:pt x="272" y="245"/>
                  <a:pt x="266" y="245"/>
                </a:cubicBezTo>
                <a:cubicBezTo>
                  <a:pt x="256" y="245"/>
                  <a:pt x="256" y="245"/>
                  <a:pt x="256" y="245"/>
                </a:cubicBezTo>
                <a:cubicBezTo>
                  <a:pt x="199" y="245"/>
                  <a:pt x="160" y="284"/>
                  <a:pt x="160" y="341"/>
                </a:cubicBezTo>
                <a:cubicBezTo>
                  <a:pt x="160" y="348"/>
                  <a:pt x="161" y="354"/>
                  <a:pt x="162" y="360"/>
                </a:cubicBezTo>
                <a:cubicBezTo>
                  <a:pt x="147" y="340"/>
                  <a:pt x="138" y="315"/>
                  <a:pt x="138" y="288"/>
                </a:cubicBezTo>
                <a:cubicBezTo>
                  <a:pt x="138" y="223"/>
                  <a:pt x="191" y="170"/>
                  <a:pt x="256" y="170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72" y="170"/>
                  <a:pt x="277" y="166"/>
                  <a:pt x="277" y="160"/>
                </a:cubicBezTo>
                <a:lnTo>
                  <a:pt x="277" y="13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0" name="Group 945"/>
          <p:cNvGrpSpPr>
            <a:grpSpLocks noChangeAspect="1"/>
          </p:cNvGrpSpPr>
          <p:nvPr/>
        </p:nvGrpSpPr>
        <p:grpSpPr bwMode="auto">
          <a:xfrm>
            <a:off x="3909287" y="5400121"/>
            <a:ext cx="367631" cy="367631"/>
            <a:chOff x="5000" y="3593"/>
            <a:chExt cx="340" cy="340"/>
          </a:xfrm>
          <a:solidFill>
            <a:schemeClr val="accent4"/>
          </a:solidFill>
        </p:grpSpPr>
        <p:sp>
          <p:nvSpPr>
            <p:cNvPr id="781" name="Freeform 946"/>
            <p:cNvSpPr>
              <a:spLocks noEditPoints="1"/>
            </p:cNvSpPr>
            <p:nvPr/>
          </p:nvSpPr>
          <p:spPr bwMode="auto">
            <a:xfrm>
              <a:off x="5078" y="3656"/>
              <a:ext cx="178" cy="213"/>
            </a:xfrm>
            <a:custGeom>
              <a:avLst/>
              <a:gdLst>
                <a:gd name="T0" fmla="*/ 85 w 268"/>
                <a:gd name="T1" fmla="*/ 321 h 321"/>
                <a:gd name="T2" fmla="*/ 81 w 268"/>
                <a:gd name="T3" fmla="*/ 320 h 321"/>
                <a:gd name="T4" fmla="*/ 0 w 268"/>
                <a:gd name="T5" fmla="*/ 193 h 321"/>
                <a:gd name="T6" fmla="*/ 139 w 268"/>
                <a:gd name="T7" fmla="*/ 54 h 321"/>
                <a:gd name="T8" fmla="*/ 139 w 268"/>
                <a:gd name="T9" fmla="*/ 11 h 321"/>
                <a:gd name="T10" fmla="*/ 145 w 268"/>
                <a:gd name="T11" fmla="*/ 1 h 321"/>
                <a:gd name="T12" fmla="*/ 157 w 268"/>
                <a:gd name="T13" fmla="*/ 4 h 321"/>
                <a:gd name="T14" fmla="*/ 264 w 268"/>
                <a:gd name="T15" fmla="*/ 110 h 321"/>
                <a:gd name="T16" fmla="*/ 264 w 268"/>
                <a:gd name="T17" fmla="*/ 126 h 321"/>
                <a:gd name="T18" fmla="*/ 157 w 268"/>
                <a:gd name="T19" fmla="*/ 232 h 321"/>
                <a:gd name="T20" fmla="*/ 145 w 268"/>
                <a:gd name="T21" fmla="*/ 235 h 321"/>
                <a:gd name="T22" fmla="*/ 139 w 268"/>
                <a:gd name="T23" fmla="*/ 225 h 321"/>
                <a:gd name="T24" fmla="*/ 139 w 268"/>
                <a:gd name="T25" fmla="*/ 171 h 321"/>
                <a:gd name="T26" fmla="*/ 64 w 268"/>
                <a:gd name="T27" fmla="*/ 246 h 321"/>
                <a:gd name="T28" fmla="*/ 92 w 268"/>
                <a:gd name="T29" fmla="*/ 302 h 321"/>
                <a:gd name="T30" fmla="*/ 94 w 268"/>
                <a:gd name="T31" fmla="*/ 316 h 321"/>
                <a:gd name="T32" fmla="*/ 85 w 268"/>
                <a:gd name="T33" fmla="*/ 321 h 321"/>
                <a:gd name="T34" fmla="*/ 139 w 268"/>
                <a:gd name="T35" fmla="*/ 75 h 321"/>
                <a:gd name="T36" fmla="*/ 21 w 268"/>
                <a:gd name="T37" fmla="*/ 193 h 321"/>
                <a:gd name="T38" fmla="*/ 45 w 268"/>
                <a:gd name="T39" fmla="*/ 265 h 321"/>
                <a:gd name="T40" fmla="*/ 43 w 268"/>
                <a:gd name="T41" fmla="*/ 246 h 321"/>
                <a:gd name="T42" fmla="*/ 139 w 268"/>
                <a:gd name="T43" fmla="*/ 150 h 321"/>
                <a:gd name="T44" fmla="*/ 149 w 268"/>
                <a:gd name="T45" fmla="*/ 150 h 321"/>
                <a:gd name="T46" fmla="*/ 160 w 268"/>
                <a:gd name="T47" fmla="*/ 161 h 321"/>
                <a:gd name="T48" fmla="*/ 160 w 268"/>
                <a:gd name="T49" fmla="*/ 199 h 321"/>
                <a:gd name="T50" fmla="*/ 241 w 268"/>
                <a:gd name="T51" fmla="*/ 118 h 321"/>
                <a:gd name="T52" fmla="*/ 160 w 268"/>
                <a:gd name="T53" fmla="*/ 37 h 321"/>
                <a:gd name="T54" fmla="*/ 160 w 268"/>
                <a:gd name="T55" fmla="*/ 65 h 321"/>
                <a:gd name="T56" fmla="*/ 149 w 268"/>
                <a:gd name="T57" fmla="*/ 75 h 321"/>
                <a:gd name="T58" fmla="*/ 139 w 268"/>
                <a:gd name="T59" fmla="*/ 7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8" h="321">
                  <a:moveTo>
                    <a:pt x="85" y="321"/>
                  </a:moveTo>
                  <a:cubicBezTo>
                    <a:pt x="84" y="321"/>
                    <a:pt x="82" y="320"/>
                    <a:pt x="81" y="320"/>
                  </a:cubicBezTo>
                  <a:cubicBezTo>
                    <a:pt x="32" y="298"/>
                    <a:pt x="0" y="248"/>
                    <a:pt x="0" y="193"/>
                  </a:cubicBezTo>
                  <a:cubicBezTo>
                    <a:pt x="0" y="116"/>
                    <a:pt x="62" y="54"/>
                    <a:pt x="139" y="54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7"/>
                    <a:pt x="141" y="3"/>
                    <a:pt x="145" y="1"/>
                  </a:cubicBezTo>
                  <a:cubicBezTo>
                    <a:pt x="149" y="0"/>
                    <a:pt x="154" y="1"/>
                    <a:pt x="157" y="4"/>
                  </a:cubicBezTo>
                  <a:cubicBezTo>
                    <a:pt x="264" y="110"/>
                    <a:pt x="264" y="110"/>
                    <a:pt x="264" y="110"/>
                  </a:cubicBezTo>
                  <a:cubicBezTo>
                    <a:pt x="268" y="115"/>
                    <a:pt x="268" y="121"/>
                    <a:pt x="264" y="126"/>
                  </a:cubicBezTo>
                  <a:cubicBezTo>
                    <a:pt x="157" y="232"/>
                    <a:pt x="157" y="232"/>
                    <a:pt x="157" y="232"/>
                  </a:cubicBezTo>
                  <a:cubicBezTo>
                    <a:pt x="154" y="235"/>
                    <a:pt x="149" y="236"/>
                    <a:pt x="145" y="235"/>
                  </a:cubicBezTo>
                  <a:cubicBezTo>
                    <a:pt x="141" y="233"/>
                    <a:pt x="139" y="229"/>
                    <a:pt x="139" y="225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87" y="171"/>
                    <a:pt x="64" y="209"/>
                    <a:pt x="64" y="246"/>
                  </a:cubicBezTo>
                  <a:cubicBezTo>
                    <a:pt x="64" y="267"/>
                    <a:pt x="74" y="287"/>
                    <a:pt x="92" y="302"/>
                  </a:cubicBezTo>
                  <a:cubicBezTo>
                    <a:pt x="96" y="305"/>
                    <a:pt x="97" y="311"/>
                    <a:pt x="94" y="316"/>
                  </a:cubicBezTo>
                  <a:cubicBezTo>
                    <a:pt x="92" y="319"/>
                    <a:pt x="89" y="321"/>
                    <a:pt x="85" y="321"/>
                  </a:cubicBezTo>
                  <a:close/>
                  <a:moveTo>
                    <a:pt x="139" y="75"/>
                  </a:moveTo>
                  <a:cubicBezTo>
                    <a:pt x="74" y="75"/>
                    <a:pt x="21" y="128"/>
                    <a:pt x="21" y="193"/>
                  </a:cubicBezTo>
                  <a:cubicBezTo>
                    <a:pt x="21" y="220"/>
                    <a:pt x="30" y="245"/>
                    <a:pt x="45" y="265"/>
                  </a:cubicBezTo>
                  <a:cubicBezTo>
                    <a:pt x="44" y="259"/>
                    <a:pt x="43" y="253"/>
                    <a:pt x="43" y="246"/>
                  </a:cubicBezTo>
                  <a:cubicBezTo>
                    <a:pt x="43" y="189"/>
                    <a:pt x="82" y="150"/>
                    <a:pt x="139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55" y="150"/>
                    <a:pt x="160" y="155"/>
                    <a:pt x="160" y="161"/>
                  </a:cubicBezTo>
                  <a:cubicBezTo>
                    <a:pt x="160" y="199"/>
                    <a:pt x="160" y="199"/>
                    <a:pt x="160" y="199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0" y="65"/>
                    <a:pt x="160" y="65"/>
                    <a:pt x="160" y="65"/>
                  </a:cubicBezTo>
                  <a:cubicBezTo>
                    <a:pt x="160" y="71"/>
                    <a:pt x="155" y="75"/>
                    <a:pt x="149" y="75"/>
                  </a:cubicBezTo>
                  <a:lnTo>
                    <a:pt x="1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2" name="Freeform 947"/>
            <p:cNvSpPr>
              <a:spLocks noEditPoints="1"/>
            </p:cNvSpPr>
            <p:nvPr/>
          </p:nvSpPr>
          <p:spPr bwMode="auto">
            <a:xfrm>
              <a:off x="5000" y="359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3" name="Freeform 430"/>
          <p:cNvSpPr>
            <a:spLocks noChangeAspect="1" noEditPoints="1"/>
          </p:cNvSpPr>
          <p:nvPr/>
        </p:nvSpPr>
        <p:spPr bwMode="auto">
          <a:xfrm>
            <a:off x="2420998" y="5400121"/>
            <a:ext cx="367041" cy="367041"/>
          </a:xfrm>
          <a:custGeom>
            <a:avLst/>
            <a:gdLst>
              <a:gd name="T0" fmla="*/ 235 w 512"/>
              <a:gd name="T1" fmla="*/ 139 h 512"/>
              <a:gd name="T2" fmla="*/ 256 w 512"/>
              <a:gd name="T3" fmla="*/ 118 h 512"/>
              <a:gd name="T4" fmla="*/ 277 w 512"/>
              <a:gd name="T5" fmla="*/ 139 h 512"/>
              <a:gd name="T6" fmla="*/ 256 w 512"/>
              <a:gd name="T7" fmla="*/ 160 h 512"/>
              <a:gd name="T8" fmla="*/ 235 w 512"/>
              <a:gd name="T9" fmla="*/ 139 h 512"/>
              <a:gd name="T10" fmla="*/ 267 w 512"/>
              <a:gd name="T11" fmla="*/ 363 h 512"/>
              <a:gd name="T12" fmla="*/ 267 w 512"/>
              <a:gd name="T13" fmla="*/ 224 h 512"/>
              <a:gd name="T14" fmla="*/ 213 w 512"/>
              <a:gd name="T15" fmla="*/ 224 h 512"/>
              <a:gd name="T16" fmla="*/ 213 w 512"/>
              <a:gd name="T17" fmla="*/ 246 h 512"/>
              <a:gd name="T18" fmla="*/ 235 w 512"/>
              <a:gd name="T19" fmla="*/ 246 h 512"/>
              <a:gd name="T20" fmla="*/ 245 w 512"/>
              <a:gd name="T21" fmla="*/ 256 h 512"/>
              <a:gd name="T22" fmla="*/ 245 w 512"/>
              <a:gd name="T23" fmla="*/ 363 h 512"/>
              <a:gd name="T24" fmla="*/ 235 w 512"/>
              <a:gd name="T25" fmla="*/ 374 h 512"/>
              <a:gd name="T26" fmla="*/ 203 w 512"/>
              <a:gd name="T27" fmla="*/ 374 h 512"/>
              <a:gd name="T28" fmla="*/ 203 w 512"/>
              <a:gd name="T29" fmla="*/ 395 h 512"/>
              <a:gd name="T30" fmla="*/ 309 w 512"/>
              <a:gd name="T31" fmla="*/ 395 h 512"/>
              <a:gd name="T32" fmla="*/ 309 w 512"/>
              <a:gd name="T33" fmla="*/ 374 h 512"/>
              <a:gd name="T34" fmla="*/ 277 w 512"/>
              <a:gd name="T35" fmla="*/ 374 h 512"/>
              <a:gd name="T36" fmla="*/ 267 w 512"/>
              <a:gd name="T37" fmla="*/ 363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213 w 512"/>
              <a:gd name="T49" fmla="*/ 139 h 512"/>
              <a:gd name="T50" fmla="*/ 256 w 512"/>
              <a:gd name="T51" fmla="*/ 182 h 512"/>
              <a:gd name="T52" fmla="*/ 299 w 512"/>
              <a:gd name="T53" fmla="*/ 139 h 512"/>
              <a:gd name="T54" fmla="*/ 256 w 512"/>
              <a:gd name="T55" fmla="*/ 96 h 512"/>
              <a:gd name="T56" fmla="*/ 213 w 512"/>
              <a:gd name="T57" fmla="*/ 139 h 512"/>
              <a:gd name="T58" fmla="*/ 331 w 512"/>
              <a:gd name="T59" fmla="*/ 363 h 512"/>
              <a:gd name="T60" fmla="*/ 320 w 512"/>
              <a:gd name="T61" fmla="*/ 352 h 512"/>
              <a:gd name="T62" fmla="*/ 288 w 512"/>
              <a:gd name="T63" fmla="*/ 352 h 512"/>
              <a:gd name="T64" fmla="*/ 288 w 512"/>
              <a:gd name="T65" fmla="*/ 214 h 512"/>
              <a:gd name="T66" fmla="*/ 277 w 512"/>
              <a:gd name="T67" fmla="*/ 203 h 512"/>
              <a:gd name="T68" fmla="*/ 203 w 512"/>
              <a:gd name="T69" fmla="*/ 203 h 512"/>
              <a:gd name="T70" fmla="*/ 192 w 512"/>
              <a:gd name="T71" fmla="*/ 214 h 512"/>
              <a:gd name="T72" fmla="*/ 192 w 512"/>
              <a:gd name="T73" fmla="*/ 256 h 512"/>
              <a:gd name="T74" fmla="*/ 203 w 512"/>
              <a:gd name="T75" fmla="*/ 267 h 512"/>
              <a:gd name="T76" fmla="*/ 224 w 512"/>
              <a:gd name="T77" fmla="*/ 267 h 512"/>
              <a:gd name="T78" fmla="*/ 224 w 512"/>
              <a:gd name="T79" fmla="*/ 352 h 512"/>
              <a:gd name="T80" fmla="*/ 192 w 512"/>
              <a:gd name="T81" fmla="*/ 352 h 512"/>
              <a:gd name="T82" fmla="*/ 181 w 512"/>
              <a:gd name="T83" fmla="*/ 363 h 512"/>
              <a:gd name="T84" fmla="*/ 181 w 512"/>
              <a:gd name="T85" fmla="*/ 406 h 512"/>
              <a:gd name="T86" fmla="*/ 192 w 512"/>
              <a:gd name="T87" fmla="*/ 416 h 512"/>
              <a:gd name="T88" fmla="*/ 320 w 512"/>
              <a:gd name="T89" fmla="*/ 416 h 512"/>
              <a:gd name="T90" fmla="*/ 331 w 512"/>
              <a:gd name="T91" fmla="*/ 406 h 512"/>
              <a:gd name="T92" fmla="*/ 331 w 512"/>
              <a:gd name="T9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35" y="139"/>
                </a:moveTo>
                <a:cubicBezTo>
                  <a:pt x="235" y="127"/>
                  <a:pt x="244" y="118"/>
                  <a:pt x="256" y="118"/>
                </a:cubicBezTo>
                <a:cubicBezTo>
                  <a:pt x="268" y="118"/>
                  <a:pt x="277" y="127"/>
                  <a:pt x="277" y="139"/>
                </a:cubicBezTo>
                <a:cubicBezTo>
                  <a:pt x="277" y="151"/>
                  <a:pt x="268" y="160"/>
                  <a:pt x="256" y="160"/>
                </a:cubicBezTo>
                <a:cubicBezTo>
                  <a:pt x="244" y="160"/>
                  <a:pt x="235" y="151"/>
                  <a:pt x="235" y="139"/>
                </a:cubicBezTo>
                <a:close/>
                <a:moveTo>
                  <a:pt x="267" y="363"/>
                </a:moveTo>
                <a:cubicBezTo>
                  <a:pt x="267" y="224"/>
                  <a:pt x="267" y="224"/>
                  <a:pt x="267" y="224"/>
                </a:cubicBezTo>
                <a:cubicBezTo>
                  <a:pt x="213" y="224"/>
                  <a:pt x="213" y="224"/>
                  <a:pt x="213" y="224"/>
                </a:cubicBezTo>
                <a:cubicBezTo>
                  <a:pt x="213" y="246"/>
                  <a:pt x="213" y="246"/>
                  <a:pt x="213" y="246"/>
                </a:cubicBezTo>
                <a:cubicBezTo>
                  <a:pt x="235" y="246"/>
                  <a:pt x="235" y="246"/>
                  <a:pt x="235" y="246"/>
                </a:cubicBezTo>
                <a:cubicBezTo>
                  <a:pt x="241" y="246"/>
                  <a:pt x="245" y="250"/>
                  <a:pt x="245" y="256"/>
                </a:cubicBezTo>
                <a:cubicBezTo>
                  <a:pt x="245" y="363"/>
                  <a:pt x="245" y="363"/>
                  <a:pt x="245" y="363"/>
                </a:cubicBezTo>
                <a:cubicBezTo>
                  <a:pt x="245" y="369"/>
                  <a:pt x="241" y="374"/>
                  <a:pt x="235" y="374"/>
                </a:cubicBezTo>
                <a:cubicBezTo>
                  <a:pt x="203" y="374"/>
                  <a:pt x="203" y="374"/>
                  <a:pt x="203" y="374"/>
                </a:cubicBezTo>
                <a:cubicBezTo>
                  <a:pt x="203" y="395"/>
                  <a:pt x="203" y="395"/>
                  <a:pt x="203" y="395"/>
                </a:cubicBezTo>
                <a:cubicBezTo>
                  <a:pt x="309" y="395"/>
                  <a:pt x="309" y="395"/>
                  <a:pt x="309" y="395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277" y="374"/>
                  <a:pt x="277" y="374"/>
                  <a:pt x="277" y="374"/>
                </a:cubicBezTo>
                <a:cubicBezTo>
                  <a:pt x="271" y="374"/>
                  <a:pt x="267" y="369"/>
                  <a:pt x="267" y="363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13" y="139"/>
                </a:moveTo>
                <a:cubicBezTo>
                  <a:pt x="213" y="163"/>
                  <a:pt x="232" y="182"/>
                  <a:pt x="256" y="182"/>
                </a:cubicBezTo>
                <a:cubicBezTo>
                  <a:pt x="280" y="182"/>
                  <a:pt x="299" y="163"/>
                  <a:pt x="299" y="139"/>
                </a:cubicBezTo>
                <a:cubicBezTo>
                  <a:pt x="299" y="115"/>
                  <a:pt x="280" y="96"/>
                  <a:pt x="256" y="96"/>
                </a:cubicBezTo>
                <a:cubicBezTo>
                  <a:pt x="232" y="96"/>
                  <a:pt x="213" y="115"/>
                  <a:pt x="213" y="139"/>
                </a:cubicBezTo>
                <a:close/>
                <a:moveTo>
                  <a:pt x="331" y="363"/>
                </a:moveTo>
                <a:cubicBezTo>
                  <a:pt x="331" y="357"/>
                  <a:pt x="326" y="352"/>
                  <a:pt x="320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14"/>
                  <a:pt x="288" y="214"/>
                  <a:pt x="288" y="214"/>
                </a:cubicBezTo>
                <a:cubicBezTo>
                  <a:pt x="288" y="208"/>
                  <a:pt x="283" y="203"/>
                  <a:pt x="277" y="203"/>
                </a:cubicBezTo>
                <a:cubicBezTo>
                  <a:pt x="203" y="203"/>
                  <a:pt x="203" y="203"/>
                  <a:pt x="203" y="203"/>
                </a:cubicBezTo>
                <a:cubicBezTo>
                  <a:pt x="197" y="203"/>
                  <a:pt x="192" y="208"/>
                  <a:pt x="192" y="214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62"/>
                  <a:pt x="197" y="267"/>
                  <a:pt x="203" y="267"/>
                </a:cubicBezTo>
                <a:cubicBezTo>
                  <a:pt x="224" y="267"/>
                  <a:pt x="224" y="267"/>
                  <a:pt x="224" y="267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7"/>
                  <a:pt x="181" y="363"/>
                </a:cubicBezTo>
                <a:cubicBezTo>
                  <a:pt x="181" y="406"/>
                  <a:pt x="181" y="406"/>
                  <a:pt x="181" y="406"/>
                </a:cubicBezTo>
                <a:cubicBezTo>
                  <a:pt x="181" y="412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1" y="412"/>
                  <a:pt x="331" y="406"/>
                </a:cubicBezTo>
                <a:lnTo>
                  <a:pt x="331" y="36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4" name="Group 433"/>
          <p:cNvGrpSpPr>
            <a:grpSpLocks noChangeAspect="1"/>
          </p:cNvGrpSpPr>
          <p:nvPr/>
        </p:nvGrpSpPr>
        <p:grpSpPr bwMode="auto">
          <a:xfrm>
            <a:off x="2916537" y="5400121"/>
            <a:ext cx="367041" cy="367041"/>
            <a:chOff x="4725" y="1820"/>
            <a:chExt cx="340" cy="340"/>
          </a:xfrm>
          <a:solidFill>
            <a:schemeClr val="accent5"/>
          </a:solidFill>
        </p:grpSpPr>
        <p:sp>
          <p:nvSpPr>
            <p:cNvPr id="785" name="Freeform 434"/>
            <p:cNvSpPr>
              <a:spLocks noEditPoints="1"/>
            </p:cNvSpPr>
            <p:nvPr/>
          </p:nvSpPr>
          <p:spPr bwMode="auto">
            <a:xfrm>
              <a:off x="4845" y="1884"/>
              <a:ext cx="100" cy="212"/>
            </a:xfrm>
            <a:custGeom>
              <a:avLst/>
              <a:gdLst>
                <a:gd name="T0" fmla="*/ 139 w 150"/>
                <a:gd name="T1" fmla="*/ 320 h 320"/>
                <a:gd name="T2" fmla="*/ 11 w 150"/>
                <a:gd name="T3" fmla="*/ 320 h 320"/>
                <a:gd name="T4" fmla="*/ 0 w 150"/>
                <a:gd name="T5" fmla="*/ 310 h 320"/>
                <a:gd name="T6" fmla="*/ 0 w 150"/>
                <a:gd name="T7" fmla="*/ 267 h 320"/>
                <a:gd name="T8" fmla="*/ 11 w 150"/>
                <a:gd name="T9" fmla="*/ 256 h 320"/>
                <a:gd name="T10" fmla="*/ 43 w 150"/>
                <a:gd name="T11" fmla="*/ 256 h 320"/>
                <a:gd name="T12" fmla="*/ 43 w 150"/>
                <a:gd name="T13" fmla="*/ 171 h 320"/>
                <a:gd name="T14" fmla="*/ 22 w 150"/>
                <a:gd name="T15" fmla="*/ 171 h 320"/>
                <a:gd name="T16" fmla="*/ 11 w 150"/>
                <a:gd name="T17" fmla="*/ 160 h 320"/>
                <a:gd name="T18" fmla="*/ 11 w 150"/>
                <a:gd name="T19" fmla="*/ 118 h 320"/>
                <a:gd name="T20" fmla="*/ 22 w 150"/>
                <a:gd name="T21" fmla="*/ 107 h 320"/>
                <a:gd name="T22" fmla="*/ 96 w 150"/>
                <a:gd name="T23" fmla="*/ 107 h 320"/>
                <a:gd name="T24" fmla="*/ 107 w 150"/>
                <a:gd name="T25" fmla="*/ 118 h 320"/>
                <a:gd name="T26" fmla="*/ 107 w 150"/>
                <a:gd name="T27" fmla="*/ 256 h 320"/>
                <a:gd name="T28" fmla="*/ 139 w 150"/>
                <a:gd name="T29" fmla="*/ 256 h 320"/>
                <a:gd name="T30" fmla="*/ 150 w 150"/>
                <a:gd name="T31" fmla="*/ 267 h 320"/>
                <a:gd name="T32" fmla="*/ 150 w 150"/>
                <a:gd name="T33" fmla="*/ 310 h 320"/>
                <a:gd name="T34" fmla="*/ 139 w 150"/>
                <a:gd name="T35" fmla="*/ 320 h 320"/>
                <a:gd name="T36" fmla="*/ 22 w 150"/>
                <a:gd name="T37" fmla="*/ 299 h 320"/>
                <a:gd name="T38" fmla="*/ 128 w 150"/>
                <a:gd name="T39" fmla="*/ 299 h 320"/>
                <a:gd name="T40" fmla="*/ 128 w 150"/>
                <a:gd name="T41" fmla="*/ 278 h 320"/>
                <a:gd name="T42" fmla="*/ 96 w 150"/>
                <a:gd name="T43" fmla="*/ 278 h 320"/>
                <a:gd name="T44" fmla="*/ 86 w 150"/>
                <a:gd name="T45" fmla="*/ 267 h 320"/>
                <a:gd name="T46" fmla="*/ 86 w 150"/>
                <a:gd name="T47" fmla="*/ 128 h 320"/>
                <a:gd name="T48" fmla="*/ 32 w 150"/>
                <a:gd name="T49" fmla="*/ 128 h 320"/>
                <a:gd name="T50" fmla="*/ 32 w 150"/>
                <a:gd name="T51" fmla="*/ 150 h 320"/>
                <a:gd name="T52" fmla="*/ 54 w 150"/>
                <a:gd name="T53" fmla="*/ 150 h 320"/>
                <a:gd name="T54" fmla="*/ 64 w 150"/>
                <a:gd name="T55" fmla="*/ 160 h 320"/>
                <a:gd name="T56" fmla="*/ 64 w 150"/>
                <a:gd name="T57" fmla="*/ 267 h 320"/>
                <a:gd name="T58" fmla="*/ 54 w 150"/>
                <a:gd name="T59" fmla="*/ 278 h 320"/>
                <a:gd name="T60" fmla="*/ 22 w 150"/>
                <a:gd name="T61" fmla="*/ 278 h 320"/>
                <a:gd name="T62" fmla="*/ 22 w 150"/>
                <a:gd name="T63" fmla="*/ 299 h 320"/>
                <a:gd name="T64" fmla="*/ 75 w 150"/>
                <a:gd name="T65" fmla="*/ 86 h 320"/>
                <a:gd name="T66" fmla="*/ 32 w 150"/>
                <a:gd name="T67" fmla="*/ 43 h 320"/>
                <a:gd name="T68" fmla="*/ 75 w 150"/>
                <a:gd name="T69" fmla="*/ 0 h 320"/>
                <a:gd name="T70" fmla="*/ 118 w 150"/>
                <a:gd name="T71" fmla="*/ 43 h 320"/>
                <a:gd name="T72" fmla="*/ 75 w 150"/>
                <a:gd name="T73" fmla="*/ 86 h 320"/>
                <a:gd name="T74" fmla="*/ 75 w 150"/>
                <a:gd name="T75" fmla="*/ 22 h 320"/>
                <a:gd name="T76" fmla="*/ 54 w 150"/>
                <a:gd name="T77" fmla="*/ 43 h 320"/>
                <a:gd name="T78" fmla="*/ 75 w 150"/>
                <a:gd name="T79" fmla="*/ 64 h 320"/>
                <a:gd name="T80" fmla="*/ 96 w 150"/>
                <a:gd name="T81" fmla="*/ 43 h 320"/>
                <a:gd name="T82" fmla="*/ 75 w 150"/>
                <a:gd name="T83" fmla="*/ 2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320">
                  <a:moveTo>
                    <a:pt x="139" y="320"/>
                  </a:move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6"/>
                    <a:pt x="0" y="31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61"/>
                    <a:pt x="5" y="256"/>
                    <a:pt x="11" y="256"/>
                  </a:cubicBezTo>
                  <a:cubicBezTo>
                    <a:pt x="43" y="256"/>
                    <a:pt x="43" y="256"/>
                    <a:pt x="43" y="256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16" y="171"/>
                    <a:pt x="11" y="166"/>
                    <a:pt x="11" y="160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2"/>
                    <a:pt x="16" y="107"/>
                    <a:pt x="22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102" y="107"/>
                    <a:pt x="107" y="112"/>
                    <a:pt x="107" y="118"/>
                  </a:cubicBezTo>
                  <a:cubicBezTo>
                    <a:pt x="107" y="256"/>
                    <a:pt x="107" y="256"/>
                    <a:pt x="107" y="256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45" y="256"/>
                    <a:pt x="150" y="261"/>
                    <a:pt x="150" y="267"/>
                  </a:cubicBezTo>
                  <a:cubicBezTo>
                    <a:pt x="150" y="310"/>
                    <a:pt x="150" y="310"/>
                    <a:pt x="150" y="310"/>
                  </a:cubicBezTo>
                  <a:cubicBezTo>
                    <a:pt x="150" y="316"/>
                    <a:pt x="145" y="320"/>
                    <a:pt x="139" y="320"/>
                  </a:cubicBezTo>
                  <a:close/>
                  <a:moveTo>
                    <a:pt x="22" y="299"/>
                  </a:moveTo>
                  <a:cubicBezTo>
                    <a:pt x="128" y="299"/>
                    <a:pt x="128" y="299"/>
                    <a:pt x="128" y="299"/>
                  </a:cubicBezTo>
                  <a:cubicBezTo>
                    <a:pt x="128" y="278"/>
                    <a:pt x="128" y="278"/>
                    <a:pt x="128" y="278"/>
                  </a:cubicBezTo>
                  <a:cubicBezTo>
                    <a:pt x="96" y="278"/>
                    <a:pt x="96" y="278"/>
                    <a:pt x="96" y="278"/>
                  </a:cubicBezTo>
                  <a:cubicBezTo>
                    <a:pt x="90" y="278"/>
                    <a:pt x="86" y="273"/>
                    <a:pt x="86" y="267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60" y="150"/>
                    <a:pt x="64" y="154"/>
                    <a:pt x="64" y="160"/>
                  </a:cubicBezTo>
                  <a:cubicBezTo>
                    <a:pt x="64" y="267"/>
                    <a:pt x="64" y="267"/>
                    <a:pt x="64" y="267"/>
                  </a:cubicBezTo>
                  <a:cubicBezTo>
                    <a:pt x="64" y="273"/>
                    <a:pt x="60" y="278"/>
                    <a:pt x="54" y="278"/>
                  </a:cubicBezTo>
                  <a:cubicBezTo>
                    <a:pt x="22" y="278"/>
                    <a:pt x="22" y="278"/>
                    <a:pt x="22" y="278"/>
                  </a:cubicBezTo>
                  <a:lnTo>
                    <a:pt x="22" y="299"/>
                  </a:lnTo>
                  <a:close/>
                  <a:moveTo>
                    <a:pt x="75" y="86"/>
                  </a:moveTo>
                  <a:cubicBezTo>
                    <a:pt x="51" y="86"/>
                    <a:pt x="32" y="67"/>
                    <a:pt x="32" y="43"/>
                  </a:cubicBezTo>
                  <a:cubicBezTo>
                    <a:pt x="32" y="19"/>
                    <a:pt x="51" y="0"/>
                    <a:pt x="75" y="0"/>
                  </a:cubicBezTo>
                  <a:cubicBezTo>
                    <a:pt x="99" y="0"/>
                    <a:pt x="118" y="19"/>
                    <a:pt x="118" y="43"/>
                  </a:cubicBezTo>
                  <a:cubicBezTo>
                    <a:pt x="118" y="67"/>
                    <a:pt x="99" y="86"/>
                    <a:pt x="75" y="86"/>
                  </a:cubicBezTo>
                  <a:close/>
                  <a:moveTo>
                    <a:pt x="75" y="22"/>
                  </a:moveTo>
                  <a:cubicBezTo>
                    <a:pt x="63" y="22"/>
                    <a:pt x="54" y="31"/>
                    <a:pt x="54" y="43"/>
                  </a:cubicBezTo>
                  <a:cubicBezTo>
                    <a:pt x="54" y="55"/>
                    <a:pt x="63" y="64"/>
                    <a:pt x="75" y="64"/>
                  </a:cubicBezTo>
                  <a:cubicBezTo>
                    <a:pt x="87" y="64"/>
                    <a:pt x="96" y="55"/>
                    <a:pt x="96" y="43"/>
                  </a:cubicBezTo>
                  <a:cubicBezTo>
                    <a:pt x="96" y="31"/>
                    <a:pt x="87" y="22"/>
                    <a:pt x="7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6" name="Freeform 435"/>
            <p:cNvSpPr>
              <a:spLocks noEditPoints="1"/>
            </p:cNvSpPr>
            <p:nvPr/>
          </p:nvSpPr>
          <p:spPr bwMode="auto">
            <a:xfrm>
              <a:off x="4725" y="1820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7" name="TextBox 786"/>
          <p:cNvSpPr txBox="1"/>
          <p:nvPr/>
        </p:nvSpPr>
        <p:spPr>
          <a:xfrm>
            <a:off x="4449744" y="585066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ute 1</a:t>
            </a:r>
          </a:p>
        </p:txBody>
      </p:sp>
      <p:sp>
        <p:nvSpPr>
          <p:cNvPr id="788" name="TextBox 787"/>
          <p:cNvSpPr txBox="1"/>
          <p:nvPr/>
        </p:nvSpPr>
        <p:spPr>
          <a:xfrm>
            <a:off x="5438893" y="585066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ute 2</a:t>
            </a:r>
          </a:p>
        </p:txBody>
      </p:sp>
      <p:sp>
        <p:nvSpPr>
          <p:cNvPr id="789" name="TextBox 788"/>
          <p:cNvSpPr txBox="1"/>
          <p:nvPr/>
        </p:nvSpPr>
        <p:spPr>
          <a:xfrm>
            <a:off x="6442862" y="585066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ute 3</a:t>
            </a:r>
          </a:p>
        </p:txBody>
      </p:sp>
      <p:grpSp>
        <p:nvGrpSpPr>
          <p:cNvPr id="790" name="Group 826"/>
          <p:cNvGrpSpPr>
            <a:grpSpLocks noChangeAspect="1"/>
          </p:cNvGrpSpPr>
          <p:nvPr/>
        </p:nvGrpSpPr>
        <p:grpSpPr bwMode="auto">
          <a:xfrm>
            <a:off x="6895182" y="5400118"/>
            <a:ext cx="369021" cy="369021"/>
            <a:chOff x="1863" y="3093"/>
            <a:chExt cx="340" cy="340"/>
          </a:xfrm>
          <a:solidFill>
            <a:schemeClr val="accent3"/>
          </a:solidFill>
        </p:grpSpPr>
        <p:sp>
          <p:nvSpPr>
            <p:cNvPr id="791" name="Freeform 827"/>
            <p:cNvSpPr>
              <a:spLocks noEditPoints="1"/>
            </p:cNvSpPr>
            <p:nvPr/>
          </p:nvSpPr>
          <p:spPr bwMode="auto">
            <a:xfrm>
              <a:off x="1863" y="30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2" name="Freeform 828"/>
            <p:cNvSpPr>
              <a:spLocks noEditPoints="1"/>
            </p:cNvSpPr>
            <p:nvPr/>
          </p:nvSpPr>
          <p:spPr bwMode="auto">
            <a:xfrm>
              <a:off x="1955" y="3157"/>
              <a:ext cx="156" cy="212"/>
            </a:xfrm>
            <a:custGeom>
              <a:avLst/>
              <a:gdLst>
                <a:gd name="T0" fmla="*/ 213 w 234"/>
                <a:gd name="T1" fmla="*/ 258 h 320"/>
                <a:gd name="T2" fmla="*/ 213 w 234"/>
                <a:gd name="T3" fmla="*/ 192 h 320"/>
                <a:gd name="T4" fmla="*/ 170 w 234"/>
                <a:gd name="T5" fmla="*/ 150 h 320"/>
                <a:gd name="T6" fmla="*/ 128 w 234"/>
                <a:gd name="T7" fmla="*/ 150 h 320"/>
                <a:gd name="T8" fmla="*/ 128 w 234"/>
                <a:gd name="T9" fmla="*/ 64 h 320"/>
                <a:gd name="T10" fmla="*/ 127 w 234"/>
                <a:gd name="T11" fmla="*/ 62 h 320"/>
                <a:gd name="T12" fmla="*/ 149 w 234"/>
                <a:gd name="T13" fmla="*/ 32 h 320"/>
                <a:gd name="T14" fmla="*/ 117 w 234"/>
                <a:gd name="T15" fmla="*/ 0 h 320"/>
                <a:gd name="T16" fmla="*/ 85 w 234"/>
                <a:gd name="T17" fmla="*/ 32 h 320"/>
                <a:gd name="T18" fmla="*/ 107 w 234"/>
                <a:gd name="T19" fmla="*/ 62 h 320"/>
                <a:gd name="T20" fmla="*/ 106 w 234"/>
                <a:gd name="T21" fmla="*/ 64 h 320"/>
                <a:gd name="T22" fmla="*/ 106 w 234"/>
                <a:gd name="T23" fmla="*/ 150 h 320"/>
                <a:gd name="T24" fmla="*/ 64 w 234"/>
                <a:gd name="T25" fmla="*/ 150 h 320"/>
                <a:gd name="T26" fmla="*/ 42 w 234"/>
                <a:gd name="T27" fmla="*/ 128 h 320"/>
                <a:gd name="T28" fmla="*/ 42 w 234"/>
                <a:gd name="T29" fmla="*/ 62 h 320"/>
                <a:gd name="T30" fmla="*/ 64 w 234"/>
                <a:gd name="T31" fmla="*/ 32 h 320"/>
                <a:gd name="T32" fmla="*/ 32 w 234"/>
                <a:gd name="T33" fmla="*/ 0 h 320"/>
                <a:gd name="T34" fmla="*/ 0 w 234"/>
                <a:gd name="T35" fmla="*/ 32 h 320"/>
                <a:gd name="T36" fmla="*/ 21 w 234"/>
                <a:gd name="T37" fmla="*/ 62 h 320"/>
                <a:gd name="T38" fmla="*/ 21 w 234"/>
                <a:gd name="T39" fmla="*/ 128 h 320"/>
                <a:gd name="T40" fmla="*/ 64 w 234"/>
                <a:gd name="T41" fmla="*/ 171 h 320"/>
                <a:gd name="T42" fmla="*/ 106 w 234"/>
                <a:gd name="T43" fmla="*/ 171 h 320"/>
                <a:gd name="T44" fmla="*/ 106 w 234"/>
                <a:gd name="T45" fmla="*/ 258 h 320"/>
                <a:gd name="T46" fmla="*/ 85 w 234"/>
                <a:gd name="T47" fmla="*/ 288 h 320"/>
                <a:gd name="T48" fmla="*/ 117 w 234"/>
                <a:gd name="T49" fmla="*/ 320 h 320"/>
                <a:gd name="T50" fmla="*/ 149 w 234"/>
                <a:gd name="T51" fmla="*/ 288 h 320"/>
                <a:gd name="T52" fmla="*/ 128 w 234"/>
                <a:gd name="T53" fmla="*/ 258 h 320"/>
                <a:gd name="T54" fmla="*/ 128 w 234"/>
                <a:gd name="T55" fmla="*/ 171 h 320"/>
                <a:gd name="T56" fmla="*/ 170 w 234"/>
                <a:gd name="T57" fmla="*/ 171 h 320"/>
                <a:gd name="T58" fmla="*/ 192 w 234"/>
                <a:gd name="T59" fmla="*/ 192 h 320"/>
                <a:gd name="T60" fmla="*/ 192 w 234"/>
                <a:gd name="T61" fmla="*/ 258 h 320"/>
                <a:gd name="T62" fmla="*/ 170 w 234"/>
                <a:gd name="T63" fmla="*/ 288 h 320"/>
                <a:gd name="T64" fmla="*/ 202 w 234"/>
                <a:gd name="T65" fmla="*/ 320 h 320"/>
                <a:gd name="T66" fmla="*/ 234 w 234"/>
                <a:gd name="T67" fmla="*/ 288 h 320"/>
                <a:gd name="T68" fmla="*/ 213 w 234"/>
                <a:gd name="T69" fmla="*/ 258 h 320"/>
                <a:gd name="T70" fmla="*/ 32 w 234"/>
                <a:gd name="T71" fmla="*/ 22 h 320"/>
                <a:gd name="T72" fmla="*/ 42 w 234"/>
                <a:gd name="T73" fmla="*/ 32 h 320"/>
                <a:gd name="T74" fmla="*/ 32 w 234"/>
                <a:gd name="T75" fmla="*/ 43 h 320"/>
                <a:gd name="T76" fmla="*/ 21 w 234"/>
                <a:gd name="T77" fmla="*/ 32 h 320"/>
                <a:gd name="T78" fmla="*/ 32 w 234"/>
                <a:gd name="T79" fmla="*/ 22 h 320"/>
                <a:gd name="T80" fmla="*/ 117 w 234"/>
                <a:gd name="T81" fmla="*/ 22 h 320"/>
                <a:gd name="T82" fmla="*/ 128 w 234"/>
                <a:gd name="T83" fmla="*/ 32 h 320"/>
                <a:gd name="T84" fmla="*/ 117 w 234"/>
                <a:gd name="T85" fmla="*/ 43 h 320"/>
                <a:gd name="T86" fmla="*/ 106 w 234"/>
                <a:gd name="T87" fmla="*/ 32 h 320"/>
                <a:gd name="T88" fmla="*/ 117 w 234"/>
                <a:gd name="T89" fmla="*/ 22 h 320"/>
                <a:gd name="T90" fmla="*/ 117 w 234"/>
                <a:gd name="T91" fmla="*/ 299 h 320"/>
                <a:gd name="T92" fmla="*/ 106 w 234"/>
                <a:gd name="T93" fmla="*/ 288 h 320"/>
                <a:gd name="T94" fmla="*/ 117 w 234"/>
                <a:gd name="T95" fmla="*/ 278 h 320"/>
                <a:gd name="T96" fmla="*/ 128 w 234"/>
                <a:gd name="T97" fmla="*/ 288 h 320"/>
                <a:gd name="T98" fmla="*/ 117 w 234"/>
                <a:gd name="T99" fmla="*/ 299 h 320"/>
                <a:gd name="T100" fmla="*/ 202 w 234"/>
                <a:gd name="T101" fmla="*/ 299 h 320"/>
                <a:gd name="T102" fmla="*/ 192 w 234"/>
                <a:gd name="T103" fmla="*/ 288 h 320"/>
                <a:gd name="T104" fmla="*/ 202 w 234"/>
                <a:gd name="T105" fmla="*/ 278 h 320"/>
                <a:gd name="T106" fmla="*/ 213 w 234"/>
                <a:gd name="T107" fmla="*/ 288 h 320"/>
                <a:gd name="T108" fmla="*/ 202 w 234"/>
                <a:gd name="T109" fmla="*/ 29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" h="320">
                  <a:moveTo>
                    <a:pt x="213" y="258"/>
                  </a:moveTo>
                  <a:cubicBezTo>
                    <a:pt x="213" y="192"/>
                    <a:pt x="213" y="192"/>
                    <a:pt x="213" y="192"/>
                  </a:cubicBezTo>
                  <a:cubicBezTo>
                    <a:pt x="213" y="161"/>
                    <a:pt x="187" y="150"/>
                    <a:pt x="170" y="150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7" y="63"/>
                    <a:pt x="127" y="62"/>
                  </a:cubicBezTo>
                  <a:cubicBezTo>
                    <a:pt x="140" y="58"/>
                    <a:pt x="149" y="46"/>
                    <a:pt x="149" y="32"/>
                  </a:cubicBezTo>
                  <a:cubicBezTo>
                    <a:pt x="149" y="15"/>
                    <a:pt x="135" y="0"/>
                    <a:pt x="117" y="0"/>
                  </a:cubicBezTo>
                  <a:cubicBezTo>
                    <a:pt x="99" y="0"/>
                    <a:pt x="85" y="15"/>
                    <a:pt x="85" y="32"/>
                  </a:cubicBezTo>
                  <a:cubicBezTo>
                    <a:pt x="85" y="46"/>
                    <a:pt x="94" y="58"/>
                    <a:pt x="107" y="62"/>
                  </a:cubicBezTo>
                  <a:cubicBezTo>
                    <a:pt x="107" y="63"/>
                    <a:pt x="106" y="64"/>
                    <a:pt x="106" y="64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0" y="150"/>
                    <a:pt x="42" y="149"/>
                    <a:pt x="42" y="12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5" y="58"/>
                    <a:pt x="64" y="46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46"/>
                    <a:pt x="9" y="58"/>
                    <a:pt x="21" y="62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160"/>
                    <a:pt x="47" y="171"/>
                    <a:pt x="64" y="171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94" y="263"/>
                    <a:pt x="85" y="274"/>
                    <a:pt x="85" y="288"/>
                  </a:cubicBezTo>
                  <a:cubicBezTo>
                    <a:pt x="85" y="306"/>
                    <a:pt x="99" y="320"/>
                    <a:pt x="117" y="320"/>
                  </a:cubicBezTo>
                  <a:cubicBezTo>
                    <a:pt x="135" y="320"/>
                    <a:pt x="149" y="306"/>
                    <a:pt x="149" y="288"/>
                  </a:cubicBezTo>
                  <a:cubicBezTo>
                    <a:pt x="149" y="274"/>
                    <a:pt x="140" y="263"/>
                    <a:pt x="128" y="258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70" y="171"/>
                    <a:pt x="170" y="171"/>
                    <a:pt x="170" y="171"/>
                  </a:cubicBezTo>
                  <a:cubicBezTo>
                    <a:pt x="174" y="171"/>
                    <a:pt x="192" y="172"/>
                    <a:pt x="192" y="192"/>
                  </a:cubicBezTo>
                  <a:cubicBezTo>
                    <a:pt x="192" y="258"/>
                    <a:pt x="192" y="258"/>
                    <a:pt x="192" y="258"/>
                  </a:cubicBezTo>
                  <a:cubicBezTo>
                    <a:pt x="179" y="263"/>
                    <a:pt x="170" y="274"/>
                    <a:pt x="170" y="288"/>
                  </a:cubicBezTo>
                  <a:cubicBezTo>
                    <a:pt x="170" y="306"/>
                    <a:pt x="185" y="320"/>
                    <a:pt x="202" y="320"/>
                  </a:cubicBezTo>
                  <a:cubicBezTo>
                    <a:pt x="220" y="320"/>
                    <a:pt x="234" y="306"/>
                    <a:pt x="234" y="288"/>
                  </a:cubicBezTo>
                  <a:cubicBezTo>
                    <a:pt x="234" y="274"/>
                    <a:pt x="225" y="263"/>
                    <a:pt x="213" y="258"/>
                  </a:cubicBezTo>
                  <a:close/>
                  <a:moveTo>
                    <a:pt x="32" y="22"/>
                  </a:moveTo>
                  <a:cubicBezTo>
                    <a:pt x="38" y="22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2"/>
                    <a:pt x="32" y="22"/>
                  </a:cubicBezTo>
                  <a:close/>
                  <a:moveTo>
                    <a:pt x="117" y="22"/>
                  </a:moveTo>
                  <a:cubicBezTo>
                    <a:pt x="123" y="22"/>
                    <a:pt x="128" y="26"/>
                    <a:pt x="128" y="32"/>
                  </a:cubicBezTo>
                  <a:cubicBezTo>
                    <a:pt x="128" y="38"/>
                    <a:pt x="123" y="43"/>
                    <a:pt x="117" y="43"/>
                  </a:cubicBezTo>
                  <a:cubicBezTo>
                    <a:pt x="111" y="43"/>
                    <a:pt x="106" y="38"/>
                    <a:pt x="106" y="32"/>
                  </a:cubicBezTo>
                  <a:cubicBezTo>
                    <a:pt x="106" y="26"/>
                    <a:pt x="111" y="22"/>
                    <a:pt x="117" y="22"/>
                  </a:cubicBezTo>
                  <a:close/>
                  <a:moveTo>
                    <a:pt x="117" y="299"/>
                  </a:moveTo>
                  <a:cubicBezTo>
                    <a:pt x="111" y="299"/>
                    <a:pt x="106" y="294"/>
                    <a:pt x="106" y="288"/>
                  </a:cubicBezTo>
                  <a:cubicBezTo>
                    <a:pt x="106" y="282"/>
                    <a:pt x="111" y="278"/>
                    <a:pt x="117" y="278"/>
                  </a:cubicBezTo>
                  <a:cubicBezTo>
                    <a:pt x="123" y="278"/>
                    <a:pt x="128" y="282"/>
                    <a:pt x="128" y="288"/>
                  </a:cubicBezTo>
                  <a:cubicBezTo>
                    <a:pt x="128" y="294"/>
                    <a:pt x="123" y="299"/>
                    <a:pt x="117" y="299"/>
                  </a:cubicBezTo>
                  <a:close/>
                  <a:moveTo>
                    <a:pt x="202" y="299"/>
                  </a:moveTo>
                  <a:cubicBezTo>
                    <a:pt x="196" y="299"/>
                    <a:pt x="192" y="294"/>
                    <a:pt x="192" y="288"/>
                  </a:cubicBezTo>
                  <a:cubicBezTo>
                    <a:pt x="192" y="282"/>
                    <a:pt x="196" y="278"/>
                    <a:pt x="202" y="278"/>
                  </a:cubicBezTo>
                  <a:cubicBezTo>
                    <a:pt x="208" y="278"/>
                    <a:pt x="213" y="282"/>
                    <a:pt x="213" y="288"/>
                  </a:cubicBezTo>
                  <a:cubicBezTo>
                    <a:pt x="213" y="294"/>
                    <a:pt x="208" y="299"/>
                    <a:pt x="202" y="2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93" name="Freeform 832"/>
          <p:cNvSpPr>
            <a:spLocks noChangeAspect="1" noEditPoints="1"/>
          </p:cNvSpPr>
          <p:nvPr/>
        </p:nvSpPr>
        <p:spPr bwMode="auto">
          <a:xfrm>
            <a:off x="6396577" y="5400121"/>
            <a:ext cx="370106" cy="369021"/>
          </a:xfrm>
          <a:custGeom>
            <a:avLst/>
            <a:gdLst>
              <a:gd name="T0" fmla="*/ 245 w 512"/>
              <a:gd name="T1" fmla="*/ 128 h 512"/>
              <a:gd name="T2" fmla="*/ 256 w 512"/>
              <a:gd name="T3" fmla="*/ 118 h 512"/>
              <a:gd name="T4" fmla="*/ 267 w 512"/>
              <a:gd name="T5" fmla="*/ 128 h 512"/>
              <a:gd name="T6" fmla="*/ 256 w 512"/>
              <a:gd name="T7" fmla="*/ 139 h 512"/>
              <a:gd name="T8" fmla="*/ 245 w 512"/>
              <a:gd name="T9" fmla="*/ 128 h 512"/>
              <a:gd name="T10" fmla="*/ 256 w 512"/>
              <a:gd name="T11" fmla="*/ 374 h 512"/>
              <a:gd name="T12" fmla="*/ 245 w 512"/>
              <a:gd name="T13" fmla="*/ 384 h 512"/>
              <a:gd name="T14" fmla="*/ 256 w 512"/>
              <a:gd name="T15" fmla="*/ 395 h 512"/>
              <a:gd name="T16" fmla="*/ 267 w 512"/>
              <a:gd name="T17" fmla="*/ 384 h 512"/>
              <a:gd name="T18" fmla="*/ 256 w 512"/>
              <a:gd name="T19" fmla="*/ 374 h 512"/>
              <a:gd name="T20" fmla="*/ 171 w 512"/>
              <a:gd name="T21" fmla="*/ 118 h 512"/>
              <a:gd name="T22" fmla="*/ 160 w 512"/>
              <a:gd name="T23" fmla="*/ 128 h 512"/>
              <a:gd name="T24" fmla="*/ 171 w 512"/>
              <a:gd name="T25" fmla="*/ 139 h 512"/>
              <a:gd name="T26" fmla="*/ 181 w 512"/>
              <a:gd name="T27" fmla="*/ 128 h 512"/>
              <a:gd name="T28" fmla="*/ 171 w 512"/>
              <a:gd name="T29" fmla="*/ 118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73 w 512"/>
              <a:gd name="T41" fmla="*/ 384 h 512"/>
              <a:gd name="T42" fmla="*/ 352 w 512"/>
              <a:gd name="T43" fmla="*/ 354 h 512"/>
              <a:gd name="T44" fmla="*/ 352 w 512"/>
              <a:gd name="T45" fmla="*/ 288 h 512"/>
              <a:gd name="T46" fmla="*/ 309 w 512"/>
              <a:gd name="T47" fmla="*/ 246 h 512"/>
              <a:gd name="T48" fmla="*/ 267 w 512"/>
              <a:gd name="T49" fmla="*/ 246 h 512"/>
              <a:gd name="T50" fmla="*/ 267 w 512"/>
              <a:gd name="T51" fmla="*/ 160 h 512"/>
              <a:gd name="T52" fmla="*/ 266 w 512"/>
              <a:gd name="T53" fmla="*/ 158 h 512"/>
              <a:gd name="T54" fmla="*/ 288 w 512"/>
              <a:gd name="T55" fmla="*/ 128 h 512"/>
              <a:gd name="T56" fmla="*/ 256 w 512"/>
              <a:gd name="T57" fmla="*/ 96 h 512"/>
              <a:gd name="T58" fmla="*/ 224 w 512"/>
              <a:gd name="T59" fmla="*/ 128 h 512"/>
              <a:gd name="T60" fmla="*/ 246 w 512"/>
              <a:gd name="T61" fmla="*/ 158 h 512"/>
              <a:gd name="T62" fmla="*/ 245 w 512"/>
              <a:gd name="T63" fmla="*/ 160 h 512"/>
              <a:gd name="T64" fmla="*/ 245 w 512"/>
              <a:gd name="T65" fmla="*/ 246 h 512"/>
              <a:gd name="T66" fmla="*/ 203 w 512"/>
              <a:gd name="T67" fmla="*/ 246 h 512"/>
              <a:gd name="T68" fmla="*/ 181 w 512"/>
              <a:gd name="T69" fmla="*/ 224 h 512"/>
              <a:gd name="T70" fmla="*/ 181 w 512"/>
              <a:gd name="T71" fmla="*/ 158 h 512"/>
              <a:gd name="T72" fmla="*/ 203 w 512"/>
              <a:gd name="T73" fmla="*/ 128 h 512"/>
              <a:gd name="T74" fmla="*/ 171 w 512"/>
              <a:gd name="T75" fmla="*/ 96 h 512"/>
              <a:gd name="T76" fmla="*/ 139 w 512"/>
              <a:gd name="T77" fmla="*/ 128 h 512"/>
              <a:gd name="T78" fmla="*/ 160 w 512"/>
              <a:gd name="T79" fmla="*/ 158 h 512"/>
              <a:gd name="T80" fmla="*/ 160 w 512"/>
              <a:gd name="T81" fmla="*/ 224 h 512"/>
              <a:gd name="T82" fmla="*/ 203 w 512"/>
              <a:gd name="T83" fmla="*/ 267 h 512"/>
              <a:gd name="T84" fmla="*/ 245 w 512"/>
              <a:gd name="T85" fmla="*/ 267 h 512"/>
              <a:gd name="T86" fmla="*/ 245 w 512"/>
              <a:gd name="T87" fmla="*/ 354 h 512"/>
              <a:gd name="T88" fmla="*/ 224 w 512"/>
              <a:gd name="T89" fmla="*/ 384 h 512"/>
              <a:gd name="T90" fmla="*/ 256 w 512"/>
              <a:gd name="T91" fmla="*/ 416 h 512"/>
              <a:gd name="T92" fmla="*/ 288 w 512"/>
              <a:gd name="T93" fmla="*/ 384 h 512"/>
              <a:gd name="T94" fmla="*/ 267 w 512"/>
              <a:gd name="T95" fmla="*/ 354 h 512"/>
              <a:gd name="T96" fmla="*/ 267 w 512"/>
              <a:gd name="T97" fmla="*/ 267 h 512"/>
              <a:gd name="T98" fmla="*/ 309 w 512"/>
              <a:gd name="T99" fmla="*/ 267 h 512"/>
              <a:gd name="T100" fmla="*/ 331 w 512"/>
              <a:gd name="T101" fmla="*/ 288 h 512"/>
              <a:gd name="T102" fmla="*/ 331 w 512"/>
              <a:gd name="T103" fmla="*/ 354 h 512"/>
              <a:gd name="T104" fmla="*/ 309 w 512"/>
              <a:gd name="T105" fmla="*/ 384 h 512"/>
              <a:gd name="T106" fmla="*/ 341 w 512"/>
              <a:gd name="T107" fmla="*/ 416 h 512"/>
              <a:gd name="T108" fmla="*/ 373 w 512"/>
              <a:gd name="T109" fmla="*/ 384 h 512"/>
              <a:gd name="T110" fmla="*/ 341 w 512"/>
              <a:gd name="T111" fmla="*/ 374 h 512"/>
              <a:gd name="T112" fmla="*/ 331 w 512"/>
              <a:gd name="T113" fmla="*/ 384 h 512"/>
              <a:gd name="T114" fmla="*/ 341 w 512"/>
              <a:gd name="T115" fmla="*/ 395 h 512"/>
              <a:gd name="T116" fmla="*/ 352 w 512"/>
              <a:gd name="T117" fmla="*/ 384 h 512"/>
              <a:gd name="T118" fmla="*/ 341 w 512"/>
              <a:gd name="T119" fmla="*/ 37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45" y="128"/>
                </a:moveTo>
                <a:cubicBezTo>
                  <a:pt x="245" y="122"/>
                  <a:pt x="250" y="118"/>
                  <a:pt x="256" y="118"/>
                </a:cubicBezTo>
                <a:cubicBezTo>
                  <a:pt x="262" y="118"/>
                  <a:pt x="267" y="122"/>
                  <a:pt x="267" y="128"/>
                </a:cubicBezTo>
                <a:cubicBezTo>
                  <a:pt x="267" y="134"/>
                  <a:pt x="262" y="139"/>
                  <a:pt x="256" y="139"/>
                </a:cubicBezTo>
                <a:cubicBezTo>
                  <a:pt x="250" y="139"/>
                  <a:pt x="245" y="134"/>
                  <a:pt x="245" y="128"/>
                </a:cubicBezTo>
                <a:close/>
                <a:moveTo>
                  <a:pt x="256" y="374"/>
                </a:moveTo>
                <a:cubicBezTo>
                  <a:pt x="250" y="374"/>
                  <a:pt x="245" y="378"/>
                  <a:pt x="245" y="384"/>
                </a:cubicBezTo>
                <a:cubicBezTo>
                  <a:pt x="245" y="390"/>
                  <a:pt x="250" y="395"/>
                  <a:pt x="256" y="395"/>
                </a:cubicBezTo>
                <a:cubicBezTo>
                  <a:pt x="262" y="395"/>
                  <a:pt x="267" y="390"/>
                  <a:pt x="267" y="384"/>
                </a:cubicBezTo>
                <a:cubicBezTo>
                  <a:pt x="267" y="378"/>
                  <a:pt x="262" y="374"/>
                  <a:pt x="256" y="374"/>
                </a:cubicBezTo>
                <a:close/>
                <a:moveTo>
                  <a:pt x="171" y="118"/>
                </a:moveTo>
                <a:cubicBezTo>
                  <a:pt x="165" y="118"/>
                  <a:pt x="160" y="122"/>
                  <a:pt x="160" y="128"/>
                </a:cubicBezTo>
                <a:cubicBezTo>
                  <a:pt x="160" y="134"/>
                  <a:pt x="165" y="139"/>
                  <a:pt x="171" y="139"/>
                </a:cubicBezTo>
                <a:cubicBezTo>
                  <a:pt x="177" y="139"/>
                  <a:pt x="181" y="134"/>
                  <a:pt x="181" y="128"/>
                </a:cubicBezTo>
                <a:cubicBezTo>
                  <a:pt x="181" y="122"/>
                  <a:pt x="177" y="118"/>
                  <a:pt x="171" y="118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73" y="384"/>
                </a:moveTo>
                <a:cubicBezTo>
                  <a:pt x="373" y="370"/>
                  <a:pt x="364" y="359"/>
                  <a:pt x="352" y="354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57"/>
                  <a:pt x="326" y="246"/>
                  <a:pt x="309" y="246"/>
                </a:cubicBezTo>
                <a:cubicBezTo>
                  <a:pt x="267" y="246"/>
                  <a:pt x="267" y="246"/>
                  <a:pt x="267" y="246"/>
                </a:cubicBezTo>
                <a:cubicBezTo>
                  <a:pt x="267" y="160"/>
                  <a:pt x="267" y="160"/>
                  <a:pt x="267" y="160"/>
                </a:cubicBezTo>
                <a:cubicBezTo>
                  <a:pt x="267" y="160"/>
                  <a:pt x="266" y="159"/>
                  <a:pt x="266" y="158"/>
                </a:cubicBezTo>
                <a:cubicBezTo>
                  <a:pt x="279" y="154"/>
                  <a:pt x="288" y="142"/>
                  <a:pt x="288" y="128"/>
                </a:cubicBezTo>
                <a:cubicBezTo>
                  <a:pt x="288" y="111"/>
                  <a:pt x="274" y="96"/>
                  <a:pt x="256" y="96"/>
                </a:cubicBezTo>
                <a:cubicBezTo>
                  <a:pt x="238" y="96"/>
                  <a:pt x="224" y="111"/>
                  <a:pt x="224" y="128"/>
                </a:cubicBezTo>
                <a:cubicBezTo>
                  <a:pt x="224" y="142"/>
                  <a:pt x="233" y="154"/>
                  <a:pt x="246" y="158"/>
                </a:cubicBezTo>
                <a:cubicBezTo>
                  <a:pt x="246" y="159"/>
                  <a:pt x="245" y="160"/>
                  <a:pt x="245" y="160"/>
                </a:cubicBezTo>
                <a:cubicBezTo>
                  <a:pt x="245" y="246"/>
                  <a:pt x="245" y="246"/>
                  <a:pt x="245" y="246"/>
                </a:cubicBezTo>
                <a:cubicBezTo>
                  <a:pt x="203" y="246"/>
                  <a:pt x="203" y="246"/>
                  <a:pt x="203" y="246"/>
                </a:cubicBezTo>
                <a:cubicBezTo>
                  <a:pt x="199" y="246"/>
                  <a:pt x="181" y="245"/>
                  <a:pt x="181" y="224"/>
                </a:cubicBezTo>
                <a:cubicBezTo>
                  <a:pt x="181" y="158"/>
                  <a:pt x="181" y="158"/>
                  <a:pt x="181" y="158"/>
                </a:cubicBezTo>
                <a:cubicBezTo>
                  <a:pt x="194" y="154"/>
                  <a:pt x="203" y="142"/>
                  <a:pt x="203" y="128"/>
                </a:cubicBezTo>
                <a:cubicBezTo>
                  <a:pt x="203" y="111"/>
                  <a:pt x="188" y="96"/>
                  <a:pt x="171" y="96"/>
                </a:cubicBezTo>
                <a:cubicBezTo>
                  <a:pt x="153" y="96"/>
                  <a:pt x="139" y="111"/>
                  <a:pt x="139" y="128"/>
                </a:cubicBezTo>
                <a:cubicBezTo>
                  <a:pt x="139" y="142"/>
                  <a:pt x="148" y="154"/>
                  <a:pt x="160" y="158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56"/>
                  <a:pt x="186" y="267"/>
                  <a:pt x="203" y="267"/>
                </a:cubicBezTo>
                <a:cubicBezTo>
                  <a:pt x="245" y="267"/>
                  <a:pt x="245" y="267"/>
                  <a:pt x="245" y="267"/>
                </a:cubicBezTo>
                <a:cubicBezTo>
                  <a:pt x="245" y="354"/>
                  <a:pt x="245" y="354"/>
                  <a:pt x="245" y="354"/>
                </a:cubicBezTo>
                <a:cubicBezTo>
                  <a:pt x="233" y="359"/>
                  <a:pt x="224" y="370"/>
                  <a:pt x="224" y="384"/>
                </a:cubicBezTo>
                <a:cubicBezTo>
                  <a:pt x="224" y="402"/>
                  <a:pt x="238" y="416"/>
                  <a:pt x="256" y="416"/>
                </a:cubicBezTo>
                <a:cubicBezTo>
                  <a:pt x="274" y="416"/>
                  <a:pt x="288" y="402"/>
                  <a:pt x="288" y="384"/>
                </a:cubicBezTo>
                <a:cubicBezTo>
                  <a:pt x="288" y="370"/>
                  <a:pt x="279" y="359"/>
                  <a:pt x="267" y="354"/>
                </a:cubicBezTo>
                <a:cubicBezTo>
                  <a:pt x="267" y="267"/>
                  <a:pt x="267" y="267"/>
                  <a:pt x="267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3" y="267"/>
                  <a:pt x="331" y="268"/>
                  <a:pt x="331" y="288"/>
                </a:cubicBezTo>
                <a:cubicBezTo>
                  <a:pt x="331" y="354"/>
                  <a:pt x="331" y="354"/>
                  <a:pt x="331" y="354"/>
                </a:cubicBezTo>
                <a:cubicBezTo>
                  <a:pt x="318" y="359"/>
                  <a:pt x="309" y="370"/>
                  <a:pt x="309" y="384"/>
                </a:cubicBezTo>
                <a:cubicBezTo>
                  <a:pt x="309" y="402"/>
                  <a:pt x="324" y="416"/>
                  <a:pt x="341" y="416"/>
                </a:cubicBezTo>
                <a:cubicBezTo>
                  <a:pt x="359" y="416"/>
                  <a:pt x="373" y="402"/>
                  <a:pt x="373" y="384"/>
                </a:cubicBezTo>
                <a:close/>
                <a:moveTo>
                  <a:pt x="341" y="374"/>
                </a:moveTo>
                <a:cubicBezTo>
                  <a:pt x="335" y="374"/>
                  <a:pt x="331" y="378"/>
                  <a:pt x="331" y="384"/>
                </a:cubicBezTo>
                <a:cubicBezTo>
                  <a:pt x="331" y="390"/>
                  <a:pt x="335" y="395"/>
                  <a:pt x="341" y="395"/>
                </a:cubicBezTo>
                <a:cubicBezTo>
                  <a:pt x="347" y="395"/>
                  <a:pt x="352" y="390"/>
                  <a:pt x="352" y="384"/>
                </a:cubicBezTo>
                <a:cubicBezTo>
                  <a:pt x="352" y="378"/>
                  <a:pt x="347" y="374"/>
                  <a:pt x="341" y="37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94" name="Group 835"/>
          <p:cNvGrpSpPr>
            <a:grpSpLocks noChangeAspect="1"/>
          </p:cNvGrpSpPr>
          <p:nvPr/>
        </p:nvGrpSpPr>
        <p:grpSpPr bwMode="auto">
          <a:xfrm>
            <a:off x="5897973" y="5400121"/>
            <a:ext cx="370106" cy="369021"/>
            <a:chOff x="1154" y="3098"/>
            <a:chExt cx="341" cy="340"/>
          </a:xfrm>
          <a:solidFill>
            <a:schemeClr val="accent3"/>
          </a:solidFill>
        </p:grpSpPr>
        <p:sp>
          <p:nvSpPr>
            <p:cNvPr id="795" name="Freeform 836"/>
            <p:cNvSpPr>
              <a:spLocks noEditPoints="1"/>
            </p:cNvSpPr>
            <p:nvPr/>
          </p:nvSpPr>
          <p:spPr bwMode="auto">
            <a:xfrm>
              <a:off x="1267" y="3162"/>
              <a:ext cx="114" cy="212"/>
            </a:xfrm>
            <a:custGeom>
              <a:avLst/>
              <a:gdLst>
                <a:gd name="T0" fmla="*/ 150 w 171"/>
                <a:gd name="T1" fmla="*/ 258 h 320"/>
                <a:gd name="T2" fmla="*/ 150 w 171"/>
                <a:gd name="T3" fmla="*/ 62 h 320"/>
                <a:gd name="T4" fmla="*/ 171 w 171"/>
                <a:gd name="T5" fmla="*/ 32 h 320"/>
                <a:gd name="T6" fmla="*/ 139 w 171"/>
                <a:gd name="T7" fmla="*/ 0 h 320"/>
                <a:gd name="T8" fmla="*/ 107 w 171"/>
                <a:gd name="T9" fmla="*/ 32 h 320"/>
                <a:gd name="T10" fmla="*/ 128 w 171"/>
                <a:gd name="T11" fmla="*/ 62 h 320"/>
                <a:gd name="T12" fmla="*/ 128 w 171"/>
                <a:gd name="T13" fmla="*/ 149 h 320"/>
                <a:gd name="T14" fmla="*/ 64 w 171"/>
                <a:gd name="T15" fmla="*/ 149 h 320"/>
                <a:gd name="T16" fmla="*/ 43 w 171"/>
                <a:gd name="T17" fmla="*/ 128 h 320"/>
                <a:gd name="T18" fmla="*/ 43 w 171"/>
                <a:gd name="T19" fmla="*/ 62 h 320"/>
                <a:gd name="T20" fmla="*/ 64 w 171"/>
                <a:gd name="T21" fmla="*/ 32 h 320"/>
                <a:gd name="T22" fmla="*/ 32 w 171"/>
                <a:gd name="T23" fmla="*/ 0 h 320"/>
                <a:gd name="T24" fmla="*/ 0 w 171"/>
                <a:gd name="T25" fmla="*/ 32 h 320"/>
                <a:gd name="T26" fmla="*/ 22 w 171"/>
                <a:gd name="T27" fmla="*/ 62 h 320"/>
                <a:gd name="T28" fmla="*/ 22 w 171"/>
                <a:gd name="T29" fmla="*/ 128 h 320"/>
                <a:gd name="T30" fmla="*/ 64 w 171"/>
                <a:gd name="T31" fmla="*/ 170 h 320"/>
                <a:gd name="T32" fmla="*/ 128 w 171"/>
                <a:gd name="T33" fmla="*/ 170 h 320"/>
                <a:gd name="T34" fmla="*/ 128 w 171"/>
                <a:gd name="T35" fmla="*/ 258 h 320"/>
                <a:gd name="T36" fmla="*/ 107 w 171"/>
                <a:gd name="T37" fmla="*/ 288 h 320"/>
                <a:gd name="T38" fmla="*/ 139 w 171"/>
                <a:gd name="T39" fmla="*/ 320 h 320"/>
                <a:gd name="T40" fmla="*/ 171 w 171"/>
                <a:gd name="T41" fmla="*/ 288 h 320"/>
                <a:gd name="T42" fmla="*/ 150 w 171"/>
                <a:gd name="T43" fmla="*/ 258 h 320"/>
                <a:gd name="T44" fmla="*/ 32 w 171"/>
                <a:gd name="T45" fmla="*/ 21 h 320"/>
                <a:gd name="T46" fmla="*/ 43 w 171"/>
                <a:gd name="T47" fmla="*/ 32 h 320"/>
                <a:gd name="T48" fmla="*/ 32 w 171"/>
                <a:gd name="T49" fmla="*/ 42 h 320"/>
                <a:gd name="T50" fmla="*/ 22 w 171"/>
                <a:gd name="T51" fmla="*/ 32 h 320"/>
                <a:gd name="T52" fmla="*/ 32 w 171"/>
                <a:gd name="T53" fmla="*/ 21 h 320"/>
                <a:gd name="T54" fmla="*/ 139 w 171"/>
                <a:gd name="T55" fmla="*/ 21 h 320"/>
                <a:gd name="T56" fmla="*/ 150 w 171"/>
                <a:gd name="T57" fmla="*/ 32 h 320"/>
                <a:gd name="T58" fmla="*/ 139 w 171"/>
                <a:gd name="T59" fmla="*/ 42 h 320"/>
                <a:gd name="T60" fmla="*/ 128 w 171"/>
                <a:gd name="T61" fmla="*/ 32 h 320"/>
                <a:gd name="T62" fmla="*/ 139 w 171"/>
                <a:gd name="T63" fmla="*/ 21 h 320"/>
                <a:gd name="T64" fmla="*/ 139 w 171"/>
                <a:gd name="T65" fmla="*/ 298 h 320"/>
                <a:gd name="T66" fmla="*/ 128 w 171"/>
                <a:gd name="T67" fmla="*/ 288 h 320"/>
                <a:gd name="T68" fmla="*/ 139 w 171"/>
                <a:gd name="T69" fmla="*/ 277 h 320"/>
                <a:gd name="T70" fmla="*/ 150 w 171"/>
                <a:gd name="T71" fmla="*/ 288 h 320"/>
                <a:gd name="T72" fmla="*/ 139 w 171"/>
                <a:gd name="T73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320">
                  <a:moveTo>
                    <a:pt x="150" y="258"/>
                  </a:moveTo>
                  <a:cubicBezTo>
                    <a:pt x="150" y="62"/>
                    <a:pt x="150" y="62"/>
                    <a:pt x="150" y="62"/>
                  </a:cubicBezTo>
                  <a:cubicBezTo>
                    <a:pt x="162" y="57"/>
                    <a:pt x="171" y="46"/>
                    <a:pt x="171" y="32"/>
                  </a:cubicBezTo>
                  <a:cubicBezTo>
                    <a:pt x="171" y="14"/>
                    <a:pt x="157" y="0"/>
                    <a:pt x="139" y="0"/>
                  </a:cubicBezTo>
                  <a:cubicBezTo>
                    <a:pt x="121" y="0"/>
                    <a:pt x="107" y="14"/>
                    <a:pt x="107" y="32"/>
                  </a:cubicBezTo>
                  <a:cubicBezTo>
                    <a:pt x="107" y="46"/>
                    <a:pt x="116" y="57"/>
                    <a:pt x="128" y="62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1" y="149"/>
                    <a:pt x="43" y="148"/>
                    <a:pt x="43" y="128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55" y="57"/>
                    <a:pt x="64" y="46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6"/>
                    <a:pt x="9" y="57"/>
                    <a:pt x="22" y="62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59"/>
                    <a:pt x="47" y="170"/>
                    <a:pt x="64" y="170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28" y="258"/>
                    <a:pt x="128" y="258"/>
                    <a:pt x="128" y="258"/>
                  </a:cubicBezTo>
                  <a:cubicBezTo>
                    <a:pt x="116" y="262"/>
                    <a:pt x="107" y="274"/>
                    <a:pt x="107" y="288"/>
                  </a:cubicBezTo>
                  <a:cubicBezTo>
                    <a:pt x="107" y="305"/>
                    <a:pt x="121" y="320"/>
                    <a:pt x="139" y="320"/>
                  </a:cubicBezTo>
                  <a:cubicBezTo>
                    <a:pt x="157" y="320"/>
                    <a:pt x="171" y="305"/>
                    <a:pt x="171" y="288"/>
                  </a:cubicBezTo>
                  <a:cubicBezTo>
                    <a:pt x="171" y="274"/>
                    <a:pt x="162" y="262"/>
                    <a:pt x="150" y="258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  <a:moveTo>
                    <a:pt x="139" y="21"/>
                  </a:moveTo>
                  <a:cubicBezTo>
                    <a:pt x="145" y="21"/>
                    <a:pt x="150" y="26"/>
                    <a:pt x="150" y="32"/>
                  </a:cubicBezTo>
                  <a:cubicBezTo>
                    <a:pt x="150" y="38"/>
                    <a:pt x="145" y="42"/>
                    <a:pt x="139" y="42"/>
                  </a:cubicBezTo>
                  <a:cubicBezTo>
                    <a:pt x="133" y="42"/>
                    <a:pt x="128" y="38"/>
                    <a:pt x="128" y="32"/>
                  </a:cubicBezTo>
                  <a:cubicBezTo>
                    <a:pt x="128" y="26"/>
                    <a:pt x="133" y="21"/>
                    <a:pt x="139" y="21"/>
                  </a:cubicBezTo>
                  <a:close/>
                  <a:moveTo>
                    <a:pt x="139" y="298"/>
                  </a:moveTo>
                  <a:cubicBezTo>
                    <a:pt x="133" y="298"/>
                    <a:pt x="128" y="294"/>
                    <a:pt x="128" y="288"/>
                  </a:cubicBezTo>
                  <a:cubicBezTo>
                    <a:pt x="128" y="282"/>
                    <a:pt x="133" y="277"/>
                    <a:pt x="139" y="277"/>
                  </a:cubicBezTo>
                  <a:cubicBezTo>
                    <a:pt x="145" y="277"/>
                    <a:pt x="150" y="282"/>
                    <a:pt x="150" y="288"/>
                  </a:cubicBezTo>
                  <a:cubicBezTo>
                    <a:pt x="150" y="294"/>
                    <a:pt x="145" y="298"/>
                    <a:pt x="139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6" name="Freeform 837"/>
            <p:cNvSpPr>
              <a:spLocks noEditPoints="1"/>
            </p:cNvSpPr>
            <p:nvPr/>
          </p:nvSpPr>
          <p:spPr bwMode="auto">
            <a:xfrm>
              <a:off x="1154" y="309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97" name="Freeform 841"/>
          <p:cNvSpPr>
            <a:spLocks noChangeAspect="1" noEditPoints="1"/>
          </p:cNvSpPr>
          <p:nvPr/>
        </p:nvSpPr>
        <p:spPr bwMode="auto">
          <a:xfrm>
            <a:off x="5400454" y="5400121"/>
            <a:ext cx="369021" cy="369021"/>
          </a:xfrm>
          <a:custGeom>
            <a:avLst/>
            <a:gdLst>
              <a:gd name="T0" fmla="*/ 213 w 512"/>
              <a:gd name="T1" fmla="*/ 128 h 512"/>
              <a:gd name="T2" fmla="*/ 202 w 512"/>
              <a:gd name="T3" fmla="*/ 138 h 512"/>
              <a:gd name="T4" fmla="*/ 192 w 512"/>
              <a:gd name="T5" fmla="*/ 128 h 512"/>
              <a:gd name="T6" fmla="*/ 202 w 512"/>
              <a:gd name="T7" fmla="*/ 117 h 512"/>
              <a:gd name="T8" fmla="*/ 213 w 512"/>
              <a:gd name="T9" fmla="*/ 128 h 512"/>
              <a:gd name="T10" fmla="*/ 309 w 512"/>
              <a:gd name="T11" fmla="*/ 373 h 512"/>
              <a:gd name="T12" fmla="*/ 298 w 512"/>
              <a:gd name="T13" fmla="*/ 384 h 512"/>
              <a:gd name="T14" fmla="*/ 309 w 512"/>
              <a:gd name="T15" fmla="*/ 394 h 512"/>
              <a:gd name="T16" fmla="*/ 320 w 512"/>
              <a:gd name="T17" fmla="*/ 384 h 512"/>
              <a:gd name="T18" fmla="*/ 309 w 512"/>
              <a:gd name="T19" fmla="*/ 373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20 w 512"/>
              <a:gd name="T31" fmla="*/ 354 h 512"/>
              <a:gd name="T32" fmla="*/ 320 w 512"/>
              <a:gd name="T33" fmla="*/ 158 h 512"/>
              <a:gd name="T34" fmla="*/ 341 w 512"/>
              <a:gd name="T35" fmla="*/ 128 h 512"/>
              <a:gd name="T36" fmla="*/ 309 w 512"/>
              <a:gd name="T37" fmla="*/ 96 h 512"/>
              <a:gd name="T38" fmla="*/ 277 w 512"/>
              <a:gd name="T39" fmla="*/ 128 h 512"/>
              <a:gd name="T40" fmla="*/ 298 w 512"/>
              <a:gd name="T41" fmla="*/ 158 h 512"/>
              <a:gd name="T42" fmla="*/ 298 w 512"/>
              <a:gd name="T43" fmla="*/ 245 h 512"/>
              <a:gd name="T44" fmla="*/ 234 w 512"/>
              <a:gd name="T45" fmla="*/ 245 h 512"/>
              <a:gd name="T46" fmla="*/ 213 w 512"/>
              <a:gd name="T47" fmla="*/ 224 h 512"/>
              <a:gd name="T48" fmla="*/ 213 w 512"/>
              <a:gd name="T49" fmla="*/ 158 h 512"/>
              <a:gd name="T50" fmla="*/ 234 w 512"/>
              <a:gd name="T51" fmla="*/ 128 h 512"/>
              <a:gd name="T52" fmla="*/ 202 w 512"/>
              <a:gd name="T53" fmla="*/ 96 h 512"/>
              <a:gd name="T54" fmla="*/ 170 w 512"/>
              <a:gd name="T55" fmla="*/ 128 h 512"/>
              <a:gd name="T56" fmla="*/ 192 w 512"/>
              <a:gd name="T57" fmla="*/ 158 h 512"/>
              <a:gd name="T58" fmla="*/ 192 w 512"/>
              <a:gd name="T59" fmla="*/ 224 h 512"/>
              <a:gd name="T60" fmla="*/ 234 w 512"/>
              <a:gd name="T61" fmla="*/ 266 h 512"/>
              <a:gd name="T62" fmla="*/ 298 w 512"/>
              <a:gd name="T63" fmla="*/ 266 h 512"/>
              <a:gd name="T64" fmla="*/ 298 w 512"/>
              <a:gd name="T65" fmla="*/ 354 h 512"/>
              <a:gd name="T66" fmla="*/ 277 w 512"/>
              <a:gd name="T67" fmla="*/ 384 h 512"/>
              <a:gd name="T68" fmla="*/ 309 w 512"/>
              <a:gd name="T69" fmla="*/ 416 h 512"/>
              <a:gd name="T70" fmla="*/ 341 w 512"/>
              <a:gd name="T71" fmla="*/ 384 h 512"/>
              <a:gd name="T72" fmla="*/ 320 w 512"/>
              <a:gd name="T73" fmla="*/ 354 h 512"/>
              <a:gd name="T74" fmla="*/ 309 w 512"/>
              <a:gd name="T75" fmla="*/ 117 h 512"/>
              <a:gd name="T76" fmla="*/ 298 w 512"/>
              <a:gd name="T77" fmla="*/ 128 h 512"/>
              <a:gd name="T78" fmla="*/ 309 w 512"/>
              <a:gd name="T79" fmla="*/ 138 h 512"/>
              <a:gd name="T80" fmla="*/ 320 w 512"/>
              <a:gd name="T81" fmla="*/ 128 h 512"/>
              <a:gd name="T82" fmla="*/ 309 w 512"/>
              <a:gd name="T83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13" y="128"/>
                </a:moveTo>
                <a:cubicBezTo>
                  <a:pt x="213" y="134"/>
                  <a:pt x="208" y="138"/>
                  <a:pt x="202" y="138"/>
                </a:cubicBezTo>
                <a:cubicBezTo>
                  <a:pt x="196" y="138"/>
                  <a:pt x="192" y="134"/>
                  <a:pt x="192" y="128"/>
                </a:cubicBezTo>
                <a:cubicBezTo>
                  <a:pt x="192" y="122"/>
                  <a:pt x="196" y="117"/>
                  <a:pt x="202" y="117"/>
                </a:cubicBezTo>
                <a:cubicBezTo>
                  <a:pt x="208" y="117"/>
                  <a:pt x="213" y="122"/>
                  <a:pt x="213" y="128"/>
                </a:cubicBezTo>
                <a:close/>
                <a:moveTo>
                  <a:pt x="309" y="373"/>
                </a:move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15" y="394"/>
                  <a:pt x="320" y="390"/>
                  <a:pt x="320" y="384"/>
                </a:cubicBezTo>
                <a:cubicBezTo>
                  <a:pt x="320" y="378"/>
                  <a:pt x="315" y="373"/>
                  <a:pt x="309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0" y="354"/>
                </a:moveTo>
                <a:cubicBezTo>
                  <a:pt x="320" y="158"/>
                  <a:pt x="320" y="158"/>
                  <a:pt x="320" y="158"/>
                </a:cubicBezTo>
                <a:cubicBezTo>
                  <a:pt x="332" y="153"/>
                  <a:pt x="341" y="142"/>
                  <a:pt x="341" y="128"/>
                </a:cubicBezTo>
                <a:cubicBezTo>
                  <a:pt x="341" y="110"/>
                  <a:pt x="327" y="96"/>
                  <a:pt x="309" y="96"/>
                </a:cubicBezTo>
                <a:cubicBezTo>
                  <a:pt x="291" y="96"/>
                  <a:pt x="277" y="110"/>
                  <a:pt x="277" y="128"/>
                </a:cubicBezTo>
                <a:cubicBezTo>
                  <a:pt x="277" y="142"/>
                  <a:pt x="286" y="153"/>
                  <a:pt x="298" y="158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1" y="245"/>
                  <a:pt x="213" y="244"/>
                  <a:pt x="213" y="224"/>
                </a:cubicBezTo>
                <a:cubicBezTo>
                  <a:pt x="213" y="158"/>
                  <a:pt x="213" y="158"/>
                  <a:pt x="213" y="158"/>
                </a:cubicBezTo>
                <a:cubicBezTo>
                  <a:pt x="225" y="153"/>
                  <a:pt x="234" y="142"/>
                  <a:pt x="234" y="128"/>
                </a:cubicBezTo>
                <a:cubicBezTo>
                  <a:pt x="234" y="110"/>
                  <a:pt x="220" y="96"/>
                  <a:pt x="202" y="96"/>
                </a:cubicBezTo>
                <a:cubicBezTo>
                  <a:pt x="185" y="96"/>
                  <a:pt x="170" y="110"/>
                  <a:pt x="170" y="128"/>
                </a:cubicBezTo>
                <a:cubicBezTo>
                  <a:pt x="170" y="142"/>
                  <a:pt x="179" y="153"/>
                  <a:pt x="192" y="158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192" y="255"/>
                  <a:pt x="217" y="266"/>
                  <a:pt x="234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354"/>
                  <a:pt x="298" y="354"/>
                  <a:pt x="298" y="354"/>
                </a:cubicBezTo>
                <a:cubicBezTo>
                  <a:pt x="286" y="358"/>
                  <a:pt x="277" y="370"/>
                  <a:pt x="277" y="384"/>
                </a:cubicBezTo>
                <a:cubicBezTo>
                  <a:pt x="277" y="401"/>
                  <a:pt x="291" y="416"/>
                  <a:pt x="309" y="416"/>
                </a:cubicBezTo>
                <a:cubicBezTo>
                  <a:pt x="327" y="416"/>
                  <a:pt x="341" y="401"/>
                  <a:pt x="341" y="384"/>
                </a:cubicBezTo>
                <a:cubicBezTo>
                  <a:pt x="341" y="370"/>
                  <a:pt x="332" y="358"/>
                  <a:pt x="320" y="354"/>
                </a:cubicBezTo>
                <a:close/>
                <a:moveTo>
                  <a:pt x="309" y="117"/>
                </a:move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15" y="138"/>
                  <a:pt x="320" y="134"/>
                  <a:pt x="320" y="128"/>
                </a:cubicBezTo>
                <a:cubicBezTo>
                  <a:pt x="320" y="122"/>
                  <a:pt x="315" y="117"/>
                  <a:pt x="309" y="1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98" name="Group 844"/>
          <p:cNvGrpSpPr>
            <a:grpSpLocks noChangeAspect="1"/>
          </p:cNvGrpSpPr>
          <p:nvPr/>
        </p:nvGrpSpPr>
        <p:grpSpPr bwMode="auto">
          <a:xfrm>
            <a:off x="4902935" y="5400121"/>
            <a:ext cx="369021" cy="369021"/>
            <a:chOff x="380" y="3102"/>
            <a:chExt cx="340" cy="340"/>
          </a:xfrm>
          <a:solidFill>
            <a:schemeClr val="accent3"/>
          </a:solidFill>
        </p:grpSpPr>
        <p:sp>
          <p:nvSpPr>
            <p:cNvPr id="799" name="Freeform 845"/>
            <p:cNvSpPr>
              <a:spLocks noEditPoints="1"/>
            </p:cNvSpPr>
            <p:nvPr/>
          </p:nvSpPr>
          <p:spPr bwMode="auto">
            <a:xfrm>
              <a:off x="472" y="3166"/>
              <a:ext cx="156" cy="212"/>
            </a:xfrm>
            <a:custGeom>
              <a:avLst/>
              <a:gdLst>
                <a:gd name="T0" fmla="*/ 214 w 235"/>
                <a:gd name="T1" fmla="*/ 258 h 320"/>
                <a:gd name="T2" fmla="*/ 214 w 235"/>
                <a:gd name="T3" fmla="*/ 181 h 320"/>
                <a:gd name="T4" fmla="*/ 182 w 235"/>
                <a:gd name="T5" fmla="*/ 149 h 320"/>
                <a:gd name="T6" fmla="*/ 128 w 235"/>
                <a:gd name="T7" fmla="*/ 149 h 320"/>
                <a:gd name="T8" fmla="*/ 128 w 235"/>
                <a:gd name="T9" fmla="*/ 62 h 320"/>
                <a:gd name="T10" fmla="*/ 150 w 235"/>
                <a:gd name="T11" fmla="*/ 32 h 320"/>
                <a:gd name="T12" fmla="*/ 118 w 235"/>
                <a:gd name="T13" fmla="*/ 0 h 320"/>
                <a:gd name="T14" fmla="*/ 86 w 235"/>
                <a:gd name="T15" fmla="*/ 32 h 320"/>
                <a:gd name="T16" fmla="*/ 107 w 235"/>
                <a:gd name="T17" fmla="*/ 62 h 320"/>
                <a:gd name="T18" fmla="*/ 107 w 235"/>
                <a:gd name="T19" fmla="*/ 149 h 320"/>
                <a:gd name="T20" fmla="*/ 54 w 235"/>
                <a:gd name="T21" fmla="*/ 149 h 320"/>
                <a:gd name="T22" fmla="*/ 22 w 235"/>
                <a:gd name="T23" fmla="*/ 181 h 320"/>
                <a:gd name="T24" fmla="*/ 22 w 235"/>
                <a:gd name="T25" fmla="*/ 258 h 320"/>
                <a:gd name="T26" fmla="*/ 0 w 235"/>
                <a:gd name="T27" fmla="*/ 288 h 320"/>
                <a:gd name="T28" fmla="*/ 32 w 235"/>
                <a:gd name="T29" fmla="*/ 320 h 320"/>
                <a:gd name="T30" fmla="*/ 64 w 235"/>
                <a:gd name="T31" fmla="*/ 288 h 320"/>
                <a:gd name="T32" fmla="*/ 43 w 235"/>
                <a:gd name="T33" fmla="*/ 258 h 320"/>
                <a:gd name="T34" fmla="*/ 43 w 235"/>
                <a:gd name="T35" fmla="*/ 181 h 320"/>
                <a:gd name="T36" fmla="*/ 54 w 235"/>
                <a:gd name="T37" fmla="*/ 170 h 320"/>
                <a:gd name="T38" fmla="*/ 107 w 235"/>
                <a:gd name="T39" fmla="*/ 170 h 320"/>
                <a:gd name="T40" fmla="*/ 107 w 235"/>
                <a:gd name="T41" fmla="*/ 258 h 320"/>
                <a:gd name="T42" fmla="*/ 86 w 235"/>
                <a:gd name="T43" fmla="*/ 288 h 320"/>
                <a:gd name="T44" fmla="*/ 118 w 235"/>
                <a:gd name="T45" fmla="*/ 320 h 320"/>
                <a:gd name="T46" fmla="*/ 150 w 235"/>
                <a:gd name="T47" fmla="*/ 288 h 320"/>
                <a:gd name="T48" fmla="*/ 128 w 235"/>
                <a:gd name="T49" fmla="*/ 258 h 320"/>
                <a:gd name="T50" fmla="*/ 128 w 235"/>
                <a:gd name="T51" fmla="*/ 170 h 320"/>
                <a:gd name="T52" fmla="*/ 182 w 235"/>
                <a:gd name="T53" fmla="*/ 170 h 320"/>
                <a:gd name="T54" fmla="*/ 192 w 235"/>
                <a:gd name="T55" fmla="*/ 181 h 320"/>
                <a:gd name="T56" fmla="*/ 192 w 235"/>
                <a:gd name="T57" fmla="*/ 258 h 320"/>
                <a:gd name="T58" fmla="*/ 171 w 235"/>
                <a:gd name="T59" fmla="*/ 288 h 320"/>
                <a:gd name="T60" fmla="*/ 203 w 235"/>
                <a:gd name="T61" fmla="*/ 320 h 320"/>
                <a:gd name="T62" fmla="*/ 235 w 235"/>
                <a:gd name="T63" fmla="*/ 288 h 320"/>
                <a:gd name="T64" fmla="*/ 214 w 235"/>
                <a:gd name="T65" fmla="*/ 258 h 320"/>
                <a:gd name="T66" fmla="*/ 118 w 235"/>
                <a:gd name="T67" fmla="*/ 21 h 320"/>
                <a:gd name="T68" fmla="*/ 128 w 235"/>
                <a:gd name="T69" fmla="*/ 32 h 320"/>
                <a:gd name="T70" fmla="*/ 118 w 235"/>
                <a:gd name="T71" fmla="*/ 42 h 320"/>
                <a:gd name="T72" fmla="*/ 107 w 235"/>
                <a:gd name="T73" fmla="*/ 32 h 320"/>
                <a:gd name="T74" fmla="*/ 118 w 235"/>
                <a:gd name="T75" fmla="*/ 21 h 320"/>
                <a:gd name="T76" fmla="*/ 32 w 235"/>
                <a:gd name="T77" fmla="*/ 298 h 320"/>
                <a:gd name="T78" fmla="*/ 22 w 235"/>
                <a:gd name="T79" fmla="*/ 288 h 320"/>
                <a:gd name="T80" fmla="*/ 32 w 235"/>
                <a:gd name="T81" fmla="*/ 277 h 320"/>
                <a:gd name="T82" fmla="*/ 43 w 235"/>
                <a:gd name="T83" fmla="*/ 288 h 320"/>
                <a:gd name="T84" fmla="*/ 32 w 235"/>
                <a:gd name="T85" fmla="*/ 298 h 320"/>
                <a:gd name="T86" fmla="*/ 118 w 235"/>
                <a:gd name="T87" fmla="*/ 298 h 320"/>
                <a:gd name="T88" fmla="*/ 107 w 235"/>
                <a:gd name="T89" fmla="*/ 288 h 320"/>
                <a:gd name="T90" fmla="*/ 118 w 235"/>
                <a:gd name="T91" fmla="*/ 277 h 320"/>
                <a:gd name="T92" fmla="*/ 128 w 235"/>
                <a:gd name="T93" fmla="*/ 288 h 320"/>
                <a:gd name="T94" fmla="*/ 118 w 235"/>
                <a:gd name="T95" fmla="*/ 298 h 320"/>
                <a:gd name="T96" fmla="*/ 203 w 235"/>
                <a:gd name="T97" fmla="*/ 298 h 320"/>
                <a:gd name="T98" fmla="*/ 192 w 235"/>
                <a:gd name="T99" fmla="*/ 288 h 320"/>
                <a:gd name="T100" fmla="*/ 203 w 235"/>
                <a:gd name="T101" fmla="*/ 277 h 320"/>
                <a:gd name="T102" fmla="*/ 214 w 235"/>
                <a:gd name="T103" fmla="*/ 288 h 320"/>
                <a:gd name="T104" fmla="*/ 203 w 235"/>
                <a:gd name="T105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320">
                  <a:moveTo>
                    <a:pt x="214" y="258"/>
                  </a:moveTo>
                  <a:cubicBezTo>
                    <a:pt x="214" y="181"/>
                    <a:pt x="214" y="181"/>
                    <a:pt x="214" y="181"/>
                  </a:cubicBezTo>
                  <a:cubicBezTo>
                    <a:pt x="214" y="158"/>
                    <a:pt x="195" y="149"/>
                    <a:pt x="182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62"/>
                    <a:pt x="128" y="62"/>
                    <a:pt x="128" y="62"/>
                  </a:cubicBezTo>
                  <a:cubicBezTo>
                    <a:pt x="141" y="57"/>
                    <a:pt x="150" y="46"/>
                    <a:pt x="150" y="32"/>
                  </a:cubicBezTo>
                  <a:cubicBezTo>
                    <a:pt x="150" y="14"/>
                    <a:pt x="135" y="0"/>
                    <a:pt x="118" y="0"/>
                  </a:cubicBezTo>
                  <a:cubicBezTo>
                    <a:pt x="100" y="0"/>
                    <a:pt x="86" y="14"/>
                    <a:pt x="86" y="32"/>
                  </a:cubicBezTo>
                  <a:cubicBezTo>
                    <a:pt x="86" y="46"/>
                    <a:pt x="95" y="57"/>
                    <a:pt x="107" y="62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31" y="149"/>
                    <a:pt x="22" y="168"/>
                    <a:pt x="22" y="181"/>
                  </a:cubicBezTo>
                  <a:cubicBezTo>
                    <a:pt x="22" y="258"/>
                    <a:pt x="22" y="258"/>
                    <a:pt x="22" y="258"/>
                  </a:cubicBezTo>
                  <a:cubicBezTo>
                    <a:pt x="9" y="262"/>
                    <a:pt x="0" y="274"/>
                    <a:pt x="0" y="288"/>
                  </a:cubicBezTo>
                  <a:cubicBezTo>
                    <a:pt x="0" y="305"/>
                    <a:pt x="15" y="320"/>
                    <a:pt x="32" y="320"/>
                  </a:cubicBezTo>
                  <a:cubicBezTo>
                    <a:pt x="50" y="320"/>
                    <a:pt x="64" y="305"/>
                    <a:pt x="64" y="288"/>
                  </a:cubicBezTo>
                  <a:cubicBezTo>
                    <a:pt x="64" y="274"/>
                    <a:pt x="55" y="262"/>
                    <a:pt x="43" y="258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3" y="179"/>
                    <a:pt x="44" y="170"/>
                    <a:pt x="54" y="170"/>
                  </a:cubicBezTo>
                  <a:cubicBezTo>
                    <a:pt x="107" y="170"/>
                    <a:pt x="107" y="170"/>
                    <a:pt x="107" y="170"/>
                  </a:cubicBezTo>
                  <a:cubicBezTo>
                    <a:pt x="107" y="258"/>
                    <a:pt x="107" y="258"/>
                    <a:pt x="107" y="258"/>
                  </a:cubicBezTo>
                  <a:cubicBezTo>
                    <a:pt x="95" y="262"/>
                    <a:pt x="86" y="274"/>
                    <a:pt x="86" y="288"/>
                  </a:cubicBezTo>
                  <a:cubicBezTo>
                    <a:pt x="86" y="305"/>
                    <a:pt x="100" y="320"/>
                    <a:pt x="118" y="320"/>
                  </a:cubicBezTo>
                  <a:cubicBezTo>
                    <a:pt x="135" y="320"/>
                    <a:pt x="150" y="305"/>
                    <a:pt x="150" y="288"/>
                  </a:cubicBezTo>
                  <a:cubicBezTo>
                    <a:pt x="150" y="274"/>
                    <a:pt x="141" y="262"/>
                    <a:pt x="128" y="258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82" y="170"/>
                    <a:pt x="182" y="170"/>
                    <a:pt x="182" y="170"/>
                  </a:cubicBezTo>
                  <a:cubicBezTo>
                    <a:pt x="186" y="170"/>
                    <a:pt x="192" y="172"/>
                    <a:pt x="192" y="181"/>
                  </a:cubicBezTo>
                  <a:cubicBezTo>
                    <a:pt x="192" y="258"/>
                    <a:pt x="192" y="258"/>
                    <a:pt x="192" y="258"/>
                  </a:cubicBezTo>
                  <a:cubicBezTo>
                    <a:pt x="180" y="262"/>
                    <a:pt x="171" y="274"/>
                    <a:pt x="171" y="288"/>
                  </a:cubicBezTo>
                  <a:cubicBezTo>
                    <a:pt x="171" y="305"/>
                    <a:pt x="185" y="320"/>
                    <a:pt x="203" y="320"/>
                  </a:cubicBezTo>
                  <a:cubicBezTo>
                    <a:pt x="221" y="320"/>
                    <a:pt x="235" y="305"/>
                    <a:pt x="235" y="288"/>
                  </a:cubicBezTo>
                  <a:cubicBezTo>
                    <a:pt x="235" y="274"/>
                    <a:pt x="226" y="262"/>
                    <a:pt x="214" y="258"/>
                  </a:cubicBezTo>
                  <a:close/>
                  <a:moveTo>
                    <a:pt x="118" y="21"/>
                  </a:moveTo>
                  <a:cubicBezTo>
                    <a:pt x="124" y="21"/>
                    <a:pt x="128" y="26"/>
                    <a:pt x="128" y="32"/>
                  </a:cubicBezTo>
                  <a:cubicBezTo>
                    <a:pt x="128" y="38"/>
                    <a:pt x="124" y="42"/>
                    <a:pt x="118" y="42"/>
                  </a:cubicBezTo>
                  <a:cubicBezTo>
                    <a:pt x="112" y="42"/>
                    <a:pt x="107" y="38"/>
                    <a:pt x="107" y="32"/>
                  </a:cubicBezTo>
                  <a:cubicBezTo>
                    <a:pt x="107" y="26"/>
                    <a:pt x="112" y="21"/>
                    <a:pt x="118" y="21"/>
                  </a:cubicBezTo>
                  <a:close/>
                  <a:moveTo>
                    <a:pt x="32" y="298"/>
                  </a:moveTo>
                  <a:cubicBezTo>
                    <a:pt x="26" y="298"/>
                    <a:pt x="22" y="294"/>
                    <a:pt x="22" y="288"/>
                  </a:cubicBezTo>
                  <a:cubicBezTo>
                    <a:pt x="22" y="282"/>
                    <a:pt x="26" y="277"/>
                    <a:pt x="32" y="277"/>
                  </a:cubicBezTo>
                  <a:cubicBezTo>
                    <a:pt x="38" y="277"/>
                    <a:pt x="43" y="282"/>
                    <a:pt x="43" y="288"/>
                  </a:cubicBezTo>
                  <a:cubicBezTo>
                    <a:pt x="43" y="294"/>
                    <a:pt x="38" y="298"/>
                    <a:pt x="32" y="298"/>
                  </a:cubicBezTo>
                  <a:close/>
                  <a:moveTo>
                    <a:pt x="118" y="298"/>
                  </a:moveTo>
                  <a:cubicBezTo>
                    <a:pt x="112" y="298"/>
                    <a:pt x="107" y="294"/>
                    <a:pt x="107" y="288"/>
                  </a:cubicBezTo>
                  <a:cubicBezTo>
                    <a:pt x="107" y="282"/>
                    <a:pt x="112" y="277"/>
                    <a:pt x="118" y="277"/>
                  </a:cubicBezTo>
                  <a:cubicBezTo>
                    <a:pt x="124" y="277"/>
                    <a:pt x="128" y="282"/>
                    <a:pt x="128" y="288"/>
                  </a:cubicBezTo>
                  <a:cubicBezTo>
                    <a:pt x="128" y="294"/>
                    <a:pt x="124" y="298"/>
                    <a:pt x="118" y="298"/>
                  </a:cubicBezTo>
                  <a:close/>
                  <a:moveTo>
                    <a:pt x="203" y="298"/>
                  </a:moveTo>
                  <a:cubicBezTo>
                    <a:pt x="197" y="298"/>
                    <a:pt x="192" y="294"/>
                    <a:pt x="192" y="288"/>
                  </a:cubicBezTo>
                  <a:cubicBezTo>
                    <a:pt x="192" y="282"/>
                    <a:pt x="197" y="277"/>
                    <a:pt x="203" y="277"/>
                  </a:cubicBezTo>
                  <a:cubicBezTo>
                    <a:pt x="209" y="277"/>
                    <a:pt x="214" y="282"/>
                    <a:pt x="214" y="288"/>
                  </a:cubicBezTo>
                  <a:cubicBezTo>
                    <a:pt x="214" y="294"/>
                    <a:pt x="209" y="298"/>
                    <a:pt x="203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0" name="Freeform 846"/>
            <p:cNvSpPr>
              <a:spLocks noEditPoints="1"/>
            </p:cNvSpPr>
            <p:nvPr/>
          </p:nvSpPr>
          <p:spPr bwMode="auto">
            <a:xfrm>
              <a:off x="380" y="310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01" name="Freeform 850"/>
          <p:cNvSpPr>
            <a:spLocks noChangeAspect="1" noEditPoints="1"/>
          </p:cNvSpPr>
          <p:nvPr/>
        </p:nvSpPr>
        <p:spPr bwMode="auto">
          <a:xfrm>
            <a:off x="4405416" y="5400118"/>
            <a:ext cx="369021" cy="370106"/>
          </a:xfrm>
          <a:custGeom>
            <a:avLst/>
            <a:gdLst>
              <a:gd name="T0" fmla="*/ 181 w 512"/>
              <a:gd name="T1" fmla="*/ 384 h 512"/>
              <a:gd name="T2" fmla="*/ 170 w 512"/>
              <a:gd name="T3" fmla="*/ 394 h 512"/>
              <a:gd name="T4" fmla="*/ 160 w 512"/>
              <a:gd name="T5" fmla="*/ 384 h 512"/>
              <a:gd name="T6" fmla="*/ 170 w 512"/>
              <a:gd name="T7" fmla="*/ 373 h 512"/>
              <a:gd name="T8" fmla="*/ 181 w 512"/>
              <a:gd name="T9" fmla="*/ 384 h 512"/>
              <a:gd name="T10" fmla="*/ 256 w 512"/>
              <a:gd name="T11" fmla="*/ 373 h 512"/>
              <a:gd name="T12" fmla="*/ 245 w 512"/>
              <a:gd name="T13" fmla="*/ 384 h 512"/>
              <a:gd name="T14" fmla="*/ 256 w 512"/>
              <a:gd name="T15" fmla="*/ 394 h 512"/>
              <a:gd name="T16" fmla="*/ 266 w 512"/>
              <a:gd name="T17" fmla="*/ 384 h 512"/>
              <a:gd name="T18" fmla="*/ 256 w 512"/>
              <a:gd name="T19" fmla="*/ 373 h 512"/>
              <a:gd name="T20" fmla="*/ 256 w 512"/>
              <a:gd name="T21" fmla="*/ 117 h 512"/>
              <a:gd name="T22" fmla="*/ 245 w 512"/>
              <a:gd name="T23" fmla="*/ 128 h 512"/>
              <a:gd name="T24" fmla="*/ 256 w 512"/>
              <a:gd name="T25" fmla="*/ 138 h 512"/>
              <a:gd name="T26" fmla="*/ 266 w 512"/>
              <a:gd name="T27" fmla="*/ 128 h 512"/>
              <a:gd name="T28" fmla="*/ 256 w 512"/>
              <a:gd name="T29" fmla="*/ 117 h 512"/>
              <a:gd name="T30" fmla="*/ 341 w 512"/>
              <a:gd name="T31" fmla="*/ 373 h 512"/>
              <a:gd name="T32" fmla="*/ 330 w 512"/>
              <a:gd name="T33" fmla="*/ 384 h 512"/>
              <a:gd name="T34" fmla="*/ 341 w 512"/>
              <a:gd name="T35" fmla="*/ 394 h 512"/>
              <a:gd name="T36" fmla="*/ 352 w 512"/>
              <a:gd name="T37" fmla="*/ 384 h 512"/>
              <a:gd name="T38" fmla="*/ 341 w 512"/>
              <a:gd name="T39" fmla="*/ 373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373 w 512"/>
              <a:gd name="T51" fmla="*/ 384 h 512"/>
              <a:gd name="T52" fmla="*/ 352 w 512"/>
              <a:gd name="T53" fmla="*/ 354 h 512"/>
              <a:gd name="T54" fmla="*/ 352 w 512"/>
              <a:gd name="T55" fmla="*/ 277 h 512"/>
              <a:gd name="T56" fmla="*/ 320 w 512"/>
              <a:gd name="T57" fmla="*/ 245 h 512"/>
              <a:gd name="T58" fmla="*/ 266 w 512"/>
              <a:gd name="T59" fmla="*/ 245 h 512"/>
              <a:gd name="T60" fmla="*/ 266 w 512"/>
              <a:gd name="T61" fmla="*/ 158 h 512"/>
              <a:gd name="T62" fmla="*/ 288 w 512"/>
              <a:gd name="T63" fmla="*/ 128 h 512"/>
              <a:gd name="T64" fmla="*/ 256 w 512"/>
              <a:gd name="T65" fmla="*/ 96 h 512"/>
              <a:gd name="T66" fmla="*/ 224 w 512"/>
              <a:gd name="T67" fmla="*/ 128 h 512"/>
              <a:gd name="T68" fmla="*/ 245 w 512"/>
              <a:gd name="T69" fmla="*/ 158 h 512"/>
              <a:gd name="T70" fmla="*/ 245 w 512"/>
              <a:gd name="T71" fmla="*/ 245 h 512"/>
              <a:gd name="T72" fmla="*/ 192 w 512"/>
              <a:gd name="T73" fmla="*/ 245 h 512"/>
              <a:gd name="T74" fmla="*/ 160 w 512"/>
              <a:gd name="T75" fmla="*/ 277 h 512"/>
              <a:gd name="T76" fmla="*/ 160 w 512"/>
              <a:gd name="T77" fmla="*/ 354 h 512"/>
              <a:gd name="T78" fmla="*/ 138 w 512"/>
              <a:gd name="T79" fmla="*/ 384 h 512"/>
              <a:gd name="T80" fmla="*/ 170 w 512"/>
              <a:gd name="T81" fmla="*/ 416 h 512"/>
              <a:gd name="T82" fmla="*/ 202 w 512"/>
              <a:gd name="T83" fmla="*/ 384 h 512"/>
              <a:gd name="T84" fmla="*/ 181 w 512"/>
              <a:gd name="T85" fmla="*/ 354 h 512"/>
              <a:gd name="T86" fmla="*/ 181 w 512"/>
              <a:gd name="T87" fmla="*/ 277 h 512"/>
              <a:gd name="T88" fmla="*/ 192 w 512"/>
              <a:gd name="T89" fmla="*/ 266 h 512"/>
              <a:gd name="T90" fmla="*/ 245 w 512"/>
              <a:gd name="T91" fmla="*/ 266 h 512"/>
              <a:gd name="T92" fmla="*/ 245 w 512"/>
              <a:gd name="T93" fmla="*/ 354 h 512"/>
              <a:gd name="T94" fmla="*/ 224 w 512"/>
              <a:gd name="T95" fmla="*/ 384 h 512"/>
              <a:gd name="T96" fmla="*/ 256 w 512"/>
              <a:gd name="T97" fmla="*/ 416 h 512"/>
              <a:gd name="T98" fmla="*/ 288 w 512"/>
              <a:gd name="T99" fmla="*/ 384 h 512"/>
              <a:gd name="T100" fmla="*/ 266 w 512"/>
              <a:gd name="T101" fmla="*/ 354 h 512"/>
              <a:gd name="T102" fmla="*/ 266 w 512"/>
              <a:gd name="T103" fmla="*/ 266 h 512"/>
              <a:gd name="T104" fmla="*/ 320 w 512"/>
              <a:gd name="T105" fmla="*/ 266 h 512"/>
              <a:gd name="T106" fmla="*/ 330 w 512"/>
              <a:gd name="T107" fmla="*/ 277 h 512"/>
              <a:gd name="T108" fmla="*/ 330 w 512"/>
              <a:gd name="T109" fmla="*/ 354 h 512"/>
              <a:gd name="T110" fmla="*/ 309 w 512"/>
              <a:gd name="T111" fmla="*/ 384 h 512"/>
              <a:gd name="T112" fmla="*/ 341 w 512"/>
              <a:gd name="T113" fmla="*/ 416 h 512"/>
              <a:gd name="T114" fmla="*/ 373 w 512"/>
              <a:gd name="T115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81" y="384"/>
                </a:moveTo>
                <a:cubicBezTo>
                  <a:pt x="181" y="390"/>
                  <a:pt x="176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78"/>
                  <a:pt x="164" y="373"/>
                  <a:pt x="170" y="373"/>
                </a:cubicBezTo>
                <a:cubicBezTo>
                  <a:pt x="176" y="373"/>
                  <a:pt x="181" y="378"/>
                  <a:pt x="181" y="384"/>
                </a:cubicBezTo>
                <a:close/>
                <a:moveTo>
                  <a:pt x="256" y="373"/>
                </a:moveTo>
                <a:cubicBezTo>
                  <a:pt x="250" y="373"/>
                  <a:pt x="245" y="378"/>
                  <a:pt x="245" y="384"/>
                </a:cubicBezTo>
                <a:cubicBezTo>
                  <a:pt x="245" y="390"/>
                  <a:pt x="250" y="394"/>
                  <a:pt x="256" y="394"/>
                </a:cubicBezTo>
                <a:cubicBezTo>
                  <a:pt x="262" y="394"/>
                  <a:pt x="266" y="390"/>
                  <a:pt x="266" y="384"/>
                </a:cubicBezTo>
                <a:cubicBezTo>
                  <a:pt x="266" y="378"/>
                  <a:pt x="262" y="373"/>
                  <a:pt x="256" y="373"/>
                </a:cubicBezTo>
                <a:close/>
                <a:moveTo>
                  <a:pt x="256" y="117"/>
                </a:move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lose/>
                <a:moveTo>
                  <a:pt x="341" y="373"/>
                </a:moveTo>
                <a:cubicBezTo>
                  <a:pt x="335" y="373"/>
                  <a:pt x="330" y="378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378"/>
                  <a:pt x="347" y="373"/>
                  <a:pt x="341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384"/>
                </a:moveTo>
                <a:cubicBezTo>
                  <a:pt x="373" y="370"/>
                  <a:pt x="364" y="358"/>
                  <a:pt x="352" y="354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2" y="254"/>
                  <a:pt x="333" y="245"/>
                  <a:pt x="320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58"/>
                  <a:pt x="266" y="158"/>
                  <a:pt x="266" y="158"/>
                </a:cubicBezTo>
                <a:cubicBezTo>
                  <a:pt x="279" y="153"/>
                  <a:pt x="288" y="142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42"/>
                  <a:pt x="233" y="153"/>
                  <a:pt x="245" y="158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69" y="245"/>
                  <a:pt x="160" y="264"/>
                  <a:pt x="160" y="277"/>
                </a:cubicBezTo>
                <a:cubicBezTo>
                  <a:pt x="160" y="354"/>
                  <a:pt x="160" y="354"/>
                  <a:pt x="160" y="354"/>
                </a:cubicBezTo>
                <a:cubicBezTo>
                  <a:pt x="147" y="358"/>
                  <a:pt x="138" y="370"/>
                  <a:pt x="138" y="384"/>
                </a:cubicBezTo>
                <a:cubicBezTo>
                  <a:pt x="138" y="401"/>
                  <a:pt x="153" y="416"/>
                  <a:pt x="170" y="416"/>
                </a:cubicBezTo>
                <a:cubicBezTo>
                  <a:pt x="188" y="416"/>
                  <a:pt x="202" y="401"/>
                  <a:pt x="202" y="384"/>
                </a:cubicBezTo>
                <a:cubicBezTo>
                  <a:pt x="202" y="370"/>
                  <a:pt x="193" y="358"/>
                  <a:pt x="181" y="354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5"/>
                  <a:pt x="182" y="266"/>
                  <a:pt x="192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54"/>
                  <a:pt x="245" y="354"/>
                  <a:pt x="245" y="354"/>
                </a:cubicBezTo>
                <a:cubicBezTo>
                  <a:pt x="233" y="358"/>
                  <a:pt x="224" y="370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ubicBezTo>
                  <a:pt x="288" y="370"/>
                  <a:pt x="279" y="358"/>
                  <a:pt x="266" y="354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4" y="266"/>
                  <a:pt x="330" y="268"/>
                  <a:pt x="330" y="277"/>
                </a:cubicBezTo>
                <a:cubicBezTo>
                  <a:pt x="330" y="354"/>
                  <a:pt x="330" y="354"/>
                  <a:pt x="330" y="354"/>
                </a:cubicBezTo>
                <a:cubicBezTo>
                  <a:pt x="318" y="358"/>
                  <a:pt x="309" y="370"/>
                  <a:pt x="309" y="384"/>
                </a:cubicBezTo>
                <a:cubicBezTo>
                  <a:pt x="309" y="401"/>
                  <a:pt x="323" y="416"/>
                  <a:pt x="341" y="416"/>
                </a:cubicBezTo>
                <a:cubicBezTo>
                  <a:pt x="359" y="416"/>
                  <a:pt x="373" y="401"/>
                  <a:pt x="373" y="38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4094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General u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33388" y="248104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ptions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1417141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n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2412536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anet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4403326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Quote 2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3407931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Question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5398721" y="248104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adar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6397291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ainbow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7392686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cket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1466281" y="33215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oe print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470252" y="33215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ip wheel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2462310" y="3321513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alpha ascending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3446697" y="3321513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alpha descending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4445901" y="3321512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amount ascending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6437959" y="3321512"/>
            <a:ext cx="830792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numeric ascending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7433988" y="3321512"/>
            <a:ext cx="830792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numeric descending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5441930" y="3321512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ort amount descending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8430017" y="33215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aker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9383477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ser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388081" y="248104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ick list</a:t>
            </a:r>
          </a:p>
        </p:txBody>
      </p:sp>
      <p:sp>
        <p:nvSpPr>
          <p:cNvPr id="283" name="Freeform 97"/>
          <p:cNvSpPr>
            <a:spLocks noChangeAspect="1" noEditPoints="1"/>
          </p:cNvSpPr>
          <p:nvPr/>
        </p:nvSpPr>
        <p:spPr bwMode="auto">
          <a:xfrm>
            <a:off x="435439" y="2051054"/>
            <a:ext cx="369021" cy="369021"/>
          </a:xfrm>
          <a:custGeom>
            <a:avLst/>
            <a:gdLst>
              <a:gd name="T0" fmla="*/ 298 w 512"/>
              <a:gd name="T1" fmla="*/ 298 h 512"/>
              <a:gd name="T2" fmla="*/ 373 w 512"/>
              <a:gd name="T3" fmla="*/ 298 h 512"/>
              <a:gd name="T4" fmla="*/ 373 w 512"/>
              <a:gd name="T5" fmla="*/ 373 h 512"/>
              <a:gd name="T6" fmla="*/ 298 w 512"/>
              <a:gd name="T7" fmla="*/ 373 h 512"/>
              <a:gd name="T8" fmla="*/ 298 w 512"/>
              <a:gd name="T9" fmla="*/ 298 h 512"/>
              <a:gd name="T10" fmla="*/ 138 w 512"/>
              <a:gd name="T11" fmla="*/ 213 h 512"/>
              <a:gd name="T12" fmla="*/ 213 w 512"/>
              <a:gd name="T13" fmla="*/ 213 h 512"/>
              <a:gd name="T14" fmla="*/ 213 w 512"/>
              <a:gd name="T15" fmla="*/ 138 h 512"/>
              <a:gd name="T16" fmla="*/ 138 w 512"/>
              <a:gd name="T17" fmla="*/ 138 h 512"/>
              <a:gd name="T18" fmla="*/ 138 w 512"/>
              <a:gd name="T19" fmla="*/ 213 h 512"/>
              <a:gd name="T20" fmla="*/ 138 w 512"/>
              <a:gd name="T21" fmla="*/ 373 h 512"/>
              <a:gd name="T22" fmla="*/ 213 w 512"/>
              <a:gd name="T23" fmla="*/ 373 h 512"/>
              <a:gd name="T24" fmla="*/ 213 w 512"/>
              <a:gd name="T25" fmla="*/ 298 h 512"/>
              <a:gd name="T26" fmla="*/ 138 w 512"/>
              <a:gd name="T27" fmla="*/ 298 h 512"/>
              <a:gd name="T28" fmla="*/ 138 w 512"/>
              <a:gd name="T29" fmla="*/ 37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34 w 512"/>
              <a:gd name="T41" fmla="*/ 288 h 512"/>
              <a:gd name="T42" fmla="*/ 224 w 512"/>
              <a:gd name="T43" fmla="*/ 277 h 512"/>
              <a:gd name="T44" fmla="*/ 128 w 512"/>
              <a:gd name="T45" fmla="*/ 277 h 512"/>
              <a:gd name="T46" fmla="*/ 117 w 512"/>
              <a:gd name="T47" fmla="*/ 288 h 512"/>
              <a:gd name="T48" fmla="*/ 117 w 512"/>
              <a:gd name="T49" fmla="*/ 384 h 512"/>
              <a:gd name="T50" fmla="*/ 128 w 512"/>
              <a:gd name="T51" fmla="*/ 394 h 512"/>
              <a:gd name="T52" fmla="*/ 224 w 512"/>
              <a:gd name="T53" fmla="*/ 394 h 512"/>
              <a:gd name="T54" fmla="*/ 234 w 512"/>
              <a:gd name="T55" fmla="*/ 384 h 512"/>
              <a:gd name="T56" fmla="*/ 234 w 512"/>
              <a:gd name="T57" fmla="*/ 288 h 512"/>
              <a:gd name="T58" fmla="*/ 234 w 512"/>
              <a:gd name="T59" fmla="*/ 128 h 512"/>
              <a:gd name="T60" fmla="*/ 224 w 512"/>
              <a:gd name="T61" fmla="*/ 117 h 512"/>
              <a:gd name="T62" fmla="*/ 128 w 512"/>
              <a:gd name="T63" fmla="*/ 117 h 512"/>
              <a:gd name="T64" fmla="*/ 117 w 512"/>
              <a:gd name="T65" fmla="*/ 128 h 512"/>
              <a:gd name="T66" fmla="*/ 117 w 512"/>
              <a:gd name="T67" fmla="*/ 224 h 512"/>
              <a:gd name="T68" fmla="*/ 128 w 512"/>
              <a:gd name="T69" fmla="*/ 234 h 512"/>
              <a:gd name="T70" fmla="*/ 224 w 512"/>
              <a:gd name="T71" fmla="*/ 234 h 512"/>
              <a:gd name="T72" fmla="*/ 234 w 512"/>
              <a:gd name="T73" fmla="*/ 224 h 512"/>
              <a:gd name="T74" fmla="*/ 234 w 512"/>
              <a:gd name="T75" fmla="*/ 128 h 512"/>
              <a:gd name="T76" fmla="*/ 394 w 512"/>
              <a:gd name="T77" fmla="*/ 288 h 512"/>
              <a:gd name="T78" fmla="*/ 384 w 512"/>
              <a:gd name="T79" fmla="*/ 277 h 512"/>
              <a:gd name="T80" fmla="*/ 288 w 512"/>
              <a:gd name="T81" fmla="*/ 277 h 512"/>
              <a:gd name="T82" fmla="*/ 277 w 512"/>
              <a:gd name="T83" fmla="*/ 288 h 512"/>
              <a:gd name="T84" fmla="*/ 277 w 512"/>
              <a:gd name="T85" fmla="*/ 384 h 512"/>
              <a:gd name="T86" fmla="*/ 288 w 512"/>
              <a:gd name="T87" fmla="*/ 394 h 512"/>
              <a:gd name="T88" fmla="*/ 384 w 512"/>
              <a:gd name="T89" fmla="*/ 394 h 512"/>
              <a:gd name="T90" fmla="*/ 394 w 512"/>
              <a:gd name="T91" fmla="*/ 384 h 512"/>
              <a:gd name="T92" fmla="*/ 394 w 512"/>
              <a:gd name="T93" fmla="*/ 288 h 512"/>
              <a:gd name="T94" fmla="*/ 394 w 512"/>
              <a:gd name="T95" fmla="*/ 128 h 512"/>
              <a:gd name="T96" fmla="*/ 384 w 512"/>
              <a:gd name="T97" fmla="*/ 117 h 512"/>
              <a:gd name="T98" fmla="*/ 288 w 512"/>
              <a:gd name="T99" fmla="*/ 117 h 512"/>
              <a:gd name="T100" fmla="*/ 277 w 512"/>
              <a:gd name="T101" fmla="*/ 128 h 512"/>
              <a:gd name="T102" fmla="*/ 277 w 512"/>
              <a:gd name="T103" fmla="*/ 224 h 512"/>
              <a:gd name="T104" fmla="*/ 288 w 512"/>
              <a:gd name="T105" fmla="*/ 234 h 512"/>
              <a:gd name="T106" fmla="*/ 384 w 512"/>
              <a:gd name="T107" fmla="*/ 234 h 512"/>
              <a:gd name="T108" fmla="*/ 394 w 512"/>
              <a:gd name="T109" fmla="*/ 224 h 512"/>
              <a:gd name="T110" fmla="*/ 394 w 512"/>
              <a:gd name="T111" fmla="*/ 128 h 512"/>
              <a:gd name="T112" fmla="*/ 298 w 512"/>
              <a:gd name="T113" fmla="*/ 213 h 512"/>
              <a:gd name="T114" fmla="*/ 373 w 512"/>
              <a:gd name="T115" fmla="*/ 213 h 512"/>
              <a:gd name="T116" fmla="*/ 373 w 512"/>
              <a:gd name="T117" fmla="*/ 138 h 512"/>
              <a:gd name="T118" fmla="*/ 298 w 512"/>
              <a:gd name="T119" fmla="*/ 138 h 512"/>
              <a:gd name="T120" fmla="*/ 298 w 512"/>
              <a:gd name="T121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373" y="298"/>
                  <a:pt x="373" y="298"/>
                  <a:pt x="373" y="298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298" y="373"/>
                  <a:pt x="298" y="373"/>
                  <a:pt x="298" y="373"/>
                </a:cubicBezTo>
                <a:lnTo>
                  <a:pt x="298" y="298"/>
                </a:lnTo>
                <a:close/>
                <a:moveTo>
                  <a:pt x="138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213"/>
                </a:lnTo>
                <a:close/>
                <a:moveTo>
                  <a:pt x="138" y="373"/>
                </a:moveTo>
                <a:cubicBezTo>
                  <a:pt x="213" y="373"/>
                  <a:pt x="213" y="373"/>
                  <a:pt x="213" y="373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138" y="298"/>
                  <a:pt x="138" y="298"/>
                  <a:pt x="138" y="298"/>
                </a:cubicBezTo>
                <a:lnTo>
                  <a:pt x="138" y="3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4" y="288"/>
                </a:moveTo>
                <a:cubicBezTo>
                  <a:pt x="234" y="282"/>
                  <a:pt x="230" y="277"/>
                  <a:pt x="224" y="277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2" y="277"/>
                  <a:pt x="117" y="282"/>
                  <a:pt x="117" y="28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lnTo>
                  <a:pt x="234" y="288"/>
                </a:lnTo>
                <a:close/>
                <a:moveTo>
                  <a:pt x="234" y="128"/>
                </a:moveTo>
                <a:cubicBezTo>
                  <a:pt x="234" y="122"/>
                  <a:pt x="230" y="117"/>
                  <a:pt x="22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30"/>
                  <a:pt x="122" y="234"/>
                  <a:pt x="128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30" y="234"/>
                  <a:pt x="234" y="230"/>
                  <a:pt x="234" y="224"/>
                </a:cubicBezTo>
                <a:lnTo>
                  <a:pt x="234" y="128"/>
                </a:lnTo>
                <a:close/>
                <a:moveTo>
                  <a:pt x="394" y="288"/>
                </a:moveTo>
                <a:cubicBezTo>
                  <a:pt x="394" y="282"/>
                  <a:pt x="390" y="277"/>
                  <a:pt x="384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2" y="277"/>
                  <a:pt x="277" y="282"/>
                  <a:pt x="277" y="288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88"/>
                </a:ln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22"/>
                  <a:pt x="277" y="128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30"/>
                  <a:pt x="282" y="234"/>
                  <a:pt x="288" y="234"/>
                </a:cubicBezTo>
                <a:cubicBezTo>
                  <a:pt x="384" y="234"/>
                  <a:pt x="384" y="234"/>
                  <a:pt x="384" y="234"/>
                </a:cubicBezTo>
                <a:cubicBezTo>
                  <a:pt x="390" y="234"/>
                  <a:pt x="394" y="230"/>
                  <a:pt x="394" y="224"/>
                </a:cubicBezTo>
                <a:lnTo>
                  <a:pt x="394" y="128"/>
                </a:lnTo>
                <a:close/>
                <a:moveTo>
                  <a:pt x="298" y="213"/>
                </a:moveTo>
                <a:cubicBezTo>
                  <a:pt x="373" y="213"/>
                  <a:pt x="373" y="213"/>
                  <a:pt x="373" y="21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298" y="138"/>
                  <a:pt x="298" y="138"/>
                  <a:pt x="298" y="138"/>
                </a:cubicBezTo>
                <a:lnTo>
                  <a:pt x="298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4" name="Group 100"/>
          <p:cNvGrpSpPr>
            <a:grpSpLocks noChangeAspect="1"/>
          </p:cNvGrpSpPr>
          <p:nvPr/>
        </p:nvGrpSpPr>
        <p:grpSpPr bwMode="auto">
          <a:xfrm>
            <a:off x="932023" y="2051054"/>
            <a:ext cx="369021" cy="369021"/>
            <a:chOff x="374" y="351"/>
            <a:chExt cx="340" cy="340"/>
          </a:xfrm>
          <a:solidFill>
            <a:schemeClr val="accent2"/>
          </a:solidFill>
        </p:grpSpPr>
        <p:sp>
          <p:nvSpPr>
            <p:cNvPr id="285" name="Freeform 101"/>
            <p:cNvSpPr>
              <a:spLocks noEditPoints="1"/>
            </p:cNvSpPr>
            <p:nvPr/>
          </p:nvSpPr>
          <p:spPr bwMode="auto">
            <a:xfrm>
              <a:off x="374" y="3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102"/>
            <p:cNvSpPr>
              <a:spLocks noEditPoints="1"/>
            </p:cNvSpPr>
            <p:nvPr/>
          </p:nvSpPr>
          <p:spPr bwMode="auto">
            <a:xfrm>
              <a:off x="452" y="429"/>
              <a:ext cx="77" cy="77"/>
            </a:xfrm>
            <a:custGeom>
              <a:avLst/>
              <a:gdLst>
                <a:gd name="T0" fmla="*/ 107 w 117"/>
                <a:gd name="T1" fmla="*/ 0 h 117"/>
                <a:gd name="T2" fmla="*/ 11 w 117"/>
                <a:gd name="T3" fmla="*/ 0 h 117"/>
                <a:gd name="T4" fmla="*/ 0 w 117"/>
                <a:gd name="T5" fmla="*/ 11 h 117"/>
                <a:gd name="T6" fmla="*/ 0 w 117"/>
                <a:gd name="T7" fmla="*/ 107 h 117"/>
                <a:gd name="T8" fmla="*/ 11 w 117"/>
                <a:gd name="T9" fmla="*/ 117 h 117"/>
                <a:gd name="T10" fmla="*/ 107 w 117"/>
                <a:gd name="T11" fmla="*/ 117 h 117"/>
                <a:gd name="T12" fmla="*/ 117 w 117"/>
                <a:gd name="T13" fmla="*/ 107 h 117"/>
                <a:gd name="T14" fmla="*/ 117 w 117"/>
                <a:gd name="T15" fmla="*/ 11 h 117"/>
                <a:gd name="T16" fmla="*/ 107 w 117"/>
                <a:gd name="T17" fmla="*/ 0 h 117"/>
                <a:gd name="T18" fmla="*/ 96 w 117"/>
                <a:gd name="T19" fmla="*/ 96 h 117"/>
                <a:gd name="T20" fmla="*/ 21 w 117"/>
                <a:gd name="T21" fmla="*/ 96 h 117"/>
                <a:gd name="T22" fmla="*/ 21 w 117"/>
                <a:gd name="T23" fmla="*/ 21 h 117"/>
                <a:gd name="T24" fmla="*/ 96 w 117"/>
                <a:gd name="T25" fmla="*/ 21 h 117"/>
                <a:gd name="T26" fmla="*/ 96 w 117"/>
                <a:gd name="T27" fmla="*/ 9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7">
                  <a:moveTo>
                    <a:pt x="10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3"/>
                    <a:pt x="5" y="117"/>
                    <a:pt x="11" y="117"/>
                  </a:cubicBezTo>
                  <a:cubicBezTo>
                    <a:pt x="107" y="117"/>
                    <a:pt x="107" y="117"/>
                    <a:pt x="107" y="117"/>
                  </a:cubicBezTo>
                  <a:cubicBezTo>
                    <a:pt x="113" y="117"/>
                    <a:pt x="117" y="113"/>
                    <a:pt x="117" y="107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13" y="0"/>
                    <a:pt x="107" y="0"/>
                  </a:cubicBezTo>
                  <a:close/>
                  <a:moveTo>
                    <a:pt x="96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96" y="21"/>
                    <a:pt x="96" y="21"/>
                    <a:pt x="96" y="21"/>
                  </a:cubicBezTo>
                  <a:lnTo>
                    <a:pt x="9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103"/>
            <p:cNvSpPr>
              <a:spLocks noEditPoints="1"/>
            </p:cNvSpPr>
            <p:nvPr/>
          </p:nvSpPr>
          <p:spPr bwMode="auto">
            <a:xfrm>
              <a:off x="558" y="429"/>
              <a:ext cx="78" cy="77"/>
            </a:xfrm>
            <a:custGeom>
              <a:avLst/>
              <a:gdLst>
                <a:gd name="T0" fmla="*/ 107 w 117"/>
                <a:gd name="T1" fmla="*/ 0 h 117"/>
                <a:gd name="T2" fmla="*/ 11 w 117"/>
                <a:gd name="T3" fmla="*/ 0 h 117"/>
                <a:gd name="T4" fmla="*/ 0 w 117"/>
                <a:gd name="T5" fmla="*/ 11 h 117"/>
                <a:gd name="T6" fmla="*/ 0 w 117"/>
                <a:gd name="T7" fmla="*/ 107 h 117"/>
                <a:gd name="T8" fmla="*/ 11 w 117"/>
                <a:gd name="T9" fmla="*/ 117 h 117"/>
                <a:gd name="T10" fmla="*/ 107 w 117"/>
                <a:gd name="T11" fmla="*/ 117 h 117"/>
                <a:gd name="T12" fmla="*/ 117 w 117"/>
                <a:gd name="T13" fmla="*/ 107 h 117"/>
                <a:gd name="T14" fmla="*/ 117 w 117"/>
                <a:gd name="T15" fmla="*/ 11 h 117"/>
                <a:gd name="T16" fmla="*/ 107 w 117"/>
                <a:gd name="T17" fmla="*/ 0 h 117"/>
                <a:gd name="T18" fmla="*/ 96 w 117"/>
                <a:gd name="T19" fmla="*/ 96 h 117"/>
                <a:gd name="T20" fmla="*/ 21 w 117"/>
                <a:gd name="T21" fmla="*/ 96 h 117"/>
                <a:gd name="T22" fmla="*/ 21 w 117"/>
                <a:gd name="T23" fmla="*/ 21 h 117"/>
                <a:gd name="T24" fmla="*/ 96 w 117"/>
                <a:gd name="T25" fmla="*/ 21 h 117"/>
                <a:gd name="T26" fmla="*/ 96 w 117"/>
                <a:gd name="T27" fmla="*/ 9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7">
                  <a:moveTo>
                    <a:pt x="10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3"/>
                    <a:pt x="5" y="117"/>
                    <a:pt x="11" y="117"/>
                  </a:cubicBezTo>
                  <a:cubicBezTo>
                    <a:pt x="107" y="117"/>
                    <a:pt x="107" y="117"/>
                    <a:pt x="107" y="117"/>
                  </a:cubicBezTo>
                  <a:cubicBezTo>
                    <a:pt x="113" y="117"/>
                    <a:pt x="117" y="113"/>
                    <a:pt x="117" y="107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13" y="0"/>
                    <a:pt x="107" y="0"/>
                  </a:cubicBezTo>
                  <a:close/>
                  <a:moveTo>
                    <a:pt x="96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96" y="21"/>
                    <a:pt x="96" y="21"/>
                    <a:pt x="96" y="21"/>
                  </a:cubicBezTo>
                  <a:lnTo>
                    <a:pt x="9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104"/>
            <p:cNvSpPr>
              <a:spLocks noEditPoints="1"/>
            </p:cNvSpPr>
            <p:nvPr/>
          </p:nvSpPr>
          <p:spPr bwMode="auto">
            <a:xfrm>
              <a:off x="452" y="535"/>
              <a:ext cx="77" cy="78"/>
            </a:xfrm>
            <a:custGeom>
              <a:avLst/>
              <a:gdLst>
                <a:gd name="T0" fmla="*/ 107 w 117"/>
                <a:gd name="T1" fmla="*/ 0 h 117"/>
                <a:gd name="T2" fmla="*/ 11 w 117"/>
                <a:gd name="T3" fmla="*/ 0 h 117"/>
                <a:gd name="T4" fmla="*/ 0 w 117"/>
                <a:gd name="T5" fmla="*/ 11 h 117"/>
                <a:gd name="T6" fmla="*/ 0 w 117"/>
                <a:gd name="T7" fmla="*/ 107 h 117"/>
                <a:gd name="T8" fmla="*/ 11 w 117"/>
                <a:gd name="T9" fmla="*/ 117 h 117"/>
                <a:gd name="T10" fmla="*/ 107 w 117"/>
                <a:gd name="T11" fmla="*/ 117 h 117"/>
                <a:gd name="T12" fmla="*/ 117 w 117"/>
                <a:gd name="T13" fmla="*/ 107 h 117"/>
                <a:gd name="T14" fmla="*/ 117 w 117"/>
                <a:gd name="T15" fmla="*/ 11 h 117"/>
                <a:gd name="T16" fmla="*/ 107 w 117"/>
                <a:gd name="T17" fmla="*/ 0 h 117"/>
                <a:gd name="T18" fmla="*/ 96 w 117"/>
                <a:gd name="T19" fmla="*/ 96 h 117"/>
                <a:gd name="T20" fmla="*/ 21 w 117"/>
                <a:gd name="T21" fmla="*/ 96 h 117"/>
                <a:gd name="T22" fmla="*/ 21 w 117"/>
                <a:gd name="T23" fmla="*/ 21 h 117"/>
                <a:gd name="T24" fmla="*/ 96 w 117"/>
                <a:gd name="T25" fmla="*/ 21 h 117"/>
                <a:gd name="T26" fmla="*/ 96 w 117"/>
                <a:gd name="T27" fmla="*/ 9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7">
                  <a:moveTo>
                    <a:pt x="10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3"/>
                    <a:pt x="5" y="117"/>
                    <a:pt x="11" y="117"/>
                  </a:cubicBezTo>
                  <a:cubicBezTo>
                    <a:pt x="107" y="117"/>
                    <a:pt x="107" y="117"/>
                    <a:pt x="107" y="117"/>
                  </a:cubicBezTo>
                  <a:cubicBezTo>
                    <a:pt x="113" y="117"/>
                    <a:pt x="117" y="113"/>
                    <a:pt x="117" y="107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13" y="0"/>
                    <a:pt x="107" y="0"/>
                  </a:cubicBezTo>
                  <a:close/>
                  <a:moveTo>
                    <a:pt x="96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96" y="21"/>
                    <a:pt x="96" y="21"/>
                    <a:pt x="96" y="21"/>
                  </a:cubicBezTo>
                  <a:lnTo>
                    <a:pt x="9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105"/>
            <p:cNvSpPr>
              <a:spLocks noEditPoints="1"/>
            </p:cNvSpPr>
            <p:nvPr/>
          </p:nvSpPr>
          <p:spPr bwMode="auto">
            <a:xfrm>
              <a:off x="558" y="535"/>
              <a:ext cx="78" cy="78"/>
            </a:xfrm>
            <a:custGeom>
              <a:avLst/>
              <a:gdLst>
                <a:gd name="T0" fmla="*/ 107 w 117"/>
                <a:gd name="T1" fmla="*/ 0 h 117"/>
                <a:gd name="T2" fmla="*/ 11 w 117"/>
                <a:gd name="T3" fmla="*/ 0 h 117"/>
                <a:gd name="T4" fmla="*/ 0 w 117"/>
                <a:gd name="T5" fmla="*/ 11 h 117"/>
                <a:gd name="T6" fmla="*/ 0 w 117"/>
                <a:gd name="T7" fmla="*/ 107 h 117"/>
                <a:gd name="T8" fmla="*/ 11 w 117"/>
                <a:gd name="T9" fmla="*/ 117 h 117"/>
                <a:gd name="T10" fmla="*/ 107 w 117"/>
                <a:gd name="T11" fmla="*/ 117 h 117"/>
                <a:gd name="T12" fmla="*/ 117 w 117"/>
                <a:gd name="T13" fmla="*/ 107 h 117"/>
                <a:gd name="T14" fmla="*/ 117 w 117"/>
                <a:gd name="T15" fmla="*/ 11 h 117"/>
                <a:gd name="T16" fmla="*/ 107 w 117"/>
                <a:gd name="T17" fmla="*/ 0 h 117"/>
                <a:gd name="T18" fmla="*/ 96 w 117"/>
                <a:gd name="T19" fmla="*/ 96 h 117"/>
                <a:gd name="T20" fmla="*/ 21 w 117"/>
                <a:gd name="T21" fmla="*/ 96 h 117"/>
                <a:gd name="T22" fmla="*/ 21 w 117"/>
                <a:gd name="T23" fmla="*/ 21 h 117"/>
                <a:gd name="T24" fmla="*/ 96 w 117"/>
                <a:gd name="T25" fmla="*/ 21 h 117"/>
                <a:gd name="T26" fmla="*/ 96 w 117"/>
                <a:gd name="T27" fmla="*/ 9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7">
                  <a:moveTo>
                    <a:pt x="10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3"/>
                    <a:pt x="5" y="117"/>
                    <a:pt x="11" y="117"/>
                  </a:cubicBezTo>
                  <a:cubicBezTo>
                    <a:pt x="107" y="117"/>
                    <a:pt x="107" y="117"/>
                    <a:pt x="107" y="117"/>
                  </a:cubicBezTo>
                  <a:cubicBezTo>
                    <a:pt x="113" y="117"/>
                    <a:pt x="117" y="113"/>
                    <a:pt x="117" y="107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13" y="0"/>
                    <a:pt x="107" y="0"/>
                  </a:cubicBezTo>
                  <a:close/>
                  <a:moveTo>
                    <a:pt x="96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96" y="21"/>
                    <a:pt x="96" y="21"/>
                    <a:pt x="96" y="21"/>
                  </a:cubicBezTo>
                  <a:lnTo>
                    <a:pt x="96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0" name="Group 300"/>
          <p:cNvGrpSpPr>
            <a:grpSpLocks noChangeAspect="1"/>
          </p:cNvGrpSpPr>
          <p:nvPr/>
        </p:nvGrpSpPr>
        <p:grpSpPr bwMode="auto">
          <a:xfrm>
            <a:off x="2918359" y="2051054"/>
            <a:ext cx="369021" cy="369021"/>
            <a:chOff x="7355" y="1177"/>
            <a:chExt cx="340" cy="340"/>
          </a:xfrm>
          <a:solidFill>
            <a:schemeClr val="accent4"/>
          </a:solidFill>
        </p:grpSpPr>
        <p:sp>
          <p:nvSpPr>
            <p:cNvPr id="291" name="Freeform 301"/>
            <p:cNvSpPr>
              <a:spLocks noEditPoints="1"/>
            </p:cNvSpPr>
            <p:nvPr/>
          </p:nvSpPr>
          <p:spPr bwMode="auto">
            <a:xfrm>
              <a:off x="7419" y="1271"/>
              <a:ext cx="208" cy="146"/>
            </a:xfrm>
            <a:custGeom>
              <a:avLst/>
              <a:gdLst>
                <a:gd name="T0" fmla="*/ 307 w 314"/>
                <a:gd name="T1" fmla="*/ 53 h 221"/>
                <a:gd name="T2" fmla="*/ 232 w 314"/>
                <a:gd name="T3" fmla="*/ 36 h 221"/>
                <a:gd name="T4" fmla="*/ 122 w 314"/>
                <a:gd name="T5" fmla="*/ 15 h 221"/>
                <a:gd name="T6" fmla="*/ 54 w 314"/>
                <a:gd name="T7" fmla="*/ 104 h 221"/>
                <a:gd name="T8" fmla="*/ 8 w 314"/>
                <a:gd name="T9" fmla="*/ 167 h 221"/>
                <a:gd name="T10" fmla="*/ 53 w 314"/>
                <a:gd name="T11" fmla="*/ 186 h 221"/>
                <a:gd name="T12" fmla="*/ 79 w 314"/>
                <a:gd name="T13" fmla="*/ 184 h 221"/>
                <a:gd name="T14" fmla="*/ 160 w 314"/>
                <a:gd name="T15" fmla="*/ 221 h 221"/>
                <a:gd name="T16" fmla="*/ 198 w 314"/>
                <a:gd name="T17" fmla="*/ 214 h 221"/>
                <a:gd name="T18" fmla="*/ 266 w 314"/>
                <a:gd name="T19" fmla="*/ 112 h 221"/>
                <a:gd name="T20" fmla="*/ 307 w 314"/>
                <a:gd name="T21" fmla="*/ 53 h 221"/>
                <a:gd name="T22" fmla="*/ 129 w 314"/>
                <a:gd name="T23" fmla="*/ 35 h 221"/>
                <a:gd name="T24" fmla="*/ 160 w 314"/>
                <a:gd name="T25" fmla="*/ 29 h 221"/>
                <a:gd name="T26" fmla="*/ 239 w 314"/>
                <a:gd name="T27" fmla="*/ 84 h 221"/>
                <a:gd name="T28" fmla="*/ 239 w 314"/>
                <a:gd name="T29" fmla="*/ 84 h 221"/>
                <a:gd name="T30" fmla="*/ 244 w 314"/>
                <a:gd name="T31" fmla="*/ 101 h 221"/>
                <a:gd name="T32" fmla="*/ 168 w 314"/>
                <a:gd name="T33" fmla="*/ 138 h 221"/>
                <a:gd name="T34" fmla="*/ 88 w 314"/>
                <a:gd name="T35" fmla="*/ 161 h 221"/>
                <a:gd name="T36" fmla="*/ 80 w 314"/>
                <a:gd name="T37" fmla="*/ 145 h 221"/>
                <a:gd name="T38" fmla="*/ 129 w 314"/>
                <a:gd name="T39" fmla="*/ 35 h 221"/>
                <a:gd name="T40" fmla="*/ 28 w 314"/>
                <a:gd name="T41" fmla="*/ 159 h 221"/>
                <a:gd name="T42" fmla="*/ 54 w 314"/>
                <a:gd name="T43" fmla="*/ 130 h 221"/>
                <a:gd name="T44" fmla="*/ 60 w 314"/>
                <a:gd name="T45" fmla="*/ 153 h 221"/>
                <a:gd name="T46" fmla="*/ 65 w 314"/>
                <a:gd name="T47" fmla="*/ 164 h 221"/>
                <a:gd name="T48" fmla="*/ 28 w 314"/>
                <a:gd name="T49" fmla="*/ 159 h 221"/>
                <a:gd name="T50" fmla="*/ 190 w 314"/>
                <a:gd name="T51" fmla="*/ 194 h 221"/>
                <a:gd name="T52" fmla="*/ 104 w 314"/>
                <a:gd name="T53" fmla="*/ 179 h 221"/>
                <a:gd name="T54" fmla="*/ 176 w 314"/>
                <a:gd name="T55" fmla="*/ 158 h 221"/>
                <a:gd name="T56" fmla="*/ 244 w 314"/>
                <a:gd name="T57" fmla="*/ 126 h 221"/>
                <a:gd name="T58" fmla="*/ 190 w 314"/>
                <a:gd name="T59" fmla="*/ 194 h 221"/>
                <a:gd name="T60" fmla="*/ 263 w 314"/>
                <a:gd name="T61" fmla="*/ 88 h 221"/>
                <a:gd name="T62" fmla="*/ 259 w 314"/>
                <a:gd name="T63" fmla="*/ 76 h 221"/>
                <a:gd name="T64" fmla="*/ 259 w 314"/>
                <a:gd name="T65" fmla="*/ 76 h 221"/>
                <a:gd name="T66" fmla="*/ 248 w 314"/>
                <a:gd name="T67" fmla="*/ 55 h 221"/>
                <a:gd name="T68" fmla="*/ 287 w 314"/>
                <a:gd name="T69" fmla="*/ 60 h 221"/>
                <a:gd name="T70" fmla="*/ 263 w 314"/>
                <a:gd name="T71" fmla="*/ 8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4" h="221">
                  <a:moveTo>
                    <a:pt x="307" y="53"/>
                  </a:moveTo>
                  <a:cubicBezTo>
                    <a:pt x="299" y="31"/>
                    <a:pt x="263" y="31"/>
                    <a:pt x="232" y="36"/>
                  </a:cubicBezTo>
                  <a:cubicBezTo>
                    <a:pt x="203" y="10"/>
                    <a:pt x="161" y="0"/>
                    <a:pt x="122" y="15"/>
                  </a:cubicBezTo>
                  <a:cubicBezTo>
                    <a:pt x="83" y="30"/>
                    <a:pt x="58" y="65"/>
                    <a:pt x="54" y="104"/>
                  </a:cubicBezTo>
                  <a:cubicBezTo>
                    <a:pt x="27" y="122"/>
                    <a:pt x="0" y="145"/>
                    <a:pt x="8" y="167"/>
                  </a:cubicBezTo>
                  <a:cubicBezTo>
                    <a:pt x="13" y="180"/>
                    <a:pt x="30" y="186"/>
                    <a:pt x="53" y="186"/>
                  </a:cubicBezTo>
                  <a:cubicBezTo>
                    <a:pt x="61" y="186"/>
                    <a:pt x="70" y="185"/>
                    <a:pt x="79" y="184"/>
                  </a:cubicBezTo>
                  <a:cubicBezTo>
                    <a:pt x="99" y="208"/>
                    <a:pt x="129" y="221"/>
                    <a:pt x="160" y="221"/>
                  </a:cubicBezTo>
                  <a:cubicBezTo>
                    <a:pt x="172" y="221"/>
                    <a:pt x="185" y="219"/>
                    <a:pt x="198" y="214"/>
                  </a:cubicBezTo>
                  <a:cubicBezTo>
                    <a:pt x="241" y="198"/>
                    <a:pt x="267" y="156"/>
                    <a:pt x="266" y="112"/>
                  </a:cubicBezTo>
                  <a:cubicBezTo>
                    <a:pt x="296" y="92"/>
                    <a:pt x="314" y="71"/>
                    <a:pt x="307" y="53"/>
                  </a:cubicBezTo>
                  <a:close/>
                  <a:moveTo>
                    <a:pt x="129" y="35"/>
                  </a:moveTo>
                  <a:cubicBezTo>
                    <a:pt x="139" y="31"/>
                    <a:pt x="149" y="29"/>
                    <a:pt x="160" y="29"/>
                  </a:cubicBezTo>
                  <a:cubicBezTo>
                    <a:pt x="194" y="29"/>
                    <a:pt x="226" y="51"/>
                    <a:pt x="239" y="84"/>
                  </a:cubicBezTo>
                  <a:cubicBezTo>
                    <a:pt x="239" y="84"/>
                    <a:pt x="239" y="84"/>
                    <a:pt x="239" y="84"/>
                  </a:cubicBezTo>
                  <a:cubicBezTo>
                    <a:pt x="242" y="89"/>
                    <a:pt x="243" y="95"/>
                    <a:pt x="244" y="101"/>
                  </a:cubicBezTo>
                  <a:cubicBezTo>
                    <a:pt x="225" y="113"/>
                    <a:pt x="200" y="126"/>
                    <a:pt x="168" y="138"/>
                  </a:cubicBezTo>
                  <a:cubicBezTo>
                    <a:pt x="137" y="150"/>
                    <a:pt x="110" y="157"/>
                    <a:pt x="88" y="161"/>
                  </a:cubicBezTo>
                  <a:cubicBezTo>
                    <a:pt x="85" y="156"/>
                    <a:pt x="82" y="151"/>
                    <a:pt x="80" y="145"/>
                  </a:cubicBezTo>
                  <a:cubicBezTo>
                    <a:pt x="63" y="101"/>
                    <a:pt x="85" y="52"/>
                    <a:pt x="129" y="35"/>
                  </a:cubicBezTo>
                  <a:close/>
                  <a:moveTo>
                    <a:pt x="28" y="159"/>
                  </a:moveTo>
                  <a:cubicBezTo>
                    <a:pt x="27" y="157"/>
                    <a:pt x="32" y="146"/>
                    <a:pt x="54" y="130"/>
                  </a:cubicBezTo>
                  <a:cubicBezTo>
                    <a:pt x="55" y="137"/>
                    <a:pt x="57" y="145"/>
                    <a:pt x="60" y="153"/>
                  </a:cubicBezTo>
                  <a:cubicBezTo>
                    <a:pt x="61" y="157"/>
                    <a:pt x="63" y="160"/>
                    <a:pt x="65" y="164"/>
                  </a:cubicBezTo>
                  <a:cubicBezTo>
                    <a:pt x="43" y="166"/>
                    <a:pt x="30" y="163"/>
                    <a:pt x="28" y="159"/>
                  </a:cubicBezTo>
                  <a:close/>
                  <a:moveTo>
                    <a:pt x="190" y="194"/>
                  </a:moveTo>
                  <a:cubicBezTo>
                    <a:pt x="160" y="206"/>
                    <a:pt x="127" y="199"/>
                    <a:pt x="104" y="179"/>
                  </a:cubicBezTo>
                  <a:cubicBezTo>
                    <a:pt x="127" y="174"/>
                    <a:pt x="152" y="167"/>
                    <a:pt x="176" y="158"/>
                  </a:cubicBezTo>
                  <a:cubicBezTo>
                    <a:pt x="200" y="149"/>
                    <a:pt x="224" y="138"/>
                    <a:pt x="244" y="126"/>
                  </a:cubicBezTo>
                  <a:cubicBezTo>
                    <a:pt x="240" y="156"/>
                    <a:pt x="220" y="183"/>
                    <a:pt x="190" y="194"/>
                  </a:cubicBezTo>
                  <a:close/>
                  <a:moveTo>
                    <a:pt x="263" y="88"/>
                  </a:moveTo>
                  <a:cubicBezTo>
                    <a:pt x="262" y="84"/>
                    <a:pt x="261" y="80"/>
                    <a:pt x="259" y="76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56" y="69"/>
                    <a:pt x="253" y="62"/>
                    <a:pt x="248" y="55"/>
                  </a:cubicBezTo>
                  <a:cubicBezTo>
                    <a:pt x="275" y="53"/>
                    <a:pt x="286" y="57"/>
                    <a:pt x="287" y="60"/>
                  </a:cubicBezTo>
                  <a:cubicBezTo>
                    <a:pt x="289" y="64"/>
                    <a:pt x="281" y="74"/>
                    <a:pt x="263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302"/>
            <p:cNvSpPr>
              <a:spLocks noEditPoints="1"/>
            </p:cNvSpPr>
            <p:nvPr/>
          </p:nvSpPr>
          <p:spPr bwMode="auto">
            <a:xfrm>
              <a:off x="7355" y="11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3" name="Freeform 306"/>
          <p:cNvSpPr>
            <a:spLocks noChangeAspect="1" noEditPoints="1"/>
          </p:cNvSpPr>
          <p:nvPr/>
        </p:nvSpPr>
        <p:spPr bwMode="auto">
          <a:xfrm>
            <a:off x="2421775" y="2051054"/>
            <a:ext cx="369021" cy="369021"/>
          </a:xfrm>
          <a:custGeom>
            <a:avLst/>
            <a:gdLst>
              <a:gd name="T0" fmla="*/ 264 w 512"/>
              <a:gd name="T1" fmla="*/ 279 h 512"/>
              <a:gd name="T2" fmla="*/ 184 w 512"/>
              <a:gd name="T3" fmla="*/ 302 h 512"/>
              <a:gd name="T4" fmla="*/ 176 w 512"/>
              <a:gd name="T5" fmla="*/ 286 h 512"/>
              <a:gd name="T6" fmla="*/ 225 w 512"/>
              <a:gd name="T7" fmla="*/ 176 h 512"/>
              <a:gd name="T8" fmla="*/ 256 w 512"/>
              <a:gd name="T9" fmla="*/ 170 h 512"/>
              <a:gd name="T10" fmla="*/ 335 w 512"/>
              <a:gd name="T11" fmla="*/ 225 h 512"/>
              <a:gd name="T12" fmla="*/ 335 w 512"/>
              <a:gd name="T13" fmla="*/ 225 h 512"/>
              <a:gd name="T14" fmla="*/ 340 w 512"/>
              <a:gd name="T15" fmla="*/ 242 h 512"/>
              <a:gd name="T16" fmla="*/ 264 w 512"/>
              <a:gd name="T17" fmla="*/ 279 h 512"/>
              <a:gd name="T18" fmla="*/ 200 w 512"/>
              <a:gd name="T19" fmla="*/ 320 h 512"/>
              <a:gd name="T20" fmla="*/ 286 w 512"/>
              <a:gd name="T21" fmla="*/ 335 h 512"/>
              <a:gd name="T22" fmla="*/ 340 w 512"/>
              <a:gd name="T23" fmla="*/ 267 h 512"/>
              <a:gd name="T24" fmla="*/ 272 w 512"/>
              <a:gd name="T25" fmla="*/ 299 h 512"/>
              <a:gd name="T26" fmla="*/ 200 w 512"/>
              <a:gd name="T27" fmla="*/ 320 h 512"/>
              <a:gd name="T28" fmla="*/ 150 w 512"/>
              <a:gd name="T29" fmla="*/ 271 h 512"/>
              <a:gd name="T30" fmla="*/ 124 w 512"/>
              <a:gd name="T31" fmla="*/ 300 h 512"/>
              <a:gd name="T32" fmla="*/ 161 w 512"/>
              <a:gd name="T33" fmla="*/ 305 h 512"/>
              <a:gd name="T34" fmla="*/ 156 w 512"/>
              <a:gd name="T35" fmla="*/ 294 h 512"/>
              <a:gd name="T36" fmla="*/ 150 w 512"/>
              <a:gd name="T37" fmla="*/ 271 h 512"/>
              <a:gd name="T38" fmla="*/ 344 w 512"/>
              <a:gd name="T39" fmla="*/ 196 h 512"/>
              <a:gd name="T40" fmla="*/ 355 w 512"/>
              <a:gd name="T41" fmla="*/ 217 h 512"/>
              <a:gd name="T42" fmla="*/ 355 w 512"/>
              <a:gd name="T43" fmla="*/ 217 h 512"/>
              <a:gd name="T44" fmla="*/ 359 w 512"/>
              <a:gd name="T45" fmla="*/ 229 h 512"/>
              <a:gd name="T46" fmla="*/ 383 w 512"/>
              <a:gd name="T47" fmla="*/ 201 h 512"/>
              <a:gd name="T48" fmla="*/ 344 w 512"/>
              <a:gd name="T49" fmla="*/ 196 h 512"/>
              <a:gd name="T50" fmla="*/ 512 w 512"/>
              <a:gd name="T51" fmla="*/ 256 h 512"/>
              <a:gd name="T52" fmla="*/ 256 w 512"/>
              <a:gd name="T53" fmla="*/ 512 h 512"/>
              <a:gd name="T54" fmla="*/ 0 w 512"/>
              <a:gd name="T55" fmla="*/ 256 h 512"/>
              <a:gd name="T56" fmla="*/ 256 w 512"/>
              <a:gd name="T57" fmla="*/ 0 h 512"/>
              <a:gd name="T58" fmla="*/ 512 w 512"/>
              <a:gd name="T59" fmla="*/ 256 h 512"/>
              <a:gd name="T60" fmla="*/ 403 w 512"/>
              <a:gd name="T61" fmla="*/ 194 h 512"/>
              <a:gd name="T62" fmla="*/ 328 w 512"/>
              <a:gd name="T63" fmla="*/ 177 h 512"/>
              <a:gd name="T64" fmla="*/ 218 w 512"/>
              <a:gd name="T65" fmla="*/ 156 h 512"/>
              <a:gd name="T66" fmla="*/ 150 w 512"/>
              <a:gd name="T67" fmla="*/ 245 h 512"/>
              <a:gd name="T68" fmla="*/ 104 w 512"/>
              <a:gd name="T69" fmla="*/ 308 h 512"/>
              <a:gd name="T70" fmla="*/ 149 w 512"/>
              <a:gd name="T71" fmla="*/ 327 h 512"/>
              <a:gd name="T72" fmla="*/ 175 w 512"/>
              <a:gd name="T73" fmla="*/ 325 h 512"/>
              <a:gd name="T74" fmla="*/ 256 w 512"/>
              <a:gd name="T75" fmla="*/ 362 h 512"/>
              <a:gd name="T76" fmla="*/ 294 w 512"/>
              <a:gd name="T77" fmla="*/ 355 h 512"/>
              <a:gd name="T78" fmla="*/ 362 w 512"/>
              <a:gd name="T79" fmla="*/ 253 h 512"/>
              <a:gd name="T80" fmla="*/ 403 w 512"/>
              <a:gd name="T81" fmla="*/ 1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64" y="279"/>
                </a:moveTo>
                <a:cubicBezTo>
                  <a:pt x="233" y="291"/>
                  <a:pt x="206" y="298"/>
                  <a:pt x="184" y="302"/>
                </a:cubicBezTo>
                <a:cubicBezTo>
                  <a:pt x="181" y="297"/>
                  <a:pt x="178" y="292"/>
                  <a:pt x="176" y="286"/>
                </a:cubicBezTo>
                <a:cubicBezTo>
                  <a:pt x="159" y="242"/>
                  <a:pt x="181" y="193"/>
                  <a:pt x="225" y="176"/>
                </a:cubicBezTo>
                <a:cubicBezTo>
                  <a:pt x="235" y="172"/>
                  <a:pt x="245" y="170"/>
                  <a:pt x="256" y="170"/>
                </a:cubicBezTo>
                <a:cubicBezTo>
                  <a:pt x="290" y="170"/>
                  <a:pt x="322" y="192"/>
                  <a:pt x="335" y="225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8" y="230"/>
                  <a:pt x="339" y="236"/>
                  <a:pt x="340" y="242"/>
                </a:cubicBezTo>
                <a:cubicBezTo>
                  <a:pt x="321" y="254"/>
                  <a:pt x="296" y="267"/>
                  <a:pt x="264" y="279"/>
                </a:cubicBezTo>
                <a:close/>
                <a:moveTo>
                  <a:pt x="200" y="320"/>
                </a:moveTo>
                <a:cubicBezTo>
                  <a:pt x="223" y="340"/>
                  <a:pt x="256" y="347"/>
                  <a:pt x="286" y="335"/>
                </a:cubicBezTo>
                <a:cubicBezTo>
                  <a:pt x="316" y="324"/>
                  <a:pt x="336" y="297"/>
                  <a:pt x="340" y="267"/>
                </a:cubicBezTo>
                <a:cubicBezTo>
                  <a:pt x="320" y="279"/>
                  <a:pt x="296" y="290"/>
                  <a:pt x="272" y="299"/>
                </a:cubicBezTo>
                <a:cubicBezTo>
                  <a:pt x="248" y="308"/>
                  <a:pt x="223" y="315"/>
                  <a:pt x="200" y="320"/>
                </a:cubicBezTo>
                <a:close/>
                <a:moveTo>
                  <a:pt x="150" y="271"/>
                </a:moveTo>
                <a:cubicBezTo>
                  <a:pt x="128" y="287"/>
                  <a:pt x="123" y="298"/>
                  <a:pt x="124" y="300"/>
                </a:cubicBezTo>
                <a:cubicBezTo>
                  <a:pt x="126" y="304"/>
                  <a:pt x="139" y="307"/>
                  <a:pt x="161" y="305"/>
                </a:cubicBezTo>
                <a:cubicBezTo>
                  <a:pt x="159" y="301"/>
                  <a:pt x="157" y="298"/>
                  <a:pt x="156" y="294"/>
                </a:cubicBezTo>
                <a:cubicBezTo>
                  <a:pt x="153" y="286"/>
                  <a:pt x="151" y="278"/>
                  <a:pt x="150" y="271"/>
                </a:cubicBezTo>
                <a:close/>
                <a:moveTo>
                  <a:pt x="344" y="196"/>
                </a:moveTo>
                <a:cubicBezTo>
                  <a:pt x="349" y="203"/>
                  <a:pt x="352" y="210"/>
                  <a:pt x="355" y="217"/>
                </a:cubicBezTo>
                <a:cubicBezTo>
                  <a:pt x="355" y="217"/>
                  <a:pt x="355" y="217"/>
                  <a:pt x="355" y="217"/>
                </a:cubicBezTo>
                <a:cubicBezTo>
                  <a:pt x="357" y="221"/>
                  <a:pt x="358" y="225"/>
                  <a:pt x="359" y="229"/>
                </a:cubicBezTo>
                <a:cubicBezTo>
                  <a:pt x="377" y="215"/>
                  <a:pt x="385" y="205"/>
                  <a:pt x="383" y="201"/>
                </a:cubicBezTo>
                <a:cubicBezTo>
                  <a:pt x="382" y="198"/>
                  <a:pt x="371" y="194"/>
                  <a:pt x="344" y="19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3" y="194"/>
                </a:moveTo>
                <a:cubicBezTo>
                  <a:pt x="395" y="172"/>
                  <a:pt x="359" y="172"/>
                  <a:pt x="328" y="177"/>
                </a:cubicBezTo>
                <a:cubicBezTo>
                  <a:pt x="299" y="151"/>
                  <a:pt x="257" y="141"/>
                  <a:pt x="218" y="156"/>
                </a:cubicBezTo>
                <a:cubicBezTo>
                  <a:pt x="179" y="171"/>
                  <a:pt x="154" y="206"/>
                  <a:pt x="150" y="245"/>
                </a:cubicBezTo>
                <a:cubicBezTo>
                  <a:pt x="123" y="263"/>
                  <a:pt x="96" y="286"/>
                  <a:pt x="104" y="308"/>
                </a:cubicBezTo>
                <a:cubicBezTo>
                  <a:pt x="109" y="321"/>
                  <a:pt x="126" y="327"/>
                  <a:pt x="149" y="327"/>
                </a:cubicBezTo>
                <a:cubicBezTo>
                  <a:pt x="157" y="327"/>
                  <a:pt x="166" y="326"/>
                  <a:pt x="175" y="325"/>
                </a:cubicBezTo>
                <a:cubicBezTo>
                  <a:pt x="195" y="349"/>
                  <a:pt x="225" y="362"/>
                  <a:pt x="256" y="362"/>
                </a:cubicBezTo>
                <a:cubicBezTo>
                  <a:pt x="268" y="362"/>
                  <a:pt x="281" y="360"/>
                  <a:pt x="294" y="355"/>
                </a:cubicBezTo>
                <a:cubicBezTo>
                  <a:pt x="337" y="339"/>
                  <a:pt x="363" y="297"/>
                  <a:pt x="362" y="253"/>
                </a:cubicBezTo>
                <a:cubicBezTo>
                  <a:pt x="392" y="233"/>
                  <a:pt x="410" y="212"/>
                  <a:pt x="403" y="19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4" name="Group 318"/>
          <p:cNvGrpSpPr>
            <a:grpSpLocks noChangeAspect="1"/>
          </p:cNvGrpSpPr>
          <p:nvPr/>
        </p:nvGrpSpPr>
        <p:grpSpPr bwMode="auto">
          <a:xfrm>
            <a:off x="1925191" y="2051054"/>
            <a:ext cx="369021" cy="369021"/>
            <a:chOff x="5850" y="1203"/>
            <a:chExt cx="340" cy="340"/>
          </a:xfrm>
          <a:solidFill>
            <a:schemeClr val="accent4"/>
          </a:solidFill>
        </p:grpSpPr>
        <p:sp>
          <p:nvSpPr>
            <p:cNvPr id="295" name="Freeform 319"/>
            <p:cNvSpPr>
              <a:spLocks noEditPoints="1"/>
            </p:cNvSpPr>
            <p:nvPr/>
          </p:nvSpPr>
          <p:spPr bwMode="auto">
            <a:xfrm>
              <a:off x="5850" y="12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320"/>
            <p:cNvSpPr>
              <a:spLocks noEditPoints="1"/>
            </p:cNvSpPr>
            <p:nvPr/>
          </p:nvSpPr>
          <p:spPr bwMode="auto">
            <a:xfrm>
              <a:off x="5958" y="1265"/>
              <a:ext cx="137" cy="207"/>
            </a:xfrm>
            <a:custGeom>
              <a:avLst/>
              <a:gdLst>
                <a:gd name="T0" fmla="*/ 199 w 207"/>
                <a:gd name="T1" fmla="*/ 40 h 311"/>
                <a:gd name="T2" fmla="*/ 99 w 207"/>
                <a:gd name="T3" fmla="*/ 2 h 311"/>
                <a:gd name="T4" fmla="*/ 85 w 207"/>
                <a:gd name="T5" fmla="*/ 8 h 311"/>
                <a:gd name="T6" fmla="*/ 78 w 207"/>
                <a:gd name="T7" fmla="*/ 28 h 311"/>
                <a:gd name="T8" fmla="*/ 78 w 207"/>
                <a:gd name="T9" fmla="*/ 37 h 311"/>
                <a:gd name="T10" fmla="*/ 82 w 207"/>
                <a:gd name="T11" fmla="*/ 46 h 311"/>
                <a:gd name="T12" fmla="*/ 52 w 207"/>
                <a:gd name="T13" fmla="*/ 125 h 311"/>
                <a:gd name="T14" fmla="*/ 26 w 207"/>
                <a:gd name="T15" fmla="*/ 124 h 311"/>
                <a:gd name="T16" fmla="*/ 16 w 207"/>
                <a:gd name="T17" fmla="*/ 130 h 311"/>
                <a:gd name="T18" fmla="*/ 1 w 207"/>
                <a:gd name="T19" fmla="*/ 170 h 311"/>
                <a:gd name="T20" fmla="*/ 1 w 207"/>
                <a:gd name="T21" fmla="*/ 178 h 311"/>
                <a:gd name="T22" fmla="*/ 7 w 207"/>
                <a:gd name="T23" fmla="*/ 184 h 311"/>
                <a:gd name="T24" fmla="*/ 67 w 207"/>
                <a:gd name="T25" fmla="*/ 207 h 311"/>
                <a:gd name="T26" fmla="*/ 32 w 207"/>
                <a:gd name="T27" fmla="*/ 297 h 311"/>
                <a:gd name="T28" fmla="*/ 38 w 207"/>
                <a:gd name="T29" fmla="*/ 310 h 311"/>
                <a:gd name="T30" fmla="*/ 42 w 207"/>
                <a:gd name="T31" fmla="*/ 311 h 311"/>
                <a:gd name="T32" fmla="*/ 52 w 207"/>
                <a:gd name="T33" fmla="*/ 304 h 311"/>
                <a:gd name="T34" fmla="*/ 86 w 207"/>
                <a:gd name="T35" fmla="*/ 214 h 311"/>
                <a:gd name="T36" fmla="*/ 146 w 207"/>
                <a:gd name="T37" fmla="*/ 237 h 311"/>
                <a:gd name="T38" fmla="*/ 150 w 207"/>
                <a:gd name="T39" fmla="*/ 238 h 311"/>
                <a:gd name="T40" fmla="*/ 160 w 207"/>
                <a:gd name="T41" fmla="*/ 231 h 311"/>
                <a:gd name="T42" fmla="*/ 175 w 207"/>
                <a:gd name="T43" fmla="*/ 191 h 311"/>
                <a:gd name="T44" fmla="*/ 172 w 207"/>
                <a:gd name="T45" fmla="*/ 179 h 311"/>
                <a:gd name="T46" fmla="*/ 152 w 207"/>
                <a:gd name="T47" fmla="*/ 163 h 311"/>
                <a:gd name="T48" fmla="*/ 182 w 207"/>
                <a:gd name="T49" fmla="*/ 84 h 311"/>
                <a:gd name="T50" fmla="*/ 192 w 207"/>
                <a:gd name="T51" fmla="*/ 80 h 311"/>
                <a:gd name="T52" fmla="*/ 197 w 207"/>
                <a:gd name="T53" fmla="*/ 74 h 311"/>
                <a:gd name="T54" fmla="*/ 205 w 207"/>
                <a:gd name="T55" fmla="*/ 54 h 311"/>
                <a:gd name="T56" fmla="*/ 199 w 207"/>
                <a:gd name="T57" fmla="*/ 40 h 311"/>
                <a:gd name="T58" fmla="*/ 179 w 207"/>
                <a:gd name="T59" fmla="*/ 62 h 311"/>
                <a:gd name="T60" fmla="*/ 169 w 207"/>
                <a:gd name="T61" fmla="*/ 67 h 311"/>
                <a:gd name="T62" fmla="*/ 164 w 207"/>
                <a:gd name="T63" fmla="*/ 73 h 311"/>
                <a:gd name="T64" fmla="*/ 129 w 207"/>
                <a:gd name="T65" fmla="*/ 162 h 311"/>
                <a:gd name="T66" fmla="*/ 132 w 207"/>
                <a:gd name="T67" fmla="*/ 174 h 311"/>
                <a:gd name="T68" fmla="*/ 153 w 207"/>
                <a:gd name="T69" fmla="*/ 191 h 311"/>
                <a:gd name="T70" fmla="*/ 144 w 207"/>
                <a:gd name="T71" fmla="*/ 214 h 311"/>
                <a:gd name="T72" fmla="*/ 24 w 207"/>
                <a:gd name="T73" fmla="*/ 168 h 311"/>
                <a:gd name="T74" fmla="*/ 33 w 207"/>
                <a:gd name="T75" fmla="*/ 145 h 311"/>
                <a:gd name="T76" fmla="*/ 59 w 207"/>
                <a:gd name="T77" fmla="*/ 146 h 311"/>
                <a:gd name="T78" fmla="*/ 70 w 207"/>
                <a:gd name="T79" fmla="*/ 139 h 311"/>
                <a:gd name="T80" fmla="*/ 104 w 207"/>
                <a:gd name="T81" fmla="*/ 50 h 311"/>
                <a:gd name="T82" fmla="*/ 104 w 207"/>
                <a:gd name="T83" fmla="*/ 42 h 311"/>
                <a:gd name="T84" fmla="*/ 99 w 207"/>
                <a:gd name="T85" fmla="*/ 32 h 311"/>
                <a:gd name="T86" fmla="*/ 102 w 207"/>
                <a:gd name="T87" fmla="*/ 26 h 311"/>
                <a:gd name="T88" fmla="*/ 181 w 207"/>
                <a:gd name="T89" fmla="*/ 57 h 311"/>
                <a:gd name="T90" fmla="*/ 179 w 207"/>
                <a:gd name="T91" fmla="*/ 6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7" h="311">
                  <a:moveTo>
                    <a:pt x="199" y="40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4" y="0"/>
                    <a:pt x="88" y="3"/>
                    <a:pt x="85" y="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7" y="31"/>
                    <a:pt x="77" y="34"/>
                    <a:pt x="78" y="3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22" y="123"/>
                    <a:pt x="18" y="126"/>
                    <a:pt x="16" y="130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0" y="173"/>
                    <a:pt x="0" y="176"/>
                    <a:pt x="1" y="178"/>
                  </a:cubicBezTo>
                  <a:cubicBezTo>
                    <a:pt x="2" y="181"/>
                    <a:pt x="4" y="183"/>
                    <a:pt x="7" y="184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32" y="297"/>
                    <a:pt x="32" y="297"/>
                    <a:pt x="32" y="297"/>
                  </a:cubicBezTo>
                  <a:cubicBezTo>
                    <a:pt x="30" y="302"/>
                    <a:pt x="33" y="308"/>
                    <a:pt x="38" y="310"/>
                  </a:cubicBezTo>
                  <a:cubicBezTo>
                    <a:pt x="40" y="311"/>
                    <a:pt x="41" y="311"/>
                    <a:pt x="42" y="311"/>
                  </a:cubicBezTo>
                  <a:cubicBezTo>
                    <a:pt x="46" y="311"/>
                    <a:pt x="50" y="308"/>
                    <a:pt x="52" y="304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46" y="237"/>
                    <a:pt x="146" y="237"/>
                    <a:pt x="146" y="237"/>
                  </a:cubicBezTo>
                  <a:cubicBezTo>
                    <a:pt x="147" y="238"/>
                    <a:pt x="149" y="238"/>
                    <a:pt x="150" y="238"/>
                  </a:cubicBezTo>
                  <a:cubicBezTo>
                    <a:pt x="154" y="238"/>
                    <a:pt x="158" y="235"/>
                    <a:pt x="160" y="231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7" y="187"/>
                    <a:pt x="176" y="182"/>
                    <a:pt x="172" y="179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194" y="79"/>
                    <a:pt x="196" y="77"/>
                    <a:pt x="197" y="74"/>
                  </a:cubicBezTo>
                  <a:cubicBezTo>
                    <a:pt x="205" y="54"/>
                    <a:pt x="205" y="54"/>
                    <a:pt x="205" y="54"/>
                  </a:cubicBezTo>
                  <a:cubicBezTo>
                    <a:pt x="207" y="49"/>
                    <a:pt x="204" y="43"/>
                    <a:pt x="199" y="40"/>
                  </a:cubicBezTo>
                  <a:close/>
                  <a:moveTo>
                    <a:pt x="179" y="62"/>
                  </a:moveTo>
                  <a:cubicBezTo>
                    <a:pt x="169" y="67"/>
                    <a:pt x="169" y="67"/>
                    <a:pt x="169" y="67"/>
                  </a:cubicBezTo>
                  <a:cubicBezTo>
                    <a:pt x="167" y="68"/>
                    <a:pt x="165" y="70"/>
                    <a:pt x="164" y="7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8" y="167"/>
                    <a:pt x="129" y="172"/>
                    <a:pt x="132" y="174"/>
                  </a:cubicBezTo>
                  <a:cubicBezTo>
                    <a:pt x="153" y="191"/>
                    <a:pt x="153" y="191"/>
                    <a:pt x="153" y="191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59" y="146"/>
                    <a:pt x="59" y="146"/>
                    <a:pt x="59" y="146"/>
                  </a:cubicBezTo>
                  <a:cubicBezTo>
                    <a:pt x="64" y="147"/>
                    <a:pt x="68" y="144"/>
                    <a:pt x="70" y="139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5" y="47"/>
                    <a:pt x="105" y="44"/>
                    <a:pt x="104" y="4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81" y="57"/>
                    <a:pt x="181" y="57"/>
                    <a:pt x="181" y="57"/>
                  </a:cubicBezTo>
                  <a:lnTo>
                    <a:pt x="179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7" name="Freeform 324"/>
          <p:cNvSpPr>
            <a:spLocks noChangeAspect="1" noEditPoints="1"/>
          </p:cNvSpPr>
          <p:nvPr/>
        </p:nvSpPr>
        <p:spPr bwMode="auto">
          <a:xfrm>
            <a:off x="1428607" y="2051054"/>
            <a:ext cx="369021" cy="369021"/>
          </a:xfrm>
          <a:custGeom>
            <a:avLst/>
            <a:gdLst>
              <a:gd name="T0" fmla="*/ 264 w 512"/>
              <a:gd name="T1" fmla="*/ 120 h 512"/>
              <a:gd name="T2" fmla="*/ 343 w 512"/>
              <a:gd name="T3" fmla="*/ 151 h 512"/>
              <a:gd name="T4" fmla="*/ 341 w 512"/>
              <a:gd name="T5" fmla="*/ 156 h 512"/>
              <a:gd name="T6" fmla="*/ 331 w 512"/>
              <a:gd name="T7" fmla="*/ 161 h 512"/>
              <a:gd name="T8" fmla="*/ 326 w 512"/>
              <a:gd name="T9" fmla="*/ 167 h 512"/>
              <a:gd name="T10" fmla="*/ 291 w 512"/>
              <a:gd name="T11" fmla="*/ 256 h 512"/>
              <a:gd name="T12" fmla="*/ 294 w 512"/>
              <a:gd name="T13" fmla="*/ 268 h 512"/>
              <a:gd name="T14" fmla="*/ 315 w 512"/>
              <a:gd name="T15" fmla="*/ 285 h 512"/>
              <a:gd name="T16" fmla="*/ 306 w 512"/>
              <a:gd name="T17" fmla="*/ 308 h 512"/>
              <a:gd name="T18" fmla="*/ 186 w 512"/>
              <a:gd name="T19" fmla="*/ 262 h 512"/>
              <a:gd name="T20" fmla="*/ 195 w 512"/>
              <a:gd name="T21" fmla="*/ 239 h 512"/>
              <a:gd name="T22" fmla="*/ 221 w 512"/>
              <a:gd name="T23" fmla="*/ 240 h 512"/>
              <a:gd name="T24" fmla="*/ 232 w 512"/>
              <a:gd name="T25" fmla="*/ 233 h 512"/>
              <a:gd name="T26" fmla="*/ 266 w 512"/>
              <a:gd name="T27" fmla="*/ 144 h 512"/>
              <a:gd name="T28" fmla="*/ 266 w 512"/>
              <a:gd name="T29" fmla="*/ 136 h 512"/>
              <a:gd name="T30" fmla="*/ 261 w 512"/>
              <a:gd name="T31" fmla="*/ 126 h 512"/>
              <a:gd name="T32" fmla="*/ 264 w 512"/>
              <a:gd name="T33" fmla="*/ 120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61 w 512"/>
              <a:gd name="T45" fmla="*/ 134 h 512"/>
              <a:gd name="T46" fmla="*/ 261 w 512"/>
              <a:gd name="T47" fmla="*/ 96 h 512"/>
              <a:gd name="T48" fmla="*/ 247 w 512"/>
              <a:gd name="T49" fmla="*/ 102 h 512"/>
              <a:gd name="T50" fmla="*/ 240 w 512"/>
              <a:gd name="T51" fmla="*/ 122 h 512"/>
              <a:gd name="T52" fmla="*/ 240 w 512"/>
              <a:gd name="T53" fmla="*/ 131 h 512"/>
              <a:gd name="T54" fmla="*/ 244 w 512"/>
              <a:gd name="T55" fmla="*/ 140 h 512"/>
              <a:gd name="T56" fmla="*/ 214 w 512"/>
              <a:gd name="T57" fmla="*/ 219 h 512"/>
              <a:gd name="T58" fmla="*/ 188 w 512"/>
              <a:gd name="T59" fmla="*/ 218 h 512"/>
              <a:gd name="T60" fmla="*/ 178 w 512"/>
              <a:gd name="T61" fmla="*/ 224 h 512"/>
              <a:gd name="T62" fmla="*/ 163 w 512"/>
              <a:gd name="T63" fmla="*/ 264 h 512"/>
              <a:gd name="T64" fmla="*/ 163 w 512"/>
              <a:gd name="T65" fmla="*/ 272 h 512"/>
              <a:gd name="T66" fmla="*/ 169 w 512"/>
              <a:gd name="T67" fmla="*/ 278 h 512"/>
              <a:gd name="T68" fmla="*/ 229 w 512"/>
              <a:gd name="T69" fmla="*/ 301 h 512"/>
              <a:gd name="T70" fmla="*/ 194 w 512"/>
              <a:gd name="T71" fmla="*/ 391 h 512"/>
              <a:gd name="T72" fmla="*/ 200 w 512"/>
              <a:gd name="T73" fmla="*/ 404 h 512"/>
              <a:gd name="T74" fmla="*/ 204 w 512"/>
              <a:gd name="T75" fmla="*/ 405 h 512"/>
              <a:gd name="T76" fmla="*/ 214 w 512"/>
              <a:gd name="T77" fmla="*/ 398 h 512"/>
              <a:gd name="T78" fmla="*/ 248 w 512"/>
              <a:gd name="T79" fmla="*/ 308 h 512"/>
              <a:gd name="T80" fmla="*/ 308 w 512"/>
              <a:gd name="T81" fmla="*/ 331 h 512"/>
              <a:gd name="T82" fmla="*/ 312 w 512"/>
              <a:gd name="T83" fmla="*/ 332 h 512"/>
              <a:gd name="T84" fmla="*/ 322 w 512"/>
              <a:gd name="T85" fmla="*/ 325 h 512"/>
              <a:gd name="T86" fmla="*/ 337 w 512"/>
              <a:gd name="T87" fmla="*/ 285 h 512"/>
              <a:gd name="T88" fmla="*/ 334 w 512"/>
              <a:gd name="T89" fmla="*/ 273 h 512"/>
              <a:gd name="T90" fmla="*/ 314 w 512"/>
              <a:gd name="T91" fmla="*/ 257 h 512"/>
              <a:gd name="T92" fmla="*/ 344 w 512"/>
              <a:gd name="T93" fmla="*/ 178 h 512"/>
              <a:gd name="T94" fmla="*/ 354 w 512"/>
              <a:gd name="T95" fmla="*/ 174 h 512"/>
              <a:gd name="T96" fmla="*/ 359 w 512"/>
              <a:gd name="T97" fmla="*/ 168 h 512"/>
              <a:gd name="T98" fmla="*/ 367 w 512"/>
              <a:gd name="T99" fmla="*/ 148 h 512"/>
              <a:gd name="T100" fmla="*/ 361 w 512"/>
              <a:gd name="T101" fmla="*/ 1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64" y="120"/>
                </a:moveTo>
                <a:cubicBezTo>
                  <a:pt x="343" y="151"/>
                  <a:pt x="343" y="151"/>
                  <a:pt x="343" y="151"/>
                </a:cubicBezTo>
                <a:cubicBezTo>
                  <a:pt x="341" y="156"/>
                  <a:pt x="341" y="156"/>
                  <a:pt x="341" y="156"/>
                </a:cubicBezTo>
                <a:cubicBezTo>
                  <a:pt x="331" y="161"/>
                  <a:pt x="331" y="161"/>
                  <a:pt x="331" y="161"/>
                </a:cubicBezTo>
                <a:cubicBezTo>
                  <a:pt x="329" y="162"/>
                  <a:pt x="327" y="164"/>
                  <a:pt x="326" y="167"/>
                </a:cubicBezTo>
                <a:cubicBezTo>
                  <a:pt x="291" y="256"/>
                  <a:pt x="291" y="256"/>
                  <a:pt x="291" y="256"/>
                </a:cubicBezTo>
                <a:cubicBezTo>
                  <a:pt x="290" y="261"/>
                  <a:pt x="291" y="266"/>
                  <a:pt x="294" y="268"/>
                </a:cubicBezTo>
                <a:cubicBezTo>
                  <a:pt x="315" y="285"/>
                  <a:pt x="315" y="285"/>
                  <a:pt x="315" y="285"/>
                </a:cubicBezTo>
                <a:cubicBezTo>
                  <a:pt x="306" y="308"/>
                  <a:pt x="306" y="308"/>
                  <a:pt x="306" y="308"/>
                </a:cubicBezTo>
                <a:cubicBezTo>
                  <a:pt x="186" y="262"/>
                  <a:pt x="186" y="262"/>
                  <a:pt x="186" y="262"/>
                </a:cubicBezTo>
                <a:cubicBezTo>
                  <a:pt x="195" y="239"/>
                  <a:pt x="195" y="239"/>
                  <a:pt x="195" y="239"/>
                </a:cubicBezTo>
                <a:cubicBezTo>
                  <a:pt x="221" y="240"/>
                  <a:pt x="221" y="240"/>
                  <a:pt x="221" y="240"/>
                </a:cubicBezTo>
                <a:cubicBezTo>
                  <a:pt x="226" y="241"/>
                  <a:pt x="230" y="238"/>
                  <a:pt x="232" y="233"/>
                </a:cubicBezTo>
                <a:cubicBezTo>
                  <a:pt x="266" y="144"/>
                  <a:pt x="266" y="144"/>
                  <a:pt x="266" y="144"/>
                </a:cubicBezTo>
                <a:cubicBezTo>
                  <a:pt x="267" y="141"/>
                  <a:pt x="267" y="138"/>
                  <a:pt x="266" y="136"/>
                </a:cubicBezTo>
                <a:cubicBezTo>
                  <a:pt x="261" y="126"/>
                  <a:pt x="261" y="126"/>
                  <a:pt x="261" y="126"/>
                </a:cubicBezTo>
                <a:lnTo>
                  <a:pt x="264" y="12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1" y="134"/>
                </a:moveTo>
                <a:cubicBezTo>
                  <a:pt x="261" y="96"/>
                  <a:pt x="261" y="96"/>
                  <a:pt x="261" y="96"/>
                </a:cubicBezTo>
                <a:cubicBezTo>
                  <a:pt x="256" y="94"/>
                  <a:pt x="250" y="97"/>
                  <a:pt x="247" y="102"/>
                </a:cubicBezTo>
                <a:cubicBezTo>
                  <a:pt x="240" y="122"/>
                  <a:pt x="240" y="122"/>
                  <a:pt x="240" y="122"/>
                </a:cubicBezTo>
                <a:cubicBezTo>
                  <a:pt x="239" y="125"/>
                  <a:pt x="239" y="128"/>
                  <a:pt x="240" y="131"/>
                </a:cubicBezTo>
                <a:cubicBezTo>
                  <a:pt x="244" y="140"/>
                  <a:pt x="244" y="140"/>
                  <a:pt x="244" y="140"/>
                </a:cubicBezTo>
                <a:cubicBezTo>
                  <a:pt x="214" y="219"/>
                  <a:pt x="214" y="219"/>
                  <a:pt x="214" y="219"/>
                </a:cubicBezTo>
                <a:cubicBezTo>
                  <a:pt x="188" y="218"/>
                  <a:pt x="188" y="218"/>
                  <a:pt x="188" y="218"/>
                </a:cubicBezTo>
                <a:cubicBezTo>
                  <a:pt x="184" y="217"/>
                  <a:pt x="180" y="220"/>
                  <a:pt x="178" y="224"/>
                </a:cubicBezTo>
                <a:cubicBezTo>
                  <a:pt x="163" y="264"/>
                  <a:pt x="163" y="264"/>
                  <a:pt x="163" y="264"/>
                </a:cubicBezTo>
                <a:cubicBezTo>
                  <a:pt x="162" y="267"/>
                  <a:pt x="162" y="270"/>
                  <a:pt x="163" y="272"/>
                </a:cubicBezTo>
                <a:cubicBezTo>
                  <a:pt x="164" y="275"/>
                  <a:pt x="166" y="277"/>
                  <a:pt x="169" y="278"/>
                </a:cubicBezTo>
                <a:cubicBezTo>
                  <a:pt x="229" y="301"/>
                  <a:pt x="229" y="301"/>
                  <a:pt x="229" y="301"/>
                </a:cubicBezTo>
                <a:cubicBezTo>
                  <a:pt x="194" y="391"/>
                  <a:pt x="194" y="391"/>
                  <a:pt x="194" y="391"/>
                </a:cubicBezTo>
                <a:cubicBezTo>
                  <a:pt x="192" y="396"/>
                  <a:pt x="195" y="402"/>
                  <a:pt x="200" y="404"/>
                </a:cubicBezTo>
                <a:cubicBezTo>
                  <a:pt x="202" y="405"/>
                  <a:pt x="203" y="405"/>
                  <a:pt x="204" y="405"/>
                </a:cubicBezTo>
                <a:cubicBezTo>
                  <a:pt x="208" y="405"/>
                  <a:pt x="212" y="402"/>
                  <a:pt x="214" y="398"/>
                </a:cubicBezTo>
                <a:cubicBezTo>
                  <a:pt x="248" y="308"/>
                  <a:pt x="248" y="308"/>
                  <a:pt x="248" y="308"/>
                </a:cubicBezTo>
                <a:cubicBezTo>
                  <a:pt x="308" y="331"/>
                  <a:pt x="308" y="331"/>
                  <a:pt x="308" y="331"/>
                </a:cubicBezTo>
                <a:cubicBezTo>
                  <a:pt x="309" y="332"/>
                  <a:pt x="311" y="332"/>
                  <a:pt x="312" y="332"/>
                </a:cubicBezTo>
                <a:cubicBezTo>
                  <a:pt x="316" y="332"/>
                  <a:pt x="320" y="329"/>
                  <a:pt x="322" y="325"/>
                </a:cubicBezTo>
                <a:cubicBezTo>
                  <a:pt x="337" y="285"/>
                  <a:pt x="337" y="285"/>
                  <a:pt x="337" y="285"/>
                </a:cubicBezTo>
                <a:cubicBezTo>
                  <a:pt x="339" y="281"/>
                  <a:pt x="338" y="276"/>
                  <a:pt x="334" y="273"/>
                </a:cubicBezTo>
                <a:cubicBezTo>
                  <a:pt x="314" y="257"/>
                  <a:pt x="314" y="257"/>
                  <a:pt x="314" y="257"/>
                </a:cubicBezTo>
                <a:cubicBezTo>
                  <a:pt x="344" y="178"/>
                  <a:pt x="344" y="178"/>
                  <a:pt x="344" y="178"/>
                </a:cubicBezTo>
                <a:cubicBezTo>
                  <a:pt x="354" y="174"/>
                  <a:pt x="354" y="174"/>
                  <a:pt x="354" y="174"/>
                </a:cubicBezTo>
                <a:cubicBezTo>
                  <a:pt x="356" y="173"/>
                  <a:pt x="358" y="171"/>
                  <a:pt x="359" y="168"/>
                </a:cubicBezTo>
                <a:cubicBezTo>
                  <a:pt x="367" y="148"/>
                  <a:pt x="367" y="148"/>
                  <a:pt x="367" y="148"/>
                </a:cubicBezTo>
                <a:cubicBezTo>
                  <a:pt x="369" y="143"/>
                  <a:pt x="366" y="137"/>
                  <a:pt x="361" y="1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9" name="Freeform 478"/>
          <p:cNvSpPr>
            <a:spLocks noChangeAspect="1" noEditPoints="1"/>
          </p:cNvSpPr>
          <p:nvPr/>
        </p:nvSpPr>
        <p:spPr bwMode="auto">
          <a:xfrm>
            <a:off x="4905780" y="2051054"/>
            <a:ext cx="369021" cy="36902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77 w 512"/>
              <a:gd name="T21" fmla="*/ 352 h 512"/>
              <a:gd name="T22" fmla="*/ 362 w 512"/>
              <a:gd name="T23" fmla="*/ 352 h 512"/>
              <a:gd name="T24" fmla="*/ 373 w 512"/>
              <a:gd name="T25" fmla="*/ 341 h 512"/>
              <a:gd name="T26" fmla="*/ 373 w 512"/>
              <a:gd name="T27" fmla="*/ 256 h 512"/>
              <a:gd name="T28" fmla="*/ 362 w 512"/>
              <a:gd name="T29" fmla="*/ 245 h 512"/>
              <a:gd name="T30" fmla="*/ 288 w 512"/>
              <a:gd name="T31" fmla="*/ 245 h 512"/>
              <a:gd name="T32" fmla="*/ 362 w 512"/>
              <a:gd name="T33" fmla="*/ 181 h 512"/>
              <a:gd name="T34" fmla="*/ 373 w 512"/>
              <a:gd name="T35" fmla="*/ 170 h 512"/>
              <a:gd name="T36" fmla="*/ 362 w 512"/>
              <a:gd name="T37" fmla="*/ 160 h 512"/>
              <a:gd name="T38" fmla="*/ 266 w 512"/>
              <a:gd name="T39" fmla="*/ 256 h 512"/>
              <a:gd name="T40" fmla="*/ 266 w 512"/>
              <a:gd name="T41" fmla="*/ 341 h 512"/>
              <a:gd name="T42" fmla="*/ 277 w 512"/>
              <a:gd name="T43" fmla="*/ 352 h 512"/>
              <a:gd name="T44" fmla="*/ 352 w 512"/>
              <a:gd name="T45" fmla="*/ 330 h 512"/>
              <a:gd name="T46" fmla="*/ 288 w 512"/>
              <a:gd name="T47" fmla="*/ 330 h 512"/>
              <a:gd name="T48" fmla="*/ 288 w 512"/>
              <a:gd name="T49" fmla="*/ 266 h 512"/>
              <a:gd name="T50" fmla="*/ 352 w 512"/>
              <a:gd name="T51" fmla="*/ 266 h 512"/>
              <a:gd name="T52" fmla="*/ 352 w 512"/>
              <a:gd name="T53" fmla="*/ 330 h 512"/>
              <a:gd name="T54" fmla="*/ 149 w 512"/>
              <a:gd name="T55" fmla="*/ 352 h 512"/>
              <a:gd name="T56" fmla="*/ 234 w 512"/>
              <a:gd name="T57" fmla="*/ 352 h 512"/>
              <a:gd name="T58" fmla="*/ 245 w 512"/>
              <a:gd name="T59" fmla="*/ 341 h 512"/>
              <a:gd name="T60" fmla="*/ 245 w 512"/>
              <a:gd name="T61" fmla="*/ 256 h 512"/>
              <a:gd name="T62" fmla="*/ 234 w 512"/>
              <a:gd name="T63" fmla="*/ 245 h 512"/>
              <a:gd name="T64" fmla="*/ 160 w 512"/>
              <a:gd name="T65" fmla="*/ 245 h 512"/>
              <a:gd name="T66" fmla="*/ 234 w 512"/>
              <a:gd name="T67" fmla="*/ 181 h 512"/>
              <a:gd name="T68" fmla="*/ 245 w 512"/>
              <a:gd name="T69" fmla="*/ 170 h 512"/>
              <a:gd name="T70" fmla="*/ 234 w 512"/>
              <a:gd name="T71" fmla="*/ 160 h 512"/>
              <a:gd name="T72" fmla="*/ 138 w 512"/>
              <a:gd name="T73" fmla="*/ 256 h 512"/>
              <a:gd name="T74" fmla="*/ 138 w 512"/>
              <a:gd name="T75" fmla="*/ 341 h 512"/>
              <a:gd name="T76" fmla="*/ 149 w 512"/>
              <a:gd name="T77" fmla="*/ 352 h 512"/>
              <a:gd name="T78" fmla="*/ 224 w 512"/>
              <a:gd name="T79" fmla="*/ 330 h 512"/>
              <a:gd name="T80" fmla="*/ 160 w 512"/>
              <a:gd name="T81" fmla="*/ 330 h 512"/>
              <a:gd name="T82" fmla="*/ 160 w 512"/>
              <a:gd name="T83" fmla="*/ 266 h 512"/>
              <a:gd name="T84" fmla="*/ 224 w 512"/>
              <a:gd name="T85" fmla="*/ 266 h 512"/>
              <a:gd name="T86" fmla="*/ 224 w 512"/>
              <a:gd name="T8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77" y="352"/>
                </a:moveTo>
                <a:cubicBezTo>
                  <a:pt x="362" y="352"/>
                  <a:pt x="362" y="352"/>
                  <a:pt x="362" y="352"/>
                </a:cubicBezTo>
                <a:cubicBezTo>
                  <a:pt x="368" y="352"/>
                  <a:pt x="373" y="347"/>
                  <a:pt x="373" y="341"/>
                </a:cubicBezTo>
                <a:cubicBezTo>
                  <a:pt x="373" y="256"/>
                  <a:pt x="373" y="256"/>
                  <a:pt x="373" y="256"/>
                </a:cubicBezTo>
                <a:cubicBezTo>
                  <a:pt x="373" y="250"/>
                  <a:pt x="368" y="245"/>
                  <a:pt x="362" y="245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93" y="213"/>
                  <a:pt x="323" y="181"/>
                  <a:pt x="362" y="181"/>
                </a:cubicBezTo>
                <a:cubicBezTo>
                  <a:pt x="368" y="181"/>
                  <a:pt x="373" y="176"/>
                  <a:pt x="373" y="170"/>
                </a:cubicBezTo>
                <a:cubicBezTo>
                  <a:pt x="373" y="164"/>
                  <a:pt x="368" y="160"/>
                  <a:pt x="362" y="160"/>
                </a:cubicBezTo>
                <a:cubicBezTo>
                  <a:pt x="308" y="160"/>
                  <a:pt x="266" y="201"/>
                  <a:pt x="266" y="256"/>
                </a:cubicBezTo>
                <a:cubicBezTo>
                  <a:pt x="266" y="341"/>
                  <a:pt x="266" y="341"/>
                  <a:pt x="266" y="341"/>
                </a:cubicBezTo>
                <a:cubicBezTo>
                  <a:pt x="266" y="347"/>
                  <a:pt x="271" y="352"/>
                  <a:pt x="277" y="352"/>
                </a:cubicBezTo>
                <a:close/>
                <a:moveTo>
                  <a:pt x="352" y="330"/>
                </a:moveTo>
                <a:cubicBezTo>
                  <a:pt x="288" y="330"/>
                  <a:pt x="288" y="330"/>
                  <a:pt x="288" y="330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352" y="266"/>
                  <a:pt x="352" y="266"/>
                  <a:pt x="352" y="266"/>
                </a:cubicBezTo>
                <a:lnTo>
                  <a:pt x="352" y="330"/>
                </a:lnTo>
                <a:close/>
                <a:moveTo>
                  <a:pt x="149" y="352"/>
                </a:moveTo>
                <a:cubicBezTo>
                  <a:pt x="234" y="352"/>
                  <a:pt x="234" y="352"/>
                  <a:pt x="234" y="352"/>
                </a:cubicBezTo>
                <a:cubicBezTo>
                  <a:pt x="240" y="352"/>
                  <a:pt x="245" y="347"/>
                  <a:pt x="245" y="341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250"/>
                  <a:pt x="240" y="245"/>
                  <a:pt x="234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65" y="208"/>
                  <a:pt x="195" y="181"/>
                  <a:pt x="234" y="181"/>
                </a:cubicBezTo>
                <a:cubicBezTo>
                  <a:pt x="240" y="181"/>
                  <a:pt x="245" y="176"/>
                  <a:pt x="245" y="170"/>
                </a:cubicBezTo>
                <a:cubicBezTo>
                  <a:pt x="245" y="164"/>
                  <a:pt x="240" y="160"/>
                  <a:pt x="234" y="160"/>
                </a:cubicBezTo>
                <a:cubicBezTo>
                  <a:pt x="180" y="160"/>
                  <a:pt x="138" y="201"/>
                  <a:pt x="138" y="256"/>
                </a:cubicBezTo>
                <a:cubicBezTo>
                  <a:pt x="138" y="341"/>
                  <a:pt x="138" y="341"/>
                  <a:pt x="138" y="341"/>
                </a:cubicBezTo>
                <a:cubicBezTo>
                  <a:pt x="138" y="347"/>
                  <a:pt x="143" y="352"/>
                  <a:pt x="149" y="352"/>
                </a:cubicBezTo>
                <a:close/>
                <a:moveTo>
                  <a:pt x="224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0" y="266"/>
                  <a:pt x="160" y="266"/>
                  <a:pt x="160" y="266"/>
                </a:cubicBezTo>
                <a:cubicBezTo>
                  <a:pt x="224" y="266"/>
                  <a:pt x="224" y="266"/>
                  <a:pt x="224" y="266"/>
                </a:cubicBezTo>
                <a:lnTo>
                  <a:pt x="224" y="3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0" name="Group 481"/>
          <p:cNvGrpSpPr>
            <a:grpSpLocks noChangeAspect="1"/>
          </p:cNvGrpSpPr>
          <p:nvPr/>
        </p:nvGrpSpPr>
        <p:grpSpPr bwMode="auto">
          <a:xfrm>
            <a:off x="4409196" y="2051054"/>
            <a:ext cx="369021" cy="369021"/>
            <a:chOff x="6960" y="1953"/>
            <a:chExt cx="340" cy="340"/>
          </a:xfrm>
          <a:solidFill>
            <a:schemeClr val="accent6"/>
          </a:solidFill>
        </p:grpSpPr>
        <p:sp>
          <p:nvSpPr>
            <p:cNvPr id="311" name="Rectangle 482"/>
            <p:cNvSpPr>
              <a:spLocks noChangeArrowheads="1"/>
            </p:cNvSpPr>
            <p:nvPr/>
          </p:nvSpPr>
          <p:spPr bwMode="auto">
            <a:xfrm>
              <a:off x="7151" y="2130"/>
              <a:ext cx="43" cy="4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483"/>
            <p:cNvSpPr>
              <a:spLocks noEditPoints="1"/>
            </p:cNvSpPr>
            <p:nvPr/>
          </p:nvSpPr>
          <p:spPr bwMode="auto">
            <a:xfrm>
              <a:off x="6960" y="1953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34 w 512"/>
                <a:gd name="T11" fmla="*/ 245 h 512"/>
                <a:gd name="T12" fmla="*/ 245 w 512"/>
                <a:gd name="T13" fmla="*/ 256 h 512"/>
                <a:gd name="T14" fmla="*/ 245 w 512"/>
                <a:gd name="T15" fmla="*/ 341 h 512"/>
                <a:gd name="T16" fmla="*/ 234 w 512"/>
                <a:gd name="T17" fmla="*/ 352 h 512"/>
                <a:gd name="T18" fmla="*/ 149 w 512"/>
                <a:gd name="T19" fmla="*/ 352 h 512"/>
                <a:gd name="T20" fmla="*/ 138 w 512"/>
                <a:gd name="T21" fmla="*/ 341 h 512"/>
                <a:gd name="T22" fmla="*/ 138 w 512"/>
                <a:gd name="T23" fmla="*/ 256 h 512"/>
                <a:gd name="T24" fmla="*/ 234 w 512"/>
                <a:gd name="T25" fmla="*/ 160 h 512"/>
                <a:gd name="T26" fmla="*/ 245 w 512"/>
                <a:gd name="T27" fmla="*/ 170 h 512"/>
                <a:gd name="T28" fmla="*/ 234 w 512"/>
                <a:gd name="T29" fmla="*/ 181 h 512"/>
                <a:gd name="T30" fmla="*/ 160 w 512"/>
                <a:gd name="T31" fmla="*/ 245 h 512"/>
                <a:gd name="T32" fmla="*/ 234 w 512"/>
                <a:gd name="T33" fmla="*/ 245 h 512"/>
                <a:gd name="T34" fmla="*/ 362 w 512"/>
                <a:gd name="T35" fmla="*/ 245 h 512"/>
                <a:gd name="T36" fmla="*/ 373 w 512"/>
                <a:gd name="T37" fmla="*/ 256 h 512"/>
                <a:gd name="T38" fmla="*/ 373 w 512"/>
                <a:gd name="T39" fmla="*/ 341 h 512"/>
                <a:gd name="T40" fmla="*/ 362 w 512"/>
                <a:gd name="T41" fmla="*/ 352 h 512"/>
                <a:gd name="T42" fmla="*/ 277 w 512"/>
                <a:gd name="T43" fmla="*/ 352 h 512"/>
                <a:gd name="T44" fmla="*/ 266 w 512"/>
                <a:gd name="T45" fmla="*/ 341 h 512"/>
                <a:gd name="T46" fmla="*/ 266 w 512"/>
                <a:gd name="T47" fmla="*/ 256 h 512"/>
                <a:gd name="T48" fmla="*/ 362 w 512"/>
                <a:gd name="T49" fmla="*/ 160 h 512"/>
                <a:gd name="T50" fmla="*/ 373 w 512"/>
                <a:gd name="T51" fmla="*/ 170 h 512"/>
                <a:gd name="T52" fmla="*/ 362 w 512"/>
                <a:gd name="T53" fmla="*/ 181 h 512"/>
                <a:gd name="T54" fmla="*/ 288 w 512"/>
                <a:gd name="T55" fmla="*/ 245 h 512"/>
                <a:gd name="T56" fmla="*/ 362 w 512"/>
                <a:gd name="T57" fmla="*/ 24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34" y="245"/>
                  </a:moveTo>
                  <a:cubicBezTo>
                    <a:pt x="240" y="245"/>
                    <a:pt x="245" y="250"/>
                    <a:pt x="245" y="256"/>
                  </a:cubicBezTo>
                  <a:cubicBezTo>
                    <a:pt x="245" y="341"/>
                    <a:pt x="245" y="341"/>
                    <a:pt x="245" y="341"/>
                  </a:cubicBezTo>
                  <a:cubicBezTo>
                    <a:pt x="245" y="347"/>
                    <a:pt x="240" y="352"/>
                    <a:pt x="234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56"/>
                    <a:pt x="138" y="256"/>
                    <a:pt x="138" y="256"/>
                  </a:cubicBezTo>
                  <a:cubicBezTo>
                    <a:pt x="138" y="201"/>
                    <a:pt x="180" y="160"/>
                    <a:pt x="234" y="160"/>
                  </a:cubicBezTo>
                  <a:cubicBezTo>
                    <a:pt x="240" y="160"/>
                    <a:pt x="245" y="164"/>
                    <a:pt x="245" y="170"/>
                  </a:cubicBezTo>
                  <a:cubicBezTo>
                    <a:pt x="245" y="176"/>
                    <a:pt x="240" y="181"/>
                    <a:pt x="234" y="181"/>
                  </a:cubicBezTo>
                  <a:cubicBezTo>
                    <a:pt x="195" y="181"/>
                    <a:pt x="165" y="208"/>
                    <a:pt x="160" y="245"/>
                  </a:cubicBezTo>
                  <a:lnTo>
                    <a:pt x="234" y="245"/>
                  </a:lnTo>
                  <a:close/>
                  <a:moveTo>
                    <a:pt x="362" y="245"/>
                  </a:moveTo>
                  <a:cubicBezTo>
                    <a:pt x="368" y="245"/>
                    <a:pt x="373" y="250"/>
                    <a:pt x="373" y="256"/>
                  </a:cubicBez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277" y="352"/>
                    <a:pt x="277" y="352"/>
                    <a:pt x="277" y="352"/>
                  </a:cubicBezTo>
                  <a:cubicBezTo>
                    <a:pt x="271" y="352"/>
                    <a:pt x="266" y="347"/>
                    <a:pt x="266" y="341"/>
                  </a:cubicBezTo>
                  <a:cubicBezTo>
                    <a:pt x="266" y="256"/>
                    <a:pt x="266" y="256"/>
                    <a:pt x="266" y="256"/>
                  </a:cubicBezTo>
                  <a:cubicBezTo>
                    <a:pt x="266" y="201"/>
                    <a:pt x="308" y="160"/>
                    <a:pt x="362" y="160"/>
                  </a:cubicBezTo>
                  <a:cubicBezTo>
                    <a:pt x="368" y="160"/>
                    <a:pt x="373" y="164"/>
                    <a:pt x="373" y="170"/>
                  </a:cubicBezTo>
                  <a:cubicBezTo>
                    <a:pt x="373" y="176"/>
                    <a:pt x="368" y="181"/>
                    <a:pt x="362" y="181"/>
                  </a:cubicBezTo>
                  <a:cubicBezTo>
                    <a:pt x="323" y="181"/>
                    <a:pt x="293" y="213"/>
                    <a:pt x="288" y="245"/>
                  </a:cubicBezTo>
                  <a:lnTo>
                    <a:pt x="362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Rectangle 484"/>
            <p:cNvSpPr>
              <a:spLocks noChangeArrowheads="1"/>
            </p:cNvSpPr>
            <p:nvPr/>
          </p:nvSpPr>
          <p:spPr bwMode="auto">
            <a:xfrm>
              <a:off x="7066" y="2130"/>
              <a:ext cx="43" cy="4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4" name="Group 487"/>
          <p:cNvGrpSpPr>
            <a:grpSpLocks noChangeAspect="1"/>
          </p:cNvGrpSpPr>
          <p:nvPr/>
        </p:nvGrpSpPr>
        <p:grpSpPr bwMode="auto">
          <a:xfrm>
            <a:off x="3911527" y="2051051"/>
            <a:ext cx="370106" cy="370106"/>
            <a:chOff x="6566" y="1944"/>
            <a:chExt cx="341" cy="341"/>
          </a:xfrm>
          <a:solidFill>
            <a:schemeClr val="accent6"/>
          </a:solidFill>
        </p:grpSpPr>
        <p:sp>
          <p:nvSpPr>
            <p:cNvPr id="315" name="Freeform 488"/>
            <p:cNvSpPr>
              <a:spLocks noEditPoints="1"/>
            </p:cNvSpPr>
            <p:nvPr/>
          </p:nvSpPr>
          <p:spPr bwMode="auto">
            <a:xfrm>
              <a:off x="6566" y="1944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489"/>
            <p:cNvSpPr>
              <a:spLocks noEditPoints="1"/>
            </p:cNvSpPr>
            <p:nvPr/>
          </p:nvSpPr>
          <p:spPr bwMode="auto">
            <a:xfrm>
              <a:off x="6715" y="2178"/>
              <a:ext cx="43" cy="43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490"/>
            <p:cNvSpPr>
              <a:spLocks noEditPoints="1"/>
            </p:cNvSpPr>
            <p:nvPr/>
          </p:nvSpPr>
          <p:spPr bwMode="auto">
            <a:xfrm>
              <a:off x="6673" y="2008"/>
              <a:ext cx="127" cy="156"/>
            </a:xfrm>
            <a:custGeom>
              <a:avLst/>
              <a:gdLst>
                <a:gd name="T0" fmla="*/ 116 w 191"/>
                <a:gd name="T1" fmla="*/ 234 h 234"/>
                <a:gd name="T2" fmla="*/ 73 w 191"/>
                <a:gd name="T3" fmla="*/ 234 h 234"/>
                <a:gd name="T4" fmla="*/ 63 w 191"/>
                <a:gd name="T5" fmla="*/ 224 h 234"/>
                <a:gd name="T6" fmla="*/ 63 w 191"/>
                <a:gd name="T7" fmla="*/ 138 h 234"/>
                <a:gd name="T8" fmla="*/ 66 w 191"/>
                <a:gd name="T9" fmla="*/ 131 h 234"/>
                <a:gd name="T10" fmla="*/ 73 w 191"/>
                <a:gd name="T11" fmla="*/ 128 h 234"/>
                <a:gd name="T12" fmla="*/ 95 w 191"/>
                <a:gd name="T13" fmla="*/ 128 h 234"/>
                <a:gd name="T14" fmla="*/ 127 w 191"/>
                <a:gd name="T15" fmla="*/ 96 h 234"/>
                <a:gd name="T16" fmla="*/ 95 w 191"/>
                <a:gd name="T17" fmla="*/ 64 h 234"/>
                <a:gd name="T18" fmla="*/ 63 w 191"/>
                <a:gd name="T19" fmla="*/ 90 h 234"/>
                <a:gd name="T20" fmla="*/ 53 w 191"/>
                <a:gd name="T21" fmla="*/ 99 h 234"/>
                <a:gd name="T22" fmla="*/ 10 w 191"/>
                <a:gd name="T23" fmla="*/ 96 h 234"/>
                <a:gd name="T24" fmla="*/ 0 w 191"/>
                <a:gd name="T25" fmla="*/ 85 h 234"/>
                <a:gd name="T26" fmla="*/ 0 w 191"/>
                <a:gd name="T27" fmla="*/ 80 h 234"/>
                <a:gd name="T28" fmla="*/ 95 w 191"/>
                <a:gd name="T29" fmla="*/ 0 h 234"/>
                <a:gd name="T30" fmla="*/ 191 w 191"/>
                <a:gd name="T31" fmla="*/ 96 h 234"/>
                <a:gd name="T32" fmla="*/ 127 w 191"/>
                <a:gd name="T33" fmla="*/ 186 h 234"/>
                <a:gd name="T34" fmla="*/ 127 w 191"/>
                <a:gd name="T35" fmla="*/ 224 h 234"/>
                <a:gd name="T36" fmla="*/ 116 w 191"/>
                <a:gd name="T37" fmla="*/ 234 h 234"/>
                <a:gd name="T38" fmla="*/ 84 w 191"/>
                <a:gd name="T39" fmla="*/ 213 h 234"/>
                <a:gd name="T40" fmla="*/ 105 w 191"/>
                <a:gd name="T41" fmla="*/ 213 h 234"/>
                <a:gd name="T42" fmla="*/ 105 w 191"/>
                <a:gd name="T43" fmla="*/ 178 h 234"/>
                <a:gd name="T44" fmla="*/ 113 w 191"/>
                <a:gd name="T45" fmla="*/ 168 h 234"/>
                <a:gd name="T46" fmla="*/ 169 w 191"/>
                <a:gd name="T47" fmla="*/ 96 h 234"/>
                <a:gd name="T48" fmla="*/ 95 w 191"/>
                <a:gd name="T49" fmla="*/ 21 h 234"/>
                <a:gd name="T50" fmla="*/ 23 w 191"/>
                <a:gd name="T51" fmla="*/ 75 h 234"/>
                <a:gd name="T52" fmla="*/ 45 w 191"/>
                <a:gd name="T53" fmla="*/ 77 h 234"/>
                <a:gd name="T54" fmla="*/ 95 w 191"/>
                <a:gd name="T55" fmla="*/ 42 h 234"/>
                <a:gd name="T56" fmla="*/ 148 w 191"/>
                <a:gd name="T57" fmla="*/ 96 h 234"/>
                <a:gd name="T58" fmla="*/ 95 w 191"/>
                <a:gd name="T59" fmla="*/ 149 h 234"/>
                <a:gd name="T60" fmla="*/ 84 w 191"/>
                <a:gd name="T61" fmla="*/ 149 h 234"/>
                <a:gd name="T62" fmla="*/ 84 w 191"/>
                <a:gd name="T63" fmla="*/ 21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1" h="234">
                  <a:moveTo>
                    <a:pt x="116" y="234"/>
                  </a:moveTo>
                  <a:cubicBezTo>
                    <a:pt x="73" y="234"/>
                    <a:pt x="73" y="234"/>
                    <a:pt x="73" y="234"/>
                  </a:cubicBezTo>
                  <a:cubicBezTo>
                    <a:pt x="67" y="234"/>
                    <a:pt x="63" y="230"/>
                    <a:pt x="63" y="224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6"/>
                    <a:pt x="64" y="133"/>
                    <a:pt x="66" y="131"/>
                  </a:cubicBezTo>
                  <a:cubicBezTo>
                    <a:pt x="68" y="129"/>
                    <a:pt x="70" y="128"/>
                    <a:pt x="73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111" y="128"/>
                    <a:pt x="127" y="112"/>
                    <a:pt x="127" y="96"/>
                  </a:cubicBezTo>
                  <a:cubicBezTo>
                    <a:pt x="127" y="78"/>
                    <a:pt x="112" y="64"/>
                    <a:pt x="95" y="64"/>
                  </a:cubicBezTo>
                  <a:cubicBezTo>
                    <a:pt x="79" y="64"/>
                    <a:pt x="66" y="75"/>
                    <a:pt x="63" y="90"/>
                  </a:cubicBezTo>
                  <a:cubicBezTo>
                    <a:pt x="62" y="95"/>
                    <a:pt x="58" y="99"/>
                    <a:pt x="53" y="99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5"/>
                    <a:pt x="0" y="91"/>
                    <a:pt x="0" y="85"/>
                  </a:cubicBezTo>
                  <a:cubicBezTo>
                    <a:pt x="0" y="85"/>
                    <a:pt x="0" y="82"/>
                    <a:pt x="0" y="80"/>
                  </a:cubicBezTo>
                  <a:cubicBezTo>
                    <a:pt x="8" y="33"/>
                    <a:pt x="47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37"/>
                    <a:pt x="165" y="173"/>
                    <a:pt x="127" y="186"/>
                  </a:cubicBezTo>
                  <a:cubicBezTo>
                    <a:pt x="127" y="224"/>
                    <a:pt x="127" y="224"/>
                    <a:pt x="127" y="224"/>
                  </a:cubicBezTo>
                  <a:cubicBezTo>
                    <a:pt x="127" y="230"/>
                    <a:pt x="122" y="234"/>
                    <a:pt x="116" y="234"/>
                  </a:cubicBezTo>
                  <a:close/>
                  <a:moveTo>
                    <a:pt x="84" y="213"/>
                  </a:moveTo>
                  <a:cubicBezTo>
                    <a:pt x="105" y="213"/>
                    <a:pt x="105" y="213"/>
                    <a:pt x="105" y="213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3"/>
                    <a:pt x="109" y="169"/>
                    <a:pt x="113" y="168"/>
                  </a:cubicBezTo>
                  <a:cubicBezTo>
                    <a:pt x="146" y="159"/>
                    <a:pt x="169" y="130"/>
                    <a:pt x="169" y="96"/>
                  </a:cubicBezTo>
                  <a:cubicBezTo>
                    <a:pt x="169" y="54"/>
                    <a:pt x="136" y="21"/>
                    <a:pt x="95" y="21"/>
                  </a:cubicBezTo>
                  <a:cubicBezTo>
                    <a:pt x="61" y="21"/>
                    <a:pt x="32" y="43"/>
                    <a:pt x="23" y="75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52" y="56"/>
                    <a:pt x="72" y="42"/>
                    <a:pt x="95" y="42"/>
                  </a:cubicBezTo>
                  <a:cubicBezTo>
                    <a:pt x="124" y="42"/>
                    <a:pt x="148" y="66"/>
                    <a:pt x="148" y="96"/>
                  </a:cubicBezTo>
                  <a:cubicBezTo>
                    <a:pt x="148" y="125"/>
                    <a:pt x="124" y="149"/>
                    <a:pt x="95" y="149"/>
                  </a:cubicBezTo>
                  <a:cubicBezTo>
                    <a:pt x="84" y="149"/>
                    <a:pt x="84" y="149"/>
                    <a:pt x="84" y="149"/>
                  </a:cubicBezTo>
                  <a:lnTo>
                    <a:pt x="84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8" name="Group 493"/>
          <p:cNvGrpSpPr>
            <a:grpSpLocks noChangeAspect="1"/>
          </p:cNvGrpSpPr>
          <p:nvPr/>
        </p:nvGrpSpPr>
        <p:grpSpPr bwMode="auto">
          <a:xfrm>
            <a:off x="3414943" y="2051054"/>
            <a:ext cx="369021" cy="369021"/>
            <a:chOff x="6194" y="1960"/>
            <a:chExt cx="340" cy="340"/>
          </a:xfrm>
          <a:solidFill>
            <a:schemeClr val="accent6"/>
          </a:solidFill>
        </p:grpSpPr>
        <p:sp>
          <p:nvSpPr>
            <p:cNvPr id="319" name="Freeform 494"/>
            <p:cNvSpPr>
              <a:spLocks/>
            </p:cNvSpPr>
            <p:nvPr/>
          </p:nvSpPr>
          <p:spPr bwMode="auto">
            <a:xfrm>
              <a:off x="6316" y="2038"/>
              <a:ext cx="97" cy="127"/>
            </a:xfrm>
            <a:custGeom>
              <a:avLst/>
              <a:gdLst>
                <a:gd name="T0" fmla="*/ 72 w 146"/>
                <a:gd name="T1" fmla="*/ 0 h 192"/>
                <a:gd name="T2" fmla="*/ 0 w 146"/>
                <a:gd name="T3" fmla="*/ 54 h 192"/>
                <a:gd name="T4" fmla="*/ 22 w 146"/>
                <a:gd name="T5" fmla="*/ 56 h 192"/>
                <a:gd name="T6" fmla="*/ 72 w 146"/>
                <a:gd name="T7" fmla="*/ 21 h 192"/>
                <a:gd name="T8" fmla="*/ 125 w 146"/>
                <a:gd name="T9" fmla="*/ 75 h 192"/>
                <a:gd name="T10" fmla="*/ 72 w 146"/>
                <a:gd name="T11" fmla="*/ 128 h 192"/>
                <a:gd name="T12" fmla="*/ 61 w 146"/>
                <a:gd name="T13" fmla="*/ 128 h 192"/>
                <a:gd name="T14" fmla="*/ 61 w 146"/>
                <a:gd name="T15" fmla="*/ 192 h 192"/>
                <a:gd name="T16" fmla="*/ 82 w 146"/>
                <a:gd name="T17" fmla="*/ 192 h 192"/>
                <a:gd name="T18" fmla="*/ 82 w 146"/>
                <a:gd name="T19" fmla="*/ 157 h 192"/>
                <a:gd name="T20" fmla="*/ 90 w 146"/>
                <a:gd name="T21" fmla="*/ 147 h 192"/>
                <a:gd name="T22" fmla="*/ 146 w 146"/>
                <a:gd name="T23" fmla="*/ 75 h 192"/>
                <a:gd name="T24" fmla="*/ 72 w 146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" h="192">
                  <a:moveTo>
                    <a:pt x="72" y="0"/>
                  </a:moveTo>
                  <a:cubicBezTo>
                    <a:pt x="38" y="0"/>
                    <a:pt x="9" y="22"/>
                    <a:pt x="0" y="54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9" y="35"/>
                    <a:pt x="49" y="21"/>
                    <a:pt x="72" y="21"/>
                  </a:cubicBezTo>
                  <a:cubicBezTo>
                    <a:pt x="101" y="21"/>
                    <a:pt x="125" y="45"/>
                    <a:pt x="125" y="75"/>
                  </a:cubicBezTo>
                  <a:cubicBezTo>
                    <a:pt x="125" y="104"/>
                    <a:pt x="101" y="128"/>
                    <a:pt x="72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2"/>
                    <a:pt x="86" y="148"/>
                    <a:pt x="90" y="147"/>
                  </a:cubicBezTo>
                  <a:cubicBezTo>
                    <a:pt x="123" y="138"/>
                    <a:pt x="146" y="109"/>
                    <a:pt x="146" y="75"/>
                  </a:cubicBezTo>
                  <a:cubicBezTo>
                    <a:pt x="146" y="33"/>
                    <a:pt x="113" y="0"/>
                    <a:pt x="7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495"/>
            <p:cNvSpPr>
              <a:spLocks noEditPoints="1"/>
            </p:cNvSpPr>
            <p:nvPr/>
          </p:nvSpPr>
          <p:spPr bwMode="auto">
            <a:xfrm>
              <a:off x="6194" y="196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16 h 512"/>
                <a:gd name="T12" fmla="*/ 224 w 512"/>
                <a:gd name="T13" fmla="*/ 384 h 512"/>
                <a:gd name="T14" fmla="*/ 256 w 512"/>
                <a:gd name="T15" fmla="*/ 352 h 512"/>
                <a:gd name="T16" fmla="*/ 288 w 512"/>
                <a:gd name="T17" fmla="*/ 384 h 512"/>
                <a:gd name="T18" fmla="*/ 256 w 512"/>
                <a:gd name="T19" fmla="*/ 416 h 512"/>
                <a:gd name="T20" fmla="*/ 288 w 512"/>
                <a:gd name="T21" fmla="*/ 282 h 512"/>
                <a:gd name="T22" fmla="*/ 288 w 512"/>
                <a:gd name="T23" fmla="*/ 320 h 512"/>
                <a:gd name="T24" fmla="*/ 277 w 512"/>
                <a:gd name="T25" fmla="*/ 330 h 512"/>
                <a:gd name="T26" fmla="*/ 234 w 512"/>
                <a:gd name="T27" fmla="*/ 330 h 512"/>
                <a:gd name="T28" fmla="*/ 224 w 512"/>
                <a:gd name="T29" fmla="*/ 320 h 512"/>
                <a:gd name="T30" fmla="*/ 224 w 512"/>
                <a:gd name="T31" fmla="*/ 234 h 512"/>
                <a:gd name="T32" fmla="*/ 227 w 512"/>
                <a:gd name="T33" fmla="*/ 227 h 512"/>
                <a:gd name="T34" fmla="*/ 234 w 512"/>
                <a:gd name="T35" fmla="*/ 224 h 512"/>
                <a:gd name="T36" fmla="*/ 256 w 512"/>
                <a:gd name="T37" fmla="*/ 224 h 512"/>
                <a:gd name="T38" fmla="*/ 288 w 512"/>
                <a:gd name="T39" fmla="*/ 192 h 512"/>
                <a:gd name="T40" fmla="*/ 256 w 512"/>
                <a:gd name="T41" fmla="*/ 160 h 512"/>
                <a:gd name="T42" fmla="*/ 224 w 512"/>
                <a:gd name="T43" fmla="*/ 186 h 512"/>
                <a:gd name="T44" fmla="*/ 214 w 512"/>
                <a:gd name="T45" fmla="*/ 195 h 512"/>
                <a:gd name="T46" fmla="*/ 171 w 512"/>
                <a:gd name="T47" fmla="*/ 192 h 512"/>
                <a:gd name="T48" fmla="*/ 161 w 512"/>
                <a:gd name="T49" fmla="*/ 181 h 512"/>
                <a:gd name="T50" fmla="*/ 161 w 512"/>
                <a:gd name="T51" fmla="*/ 176 h 512"/>
                <a:gd name="T52" fmla="*/ 256 w 512"/>
                <a:gd name="T53" fmla="*/ 96 h 512"/>
                <a:gd name="T54" fmla="*/ 352 w 512"/>
                <a:gd name="T55" fmla="*/ 192 h 512"/>
                <a:gd name="T56" fmla="*/ 288 w 512"/>
                <a:gd name="T57" fmla="*/ 2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238" y="416"/>
                    <a:pt x="224" y="401"/>
                    <a:pt x="224" y="384"/>
                  </a:cubicBezTo>
                  <a:cubicBezTo>
                    <a:pt x="224" y="366"/>
                    <a:pt x="238" y="352"/>
                    <a:pt x="256" y="352"/>
                  </a:cubicBezTo>
                  <a:cubicBezTo>
                    <a:pt x="273" y="352"/>
                    <a:pt x="288" y="366"/>
                    <a:pt x="288" y="384"/>
                  </a:cubicBezTo>
                  <a:cubicBezTo>
                    <a:pt x="288" y="401"/>
                    <a:pt x="273" y="416"/>
                    <a:pt x="256" y="416"/>
                  </a:cubicBezTo>
                  <a:close/>
                  <a:moveTo>
                    <a:pt x="288" y="282"/>
                  </a:move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24" y="232"/>
                    <a:pt x="225" y="229"/>
                    <a:pt x="227" y="227"/>
                  </a:cubicBezTo>
                  <a:cubicBezTo>
                    <a:pt x="229" y="225"/>
                    <a:pt x="231" y="224"/>
                    <a:pt x="234" y="224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72" y="224"/>
                    <a:pt x="288" y="208"/>
                    <a:pt x="288" y="192"/>
                  </a:cubicBezTo>
                  <a:cubicBezTo>
                    <a:pt x="288" y="174"/>
                    <a:pt x="273" y="160"/>
                    <a:pt x="256" y="160"/>
                  </a:cubicBezTo>
                  <a:cubicBezTo>
                    <a:pt x="240" y="160"/>
                    <a:pt x="227" y="171"/>
                    <a:pt x="224" y="186"/>
                  </a:cubicBezTo>
                  <a:cubicBezTo>
                    <a:pt x="223" y="191"/>
                    <a:pt x="219" y="195"/>
                    <a:pt x="214" y="195"/>
                  </a:cubicBezTo>
                  <a:cubicBezTo>
                    <a:pt x="171" y="192"/>
                    <a:pt x="171" y="192"/>
                    <a:pt x="171" y="192"/>
                  </a:cubicBezTo>
                  <a:cubicBezTo>
                    <a:pt x="165" y="191"/>
                    <a:pt x="161" y="187"/>
                    <a:pt x="161" y="181"/>
                  </a:cubicBezTo>
                  <a:cubicBezTo>
                    <a:pt x="161" y="181"/>
                    <a:pt x="161" y="178"/>
                    <a:pt x="161" y="176"/>
                  </a:cubicBezTo>
                  <a:cubicBezTo>
                    <a:pt x="169" y="129"/>
                    <a:pt x="208" y="96"/>
                    <a:pt x="256" y="96"/>
                  </a:cubicBezTo>
                  <a:cubicBezTo>
                    <a:pt x="309" y="96"/>
                    <a:pt x="352" y="139"/>
                    <a:pt x="352" y="192"/>
                  </a:cubicBezTo>
                  <a:cubicBezTo>
                    <a:pt x="352" y="233"/>
                    <a:pt x="326" y="269"/>
                    <a:pt x="288" y="2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Oval 496"/>
            <p:cNvSpPr>
              <a:spLocks noChangeArrowheads="1"/>
            </p:cNvSpPr>
            <p:nvPr/>
          </p:nvSpPr>
          <p:spPr bwMode="auto">
            <a:xfrm>
              <a:off x="6357" y="2208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5" name="Freeform 613"/>
          <p:cNvSpPr>
            <a:spLocks noChangeAspect="1" noEditPoints="1"/>
          </p:cNvSpPr>
          <p:nvPr/>
        </p:nvSpPr>
        <p:spPr bwMode="auto">
          <a:xfrm>
            <a:off x="6893201" y="2051051"/>
            <a:ext cx="369021" cy="37010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76 w 512"/>
              <a:gd name="T21" fmla="*/ 340 h 512"/>
              <a:gd name="T22" fmla="*/ 276 w 512"/>
              <a:gd name="T23" fmla="*/ 340 h 512"/>
              <a:gd name="T24" fmla="*/ 235 w 512"/>
              <a:gd name="T25" fmla="*/ 340 h 512"/>
              <a:gd name="T26" fmla="*/ 235 w 512"/>
              <a:gd name="T27" fmla="*/ 340 h 512"/>
              <a:gd name="T28" fmla="*/ 256 w 512"/>
              <a:gd name="T29" fmla="*/ 149 h 512"/>
              <a:gd name="T30" fmla="*/ 96 w 512"/>
              <a:gd name="T31" fmla="*/ 309 h 512"/>
              <a:gd name="T32" fmla="*/ 106 w 512"/>
              <a:gd name="T33" fmla="*/ 320 h 512"/>
              <a:gd name="T34" fmla="*/ 117 w 512"/>
              <a:gd name="T35" fmla="*/ 309 h 512"/>
              <a:gd name="T36" fmla="*/ 256 w 512"/>
              <a:gd name="T37" fmla="*/ 170 h 512"/>
              <a:gd name="T38" fmla="*/ 394 w 512"/>
              <a:gd name="T39" fmla="*/ 309 h 512"/>
              <a:gd name="T40" fmla="*/ 405 w 512"/>
              <a:gd name="T41" fmla="*/ 320 h 512"/>
              <a:gd name="T42" fmla="*/ 416 w 512"/>
              <a:gd name="T43" fmla="*/ 309 h 512"/>
              <a:gd name="T44" fmla="*/ 256 w 512"/>
              <a:gd name="T45" fmla="*/ 149 h 512"/>
              <a:gd name="T46" fmla="*/ 256 w 512"/>
              <a:gd name="T47" fmla="*/ 192 h 512"/>
              <a:gd name="T48" fmla="*/ 138 w 512"/>
              <a:gd name="T49" fmla="*/ 309 h 512"/>
              <a:gd name="T50" fmla="*/ 149 w 512"/>
              <a:gd name="T51" fmla="*/ 320 h 512"/>
              <a:gd name="T52" fmla="*/ 160 w 512"/>
              <a:gd name="T53" fmla="*/ 309 h 512"/>
              <a:gd name="T54" fmla="*/ 256 w 512"/>
              <a:gd name="T55" fmla="*/ 213 h 512"/>
              <a:gd name="T56" fmla="*/ 352 w 512"/>
              <a:gd name="T57" fmla="*/ 309 h 512"/>
              <a:gd name="T58" fmla="*/ 362 w 512"/>
              <a:gd name="T59" fmla="*/ 320 h 512"/>
              <a:gd name="T60" fmla="*/ 373 w 512"/>
              <a:gd name="T61" fmla="*/ 309 h 512"/>
              <a:gd name="T62" fmla="*/ 256 w 512"/>
              <a:gd name="T63" fmla="*/ 192 h 512"/>
              <a:gd name="T64" fmla="*/ 256 w 512"/>
              <a:gd name="T65" fmla="*/ 234 h 512"/>
              <a:gd name="T66" fmla="*/ 181 w 512"/>
              <a:gd name="T67" fmla="*/ 309 h 512"/>
              <a:gd name="T68" fmla="*/ 192 w 512"/>
              <a:gd name="T69" fmla="*/ 320 h 512"/>
              <a:gd name="T70" fmla="*/ 202 w 512"/>
              <a:gd name="T71" fmla="*/ 309 h 512"/>
              <a:gd name="T72" fmla="*/ 256 w 512"/>
              <a:gd name="T73" fmla="*/ 256 h 512"/>
              <a:gd name="T74" fmla="*/ 309 w 512"/>
              <a:gd name="T75" fmla="*/ 309 h 512"/>
              <a:gd name="T76" fmla="*/ 320 w 512"/>
              <a:gd name="T77" fmla="*/ 320 h 512"/>
              <a:gd name="T78" fmla="*/ 330 w 512"/>
              <a:gd name="T79" fmla="*/ 309 h 512"/>
              <a:gd name="T80" fmla="*/ 256 w 512"/>
              <a:gd name="T81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76" y="340"/>
                </a:moveTo>
                <a:cubicBezTo>
                  <a:pt x="276" y="340"/>
                  <a:pt x="276" y="340"/>
                  <a:pt x="276" y="340"/>
                </a:cubicBezTo>
                <a:moveTo>
                  <a:pt x="235" y="340"/>
                </a:moveTo>
                <a:cubicBezTo>
                  <a:pt x="235" y="340"/>
                  <a:pt x="235" y="340"/>
                  <a:pt x="235" y="340"/>
                </a:cubicBezTo>
                <a:moveTo>
                  <a:pt x="256" y="149"/>
                </a:moveTo>
                <a:cubicBezTo>
                  <a:pt x="167" y="149"/>
                  <a:pt x="96" y="221"/>
                  <a:pt x="96" y="309"/>
                </a:cubicBezTo>
                <a:cubicBezTo>
                  <a:pt x="96" y="315"/>
                  <a:pt x="100" y="320"/>
                  <a:pt x="106" y="320"/>
                </a:cubicBezTo>
                <a:cubicBezTo>
                  <a:pt x="112" y="320"/>
                  <a:pt x="117" y="315"/>
                  <a:pt x="117" y="309"/>
                </a:cubicBezTo>
                <a:cubicBezTo>
                  <a:pt x="117" y="233"/>
                  <a:pt x="179" y="170"/>
                  <a:pt x="256" y="170"/>
                </a:cubicBezTo>
                <a:cubicBezTo>
                  <a:pt x="332" y="170"/>
                  <a:pt x="394" y="233"/>
                  <a:pt x="394" y="309"/>
                </a:cubicBezTo>
                <a:cubicBezTo>
                  <a:pt x="394" y="315"/>
                  <a:pt x="399" y="320"/>
                  <a:pt x="405" y="320"/>
                </a:cubicBezTo>
                <a:cubicBezTo>
                  <a:pt x="411" y="320"/>
                  <a:pt x="416" y="315"/>
                  <a:pt x="416" y="309"/>
                </a:cubicBezTo>
                <a:cubicBezTo>
                  <a:pt x="416" y="221"/>
                  <a:pt x="344" y="149"/>
                  <a:pt x="256" y="149"/>
                </a:cubicBezTo>
                <a:close/>
                <a:moveTo>
                  <a:pt x="256" y="192"/>
                </a:moveTo>
                <a:cubicBezTo>
                  <a:pt x="191" y="192"/>
                  <a:pt x="138" y="244"/>
                  <a:pt x="138" y="309"/>
                </a:cubicBezTo>
                <a:cubicBezTo>
                  <a:pt x="138" y="315"/>
                  <a:pt x="143" y="320"/>
                  <a:pt x="149" y="320"/>
                </a:cubicBezTo>
                <a:cubicBezTo>
                  <a:pt x="155" y="320"/>
                  <a:pt x="160" y="315"/>
                  <a:pt x="160" y="309"/>
                </a:cubicBezTo>
                <a:cubicBezTo>
                  <a:pt x="160" y="256"/>
                  <a:pt x="203" y="213"/>
                  <a:pt x="256" y="213"/>
                </a:cubicBezTo>
                <a:cubicBezTo>
                  <a:pt x="309" y="213"/>
                  <a:pt x="352" y="256"/>
                  <a:pt x="352" y="309"/>
                </a:cubicBezTo>
                <a:cubicBezTo>
                  <a:pt x="352" y="315"/>
                  <a:pt x="356" y="320"/>
                  <a:pt x="362" y="320"/>
                </a:cubicBezTo>
                <a:cubicBezTo>
                  <a:pt x="368" y="320"/>
                  <a:pt x="373" y="315"/>
                  <a:pt x="373" y="309"/>
                </a:cubicBezTo>
                <a:cubicBezTo>
                  <a:pt x="373" y="244"/>
                  <a:pt x="320" y="192"/>
                  <a:pt x="256" y="192"/>
                </a:cubicBezTo>
                <a:close/>
                <a:moveTo>
                  <a:pt x="256" y="234"/>
                </a:moveTo>
                <a:cubicBezTo>
                  <a:pt x="214" y="234"/>
                  <a:pt x="181" y="268"/>
                  <a:pt x="181" y="309"/>
                </a:cubicBezTo>
                <a:cubicBezTo>
                  <a:pt x="181" y="315"/>
                  <a:pt x="186" y="320"/>
                  <a:pt x="192" y="320"/>
                </a:cubicBezTo>
                <a:cubicBezTo>
                  <a:pt x="198" y="320"/>
                  <a:pt x="202" y="315"/>
                  <a:pt x="202" y="309"/>
                </a:cubicBezTo>
                <a:cubicBezTo>
                  <a:pt x="202" y="280"/>
                  <a:pt x="226" y="256"/>
                  <a:pt x="256" y="256"/>
                </a:cubicBezTo>
                <a:cubicBezTo>
                  <a:pt x="285" y="256"/>
                  <a:pt x="309" y="280"/>
                  <a:pt x="309" y="309"/>
                </a:cubicBezTo>
                <a:cubicBezTo>
                  <a:pt x="309" y="315"/>
                  <a:pt x="314" y="320"/>
                  <a:pt x="320" y="320"/>
                </a:cubicBezTo>
                <a:cubicBezTo>
                  <a:pt x="326" y="320"/>
                  <a:pt x="330" y="315"/>
                  <a:pt x="330" y="309"/>
                </a:cubicBezTo>
                <a:cubicBezTo>
                  <a:pt x="330" y="268"/>
                  <a:pt x="297" y="234"/>
                  <a:pt x="256" y="2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6" name="Freeform 617"/>
          <p:cNvSpPr>
            <a:spLocks noChangeAspect="1" noEditPoints="1"/>
          </p:cNvSpPr>
          <p:nvPr/>
        </p:nvSpPr>
        <p:spPr bwMode="auto">
          <a:xfrm>
            <a:off x="6396617" y="205105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20 w 512"/>
              <a:gd name="T11" fmla="*/ 320 h 512"/>
              <a:gd name="T12" fmla="*/ 309 w 512"/>
              <a:gd name="T13" fmla="*/ 309 h 512"/>
              <a:gd name="T14" fmla="*/ 256 w 512"/>
              <a:gd name="T15" fmla="*/ 256 h 512"/>
              <a:gd name="T16" fmla="*/ 202 w 512"/>
              <a:gd name="T17" fmla="*/ 309 h 512"/>
              <a:gd name="T18" fmla="*/ 192 w 512"/>
              <a:gd name="T19" fmla="*/ 320 h 512"/>
              <a:gd name="T20" fmla="*/ 181 w 512"/>
              <a:gd name="T21" fmla="*/ 309 h 512"/>
              <a:gd name="T22" fmla="*/ 256 w 512"/>
              <a:gd name="T23" fmla="*/ 234 h 512"/>
              <a:gd name="T24" fmla="*/ 330 w 512"/>
              <a:gd name="T25" fmla="*/ 309 h 512"/>
              <a:gd name="T26" fmla="*/ 320 w 512"/>
              <a:gd name="T27" fmla="*/ 320 h 512"/>
              <a:gd name="T28" fmla="*/ 362 w 512"/>
              <a:gd name="T29" fmla="*/ 320 h 512"/>
              <a:gd name="T30" fmla="*/ 352 w 512"/>
              <a:gd name="T31" fmla="*/ 309 h 512"/>
              <a:gd name="T32" fmla="*/ 256 w 512"/>
              <a:gd name="T33" fmla="*/ 213 h 512"/>
              <a:gd name="T34" fmla="*/ 160 w 512"/>
              <a:gd name="T35" fmla="*/ 309 h 512"/>
              <a:gd name="T36" fmla="*/ 149 w 512"/>
              <a:gd name="T37" fmla="*/ 320 h 512"/>
              <a:gd name="T38" fmla="*/ 138 w 512"/>
              <a:gd name="T39" fmla="*/ 309 h 512"/>
              <a:gd name="T40" fmla="*/ 256 w 512"/>
              <a:gd name="T41" fmla="*/ 192 h 512"/>
              <a:gd name="T42" fmla="*/ 373 w 512"/>
              <a:gd name="T43" fmla="*/ 309 h 512"/>
              <a:gd name="T44" fmla="*/ 362 w 512"/>
              <a:gd name="T45" fmla="*/ 320 h 512"/>
              <a:gd name="T46" fmla="*/ 405 w 512"/>
              <a:gd name="T47" fmla="*/ 320 h 512"/>
              <a:gd name="T48" fmla="*/ 394 w 512"/>
              <a:gd name="T49" fmla="*/ 309 h 512"/>
              <a:gd name="T50" fmla="*/ 256 w 512"/>
              <a:gd name="T51" fmla="*/ 170 h 512"/>
              <a:gd name="T52" fmla="*/ 117 w 512"/>
              <a:gd name="T53" fmla="*/ 309 h 512"/>
              <a:gd name="T54" fmla="*/ 106 w 512"/>
              <a:gd name="T55" fmla="*/ 320 h 512"/>
              <a:gd name="T56" fmla="*/ 96 w 512"/>
              <a:gd name="T57" fmla="*/ 309 h 512"/>
              <a:gd name="T58" fmla="*/ 256 w 512"/>
              <a:gd name="T59" fmla="*/ 149 h 512"/>
              <a:gd name="T60" fmla="*/ 416 w 512"/>
              <a:gd name="T61" fmla="*/ 309 h 512"/>
              <a:gd name="T62" fmla="*/ 405 w 512"/>
              <a:gd name="T63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0" y="320"/>
                </a:moveTo>
                <a:cubicBezTo>
                  <a:pt x="314" y="320"/>
                  <a:pt x="309" y="315"/>
                  <a:pt x="309" y="309"/>
                </a:cubicBezTo>
                <a:cubicBezTo>
                  <a:pt x="309" y="280"/>
                  <a:pt x="285" y="256"/>
                  <a:pt x="256" y="256"/>
                </a:cubicBezTo>
                <a:cubicBezTo>
                  <a:pt x="226" y="256"/>
                  <a:pt x="202" y="280"/>
                  <a:pt x="202" y="309"/>
                </a:cubicBezTo>
                <a:cubicBezTo>
                  <a:pt x="202" y="315"/>
                  <a:pt x="198" y="320"/>
                  <a:pt x="192" y="320"/>
                </a:cubicBezTo>
                <a:cubicBezTo>
                  <a:pt x="186" y="320"/>
                  <a:pt x="181" y="315"/>
                  <a:pt x="181" y="309"/>
                </a:cubicBezTo>
                <a:cubicBezTo>
                  <a:pt x="181" y="268"/>
                  <a:pt x="214" y="234"/>
                  <a:pt x="256" y="234"/>
                </a:cubicBezTo>
                <a:cubicBezTo>
                  <a:pt x="297" y="234"/>
                  <a:pt x="330" y="268"/>
                  <a:pt x="330" y="309"/>
                </a:cubicBezTo>
                <a:cubicBezTo>
                  <a:pt x="330" y="315"/>
                  <a:pt x="326" y="320"/>
                  <a:pt x="320" y="320"/>
                </a:cubicBezTo>
                <a:close/>
                <a:moveTo>
                  <a:pt x="362" y="320"/>
                </a:moveTo>
                <a:cubicBezTo>
                  <a:pt x="356" y="320"/>
                  <a:pt x="352" y="315"/>
                  <a:pt x="352" y="309"/>
                </a:cubicBezTo>
                <a:cubicBezTo>
                  <a:pt x="352" y="256"/>
                  <a:pt x="309" y="213"/>
                  <a:pt x="256" y="213"/>
                </a:cubicBezTo>
                <a:cubicBezTo>
                  <a:pt x="203" y="213"/>
                  <a:pt x="160" y="256"/>
                  <a:pt x="160" y="309"/>
                </a:cubicBezTo>
                <a:cubicBezTo>
                  <a:pt x="160" y="315"/>
                  <a:pt x="155" y="320"/>
                  <a:pt x="149" y="320"/>
                </a:cubicBezTo>
                <a:cubicBezTo>
                  <a:pt x="143" y="320"/>
                  <a:pt x="138" y="315"/>
                  <a:pt x="138" y="309"/>
                </a:cubicBezTo>
                <a:cubicBezTo>
                  <a:pt x="138" y="244"/>
                  <a:pt x="191" y="192"/>
                  <a:pt x="256" y="192"/>
                </a:cubicBezTo>
                <a:cubicBezTo>
                  <a:pt x="320" y="192"/>
                  <a:pt x="373" y="244"/>
                  <a:pt x="373" y="309"/>
                </a:cubicBezTo>
                <a:cubicBezTo>
                  <a:pt x="373" y="315"/>
                  <a:pt x="368" y="320"/>
                  <a:pt x="362" y="320"/>
                </a:cubicBezTo>
                <a:close/>
                <a:moveTo>
                  <a:pt x="405" y="320"/>
                </a:moveTo>
                <a:cubicBezTo>
                  <a:pt x="399" y="320"/>
                  <a:pt x="394" y="315"/>
                  <a:pt x="394" y="309"/>
                </a:cubicBezTo>
                <a:cubicBezTo>
                  <a:pt x="394" y="233"/>
                  <a:pt x="332" y="170"/>
                  <a:pt x="256" y="170"/>
                </a:cubicBezTo>
                <a:cubicBezTo>
                  <a:pt x="179" y="170"/>
                  <a:pt x="117" y="233"/>
                  <a:pt x="117" y="309"/>
                </a:cubicBezTo>
                <a:cubicBezTo>
                  <a:pt x="117" y="315"/>
                  <a:pt x="112" y="320"/>
                  <a:pt x="106" y="320"/>
                </a:cubicBezTo>
                <a:cubicBezTo>
                  <a:pt x="100" y="320"/>
                  <a:pt x="96" y="315"/>
                  <a:pt x="96" y="309"/>
                </a:cubicBezTo>
                <a:cubicBezTo>
                  <a:pt x="96" y="221"/>
                  <a:pt x="167" y="149"/>
                  <a:pt x="256" y="149"/>
                </a:cubicBezTo>
                <a:cubicBezTo>
                  <a:pt x="344" y="149"/>
                  <a:pt x="416" y="221"/>
                  <a:pt x="416" y="309"/>
                </a:cubicBezTo>
                <a:cubicBezTo>
                  <a:pt x="416" y="315"/>
                  <a:pt x="411" y="320"/>
                  <a:pt x="405" y="3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7" name="Group 638"/>
          <p:cNvGrpSpPr>
            <a:grpSpLocks noChangeAspect="1"/>
          </p:cNvGrpSpPr>
          <p:nvPr/>
        </p:nvGrpSpPr>
        <p:grpSpPr bwMode="auto">
          <a:xfrm>
            <a:off x="5898948" y="2051054"/>
            <a:ext cx="370106" cy="369021"/>
            <a:chOff x="1900" y="2357"/>
            <a:chExt cx="341" cy="340"/>
          </a:xfrm>
          <a:solidFill>
            <a:schemeClr val="accent1"/>
          </a:solidFill>
        </p:grpSpPr>
        <p:sp>
          <p:nvSpPr>
            <p:cNvPr id="338" name="Freeform 639"/>
            <p:cNvSpPr>
              <a:spLocks/>
            </p:cNvSpPr>
            <p:nvPr/>
          </p:nvSpPr>
          <p:spPr bwMode="auto">
            <a:xfrm>
              <a:off x="1964" y="2419"/>
              <a:ext cx="213" cy="214"/>
            </a:xfrm>
            <a:custGeom>
              <a:avLst/>
              <a:gdLst>
                <a:gd name="T0" fmla="*/ 234 w 320"/>
                <a:gd name="T1" fmla="*/ 303 h 322"/>
                <a:gd name="T2" fmla="*/ 213 w 320"/>
                <a:gd name="T3" fmla="*/ 322 h 322"/>
                <a:gd name="T4" fmla="*/ 199 w 320"/>
                <a:gd name="T5" fmla="*/ 317 h 322"/>
                <a:gd name="T6" fmla="*/ 160 w 320"/>
                <a:gd name="T7" fmla="*/ 322 h 322"/>
                <a:gd name="T8" fmla="*/ 0 w 320"/>
                <a:gd name="T9" fmla="*/ 162 h 322"/>
                <a:gd name="T10" fmla="*/ 11 w 320"/>
                <a:gd name="T11" fmla="*/ 102 h 322"/>
                <a:gd name="T12" fmla="*/ 34 w 320"/>
                <a:gd name="T13" fmla="*/ 63 h 322"/>
                <a:gd name="T14" fmla="*/ 49 w 320"/>
                <a:gd name="T15" fmla="*/ 61 h 322"/>
                <a:gd name="T16" fmla="*/ 51 w 320"/>
                <a:gd name="T17" fmla="*/ 76 h 322"/>
                <a:gd name="T18" fmla="*/ 31 w 320"/>
                <a:gd name="T19" fmla="*/ 110 h 322"/>
                <a:gd name="T20" fmla="*/ 21 w 320"/>
                <a:gd name="T21" fmla="*/ 162 h 322"/>
                <a:gd name="T22" fmla="*/ 160 w 320"/>
                <a:gd name="T23" fmla="*/ 300 h 322"/>
                <a:gd name="T24" fmla="*/ 192 w 320"/>
                <a:gd name="T25" fmla="*/ 296 h 322"/>
                <a:gd name="T26" fmla="*/ 213 w 320"/>
                <a:gd name="T27" fmla="*/ 279 h 322"/>
                <a:gd name="T28" fmla="*/ 226 w 320"/>
                <a:gd name="T29" fmla="*/ 283 h 322"/>
                <a:gd name="T30" fmla="*/ 298 w 320"/>
                <a:gd name="T31" fmla="*/ 162 h 322"/>
                <a:gd name="T32" fmla="*/ 249 w 320"/>
                <a:gd name="T33" fmla="*/ 56 h 322"/>
                <a:gd name="T34" fmla="*/ 230 w 320"/>
                <a:gd name="T35" fmla="*/ 82 h 322"/>
                <a:gd name="T36" fmla="*/ 266 w 320"/>
                <a:gd name="T37" fmla="*/ 162 h 322"/>
                <a:gd name="T38" fmla="*/ 160 w 320"/>
                <a:gd name="T39" fmla="*/ 268 h 322"/>
                <a:gd name="T40" fmla="*/ 55 w 320"/>
                <a:gd name="T41" fmla="*/ 181 h 322"/>
                <a:gd name="T42" fmla="*/ 42 w 320"/>
                <a:gd name="T43" fmla="*/ 162 h 322"/>
                <a:gd name="T44" fmla="*/ 55 w 320"/>
                <a:gd name="T45" fmla="*/ 142 h 322"/>
                <a:gd name="T46" fmla="*/ 59 w 320"/>
                <a:gd name="T47" fmla="*/ 126 h 322"/>
                <a:gd name="T48" fmla="*/ 73 w 320"/>
                <a:gd name="T49" fmla="*/ 120 h 322"/>
                <a:gd name="T50" fmla="*/ 79 w 320"/>
                <a:gd name="T51" fmla="*/ 133 h 322"/>
                <a:gd name="T52" fmla="*/ 76 w 320"/>
                <a:gd name="T53" fmla="*/ 144 h 322"/>
                <a:gd name="T54" fmla="*/ 85 w 320"/>
                <a:gd name="T55" fmla="*/ 162 h 322"/>
                <a:gd name="T56" fmla="*/ 76 w 320"/>
                <a:gd name="T57" fmla="*/ 179 h 322"/>
                <a:gd name="T58" fmla="*/ 160 w 320"/>
                <a:gd name="T59" fmla="*/ 247 h 322"/>
                <a:gd name="T60" fmla="*/ 245 w 320"/>
                <a:gd name="T61" fmla="*/ 162 h 322"/>
                <a:gd name="T62" fmla="*/ 217 w 320"/>
                <a:gd name="T63" fmla="*/ 99 h 322"/>
                <a:gd name="T64" fmla="*/ 199 w 320"/>
                <a:gd name="T65" fmla="*/ 125 h 322"/>
                <a:gd name="T66" fmla="*/ 213 w 320"/>
                <a:gd name="T67" fmla="*/ 162 h 322"/>
                <a:gd name="T68" fmla="*/ 160 w 320"/>
                <a:gd name="T69" fmla="*/ 215 h 322"/>
                <a:gd name="T70" fmla="*/ 106 w 320"/>
                <a:gd name="T71" fmla="*/ 162 h 322"/>
                <a:gd name="T72" fmla="*/ 133 w 320"/>
                <a:gd name="T73" fmla="*/ 115 h 322"/>
                <a:gd name="T74" fmla="*/ 148 w 320"/>
                <a:gd name="T75" fmla="*/ 119 h 322"/>
                <a:gd name="T76" fmla="*/ 144 w 320"/>
                <a:gd name="T77" fmla="*/ 134 h 322"/>
                <a:gd name="T78" fmla="*/ 128 w 320"/>
                <a:gd name="T79" fmla="*/ 162 h 322"/>
                <a:gd name="T80" fmla="*/ 160 w 320"/>
                <a:gd name="T81" fmla="*/ 194 h 322"/>
                <a:gd name="T82" fmla="*/ 192 w 320"/>
                <a:gd name="T83" fmla="*/ 162 h 322"/>
                <a:gd name="T84" fmla="*/ 186 w 320"/>
                <a:gd name="T85" fmla="*/ 143 h 322"/>
                <a:gd name="T86" fmla="*/ 168 w 320"/>
                <a:gd name="T87" fmla="*/ 168 h 322"/>
                <a:gd name="T88" fmla="*/ 160 w 320"/>
                <a:gd name="T89" fmla="*/ 172 h 322"/>
                <a:gd name="T90" fmla="*/ 153 w 320"/>
                <a:gd name="T91" fmla="*/ 170 h 322"/>
                <a:gd name="T92" fmla="*/ 151 w 320"/>
                <a:gd name="T93" fmla="*/ 155 h 322"/>
                <a:gd name="T94" fmla="*/ 258 w 320"/>
                <a:gd name="T95" fmla="*/ 6 h 322"/>
                <a:gd name="T96" fmla="*/ 273 w 320"/>
                <a:gd name="T97" fmla="*/ 4 h 322"/>
                <a:gd name="T98" fmla="*/ 275 w 320"/>
                <a:gd name="T99" fmla="*/ 19 h 322"/>
                <a:gd name="T100" fmla="*/ 261 w 320"/>
                <a:gd name="T101" fmla="*/ 38 h 322"/>
                <a:gd name="T102" fmla="*/ 320 w 320"/>
                <a:gd name="T103" fmla="*/ 162 h 322"/>
                <a:gd name="T104" fmla="*/ 234 w 320"/>
                <a:gd name="T105" fmla="*/ 30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22">
                  <a:moveTo>
                    <a:pt x="234" y="303"/>
                  </a:moveTo>
                  <a:cubicBezTo>
                    <a:pt x="233" y="314"/>
                    <a:pt x="224" y="322"/>
                    <a:pt x="213" y="322"/>
                  </a:cubicBezTo>
                  <a:cubicBezTo>
                    <a:pt x="208" y="322"/>
                    <a:pt x="203" y="320"/>
                    <a:pt x="199" y="317"/>
                  </a:cubicBezTo>
                  <a:cubicBezTo>
                    <a:pt x="187" y="320"/>
                    <a:pt x="173" y="322"/>
                    <a:pt x="160" y="322"/>
                  </a:cubicBezTo>
                  <a:cubicBezTo>
                    <a:pt x="71" y="322"/>
                    <a:pt x="0" y="250"/>
                    <a:pt x="0" y="162"/>
                  </a:cubicBezTo>
                  <a:cubicBezTo>
                    <a:pt x="0" y="141"/>
                    <a:pt x="4" y="121"/>
                    <a:pt x="11" y="102"/>
                  </a:cubicBezTo>
                  <a:cubicBezTo>
                    <a:pt x="17" y="88"/>
                    <a:pt x="24" y="75"/>
                    <a:pt x="34" y="63"/>
                  </a:cubicBezTo>
                  <a:cubicBezTo>
                    <a:pt x="38" y="58"/>
                    <a:pt x="44" y="57"/>
                    <a:pt x="49" y="61"/>
                  </a:cubicBezTo>
                  <a:cubicBezTo>
                    <a:pt x="54" y="65"/>
                    <a:pt x="54" y="71"/>
                    <a:pt x="51" y="76"/>
                  </a:cubicBezTo>
                  <a:cubicBezTo>
                    <a:pt x="42" y="86"/>
                    <a:pt x="36" y="98"/>
                    <a:pt x="31" y="110"/>
                  </a:cubicBezTo>
                  <a:cubicBezTo>
                    <a:pt x="24" y="126"/>
                    <a:pt x="21" y="144"/>
                    <a:pt x="21" y="162"/>
                  </a:cubicBezTo>
                  <a:cubicBezTo>
                    <a:pt x="21" y="238"/>
                    <a:pt x="83" y="300"/>
                    <a:pt x="160" y="300"/>
                  </a:cubicBezTo>
                  <a:cubicBezTo>
                    <a:pt x="171" y="300"/>
                    <a:pt x="182" y="299"/>
                    <a:pt x="192" y="296"/>
                  </a:cubicBezTo>
                  <a:cubicBezTo>
                    <a:pt x="194" y="286"/>
                    <a:pt x="203" y="279"/>
                    <a:pt x="213" y="279"/>
                  </a:cubicBezTo>
                  <a:cubicBezTo>
                    <a:pt x="218" y="279"/>
                    <a:pt x="222" y="281"/>
                    <a:pt x="226" y="283"/>
                  </a:cubicBezTo>
                  <a:cubicBezTo>
                    <a:pt x="269" y="260"/>
                    <a:pt x="298" y="214"/>
                    <a:pt x="298" y="162"/>
                  </a:cubicBezTo>
                  <a:cubicBezTo>
                    <a:pt x="298" y="120"/>
                    <a:pt x="280" y="82"/>
                    <a:pt x="249" y="56"/>
                  </a:cubicBezTo>
                  <a:cubicBezTo>
                    <a:pt x="230" y="82"/>
                    <a:pt x="230" y="82"/>
                    <a:pt x="230" y="82"/>
                  </a:cubicBezTo>
                  <a:cubicBezTo>
                    <a:pt x="253" y="102"/>
                    <a:pt x="266" y="131"/>
                    <a:pt x="266" y="162"/>
                  </a:cubicBezTo>
                  <a:cubicBezTo>
                    <a:pt x="266" y="220"/>
                    <a:pt x="218" y="268"/>
                    <a:pt x="160" y="268"/>
                  </a:cubicBezTo>
                  <a:cubicBezTo>
                    <a:pt x="107" y="268"/>
                    <a:pt x="64" y="231"/>
                    <a:pt x="55" y="181"/>
                  </a:cubicBezTo>
                  <a:cubicBezTo>
                    <a:pt x="47" y="178"/>
                    <a:pt x="42" y="170"/>
                    <a:pt x="42" y="162"/>
                  </a:cubicBezTo>
                  <a:cubicBezTo>
                    <a:pt x="42" y="153"/>
                    <a:pt x="47" y="146"/>
                    <a:pt x="55" y="142"/>
                  </a:cubicBezTo>
                  <a:cubicBezTo>
                    <a:pt x="56" y="137"/>
                    <a:pt x="57" y="131"/>
                    <a:pt x="59" y="126"/>
                  </a:cubicBezTo>
                  <a:cubicBezTo>
                    <a:pt x="61" y="121"/>
                    <a:pt x="67" y="118"/>
                    <a:pt x="73" y="120"/>
                  </a:cubicBezTo>
                  <a:cubicBezTo>
                    <a:pt x="78" y="122"/>
                    <a:pt x="81" y="128"/>
                    <a:pt x="79" y="133"/>
                  </a:cubicBezTo>
                  <a:cubicBezTo>
                    <a:pt x="78" y="137"/>
                    <a:pt x="77" y="141"/>
                    <a:pt x="76" y="144"/>
                  </a:cubicBezTo>
                  <a:cubicBezTo>
                    <a:pt x="81" y="148"/>
                    <a:pt x="85" y="155"/>
                    <a:pt x="85" y="162"/>
                  </a:cubicBezTo>
                  <a:cubicBezTo>
                    <a:pt x="85" y="169"/>
                    <a:pt x="81" y="175"/>
                    <a:pt x="76" y="179"/>
                  </a:cubicBezTo>
                  <a:cubicBezTo>
                    <a:pt x="84" y="218"/>
                    <a:pt x="119" y="247"/>
                    <a:pt x="160" y="247"/>
                  </a:cubicBezTo>
                  <a:cubicBezTo>
                    <a:pt x="207" y="247"/>
                    <a:pt x="245" y="209"/>
                    <a:pt x="245" y="162"/>
                  </a:cubicBezTo>
                  <a:cubicBezTo>
                    <a:pt x="245" y="138"/>
                    <a:pt x="235" y="115"/>
                    <a:pt x="217" y="99"/>
                  </a:cubicBezTo>
                  <a:cubicBezTo>
                    <a:pt x="199" y="125"/>
                    <a:pt x="199" y="125"/>
                    <a:pt x="199" y="125"/>
                  </a:cubicBezTo>
                  <a:cubicBezTo>
                    <a:pt x="208" y="135"/>
                    <a:pt x="213" y="148"/>
                    <a:pt x="213" y="162"/>
                  </a:cubicBezTo>
                  <a:cubicBezTo>
                    <a:pt x="213" y="191"/>
                    <a:pt x="189" y="215"/>
                    <a:pt x="160" y="215"/>
                  </a:cubicBezTo>
                  <a:cubicBezTo>
                    <a:pt x="130" y="215"/>
                    <a:pt x="106" y="191"/>
                    <a:pt x="106" y="162"/>
                  </a:cubicBezTo>
                  <a:cubicBezTo>
                    <a:pt x="106" y="143"/>
                    <a:pt x="117" y="125"/>
                    <a:pt x="133" y="115"/>
                  </a:cubicBezTo>
                  <a:cubicBezTo>
                    <a:pt x="138" y="113"/>
                    <a:pt x="145" y="114"/>
                    <a:pt x="148" y="119"/>
                  </a:cubicBezTo>
                  <a:cubicBezTo>
                    <a:pt x="151" y="124"/>
                    <a:pt x="149" y="131"/>
                    <a:pt x="144" y="134"/>
                  </a:cubicBezTo>
                  <a:cubicBezTo>
                    <a:pt x="134" y="140"/>
                    <a:pt x="128" y="150"/>
                    <a:pt x="128" y="162"/>
                  </a:cubicBezTo>
                  <a:cubicBezTo>
                    <a:pt x="128" y="179"/>
                    <a:pt x="142" y="194"/>
                    <a:pt x="160" y="194"/>
                  </a:cubicBezTo>
                  <a:cubicBezTo>
                    <a:pt x="177" y="194"/>
                    <a:pt x="192" y="179"/>
                    <a:pt x="192" y="162"/>
                  </a:cubicBezTo>
                  <a:cubicBezTo>
                    <a:pt x="192" y="155"/>
                    <a:pt x="190" y="149"/>
                    <a:pt x="186" y="143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6" y="171"/>
                    <a:pt x="163" y="172"/>
                    <a:pt x="160" y="172"/>
                  </a:cubicBezTo>
                  <a:cubicBezTo>
                    <a:pt x="158" y="172"/>
                    <a:pt x="155" y="172"/>
                    <a:pt x="153" y="170"/>
                  </a:cubicBezTo>
                  <a:cubicBezTo>
                    <a:pt x="149" y="167"/>
                    <a:pt x="148" y="160"/>
                    <a:pt x="151" y="155"/>
                  </a:cubicBezTo>
                  <a:cubicBezTo>
                    <a:pt x="258" y="6"/>
                    <a:pt x="258" y="6"/>
                    <a:pt x="258" y="6"/>
                  </a:cubicBezTo>
                  <a:cubicBezTo>
                    <a:pt x="261" y="1"/>
                    <a:pt x="268" y="0"/>
                    <a:pt x="273" y="4"/>
                  </a:cubicBezTo>
                  <a:cubicBezTo>
                    <a:pt x="277" y="7"/>
                    <a:pt x="278" y="14"/>
                    <a:pt x="275" y="19"/>
                  </a:cubicBezTo>
                  <a:cubicBezTo>
                    <a:pt x="261" y="38"/>
                    <a:pt x="261" y="38"/>
                    <a:pt x="261" y="38"/>
                  </a:cubicBezTo>
                  <a:cubicBezTo>
                    <a:pt x="298" y="69"/>
                    <a:pt x="320" y="113"/>
                    <a:pt x="320" y="162"/>
                  </a:cubicBezTo>
                  <a:cubicBezTo>
                    <a:pt x="320" y="223"/>
                    <a:pt x="285" y="276"/>
                    <a:pt x="234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640"/>
            <p:cNvSpPr>
              <a:spLocks noEditPoints="1"/>
            </p:cNvSpPr>
            <p:nvPr/>
          </p:nvSpPr>
          <p:spPr bwMode="auto">
            <a:xfrm>
              <a:off x="1900" y="235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0" name="Freeform 644"/>
          <p:cNvSpPr>
            <a:spLocks noChangeAspect="1" noEditPoints="1"/>
          </p:cNvSpPr>
          <p:nvPr/>
        </p:nvSpPr>
        <p:spPr bwMode="auto">
          <a:xfrm>
            <a:off x="5402364" y="205105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30 w 512"/>
              <a:gd name="T11" fmla="*/ 397 h 512"/>
              <a:gd name="T12" fmla="*/ 309 w 512"/>
              <a:gd name="T13" fmla="*/ 416 h 512"/>
              <a:gd name="T14" fmla="*/ 295 w 512"/>
              <a:gd name="T15" fmla="*/ 411 h 512"/>
              <a:gd name="T16" fmla="*/ 256 w 512"/>
              <a:gd name="T17" fmla="*/ 416 h 512"/>
              <a:gd name="T18" fmla="*/ 96 w 512"/>
              <a:gd name="T19" fmla="*/ 256 h 512"/>
              <a:gd name="T20" fmla="*/ 107 w 512"/>
              <a:gd name="T21" fmla="*/ 196 h 512"/>
              <a:gd name="T22" fmla="*/ 130 w 512"/>
              <a:gd name="T23" fmla="*/ 157 h 512"/>
              <a:gd name="T24" fmla="*/ 145 w 512"/>
              <a:gd name="T25" fmla="*/ 155 h 512"/>
              <a:gd name="T26" fmla="*/ 147 w 512"/>
              <a:gd name="T27" fmla="*/ 170 h 512"/>
              <a:gd name="T28" fmla="*/ 127 w 512"/>
              <a:gd name="T29" fmla="*/ 204 h 512"/>
              <a:gd name="T30" fmla="*/ 117 w 512"/>
              <a:gd name="T31" fmla="*/ 256 h 512"/>
              <a:gd name="T32" fmla="*/ 256 w 512"/>
              <a:gd name="T33" fmla="*/ 394 h 512"/>
              <a:gd name="T34" fmla="*/ 288 w 512"/>
              <a:gd name="T35" fmla="*/ 390 h 512"/>
              <a:gd name="T36" fmla="*/ 309 w 512"/>
              <a:gd name="T37" fmla="*/ 373 h 512"/>
              <a:gd name="T38" fmla="*/ 322 w 512"/>
              <a:gd name="T39" fmla="*/ 377 h 512"/>
              <a:gd name="T40" fmla="*/ 394 w 512"/>
              <a:gd name="T41" fmla="*/ 256 h 512"/>
              <a:gd name="T42" fmla="*/ 345 w 512"/>
              <a:gd name="T43" fmla="*/ 150 h 512"/>
              <a:gd name="T44" fmla="*/ 326 w 512"/>
              <a:gd name="T45" fmla="*/ 176 h 512"/>
              <a:gd name="T46" fmla="*/ 362 w 512"/>
              <a:gd name="T47" fmla="*/ 256 h 512"/>
              <a:gd name="T48" fmla="*/ 256 w 512"/>
              <a:gd name="T49" fmla="*/ 362 h 512"/>
              <a:gd name="T50" fmla="*/ 151 w 512"/>
              <a:gd name="T51" fmla="*/ 275 h 512"/>
              <a:gd name="T52" fmla="*/ 138 w 512"/>
              <a:gd name="T53" fmla="*/ 256 h 512"/>
              <a:gd name="T54" fmla="*/ 151 w 512"/>
              <a:gd name="T55" fmla="*/ 236 h 512"/>
              <a:gd name="T56" fmla="*/ 155 w 512"/>
              <a:gd name="T57" fmla="*/ 220 h 512"/>
              <a:gd name="T58" fmla="*/ 169 w 512"/>
              <a:gd name="T59" fmla="*/ 214 h 512"/>
              <a:gd name="T60" fmla="*/ 175 w 512"/>
              <a:gd name="T61" fmla="*/ 227 h 512"/>
              <a:gd name="T62" fmla="*/ 172 w 512"/>
              <a:gd name="T63" fmla="*/ 238 h 512"/>
              <a:gd name="T64" fmla="*/ 181 w 512"/>
              <a:gd name="T65" fmla="*/ 256 h 512"/>
              <a:gd name="T66" fmla="*/ 172 w 512"/>
              <a:gd name="T67" fmla="*/ 273 h 512"/>
              <a:gd name="T68" fmla="*/ 256 w 512"/>
              <a:gd name="T69" fmla="*/ 341 h 512"/>
              <a:gd name="T70" fmla="*/ 341 w 512"/>
              <a:gd name="T71" fmla="*/ 256 h 512"/>
              <a:gd name="T72" fmla="*/ 313 w 512"/>
              <a:gd name="T73" fmla="*/ 193 h 512"/>
              <a:gd name="T74" fmla="*/ 295 w 512"/>
              <a:gd name="T75" fmla="*/ 219 h 512"/>
              <a:gd name="T76" fmla="*/ 309 w 512"/>
              <a:gd name="T77" fmla="*/ 256 h 512"/>
              <a:gd name="T78" fmla="*/ 256 w 512"/>
              <a:gd name="T79" fmla="*/ 309 h 512"/>
              <a:gd name="T80" fmla="*/ 202 w 512"/>
              <a:gd name="T81" fmla="*/ 256 h 512"/>
              <a:gd name="T82" fmla="*/ 229 w 512"/>
              <a:gd name="T83" fmla="*/ 209 h 512"/>
              <a:gd name="T84" fmla="*/ 244 w 512"/>
              <a:gd name="T85" fmla="*/ 213 h 512"/>
              <a:gd name="T86" fmla="*/ 240 w 512"/>
              <a:gd name="T87" fmla="*/ 228 h 512"/>
              <a:gd name="T88" fmla="*/ 224 w 512"/>
              <a:gd name="T89" fmla="*/ 256 h 512"/>
              <a:gd name="T90" fmla="*/ 256 w 512"/>
              <a:gd name="T91" fmla="*/ 288 h 512"/>
              <a:gd name="T92" fmla="*/ 288 w 512"/>
              <a:gd name="T93" fmla="*/ 256 h 512"/>
              <a:gd name="T94" fmla="*/ 282 w 512"/>
              <a:gd name="T95" fmla="*/ 237 h 512"/>
              <a:gd name="T96" fmla="*/ 264 w 512"/>
              <a:gd name="T97" fmla="*/ 262 h 512"/>
              <a:gd name="T98" fmla="*/ 256 w 512"/>
              <a:gd name="T99" fmla="*/ 266 h 512"/>
              <a:gd name="T100" fmla="*/ 249 w 512"/>
              <a:gd name="T101" fmla="*/ 264 h 512"/>
              <a:gd name="T102" fmla="*/ 247 w 512"/>
              <a:gd name="T103" fmla="*/ 249 h 512"/>
              <a:gd name="T104" fmla="*/ 354 w 512"/>
              <a:gd name="T105" fmla="*/ 100 h 512"/>
              <a:gd name="T106" fmla="*/ 369 w 512"/>
              <a:gd name="T107" fmla="*/ 98 h 512"/>
              <a:gd name="T108" fmla="*/ 371 w 512"/>
              <a:gd name="T109" fmla="*/ 113 h 512"/>
              <a:gd name="T110" fmla="*/ 357 w 512"/>
              <a:gd name="T111" fmla="*/ 132 h 512"/>
              <a:gd name="T112" fmla="*/ 416 w 512"/>
              <a:gd name="T113" fmla="*/ 256 h 512"/>
              <a:gd name="T114" fmla="*/ 330 w 512"/>
              <a:gd name="T115" fmla="*/ 39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397"/>
                </a:moveTo>
                <a:cubicBezTo>
                  <a:pt x="329" y="408"/>
                  <a:pt x="320" y="416"/>
                  <a:pt x="309" y="416"/>
                </a:cubicBezTo>
                <a:cubicBezTo>
                  <a:pt x="304" y="416"/>
                  <a:pt x="299" y="414"/>
                  <a:pt x="295" y="411"/>
                </a:cubicBezTo>
                <a:cubicBezTo>
                  <a:pt x="283" y="414"/>
                  <a:pt x="269" y="416"/>
                  <a:pt x="256" y="416"/>
                </a:cubicBezTo>
                <a:cubicBezTo>
                  <a:pt x="167" y="416"/>
                  <a:pt x="96" y="344"/>
                  <a:pt x="96" y="256"/>
                </a:cubicBezTo>
                <a:cubicBezTo>
                  <a:pt x="96" y="235"/>
                  <a:pt x="100" y="215"/>
                  <a:pt x="107" y="196"/>
                </a:cubicBezTo>
                <a:cubicBezTo>
                  <a:pt x="113" y="182"/>
                  <a:pt x="120" y="169"/>
                  <a:pt x="130" y="157"/>
                </a:cubicBezTo>
                <a:cubicBezTo>
                  <a:pt x="134" y="152"/>
                  <a:pt x="140" y="151"/>
                  <a:pt x="145" y="155"/>
                </a:cubicBezTo>
                <a:cubicBezTo>
                  <a:pt x="150" y="159"/>
                  <a:pt x="150" y="165"/>
                  <a:pt x="147" y="170"/>
                </a:cubicBezTo>
                <a:cubicBezTo>
                  <a:pt x="138" y="180"/>
                  <a:pt x="132" y="192"/>
                  <a:pt x="127" y="204"/>
                </a:cubicBezTo>
                <a:cubicBezTo>
                  <a:pt x="120" y="220"/>
                  <a:pt x="117" y="238"/>
                  <a:pt x="117" y="256"/>
                </a:cubicBezTo>
                <a:cubicBezTo>
                  <a:pt x="117" y="332"/>
                  <a:pt x="179" y="394"/>
                  <a:pt x="256" y="394"/>
                </a:cubicBezTo>
                <a:cubicBezTo>
                  <a:pt x="267" y="394"/>
                  <a:pt x="278" y="393"/>
                  <a:pt x="288" y="390"/>
                </a:cubicBezTo>
                <a:cubicBezTo>
                  <a:pt x="290" y="380"/>
                  <a:pt x="299" y="373"/>
                  <a:pt x="309" y="373"/>
                </a:cubicBezTo>
                <a:cubicBezTo>
                  <a:pt x="314" y="373"/>
                  <a:pt x="318" y="375"/>
                  <a:pt x="322" y="377"/>
                </a:cubicBezTo>
                <a:cubicBezTo>
                  <a:pt x="365" y="354"/>
                  <a:pt x="394" y="308"/>
                  <a:pt x="394" y="256"/>
                </a:cubicBezTo>
                <a:cubicBezTo>
                  <a:pt x="394" y="214"/>
                  <a:pt x="376" y="176"/>
                  <a:pt x="345" y="150"/>
                </a:cubicBezTo>
                <a:cubicBezTo>
                  <a:pt x="326" y="176"/>
                  <a:pt x="326" y="176"/>
                  <a:pt x="326" y="176"/>
                </a:cubicBezTo>
                <a:cubicBezTo>
                  <a:pt x="349" y="196"/>
                  <a:pt x="362" y="225"/>
                  <a:pt x="362" y="256"/>
                </a:cubicBezTo>
                <a:cubicBezTo>
                  <a:pt x="362" y="314"/>
                  <a:pt x="314" y="362"/>
                  <a:pt x="256" y="362"/>
                </a:cubicBezTo>
                <a:cubicBezTo>
                  <a:pt x="203" y="362"/>
                  <a:pt x="160" y="325"/>
                  <a:pt x="151" y="275"/>
                </a:cubicBezTo>
                <a:cubicBezTo>
                  <a:pt x="143" y="272"/>
                  <a:pt x="138" y="264"/>
                  <a:pt x="138" y="256"/>
                </a:cubicBezTo>
                <a:cubicBezTo>
                  <a:pt x="138" y="247"/>
                  <a:pt x="143" y="240"/>
                  <a:pt x="151" y="236"/>
                </a:cubicBezTo>
                <a:cubicBezTo>
                  <a:pt x="152" y="231"/>
                  <a:pt x="153" y="225"/>
                  <a:pt x="155" y="220"/>
                </a:cubicBezTo>
                <a:cubicBezTo>
                  <a:pt x="157" y="215"/>
                  <a:pt x="163" y="212"/>
                  <a:pt x="169" y="214"/>
                </a:cubicBezTo>
                <a:cubicBezTo>
                  <a:pt x="174" y="216"/>
                  <a:pt x="177" y="222"/>
                  <a:pt x="175" y="227"/>
                </a:cubicBezTo>
                <a:cubicBezTo>
                  <a:pt x="174" y="231"/>
                  <a:pt x="173" y="235"/>
                  <a:pt x="172" y="238"/>
                </a:cubicBezTo>
                <a:cubicBezTo>
                  <a:pt x="177" y="242"/>
                  <a:pt x="181" y="249"/>
                  <a:pt x="181" y="256"/>
                </a:cubicBezTo>
                <a:cubicBezTo>
                  <a:pt x="181" y="263"/>
                  <a:pt x="177" y="269"/>
                  <a:pt x="172" y="273"/>
                </a:cubicBezTo>
                <a:cubicBezTo>
                  <a:pt x="180" y="312"/>
                  <a:pt x="215" y="341"/>
                  <a:pt x="256" y="341"/>
                </a:cubicBezTo>
                <a:cubicBezTo>
                  <a:pt x="303" y="341"/>
                  <a:pt x="341" y="303"/>
                  <a:pt x="341" y="256"/>
                </a:cubicBezTo>
                <a:cubicBezTo>
                  <a:pt x="341" y="232"/>
                  <a:pt x="331" y="209"/>
                  <a:pt x="313" y="193"/>
                </a:cubicBezTo>
                <a:cubicBezTo>
                  <a:pt x="295" y="219"/>
                  <a:pt x="295" y="219"/>
                  <a:pt x="295" y="219"/>
                </a:cubicBezTo>
                <a:cubicBezTo>
                  <a:pt x="304" y="229"/>
                  <a:pt x="309" y="242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37"/>
                  <a:pt x="213" y="219"/>
                  <a:pt x="229" y="209"/>
                </a:cubicBezTo>
                <a:cubicBezTo>
                  <a:pt x="234" y="207"/>
                  <a:pt x="241" y="208"/>
                  <a:pt x="244" y="213"/>
                </a:cubicBezTo>
                <a:cubicBezTo>
                  <a:pt x="247" y="218"/>
                  <a:pt x="245" y="225"/>
                  <a:pt x="240" y="228"/>
                </a:cubicBezTo>
                <a:cubicBezTo>
                  <a:pt x="230" y="234"/>
                  <a:pt x="224" y="244"/>
                  <a:pt x="224" y="256"/>
                </a:cubicBezTo>
                <a:cubicBezTo>
                  <a:pt x="224" y="273"/>
                  <a:pt x="238" y="288"/>
                  <a:pt x="256" y="288"/>
                </a:cubicBezTo>
                <a:cubicBezTo>
                  <a:pt x="273" y="288"/>
                  <a:pt x="288" y="273"/>
                  <a:pt x="288" y="256"/>
                </a:cubicBezTo>
                <a:cubicBezTo>
                  <a:pt x="288" y="249"/>
                  <a:pt x="286" y="243"/>
                  <a:pt x="282" y="237"/>
                </a:cubicBezTo>
                <a:cubicBezTo>
                  <a:pt x="264" y="262"/>
                  <a:pt x="264" y="262"/>
                  <a:pt x="264" y="262"/>
                </a:cubicBezTo>
                <a:cubicBezTo>
                  <a:pt x="262" y="265"/>
                  <a:pt x="259" y="266"/>
                  <a:pt x="256" y="266"/>
                </a:cubicBezTo>
                <a:cubicBezTo>
                  <a:pt x="254" y="266"/>
                  <a:pt x="251" y="266"/>
                  <a:pt x="249" y="264"/>
                </a:cubicBezTo>
                <a:cubicBezTo>
                  <a:pt x="245" y="261"/>
                  <a:pt x="244" y="254"/>
                  <a:pt x="247" y="249"/>
                </a:cubicBezTo>
                <a:cubicBezTo>
                  <a:pt x="354" y="100"/>
                  <a:pt x="354" y="100"/>
                  <a:pt x="354" y="100"/>
                </a:cubicBezTo>
                <a:cubicBezTo>
                  <a:pt x="357" y="95"/>
                  <a:pt x="364" y="94"/>
                  <a:pt x="369" y="98"/>
                </a:cubicBezTo>
                <a:cubicBezTo>
                  <a:pt x="373" y="101"/>
                  <a:pt x="374" y="108"/>
                  <a:pt x="371" y="113"/>
                </a:cubicBezTo>
                <a:cubicBezTo>
                  <a:pt x="357" y="132"/>
                  <a:pt x="357" y="132"/>
                  <a:pt x="357" y="132"/>
                </a:cubicBezTo>
                <a:cubicBezTo>
                  <a:pt x="394" y="163"/>
                  <a:pt x="416" y="207"/>
                  <a:pt x="416" y="256"/>
                </a:cubicBezTo>
                <a:cubicBezTo>
                  <a:pt x="416" y="317"/>
                  <a:pt x="381" y="370"/>
                  <a:pt x="330" y="3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1" name="Group 688"/>
          <p:cNvGrpSpPr>
            <a:grpSpLocks noChangeAspect="1"/>
          </p:cNvGrpSpPr>
          <p:nvPr/>
        </p:nvGrpSpPr>
        <p:grpSpPr bwMode="auto">
          <a:xfrm>
            <a:off x="7886369" y="2051054"/>
            <a:ext cx="369021" cy="369021"/>
            <a:chOff x="5828" y="2694"/>
            <a:chExt cx="340" cy="340"/>
          </a:xfrm>
          <a:solidFill>
            <a:schemeClr val="accent2"/>
          </a:solidFill>
        </p:grpSpPr>
        <p:sp>
          <p:nvSpPr>
            <p:cNvPr id="342" name="Freeform 689"/>
            <p:cNvSpPr>
              <a:spLocks noEditPoints="1"/>
            </p:cNvSpPr>
            <p:nvPr/>
          </p:nvSpPr>
          <p:spPr bwMode="auto">
            <a:xfrm>
              <a:off x="5828" y="26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690"/>
            <p:cNvSpPr>
              <a:spLocks noEditPoints="1"/>
            </p:cNvSpPr>
            <p:nvPr/>
          </p:nvSpPr>
          <p:spPr bwMode="auto">
            <a:xfrm>
              <a:off x="5892" y="2764"/>
              <a:ext cx="200" cy="207"/>
            </a:xfrm>
            <a:custGeom>
              <a:avLst/>
              <a:gdLst>
                <a:gd name="T0" fmla="*/ 166 w 302"/>
                <a:gd name="T1" fmla="*/ 311 h 311"/>
                <a:gd name="T2" fmla="*/ 158 w 302"/>
                <a:gd name="T3" fmla="*/ 308 h 311"/>
                <a:gd name="T4" fmla="*/ 113 w 302"/>
                <a:gd name="T5" fmla="*/ 263 h 311"/>
                <a:gd name="T6" fmla="*/ 92 w 302"/>
                <a:gd name="T7" fmla="*/ 268 h 311"/>
                <a:gd name="T8" fmla="*/ 55 w 302"/>
                <a:gd name="T9" fmla="*/ 257 h 311"/>
                <a:gd name="T10" fmla="*/ 49 w 302"/>
                <a:gd name="T11" fmla="*/ 198 h 311"/>
                <a:gd name="T12" fmla="*/ 4 w 302"/>
                <a:gd name="T13" fmla="*/ 153 h 311"/>
                <a:gd name="T14" fmla="*/ 2 w 302"/>
                <a:gd name="T15" fmla="*/ 140 h 311"/>
                <a:gd name="T16" fmla="*/ 97 w 302"/>
                <a:gd name="T17" fmla="*/ 95 h 311"/>
                <a:gd name="T18" fmla="*/ 280 w 302"/>
                <a:gd name="T19" fmla="*/ 25 h 311"/>
                <a:gd name="T20" fmla="*/ 287 w 302"/>
                <a:gd name="T21" fmla="*/ 33 h 311"/>
                <a:gd name="T22" fmla="*/ 216 w 302"/>
                <a:gd name="T23" fmla="*/ 216 h 311"/>
                <a:gd name="T24" fmla="*/ 172 w 302"/>
                <a:gd name="T25" fmla="*/ 309 h 311"/>
                <a:gd name="T26" fmla="*/ 166 w 302"/>
                <a:gd name="T27" fmla="*/ 311 h 311"/>
                <a:gd name="T28" fmla="*/ 115 w 302"/>
                <a:gd name="T29" fmla="*/ 239 h 311"/>
                <a:gd name="T30" fmla="*/ 122 w 302"/>
                <a:gd name="T31" fmla="*/ 242 h 311"/>
                <a:gd name="T32" fmla="*/ 167 w 302"/>
                <a:gd name="T33" fmla="*/ 286 h 311"/>
                <a:gd name="T34" fmla="*/ 194 w 302"/>
                <a:gd name="T35" fmla="*/ 216 h 311"/>
                <a:gd name="T36" fmla="*/ 197 w 302"/>
                <a:gd name="T37" fmla="*/ 205 h 311"/>
                <a:gd name="T38" fmla="*/ 267 w 302"/>
                <a:gd name="T39" fmla="*/ 44 h 311"/>
                <a:gd name="T40" fmla="*/ 107 w 302"/>
                <a:gd name="T41" fmla="*/ 114 h 311"/>
                <a:gd name="T42" fmla="*/ 96 w 302"/>
                <a:gd name="T43" fmla="*/ 116 h 311"/>
                <a:gd name="T44" fmla="*/ 25 w 302"/>
                <a:gd name="T45" fmla="*/ 144 h 311"/>
                <a:gd name="T46" fmla="*/ 70 w 302"/>
                <a:gd name="T47" fmla="*/ 189 h 311"/>
                <a:gd name="T48" fmla="*/ 70 w 302"/>
                <a:gd name="T49" fmla="*/ 204 h 311"/>
                <a:gd name="T50" fmla="*/ 70 w 302"/>
                <a:gd name="T51" fmla="*/ 242 h 311"/>
                <a:gd name="T52" fmla="*/ 107 w 302"/>
                <a:gd name="T53" fmla="*/ 242 h 311"/>
                <a:gd name="T54" fmla="*/ 115 w 302"/>
                <a:gd name="T55" fmla="*/ 239 h 311"/>
                <a:gd name="T56" fmla="*/ 145 w 302"/>
                <a:gd name="T57" fmla="*/ 209 h 311"/>
                <a:gd name="T58" fmla="*/ 112 w 302"/>
                <a:gd name="T59" fmla="*/ 196 h 311"/>
                <a:gd name="T60" fmla="*/ 112 w 302"/>
                <a:gd name="T61" fmla="*/ 131 h 311"/>
                <a:gd name="T62" fmla="*/ 145 w 302"/>
                <a:gd name="T63" fmla="*/ 117 h 311"/>
                <a:gd name="T64" fmla="*/ 177 w 302"/>
                <a:gd name="T65" fmla="*/ 131 h 311"/>
                <a:gd name="T66" fmla="*/ 177 w 302"/>
                <a:gd name="T67" fmla="*/ 196 h 311"/>
                <a:gd name="T68" fmla="*/ 177 w 302"/>
                <a:gd name="T69" fmla="*/ 196 h 311"/>
                <a:gd name="T70" fmla="*/ 145 w 302"/>
                <a:gd name="T71" fmla="*/ 209 h 311"/>
                <a:gd name="T72" fmla="*/ 145 w 302"/>
                <a:gd name="T73" fmla="*/ 139 h 311"/>
                <a:gd name="T74" fmla="*/ 128 w 302"/>
                <a:gd name="T75" fmla="*/ 146 h 311"/>
                <a:gd name="T76" fmla="*/ 128 w 302"/>
                <a:gd name="T77" fmla="*/ 181 h 311"/>
                <a:gd name="T78" fmla="*/ 162 w 302"/>
                <a:gd name="T79" fmla="*/ 181 h 311"/>
                <a:gd name="T80" fmla="*/ 162 w 302"/>
                <a:gd name="T81" fmla="*/ 181 h 311"/>
                <a:gd name="T82" fmla="*/ 162 w 302"/>
                <a:gd name="T83" fmla="*/ 146 h 311"/>
                <a:gd name="T84" fmla="*/ 145 w 302"/>
                <a:gd name="T85" fmla="*/ 13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2" h="311">
                  <a:moveTo>
                    <a:pt x="166" y="311"/>
                  </a:moveTo>
                  <a:cubicBezTo>
                    <a:pt x="163" y="311"/>
                    <a:pt x="160" y="310"/>
                    <a:pt x="158" y="308"/>
                  </a:cubicBezTo>
                  <a:cubicBezTo>
                    <a:pt x="113" y="263"/>
                    <a:pt x="113" y="263"/>
                    <a:pt x="113" y="263"/>
                  </a:cubicBezTo>
                  <a:cubicBezTo>
                    <a:pt x="107" y="266"/>
                    <a:pt x="100" y="268"/>
                    <a:pt x="92" y="268"/>
                  </a:cubicBezTo>
                  <a:cubicBezTo>
                    <a:pt x="77" y="270"/>
                    <a:pt x="63" y="266"/>
                    <a:pt x="55" y="257"/>
                  </a:cubicBezTo>
                  <a:cubicBezTo>
                    <a:pt x="39" y="242"/>
                    <a:pt x="41" y="214"/>
                    <a:pt x="49" y="198"/>
                  </a:cubicBezTo>
                  <a:cubicBezTo>
                    <a:pt x="4" y="153"/>
                    <a:pt x="4" y="153"/>
                    <a:pt x="4" y="153"/>
                  </a:cubicBezTo>
                  <a:cubicBezTo>
                    <a:pt x="0" y="150"/>
                    <a:pt x="0" y="145"/>
                    <a:pt x="2" y="140"/>
                  </a:cubicBezTo>
                  <a:cubicBezTo>
                    <a:pt x="35" y="87"/>
                    <a:pt x="79" y="91"/>
                    <a:pt x="97" y="95"/>
                  </a:cubicBezTo>
                  <a:cubicBezTo>
                    <a:pt x="194" y="0"/>
                    <a:pt x="276" y="24"/>
                    <a:pt x="280" y="25"/>
                  </a:cubicBezTo>
                  <a:cubicBezTo>
                    <a:pt x="284" y="26"/>
                    <a:pt x="286" y="29"/>
                    <a:pt x="287" y="33"/>
                  </a:cubicBezTo>
                  <a:cubicBezTo>
                    <a:pt x="288" y="37"/>
                    <a:pt x="302" y="127"/>
                    <a:pt x="216" y="216"/>
                  </a:cubicBezTo>
                  <a:cubicBezTo>
                    <a:pt x="219" y="232"/>
                    <a:pt x="220" y="273"/>
                    <a:pt x="172" y="309"/>
                  </a:cubicBezTo>
                  <a:cubicBezTo>
                    <a:pt x="170" y="310"/>
                    <a:pt x="168" y="311"/>
                    <a:pt x="166" y="311"/>
                  </a:cubicBezTo>
                  <a:close/>
                  <a:moveTo>
                    <a:pt x="115" y="239"/>
                  </a:moveTo>
                  <a:cubicBezTo>
                    <a:pt x="118" y="239"/>
                    <a:pt x="120" y="240"/>
                    <a:pt x="122" y="242"/>
                  </a:cubicBezTo>
                  <a:cubicBezTo>
                    <a:pt x="167" y="286"/>
                    <a:pt x="167" y="286"/>
                    <a:pt x="167" y="286"/>
                  </a:cubicBezTo>
                  <a:cubicBezTo>
                    <a:pt x="206" y="252"/>
                    <a:pt x="195" y="216"/>
                    <a:pt x="194" y="216"/>
                  </a:cubicBezTo>
                  <a:cubicBezTo>
                    <a:pt x="193" y="212"/>
                    <a:pt x="194" y="208"/>
                    <a:pt x="197" y="205"/>
                  </a:cubicBezTo>
                  <a:cubicBezTo>
                    <a:pt x="266" y="136"/>
                    <a:pt x="268" y="66"/>
                    <a:pt x="267" y="44"/>
                  </a:cubicBezTo>
                  <a:cubicBezTo>
                    <a:pt x="246" y="41"/>
                    <a:pt x="183" y="39"/>
                    <a:pt x="107" y="114"/>
                  </a:cubicBezTo>
                  <a:cubicBezTo>
                    <a:pt x="104" y="117"/>
                    <a:pt x="100" y="118"/>
                    <a:pt x="96" y="116"/>
                  </a:cubicBezTo>
                  <a:cubicBezTo>
                    <a:pt x="94" y="116"/>
                    <a:pt x="55" y="102"/>
                    <a:pt x="25" y="144"/>
                  </a:cubicBezTo>
                  <a:cubicBezTo>
                    <a:pt x="70" y="189"/>
                    <a:pt x="70" y="189"/>
                    <a:pt x="70" y="189"/>
                  </a:cubicBezTo>
                  <a:cubicBezTo>
                    <a:pt x="74" y="193"/>
                    <a:pt x="74" y="200"/>
                    <a:pt x="70" y="204"/>
                  </a:cubicBezTo>
                  <a:cubicBezTo>
                    <a:pt x="66" y="209"/>
                    <a:pt x="60" y="232"/>
                    <a:pt x="70" y="242"/>
                  </a:cubicBezTo>
                  <a:cubicBezTo>
                    <a:pt x="79" y="252"/>
                    <a:pt x="103" y="246"/>
                    <a:pt x="107" y="242"/>
                  </a:cubicBezTo>
                  <a:cubicBezTo>
                    <a:pt x="109" y="240"/>
                    <a:pt x="112" y="239"/>
                    <a:pt x="115" y="239"/>
                  </a:cubicBezTo>
                  <a:close/>
                  <a:moveTo>
                    <a:pt x="145" y="209"/>
                  </a:moveTo>
                  <a:cubicBezTo>
                    <a:pt x="133" y="209"/>
                    <a:pt x="121" y="205"/>
                    <a:pt x="112" y="196"/>
                  </a:cubicBezTo>
                  <a:cubicBezTo>
                    <a:pt x="95" y="178"/>
                    <a:pt x="95" y="149"/>
                    <a:pt x="112" y="131"/>
                  </a:cubicBezTo>
                  <a:cubicBezTo>
                    <a:pt x="121" y="122"/>
                    <a:pt x="133" y="117"/>
                    <a:pt x="145" y="117"/>
                  </a:cubicBezTo>
                  <a:cubicBezTo>
                    <a:pt x="157" y="117"/>
                    <a:pt x="169" y="122"/>
                    <a:pt x="177" y="131"/>
                  </a:cubicBezTo>
                  <a:cubicBezTo>
                    <a:pt x="195" y="149"/>
                    <a:pt x="195" y="178"/>
                    <a:pt x="177" y="196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68" y="205"/>
                    <a:pt x="157" y="209"/>
                    <a:pt x="145" y="209"/>
                  </a:cubicBezTo>
                  <a:close/>
                  <a:moveTo>
                    <a:pt x="145" y="139"/>
                  </a:moveTo>
                  <a:cubicBezTo>
                    <a:pt x="138" y="139"/>
                    <a:pt x="132" y="141"/>
                    <a:pt x="128" y="146"/>
                  </a:cubicBezTo>
                  <a:cubicBezTo>
                    <a:pt x="118" y="156"/>
                    <a:pt x="118" y="171"/>
                    <a:pt x="128" y="181"/>
                  </a:cubicBezTo>
                  <a:cubicBezTo>
                    <a:pt x="137" y="190"/>
                    <a:pt x="153" y="190"/>
                    <a:pt x="162" y="181"/>
                  </a:cubicBezTo>
                  <a:cubicBezTo>
                    <a:pt x="162" y="181"/>
                    <a:pt x="162" y="181"/>
                    <a:pt x="162" y="181"/>
                  </a:cubicBezTo>
                  <a:cubicBezTo>
                    <a:pt x="172" y="171"/>
                    <a:pt x="172" y="156"/>
                    <a:pt x="162" y="146"/>
                  </a:cubicBezTo>
                  <a:cubicBezTo>
                    <a:pt x="158" y="141"/>
                    <a:pt x="151" y="139"/>
                    <a:pt x="145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4" name="Freeform 694"/>
          <p:cNvSpPr>
            <a:spLocks noChangeAspect="1" noEditPoints="1"/>
          </p:cNvSpPr>
          <p:nvPr/>
        </p:nvSpPr>
        <p:spPr bwMode="auto">
          <a:xfrm>
            <a:off x="7389785" y="2051051"/>
            <a:ext cx="369021" cy="370106"/>
          </a:xfrm>
          <a:custGeom>
            <a:avLst/>
            <a:gdLst>
              <a:gd name="T0" fmla="*/ 203 w 512"/>
              <a:gd name="T1" fmla="*/ 220 h 512"/>
              <a:gd name="T2" fmla="*/ 192 w 512"/>
              <a:gd name="T3" fmla="*/ 222 h 512"/>
              <a:gd name="T4" fmla="*/ 121 w 512"/>
              <a:gd name="T5" fmla="*/ 250 h 512"/>
              <a:gd name="T6" fmla="*/ 166 w 512"/>
              <a:gd name="T7" fmla="*/ 295 h 512"/>
              <a:gd name="T8" fmla="*/ 166 w 512"/>
              <a:gd name="T9" fmla="*/ 310 h 512"/>
              <a:gd name="T10" fmla="*/ 166 w 512"/>
              <a:gd name="T11" fmla="*/ 348 h 512"/>
              <a:gd name="T12" fmla="*/ 203 w 512"/>
              <a:gd name="T13" fmla="*/ 348 h 512"/>
              <a:gd name="T14" fmla="*/ 211 w 512"/>
              <a:gd name="T15" fmla="*/ 345 h 512"/>
              <a:gd name="T16" fmla="*/ 218 w 512"/>
              <a:gd name="T17" fmla="*/ 348 h 512"/>
              <a:gd name="T18" fmla="*/ 263 w 512"/>
              <a:gd name="T19" fmla="*/ 392 h 512"/>
              <a:gd name="T20" fmla="*/ 290 w 512"/>
              <a:gd name="T21" fmla="*/ 322 h 512"/>
              <a:gd name="T22" fmla="*/ 293 w 512"/>
              <a:gd name="T23" fmla="*/ 311 h 512"/>
              <a:gd name="T24" fmla="*/ 363 w 512"/>
              <a:gd name="T25" fmla="*/ 150 h 512"/>
              <a:gd name="T26" fmla="*/ 203 w 512"/>
              <a:gd name="T27" fmla="*/ 220 h 512"/>
              <a:gd name="T28" fmla="*/ 273 w 512"/>
              <a:gd name="T29" fmla="*/ 302 h 512"/>
              <a:gd name="T30" fmla="*/ 241 w 512"/>
              <a:gd name="T31" fmla="*/ 315 h 512"/>
              <a:gd name="T32" fmla="*/ 208 w 512"/>
              <a:gd name="T33" fmla="*/ 302 h 512"/>
              <a:gd name="T34" fmla="*/ 208 w 512"/>
              <a:gd name="T35" fmla="*/ 237 h 512"/>
              <a:gd name="T36" fmla="*/ 241 w 512"/>
              <a:gd name="T37" fmla="*/ 223 h 512"/>
              <a:gd name="T38" fmla="*/ 273 w 512"/>
              <a:gd name="T39" fmla="*/ 237 h 512"/>
              <a:gd name="T40" fmla="*/ 273 w 512"/>
              <a:gd name="T41" fmla="*/ 302 h 512"/>
              <a:gd name="T42" fmla="*/ 258 w 512"/>
              <a:gd name="T43" fmla="*/ 252 h 512"/>
              <a:gd name="T44" fmla="*/ 258 w 512"/>
              <a:gd name="T45" fmla="*/ 287 h 512"/>
              <a:gd name="T46" fmla="*/ 224 w 512"/>
              <a:gd name="T47" fmla="*/ 287 h 512"/>
              <a:gd name="T48" fmla="*/ 224 w 512"/>
              <a:gd name="T49" fmla="*/ 252 h 512"/>
              <a:gd name="T50" fmla="*/ 241 w 512"/>
              <a:gd name="T51" fmla="*/ 245 h 512"/>
              <a:gd name="T52" fmla="*/ 258 w 512"/>
              <a:gd name="T53" fmla="*/ 252 h 512"/>
              <a:gd name="T54" fmla="*/ 256 w 512"/>
              <a:gd name="T55" fmla="*/ 0 h 512"/>
              <a:gd name="T56" fmla="*/ 0 w 512"/>
              <a:gd name="T57" fmla="*/ 256 h 512"/>
              <a:gd name="T58" fmla="*/ 256 w 512"/>
              <a:gd name="T59" fmla="*/ 512 h 512"/>
              <a:gd name="T60" fmla="*/ 512 w 512"/>
              <a:gd name="T61" fmla="*/ 256 h 512"/>
              <a:gd name="T62" fmla="*/ 256 w 512"/>
              <a:gd name="T63" fmla="*/ 0 h 512"/>
              <a:gd name="T64" fmla="*/ 268 w 512"/>
              <a:gd name="T65" fmla="*/ 415 h 512"/>
              <a:gd name="T66" fmla="*/ 262 w 512"/>
              <a:gd name="T67" fmla="*/ 417 h 512"/>
              <a:gd name="T68" fmla="*/ 254 w 512"/>
              <a:gd name="T69" fmla="*/ 414 h 512"/>
              <a:gd name="T70" fmla="*/ 209 w 512"/>
              <a:gd name="T71" fmla="*/ 369 h 512"/>
              <a:gd name="T72" fmla="*/ 188 w 512"/>
              <a:gd name="T73" fmla="*/ 374 h 512"/>
              <a:gd name="T74" fmla="*/ 151 w 512"/>
              <a:gd name="T75" fmla="*/ 363 h 512"/>
              <a:gd name="T76" fmla="*/ 145 w 512"/>
              <a:gd name="T77" fmla="*/ 304 h 512"/>
              <a:gd name="T78" fmla="*/ 100 w 512"/>
              <a:gd name="T79" fmla="*/ 259 h 512"/>
              <a:gd name="T80" fmla="*/ 98 w 512"/>
              <a:gd name="T81" fmla="*/ 246 h 512"/>
              <a:gd name="T82" fmla="*/ 193 w 512"/>
              <a:gd name="T83" fmla="*/ 201 h 512"/>
              <a:gd name="T84" fmla="*/ 376 w 512"/>
              <a:gd name="T85" fmla="*/ 131 h 512"/>
              <a:gd name="T86" fmla="*/ 383 w 512"/>
              <a:gd name="T87" fmla="*/ 139 h 512"/>
              <a:gd name="T88" fmla="*/ 312 w 512"/>
              <a:gd name="T89" fmla="*/ 322 h 512"/>
              <a:gd name="T90" fmla="*/ 268 w 512"/>
              <a:gd name="T91" fmla="*/ 41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03" y="220"/>
                </a:moveTo>
                <a:cubicBezTo>
                  <a:pt x="200" y="223"/>
                  <a:pt x="196" y="224"/>
                  <a:pt x="192" y="222"/>
                </a:cubicBezTo>
                <a:cubicBezTo>
                  <a:pt x="190" y="222"/>
                  <a:pt x="151" y="208"/>
                  <a:pt x="121" y="250"/>
                </a:cubicBezTo>
                <a:cubicBezTo>
                  <a:pt x="166" y="295"/>
                  <a:pt x="166" y="295"/>
                  <a:pt x="166" y="295"/>
                </a:cubicBezTo>
                <a:cubicBezTo>
                  <a:pt x="170" y="299"/>
                  <a:pt x="170" y="306"/>
                  <a:pt x="166" y="310"/>
                </a:cubicBezTo>
                <a:cubicBezTo>
                  <a:pt x="162" y="315"/>
                  <a:pt x="156" y="338"/>
                  <a:pt x="166" y="348"/>
                </a:cubicBezTo>
                <a:cubicBezTo>
                  <a:pt x="175" y="358"/>
                  <a:pt x="199" y="352"/>
                  <a:pt x="203" y="348"/>
                </a:cubicBezTo>
                <a:cubicBezTo>
                  <a:pt x="205" y="346"/>
                  <a:pt x="208" y="345"/>
                  <a:pt x="211" y="345"/>
                </a:cubicBezTo>
                <a:cubicBezTo>
                  <a:pt x="214" y="345"/>
                  <a:pt x="216" y="346"/>
                  <a:pt x="218" y="348"/>
                </a:cubicBezTo>
                <a:cubicBezTo>
                  <a:pt x="263" y="392"/>
                  <a:pt x="263" y="392"/>
                  <a:pt x="263" y="392"/>
                </a:cubicBezTo>
                <a:cubicBezTo>
                  <a:pt x="302" y="358"/>
                  <a:pt x="291" y="322"/>
                  <a:pt x="290" y="322"/>
                </a:cubicBezTo>
                <a:cubicBezTo>
                  <a:pt x="289" y="318"/>
                  <a:pt x="290" y="314"/>
                  <a:pt x="293" y="311"/>
                </a:cubicBezTo>
                <a:cubicBezTo>
                  <a:pt x="362" y="242"/>
                  <a:pt x="364" y="172"/>
                  <a:pt x="363" y="150"/>
                </a:cubicBezTo>
                <a:cubicBezTo>
                  <a:pt x="342" y="147"/>
                  <a:pt x="279" y="145"/>
                  <a:pt x="203" y="220"/>
                </a:cubicBezTo>
                <a:close/>
                <a:moveTo>
                  <a:pt x="273" y="302"/>
                </a:moveTo>
                <a:cubicBezTo>
                  <a:pt x="264" y="311"/>
                  <a:pt x="253" y="315"/>
                  <a:pt x="241" y="315"/>
                </a:cubicBezTo>
                <a:cubicBezTo>
                  <a:pt x="229" y="315"/>
                  <a:pt x="217" y="311"/>
                  <a:pt x="208" y="302"/>
                </a:cubicBezTo>
                <a:cubicBezTo>
                  <a:pt x="191" y="284"/>
                  <a:pt x="191" y="255"/>
                  <a:pt x="208" y="237"/>
                </a:cubicBezTo>
                <a:cubicBezTo>
                  <a:pt x="217" y="228"/>
                  <a:pt x="229" y="223"/>
                  <a:pt x="241" y="223"/>
                </a:cubicBezTo>
                <a:cubicBezTo>
                  <a:pt x="253" y="223"/>
                  <a:pt x="265" y="228"/>
                  <a:pt x="273" y="237"/>
                </a:cubicBezTo>
                <a:cubicBezTo>
                  <a:pt x="291" y="255"/>
                  <a:pt x="291" y="284"/>
                  <a:pt x="273" y="302"/>
                </a:cubicBezTo>
                <a:close/>
                <a:moveTo>
                  <a:pt x="258" y="252"/>
                </a:moveTo>
                <a:cubicBezTo>
                  <a:pt x="268" y="262"/>
                  <a:pt x="268" y="277"/>
                  <a:pt x="258" y="287"/>
                </a:cubicBezTo>
                <a:cubicBezTo>
                  <a:pt x="249" y="296"/>
                  <a:pt x="233" y="296"/>
                  <a:pt x="224" y="287"/>
                </a:cubicBezTo>
                <a:cubicBezTo>
                  <a:pt x="214" y="277"/>
                  <a:pt x="214" y="262"/>
                  <a:pt x="224" y="252"/>
                </a:cubicBezTo>
                <a:cubicBezTo>
                  <a:pt x="228" y="247"/>
                  <a:pt x="234" y="245"/>
                  <a:pt x="241" y="245"/>
                </a:cubicBezTo>
                <a:cubicBezTo>
                  <a:pt x="247" y="245"/>
                  <a:pt x="254" y="247"/>
                  <a:pt x="258" y="2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68" y="415"/>
                </a:moveTo>
                <a:cubicBezTo>
                  <a:pt x="266" y="416"/>
                  <a:pt x="264" y="417"/>
                  <a:pt x="262" y="417"/>
                </a:cubicBezTo>
                <a:cubicBezTo>
                  <a:pt x="259" y="417"/>
                  <a:pt x="256" y="416"/>
                  <a:pt x="254" y="414"/>
                </a:cubicBezTo>
                <a:cubicBezTo>
                  <a:pt x="209" y="369"/>
                  <a:pt x="209" y="369"/>
                  <a:pt x="209" y="369"/>
                </a:cubicBezTo>
                <a:cubicBezTo>
                  <a:pt x="203" y="372"/>
                  <a:pt x="196" y="374"/>
                  <a:pt x="188" y="374"/>
                </a:cubicBezTo>
                <a:cubicBezTo>
                  <a:pt x="173" y="376"/>
                  <a:pt x="159" y="372"/>
                  <a:pt x="151" y="363"/>
                </a:cubicBezTo>
                <a:cubicBezTo>
                  <a:pt x="135" y="348"/>
                  <a:pt x="137" y="320"/>
                  <a:pt x="145" y="304"/>
                </a:cubicBezTo>
                <a:cubicBezTo>
                  <a:pt x="100" y="259"/>
                  <a:pt x="100" y="259"/>
                  <a:pt x="100" y="259"/>
                </a:cubicBezTo>
                <a:cubicBezTo>
                  <a:pt x="96" y="256"/>
                  <a:pt x="96" y="251"/>
                  <a:pt x="98" y="246"/>
                </a:cubicBezTo>
                <a:cubicBezTo>
                  <a:pt x="131" y="193"/>
                  <a:pt x="175" y="197"/>
                  <a:pt x="193" y="201"/>
                </a:cubicBezTo>
                <a:cubicBezTo>
                  <a:pt x="290" y="106"/>
                  <a:pt x="372" y="130"/>
                  <a:pt x="376" y="131"/>
                </a:cubicBezTo>
                <a:cubicBezTo>
                  <a:pt x="380" y="132"/>
                  <a:pt x="382" y="135"/>
                  <a:pt x="383" y="139"/>
                </a:cubicBezTo>
                <a:cubicBezTo>
                  <a:pt x="384" y="143"/>
                  <a:pt x="398" y="233"/>
                  <a:pt x="312" y="322"/>
                </a:cubicBezTo>
                <a:cubicBezTo>
                  <a:pt x="315" y="338"/>
                  <a:pt x="316" y="379"/>
                  <a:pt x="268" y="41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6" name="Group 1012"/>
          <p:cNvGrpSpPr>
            <a:grpSpLocks noChangeAspect="1"/>
          </p:cNvGrpSpPr>
          <p:nvPr/>
        </p:nvGrpSpPr>
        <p:grpSpPr bwMode="auto">
          <a:xfrm>
            <a:off x="1938265" y="2916241"/>
            <a:ext cx="369021" cy="369021"/>
            <a:chOff x="1878" y="3998"/>
            <a:chExt cx="340" cy="340"/>
          </a:xfrm>
          <a:solidFill>
            <a:schemeClr val="accent5"/>
          </a:solidFill>
        </p:grpSpPr>
        <p:sp>
          <p:nvSpPr>
            <p:cNvPr id="357" name="Freeform 1013"/>
            <p:cNvSpPr>
              <a:spLocks noEditPoints="1"/>
            </p:cNvSpPr>
            <p:nvPr/>
          </p:nvSpPr>
          <p:spPr bwMode="auto">
            <a:xfrm>
              <a:off x="1955" y="4068"/>
              <a:ext cx="186" cy="192"/>
            </a:xfrm>
            <a:custGeom>
              <a:avLst/>
              <a:gdLst>
                <a:gd name="T0" fmla="*/ 212 w 280"/>
                <a:gd name="T1" fmla="*/ 0 h 288"/>
                <a:gd name="T2" fmla="*/ 178 w 280"/>
                <a:gd name="T3" fmla="*/ 14 h 288"/>
                <a:gd name="T4" fmla="*/ 162 w 280"/>
                <a:gd name="T5" fmla="*/ 101 h 288"/>
                <a:gd name="T6" fmla="*/ 188 w 280"/>
                <a:gd name="T7" fmla="*/ 178 h 288"/>
                <a:gd name="T8" fmla="*/ 261 w 280"/>
                <a:gd name="T9" fmla="*/ 196 h 288"/>
                <a:gd name="T10" fmla="*/ 271 w 280"/>
                <a:gd name="T11" fmla="*/ 189 h 288"/>
                <a:gd name="T12" fmla="*/ 280 w 280"/>
                <a:gd name="T13" fmla="*/ 83 h 288"/>
                <a:gd name="T14" fmla="*/ 196 w 280"/>
                <a:gd name="T15" fmla="*/ 157 h 288"/>
                <a:gd name="T16" fmla="*/ 194 w 280"/>
                <a:gd name="T17" fmla="*/ 29 h 288"/>
                <a:gd name="T18" fmla="*/ 212 w 280"/>
                <a:gd name="T19" fmla="*/ 22 h 288"/>
                <a:gd name="T20" fmla="*/ 253 w 280"/>
                <a:gd name="T21" fmla="*/ 171 h 288"/>
                <a:gd name="T22" fmla="*/ 177 w 280"/>
                <a:gd name="T23" fmla="*/ 208 h 288"/>
                <a:gd name="T24" fmla="*/ 209 w 280"/>
                <a:gd name="T25" fmla="*/ 288 h 288"/>
                <a:gd name="T26" fmla="*/ 241 w 280"/>
                <a:gd name="T27" fmla="*/ 280 h 288"/>
                <a:gd name="T28" fmla="*/ 260 w 280"/>
                <a:gd name="T29" fmla="*/ 231 h 288"/>
                <a:gd name="T30" fmla="*/ 188 w 280"/>
                <a:gd name="T31" fmla="*/ 199 h 288"/>
                <a:gd name="T32" fmla="*/ 228 w 280"/>
                <a:gd name="T33" fmla="*/ 263 h 288"/>
                <a:gd name="T34" fmla="*/ 194 w 280"/>
                <a:gd name="T35" fmla="*/ 243 h 288"/>
                <a:gd name="T36" fmla="*/ 238 w 280"/>
                <a:gd name="T37" fmla="*/ 232 h 288"/>
                <a:gd name="T38" fmla="*/ 69 w 280"/>
                <a:gd name="T39" fmla="*/ 0 h 288"/>
                <a:gd name="T40" fmla="*/ 0 w 280"/>
                <a:gd name="T41" fmla="*/ 83 h 288"/>
                <a:gd name="T42" fmla="*/ 9 w 280"/>
                <a:gd name="T43" fmla="*/ 188 h 288"/>
                <a:gd name="T44" fmla="*/ 20 w 280"/>
                <a:gd name="T45" fmla="*/ 196 h 288"/>
                <a:gd name="T46" fmla="*/ 92 w 280"/>
                <a:gd name="T47" fmla="*/ 178 h 288"/>
                <a:gd name="T48" fmla="*/ 119 w 280"/>
                <a:gd name="T49" fmla="*/ 101 h 288"/>
                <a:gd name="T50" fmla="*/ 102 w 280"/>
                <a:gd name="T51" fmla="*/ 14 h 288"/>
                <a:gd name="T52" fmla="*/ 98 w 280"/>
                <a:gd name="T53" fmla="*/ 96 h 288"/>
                <a:gd name="T54" fmla="*/ 28 w 280"/>
                <a:gd name="T55" fmla="*/ 171 h 288"/>
                <a:gd name="T56" fmla="*/ 69 w 280"/>
                <a:gd name="T57" fmla="*/ 22 h 288"/>
                <a:gd name="T58" fmla="*/ 86 w 280"/>
                <a:gd name="T59" fmla="*/ 29 h 288"/>
                <a:gd name="T60" fmla="*/ 103 w 280"/>
                <a:gd name="T61" fmla="*/ 208 h 288"/>
                <a:gd name="T62" fmla="*/ 22 w 280"/>
                <a:gd name="T63" fmla="*/ 223 h 288"/>
                <a:gd name="T64" fmla="*/ 23 w 280"/>
                <a:gd name="T65" fmla="*/ 252 h 288"/>
                <a:gd name="T66" fmla="*/ 66 w 280"/>
                <a:gd name="T67" fmla="*/ 288 h 288"/>
                <a:gd name="T68" fmla="*/ 100 w 280"/>
                <a:gd name="T69" fmla="*/ 271 h 288"/>
                <a:gd name="T70" fmla="*/ 103 w 280"/>
                <a:gd name="T71" fmla="*/ 208 h 288"/>
                <a:gd name="T72" fmla="*/ 69 w 280"/>
                <a:gd name="T73" fmla="*/ 267 h 288"/>
                <a:gd name="T74" fmla="*/ 45 w 280"/>
                <a:gd name="T75" fmla="*/ 249 h 288"/>
                <a:gd name="T76" fmla="*/ 84 w 280"/>
                <a:gd name="T77" fmla="*/ 220 h 288"/>
                <a:gd name="T78" fmla="*/ 83 w 280"/>
                <a:gd name="T79" fmla="*/ 25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0" h="288">
                  <a:moveTo>
                    <a:pt x="280" y="83"/>
                  </a:moveTo>
                  <a:cubicBezTo>
                    <a:pt x="280" y="79"/>
                    <a:pt x="271" y="0"/>
                    <a:pt x="212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198" y="0"/>
                    <a:pt x="187" y="5"/>
                    <a:pt x="178" y="14"/>
                  </a:cubicBezTo>
                  <a:cubicBezTo>
                    <a:pt x="155" y="41"/>
                    <a:pt x="161" y="93"/>
                    <a:pt x="161" y="99"/>
                  </a:cubicBezTo>
                  <a:cubicBezTo>
                    <a:pt x="161" y="100"/>
                    <a:pt x="162" y="100"/>
                    <a:pt x="162" y="101"/>
                  </a:cubicBezTo>
                  <a:cubicBezTo>
                    <a:pt x="165" y="115"/>
                    <a:pt x="177" y="169"/>
                    <a:pt x="177" y="170"/>
                  </a:cubicBezTo>
                  <a:cubicBezTo>
                    <a:pt x="178" y="175"/>
                    <a:pt x="183" y="179"/>
                    <a:pt x="188" y="178"/>
                  </a:cubicBezTo>
                  <a:cubicBezTo>
                    <a:pt x="206" y="177"/>
                    <a:pt x="244" y="190"/>
                    <a:pt x="257" y="195"/>
                  </a:cubicBezTo>
                  <a:cubicBezTo>
                    <a:pt x="258" y="196"/>
                    <a:pt x="260" y="196"/>
                    <a:pt x="261" y="196"/>
                  </a:cubicBezTo>
                  <a:cubicBezTo>
                    <a:pt x="263" y="196"/>
                    <a:pt x="264" y="196"/>
                    <a:pt x="266" y="195"/>
                  </a:cubicBezTo>
                  <a:cubicBezTo>
                    <a:pt x="268" y="194"/>
                    <a:pt x="270" y="191"/>
                    <a:pt x="271" y="189"/>
                  </a:cubicBezTo>
                  <a:cubicBezTo>
                    <a:pt x="280" y="159"/>
                    <a:pt x="280" y="87"/>
                    <a:pt x="280" y="84"/>
                  </a:cubicBezTo>
                  <a:cubicBezTo>
                    <a:pt x="280" y="83"/>
                    <a:pt x="280" y="83"/>
                    <a:pt x="280" y="83"/>
                  </a:cubicBezTo>
                  <a:close/>
                  <a:moveTo>
                    <a:pt x="253" y="171"/>
                  </a:moveTo>
                  <a:cubicBezTo>
                    <a:pt x="239" y="166"/>
                    <a:pt x="215" y="159"/>
                    <a:pt x="196" y="157"/>
                  </a:cubicBezTo>
                  <a:cubicBezTo>
                    <a:pt x="193" y="141"/>
                    <a:pt x="185" y="108"/>
                    <a:pt x="183" y="96"/>
                  </a:cubicBezTo>
                  <a:cubicBezTo>
                    <a:pt x="181" y="82"/>
                    <a:pt x="180" y="45"/>
                    <a:pt x="194" y="29"/>
                  </a:cubicBezTo>
                  <a:cubicBezTo>
                    <a:pt x="199" y="24"/>
                    <a:pt x="204" y="22"/>
                    <a:pt x="212" y="22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50" y="22"/>
                    <a:pt x="258" y="78"/>
                    <a:pt x="259" y="85"/>
                  </a:cubicBezTo>
                  <a:cubicBezTo>
                    <a:pt x="259" y="91"/>
                    <a:pt x="258" y="141"/>
                    <a:pt x="253" y="171"/>
                  </a:cubicBezTo>
                  <a:close/>
                  <a:moveTo>
                    <a:pt x="188" y="199"/>
                  </a:moveTo>
                  <a:cubicBezTo>
                    <a:pt x="182" y="199"/>
                    <a:pt x="178" y="203"/>
                    <a:pt x="177" y="208"/>
                  </a:cubicBezTo>
                  <a:cubicBezTo>
                    <a:pt x="173" y="240"/>
                    <a:pt x="173" y="240"/>
                    <a:pt x="173" y="240"/>
                  </a:cubicBezTo>
                  <a:cubicBezTo>
                    <a:pt x="169" y="263"/>
                    <a:pt x="186" y="285"/>
                    <a:pt x="209" y="288"/>
                  </a:cubicBezTo>
                  <a:cubicBezTo>
                    <a:pt x="211" y="288"/>
                    <a:pt x="213" y="288"/>
                    <a:pt x="215" y="288"/>
                  </a:cubicBezTo>
                  <a:cubicBezTo>
                    <a:pt x="224" y="288"/>
                    <a:pt x="233" y="285"/>
                    <a:pt x="241" y="280"/>
                  </a:cubicBezTo>
                  <a:cubicBezTo>
                    <a:pt x="250" y="273"/>
                    <a:pt x="256" y="263"/>
                    <a:pt x="257" y="252"/>
                  </a:cubicBezTo>
                  <a:cubicBezTo>
                    <a:pt x="260" y="231"/>
                    <a:pt x="260" y="231"/>
                    <a:pt x="260" y="231"/>
                  </a:cubicBezTo>
                  <a:cubicBezTo>
                    <a:pt x="261" y="228"/>
                    <a:pt x="260" y="225"/>
                    <a:pt x="258" y="223"/>
                  </a:cubicBezTo>
                  <a:cubicBezTo>
                    <a:pt x="246" y="206"/>
                    <a:pt x="223" y="199"/>
                    <a:pt x="188" y="199"/>
                  </a:cubicBezTo>
                  <a:close/>
                  <a:moveTo>
                    <a:pt x="236" y="249"/>
                  </a:moveTo>
                  <a:cubicBezTo>
                    <a:pt x="235" y="254"/>
                    <a:pt x="232" y="259"/>
                    <a:pt x="228" y="263"/>
                  </a:cubicBezTo>
                  <a:cubicBezTo>
                    <a:pt x="223" y="266"/>
                    <a:pt x="218" y="268"/>
                    <a:pt x="212" y="267"/>
                  </a:cubicBezTo>
                  <a:cubicBezTo>
                    <a:pt x="200" y="265"/>
                    <a:pt x="192" y="254"/>
                    <a:pt x="194" y="243"/>
                  </a:cubicBezTo>
                  <a:cubicBezTo>
                    <a:pt x="197" y="220"/>
                    <a:pt x="197" y="220"/>
                    <a:pt x="197" y="220"/>
                  </a:cubicBezTo>
                  <a:cubicBezTo>
                    <a:pt x="217" y="221"/>
                    <a:pt x="231" y="225"/>
                    <a:pt x="238" y="232"/>
                  </a:cubicBezTo>
                  <a:lnTo>
                    <a:pt x="236" y="249"/>
                  </a:lnTo>
                  <a:close/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10" y="0"/>
                    <a:pt x="1" y="79"/>
                    <a:pt x="0" y="83"/>
                  </a:cubicBezTo>
                  <a:cubicBezTo>
                    <a:pt x="0" y="83"/>
                    <a:pt x="0" y="83"/>
                    <a:pt x="0" y="84"/>
                  </a:cubicBezTo>
                  <a:cubicBezTo>
                    <a:pt x="0" y="87"/>
                    <a:pt x="1" y="159"/>
                    <a:pt x="9" y="188"/>
                  </a:cubicBezTo>
                  <a:cubicBezTo>
                    <a:pt x="10" y="191"/>
                    <a:pt x="12" y="194"/>
                    <a:pt x="15" y="195"/>
                  </a:cubicBezTo>
                  <a:cubicBezTo>
                    <a:pt x="17" y="196"/>
                    <a:pt x="18" y="196"/>
                    <a:pt x="20" y="196"/>
                  </a:cubicBezTo>
                  <a:cubicBezTo>
                    <a:pt x="21" y="196"/>
                    <a:pt x="22" y="196"/>
                    <a:pt x="24" y="195"/>
                  </a:cubicBezTo>
                  <a:cubicBezTo>
                    <a:pt x="37" y="190"/>
                    <a:pt x="75" y="177"/>
                    <a:pt x="92" y="178"/>
                  </a:cubicBezTo>
                  <a:cubicBezTo>
                    <a:pt x="98" y="179"/>
                    <a:pt x="102" y="175"/>
                    <a:pt x="104" y="170"/>
                  </a:cubicBezTo>
                  <a:cubicBezTo>
                    <a:pt x="104" y="170"/>
                    <a:pt x="115" y="115"/>
                    <a:pt x="119" y="101"/>
                  </a:cubicBezTo>
                  <a:cubicBezTo>
                    <a:pt x="119" y="100"/>
                    <a:pt x="119" y="100"/>
                    <a:pt x="119" y="100"/>
                  </a:cubicBezTo>
                  <a:cubicBezTo>
                    <a:pt x="120" y="94"/>
                    <a:pt x="126" y="41"/>
                    <a:pt x="102" y="14"/>
                  </a:cubicBezTo>
                  <a:cubicBezTo>
                    <a:pt x="94" y="5"/>
                    <a:pt x="82" y="0"/>
                    <a:pt x="69" y="0"/>
                  </a:cubicBezTo>
                  <a:close/>
                  <a:moveTo>
                    <a:pt x="98" y="96"/>
                  </a:moveTo>
                  <a:cubicBezTo>
                    <a:pt x="95" y="108"/>
                    <a:pt x="88" y="142"/>
                    <a:pt x="85" y="157"/>
                  </a:cubicBezTo>
                  <a:cubicBezTo>
                    <a:pt x="66" y="159"/>
                    <a:pt x="42" y="166"/>
                    <a:pt x="28" y="171"/>
                  </a:cubicBezTo>
                  <a:cubicBezTo>
                    <a:pt x="22" y="142"/>
                    <a:pt x="22" y="91"/>
                    <a:pt x="22" y="85"/>
                  </a:cubicBezTo>
                  <a:cubicBezTo>
                    <a:pt x="22" y="78"/>
                    <a:pt x="31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6" y="22"/>
                    <a:pt x="82" y="24"/>
                    <a:pt x="86" y="29"/>
                  </a:cubicBezTo>
                  <a:cubicBezTo>
                    <a:pt x="101" y="45"/>
                    <a:pt x="100" y="82"/>
                    <a:pt x="98" y="96"/>
                  </a:cubicBezTo>
                  <a:close/>
                  <a:moveTo>
                    <a:pt x="103" y="208"/>
                  </a:moveTo>
                  <a:cubicBezTo>
                    <a:pt x="103" y="203"/>
                    <a:pt x="98" y="199"/>
                    <a:pt x="93" y="199"/>
                  </a:cubicBezTo>
                  <a:cubicBezTo>
                    <a:pt x="58" y="199"/>
                    <a:pt x="34" y="206"/>
                    <a:pt x="22" y="223"/>
                  </a:cubicBezTo>
                  <a:cubicBezTo>
                    <a:pt x="21" y="225"/>
                    <a:pt x="20" y="228"/>
                    <a:pt x="20" y="231"/>
                  </a:cubicBezTo>
                  <a:cubicBezTo>
                    <a:pt x="23" y="252"/>
                    <a:pt x="23" y="252"/>
                    <a:pt x="23" y="252"/>
                  </a:cubicBezTo>
                  <a:cubicBezTo>
                    <a:pt x="25" y="263"/>
                    <a:pt x="31" y="273"/>
                    <a:pt x="40" y="280"/>
                  </a:cubicBezTo>
                  <a:cubicBezTo>
                    <a:pt x="47" y="285"/>
                    <a:pt x="56" y="288"/>
                    <a:pt x="66" y="288"/>
                  </a:cubicBezTo>
                  <a:cubicBezTo>
                    <a:pt x="68" y="288"/>
                    <a:pt x="70" y="288"/>
                    <a:pt x="72" y="288"/>
                  </a:cubicBezTo>
                  <a:cubicBezTo>
                    <a:pt x="83" y="286"/>
                    <a:pt x="93" y="280"/>
                    <a:pt x="100" y="271"/>
                  </a:cubicBezTo>
                  <a:cubicBezTo>
                    <a:pt x="107" y="262"/>
                    <a:pt x="109" y="251"/>
                    <a:pt x="108" y="240"/>
                  </a:cubicBezTo>
                  <a:lnTo>
                    <a:pt x="103" y="208"/>
                  </a:lnTo>
                  <a:close/>
                  <a:moveTo>
                    <a:pt x="83" y="258"/>
                  </a:moveTo>
                  <a:cubicBezTo>
                    <a:pt x="79" y="263"/>
                    <a:pt x="74" y="266"/>
                    <a:pt x="69" y="267"/>
                  </a:cubicBezTo>
                  <a:cubicBezTo>
                    <a:pt x="63" y="268"/>
                    <a:pt x="57" y="266"/>
                    <a:pt x="53" y="263"/>
                  </a:cubicBezTo>
                  <a:cubicBezTo>
                    <a:pt x="48" y="259"/>
                    <a:pt x="45" y="254"/>
                    <a:pt x="45" y="249"/>
                  </a:cubicBezTo>
                  <a:cubicBezTo>
                    <a:pt x="42" y="232"/>
                    <a:pt x="42" y="232"/>
                    <a:pt x="42" y="232"/>
                  </a:cubicBezTo>
                  <a:cubicBezTo>
                    <a:pt x="50" y="225"/>
                    <a:pt x="64" y="221"/>
                    <a:pt x="84" y="220"/>
                  </a:cubicBezTo>
                  <a:cubicBezTo>
                    <a:pt x="87" y="243"/>
                    <a:pt x="87" y="243"/>
                    <a:pt x="87" y="243"/>
                  </a:cubicBezTo>
                  <a:cubicBezTo>
                    <a:pt x="88" y="248"/>
                    <a:pt x="86" y="254"/>
                    <a:pt x="83" y="2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Freeform 1014"/>
            <p:cNvSpPr>
              <a:spLocks noEditPoints="1"/>
            </p:cNvSpPr>
            <p:nvPr/>
          </p:nvSpPr>
          <p:spPr bwMode="auto">
            <a:xfrm>
              <a:off x="1878" y="39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9" name="Freeform 1018"/>
          <p:cNvSpPr>
            <a:spLocks noChangeAspect="1" noEditPoints="1"/>
          </p:cNvSpPr>
          <p:nvPr/>
        </p:nvSpPr>
        <p:spPr bwMode="auto">
          <a:xfrm>
            <a:off x="1441818" y="2916241"/>
            <a:ext cx="369021" cy="369021"/>
          </a:xfrm>
          <a:custGeom>
            <a:avLst/>
            <a:gdLst>
              <a:gd name="T0" fmla="*/ 369 w 512"/>
              <a:gd name="T1" fmla="*/ 277 h 512"/>
              <a:gd name="T2" fmla="*/ 299 w 512"/>
              <a:gd name="T3" fmla="*/ 202 h 512"/>
              <a:gd name="T4" fmla="*/ 328 w 512"/>
              <a:gd name="T5" fmla="*/ 128 h 512"/>
              <a:gd name="T6" fmla="*/ 375 w 512"/>
              <a:gd name="T7" fmla="*/ 191 h 512"/>
              <a:gd name="T8" fmla="*/ 328 w 512"/>
              <a:gd name="T9" fmla="*/ 373 h 512"/>
              <a:gd name="T10" fmla="*/ 352 w 512"/>
              <a:gd name="T11" fmla="*/ 355 h 512"/>
              <a:gd name="T12" fmla="*/ 313 w 512"/>
              <a:gd name="T13" fmla="*/ 326 h 512"/>
              <a:gd name="T14" fmla="*/ 200 w 512"/>
              <a:gd name="T15" fmla="*/ 326 h 512"/>
              <a:gd name="T16" fmla="*/ 161 w 512"/>
              <a:gd name="T17" fmla="*/ 355 h 512"/>
              <a:gd name="T18" fmla="*/ 185 w 512"/>
              <a:gd name="T19" fmla="*/ 373 h 512"/>
              <a:gd name="T20" fmla="*/ 203 w 512"/>
              <a:gd name="T21" fmla="*/ 349 h 512"/>
              <a:gd name="T22" fmla="*/ 185 w 512"/>
              <a:gd name="T23" fmla="*/ 128 h 512"/>
              <a:gd name="T24" fmla="*/ 138 w 512"/>
              <a:gd name="T25" fmla="*/ 191 h 512"/>
              <a:gd name="T26" fmla="*/ 201 w 512"/>
              <a:gd name="T27" fmla="*/ 263 h 512"/>
              <a:gd name="T28" fmla="*/ 202 w 512"/>
              <a:gd name="T29" fmla="*/ 135 h 512"/>
              <a:gd name="T30" fmla="*/ 512 w 512"/>
              <a:gd name="T31" fmla="*/ 256 h 512"/>
              <a:gd name="T32" fmla="*/ 0 w 512"/>
              <a:gd name="T33" fmla="*/ 256 h 512"/>
              <a:gd name="T34" fmla="*/ 512 w 512"/>
              <a:gd name="T35" fmla="*/ 256 h 512"/>
              <a:gd name="T36" fmla="*/ 219 w 512"/>
              <a:gd name="T37" fmla="*/ 314 h 512"/>
              <a:gd name="T38" fmla="*/ 138 w 512"/>
              <a:gd name="T39" fmla="*/ 329 h 512"/>
              <a:gd name="T40" fmla="*/ 139 w 512"/>
              <a:gd name="T41" fmla="*/ 358 h 512"/>
              <a:gd name="T42" fmla="*/ 182 w 512"/>
              <a:gd name="T43" fmla="*/ 394 h 512"/>
              <a:gd name="T44" fmla="*/ 216 w 512"/>
              <a:gd name="T45" fmla="*/ 377 h 512"/>
              <a:gd name="T46" fmla="*/ 218 w 512"/>
              <a:gd name="T47" fmla="*/ 120 h 512"/>
              <a:gd name="T48" fmla="*/ 185 w 512"/>
              <a:gd name="T49" fmla="*/ 106 h 512"/>
              <a:gd name="T50" fmla="*/ 116 w 512"/>
              <a:gd name="T51" fmla="*/ 190 h 512"/>
              <a:gd name="T52" fmla="*/ 131 w 512"/>
              <a:gd name="T53" fmla="*/ 301 h 512"/>
              <a:gd name="T54" fmla="*/ 140 w 512"/>
              <a:gd name="T55" fmla="*/ 301 h 512"/>
              <a:gd name="T56" fmla="*/ 220 w 512"/>
              <a:gd name="T57" fmla="*/ 276 h 512"/>
              <a:gd name="T58" fmla="*/ 235 w 512"/>
              <a:gd name="T59" fmla="*/ 206 h 512"/>
              <a:gd name="T60" fmla="*/ 376 w 512"/>
              <a:gd name="T61" fmla="*/ 337 h 512"/>
              <a:gd name="T62" fmla="*/ 304 w 512"/>
              <a:gd name="T63" fmla="*/ 305 h 512"/>
              <a:gd name="T64" fmla="*/ 289 w 512"/>
              <a:gd name="T65" fmla="*/ 346 h 512"/>
              <a:gd name="T66" fmla="*/ 331 w 512"/>
              <a:gd name="T67" fmla="*/ 394 h 512"/>
              <a:gd name="T68" fmla="*/ 373 w 512"/>
              <a:gd name="T69" fmla="*/ 358 h 512"/>
              <a:gd name="T70" fmla="*/ 396 w 512"/>
              <a:gd name="T71" fmla="*/ 190 h 512"/>
              <a:gd name="T72" fmla="*/ 328 w 512"/>
              <a:gd name="T73" fmla="*/ 106 h 512"/>
              <a:gd name="T74" fmla="*/ 294 w 512"/>
              <a:gd name="T75" fmla="*/ 120 h 512"/>
              <a:gd name="T76" fmla="*/ 278 w 512"/>
              <a:gd name="T77" fmla="*/ 207 h 512"/>
              <a:gd name="T78" fmla="*/ 304 w 512"/>
              <a:gd name="T79" fmla="*/ 284 h 512"/>
              <a:gd name="T80" fmla="*/ 377 w 512"/>
              <a:gd name="T81" fmla="*/ 302 h 512"/>
              <a:gd name="T82" fmla="*/ 387 w 512"/>
              <a:gd name="T83" fmla="*/ 29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375" y="191"/>
                </a:moveTo>
                <a:cubicBezTo>
                  <a:pt x="375" y="197"/>
                  <a:pt x="374" y="247"/>
                  <a:pt x="369" y="277"/>
                </a:cubicBezTo>
                <a:cubicBezTo>
                  <a:pt x="355" y="272"/>
                  <a:pt x="331" y="265"/>
                  <a:pt x="312" y="263"/>
                </a:cubicBezTo>
                <a:cubicBezTo>
                  <a:pt x="309" y="247"/>
                  <a:pt x="301" y="214"/>
                  <a:pt x="299" y="202"/>
                </a:cubicBezTo>
                <a:cubicBezTo>
                  <a:pt x="297" y="188"/>
                  <a:pt x="296" y="151"/>
                  <a:pt x="310" y="135"/>
                </a:cubicBezTo>
                <a:cubicBezTo>
                  <a:pt x="315" y="130"/>
                  <a:pt x="320" y="128"/>
                  <a:pt x="328" y="128"/>
                </a:cubicBezTo>
                <a:cubicBezTo>
                  <a:pt x="328" y="128"/>
                  <a:pt x="328" y="128"/>
                  <a:pt x="328" y="128"/>
                </a:cubicBezTo>
                <a:cubicBezTo>
                  <a:pt x="366" y="128"/>
                  <a:pt x="374" y="184"/>
                  <a:pt x="375" y="191"/>
                </a:cubicBezTo>
                <a:close/>
                <a:moveTo>
                  <a:pt x="310" y="349"/>
                </a:moveTo>
                <a:cubicBezTo>
                  <a:pt x="308" y="360"/>
                  <a:pt x="316" y="371"/>
                  <a:pt x="328" y="373"/>
                </a:cubicBezTo>
                <a:cubicBezTo>
                  <a:pt x="334" y="374"/>
                  <a:pt x="339" y="372"/>
                  <a:pt x="344" y="369"/>
                </a:cubicBezTo>
                <a:cubicBezTo>
                  <a:pt x="348" y="365"/>
                  <a:pt x="351" y="360"/>
                  <a:pt x="352" y="355"/>
                </a:cubicBezTo>
                <a:cubicBezTo>
                  <a:pt x="354" y="338"/>
                  <a:pt x="354" y="338"/>
                  <a:pt x="354" y="338"/>
                </a:cubicBezTo>
                <a:cubicBezTo>
                  <a:pt x="347" y="331"/>
                  <a:pt x="333" y="327"/>
                  <a:pt x="313" y="326"/>
                </a:cubicBezTo>
                <a:lnTo>
                  <a:pt x="310" y="349"/>
                </a:lnTo>
                <a:close/>
                <a:moveTo>
                  <a:pt x="200" y="326"/>
                </a:moveTo>
                <a:cubicBezTo>
                  <a:pt x="180" y="327"/>
                  <a:pt x="166" y="331"/>
                  <a:pt x="158" y="338"/>
                </a:cubicBezTo>
                <a:cubicBezTo>
                  <a:pt x="161" y="355"/>
                  <a:pt x="161" y="355"/>
                  <a:pt x="161" y="355"/>
                </a:cubicBezTo>
                <a:cubicBezTo>
                  <a:pt x="161" y="360"/>
                  <a:pt x="164" y="365"/>
                  <a:pt x="169" y="369"/>
                </a:cubicBezTo>
                <a:cubicBezTo>
                  <a:pt x="173" y="372"/>
                  <a:pt x="179" y="374"/>
                  <a:pt x="185" y="373"/>
                </a:cubicBezTo>
                <a:cubicBezTo>
                  <a:pt x="190" y="372"/>
                  <a:pt x="195" y="369"/>
                  <a:pt x="199" y="364"/>
                </a:cubicBezTo>
                <a:cubicBezTo>
                  <a:pt x="202" y="360"/>
                  <a:pt x="204" y="354"/>
                  <a:pt x="203" y="349"/>
                </a:cubicBezTo>
                <a:lnTo>
                  <a:pt x="200" y="326"/>
                </a:lnTo>
                <a:close/>
                <a:moveTo>
                  <a:pt x="185" y="128"/>
                </a:moveTo>
                <a:cubicBezTo>
                  <a:pt x="185" y="128"/>
                  <a:pt x="185" y="128"/>
                  <a:pt x="185" y="128"/>
                </a:cubicBezTo>
                <a:cubicBezTo>
                  <a:pt x="147" y="128"/>
                  <a:pt x="138" y="184"/>
                  <a:pt x="138" y="191"/>
                </a:cubicBezTo>
                <a:cubicBezTo>
                  <a:pt x="138" y="197"/>
                  <a:pt x="138" y="248"/>
                  <a:pt x="144" y="277"/>
                </a:cubicBezTo>
                <a:cubicBezTo>
                  <a:pt x="158" y="272"/>
                  <a:pt x="182" y="265"/>
                  <a:pt x="201" y="263"/>
                </a:cubicBezTo>
                <a:cubicBezTo>
                  <a:pt x="204" y="248"/>
                  <a:pt x="211" y="214"/>
                  <a:pt x="214" y="202"/>
                </a:cubicBezTo>
                <a:cubicBezTo>
                  <a:pt x="216" y="188"/>
                  <a:pt x="217" y="151"/>
                  <a:pt x="202" y="135"/>
                </a:cubicBezTo>
                <a:cubicBezTo>
                  <a:pt x="198" y="130"/>
                  <a:pt x="192" y="128"/>
                  <a:pt x="185" y="12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4" y="346"/>
                </a:moveTo>
                <a:cubicBezTo>
                  <a:pt x="219" y="314"/>
                  <a:pt x="219" y="314"/>
                  <a:pt x="219" y="314"/>
                </a:cubicBezTo>
                <a:cubicBezTo>
                  <a:pt x="219" y="309"/>
                  <a:pt x="214" y="305"/>
                  <a:pt x="209" y="305"/>
                </a:cubicBezTo>
                <a:cubicBezTo>
                  <a:pt x="174" y="305"/>
                  <a:pt x="150" y="312"/>
                  <a:pt x="138" y="329"/>
                </a:cubicBezTo>
                <a:cubicBezTo>
                  <a:pt x="137" y="331"/>
                  <a:pt x="136" y="334"/>
                  <a:pt x="136" y="337"/>
                </a:cubicBezTo>
                <a:cubicBezTo>
                  <a:pt x="139" y="358"/>
                  <a:pt x="139" y="358"/>
                  <a:pt x="139" y="358"/>
                </a:cubicBezTo>
                <a:cubicBezTo>
                  <a:pt x="141" y="369"/>
                  <a:pt x="147" y="379"/>
                  <a:pt x="156" y="386"/>
                </a:cubicBezTo>
                <a:cubicBezTo>
                  <a:pt x="163" y="391"/>
                  <a:pt x="172" y="394"/>
                  <a:pt x="182" y="394"/>
                </a:cubicBezTo>
                <a:cubicBezTo>
                  <a:pt x="184" y="394"/>
                  <a:pt x="186" y="394"/>
                  <a:pt x="188" y="394"/>
                </a:cubicBezTo>
                <a:cubicBezTo>
                  <a:pt x="199" y="392"/>
                  <a:pt x="209" y="386"/>
                  <a:pt x="216" y="377"/>
                </a:cubicBezTo>
                <a:cubicBezTo>
                  <a:pt x="223" y="368"/>
                  <a:pt x="225" y="357"/>
                  <a:pt x="224" y="346"/>
                </a:cubicBezTo>
                <a:close/>
                <a:moveTo>
                  <a:pt x="218" y="120"/>
                </a:moveTo>
                <a:cubicBezTo>
                  <a:pt x="210" y="111"/>
                  <a:pt x="198" y="106"/>
                  <a:pt x="185" y="106"/>
                </a:cubicBezTo>
                <a:cubicBezTo>
                  <a:pt x="185" y="106"/>
                  <a:pt x="185" y="106"/>
                  <a:pt x="185" y="106"/>
                </a:cubicBezTo>
                <a:cubicBezTo>
                  <a:pt x="126" y="106"/>
                  <a:pt x="117" y="185"/>
                  <a:pt x="116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3"/>
                  <a:pt x="117" y="265"/>
                  <a:pt x="125" y="294"/>
                </a:cubicBezTo>
                <a:cubicBezTo>
                  <a:pt x="126" y="297"/>
                  <a:pt x="128" y="300"/>
                  <a:pt x="131" y="301"/>
                </a:cubicBezTo>
                <a:cubicBezTo>
                  <a:pt x="133" y="302"/>
                  <a:pt x="134" y="302"/>
                  <a:pt x="136" y="302"/>
                </a:cubicBezTo>
                <a:cubicBezTo>
                  <a:pt x="137" y="302"/>
                  <a:pt x="138" y="302"/>
                  <a:pt x="140" y="301"/>
                </a:cubicBezTo>
                <a:cubicBezTo>
                  <a:pt x="153" y="296"/>
                  <a:pt x="191" y="283"/>
                  <a:pt x="208" y="284"/>
                </a:cubicBezTo>
                <a:cubicBezTo>
                  <a:pt x="214" y="285"/>
                  <a:pt x="218" y="281"/>
                  <a:pt x="220" y="276"/>
                </a:cubicBezTo>
                <a:cubicBezTo>
                  <a:pt x="220" y="276"/>
                  <a:pt x="231" y="221"/>
                  <a:pt x="235" y="207"/>
                </a:cubicBezTo>
                <a:cubicBezTo>
                  <a:pt x="235" y="206"/>
                  <a:pt x="235" y="206"/>
                  <a:pt x="235" y="206"/>
                </a:cubicBezTo>
                <a:cubicBezTo>
                  <a:pt x="236" y="200"/>
                  <a:pt x="242" y="147"/>
                  <a:pt x="218" y="120"/>
                </a:cubicBezTo>
                <a:close/>
                <a:moveTo>
                  <a:pt x="376" y="337"/>
                </a:moveTo>
                <a:cubicBezTo>
                  <a:pt x="377" y="334"/>
                  <a:pt x="376" y="331"/>
                  <a:pt x="374" y="329"/>
                </a:cubicBezTo>
                <a:cubicBezTo>
                  <a:pt x="362" y="312"/>
                  <a:pt x="339" y="305"/>
                  <a:pt x="304" y="305"/>
                </a:cubicBezTo>
                <a:cubicBezTo>
                  <a:pt x="298" y="305"/>
                  <a:pt x="294" y="309"/>
                  <a:pt x="293" y="314"/>
                </a:cubicBezTo>
                <a:cubicBezTo>
                  <a:pt x="289" y="346"/>
                  <a:pt x="289" y="346"/>
                  <a:pt x="289" y="346"/>
                </a:cubicBezTo>
                <a:cubicBezTo>
                  <a:pt x="285" y="369"/>
                  <a:pt x="302" y="391"/>
                  <a:pt x="325" y="394"/>
                </a:cubicBezTo>
                <a:cubicBezTo>
                  <a:pt x="327" y="394"/>
                  <a:pt x="329" y="394"/>
                  <a:pt x="331" y="394"/>
                </a:cubicBezTo>
                <a:cubicBezTo>
                  <a:pt x="340" y="394"/>
                  <a:pt x="349" y="391"/>
                  <a:pt x="357" y="386"/>
                </a:cubicBezTo>
                <a:cubicBezTo>
                  <a:pt x="366" y="379"/>
                  <a:pt x="372" y="369"/>
                  <a:pt x="373" y="358"/>
                </a:cubicBezTo>
                <a:lnTo>
                  <a:pt x="376" y="337"/>
                </a:lnTo>
                <a:close/>
                <a:moveTo>
                  <a:pt x="396" y="190"/>
                </a:moveTo>
                <a:cubicBezTo>
                  <a:pt x="396" y="189"/>
                  <a:pt x="396" y="189"/>
                  <a:pt x="396" y="189"/>
                </a:cubicBezTo>
                <a:cubicBezTo>
                  <a:pt x="396" y="185"/>
                  <a:pt x="387" y="106"/>
                  <a:pt x="328" y="106"/>
                </a:cubicBezTo>
                <a:cubicBezTo>
                  <a:pt x="328" y="106"/>
                  <a:pt x="328" y="106"/>
                  <a:pt x="328" y="106"/>
                </a:cubicBezTo>
                <a:cubicBezTo>
                  <a:pt x="314" y="106"/>
                  <a:pt x="303" y="111"/>
                  <a:pt x="294" y="120"/>
                </a:cubicBezTo>
                <a:cubicBezTo>
                  <a:pt x="271" y="147"/>
                  <a:pt x="277" y="199"/>
                  <a:pt x="277" y="205"/>
                </a:cubicBezTo>
                <a:cubicBezTo>
                  <a:pt x="277" y="206"/>
                  <a:pt x="278" y="206"/>
                  <a:pt x="278" y="207"/>
                </a:cubicBezTo>
                <a:cubicBezTo>
                  <a:pt x="281" y="221"/>
                  <a:pt x="293" y="275"/>
                  <a:pt x="293" y="276"/>
                </a:cubicBezTo>
                <a:cubicBezTo>
                  <a:pt x="294" y="281"/>
                  <a:pt x="299" y="285"/>
                  <a:pt x="304" y="284"/>
                </a:cubicBezTo>
                <a:cubicBezTo>
                  <a:pt x="322" y="283"/>
                  <a:pt x="360" y="296"/>
                  <a:pt x="373" y="301"/>
                </a:cubicBezTo>
                <a:cubicBezTo>
                  <a:pt x="374" y="302"/>
                  <a:pt x="376" y="302"/>
                  <a:pt x="377" y="302"/>
                </a:cubicBezTo>
                <a:cubicBezTo>
                  <a:pt x="379" y="302"/>
                  <a:pt x="380" y="302"/>
                  <a:pt x="382" y="301"/>
                </a:cubicBezTo>
                <a:cubicBezTo>
                  <a:pt x="384" y="300"/>
                  <a:pt x="386" y="297"/>
                  <a:pt x="387" y="295"/>
                </a:cubicBezTo>
                <a:cubicBezTo>
                  <a:pt x="396" y="265"/>
                  <a:pt x="396" y="193"/>
                  <a:pt x="396" y="19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0" name="Freeform 1022"/>
          <p:cNvSpPr>
            <a:spLocks noChangeAspect="1" noEditPoints="1"/>
          </p:cNvSpPr>
          <p:nvPr/>
        </p:nvSpPr>
        <p:spPr bwMode="auto">
          <a:xfrm>
            <a:off x="945371" y="2916241"/>
            <a:ext cx="369021" cy="36902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372 w 512"/>
              <a:gd name="T11" fmla="*/ 245 h 512"/>
              <a:gd name="T12" fmla="*/ 370 w 512"/>
              <a:gd name="T13" fmla="*/ 157 h 512"/>
              <a:gd name="T14" fmla="*/ 355 w 512"/>
              <a:gd name="T15" fmla="*/ 141 h 512"/>
              <a:gd name="T16" fmla="*/ 266 w 512"/>
              <a:gd name="T17" fmla="*/ 139 h 512"/>
              <a:gd name="T18" fmla="*/ 256 w 512"/>
              <a:gd name="T19" fmla="*/ 96 h 512"/>
              <a:gd name="T20" fmla="*/ 245 w 512"/>
              <a:gd name="T21" fmla="*/ 139 h 512"/>
              <a:gd name="T22" fmla="*/ 157 w 512"/>
              <a:gd name="T23" fmla="*/ 141 h 512"/>
              <a:gd name="T24" fmla="*/ 141 w 512"/>
              <a:gd name="T25" fmla="*/ 157 h 512"/>
              <a:gd name="T26" fmla="*/ 139 w 512"/>
              <a:gd name="T27" fmla="*/ 245 h 512"/>
              <a:gd name="T28" fmla="*/ 96 w 512"/>
              <a:gd name="T29" fmla="*/ 256 h 512"/>
              <a:gd name="T30" fmla="*/ 139 w 512"/>
              <a:gd name="T31" fmla="*/ 266 h 512"/>
              <a:gd name="T32" fmla="*/ 141 w 512"/>
              <a:gd name="T33" fmla="*/ 355 h 512"/>
              <a:gd name="T34" fmla="*/ 149 w 512"/>
              <a:gd name="T35" fmla="*/ 373 h 512"/>
              <a:gd name="T36" fmla="*/ 181 w 512"/>
              <a:gd name="T37" fmla="*/ 346 h 512"/>
              <a:gd name="T38" fmla="*/ 245 w 512"/>
              <a:gd name="T39" fmla="*/ 405 h 512"/>
              <a:gd name="T40" fmla="*/ 266 w 512"/>
              <a:gd name="T41" fmla="*/ 405 h 512"/>
              <a:gd name="T42" fmla="*/ 331 w 512"/>
              <a:gd name="T43" fmla="*/ 346 h 512"/>
              <a:gd name="T44" fmla="*/ 362 w 512"/>
              <a:gd name="T45" fmla="*/ 373 h 512"/>
              <a:gd name="T46" fmla="*/ 370 w 512"/>
              <a:gd name="T47" fmla="*/ 355 h 512"/>
              <a:gd name="T48" fmla="*/ 372 w 512"/>
              <a:gd name="T49" fmla="*/ 266 h 512"/>
              <a:gd name="T50" fmla="*/ 416 w 512"/>
              <a:gd name="T51" fmla="*/ 256 h 512"/>
              <a:gd name="T52" fmla="*/ 351 w 512"/>
              <a:gd name="T53" fmla="*/ 245 h 512"/>
              <a:gd name="T54" fmla="*/ 286 w 512"/>
              <a:gd name="T55" fmla="*/ 245 h 512"/>
              <a:gd name="T56" fmla="*/ 286 w 512"/>
              <a:gd name="T57" fmla="*/ 241 h 512"/>
              <a:gd name="T58" fmla="*/ 351 w 512"/>
              <a:gd name="T59" fmla="*/ 245 h 512"/>
              <a:gd name="T60" fmla="*/ 271 w 512"/>
              <a:gd name="T61" fmla="*/ 226 h 512"/>
              <a:gd name="T62" fmla="*/ 266 w 512"/>
              <a:gd name="T63" fmla="*/ 226 h 512"/>
              <a:gd name="T64" fmla="*/ 266 w 512"/>
              <a:gd name="T65" fmla="*/ 160 h 512"/>
              <a:gd name="T66" fmla="*/ 256 w 512"/>
              <a:gd name="T67" fmla="*/ 266 h 512"/>
              <a:gd name="T68" fmla="*/ 256 w 512"/>
              <a:gd name="T69" fmla="*/ 245 h 512"/>
              <a:gd name="T70" fmla="*/ 256 w 512"/>
              <a:gd name="T71" fmla="*/ 266 h 512"/>
              <a:gd name="T72" fmla="*/ 245 w 512"/>
              <a:gd name="T73" fmla="*/ 224 h 512"/>
              <a:gd name="T74" fmla="*/ 242 w 512"/>
              <a:gd name="T75" fmla="*/ 227 h 512"/>
              <a:gd name="T76" fmla="*/ 196 w 512"/>
              <a:gd name="T77" fmla="*/ 181 h 512"/>
              <a:gd name="T78" fmla="*/ 181 w 512"/>
              <a:gd name="T79" fmla="*/ 196 h 512"/>
              <a:gd name="T80" fmla="*/ 227 w 512"/>
              <a:gd name="T81" fmla="*/ 242 h 512"/>
              <a:gd name="T82" fmla="*/ 224 w 512"/>
              <a:gd name="T83" fmla="*/ 245 h 512"/>
              <a:gd name="T84" fmla="*/ 181 w 512"/>
              <a:gd name="T85" fmla="*/ 196 h 512"/>
              <a:gd name="T86" fmla="*/ 224 w 512"/>
              <a:gd name="T87" fmla="*/ 266 h 512"/>
              <a:gd name="T88" fmla="*/ 227 w 512"/>
              <a:gd name="T89" fmla="*/ 270 h 512"/>
              <a:gd name="T90" fmla="*/ 181 w 512"/>
              <a:gd name="T91" fmla="*/ 316 h 512"/>
              <a:gd name="T92" fmla="*/ 196 w 512"/>
              <a:gd name="T93" fmla="*/ 331 h 512"/>
              <a:gd name="T94" fmla="*/ 242 w 512"/>
              <a:gd name="T95" fmla="*/ 284 h 512"/>
              <a:gd name="T96" fmla="*/ 245 w 512"/>
              <a:gd name="T97" fmla="*/ 288 h 512"/>
              <a:gd name="T98" fmla="*/ 196 w 512"/>
              <a:gd name="T99" fmla="*/ 331 h 512"/>
              <a:gd name="T100" fmla="*/ 266 w 512"/>
              <a:gd name="T101" fmla="*/ 288 h 512"/>
              <a:gd name="T102" fmla="*/ 270 w 512"/>
              <a:gd name="T103" fmla="*/ 284 h 512"/>
              <a:gd name="T104" fmla="*/ 316 w 512"/>
              <a:gd name="T105" fmla="*/ 331 h 512"/>
              <a:gd name="T106" fmla="*/ 331 w 512"/>
              <a:gd name="T107" fmla="*/ 316 h 512"/>
              <a:gd name="T108" fmla="*/ 284 w 512"/>
              <a:gd name="T109" fmla="*/ 270 h 512"/>
              <a:gd name="T110" fmla="*/ 288 w 512"/>
              <a:gd name="T111" fmla="*/ 266 h 512"/>
              <a:gd name="T112" fmla="*/ 331 w 512"/>
              <a:gd name="T113" fmla="*/ 3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45"/>
                </a:moveTo>
                <a:cubicBezTo>
                  <a:pt x="372" y="245"/>
                  <a:pt x="372" y="245"/>
                  <a:pt x="372" y="245"/>
                </a:cubicBezTo>
                <a:cubicBezTo>
                  <a:pt x="370" y="221"/>
                  <a:pt x="361" y="198"/>
                  <a:pt x="346" y="181"/>
                </a:cubicBezTo>
                <a:cubicBezTo>
                  <a:pt x="370" y="157"/>
                  <a:pt x="370" y="157"/>
                  <a:pt x="370" y="157"/>
                </a:cubicBezTo>
                <a:cubicBezTo>
                  <a:pt x="374" y="152"/>
                  <a:pt x="374" y="146"/>
                  <a:pt x="370" y="141"/>
                </a:cubicBezTo>
                <a:cubicBezTo>
                  <a:pt x="366" y="137"/>
                  <a:pt x="359" y="137"/>
                  <a:pt x="355" y="14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3" y="151"/>
                  <a:pt x="291" y="141"/>
                  <a:pt x="266" y="139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39"/>
                  <a:pt x="245" y="139"/>
                  <a:pt x="245" y="139"/>
                </a:cubicBezTo>
                <a:cubicBezTo>
                  <a:pt x="221" y="141"/>
                  <a:pt x="198" y="151"/>
                  <a:pt x="181" y="166"/>
                </a:cubicBezTo>
                <a:cubicBezTo>
                  <a:pt x="157" y="141"/>
                  <a:pt x="157" y="141"/>
                  <a:pt x="157" y="141"/>
                </a:cubicBezTo>
                <a:cubicBezTo>
                  <a:pt x="152" y="137"/>
                  <a:pt x="146" y="137"/>
                  <a:pt x="141" y="141"/>
                </a:cubicBezTo>
                <a:cubicBezTo>
                  <a:pt x="137" y="146"/>
                  <a:pt x="137" y="152"/>
                  <a:pt x="141" y="157"/>
                </a:cubicBezTo>
                <a:cubicBezTo>
                  <a:pt x="166" y="181"/>
                  <a:pt x="166" y="181"/>
                  <a:pt x="166" y="181"/>
                </a:cubicBezTo>
                <a:cubicBezTo>
                  <a:pt x="151" y="198"/>
                  <a:pt x="141" y="221"/>
                  <a:pt x="139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39" y="266"/>
                  <a:pt x="139" y="266"/>
                  <a:pt x="139" y="266"/>
                </a:cubicBezTo>
                <a:cubicBezTo>
                  <a:pt x="141" y="291"/>
                  <a:pt x="151" y="313"/>
                  <a:pt x="166" y="331"/>
                </a:cubicBezTo>
                <a:cubicBezTo>
                  <a:pt x="141" y="355"/>
                  <a:pt x="141" y="355"/>
                  <a:pt x="141" y="355"/>
                </a:cubicBezTo>
                <a:cubicBezTo>
                  <a:pt x="137" y="359"/>
                  <a:pt x="137" y="366"/>
                  <a:pt x="141" y="370"/>
                </a:cubicBezTo>
                <a:cubicBezTo>
                  <a:pt x="144" y="372"/>
                  <a:pt x="146" y="373"/>
                  <a:pt x="149" y="373"/>
                </a:cubicBezTo>
                <a:cubicBezTo>
                  <a:pt x="152" y="373"/>
                  <a:pt x="154" y="372"/>
                  <a:pt x="157" y="370"/>
                </a:cubicBezTo>
                <a:cubicBezTo>
                  <a:pt x="181" y="346"/>
                  <a:pt x="181" y="346"/>
                  <a:pt x="181" y="346"/>
                </a:cubicBezTo>
                <a:cubicBezTo>
                  <a:pt x="198" y="361"/>
                  <a:pt x="221" y="370"/>
                  <a:pt x="245" y="372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2"/>
                  <a:pt x="266" y="372"/>
                  <a:pt x="266" y="372"/>
                </a:cubicBezTo>
                <a:cubicBezTo>
                  <a:pt x="291" y="370"/>
                  <a:pt x="313" y="361"/>
                  <a:pt x="331" y="346"/>
                </a:cubicBezTo>
                <a:cubicBezTo>
                  <a:pt x="355" y="370"/>
                  <a:pt x="355" y="370"/>
                  <a:pt x="355" y="370"/>
                </a:cubicBezTo>
                <a:cubicBezTo>
                  <a:pt x="357" y="372"/>
                  <a:pt x="360" y="373"/>
                  <a:pt x="362" y="373"/>
                </a:cubicBezTo>
                <a:cubicBezTo>
                  <a:pt x="365" y="373"/>
                  <a:pt x="368" y="372"/>
                  <a:pt x="370" y="370"/>
                </a:cubicBezTo>
                <a:cubicBezTo>
                  <a:pt x="374" y="366"/>
                  <a:pt x="374" y="359"/>
                  <a:pt x="370" y="355"/>
                </a:cubicBezTo>
                <a:cubicBezTo>
                  <a:pt x="346" y="331"/>
                  <a:pt x="346" y="331"/>
                  <a:pt x="346" y="331"/>
                </a:cubicBezTo>
                <a:cubicBezTo>
                  <a:pt x="361" y="313"/>
                  <a:pt x="370" y="291"/>
                  <a:pt x="372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cubicBezTo>
                  <a:pt x="416" y="250"/>
                  <a:pt x="411" y="245"/>
                  <a:pt x="405" y="245"/>
                </a:cubicBezTo>
                <a:close/>
                <a:moveTo>
                  <a:pt x="351" y="245"/>
                </a:moveTo>
                <a:cubicBezTo>
                  <a:pt x="288" y="245"/>
                  <a:pt x="288" y="245"/>
                  <a:pt x="288" y="245"/>
                </a:cubicBezTo>
                <a:cubicBezTo>
                  <a:pt x="287" y="245"/>
                  <a:pt x="286" y="245"/>
                  <a:pt x="286" y="245"/>
                </a:cubicBezTo>
                <a:cubicBezTo>
                  <a:pt x="285" y="244"/>
                  <a:pt x="285" y="243"/>
                  <a:pt x="284" y="242"/>
                </a:cubicBezTo>
                <a:cubicBezTo>
                  <a:pt x="285" y="241"/>
                  <a:pt x="285" y="241"/>
                  <a:pt x="286" y="241"/>
                </a:cubicBezTo>
                <a:cubicBezTo>
                  <a:pt x="331" y="196"/>
                  <a:pt x="331" y="196"/>
                  <a:pt x="331" y="196"/>
                </a:cubicBezTo>
                <a:cubicBezTo>
                  <a:pt x="342" y="210"/>
                  <a:pt x="349" y="227"/>
                  <a:pt x="351" y="245"/>
                </a:cubicBezTo>
                <a:close/>
                <a:moveTo>
                  <a:pt x="316" y="181"/>
                </a:moveTo>
                <a:cubicBezTo>
                  <a:pt x="271" y="226"/>
                  <a:pt x="271" y="226"/>
                  <a:pt x="271" y="226"/>
                </a:cubicBezTo>
                <a:cubicBezTo>
                  <a:pt x="270" y="226"/>
                  <a:pt x="270" y="227"/>
                  <a:pt x="270" y="227"/>
                </a:cubicBezTo>
                <a:cubicBezTo>
                  <a:pt x="269" y="226"/>
                  <a:pt x="267" y="226"/>
                  <a:pt x="266" y="226"/>
                </a:cubicBezTo>
                <a:cubicBezTo>
                  <a:pt x="266" y="225"/>
                  <a:pt x="266" y="224"/>
                  <a:pt x="266" y="224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85" y="162"/>
                  <a:pt x="302" y="170"/>
                  <a:pt x="316" y="181"/>
                </a:cubicBezTo>
                <a:close/>
                <a:moveTo>
                  <a:pt x="256" y="266"/>
                </a:moveTo>
                <a:cubicBezTo>
                  <a:pt x="250" y="266"/>
                  <a:pt x="245" y="262"/>
                  <a:pt x="245" y="256"/>
                </a:cubicBezTo>
                <a:cubicBezTo>
                  <a:pt x="245" y="250"/>
                  <a:pt x="250" y="245"/>
                  <a:pt x="256" y="245"/>
                </a:cubicBezTo>
                <a:cubicBezTo>
                  <a:pt x="262" y="245"/>
                  <a:pt x="266" y="250"/>
                  <a:pt x="266" y="256"/>
                </a:cubicBezTo>
                <a:cubicBezTo>
                  <a:pt x="266" y="262"/>
                  <a:pt x="262" y="266"/>
                  <a:pt x="256" y="266"/>
                </a:cubicBezTo>
                <a:close/>
                <a:moveTo>
                  <a:pt x="245" y="160"/>
                </a:moveTo>
                <a:cubicBezTo>
                  <a:pt x="245" y="224"/>
                  <a:pt x="245" y="224"/>
                  <a:pt x="245" y="224"/>
                </a:cubicBezTo>
                <a:cubicBezTo>
                  <a:pt x="245" y="224"/>
                  <a:pt x="245" y="225"/>
                  <a:pt x="245" y="226"/>
                </a:cubicBezTo>
                <a:cubicBezTo>
                  <a:pt x="244" y="226"/>
                  <a:pt x="243" y="226"/>
                  <a:pt x="242" y="227"/>
                </a:cubicBezTo>
                <a:cubicBezTo>
                  <a:pt x="241" y="227"/>
                  <a:pt x="241" y="226"/>
                  <a:pt x="241" y="226"/>
                </a:cubicBezTo>
                <a:cubicBezTo>
                  <a:pt x="196" y="181"/>
                  <a:pt x="196" y="181"/>
                  <a:pt x="196" y="181"/>
                </a:cubicBezTo>
                <a:cubicBezTo>
                  <a:pt x="210" y="170"/>
                  <a:pt x="227" y="162"/>
                  <a:pt x="245" y="160"/>
                </a:cubicBezTo>
                <a:close/>
                <a:moveTo>
                  <a:pt x="181" y="196"/>
                </a:moveTo>
                <a:cubicBezTo>
                  <a:pt x="226" y="241"/>
                  <a:pt x="226" y="241"/>
                  <a:pt x="226" y="241"/>
                </a:cubicBezTo>
                <a:cubicBezTo>
                  <a:pt x="226" y="241"/>
                  <a:pt x="227" y="241"/>
                  <a:pt x="227" y="242"/>
                </a:cubicBezTo>
                <a:cubicBezTo>
                  <a:pt x="226" y="243"/>
                  <a:pt x="226" y="244"/>
                  <a:pt x="226" y="245"/>
                </a:cubicBezTo>
                <a:cubicBezTo>
                  <a:pt x="225" y="245"/>
                  <a:pt x="224" y="245"/>
                  <a:pt x="224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62" y="227"/>
                  <a:pt x="170" y="210"/>
                  <a:pt x="181" y="196"/>
                </a:cubicBezTo>
                <a:close/>
                <a:moveTo>
                  <a:pt x="160" y="266"/>
                </a:moveTo>
                <a:cubicBezTo>
                  <a:pt x="224" y="266"/>
                  <a:pt x="224" y="266"/>
                  <a:pt x="224" y="266"/>
                </a:cubicBezTo>
                <a:cubicBezTo>
                  <a:pt x="224" y="266"/>
                  <a:pt x="225" y="266"/>
                  <a:pt x="226" y="266"/>
                </a:cubicBezTo>
                <a:cubicBezTo>
                  <a:pt x="226" y="267"/>
                  <a:pt x="226" y="269"/>
                  <a:pt x="227" y="270"/>
                </a:cubicBezTo>
                <a:cubicBezTo>
                  <a:pt x="227" y="270"/>
                  <a:pt x="226" y="270"/>
                  <a:pt x="226" y="271"/>
                </a:cubicBezTo>
                <a:cubicBezTo>
                  <a:pt x="181" y="316"/>
                  <a:pt x="181" y="316"/>
                  <a:pt x="181" y="316"/>
                </a:cubicBezTo>
                <a:cubicBezTo>
                  <a:pt x="170" y="302"/>
                  <a:pt x="162" y="285"/>
                  <a:pt x="160" y="266"/>
                </a:cubicBezTo>
                <a:close/>
                <a:moveTo>
                  <a:pt x="196" y="331"/>
                </a:moveTo>
                <a:cubicBezTo>
                  <a:pt x="241" y="286"/>
                  <a:pt x="241" y="286"/>
                  <a:pt x="241" y="286"/>
                </a:cubicBezTo>
                <a:cubicBezTo>
                  <a:pt x="241" y="285"/>
                  <a:pt x="241" y="285"/>
                  <a:pt x="242" y="284"/>
                </a:cubicBezTo>
                <a:cubicBezTo>
                  <a:pt x="243" y="285"/>
                  <a:pt x="244" y="285"/>
                  <a:pt x="245" y="286"/>
                </a:cubicBezTo>
                <a:cubicBezTo>
                  <a:pt x="245" y="286"/>
                  <a:pt x="245" y="287"/>
                  <a:pt x="245" y="288"/>
                </a:cubicBezTo>
                <a:cubicBezTo>
                  <a:pt x="245" y="351"/>
                  <a:pt x="245" y="351"/>
                  <a:pt x="245" y="351"/>
                </a:cubicBezTo>
                <a:cubicBezTo>
                  <a:pt x="227" y="349"/>
                  <a:pt x="210" y="342"/>
                  <a:pt x="196" y="331"/>
                </a:cubicBezTo>
                <a:close/>
                <a:moveTo>
                  <a:pt x="266" y="351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6" y="287"/>
                  <a:pt x="266" y="286"/>
                  <a:pt x="266" y="286"/>
                </a:cubicBezTo>
                <a:cubicBezTo>
                  <a:pt x="267" y="285"/>
                  <a:pt x="269" y="285"/>
                  <a:pt x="270" y="284"/>
                </a:cubicBezTo>
                <a:cubicBezTo>
                  <a:pt x="270" y="285"/>
                  <a:pt x="270" y="285"/>
                  <a:pt x="271" y="286"/>
                </a:cubicBezTo>
                <a:cubicBezTo>
                  <a:pt x="316" y="331"/>
                  <a:pt x="316" y="331"/>
                  <a:pt x="316" y="331"/>
                </a:cubicBezTo>
                <a:cubicBezTo>
                  <a:pt x="302" y="342"/>
                  <a:pt x="285" y="349"/>
                  <a:pt x="266" y="351"/>
                </a:cubicBezTo>
                <a:close/>
                <a:moveTo>
                  <a:pt x="331" y="316"/>
                </a:moveTo>
                <a:cubicBezTo>
                  <a:pt x="286" y="271"/>
                  <a:pt x="286" y="271"/>
                  <a:pt x="286" y="271"/>
                </a:cubicBezTo>
                <a:cubicBezTo>
                  <a:pt x="285" y="270"/>
                  <a:pt x="285" y="270"/>
                  <a:pt x="284" y="270"/>
                </a:cubicBezTo>
                <a:cubicBezTo>
                  <a:pt x="285" y="268"/>
                  <a:pt x="285" y="267"/>
                  <a:pt x="286" y="266"/>
                </a:cubicBezTo>
                <a:cubicBezTo>
                  <a:pt x="286" y="266"/>
                  <a:pt x="287" y="266"/>
                  <a:pt x="288" y="266"/>
                </a:cubicBezTo>
                <a:cubicBezTo>
                  <a:pt x="351" y="266"/>
                  <a:pt x="351" y="266"/>
                  <a:pt x="351" y="266"/>
                </a:cubicBezTo>
                <a:cubicBezTo>
                  <a:pt x="349" y="285"/>
                  <a:pt x="342" y="302"/>
                  <a:pt x="331" y="31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1" name="Group 1025"/>
          <p:cNvGrpSpPr>
            <a:grpSpLocks noChangeAspect="1"/>
          </p:cNvGrpSpPr>
          <p:nvPr/>
        </p:nvGrpSpPr>
        <p:grpSpPr bwMode="auto">
          <a:xfrm>
            <a:off x="448924" y="2916237"/>
            <a:ext cx="369021" cy="369021"/>
            <a:chOff x="787" y="3994"/>
            <a:chExt cx="340" cy="340"/>
          </a:xfrm>
          <a:solidFill>
            <a:schemeClr val="accent5"/>
          </a:solidFill>
        </p:grpSpPr>
        <p:sp>
          <p:nvSpPr>
            <p:cNvPr id="362" name="Freeform 1026"/>
            <p:cNvSpPr>
              <a:spLocks/>
            </p:cNvSpPr>
            <p:nvPr/>
          </p:nvSpPr>
          <p:spPr bwMode="auto">
            <a:xfrm>
              <a:off x="893" y="4171"/>
              <a:ext cx="45" cy="33"/>
            </a:xfrm>
            <a:custGeom>
              <a:avLst/>
              <a:gdLst>
                <a:gd name="T0" fmla="*/ 67 w 67"/>
                <a:gd name="T1" fmla="*/ 4 h 50"/>
                <a:gd name="T2" fmla="*/ 66 w 67"/>
                <a:gd name="T3" fmla="*/ 0 h 50"/>
                <a:gd name="T4" fmla="*/ 64 w 67"/>
                <a:gd name="T5" fmla="*/ 0 h 50"/>
                <a:gd name="T6" fmla="*/ 0 w 67"/>
                <a:gd name="T7" fmla="*/ 0 h 50"/>
                <a:gd name="T8" fmla="*/ 21 w 67"/>
                <a:gd name="T9" fmla="*/ 50 h 50"/>
                <a:gd name="T10" fmla="*/ 66 w 67"/>
                <a:gd name="T11" fmla="*/ 5 h 50"/>
                <a:gd name="T12" fmla="*/ 67 w 67"/>
                <a:gd name="T13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0">
                  <a:moveTo>
                    <a:pt x="67" y="4"/>
                  </a:moveTo>
                  <a:cubicBezTo>
                    <a:pt x="66" y="3"/>
                    <a:pt x="66" y="1"/>
                    <a:pt x="66" y="0"/>
                  </a:cubicBezTo>
                  <a:cubicBezTo>
                    <a:pt x="65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9"/>
                    <a:pt x="10" y="36"/>
                    <a:pt x="21" y="50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4"/>
                    <a:pt x="67" y="4"/>
                    <a:pt x="6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1027"/>
            <p:cNvSpPr>
              <a:spLocks/>
            </p:cNvSpPr>
            <p:nvPr/>
          </p:nvSpPr>
          <p:spPr bwMode="auto">
            <a:xfrm>
              <a:off x="893" y="4124"/>
              <a:ext cx="45" cy="33"/>
            </a:xfrm>
            <a:custGeom>
              <a:avLst/>
              <a:gdLst>
                <a:gd name="T0" fmla="*/ 66 w 67"/>
                <a:gd name="T1" fmla="*/ 49 h 49"/>
                <a:gd name="T2" fmla="*/ 67 w 67"/>
                <a:gd name="T3" fmla="*/ 46 h 49"/>
                <a:gd name="T4" fmla="*/ 66 w 67"/>
                <a:gd name="T5" fmla="*/ 45 h 49"/>
                <a:gd name="T6" fmla="*/ 21 w 67"/>
                <a:gd name="T7" fmla="*/ 0 h 49"/>
                <a:gd name="T8" fmla="*/ 0 w 67"/>
                <a:gd name="T9" fmla="*/ 49 h 49"/>
                <a:gd name="T10" fmla="*/ 64 w 67"/>
                <a:gd name="T11" fmla="*/ 49 h 49"/>
                <a:gd name="T12" fmla="*/ 66 w 67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49">
                  <a:moveTo>
                    <a:pt x="66" y="49"/>
                  </a:moveTo>
                  <a:cubicBezTo>
                    <a:pt x="66" y="48"/>
                    <a:pt x="66" y="47"/>
                    <a:pt x="67" y="46"/>
                  </a:cubicBezTo>
                  <a:cubicBezTo>
                    <a:pt x="67" y="45"/>
                    <a:pt x="66" y="45"/>
                    <a:pt x="66" y="4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14"/>
                    <a:pt x="2" y="31"/>
                    <a:pt x="0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5" y="49"/>
                    <a:pt x="66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4" name="Freeform 1028"/>
            <p:cNvSpPr>
              <a:spLocks/>
            </p:cNvSpPr>
            <p:nvPr/>
          </p:nvSpPr>
          <p:spPr bwMode="auto">
            <a:xfrm>
              <a:off x="917" y="4100"/>
              <a:ext cx="33" cy="45"/>
            </a:xfrm>
            <a:custGeom>
              <a:avLst/>
              <a:gdLst>
                <a:gd name="T0" fmla="*/ 46 w 49"/>
                <a:gd name="T1" fmla="*/ 67 h 67"/>
                <a:gd name="T2" fmla="*/ 49 w 49"/>
                <a:gd name="T3" fmla="*/ 66 h 67"/>
                <a:gd name="T4" fmla="*/ 49 w 49"/>
                <a:gd name="T5" fmla="*/ 64 h 67"/>
                <a:gd name="T6" fmla="*/ 49 w 49"/>
                <a:gd name="T7" fmla="*/ 0 h 67"/>
                <a:gd name="T8" fmla="*/ 0 w 49"/>
                <a:gd name="T9" fmla="*/ 21 h 67"/>
                <a:gd name="T10" fmla="*/ 45 w 49"/>
                <a:gd name="T11" fmla="*/ 66 h 67"/>
                <a:gd name="T12" fmla="*/ 46 w 49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7">
                  <a:moveTo>
                    <a:pt x="46" y="67"/>
                  </a:moveTo>
                  <a:cubicBezTo>
                    <a:pt x="47" y="66"/>
                    <a:pt x="48" y="66"/>
                    <a:pt x="49" y="66"/>
                  </a:cubicBezTo>
                  <a:cubicBezTo>
                    <a:pt x="49" y="65"/>
                    <a:pt x="49" y="64"/>
                    <a:pt x="49" y="64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1" y="2"/>
                    <a:pt x="14" y="10"/>
                    <a:pt x="0" y="21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7"/>
                    <a:pt x="4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Freeform 1029"/>
            <p:cNvSpPr>
              <a:spLocks/>
            </p:cNvSpPr>
            <p:nvPr/>
          </p:nvSpPr>
          <p:spPr bwMode="auto">
            <a:xfrm>
              <a:off x="964" y="4100"/>
              <a:ext cx="33" cy="45"/>
            </a:xfrm>
            <a:custGeom>
              <a:avLst/>
              <a:gdLst>
                <a:gd name="T0" fmla="*/ 5 w 50"/>
                <a:gd name="T1" fmla="*/ 66 h 67"/>
                <a:gd name="T2" fmla="*/ 50 w 50"/>
                <a:gd name="T3" fmla="*/ 21 h 67"/>
                <a:gd name="T4" fmla="*/ 0 w 50"/>
                <a:gd name="T5" fmla="*/ 0 h 67"/>
                <a:gd name="T6" fmla="*/ 0 w 50"/>
                <a:gd name="T7" fmla="*/ 64 h 67"/>
                <a:gd name="T8" fmla="*/ 0 w 50"/>
                <a:gd name="T9" fmla="*/ 66 h 67"/>
                <a:gd name="T10" fmla="*/ 4 w 50"/>
                <a:gd name="T11" fmla="*/ 67 h 67"/>
                <a:gd name="T12" fmla="*/ 5 w 50"/>
                <a:gd name="T13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7">
                  <a:moveTo>
                    <a:pt x="5" y="66"/>
                  </a:moveTo>
                  <a:cubicBezTo>
                    <a:pt x="50" y="21"/>
                    <a:pt x="50" y="21"/>
                    <a:pt x="50" y="21"/>
                  </a:cubicBezTo>
                  <a:cubicBezTo>
                    <a:pt x="36" y="10"/>
                    <a:pt x="19" y="2"/>
                    <a:pt x="0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5"/>
                    <a:pt x="0" y="66"/>
                  </a:cubicBezTo>
                  <a:cubicBezTo>
                    <a:pt x="1" y="66"/>
                    <a:pt x="3" y="66"/>
                    <a:pt x="4" y="67"/>
                  </a:cubicBezTo>
                  <a:cubicBezTo>
                    <a:pt x="4" y="67"/>
                    <a:pt x="4" y="66"/>
                    <a:pt x="5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6" name="Freeform 1030"/>
            <p:cNvSpPr>
              <a:spLocks/>
            </p:cNvSpPr>
            <p:nvPr/>
          </p:nvSpPr>
          <p:spPr bwMode="auto">
            <a:xfrm>
              <a:off x="917" y="4183"/>
              <a:ext cx="33" cy="44"/>
            </a:xfrm>
            <a:custGeom>
              <a:avLst/>
              <a:gdLst>
                <a:gd name="T0" fmla="*/ 45 w 49"/>
                <a:gd name="T1" fmla="*/ 2 h 67"/>
                <a:gd name="T2" fmla="*/ 0 w 49"/>
                <a:gd name="T3" fmla="*/ 47 h 67"/>
                <a:gd name="T4" fmla="*/ 49 w 49"/>
                <a:gd name="T5" fmla="*/ 67 h 67"/>
                <a:gd name="T6" fmla="*/ 49 w 49"/>
                <a:gd name="T7" fmla="*/ 4 h 67"/>
                <a:gd name="T8" fmla="*/ 49 w 49"/>
                <a:gd name="T9" fmla="*/ 2 h 67"/>
                <a:gd name="T10" fmla="*/ 46 w 49"/>
                <a:gd name="T11" fmla="*/ 0 h 67"/>
                <a:gd name="T12" fmla="*/ 45 w 49"/>
                <a:gd name="T13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7">
                  <a:moveTo>
                    <a:pt x="45" y="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14" y="58"/>
                    <a:pt x="31" y="65"/>
                    <a:pt x="49" y="67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3"/>
                    <a:pt x="49" y="2"/>
                    <a:pt x="49" y="2"/>
                  </a:cubicBezTo>
                  <a:cubicBezTo>
                    <a:pt x="48" y="1"/>
                    <a:pt x="47" y="1"/>
                    <a:pt x="46" y="0"/>
                  </a:cubicBezTo>
                  <a:cubicBezTo>
                    <a:pt x="45" y="1"/>
                    <a:pt x="45" y="1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Freeform 1031"/>
            <p:cNvSpPr>
              <a:spLocks/>
            </p:cNvSpPr>
            <p:nvPr/>
          </p:nvSpPr>
          <p:spPr bwMode="auto">
            <a:xfrm>
              <a:off x="976" y="4171"/>
              <a:ext cx="44" cy="33"/>
            </a:xfrm>
            <a:custGeom>
              <a:avLst/>
              <a:gdLst>
                <a:gd name="T0" fmla="*/ 2 w 67"/>
                <a:gd name="T1" fmla="*/ 0 h 50"/>
                <a:gd name="T2" fmla="*/ 0 w 67"/>
                <a:gd name="T3" fmla="*/ 4 h 50"/>
                <a:gd name="T4" fmla="*/ 2 w 67"/>
                <a:gd name="T5" fmla="*/ 5 h 50"/>
                <a:gd name="T6" fmla="*/ 47 w 67"/>
                <a:gd name="T7" fmla="*/ 50 h 50"/>
                <a:gd name="T8" fmla="*/ 67 w 67"/>
                <a:gd name="T9" fmla="*/ 0 h 50"/>
                <a:gd name="T10" fmla="*/ 4 w 67"/>
                <a:gd name="T11" fmla="*/ 0 h 50"/>
                <a:gd name="T12" fmla="*/ 2 w 67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50">
                  <a:moveTo>
                    <a:pt x="2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1" y="4"/>
                    <a:pt x="1" y="4"/>
                    <a:pt x="2" y="5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58" y="36"/>
                    <a:pt x="65" y="19"/>
                    <a:pt x="6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8" name="Oval 1032"/>
            <p:cNvSpPr>
              <a:spLocks noChangeArrowheads="1"/>
            </p:cNvSpPr>
            <p:nvPr/>
          </p:nvSpPr>
          <p:spPr bwMode="auto">
            <a:xfrm>
              <a:off x="950" y="4157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9" name="Freeform 1033"/>
            <p:cNvSpPr>
              <a:spLocks noEditPoints="1"/>
            </p:cNvSpPr>
            <p:nvPr/>
          </p:nvSpPr>
          <p:spPr bwMode="auto">
            <a:xfrm>
              <a:off x="787" y="3994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372 w 512"/>
                <a:gd name="T13" fmla="*/ 266 h 512"/>
                <a:gd name="T14" fmla="*/ 346 w 512"/>
                <a:gd name="T15" fmla="*/ 331 h 512"/>
                <a:gd name="T16" fmla="*/ 370 w 512"/>
                <a:gd name="T17" fmla="*/ 355 h 512"/>
                <a:gd name="T18" fmla="*/ 370 w 512"/>
                <a:gd name="T19" fmla="*/ 370 h 512"/>
                <a:gd name="T20" fmla="*/ 362 w 512"/>
                <a:gd name="T21" fmla="*/ 373 h 512"/>
                <a:gd name="T22" fmla="*/ 355 w 512"/>
                <a:gd name="T23" fmla="*/ 370 h 512"/>
                <a:gd name="T24" fmla="*/ 331 w 512"/>
                <a:gd name="T25" fmla="*/ 346 h 512"/>
                <a:gd name="T26" fmla="*/ 266 w 512"/>
                <a:gd name="T27" fmla="*/ 372 h 512"/>
                <a:gd name="T28" fmla="*/ 266 w 512"/>
                <a:gd name="T29" fmla="*/ 405 h 512"/>
                <a:gd name="T30" fmla="*/ 256 w 512"/>
                <a:gd name="T31" fmla="*/ 416 h 512"/>
                <a:gd name="T32" fmla="*/ 245 w 512"/>
                <a:gd name="T33" fmla="*/ 405 h 512"/>
                <a:gd name="T34" fmla="*/ 245 w 512"/>
                <a:gd name="T35" fmla="*/ 372 h 512"/>
                <a:gd name="T36" fmla="*/ 181 w 512"/>
                <a:gd name="T37" fmla="*/ 346 h 512"/>
                <a:gd name="T38" fmla="*/ 157 w 512"/>
                <a:gd name="T39" fmla="*/ 370 h 512"/>
                <a:gd name="T40" fmla="*/ 149 w 512"/>
                <a:gd name="T41" fmla="*/ 373 h 512"/>
                <a:gd name="T42" fmla="*/ 141 w 512"/>
                <a:gd name="T43" fmla="*/ 370 h 512"/>
                <a:gd name="T44" fmla="*/ 141 w 512"/>
                <a:gd name="T45" fmla="*/ 355 h 512"/>
                <a:gd name="T46" fmla="*/ 166 w 512"/>
                <a:gd name="T47" fmla="*/ 331 h 512"/>
                <a:gd name="T48" fmla="*/ 139 w 512"/>
                <a:gd name="T49" fmla="*/ 266 h 512"/>
                <a:gd name="T50" fmla="*/ 106 w 512"/>
                <a:gd name="T51" fmla="*/ 266 h 512"/>
                <a:gd name="T52" fmla="*/ 96 w 512"/>
                <a:gd name="T53" fmla="*/ 256 h 512"/>
                <a:gd name="T54" fmla="*/ 106 w 512"/>
                <a:gd name="T55" fmla="*/ 245 h 512"/>
                <a:gd name="T56" fmla="*/ 139 w 512"/>
                <a:gd name="T57" fmla="*/ 245 h 512"/>
                <a:gd name="T58" fmla="*/ 166 w 512"/>
                <a:gd name="T59" fmla="*/ 181 h 512"/>
                <a:gd name="T60" fmla="*/ 141 w 512"/>
                <a:gd name="T61" fmla="*/ 157 h 512"/>
                <a:gd name="T62" fmla="*/ 141 w 512"/>
                <a:gd name="T63" fmla="*/ 141 h 512"/>
                <a:gd name="T64" fmla="*/ 157 w 512"/>
                <a:gd name="T65" fmla="*/ 141 h 512"/>
                <a:gd name="T66" fmla="*/ 181 w 512"/>
                <a:gd name="T67" fmla="*/ 166 h 512"/>
                <a:gd name="T68" fmla="*/ 245 w 512"/>
                <a:gd name="T69" fmla="*/ 139 h 512"/>
                <a:gd name="T70" fmla="*/ 245 w 512"/>
                <a:gd name="T71" fmla="*/ 106 h 512"/>
                <a:gd name="T72" fmla="*/ 256 w 512"/>
                <a:gd name="T73" fmla="*/ 96 h 512"/>
                <a:gd name="T74" fmla="*/ 266 w 512"/>
                <a:gd name="T75" fmla="*/ 106 h 512"/>
                <a:gd name="T76" fmla="*/ 266 w 512"/>
                <a:gd name="T77" fmla="*/ 139 h 512"/>
                <a:gd name="T78" fmla="*/ 331 w 512"/>
                <a:gd name="T79" fmla="*/ 166 h 512"/>
                <a:gd name="T80" fmla="*/ 355 w 512"/>
                <a:gd name="T81" fmla="*/ 141 h 512"/>
                <a:gd name="T82" fmla="*/ 370 w 512"/>
                <a:gd name="T83" fmla="*/ 141 h 512"/>
                <a:gd name="T84" fmla="*/ 370 w 512"/>
                <a:gd name="T85" fmla="*/ 157 h 512"/>
                <a:gd name="T86" fmla="*/ 346 w 512"/>
                <a:gd name="T87" fmla="*/ 181 h 512"/>
                <a:gd name="T88" fmla="*/ 372 w 512"/>
                <a:gd name="T89" fmla="*/ 245 h 512"/>
                <a:gd name="T90" fmla="*/ 405 w 512"/>
                <a:gd name="T91" fmla="*/ 245 h 512"/>
                <a:gd name="T92" fmla="*/ 416 w 512"/>
                <a:gd name="T93" fmla="*/ 256 h 512"/>
                <a:gd name="T94" fmla="*/ 405 w 512"/>
                <a:gd name="T95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372" y="266"/>
                    <a:pt x="372" y="266"/>
                    <a:pt x="372" y="266"/>
                  </a:cubicBezTo>
                  <a:cubicBezTo>
                    <a:pt x="370" y="291"/>
                    <a:pt x="361" y="313"/>
                    <a:pt x="346" y="331"/>
                  </a:cubicBezTo>
                  <a:cubicBezTo>
                    <a:pt x="370" y="355"/>
                    <a:pt x="370" y="355"/>
                    <a:pt x="370" y="355"/>
                  </a:cubicBezTo>
                  <a:cubicBezTo>
                    <a:pt x="374" y="359"/>
                    <a:pt x="374" y="366"/>
                    <a:pt x="370" y="370"/>
                  </a:cubicBezTo>
                  <a:cubicBezTo>
                    <a:pt x="368" y="372"/>
                    <a:pt x="365" y="373"/>
                    <a:pt x="362" y="373"/>
                  </a:cubicBezTo>
                  <a:cubicBezTo>
                    <a:pt x="360" y="373"/>
                    <a:pt x="357" y="372"/>
                    <a:pt x="355" y="370"/>
                  </a:cubicBezTo>
                  <a:cubicBezTo>
                    <a:pt x="331" y="346"/>
                    <a:pt x="331" y="346"/>
                    <a:pt x="331" y="346"/>
                  </a:cubicBezTo>
                  <a:cubicBezTo>
                    <a:pt x="313" y="361"/>
                    <a:pt x="291" y="370"/>
                    <a:pt x="266" y="372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72"/>
                    <a:pt x="245" y="372"/>
                    <a:pt x="245" y="372"/>
                  </a:cubicBezTo>
                  <a:cubicBezTo>
                    <a:pt x="221" y="370"/>
                    <a:pt x="198" y="361"/>
                    <a:pt x="181" y="346"/>
                  </a:cubicBezTo>
                  <a:cubicBezTo>
                    <a:pt x="157" y="370"/>
                    <a:pt x="157" y="370"/>
                    <a:pt x="157" y="370"/>
                  </a:cubicBezTo>
                  <a:cubicBezTo>
                    <a:pt x="154" y="372"/>
                    <a:pt x="152" y="373"/>
                    <a:pt x="149" y="373"/>
                  </a:cubicBezTo>
                  <a:cubicBezTo>
                    <a:pt x="146" y="373"/>
                    <a:pt x="144" y="372"/>
                    <a:pt x="141" y="370"/>
                  </a:cubicBezTo>
                  <a:cubicBezTo>
                    <a:pt x="137" y="366"/>
                    <a:pt x="137" y="359"/>
                    <a:pt x="141" y="355"/>
                  </a:cubicBezTo>
                  <a:cubicBezTo>
                    <a:pt x="166" y="331"/>
                    <a:pt x="166" y="331"/>
                    <a:pt x="166" y="331"/>
                  </a:cubicBezTo>
                  <a:cubicBezTo>
                    <a:pt x="151" y="313"/>
                    <a:pt x="141" y="291"/>
                    <a:pt x="139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139" y="245"/>
                    <a:pt x="139" y="245"/>
                    <a:pt x="139" y="245"/>
                  </a:cubicBezTo>
                  <a:cubicBezTo>
                    <a:pt x="141" y="221"/>
                    <a:pt x="151" y="198"/>
                    <a:pt x="166" y="181"/>
                  </a:cubicBezTo>
                  <a:cubicBezTo>
                    <a:pt x="141" y="157"/>
                    <a:pt x="141" y="157"/>
                    <a:pt x="141" y="157"/>
                  </a:cubicBezTo>
                  <a:cubicBezTo>
                    <a:pt x="137" y="152"/>
                    <a:pt x="137" y="146"/>
                    <a:pt x="141" y="141"/>
                  </a:cubicBezTo>
                  <a:cubicBezTo>
                    <a:pt x="146" y="137"/>
                    <a:pt x="152" y="137"/>
                    <a:pt x="157" y="141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98" y="151"/>
                    <a:pt x="221" y="141"/>
                    <a:pt x="245" y="139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39"/>
                    <a:pt x="266" y="139"/>
                    <a:pt x="266" y="139"/>
                  </a:cubicBezTo>
                  <a:cubicBezTo>
                    <a:pt x="291" y="141"/>
                    <a:pt x="313" y="151"/>
                    <a:pt x="331" y="166"/>
                  </a:cubicBezTo>
                  <a:cubicBezTo>
                    <a:pt x="355" y="141"/>
                    <a:pt x="355" y="141"/>
                    <a:pt x="355" y="141"/>
                  </a:cubicBezTo>
                  <a:cubicBezTo>
                    <a:pt x="359" y="137"/>
                    <a:pt x="366" y="137"/>
                    <a:pt x="370" y="141"/>
                  </a:cubicBezTo>
                  <a:cubicBezTo>
                    <a:pt x="374" y="146"/>
                    <a:pt x="374" y="152"/>
                    <a:pt x="370" y="157"/>
                  </a:cubicBezTo>
                  <a:cubicBezTo>
                    <a:pt x="346" y="181"/>
                    <a:pt x="346" y="181"/>
                    <a:pt x="346" y="181"/>
                  </a:cubicBezTo>
                  <a:cubicBezTo>
                    <a:pt x="361" y="198"/>
                    <a:pt x="370" y="221"/>
                    <a:pt x="372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0" name="Freeform 1034"/>
            <p:cNvSpPr>
              <a:spLocks/>
            </p:cNvSpPr>
            <p:nvPr/>
          </p:nvSpPr>
          <p:spPr bwMode="auto">
            <a:xfrm>
              <a:off x="976" y="4124"/>
              <a:ext cx="44" cy="33"/>
            </a:xfrm>
            <a:custGeom>
              <a:avLst/>
              <a:gdLst>
                <a:gd name="T0" fmla="*/ 2 w 67"/>
                <a:gd name="T1" fmla="*/ 45 h 49"/>
                <a:gd name="T2" fmla="*/ 0 w 67"/>
                <a:gd name="T3" fmla="*/ 46 h 49"/>
                <a:gd name="T4" fmla="*/ 2 w 67"/>
                <a:gd name="T5" fmla="*/ 49 h 49"/>
                <a:gd name="T6" fmla="*/ 4 w 67"/>
                <a:gd name="T7" fmla="*/ 49 h 49"/>
                <a:gd name="T8" fmla="*/ 67 w 67"/>
                <a:gd name="T9" fmla="*/ 49 h 49"/>
                <a:gd name="T10" fmla="*/ 47 w 67"/>
                <a:gd name="T11" fmla="*/ 0 h 49"/>
                <a:gd name="T12" fmla="*/ 2 w 67"/>
                <a:gd name="T13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49">
                  <a:moveTo>
                    <a:pt x="2" y="45"/>
                  </a:moveTo>
                  <a:cubicBezTo>
                    <a:pt x="1" y="45"/>
                    <a:pt x="1" y="45"/>
                    <a:pt x="0" y="46"/>
                  </a:cubicBezTo>
                  <a:cubicBezTo>
                    <a:pt x="1" y="47"/>
                    <a:pt x="1" y="48"/>
                    <a:pt x="2" y="49"/>
                  </a:cubicBezTo>
                  <a:cubicBezTo>
                    <a:pt x="2" y="49"/>
                    <a:pt x="3" y="49"/>
                    <a:pt x="4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5" y="31"/>
                    <a:pt x="58" y="14"/>
                    <a:pt x="47" y="0"/>
                  </a:cubicBezTo>
                  <a:lnTo>
                    <a:pt x="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1" name="Freeform 1035"/>
            <p:cNvSpPr>
              <a:spLocks/>
            </p:cNvSpPr>
            <p:nvPr/>
          </p:nvSpPr>
          <p:spPr bwMode="auto">
            <a:xfrm>
              <a:off x="964" y="4183"/>
              <a:ext cx="33" cy="44"/>
            </a:xfrm>
            <a:custGeom>
              <a:avLst/>
              <a:gdLst>
                <a:gd name="T0" fmla="*/ 4 w 50"/>
                <a:gd name="T1" fmla="*/ 0 h 67"/>
                <a:gd name="T2" fmla="*/ 0 w 50"/>
                <a:gd name="T3" fmla="*/ 2 h 67"/>
                <a:gd name="T4" fmla="*/ 0 w 50"/>
                <a:gd name="T5" fmla="*/ 4 h 67"/>
                <a:gd name="T6" fmla="*/ 0 w 50"/>
                <a:gd name="T7" fmla="*/ 67 h 67"/>
                <a:gd name="T8" fmla="*/ 50 w 50"/>
                <a:gd name="T9" fmla="*/ 47 h 67"/>
                <a:gd name="T10" fmla="*/ 5 w 50"/>
                <a:gd name="T11" fmla="*/ 2 h 67"/>
                <a:gd name="T12" fmla="*/ 4 w 50"/>
                <a:gd name="T1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7">
                  <a:moveTo>
                    <a:pt x="4" y="0"/>
                  </a:moveTo>
                  <a:cubicBezTo>
                    <a:pt x="3" y="1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9" y="65"/>
                    <a:pt x="36" y="58"/>
                    <a:pt x="50" y="47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4" name="Group 100"/>
          <p:cNvGrpSpPr>
            <a:grpSpLocks noChangeAspect="1"/>
          </p:cNvGrpSpPr>
          <p:nvPr/>
        </p:nvGrpSpPr>
        <p:grpSpPr bwMode="auto">
          <a:xfrm>
            <a:off x="7905008" y="2915582"/>
            <a:ext cx="369676" cy="369676"/>
            <a:chOff x="7354" y="361"/>
            <a:chExt cx="340" cy="340"/>
          </a:xfrm>
          <a:solidFill>
            <a:schemeClr val="accent2"/>
          </a:solidFill>
        </p:grpSpPr>
        <p:sp>
          <p:nvSpPr>
            <p:cNvPr id="375" name="Freeform 101"/>
            <p:cNvSpPr>
              <a:spLocks noEditPoints="1"/>
            </p:cNvSpPr>
            <p:nvPr/>
          </p:nvSpPr>
          <p:spPr bwMode="auto">
            <a:xfrm>
              <a:off x="7354" y="3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6" name="Freeform 102"/>
            <p:cNvSpPr>
              <a:spLocks noEditPoints="1"/>
            </p:cNvSpPr>
            <p:nvPr/>
          </p:nvSpPr>
          <p:spPr bwMode="auto">
            <a:xfrm>
              <a:off x="7462" y="453"/>
              <a:ext cx="111" cy="156"/>
            </a:xfrm>
            <a:custGeom>
              <a:avLst/>
              <a:gdLst>
                <a:gd name="T0" fmla="*/ 74 w 167"/>
                <a:gd name="T1" fmla="*/ 189 h 235"/>
                <a:gd name="T2" fmla="*/ 74 w 167"/>
                <a:gd name="T3" fmla="*/ 204 h 235"/>
                <a:gd name="T4" fmla="*/ 47 w 167"/>
                <a:gd name="T5" fmla="*/ 232 h 235"/>
                <a:gd name="T6" fmla="*/ 43 w 167"/>
                <a:gd name="T7" fmla="*/ 234 h 235"/>
                <a:gd name="T8" fmla="*/ 39 w 167"/>
                <a:gd name="T9" fmla="*/ 235 h 235"/>
                <a:gd name="T10" fmla="*/ 35 w 167"/>
                <a:gd name="T11" fmla="*/ 234 h 235"/>
                <a:gd name="T12" fmla="*/ 32 w 167"/>
                <a:gd name="T13" fmla="*/ 232 h 235"/>
                <a:gd name="T14" fmla="*/ 4 w 167"/>
                <a:gd name="T15" fmla="*/ 204 h 235"/>
                <a:gd name="T16" fmla="*/ 4 w 167"/>
                <a:gd name="T17" fmla="*/ 189 h 235"/>
                <a:gd name="T18" fmla="*/ 19 w 167"/>
                <a:gd name="T19" fmla="*/ 189 h 235"/>
                <a:gd name="T20" fmla="*/ 29 w 167"/>
                <a:gd name="T21" fmla="*/ 199 h 235"/>
                <a:gd name="T22" fmla="*/ 29 w 167"/>
                <a:gd name="T23" fmla="*/ 11 h 235"/>
                <a:gd name="T24" fmla="*/ 39 w 167"/>
                <a:gd name="T25" fmla="*/ 0 h 235"/>
                <a:gd name="T26" fmla="*/ 50 w 167"/>
                <a:gd name="T27" fmla="*/ 11 h 235"/>
                <a:gd name="T28" fmla="*/ 50 w 167"/>
                <a:gd name="T29" fmla="*/ 199 h 235"/>
                <a:gd name="T30" fmla="*/ 59 w 167"/>
                <a:gd name="T31" fmla="*/ 189 h 235"/>
                <a:gd name="T32" fmla="*/ 74 w 167"/>
                <a:gd name="T33" fmla="*/ 189 h 235"/>
                <a:gd name="T34" fmla="*/ 106 w 167"/>
                <a:gd name="T35" fmla="*/ 172 h 235"/>
                <a:gd name="T36" fmla="*/ 114 w 167"/>
                <a:gd name="T37" fmla="*/ 182 h 235"/>
                <a:gd name="T38" fmla="*/ 124 w 167"/>
                <a:gd name="T39" fmla="*/ 175 h 235"/>
                <a:gd name="T40" fmla="*/ 130 w 167"/>
                <a:gd name="T41" fmla="*/ 169 h 235"/>
                <a:gd name="T42" fmla="*/ 130 w 167"/>
                <a:gd name="T43" fmla="*/ 178 h 235"/>
                <a:gd name="T44" fmla="*/ 130 w 167"/>
                <a:gd name="T45" fmla="*/ 186 h 235"/>
                <a:gd name="T46" fmla="*/ 130 w 167"/>
                <a:gd name="T47" fmla="*/ 235 h 235"/>
                <a:gd name="T48" fmla="*/ 148 w 167"/>
                <a:gd name="T49" fmla="*/ 235 h 235"/>
                <a:gd name="T50" fmla="*/ 148 w 167"/>
                <a:gd name="T51" fmla="*/ 150 h 235"/>
                <a:gd name="T52" fmla="*/ 133 w 167"/>
                <a:gd name="T53" fmla="*/ 150 h 235"/>
                <a:gd name="T54" fmla="*/ 106 w 167"/>
                <a:gd name="T55" fmla="*/ 172 h 235"/>
                <a:gd name="T56" fmla="*/ 167 w 167"/>
                <a:gd name="T57" fmla="*/ 37 h 235"/>
                <a:gd name="T58" fmla="*/ 157 w 167"/>
                <a:gd name="T59" fmla="*/ 73 h 235"/>
                <a:gd name="T60" fmla="*/ 125 w 167"/>
                <a:gd name="T61" fmla="*/ 86 h 235"/>
                <a:gd name="T62" fmla="*/ 114 w 167"/>
                <a:gd name="T63" fmla="*/ 85 h 235"/>
                <a:gd name="T64" fmla="*/ 114 w 167"/>
                <a:gd name="T65" fmla="*/ 71 h 235"/>
                <a:gd name="T66" fmla="*/ 124 w 167"/>
                <a:gd name="T67" fmla="*/ 72 h 235"/>
                <a:gd name="T68" fmla="*/ 139 w 167"/>
                <a:gd name="T69" fmla="*/ 69 h 235"/>
                <a:gd name="T70" fmla="*/ 147 w 167"/>
                <a:gd name="T71" fmla="*/ 61 h 235"/>
                <a:gd name="T72" fmla="*/ 151 w 167"/>
                <a:gd name="T73" fmla="*/ 46 h 235"/>
                <a:gd name="T74" fmla="*/ 150 w 167"/>
                <a:gd name="T75" fmla="*/ 46 h 235"/>
                <a:gd name="T76" fmla="*/ 142 w 167"/>
                <a:gd name="T77" fmla="*/ 53 h 235"/>
                <a:gd name="T78" fmla="*/ 132 w 167"/>
                <a:gd name="T79" fmla="*/ 56 h 235"/>
                <a:gd name="T80" fmla="*/ 114 w 167"/>
                <a:gd name="T81" fmla="*/ 49 h 235"/>
                <a:gd name="T82" fmla="*/ 108 w 167"/>
                <a:gd name="T83" fmla="*/ 29 h 235"/>
                <a:gd name="T84" fmla="*/ 116 w 167"/>
                <a:gd name="T85" fmla="*/ 8 h 235"/>
                <a:gd name="T86" fmla="*/ 136 w 167"/>
                <a:gd name="T87" fmla="*/ 0 h 235"/>
                <a:gd name="T88" fmla="*/ 153 w 167"/>
                <a:gd name="T89" fmla="*/ 5 h 235"/>
                <a:gd name="T90" fmla="*/ 163 w 167"/>
                <a:gd name="T91" fmla="*/ 17 h 235"/>
                <a:gd name="T92" fmla="*/ 167 w 167"/>
                <a:gd name="T93" fmla="*/ 37 h 235"/>
                <a:gd name="T94" fmla="*/ 149 w 167"/>
                <a:gd name="T95" fmla="*/ 30 h 235"/>
                <a:gd name="T96" fmla="*/ 146 w 167"/>
                <a:gd name="T97" fmla="*/ 19 h 235"/>
                <a:gd name="T98" fmla="*/ 137 w 167"/>
                <a:gd name="T99" fmla="*/ 14 h 235"/>
                <a:gd name="T100" fmla="*/ 128 w 167"/>
                <a:gd name="T101" fmla="*/ 18 h 235"/>
                <a:gd name="T102" fmla="*/ 125 w 167"/>
                <a:gd name="T103" fmla="*/ 29 h 235"/>
                <a:gd name="T104" fmla="*/ 128 w 167"/>
                <a:gd name="T105" fmla="*/ 39 h 235"/>
                <a:gd name="T106" fmla="*/ 136 w 167"/>
                <a:gd name="T107" fmla="*/ 42 h 235"/>
                <a:gd name="T108" fmla="*/ 146 w 167"/>
                <a:gd name="T109" fmla="*/ 39 h 235"/>
                <a:gd name="T110" fmla="*/ 149 w 167"/>
                <a:gd name="T111" fmla="*/ 3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7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106" y="172"/>
                  </a:moveTo>
                  <a:cubicBezTo>
                    <a:pt x="114" y="182"/>
                    <a:pt x="114" y="182"/>
                    <a:pt x="114" y="182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25" y="174"/>
                    <a:pt x="127" y="172"/>
                    <a:pt x="130" y="169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235"/>
                    <a:pt x="130" y="235"/>
                    <a:pt x="130" y="235"/>
                  </a:cubicBezTo>
                  <a:cubicBezTo>
                    <a:pt x="148" y="235"/>
                    <a:pt x="148" y="235"/>
                    <a:pt x="148" y="235"/>
                  </a:cubicBezTo>
                  <a:cubicBezTo>
                    <a:pt x="148" y="150"/>
                    <a:pt x="148" y="150"/>
                    <a:pt x="148" y="150"/>
                  </a:cubicBezTo>
                  <a:cubicBezTo>
                    <a:pt x="133" y="150"/>
                    <a:pt x="133" y="150"/>
                    <a:pt x="133" y="150"/>
                  </a:cubicBezTo>
                  <a:lnTo>
                    <a:pt x="106" y="172"/>
                  </a:lnTo>
                  <a:close/>
                  <a:moveTo>
                    <a:pt x="167" y="37"/>
                  </a:moveTo>
                  <a:cubicBezTo>
                    <a:pt x="167" y="53"/>
                    <a:pt x="163" y="65"/>
                    <a:pt x="157" y="73"/>
                  </a:cubicBezTo>
                  <a:cubicBezTo>
                    <a:pt x="150" y="82"/>
                    <a:pt x="139" y="86"/>
                    <a:pt x="125" y="86"/>
                  </a:cubicBezTo>
                  <a:cubicBezTo>
                    <a:pt x="120" y="86"/>
                    <a:pt x="117" y="85"/>
                    <a:pt x="114" y="85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7" y="71"/>
                    <a:pt x="121" y="72"/>
                    <a:pt x="124" y="72"/>
                  </a:cubicBezTo>
                  <a:cubicBezTo>
                    <a:pt x="130" y="72"/>
                    <a:pt x="135" y="71"/>
                    <a:pt x="139" y="69"/>
                  </a:cubicBezTo>
                  <a:cubicBezTo>
                    <a:pt x="142" y="68"/>
                    <a:pt x="145" y="65"/>
                    <a:pt x="147" y="61"/>
                  </a:cubicBezTo>
                  <a:cubicBezTo>
                    <a:pt x="149" y="57"/>
                    <a:pt x="150" y="52"/>
                    <a:pt x="151" y="46"/>
                  </a:cubicBezTo>
                  <a:cubicBezTo>
                    <a:pt x="150" y="46"/>
                    <a:pt x="150" y="46"/>
                    <a:pt x="150" y="46"/>
                  </a:cubicBezTo>
                  <a:cubicBezTo>
                    <a:pt x="148" y="49"/>
                    <a:pt x="145" y="52"/>
                    <a:pt x="142" y="53"/>
                  </a:cubicBezTo>
                  <a:cubicBezTo>
                    <a:pt x="139" y="55"/>
                    <a:pt x="136" y="56"/>
                    <a:pt x="132" y="56"/>
                  </a:cubicBezTo>
                  <a:cubicBezTo>
                    <a:pt x="124" y="56"/>
                    <a:pt x="119" y="53"/>
                    <a:pt x="114" y="49"/>
                  </a:cubicBezTo>
                  <a:cubicBezTo>
                    <a:pt x="110" y="44"/>
                    <a:pt x="108" y="37"/>
                    <a:pt x="108" y="29"/>
                  </a:cubicBezTo>
                  <a:cubicBezTo>
                    <a:pt x="108" y="20"/>
                    <a:pt x="111" y="13"/>
                    <a:pt x="116" y="8"/>
                  </a:cubicBezTo>
                  <a:cubicBezTo>
                    <a:pt x="121" y="3"/>
                    <a:pt x="128" y="0"/>
                    <a:pt x="136" y="0"/>
                  </a:cubicBezTo>
                  <a:cubicBezTo>
                    <a:pt x="143" y="0"/>
                    <a:pt x="148" y="2"/>
                    <a:pt x="153" y="5"/>
                  </a:cubicBezTo>
                  <a:cubicBezTo>
                    <a:pt x="157" y="7"/>
                    <a:pt x="161" y="12"/>
                    <a:pt x="163" y="17"/>
                  </a:cubicBezTo>
                  <a:cubicBezTo>
                    <a:pt x="166" y="23"/>
                    <a:pt x="167" y="29"/>
                    <a:pt x="167" y="37"/>
                  </a:cubicBezTo>
                  <a:close/>
                  <a:moveTo>
                    <a:pt x="149" y="30"/>
                  </a:moveTo>
                  <a:cubicBezTo>
                    <a:pt x="149" y="26"/>
                    <a:pt x="148" y="22"/>
                    <a:pt x="146" y="19"/>
                  </a:cubicBezTo>
                  <a:cubicBezTo>
                    <a:pt x="144" y="16"/>
                    <a:pt x="140" y="14"/>
                    <a:pt x="137" y="14"/>
                  </a:cubicBezTo>
                  <a:cubicBezTo>
                    <a:pt x="133" y="14"/>
                    <a:pt x="130" y="16"/>
                    <a:pt x="128" y="18"/>
                  </a:cubicBezTo>
                  <a:cubicBezTo>
                    <a:pt x="126" y="21"/>
                    <a:pt x="125" y="24"/>
                    <a:pt x="125" y="29"/>
                  </a:cubicBezTo>
                  <a:cubicBezTo>
                    <a:pt x="125" y="33"/>
                    <a:pt x="126" y="36"/>
                    <a:pt x="128" y="39"/>
                  </a:cubicBezTo>
                  <a:cubicBezTo>
                    <a:pt x="130" y="41"/>
                    <a:pt x="133" y="42"/>
                    <a:pt x="136" y="42"/>
                  </a:cubicBezTo>
                  <a:cubicBezTo>
                    <a:pt x="140" y="42"/>
                    <a:pt x="143" y="41"/>
                    <a:pt x="146" y="39"/>
                  </a:cubicBezTo>
                  <a:cubicBezTo>
                    <a:pt x="148" y="36"/>
                    <a:pt x="149" y="34"/>
                    <a:pt x="14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7" name="Freeform 106"/>
          <p:cNvSpPr>
            <a:spLocks noChangeAspect="1" noEditPoints="1"/>
          </p:cNvSpPr>
          <p:nvPr/>
        </p:nvSpPr>
        <p:spPr bwMode="auto">
          <a:xfrm>
            <a:off x="7407906" y="2915582"/>
            <a:ext cx="369676" cy="369676"/>
          </a:xfrm>
          <a:custGeom>
            <a:avLst/>
            <a:gdLst>
              <a:gd name="T0" fmla="*/ 309 w 512"/>
              <a:gd name="T1" fmla="*/ 157 h 512"/>
              <a:gd name="T2" fmla="*/ 312 w 512"/>
              <a:gd name="T3" fmla="*/ 168 h 512"/>
              <a:gd name="T4" fmla="*/ 309 w 512"/>
              <a:gd name="T5" fmla="*/ 177 h 512"/>
              <a:gd name="T6" fmla="*/ 299 w 512"/>
              <a:gd name="T7" fmla="*/ 180 h 512"/>
              <a:gd name="T8" fmla="*/ 291 w 512"/>
              <a:gd name="T9" fmla="*/ 177 h 512"/>
              <a:gd name="T10" fmla="*/ 288 w 512"/>
              <a:gd name="T11" fmla="*/ 167 h 512"/>
              <a:gd name="T12" fmla="*/ 291 w 512"/>
              <a:gd name="T13" fmla="*/ 156 h 512"/>
              <a:gd name="T14" fmla="*/ 300 w 512"/>
              <a:gd name="T15" fmla="*/ 152 h 512"/>
              <a:gd name="T16" fmla="*/ 309 w 512"/>
              <a:gd name="T17" fmla="*/ 157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37 w 512"/>
              <a:gd name="T29" fmla="*/ 327 h 512"/>
              <a:gd name="T30" fmla="*/ 222 w 512"/>
              <a:gd name="T31" fmla="*/ 327 h 512"/>
              <a:gd name="T32" fmla="*/ 213 w 512"/>
              <a:gd name="T33" fmla="*/ 337 h 512"/>
              <a:gd name="T34" fmla="*/ 213 w 512"/>
              <a:gd name="T35" fmla="*/ 149 h 512"/>
              <a:gd name="T36" fmla="*/ 202 w 512"/>
              <a:gd name="T37" fmla="*/ 138 h 512"/>
              <a:gd name="T38" fmla="*/ 192 w 512"/>
              <a:gd name="T39" fmla="*/ 149 h 512"/>
              <a:gd name="T40" fmla="*/ 192 w 512"/>
              <a:gd name="T41" fmla="*/ 337 h 512"/>
              <a:gd name="T42" fmla="*/ 182 w 512"/>
              <a:gd name="T43" fmla="*/ 327 h 512"/>
              <a:gd name="T44" fmla="*/ 167 w 512"/>
              <a:gd name="T45" fmla="*/ 327 h 512"/>
              <a:gd name="T46" fmla="*/ 167 w 512"/>
              <a:gd name="T47" fmla="*/ 342 h 512"/>
              <a:gd name="T48" fmla="*/ 195 w 512"/>
              <a:gd name="T49" fmla="*/ 370 h 512"/>
              <a:gd name="T50" fmla="*/ 198 w 512"/>
              <a:gd name="T51" fmla="*/ 372 h 512"/>
              <a:gd name="T52" fmla="*/ 202 w 512"/>
              <a:gd name="T53" fmla="*/ 373 h 512"/>
              <a:gd name="T54" fmla="*/ 206 w 512"/>
              <a:gd name="T55" fmla="*/ 372 h 512"/>
              <a:gd name="T56" fmla="*/ 210 w 512"/>
              <a:gd name="T57" fmla="*/ 370 h 512"/>
              <a:gd name="T58" fmla="*/ 237 w 512"/>
              <a:gd name="T59" fmla="*/ 342 h 512"/>
              <a:gd name="T60" fmla="*/ 237 w 512"/>
              <a:gd name="T61" fmla="*/ 327 h 512"/>
              <a:gd name="T62" fmla="*/ 311 w 512"/>
              <a:gd name="T63" fmla="*/ 288 h 512"/>
              <a:gd name="T64" fmla="*/ 296 w 512"/>
              <a:gd name="T65" fmla="*/ 288 h 512"/>
              <a:gd name="T66" fmla="*/ 269 w 512"/>
              <a:gd name="T67" fmla="*/ 310 h 512"/>
              <a:gd name="T68" fmla="*/ 277 w 512"/>
              <a:gd name="T69" fmla="*/ 320 h 512"/>
              <a:gd name="T70" fmla="*/ 287 w 512"/>
              <a:gd name="T71" fmla="*/ 313 h 512"/>
              <a:gd name="T72" fmla="*/ 293 w 512"/>
              <a:gd name="T73" fmla="*/ 307 h 512"/>
              <a:gd name="T74" fmla="*/ 293 w 512"/>
              <a:gd name="T75" fmla="*/ 316 h 512"/>
              <a:gd name="T76" fmla="*/ 293 w 512"/>
              <a:gd name="T77" fmla="*/ 324 h 512"/>
              <a:gd name="T78" fmla="*/ 293 w 512"/>
              <a:gd name="T79" fmla="*/ 373 h 512"/>
              <a:gd name="T80" fmla="*/ 311 w 512"/>
              <a:gd name="T81" fmla="*/ 373 h 512"/>
              <a:gd name="T82" fmla="*/ 311 w 512"/>
              <a:gd name="T83" fmla="*/ 288 h 512"/>
              <a:gd name="T84" fmla="*/ 330 w 512"/>
              <a:gd name="T85" fmla="*/ 175 h 512"/>
              <a:gd name="T86" fmla="*/ 326 w 512"/>
              <a:gd name="T87" fmla="*/ 155 h 512"/>
              <a:gd name="T88" fmla="*/ 316 w 512"/>
              <a:gd name="T89" fmla="*/ 143 h 512"/>
              <a:gd name="T90" fmla="*/ 299 w 512"/>
              <a:gd name="T91" fmla="*/ 138 h 512"/>
              <a:gd name="T92" fmla="*/ 279 w 512"/>
              <a:gd name="T93" fmla="*/ 146 h 512"/>
              <a:gd name="T94" fmla="*/ 271 w 512"/>
              <a:gd name="T95" fmla="*/ 167 h 512"/>
              <a:gd name="T96" fmla="*/ 277 w 512"/>
              <a:gd name="T97" fmla="*/ 187 h 512"/>
              <a:gd name="T98" fmla="*/ 295 w 512"/>
              <a:gd name="T99" fmla="*/ 194 h 512"/>
              <a:gd name="T100" fmla="*/ 305 w 512"/>
              <a:gd name="T101" fmla="*/ 191 h 512"/>
              <a:gd name="T102" fmla="*/ 313 w 512"/>
              <a:gd name="T103" fmla="*/ 184 h 512"/>
              <a:gd name="T104" fmla="*/ 314 w 512"/>
              <a:gd name="T105" fmla="*/ 184 h 512"/>
              <a:gd name="T106" fmla="*/ 310 w 512"/>
              <a:gd name="T107" fmla="*/ 199 h 512"/>
              <a:gd name="T108" fmla="*/ 302 w 512"/>
              <a:gd name="T109" fmla="*/ 207 h 512"/>
              <a:gd name="T110" fmla="*/ 287 w 512"/>
              <a:gd name="T111" fmla="*/ 210 h 512"/>
              <a:gd name="T112" fmla="*/ 277 w 512"/>
              <a:gd name="T113" fmla="*/ 209 h 512"/>
              <a:gd name="T114" fmla="*/ 277 w 512"/>
              <a:gd name="T115" fmla="*/ 223 h 512"/>
              <a:gd name="T116" fmla="*/ 288 w 512"/>
              <a:gd name="T117" fmla="*/ 224 h 512"/>
              <a:gd name="T118" fmla="*/ 320 w 512"/>
              <a:gd name="T119" fmla="*/ 211 h 512"/>
              <a:gd name="T120" fmla="*/ 330 w 512"/>
              <a:gd name="T121" fmla="*/ 17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309" y="157"/>
                </a:moveTo>
                <a:cubicBezTo>
                  <a:pt x="311" y="160"/>
                  <a:pt x="312" y="164"/>
                  <a:pt x="312" y="168"/>
                </a:cubicBezTo>
                <a:cubicBezTo>
                  <a:pt x="312" y="172"/>
                  <a:pt x="311" y="174"/>
                  <a:pt x="309" y="177"/>
                </a:cubicBezTo>
                <a:cubicBezTo>
                  <a:pt x="306" y="179"/>
                  <a:pt x="303" y="180"/>
                  <a:pt x="299" y="180"/>
                </a:cubicBezTo>
                <a:cubicBezTo>
                  <a:pt x="296" y="180"/>
                  <a:pt x="293" y="179"/>
                  <a:pt x="291" y="177"/>
                </a:cubicBezTo>
                <a:cubicBezTo>
                  <a:pt x="289" y="174"/>
                  <a:pt x="288" y="171"/>
                  <a:pt x="288" y="167"/>
                </a:cubicBezTo>
                <a:cubicBezTo>
                  <a:pt x="288" y="162"/>
                  <a:pt x="289" y="159"/>
                  <a:pt x="291" y="156"/>
                </a:cubicBezTo>
                <a:cubicBezTo>
                  <a:pt x="293" y="154"/>
                  <a:pt x="296" y="152"/>
                  <a:pt x="300" y="152"/>
                </a:cubicBezTo>
                <a:cubicBezTo>
                  <a:pt x="303" y="152"/>
                  <a:pt x="307" y="154"/>
                  <a:pt x="309" y="15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7" y="327"/>
                </a:moveTo>
                <a:cubicBezTo>
                  <a:pt x="233" y="323"/>
                  <a:pt x="227" y="323"/>
                  <a:pt x="222" y="327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13" y="149"/>
                  <a:pt x="213" y="149"/>
                  <a:pt x="213" y="149"/>
                </a:cubicBezTo>
                <a:cubicBezTo>
                  <a:pt x="213" y="143"/>
                  <a:pt x="208" y="138"/>
                  <a:pt x="202" y="138"/>
                </a:cubicBezTo>
                <a:cubicBezTo>
                  <a:pt x="196" y="138"/>
                  <a:pt x="192" y="143"/>
                  <a:pt x="192" y="149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82" y="327"/>
                  <a:pt x="182" y="327"/>
                  <a:pt x="182" y="327"/>
                </a:cubicBezTo>
                <a:cubicBezTo>
                  <a:pt x="178" y="323"/>
                  <a:pt x="171" y="323"/>
                  <a:pt x="167" y="327"/>
                </a:cubicBezTo>
                <a:cubicBezTo>
                  <a:pt x="163" y="331"/>
                  <a:pt x="163" y="338"/>
                  <a:pt x="167" y="342"/>
                </a:cubicBezTo>
                <a:cubicBezTo>
                  <a:pt x="195" y="370"/>
                  <a:pt x="195" y="370"/>
                  <a:pt x="195" y="370"/>
                </a:cubicBezTo>
                <a:cubicBezTo>
                  <a:pt x="196" y="371"/>
                  <a:pt x="197" y="372"/>
                  <a:pt x="198" y="372"/>
                </a:cubicBezTo>
                <a:cubicBezTo>
                  <a:pt x="200" y="373"/>
                  <a:pt x="201" y="373"/>
                  <a:pt x="202" y="373"/>
                </a:cubicBezTo>
                <a:cubicBezTo>
                  <a:pt x="204" y="373"/>
                  <a:pt x="205" y="373"/>
                  <a:pt x="206" y="372"/>
                </a:cubicBezTo>
                <a:cubicBezTo>
                  <a:pt x="208" y="372"/>
                  <a:pt x="209" y="371"/>
                  <a:pt x="210" y="370"/>
                </a:cubicBezTo>
                <a:cubicBezTo>
                  <a:pt x="237" y="342"/>
                  <a:pt x="237" y="342"/>
                  <a:pt x="237" y="342"/>
                </a:cubicBezTo>
                <a:cubicBezTo>
                  <a:pt x="242" y="338"/>
                  <a:pt x="242" y="331"/>
                  <a:pt x="237" y="327"/>
                </a:cubicBezTo>
                <a:close/>
                <a:moveTo>
                  <a:pt x="311" y="288"/>
                </a:moveTo>
                <a:cubicBezTo>
                  <a:pt x="296" y="288"/>
                  <a:pt x="296" y="288"/>
                  <a:pt x="296" y="288"/>
                </a:cubicBezTo>
                <a:cubicBezTo>
                  <a:pt x="269" y="310"/>
                  <a:pt x="269" y="310"/>
                  <a:pt x="269" y="310"/>
                </a:cubicBezTo>
                <a:cubicBezTo>
                  <a:pt x="277" y="320"/>
                  <a:pt x="277" y="320"/>
                  <a:pt x="277" y="320"/>
                </a:cubicBezTo>
                <a:cubicBezTo>
                  <a:pt x="287" y="313"/>
                  <a:pt x="287" y="313"/>
                  <a:pt x="287" y="313"/>
                </a:cubicBezTo>
                <a:cubicBezTo>
                  <a:pt x="288" y="312"/>
                  <a:pt x="290" y="310"/>
                  <a:pt x="293" y="307"/>
                </a:cubicBezTo>
                <a:cubicBezTo>
                  <a:pt x="293" y="316"/>
                  <a:pt x="293" y="316"/>
                  <a:pt x="293" y="316"/>
                </a:cubicBezTo>
                <a:cubicBezTo>
                  <a:pt x="293" y="324"/>
                  <a:pt x="293" y="324"/>
                  <a:pt x="293" y="324"/>
                </a:cubicBezTo>
                <a:cubicBezTo>
                  <a:pt x="293" y="373"/>
                  <a:pt x="293" y="373"/>
                  <a:pt x="293" y="373"/>
                </a:cubicBezTo>
                <a:cubicBezTo>
                  <a:pt x="311" y="373"/>
                  <a:pt x="311" y="373"/>
                  <a:pt x="311" y="373"/>
                </a:cubicBezTo>
                <a:lnTo>
                  <a:pt x="311" y="288"/>
                </a:lnTo>
                <a:close/>
                <a:moveTo>
                  <a:pt x="330" y="175"/>
                </a:moveTo>
                <a:cubicBezTo>
                  <a:pt x="330" y="167"/>
                  <a:pt x="329" y="161"/>
                  <a:pt x="326" y="155"/>
                </a:cubicBezTo>
                <a:cubicBezTo>
                  <a:pt x="324" y="150"/>
                  <a:pt x="320" y="145"/>
                  <a:pt x="316" y="143"/>
                </a:cubicBezTo>
                <a:cubicBezTo>
                  <a:pt x="311" y="140"/>
                  <a:pt x="306" y="138"/>
                  <a:pt x="299" y="138"/>
                </a:cubicBezTo>
                <a:cubicBezTo>
                  <a:pt x="291" y="138"/>
                  <a:pt x="284" y="141"/>
                  <a:pt x="279" y="146"/>
                </a:cubicBezTo>
                <a:cubicBezTo>
                  <a:pt x="274" y="151"/>
                  <a:pt x="271" y="158"/>
                  <a:pt x="271" y="167"/>
                </a:cubicBezTo>
                <a:cubicBezTo>
                  <a:pt x="271" y="175"/>
                  <a:pt x="273" y="182"/>
                  <a:pt x="277" y="187"/>
                </a:cubicBezTo>
                <a:cubicBezTo>
                  <a:pt x="282" y="191"/>
                  <a:pt x="287" y="194"/>
                  <a:pt x="295" y="194"/>
                </a:cubicBezTo>
                <a:cubicBezTo>
                  <a:pt x="299" y="194"/>
                  <a:pt x="302" y="193"/>
                  <a:pt x="305" y="191"/>
                </a:cubicBezTo>
                <a:cubicBezTo>
                  <a:pt x="308" y="190"/>
                  <a:pt x="311" y="187"/>
                  <a:pt x="313" y="184"/>
                </a:cubicBezTo>
                <a:cubicBezTo>
                  <a:pt x="314" y="184"/>
                  <a:pt x="314" y="184"/>
                  <a:pt x="314" y="184"/>
                </a:cubicBezTo>
                <a:cubicBezTo>
                  <a:pt x="313" y="190"/>
                  <a:pt x="312" y="195"/>
                  <a:pt x="310" y="199"/>
                </a:cubicBezTo>
                <a:cubicBezTo>
                  <a:pt x="308" y="203"/>
                  <a:pt x="305" y="206"/>
                  <a:pt x="302" y="207"/>
                </a:cubicBezTo>
                <a:cubicBezTo>
                  <a:pt x="298" y="209"/>
                  <a:pt x="293" y="210"/>
                  <a:pt x="287" y="210"/>
                </a:cubicBezTo>
                <a:cubicBezTo>
                  <a:pt x="284" y="210"/>
                  <a:pt x="280" y="209"/>
                  <a:pt x="277" y="209"/>
                </a:cubicBezTo>
                <a:cubicBezTo>
                  <a:pt x="277" y="223"/>
                  <a:pt x="277" y="223"/>
                  <a:pt x="277" y="223"/>
                </a:cubicBezTo>
                <a:cubicBezTo>
                  <a:pt x="280" y="223"/>
                  <a:pt x="283" y="224"/>
                  <a:pt x="288" y="224"/>
                </a:cubicBezTo>
                <a:cubicBezTo>
                  <a:pt x="302" y="224"/>
                  <a:pt x="313" y="220"/>
                  <a:pt x="320" y="211"/>
                </a:cubicBezTo>
                <a:cubicBezTo>
                  <a:pt x="326" y="203"/>
                  <a:pt x="330" y="191"/>
                  <a:pt x="330" y="17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8" name="Group 109"/>
          <p:cNvGrpSpPr>
            <a:grpSpLocks noChangeAspect="1"/>
          </p:cNvGrpSpPr>
          <p:nvPr/>
        </p:nvGrpSpPr>
        <p:grpSpPr bwMode="auto">
          <a:xfrm>
            <a:off x="6910804" y="2915582"/>
            <a:ext cx="369676" cy="369676"/>
            <a:chOff x="6593" y="358"/>
            <a:chExt cx="340" cy="340"/>
          </a:xfrm>
          <a:solidFill>
            <a:schemeClr val="accent2"/>
          </a:solidFill>
        </p:grpSpPr>
        <p:sp>
          <p:nvSpPr>
            <p:cNvPr id="379" name="Freeform 110"/>
            <p:cNvSpPr>
              <a:spLocks noEditPoints="1"/>
            </p:cNvSpPr>
            <p:nvPr/>
          </p:nvSpPr>
          <p:spPr bwMode="auto">
            <a:xfrm>
              <a:off x="6593" y="3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Freeform 111"/>
            <p:cNvSpPr>
              <a:spLocks noEditPoints="1"/>
            </p:cNvSpPr>
            <p:nvPr/>
          </p:nvSpPr>
          <p:spPr bwMode="auto">
            <a:xfrm>
              <a:off x="6701" y="450"/>
              <a:ext cx="111" cy="156"/>
            </a:xfrm>
            <a:custGeom>
              <a:avLst/>
              <a:gdLst>
                <a:gd name="T0" fmla="*/ 74 w 167"/>
                <a:gd name="T1" fmla="*/ 189 h 235"/>
                <a:gd name="T2" fmla="*/ 74 w 167"/>
                <a:gd name="T3" fmla="*/ 204 h 235"/>
                <a:gd name="T4" fmla="*/ 47 w 167"/>
                <a:gd name="T5" fmla="*/ 232 h 235"/>
                <a:gd name="T6" fmla="*/ 43 w 167"/>
                <a:gd name="T7" fmla="*/ 234 h 235"/>
                <a:gd name="T8" fmla="*/ 39 w 167"/>
                <a:gd name="T9" fmla="*/ 235 h 235"/>
                <a:gd name="T10" fmla="*/ 35 w 167"/>
                <a:gd name="T11" fmla="*/ 234 h 235"/>
                <a:gd name="T12" fmla="*/ 32 w 167"/>
                <a:gd name="T13" fmla="*/ 232 h 235"/>
                <a:gd name="T14" fmla="*/ 4 w 167"/>
                <a:gd name="T15" fmla="*/ 204 h 235"/>
                <a:gd name="T16" fmla="*/ 4 w 167"/>
                <a:gd name="T17" fmla="*/ 189 h 235"/>
                <a:gd name="T18" fmla="*/ 19 w 167"/>
                <a:gd name="T19" fmla="*/ 189 h 235"/>
                <a:gd name="T20" fmla="*/ 29 w 167"/>
                <a:gd name="T21" fmla="*/ 199 h 235"/>
                <a:gd name="T22" fmla="*/ 29 w 167"/>
                <a:gd name="T23" fmla="*/ 11 h 235"/>
                <a:gd name="T24" fmla="*/ 39 w 167"/>
                <a:gd name="T25" fmla="*/ 0 h 235"/>
                <a:gd name="T26" fmla="*/ 50 w 167"/>
                <a:gd name="T27" fmla="*/ 11 h 235"/>
                <a:gd name="T28" fmla="*/ 50 w 167"/>
                <a:gd name="T29" fmla="*/ 199 h 235"/>
                <a:gd name="T30" fmla="*/ 59 w 167"/>
                <a:gd name="T31" fmla="*/ 189 h 235"/>
                <a:gd name="T32" fmla="*/ 74 w 167"/>
                <a:gd name="T33" fmla="*/ 189 h 235"/>
                <a:gd name="T34" fmla="*/ 124 w 167"/>
                <a:gd name="T35" fmla="*/ 25 h 235"/>
                <a:gd name="T36" fmla="*/ 130 w 167"/>
                <a:gd name="T37" fmla="*/ 19 h 235"/>
                <a:gd name="T38" fmla="*/ 130 w 167"/>
                <a:gd name="T39" fmla="*/ 28 h 235"/>
                <a:gd name="T40" fmla="*/ 130 w 167"/>
                <a:gd name="T41" fmla="*/ 36 h 235"/>
                <a:gd name="T42" fmla="*/ 130 w 167"/>
                <a:gd name="T43" fmla="*/ 86 h 235"/>
                <a:gd name="T44" fmla="*/ 148 w 167"/>
                <a:gd name="T45" fmla="*/ 86 h 235"/>
                <a:gd name="T46" fmla="*/ 148 w 167"/>
                <a:gd name="T47" fmla="*/ 0 h 235"/>
                <a:gd name="T48" fmla="*/ 133 w 167"/>
                <a:gd name="T49" fmla="*/ 0 h 235"/>
                <a:gd name="T50" fmla="*/ 106 w 167"/>
                <a:gd name="T51" fmla="*/ 22 h 235"/>
                <a:gd name="T52" fmla="*/ 114 w 167"/>
                <a:gd name="T53" fmla="*/ 33 h 235"/>
                <a:gd name="T54" fmla="*/ 124 w 167"/>
                <a:gd name="T55" fmla="*/ 25 h 235"/>
                <a:gd name="T56" fmla="*/ 167 w 167"/>
                <a:gd name="T57" fmla="*/ 186 h 235"/>
                <a:gd name="T58" fmla="*/ 157 w 167"/>
                <a:gd name="T59" fmla="*/ 223 h 235"/>
                <a:gd name="T60" fmla="*/ 125 w 167"/>
                <a:gd name="T61" fmla="*/ 235 h 235"/>
                <a:gd name="T62" fmla="*/ 114 w 167"/>
                <a:gd name="T63" fmla="*/ 234 h 235"/>
                <a:gd name="T64" fmla="*/ 114 w 167"/>
                <a:gd name="T65" fmla="*/ 220 h 235"/>
                <a:gd name="T66" fmla="*/ 124 w 167"/>
                <a:gd name="T67" fmla="*/ 221 h 235"/>
                <a:gd name="T68" fmla="*/ 139 w 167"/>
                <a:gd name="T69" fmla="*/ 219 h 235"/>
                <a:gd name="T70" fmla="*/ 147 w 167"/>
                <a:gd name="T71" fmla="*/ 211 h 235"/>
                <a:gd name="T72" fmla="*/ 151 w 167"/>
                <a:gd name="T73" fmla="*/ 195 h 235"/>
                <a:gd name="T74" fmla="*/ 150 w 167"/>
                <a:gd name="T75" fmla="*/ 195 h 235"/>
                <a:gd name="T76" fmla="*/ 142 w 167"/>
                <a:gd name="T77" fmla="*/ 203 h 235"/>
                <a:gd name="T78" fmla="*/ 132 w 167"/>
                <a:gd name="T79" fmla="*/ 205 h 235"/>
                <a:gd name="T80" fmla="*/ 114 w 167"/>
                <a:gd name="T81" fmla="*/ 198 h 235"/>
                <a:gd name="T82" fmla="*/ 108 w 167"/>
                <a:gd name="T83" fmla="*/ 179 h 235"/>
                <a:gd name="T84" fmla="*/ 116 w 167"/>
                <a:gd name="T85" fmla="*/ 157 h 235"/>
                <a:gd name="T86" fmla="*/ 136 w 167"/>
                <a:gd name="T87" fmla="*/ 150 h 235"/>
                <a:gd name="T88" fmla="*/ 153 w 167"/>
                <a:gd name="T89" fmla="*/ 154 h 235"/>
                <a:gd name="T90" fmla="*/ 163 w 167"/>
                <a:gd name="T91" fmla="*/ 167 h 235"/>
                <a:gd name="T92" fmla="*/ 167 w 167"/>
                <a:gd name="T93" fmla="*/ 186 h 235"/>
                <a:gd name="T94" fmla="*/ 149 w 167"/>
                <a:gd name="T95" fmla="*/ 180 h 235"/>
                <a:gd name="T96" fmla="*/ 146 w 167"/>
                <a:gd name="T97" fmla="*/ 168 h 235"/>
                <a:gd name="T98" fmla="*/ 137 w 167"/>
                <a:gd name="T99" fmla="*/ 164 h 235"/>
                <a:gd name="T100" fmla="*/ 128 w 167"/>
                <a:gd name="T101" fmla="*/ 168 h 235"/>
                <a:gd name="T102" fmla="*/ 125 w 167"/>
                <a:gd name="T103" fmla="*/ 178 h 235"/>
                <a:gd name="T104" fmla="*/ 128 w 167"/>
                <a:gd name="T105" fmla="*/ 188 h 235"/>
                <a:gd name="T106" fmla="*/ 136 w 167"/>
                <a:gd name="T107" fmla="*/ 191 h 235"/>
                <a:gd name="T108" fmla="*/ 146 w 167"/>
                <a:gd name="T109" fmla="*/ 188 h 235"/>
                <a:gd name="T110" fmla="*/ 149 w 167"/>
                <a:gd name="T111" fmla="*/ 18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7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124" y="25"/>
                  </a:moveTo>
                  <a:cubicBezTo>
                    <a:pt x="125" y="24"/>
                    <a:pt x="127" y="22"/>
                    <a:pt x="130" y="19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14" y="33"/>
                    <a:pt x="114" y="33"/>
                    <a:pt x="114" y="33"/>
                  </a:cubicBezTo>
                  <a:lnTo>
                    <a:pt x="124" y="25"/>
                  </a:lnTo>
                  <a:close/>
                  <a:moveTo>
                    <a:pt x="167" y="186"/>
                  </a:moveTo>
                  <a:cubicBezTo>
                    <a:pt x="167" y="203"/>
                    <a:pt x="163" y="215"/>
                    <a:pt x="157" y="223"/>
                  </a:cubicBezTo>
                  <a:cubicBezTo>
                    <a:pt x="150" y="231"/>
                    <a:pt x="139" y="235"/>
                    <a:pt x="125" y="235"/>
                  </a:cubicBezTo>
                  <a:cubicBezTo>
                    <a:pt x="120" y="235"/>
                    <a:pt x="117" y="235"/>
                    <a:pt x="114" y="234"/>
                  </a:cubicBezTo>
                  <a:cubicBezTo>
                    <a:pt x="114" y="220"/>
                    <a:pt x="114" y="220"/>
                    <a:pt x="114" y="220"/>
                  </a:cubicBezTo>
                  <a:cubicBezTo>
                    <a:pt x="117" y="221"/>
                    <a:pt x="121" y="221"/>
                    <a:pt x="124" y="221"/>
                  </a:cubicBezTo>
                  <a:cubicBezTo>
                    <a:pt x="130" y="221"/>
                    <a:pt x="135" y="220"/>
                    <a:pt x="139" y="219"/>
                  </a:cubicBezTo>
                  <a:cubicBezTo>
                    <a:pt x="142" y="217"/>
                    <a:pt x="145" y="214"/>
                    <a:pt x="147" y="211"/>
                  </a:cubicBezTo>
                  <a:cubicBezTo>
                    <a:pt x="149" y="207"/>
                    <a:pt x="150" y="202"/>
                    <a:pt x="151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48" y="199"/>
                    <a:pt x="145" y="201"/>
                    <a:pt x="142" y="203"/>
                  </a:cubicBezTo>
                  <a:cubicBezTo>
                    <a:pt x="139" y="204"/>
                    <a:pt x="136" y="205"/>
                    <a:pt x="132" y="205"/>
                  </a:cubicBezTo>
                  <a:cubicBezTo>
                    <a:pt x="124" y="205"/>
                    <a:pt x="119" y="203"/>
                    <a:pt x="114" y="198"/>
                  </a:cubicBezTo>
                  <a:cubicBezTo>
                    <a:pt x="110" y="193"/>
                    <a:pt x="108" y="187"/>
                    <a:pt x="108" y="179"/>
                  </a:cubicBezTo>
                  <a:cubicBezTo>
                    <a:pt x="108" y="170"/>
                    <a:pt x="111" y="163"/>
                    <a:pt x="116" y="157"/>
                  </a:cubicBezTo>
                  <a:cubicBezTo>
                    <a:pt x="121" y="152"/>
                    <a:pt x="128" y="150"/>
                    <a:pt x="136" y="150"/>
                  </a:cubicBezTo>
                  <a:cubicBezTo>
                    <a:pt x="143" y="150"/>
                    <a:pt x="148" y="151"/>
                    <a:pt x="153" y="154"/>
                  </a:cubicBezTo>
                  <a:cubicBezTo>
                    <a:pt x="157" y="157"/>
                    <a:pt x="161" y="161"/>
                    <a:pt x="163" y="167"/>
                  </a:cubicBezTo>
                  <a:cubicBezTo>
                    <a:pt x="166" y="172"/>
                    <a:pt x="167" y="179"/>
                    <a:pt x="167" y="186"/>
                  </a:cubicBezTo>
                  <a:close/>
                  <a:moveTo>
                    <a:pt x="149" y="180"/>
                  </a:moveTo>
                  <a:cubicBezTo>
                    <a:pt x="149" y="175"/>
                    <a:pt x="148" y="172"/>
                    <a:pt x="146" y="168"/>
                  </a:cubicBezTo>
                  <a:cubicBezTo>
                    <a:pt x="144" y="165"/>
                    <a:pt x="140" y="164"/>
                    <a:pt x="137" y="164"/>
                  </a:cubicBezTo>
                  <a:cubicBezTo>
                    <a:pt x="133" y="164"/>
                    <a:pt x="130" y="165"/>
                    <a:pt x="128" y="168"/>
                  </a:cubicBezTo>
                  <a:cubicBezTo>
                    <a:pt x="126" y="170"/>
                    <a:pt x="125" y="174"/>
                    <a:pt x="125" y="178"/>
                  </a:cubicBezTo>
                  <a:cubicBezTo>
                    <a:pt x="125" y="182"/>
                    <a:pt x="126" y="186"/>
                    <a:pt x="128" y="188"/>
                  </a:cubicBezTo>
                  <a:cubicBezTo>
                    <a:pt x="130" y="190"/>
                    <a:pt x="133" y="191"/>
                    <a:pt x="136" y="191"/>
                  </a:cubicBezTo>
                  <a:cubicBezTo>
                    <a:pt x="140" y="191"/>
                    <a:pt x="143" y="190"/>
                    <a:pt x="146" y="188"/>
                  </a:cubicBezTo>
                  <a:cubicBezTo>
                    <a:pt x="148" y="186"/>
                    <a:pt x="149" y="183"/>
                    <a:pt x="149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1" name="Freeform 115"/>
          <p:cNvSpPr>
            <a:spLocks noChangeAspect="1" noEditPoints="1"/>
          </p:cNvSpPr>
          <p:nvPr/>
        </p:nvSpPr>
        <p:spPr bwMode="auto">
          <a:xfrm>
            <a:off x="6413702" y="2915582"/>
            <a:ext cx="369676" cy="369676"/>
          </a:xfrm>
          <a:custGeom>
            <a:avLst/>
            <a:gdLst>
              <a:gd name="T0" fmla="*/ 309 w 512"/>
              <a:gd name="T1" fmla="*/ 306 h 512"/>
              <a:gd name="T2" fmla="*/ 312 w 512"/>
              <a:gd name="T3" fmla="*/ 318 h 512"/>
              <a:gd name="T4" fmla="*/ 309 w 512"/>
              <a:gd name="T5" fmla="*/ 326 h 512"/>
              <a:gd name="T6" fmla="*/ 299 w 512"/>
              <a:gd name="T7" fmla="*/ 329 h 512"/>
              <a:gd name="T8" fmla="*/ 291 w 512"/>
              <a:gd name="T9" fmla="*/ 326 h 512"/>
              <a:gd name="T10" fmla="*/ 288 w 512"/>
              <a:gd name="T11" fmla="*/ 316 h 512"/>
              <a:gd name="T12" fmla="*/ 291 w 512"/>
              <a:gd name="T13" fmla="*/ 306 h 512"/>
              <a:gd name="T14" fmla="*/ 300 w 512"/>
              <a:gd name="T15" fmla="*/ 302 h 512"/>
              <a:gd name="T16" fmla="*/ 309 w 512"/>
              <a:gd name="T17" fmla="*/ 306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37 w 512"/>
              <a:gd name="T29" fmla="*/ 327 h 512"/>
              <a:gd name="T30" fmla="*/ 222 w 512"/>
              <a:gd name="T31" fmla="*/ 327 h 512"/>
              <a:gd name="T32" fmla="*/ 213 w 512"/>
              <a:gd name="T33" fmla="*/ 337 h 512"/>
              <a:gd name="T34" fmla="*/ 213 w 512"/>
              <a:gd name="T35" fmla="*/ 149 h 512"/>
              <a:gd name="T36" fmla="*/ 202 w 512"/>
              <a:gd name="T37" fmla="*/ 138 h 512"/>
              <a:gd name="T38" fmla="*/ 192 w 512"/>
              <a:gd name="T39" fmla="*/ 149 h 512"/>
              <a:gd name="T40" fmla="*/ 192 w 512"/>
              <a:gd name="T41" fmla="*/ 337 h 512"/>
              <a:gd name="T42" fmla="*/ 182 w 512"/>
              <a:gd name="T43" fmla="*/ 327 h 512"/>
              <a:gd name="T44" fmla="*/ 167 w 512"/>
              <a:gd name="T45" fmla="*/ 327 h 512"/>
              <a:gd name="T46" fmla="*/ 167 w 512"/>
              <a:gd name="T47" fmla="*/ 342 h 512"/>
              <a:gd name="T48" fmla="*/ 195 w 512"/>
              <a:gd name="T49" fmla="*/ 370 h 512"/>
              <a:gd name="T50" fmla="*/ 198 w 512"/>
              <a:gd name="T51" fmla="*/ 372 h 512"/>
              <a:gd name="T52" fmla="*/ 202 w 512"/>
              <a:gd name="T53" fmla="*/ 373 h 512"/>
              <a:gd name="T54" fmla="*/ 206 w 512"/>
              <a:gd name="T55" fmla="*/ 372 h 512"/>
              <a:gd name="T56" fmla="*/ 210 w 512"/>
              <a:gd name="T57" fmla="*/ 370 h 512"/>
              <a:gd name="T58" fmla="*/ 237 w 512"/>
              <a:gd name="T59" fmla="*/ 342 h 512"/>
              <a:gd name="T60" fmla="*/ 237 w 512"/>
              <a:gd name="T61" fmla="*/ 327 h 512"/>
              <a:gd name="T62" fmla="*/ 269 w 512"/>
              <a:gd name="T63" fmla="*/ 160 h 512"/>
              <a:gd name="T64" fmla="*/ 277 w 512"/>
              <a:gd name="T65" fmla="*/ 171 h 512"/>
              <a:gd name="T66" fmla="*/ 287 w 512"/>
              <a:gd name="T67" fmla="*/ 163 h 512"/>
              <a:gd name="T68" fmla="*/ 293 w 512"/>
              <a:gd name="T69" fmla="*/ 157 h 512"/>
              <a:gd name="T70" fmla="*/ 293 w 512"/>
              <a:gd name="T71" fmla="*/ 166 h 512"/>
              <a:gd name="T72" fmla="*/ 293 w 512"/>
              <a:gd name="T73" fmla="*/ 174 h 512"/>
              <a:gd name="T74" fmla="*/ 293 w 512"/>
              <a:gd name="T75" fmla="*/ 224 h 512"/>
              <a:gd name="T76" fmla="*/ 311 w 512"/>
              <a:gd name="T77" fmla="*/ 224 h 512"/>
              <a:gd name="T78" fmla="*/ 311 w 512"/>
              <a:gd name="T79" fmla="*/ 138 h 512"/>
              <a:gd name="T80" fmla="*/ 296 w 512"/>
              <a:gd name="T81" fmla="*/ 138 h 512"/>
              <a:gd name="T82" fmla="*/ 269 w 512"/>
              <a:gd name="T83" fmla="*/ 160 h 512"/>
              <a:gd name="T84" fmla="*/ 330 w 512"/>
              <a:gd name="T85" fmla="*/ 324 h 512"/>
              <a:gd name="T86" fmla="*/ 326 w 512"/>
              <a:gd name="T87" fmla="*/ 305 h 512"/>
              <a:gd name="T88" fmla="*/ 316 w 512"/>
              <a:gd name="T89" fmla="*/ 292 h 512"/>
              <a:gd name="T90" fmla="*/ 299 w 512"/>
              <a:gd name="T91" fmla="*/ 288 h 512"/>
              <a:gd name="T92" fmla="*/ 279 w 512"/>
              <a:gd name="T93" fmla="*/ 295 h 512"/>
              <a:gd name="T94" fmla="*/ 271 w 512"/>
              <a:gd name="T95" fmla="*/ 317 h 512"/>
              <a:gd name="T96" fmla="*/ 277 w 512"/>
              <a:gd name="T97" fmla="*/ 336 h 512"/>
              <a:gd name="T98" fmla="*/ 295 w 512"/>
              <a:gd name="T99" fmla="*/ 343 h 512"/>
              <a:gd name="T100" fmla="*/ 305 w 512"/>
              <a:gd name="T101" fmla="*/ 341 h 512"/>
              <a:gd name="T102" fmla="*/ 313 w 512"/>
              <a:gd name="T103" fmla="*/ 333 h 512"/>
              <a:gd name="T104" fmla="*/ 314 w 512"/>
              <a:gd name="T105" fmla="*/ 333 h 512"/>
              <a:gd name="T106" fmla="*/ 310 w 512"/>
              <a:gd name="T107" fmla="*/ 349 h 512"/>
              <a:gd name="T108" fmla="*/ 302 w 512"/>
              <a:gd name="T109" fmla="*/ 357 h 512"/>
              <a:gd name="T110" fmla="*/ 287 w 512"/>
              <a:gd name="T111" fmla="*/ 359 h 512"/>
              <a:gd name="T112" fmla="*/ 277 w 512"/>
              <a:gd name="T113" fmla="*/ 358 h 512"/>
              <a:gd name="T114" fmla="*/ 277 w 512"/>
              <a:gd name="T115" fmla="*/ 372 h 512"/>
              <a:gd name="T116" fmla="*/ 288 w 512"/>
              <a:gd name="T117" fmla="*/ 373 h 512"/>
              <a:gd name="T118" fmla="*/ 320 w 512"/>
              <a:gd name="T119" fmla="*/ 361 h 512"/>
              <a:gd name="T120" fmla="*/ 330 w 512"/>
              <a:gd name="T121" fmla="*/ 3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309" y="306"/>
                </a:moveTo>
                <a:cubicBezTo>
                  <a:pt x="311" y="310"/>
                  <a:pt x="312" y="313"/>
                  <a:pt x="312" y="318"/>
                </a:cubicBezTo>
                <a:cubicBezTo>
                  <a:pt x="312" y="321"/>
                  <a:pt x="311" y="324"/>
                  <a:pt x="309" y="326"/>
                </a:cubicBezTo>
                <a:cubicBezTo>
                  <a:pt x="306" y="328"/>
                  <a:pt x="303" y="329"/>
                  <a:pt x="299" y="329"/>
                </a:cubicBezTo>
                <a:cubicBezTo>
                  <a:pt x="296" y="329"/>
                  <a:pt x="293" y="328"/>
                  <a:pt x="291" y="326"/>
                </a:cubicBezTo>
                <a:cubicBezTo>
                  <a:pt x="289" y="324"/>
                  <a:pt x="288" y="320"/>
                  <a:pt x="288" y="316"/>
                </a:cubicBezTo>
                <a:cubicBezTo>
                  <a:pt x="288" y="312"/>
                  <a:pt x="289" y="308"/>
                  <a:pt x="291" y="306"/>
                </a:cubicBezTo>
                <a:cubicBezTo>
                  <a:pt x="293" y="303"/>
                  <a:pt x="296" y="302"/>
                  <a:pt x="300" y="302"/>
                </a:cubicBezTo>
                <a:cubicBezTo>
                  <a:pt x="303" y="302"/>
                  <a:pt x="307" y="303"/>
                  <a:pt x="309" y="30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7" y="327"/>
                </a:moveTo>
                <a:cubicBezTo>
                  <a:pt x="233" y="323"/>
                  <a:pt x="227" y="323"/>
                  <a:pt x="222" y="327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13" y="149"/>
                  <a:pt x="213" y="149"/>
                  <a:pt x="213" y="149"/>
                </a:cubicBezTo>
                <a:cubicBezTo>
                  <a:pt x="213" y="143"/>
                  <a:pt x="208" y="138"/>
                  <a:pt x="202" y="138"/>
                </a:cubicBezTo>
                <a:cubicBezTo>
                  <a:pt x="196" y="138"/>
                  <a:pt x="192" y="143"/>
                  <a:pt x="192" y="149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82" y="327"/>
                  <a:pt x="182" y="327"/>
                  <a:pt x="182" y="327"/>
                </a:cubicBezTo>
                <a:cubicBezTo>
                  <a:pt x="178" y="323"/>
                  <a:pt x="171" y="323"/>
                  <a:pt x="167" y="327"/>
                </a:cubicBezTo>
                <a:cubicBezTo>
                  <a:pt x="163" y="331"/>
                  <a:pt x="163" y="338"/>
                  <a:pt x="167" y="342"/>
                </a:cubicBezTo>
                <a:cubicBezTo>
                  <a:pt x="195" y="370"/>
                  <a:pt x="195" y="370"/>
                  <a:pt x="195" y="370"/>
                </a:cubicBezTo>
                <a:cubicBezTo>
                  <a:pt x="196" y="371"/>
                  <a:pt x="197" y="372"/>
                  <a:pt x="198" y="372"/>
                </a:cubicBezTo>
                <a:cubicBezTo>
                  <a:pt x="200" y="373"/>
                  <a:pt x="201" y="373"/>
                  <a:pt x="202" y="373"/>
                </a:cubicBezTo>
                <a:cubicBezTo>
                  <a:pt x="204" y="373"/>
                  <a:pt x="205" y="373"/>
                  <a:pt x="206" y="372"/>
                </a:cubicBezTo>
                <a:cubicBezTo>
                  <a:pt x="208" y="372"/>
                  <a:pt x="209" y="371"/>
                  <a:pt x="210" y="370"/>
                </a:cubicBezTo>
                <a:cubicBezTo>
                  <a:pt x="237" y="342"/>
                  <a:pt x="237" y="342"/>
                  <a:pt x="237" y="342"/>
                </a:cubicBezTo>
                <a:cubicBezTo>
                  <a:pt x="242" y="338"/>
                  <a:pt x="242" y="331"/>
                  <a:pt x="237" y="327"/>
                </a:cubicBezTo>
                <a:close/>
                <a:moveTo>
                  <a:pt x="269" y="160"/>
                </a:moveTo>
                <a:cubicBezTo>
                  <a:pt x="277" y="171"/>
                  <a:pt x="277" y="171"/>
                  <a:pt x="277" y="171"/>
                </a:cubicBezTo>
                <a:cubicBezTo>
                  <a:pt x="287" y="163"/>
                  <a:pt x="287" y="163"/>
                  <a:pt x="287" y="163"/>
                </a:cubicBezTo>
                <a:cubicBezTo>
                  <a:pt x="288" y="162"/>
                  <a:pt x="290" y="160"/>
                  <a:pt x="293" y="157"/>
                </a:cubicBezTo>
                <a:cubicBezTo>
                  <a:pt x="293" y="166"/>
                  <a:pt x="293" y="166"/>
                  <a:pt x="293" y="166"/>
                </a:cubicBezTo>
                <a:cubicBezTo>
                  <a:pt x="293" y="174"/>
                  <a:pt x="293" y="174"/>
                  <a:pt x="293" y="174"/>
                </a:cubicBezTo>
                <a:cubicBezTo>
                  <a:pt x="293" y="224"/>
                  <a:pt x="293" y="224"/>
                  <a:pt x="293" y="224"/>
                </a:cubicBezTo>
                <a:cubicBezTo>
                  <a:pt x="311" y="224"/>
                  <a:pt x="311" y="224"/>
                  <a:pt x="311" y="224"/>
                </a:cubicBezTo>
                <a:cubicBezTo>
                  <a:pt x="311" y="138"/>
                  <a:pt x="311" y="138"/>
                  <a:pt x="311" y="138"/>
                </a:cubicBezTo>
                <a:cubicBezTo>
                  <a:pt x="296" y="138"/>
                  <a:pt x="296" y="138"/>
                  <a:pt x="296" y="138"/>
                </a:cubicBezTo>
                <a:lnTo>
                  <a:pt x="269" y="160"/>
                </a:lnTo>
                <a:close/>
                <a:moveTo>
                  <a:pt x="330" y="324"/>
                </a:moveTo>
                <a:cubicBezTo>
                  <a:pt x="330" y="317"/>
                  <a:pt x="329" y="310"/>
                  <a:pt x="326" y="305"/>
                </a:cubicBezTo>
                <a:cubicBezTo>
                  <a:pt x="324" y="299"/>
                  <a:pt x="320" y="295"/>
                  <a:pt x="316" y="292"/>
                </a:cubicBezTo>
                <a:cubicBezTo>
                  <a:pt x="311" y="289"/>
                  <a:pt x="306" y="288"/>
                  <a:pt x="299" y="288"/>
                </a:cubicBezTo>
                <a:cubicBezTo>
                  <a:pt x="291" y="288"/>
                  <a:pt x="284" y="290"/>
                  <a:pt x="279" y="295"/>
                </a:cubicBezTo>
                <a:cubicBezTo>
                  <a:pt x="274" y="301"/>
                  <a:pt x="271" y="308"/>
                  <a:pt x="271" y="317"/>
                </a:cubicBezTo>
                <a:cubicBezTo>
                  <a:pt x="271" y="325"/>
                  <a:pt x="273" y="331"/>
                  <a:pt x="277" y="336"/>
                </a:cubicBezTo>
                <a:cubicBezTo>
                  <a:pt x="282" y="341"/>
                  <a:pt x="287" y="343"/>
                  <a:pt x="295" y="343"/>
                </a:cubicBezTo>
                <a:cubicBezTo>
                  <a:pt x="299" y="343"/>
                  <a:pt x="302" y="342"/>
                  <a:pt x="305" y="341"/>
                </a:cubicBezTo>
                <a:cubicBezTo>
                  <a:pt x="308" y="339"/>
                  <a:pt x="311" y="337"/>
                  <a:pt x="313" y="333"/>
                </a:cubicBezTo>
                <a:cubicBezTo>
                  <a:pt x="314" y="333"/>
                  <a:pt x="314" y="333"/>
                  <a:pt x="314" y="333"/>
                </a:cubicBezTo>
                <a:cubicBezTo>
                  <a:pt x="313" y="340"/>
                  <a:pt x="312" y="345"/>
                  <a:pt x="310" y="349"/>
                </a:cubicBezTo>
                <a:cubicBezTo>
                  <a:pt x="308" y="352"/>
                  <a:pt x="305" y="355"/>
                  <a:pt x="302" y="357"/>
                </a:cubicBezTo>
                <a:cubicBezTo>
                  <a:pt x="298" y="358"/>
                  <a:pt x="293" y="359"/>
                  <a:pt x="287" y="359"/>
                </a:cubicBezTo>
                <a:cubicBezTo>
                  <a:pt x="284" y="359"/>
                  <a:pt x="280" y="359"/>
                  <a:pt x="277" y="358"/>
                </a:cubicBezTo>
                <a:cubicBezTo>
                  <a:pt x="277" y="372"/>
                  <a:pt x="277" y="372"/>
                  <a:pt x="277" y="372"/>
                </a:cubicBezTo>
                <a:cubicBezTo>
                  <a:pt x="280" y="373"/>
                  <a:pt x="283" y="373"/>
                  <a:pt x="288" y="373"/>
                </a:cubicBezTo>
                <a:cubicBezTo>
                  <a:pt x="302" y="373"/>
                  <a:pt x="313" y="369"/>
                  <a:pt x="320" y="361"/>
                </a:cubicBezTo>
                <a:cubicBezTo>
                  <a:pt x="326" y="353"/>
                  <a:pt x="330" y="341"/>
                  <a:pt x="330" y="32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2" name="Group 118"/>
          <p:cNvGrpSpPr>
            <a:grpSpLocks noChangeAspect="1"/>
          </p:cNvGrpSpPr>
          <p:nvPr/>
        </p:nvGrpSpPr>
        <p:grpSpPr bwMode="auto">
          <a:xfrm>
            <a:off x="5915513" y="2915582"/>
            <a:ext cx="370763" cy="369676"/>
            <a:chOff x="5806" y="368"/>
            <a:chExt cx="341" cy="340"/>
          </a:xfrm>
          <a:solidFill>
            <a:schemeClr val="accent2"/>
          </a:solidFill>
        </p:grpSpPr>
        <p:sp>
          <p:nvSpPr>
            <p:cNvPr id="383" name="Freeform 119"/>
            <p:cNvSpPr>
              <a:spLocks noEditPoints="1"/>
            </p:cNvSpPr>
            <p:nvPr/>
          </p:nvSpPr>
          <p:spPr bwMode="auto">
            <a:xfrm>
              <a:off x="5806" y="36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4" name="Freeform 120"/>
            <p:cNvSpPr>
              <a:spLocks noEditPoints="1"/>
            </p:cNvSpPr>
            <p:nvPr/>
          </p:nvSpPr>
          <p:spPr bwMode="auto">
            <a:xfrm>
              <a:off x="5915" y="460"/>
              <a:ext cx="150" cy="156"/>
            </a:xfrm>
            <a:custGeom>
              <a:avLst/>
              <a:gdLst>
                <a:gd name="T0" fmla="*/ 74 w 226"/>
                <a:gd name="T1" fmla="*/ 189 h 235"/>
                <a:gd name="T2" fmla="*/ 74 w 226"/>
                <a:gd name="T3" fmla="*/ 204 h 235"/>
                <a:gd name="T4" fmla="*/ 47 w 226"/>
                <a:gd name="T5" fmla="*/ 232 h 235"/>
                <a:gd name="T6" fmla="*/ 43 w 226"/>
                <a:gd name="T7" fmla="*/ 234 h 235"/>
                <a:gd name="T8" fmla="*/ 39 w 226"/>
                <a:gd name="T9" fmla="*/ 235 h 235"/>
                <a:gd name="T10" fmla="*/ 35 w 226"/>
                <a:gd name="T11" fmla="*/ 234 h 235"/>
                <a:gd name="T12" fmla="*/ 32 w 226"/>
                <a:gd name="T13" fmla="*/ 232 h 235"/>
                <a:gd name="T14" fmla="*/ 4 w 226"/>
                <a:gd name="T15" fmla="*/ 204 h 235"/>
                <a:gd name="T16" fmla="*/ 4 w 226"/>
                <a:gd name="T17" fmla="*/ 189 h 235"/>
                <a:gd name="T18" fmla="*/ 19 w 226"/>
                <a:gd name="T19" fmla="*/ 189 h 235"/>
                <a:gd name="T20" fmla="*/ 29 w 226"/>
                <a:gd name="T21" fmla="*/ 199 h 235"/>
                <a:gd name="T22" fmla="*/ 29 w 226"/>
                <a:gd name="T23" fmla="*/ 11 h 235"/>
                <a:gd name="T24" fmla="*/ 39 w 226"/>
                <a:gd name="T25" fmla="*/ 0 h 235"/>
                <a:gd name="T26" fmla="*/ 50 w 226"/>
                <a:gd name="T27" fmla="*/ 11 h 235"/>
                <a:gd name="T28" fmla="*/ 50 w 226"/>
                <a:gd name="T29" fmla="*/ 199 h 235"/>
                <a:gd name="T30" fmla="*/ 59 w 226"/>
                <a:gd name="T31" fmla="*/ 189 h 235"/>
                <a:gd name="T32" fmla="*/ 74 w 226"/>
                <a:gd name="T33" fmla="*/ 189 h 235"/>
                <a:gd name="T34" fmla="*/ 215 w 226"/>
                <a:gd name="T35" fmla="*/ 0 h 235"/>
                <a:gd name="T36" fmla="*/ 103 w 226"/>
                <a:gd name="T37" fmla="*/ 0 h 235"/>
                <a:gd name="T38" fmla="*/ 93 w 226"/>
                <a:gd name="T39" fmla="*/ 11 h 235"/>
                <a:gd name="T40" fmla="*/ 103 w 226"/>
                <a:gd name="T41" fmla="*/ 22 h 235"/>
                <a:gd name="T42" fmla="*/ 215 w 226"/>
                <a:gd name="T43" fmla="*/ 22 h 235"/>
                <a:gd name="T44" fmla="*/ 226 w 226"/>
                <a:gd name="T45" fmla="*/ 11 h 235"/>
                <a:gd name="T46" fmla="*/ 215 w 226"/>
                <a:gd name="T47" fmla="*/ 0 h 235"/>
                <a:gd name="T48" fmla="*/ 199 w 226"/>
                <a:gd name="T49" fmla="*/ 43 h 235"/>
                <a:gd name="T50" fmla="*/ 103 w 226"/>
                <a:gd name="T51" fmla="*/ 43 h 235"/>
                <a:gd name="T52" fmla="*/ 93 w 226"/>
                <a:gd name="T53" fmla="*/ 54 h 235"/>
                <a:gd name="T54" fmla="*/ 103 w 226"/>
                <a:gd name="T55" fmla="*/ 64 h 235"/>
                <a:gd name="T56" fmla="*/ 199 w 226"/>
                <a:gd name="T57" fmla="*/ 64 h 235"/>
                <a:gd name="T58" fmla="*/ 210 w 226"/>
                <a:gd name="T59" fmla="*/ 54 h 235"/>
                <a:gd name="T60" fmla="*/ 199 w 226"/>
                <a:gd name="T61" fmla="*/ 43 h 235"/>
                <a:gd name="T62" fmla="*/ 178 w 226"/>
                <a:gd name="T63" fmla="*/ 86 h 235"/>
                <a:gd name="T64" fmla="*/ 103 w 226"/>
                <a:gd name="T65" fmla="*/ 86 h 235"/>
                <a:gd name="T66" fmla="*/ 93 w 226"/>
                <a:gd name="T67" fmla="*/ 96 h 235"/>
                <a:gd name="T68" fmla="*/ 103 w 226"/>
                <a:gd name="T69" fmla="*/ 107 h 235"/>
                <a:gd name="T70" fmla="*/ 178 w 226"/>
                <a:gd name="T71" fmla="*/ 107 h 235"/>
                <a:gd name="T72" fmla="*/ 189 w 226"/>
                <a:gd name="T73" fmla="*/ 96 h 235"/>
                <a:gd name="T74" fmla="*/ 178 w 226"/>
                <a:gd name="T75" fmla="*/ 86 h 235"/>
                <a:gd name="T76" fmla="*/ 157 w 226"/>
                <a:gd name="T77" fmla="*/ 128 h 235"/>
                <a:gd name="T78" fmla="*/ 103 w 226"/>
                <a:gd name="T79" fmla="*/ 128 h 235"/>
                <a:gd name="T80" fmla="*/ 93 w 226"/>
                <a:gd name="T81" fmla="*/ 139 h 235"/>
                <a:gd name="T82" fmla="*/ 103 w 226"/>
                <a:gd name="T83" fmla="*/ 150 h 235"/>
                <a:gd name="T84" fmla="*/ 157 w 226"/>
                <a:gd name="T85" fmla="*/ 150 h 235"/>
                <a:gd name="T86" fmla="*/ 167 w 226"/>
                <a:gd name="T87" fmla="*/ 139 h 235"/>
                <a:gd name="T88" fmla="*/ 157 w 226"/>
                <a:gd name="T89" fmla="*/ 128 h 235"/>
                <a:gd name="T90" fmla="*/ 135 w 226"/>
                <a:gd name="T91" fmla="*/ 171 h 235"/>
                <a:gd name="T92" fmla="*/ 103 w 226"/>
                <a:gd name="T93" fmla="*/ 171 h 235"/>
                <a:gd name="T94" fmla="*/ 93 w 226"/>
                <a:gd name="T95" fmla="*/ 182 h 235"/>
                <a:gd name="T96" fmla="*/ 103 w 226"/>
                <a:gd name="T97" fmla="*/ 192 h 235"/>
                <a:gd name="T98" fmla="*/ 135 w 226"/>
                <a:gd name="T99" fmla="*/ 192 h 235"/>
                <a:gd name="T100" fmla="*/ 146 w 226"/>
                <a:gd name="T101" fmla="*/ 182 h 235"/>
                <a:gd name="T102" fmla="*/ 135 w 226"/>
                <a:gd name="T103" fmla="*/ 171 h 235"/>
                <a:gd name="T104" fmla="*/ 114 w 226"/>
                <a:gd name="T105" fmla="*/ 214 h 235"/>
                <a:gd name="T106" fmla="*/ 103 w 226"/>
                <a:gd name="T107" fmla="*/ 214 h 235"/>
                <a:gd name="T108" fmla="*/ 93 w 226"/>
                <a:gd name="T109" fmla="*/ 224 h 235"/>
                <a:gd name="T110" fmla="*/ 103 w 226"/>
                <a:gd name="T111" fmla="*/ 235 h 235"/>
                <a:gd name="T112" fmla="*/ 114 w 226"/>
                <a:gd name="T113" fmla="*/ 235 h 235"/>
                <a:gd name="T114" fmla="*/ 125 w 226"/>
                <a:gd name="T115" fmla="*/ 224 h 235"/>
                <a:gd name="T116" fmla="*/ 114 w 226"/>
                <a:gd name="T117" fmla="*/ 21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215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97" y="0"/>
                    <a:pt x="93" y="5"/>
                    <a:pt x="93" y="11"/>
                  </a:cubicBezTo>
                  <a:cubicBezTo>
                    <a:pt x="93" y="17"/>
                    <a:pt x="97" y="22"/>
                    <a:pt x="103" y="22"/>
                  </a:cubicBezTo>
                  <a:cubicBezTo>
                    <a:pt x="215" y="22"/>
                    <a:pt x="215" y="22"/>
                    <a:pt x="215" y="22"/>
                  </a:cubicBezTo>
                  <a:cubicBezTo>
                    <a:pt x="221" y="22"/>
                    <a:pt x="226" y="17"/>
                    <a:pt x="226" y="11"/>
                  </a:cubicBezTo>
                  <a:cubicBezTo>
                    <a:pt x="226" y="5"/>
                    <a:pt x="221" y="0"/>
                    <a:pt x="215" y="0"/>
                  </a:cubicBezTo>
                  <a:close/>
                  <a:moveTo>
                    <a:pt x="199" y="43"/>
                  </a:moveTo>
                  <a:cubicBezTo>
                    <a:pt x="103" y="43"/>
                    <a:pt x="103" y="43"/>
                    <a:pt x="103" y="43"/>
                  </a:cubicBezTo>
                  <a:cubicBezTo>
                    <a:pt x="97" y="43"/>
                    <a:pt x="93" y="48"/>
                    <a:pt x="93" y="54"/>
                  </a:cubicBezTo>
                  <a:cubicBezTo>
                    <a:pt x="93" y="60"/>
                    <a:pt x="97" y="64"/>
                    <a:pt x="103" y="64"/>
                  </a:cubicBezTo>
                  <a:cubicBezTo>
                    <a:pt x="199" y="64"/>
                    <a:pt x="199" y="64"/>
                    <a:pt x="199" y="64"/>
                  </a:cubicBezTo>
                  <a:cubicBezTo>
                    <a:pt x="205" y="64"/>
                    <a:pt x="210" y="60"/>
                    <a:pt x="210" y="54"/>
                  </a:cubicBezTo>
                  <a:cubicBezTo>
                    <a:pt x="210" y="48"/>
                    <a:pt x="205" y="43"/>
                    <a:pt x="199" y="43"/>
                  </a:cubicBezTo>
                  <a:close/>
                  <a:moveTo>
                    <a:pt x="178" y="86"/>
                  </a:moveTo>
                  <a:cubicBezTo>
                    <a:pt x="103" y="86"/>
                    <a:pt x="103" y="86"/>
                    <a:pt x="103" y="86"/>
                  </a:cubicBezTo>
                  <a:cubicBezTo>
                    <a:pt x="97" y="86"/>
                    <a:pt x="93" y="90"/>
                    <a:pt x="93" y="96"/>
                  </a:cubicBezTo>
                  <a:cubicBezTo>
                    <a:pt x="93" y="102"/>
                    <a:pt x="97" y="107"/>
                    <a:pt x="103" y="107"/>
                  </a:cubicBezTo>
                  <a:cubicBezTo>
                    <a:pt x="178" y="107"/>
                    <a:pt x="178" y="107"/>
                    <a:pt x="178" y="107"/>
                  </a:cubicBezTo>
                  <a:cubicBezTo>
                    <a:pt x="184" y="107"/>
                    <a:pt x="189" y="102"/>
                    <a:pt x="189" y="96"/>
                  </a:cubicBezTo>
                  <a:cubicBezTo>
                    <a:pt x="189" y="90"/>
                    <a:pt x="184" y="86"/>
                    <a:pt x="178" y="86"/>
                  </a:cubicBezTo>
                  <a:close/>
                  <a:moveTo>
                    <a:pt x="157" y="128"/>
                  </a:moveTo>
                  <a:cubicBezTo>
                    <a:pt x="103" y="128"/>
                    <a:pt x="103" y="128"/>
                    <a:pt x="103" y="128"/>
                  </a:cubicBezTo>
                  <a:cubicBezTo>
                    <a:pt x="97" y="128"/>
                    <a:pt x="93" y="133"/>
                    <a:pt x="93" y="139"/>
                  </a:cubicBezTo>
                  <a:cubicBezTo>
                    <a:pt x="93" y="145"/>
                    <a:pt x="97" y="150"/>
                    <a:pt x="103" y="150"/>
                  </a:cubicBezTo>
                  <a:cubicBezTo>
                    <a:pt x="157" y="150"/>
                    <a:pt x="157" y="150"/>
                    <a:pt x="157" y="150"/>
                  </a:cubicBezTo>
                  <a:cubicBezTo>
                    <a:pt x="163" y="150"/>
                    <a:pt x="167" y="145"/>
                    <a:pt x="167" y="139"/>
                  </a:cubicBezTo>
                  <a:cubicBezTo>
                    <a:pt x="167" y="133"/>
                    <a:pt x="163" y="128"/>
                    <a:pt x="157" y="128"/>
                  </a:cubicBezTo>
                  <a:close/>
                  <a:moveTo>
                    <a:pt x="135" y="171"/>
                  </a:moveTo>
                  <a:cubicBezTo>
                    <a:pt x="103" y="171"/>
                    <a:pt x="103" y="171"/>
                    <a:pt x="103" y="171"/>
                  </a:cubicBezTo>
                  <a:cubicBezTo>
                    <a:pt x="97" y="171"/>
                    <a:pt x="93" y="176"/>
                    <a:pt x="93" y="182"/>
                  </a:cubicBezTo>
                  <a:cubicBezTo>
                    <a:pt x="93" y="188"/>
                    <a:pt x="97" y="192"/>
                    <a:pt x="103" y="192"/>
                  </a:cubicBezTo>
                  <a:cubicBezTo>
                    <a:pt x="135" y="192"/>
                    <a:pt x="135" y="192"/>
                    <a:pt x="135" y="192"/>
                  </a:cubicBezTo>
                  <a:cubicBezTo>
                    <a:pt x="141" y="192"/>
                    <a:pt x="146" y="188"/>
                    <a:pt x="146" y="182"/>
                  </a:cubicBezTo>
                  <a:cubicBezTo>
                    <a:pt x="146" y="176"/>
                    <a:pt x="141" y="171"/>
                    <a:pt x="135" y="171"/>
                  </a:cubicBezTo>
                  <a:close/>
                  <a:moveTo>
                    <a:pt x="114" y="214"/>
                  </a:moveTo>
                  <a:cubicBezTo>
                    <a:pt x="103" y="214"/>
                    <a:pt x="103" y="214"/>
                    <a:pt x="103" y="214"/>
                  </a:cubicBezTo>
                  <a:cubicBezTo>
                    <a:pt x="97" y="214"/>
                    <a:pt x="93" y="218"/>
                    <a:pt x="93" y="224"/>
                  </a:cubicBezTo>
                  <a:cubicBezTo>
                    <a:pt x="93" y="230"/>
                    <a:pt x="97" y="235"/>
                    <a:pt x="103" y="235"/>
                  </a:cubicBezTo>
                  <a:cubicBezTo>
                    <a:pt x="114" y="235"/>
                    <a:pt x="114" y="235"/>
                    <a:pt x="114" y="235"/>
                  </a:cubicBezTo>
                  <a:cubicBezTo>
                    <a:pt x="120" y="235"/>
                    <a:pt x="125" y="230"/>
                    <a:pt x="125" y="224"/>
                  </a:cubicBezTo>
                  <a:cubicBezTo>
                    <a:pt x="125" y="218"/>
                    <a:pt x="120" y="214"/>
                    <a:pt x="114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5" name="Freeform 124"/>
          <p:cNvSpPr>
            <a:spLocks noChangeAspect="1" noEditPoints="1"/>
          </p:cNvSpPr>
          <p:nvPr/>
        </p:nvSpPr>
        <p:spPr bwMode="auto">
          <a:xfrm>
            <a:off x="5417324" y="2915582"/>
            <a:ext cx="370763" cy="36967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7 w 512"/>
              <a:gd name="T5" fmla="*/ 342 h 512"/>
              <a:gd name="T6" fmla="*/ 206 w 512"/>
              <a:gd name="T7" fmla="*/ 372 h 512"/>
              <a:gd name="T8" fmla="*/ 198 w 512"/>
              <a:gd name="T9" fmla="*/ 372 h 512"/>
              <a:gd name="T10" fmla="*/ 167 w 512"/>
              <a:gd name="T11" fmla="*/ 342 h 512"/>
              <a:gd name="T12" fmla="*/ 182 w 512"/>
              <a:gd name="T13" fmla="*/ 327 h 512"/>
              <a:gd name="T14" fmla="*/ 192 w 512"/>
              <a:gd name="T15" fmla="*/ 149 h 512"/>
              <a:gd name="T16" fmla="*/ 213 w 512"/>
              <a:gd name="T17" fmla="*/ 149 h 512"/>
              <a:gd name="T18" fmla="*/ 222 w 512"/>
              <a:gd name="T19" fmla="*/ 327 h 512"/>
              <a:gd name="T20" fmla="*/ 237 w 512"/>
              <a:gd name="T21" fmla="*/ 342 h 512"/>
              <a:gd name="T22" fmla="*/ 266 w 512"/>
              <a:gd name="T23" fmla="*/ 373 h 512"/>
              <a:gd name="T24" fmla="*/ 266 w 512"/>
              <a:gd name="T25" fmla="*/ 352 h 512"/>
              <a:gd name="T26" fmla="*/ 288 w 512"/>
              <a:gd name="T27" fmla="*/ 362 h 512"/>
              <a:gd name="T28" fmla="*/ 298 w 512"/>
              <a:gd name="T29" fmla="*/ 330 h 512"/>
              <a:gd name="T30" fmla="*/ 256 w 512"/>
              <a:gd name="T31" fmla="*/ 320 h 512"/>
              <a:gd name="T32" fmla="*/ 298 w 512"/>
              <a:gd name="T33" fmla="*/ 309 h 512"/>
              <a:gd name="T34" fmla="*/ 298 w 512"/>
              <a:gd name="T35" fmla="*/ 330 h 512"/>
              <a:gd name="T36" fmla="*/ 266 w 512"/>
              <a:gd name="T37" fmla="*/ 288 h 512"/>
              <a:gd name="T38" fmla="*/ 266 w 512"/>
              <a:gd name="T39" fmla="*/ 266 h 512"/>
              <a:gd name="T40" fmla="*/ 330 w 512"/>
              <a:gd name="T41" fmla="*/ 277 h 512"/>
              <a:gd name="T42" fmla="*/ 341 w 512"/>
              <a:gd name="T43" fmla="*/ 245 h 512"/>
              <a:gd name="T44" fmla="*/ 256 w 512"/>
              <a:gd name="T45" fmla="*/ 234 h 512"/>
              <a:gd name="T46" fmla="*/ 341 w 512"/>
              <a:gd name="T47" fmla="*/ 224 h 512"/>
              <a:gd name="T48" fmla="*/ 341 w 512"/>
              <a:gd name="T49" fmla="*/ 245 h 512"/>
              <a:gd name="T50" fmla="*/ 266 w 512"/>
              <a:gd name="T51" fmla="*/ 202 h 512"/>
              <a:gd name="T52" fmla="*/ 266 w 512"/>
              <a:gd name="T53" fmla="*/ 181 h 512"/>
              <a:gd name="T54" fmla="*/ 373 w 512"/>
              <a:gd name="T55" fmla="*/ 192 h 512"/>
              <a:gd name="T56" fmla="*/ 378 w 512"/>
              <a:gd name="T57" fmla="*/ 160 h 512"/>
              <a:gd name="T58" fmla="*/ 256 w 512"/>
              <a:gd name="T59" fmla="*/ 149 h 512"/>
              <a:gd name="T60" fmla="*/ 378 w 512"/>
              <a:gd name="T61" fmla="*/ 138 h 512"/>
              <a:gd name="T62" fmla="*/ 378 w 512"/>
              <a:gd name="T63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7" y="342"/>
                </a:moveTo>
                <a:cubicBezTo>
                  <a:pt x="210" y="370"/>
                  <a:pt x="210" y="370"/>
                  <a:pt x="210" y="370"/>
                </a:cubicBezTo>
                <a:cubicBezTo>
                  <a:pt x="209" y="371"/>
                  <a:pt x="208" y="372"/>
                  <a:pt x="206" y="372"/>
                </a:cubicBezTo>
                <a:cubicBezTo>
                  <a:pt x="205" y="373"/>
                  <a:pt x="204" y="373"/>
                  <a:pt x="202" y="373"/>
                </a:cubicBezTo>
                <a:cubicBezTo>
                  <a:pt x="201" y="373"/>
                  <a:pt x="200" y="373"/>
                  <a:pt x="198" y="372"/>
                </a:cubicBezTo>
                <a:cubicBezTo>
                  <a:pt x="197" y="372"/>
                  <a:pt x="196" y="371"/>
                  <a:pt x="195" y="370"/>
                </a:cubicBezTo>
                <a:cubicBezTo>
                  <a:pt x="167" y="342"/>
                  <a:pt x="167" y="342"/>
                  <a:pt x="167" y="342"/>
                </a:cubicBezTo>
                <a:cubicBezTo>
                  <a:pt x="163" y="338"/>
                  <a:pt x="163" y="331"/>
                  <a:pt x="167" y="327"/>
                </a:cubicBezTo>
                <a:cubicBezTo>
                  <a:pt x="171" y="323"/>
                  <a:pt x="178" y="323"/>
                  <a:pt x="182" y="327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92" y="143"/>
                  <a:pt x="196" y="138"/>
                  <a:pt x="202" y="138"/>
                </a:cubicBezTo>
                <a:cubicBezTo>
                  <a:pt x="208" y="138"/>
                  <a:pt x="213" y="143"/>
                  <a:pt x="213" y="149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27" y="323"/>
                  <a:pt x="233" y="323"/>
                  <a:pt x="237" y="327"/>
                </a:cubicBezTo>
                <a:cubicBezTo>
                  <a:pt x="242" y="331"/>
                  <a:pt x="242" y="338"/>
                  <a:pt x="237" y="342"/>
                </a:cubicBezTo>
                <a:close/>
                <a:moveTo>
                  <a:pt x="277" y="373"/>
                </a:moveTo>
                <a:cubicBezTo>
                  <a:pt x="266" y="373"/>
                  <a:pt x="266" y="373"/>
                  <a:pt x="266" y="373"/>
                </a:cubicBezTo>
                <a:cubicBezTo>
                  <a:pt x="260" y="373"/>
                  <a:pt x="256" y="368"/>
                  <a:pt x="256" y="362"/>
                </a:cubicBezTo>
                <a:cubicBezTo>
                  <a:pt x="256" y="356"/>
                  <a:pt x="260" y="352"/>
                  <a:pt x="266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83" y="352"/>
                  <a:pt x="288" y="356"/>
                  <a:pt x="288" y="362"/>
                </a:cubicBezTo>
                <a:cubicBezTo>
                  <a:pt x="288" y="368"/>
                  <a:pt x="283" y="373"/>
                  <a:pt x="277" y="373"/>
                </a:cubicBezTo>
                <a:close/>
                <a:moveTo>
                  <a:pt x="298" y="330"/>
                </a:moveTo>
                <a:cubicBezTo>
                  <a:pt x="266" y="330"/>
                  <a:pt x="266" y="330"/>
                  <a:pt x="266" y="330"/>
                </a:cubicBezTo>
                <a:cubicBezTo>
                  <a:pt x="260" y="330"/>
                  <a:pt x="256" y="326"/>
                  <a:pt x="256" y="320"/>
                </a:cubicBezTo>
                <a:cubicBezTo>
                  <a:pt x="256" y="314"/>
                  <a:pt x="260" y="309"/>
                  <a:pt x="266" y="309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304" y="309"/>
                  <a:pt x="309" y="314"/>
                  <a:pt x="309" y="320"/>
                </a:cubicBezTo>
                <a:cubicBezTo>
                  <a:pt x="309" y="326"/>
                  <a:pt x="304" y="330"/>
                  <a:pt x="298" y="330"/>
                </a:cubicBezTo>
                <a:close/>
                <a:moveTo>
                  <a:pt x="320" y="288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0" y="288"/>
                  <a:pt x="256" y="283"/>
                  <a:pt x="256" y="277"/>
                </a:cubicBezTo>
                <a:cubicBezTo>
                  <a:pt x="256" y="271"/>
                  <a:pt x="260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6" y="266"/>
                  <a:pt x="330" y="271"/>
                  <a:pt x="330" y="277"/>
                </a:cubicBezTo>
                <a:cubicBezTo>
                  <a:pt x="330" y="283"/>
                  <a:pt x="326" y="288"/>
                  <a:pt x="320" y="288"/>
                </a:cubicBezTo>
                <a:close/>
                <a:moveTo>
                  <a:pt x="341" y="245"/>
                </a:moveTo>
                <a:cubicBezTo>
                  <a:pt x="266" y="245"/>
                  <a:pt x="266" y="245"/>
                  <a:pt x="266" y="245"/>
                </a:cubicBezTo>
                <a:cubicBezTo>
                  <a:pt x="260" y="245"/>
                  <a:pt x="256" y="240"/>
                  <a:pt x="256" y="234"/>
                </a:cubicBezTo>
                <a:cubicBezTo>
                  <a:pt x="256" y="228"/>
                  <a:pt x="260" y="224"/>
                  <a:pt x="266" y="224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347" y="224"/>
                  <a:pt x="352" y="228"/>
                  <a:pt x="352" y="234"/>
                </a:cubicBezTo>
                <a:cubicBezTo>
                  <a:pt x="352" y="240"/>
                  <a:pt x="347" y="245"/>
                  <a:pt x="341" y="245"/>
                </a:cubicBezTo>
                <a:close/>
                <a:moveTo>
                  <a:pt x="362" y="202"/>
                </a:moveTo>
                <a:cubicBezTo>
                  <a:pt x="266" y="202"/>
                  <a:pt x="266" y="202"/>
                  <a:pt x="266" y="202"/>
                </a:cubicBezTo>
                <a:cubicBezTo>
                  <a:pt x="260" y="202"/>
                  <a:pt x="256" y="198"/>
                  <a:pt x="256" y="192"/>
                </a:cubicBezTo>
                <a:cubicBezTo>
                  <a:pt x="256" y="186"/>
                  <a:pt x="260" y="181"/>
                  <a:pt x="266" y="181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8" y="181"/>
                  <a:pt x="373" y="186"/>
                  <a:pt x="373" y="192"/>
                </a:cubicBezTo>
                <a:cubicBezTo>
                  <a:pt x="373" y="198"/>
                  <a:pt x="368" y="202"/>
                  <a:pt x="362" y="202"/>
                </a:cubicBezTo>
                <a:close/>
                <a:moveTo>
                  <a:pt x="37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0" y="160"/>
                  <a:pt x="256" y="155"/>
                  <a:pt x="256" y="149"/>
                </a:cubicBezTo>
                <a:cubicBezTo>
                  <a:pt x="256" y="143"/>
                  <a:pt x="260" y="138"/>
                  <a:pt x="266" y="138"/>
                </a:cubicBezTo>
                <a:cubicBezTo>
                  <a:pt x="378" y="138"/>
                  <a:pt x="378" y="138"/>
                  <a:pt x="378" y="138"/>
                </a:cubicBezTo>
                <a:cubicBezTo>
                  <a:pt x="384" y="138"/>
                  <a:pt x="389" y="143"/>
                  <a:pt x="389" y="149"/>
                </a:cubicBezTo>
                <a:cubicBezTo>
                  <a:pt x="389" y="155"/>
                  <a:pt x="384" y="160"/>
                  <a:pt x="378" y="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6" name="Group 127"/>
          <p:cNvGrpSpPr>
            <a:grpSpLocks noChangeAspect="1"/>
          </p:cNvGrpSpPr>
          <p:nvPr/>
        </p:nvGrpSpPr>
        <p:grpSpPr bwMode="auto">
          <a:xfrm>
            <a:off x="4920222" y="2915582"/>
            <a:ext cx="369676" cy="369676"/>
            <a:chOff x="5048" y="380"/>
            <a:chExt cx="340" cy="340"/>
          </a:xfrm>
          <a:solidFill>
            <a:schemeClr val="accent2"/>
          </a:solidFill>
        </p:grpSpPr>
        <p:sp>
          <p:nvSpPr>
            <p:cNvPr id="387" name="Freeform 128"/>
            <p:cNvSpPr>
              <a:spLocks noEditPoints="1"/>
            </p:cNvSpPr>
            <p:nvPr/>
          </p:nvSpPr>
          <p:spPr bwMode="auto">
            <a:xfrm>
              <a:off x="5048" y="3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8" name="Freeform 129"/>
            <p:cNvSpPr>
              <a:spLocks noEditPoints="1"/>
            </p:cNvSpPr>
            <p:nvPr/>
          </p:nvSpPr>
          <p:spPr bwMode="auto">
            <a:xfrm>
              <a:off x="5156" y="472"/>
              <a:ext cx="150" cy="156"/>
            </a:xfrm>
            <a:custGeom>
              <a:avLst/>
              <a:gdLst>
                <a:gd name="T0" fmla="*/ 74 w 226"/>
                <a:gd name="T1" fmla="*/ 189 h 235"/>
                <a:gd name="T2" fmla="*/ 74 w 226"/>
                <a:gd name="T3" fmla="*/ 204 h 235"/>
                <a:gd name="T4" fmla="*/ 47 w 226"/>
                <a:gd name="T5" fmla="*/ 232 h 235"/>
                <a:gd name="T6" fmla="*/ 43 w 226"/>
                <a:gd name="T7" fmla="*/ 234 h 235"/>
                <a:gd name="T8" fmla="*/ 39 w 226"/>
                <a:gd name="T9" fmla="*/ 235 h 235"/>
                <a:gd name="T10" fmla="*/ 35 w 226"/>
                <a:gd name="T11" fmla="*/ 234 h 235"/>
                <a:gd name="T12" fmla="*/ 32 w 226"/>
                <a:gd name="T13" fmla="*/ 232 h 235"/>
                <a:gd name="T14" fmla="*/ 4 w 226"/>
                <a:gd name="T15" fmla="*/ 204 h 235"/>
                <a:gd name="T16" fmla="*/ 4 w 226"/>
                <a:gd name="T17" fmla="*/ 189 h 235"/>
                <a:gd name="T18" fmla="*/ 19 w 226"/>
                <a:gd name="T19" fmla="*/ 189 h 235"/>
                <a:gd name="T20" fmla="*/ 29 w 226"/>
                <a:gd name="T21" fmla="*/ 199 h 235"/>
                <a:gd name="T22" fmla="*/ 29 w 226"/>
                <a:gd name="T23" fmla="*/ 11 h 235"/>
                <a:gd name="T24" fmla="*/ 39 w 226"/>
                <a:gd name="T25" fmla="*/ 0 h 235"/>
                <a:gd name="T26" fmla="*/ 50 w 226"/>
                <a:gd name="T27" fmla="*/ 11 h 235"/>
                <a:gd name="T28" fmla="*/ 50 w 226"/>
                <a:gd name="T29" fmla="*/ 199 h 235"/>
                <a:gd name="T30" fmla="*/ 59 w 226"/>
                <a:gd name="T31" fmla="*/ 189 h 235"/>
                <a:gd name="T32" fmla="*/ 74 w 226"/>
                <a:gd name="T33" fmla="*/ 189 h 235"/>
                <a:gd name="T34" fmla="*/ 215 w 226"/>
                <a:gd name="T35" fmla="*/ 214 h 235"/>
                <a:gd name="T36" fmla="*/ 103 w 226"/>
                <a:gd name="T37" fmla="*/ 214 h 235"/>
                <a:gd name="T38" fmla="*/ 93 w 226"/>
                <a:gd name="T39" fmla="*/ 224 h 235"/>
                <a:gd name="T40" fmla="*/ 103 w 226"/>
                <a:gd name="T41" fmla="*/ 235 h 235"/>
                <a:gd name="T42" fmla="*/ 215 w 226"/>
                <a:gd name="T43" fmla="*/ 235 h 235"/>
                <a:gd name="T44" fmla="*/ 226 w 226"/>
                <a:gd name="T45" fmla="*/ 224 h 235"/>
                <a:gd name="T46" fmla="*/ 215 w 226"/>
                <a:gd name="T47" fmla="*/ 214 h 235"/>
                <a:gd name="T48" fmla="*/ 103 w 226"/>
                <a:gd name="T49" fmla="*/ 192 h 235"/>
                <a:gd name="T50" fmla="*/ 199 w 226"/>
                <a:gd name="T51" fmla="*/ 192 h 235"/>
                <a:gd name="T52" fmla="*/ 210 w 226"/>
                <a:gd name="T53" fmla="*/ 182 h 235"/>
                <a:gd name="T54" fmla="*/ 199 w 226"/>
                <a:gd name="T55" fmla="*/ 171 h 235"/>
                <a:gd name="T56" fmla="*/ 103 w 226"/>
                <a:gd name="T57" fmla="*/ 171 h 235"/>
                <a:gd name="T58" fmla="*/ 93 w 226"/>
                <a:gd name="T59" fmla="*/ 182 h 235"/>
                <a:gd name="T60" fmla="*/ 103 w 226"/>
                <a:gd name="T61" fmla="*/ 192 h 235"/>
                <a:gd name="T62" fmla="*/ 103 w 226"/>
                <a:gd name="T63" fmla="*/ 150 h 235"/>
                <a:gd name="T64" fmla="*/ 178 w 226"/>
                <a:gd name="T65" fmla="*/ 150 h 235"/>
                <a:gd name="T66" fmla="*/ 189 w 226"/>
                <a:gd name="T67" fmla="*/ 139 h 235"/>
                <a:gd name="T68" fmla="*/ 178 w 226"/>
                <a:gd name="T69" fmla="*/ 128 h 235"/>
                <a:gd name="T70" fmla="*/ 103 w 226"/>
                <a:gd name="T71" fmla="*/ 128 h 235"/>
                <a:gd name="T72" fmla="*/ 93 w 226"/>
                <a:gd name="T73" fmla="*/ 139 h 235"/>
                <a:gd name="T74" fmla="*/ 103 w 226"/>
                <a:gd name="T75" fmla="*/ 150 h 235"/>
                <a:gd name="T76" fmla="*/ 103 w 226"/>
                <a:gd name="T77" fmla="*/ 107 h 235"/>
                <a:gd name="T78" fmla="*/ 157 w 226"/>
                <a:gd name="T79" fmla="*/ 107 h 235"/>
                <a:gd name="T80" fmla="*/ 167 w 226"/>
                <a:gd name="T81" fmla="*/ 96 h 235"/>
                <a:gd name="T82" fmla="*/ 157 w 226"/>
                <a:gd name="T83" fmla="*/ 86 h 235"/>
                <a:gd name="T84" fmla="*/ 103 w 226"/>
                <a:gd name="T85" fmla="*/ 86 h 235"/>
                <a:gd name="T86" fmla="*/ 93 w 226"/>
                <a:gd name="T87" fmla="*/ 96 h 235"/>
                <a:gd name="T88" fmla="*/ 103 w 226"/>
                <a:gd name="T89" fmla="*/ 107 h 235"/>
                <a:gd name="T90" fmla="*/ 103 w 226"/>
                <a:gd name="T91" fmla="*/ 64 h 235"/>
                <a:gd name="T92" fmla="*/ 135 w 226"/>
                <a:gd name="T93" fmla="*/ 64 h 235"/>
                <a:gd name="T94" fmla="*/ 146 w 226"/>
                <a:gd name="T95" fmla="*/ 54 h 235"/>
                <a:gd name="T96" fmla="*/ 135 w 226"/>
                <a:gd name="T97" fmla="*/ 43 h 235"/>
                <a:gd name="T98" fmla="*/ 103 w 226"/>
                <a:gd name="T99" fmla="*/ 43 h 235"/>
                <a:gd name="T100" fmla="*/ 93 w 226"/>
                <a:gd name="T101" fmla="*/ 54 h 235"/>
                <a:gd name="T102" fmla="*/ 103 w 226"/>
                <a:gd name="T103" fmla="*/ 64 h 235"/>
                <a:gd name="T104" fmla="*/ 103 w 226"/>
                <a:gd name="T105" fmla="*/ 22 h 235"/>
                <a:gd name="T106" fmla="*/ 114 w 226"/>
                <a:gd name="T107" fmla="*/ 22 h 235"/>
                <a:gd name="T108" fmla="*/ 125 w 226"/>
                <a:gd name="T109" fmla="*/ 11 h 235"/>
                <a:gd name="T110" fmla="*/ 114 w 226"/>
                <a:gd name="T111" fmla="*/ 0 h 235"/>
                <a:gd name="T112" fmla="*/ 103 w 226"/>
                <a:gd name="T113" fmla="*/ 0 h 235"/>
                <a:gd name="T114" fmla="*/ 93 w 226"/>
                <a:gd name="T115" fmla="*/ 11 h 235"/>
                <a:gd name="T116" fmla="*/ 103 w 226"/>
                <a:gd name="T117" fmla="*/ 2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215" y="214"/>
                  </a:moveTo>
                  <a:cubicBezTo>
                    <a:pt x="103" y="214"/>
                    <a:pt x="103" y="214"/>
                    <a:pt x="103" y="214"/>
                  </a:cubicBezTo>
                  <a:cubicBezTo>
                    <a:pt x="97" y="214"/>
                    <a:pt x="93" y="218"/>
                    <a:pt x="93" y="224"/>
                  </a:cubicBezTo>
                  <a:cubicBezTo>
                    <a:pt x="93" y="230"/>
                    <a:pt x="97" y="235"/>
                    <a:pt x="103" y="235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35"/>
                    <a:pt x="226" y="230"/>
                    <a:pt x="226" y="224"/>
                  </a:cubicBezTo>
                  <a:cubicBezTo>
                    <a:pt x="226" y="218"/>
                    <a:pt x="221" y="214"/>
                    <a:pt x="215" y="214"/>
                  </a:cubicBezTo>
                  <a:close/>
                  <a:moveTo>
                    <a:pt x="103" y="192"/>
                  </a:moveTo>
                  <a:cubicBezTo>
                    <a:pt x="199" y="192"/>
                    <a:pt x="199" y="192"/>
                    <a:pt x="199" y="192"/>
                  </a:cubicBezTo>
                  <a:cubicBezTo>
                    <a:pt x="205" y="192"/>
                    <a:pt x="210" y="188"/>
                    <a:pt x="210" y="182"/>
                  </a:cubicBezTo>
                  <a:cubicBezTo>
                    <a:pt x="210" y="176"/>
                    <a:pt x="205" y="171"/>
                    <a:pt x="199" y="171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97" y="171"/>
                    <a:pt x="93" y="176"/>
                    <a:pt x="93" y="182"/>
                  </a:cubicBezTo>
                  <a:cubicBezTo>
                    <a:pt x="93" y="188"/>
                    <a:pt x="97" y="192"/>
                    <a:pt x="103" y="192"/>
                  </a:cubicBezTo>
                  <a:close/>
                  <a:moveTo>
                    <a:pt x="103" y="150"/>
                  </a:moveTo>
                  <a:cubicBezTo>
                    <a:pt x="178" y="150"/>
                    <a:pt x="178" y="150"/>
                    <a:pt x="178" y="150"/>
                  </a:cubicBezTo>
                  <a:cubicBezTo>
                    <a:pt x="184" y="150"/>
                    <a:pt x="189" y="145"/>
                    <a:pt x="189" y="139"/>
                  </a:cubicBezTo>
                  <a:cubicBezTo>
                    <a:pt x="189" y="133"/>
                    <a:pt x="184" y="128"/>
                    <a:pt x="178" y="128"/>
                  </a:cubicBezTo>
                  <a:cubicBezTo>
                    <a:pt x="103" y="128"/>
                    <a:pt x="103" y="128"/>
                    <a:pt x="103" y="128"/>
                  </a:cubicBezTo>
                  <a:cubicBezTo>
                    <a:pt x="97" y="128"/>
                    <a:pt x="93" y="133"/>
                    <a:pt x="93" y="139"/>
                  </a:cubicBezTo>
                  <a:cubicBezTo>
                    <a:pt x="93" y="145"/>
                    <a:pt x="97" y="150"/>
                    <a:pt x="103" y="150"/>
                  </a:cubicBezTo>
                  <a:close/>
                  <a:moveTo>
                    <a:pt x="103" y="107"/>
                  </a:moveTo>
                  <a:cubicBezTo>
                    <a:pt x="157" y="107"/>
                    <a:pt x="157" y="107"/>
                    <a:pt x="157" y="107"/>
                  </a:cubicBezTo>
                  <a:cubicBezTo>
                    <a:pt x="163" y="107"/>
                    <a:pt x="167" y="102"/>
                    <a:pt x="167" y="96"/>
                  </a:cubicBezTo>
                  <a:cubicBezTo>
                    <a:pt x="167" y="90"/>
                    <a:pt x="163" y="86"/>
                    <a:pt x="157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97" y="86"/>
                    <a:pt x="93" y="90"/>
                    <a:pt x="93" y="96"/>
                  </a:cubicBezTo>
                  <a:cubicBezTo>
                    <a:pt x="93" y="102"/>
                    <a:pt x="97" y="107"/>
                    <a:pt x="103" y="107"/>
                  </a:cubicBezTo>
                  <a:close/>
                  <a:moveTo>
                    <a:pt x="103" y="64"/>
                  </a:moveTo>
                  <a:cubicBezTo>
                    <a:pt x="135" y="64"/>
                    <a:pt x="135" y="64"/>
                    <a:pt x="135" y="64"/>
                  </a:cubicBezTo>
                  <a:cubicBezTo>
                    <a:pt x="141" y="64"/>
                    <a:pt x="146" y="60"/>
                    <a:pt x="146" y="54"/>
                  </a:cubicBezTo>
                  <a:cubicBezTo>
                    <a:pt x="146" y="48"/>
                    <a:pt x="141" y="43"/>
                    <a:pt x="135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97" y="43"/>
                    <a:pt x="93" y="48"/>
                    <a:pt x="93" y="54"/>
                  </a:cubicBezTo>
                  <a:cubicBezTo>
                    <a:pt x="93" y="60"/>
                    <a:pt x="97" y="64"/>
                    <a:pt x="103" y="64"/>
                  </a:cubicBezTo>
                  <a:close/>
                  <a:moveTo>
                    <a:pt x="103" y="22"/>
                  </a:moveTo>
                  <a:cubicBezTo>
                    <a:pt x="114" y="22"/>
                    <a:pt x="114" y="22"/>
                    <a:pt x="114" y="22"/>
                  </a:cubicBezTo>
                  <a:cubicBezTo>
                    <a:pt x="120" y="22"/>
                    <a:pt x="125" y="17"/>
                    <a:pt x="125" y="11"/>
                  </a:cubicBezTo>
                  <a:cubicBezTo>
                    <a:pt x="125" y="5"/>
                    <a:pt x="120" y="0"/>
                    <a:pt x="114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7" y="0"/>
                    <a:pt x="93" y="5"/>
                    <a:pt x="93" y="11"/>
                  </a:cubicBezTo>
                  <a:cubicBezTo>
                    <a:pt x="93" y="17"/>
                    <a:pt x="97" y="22"/>
                    <a:pt x="10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9" name="Freeform 133"/>
          <p:cNvSpPr>
            <a:spLocks noChangeAspect="1" noEditPoints="1"/>
          </p:cNvSpPr>
          <p:nvPr/>
        </p:nvSpPr>
        <p:spPr bwMode="auto">
          <a:xfrm>
            <a:off x="4423120" y="2915582"/>
            <a:ext cx="369676" cy="36967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7 w 512"/>
              <a:gd name="T5" fmla="*/ 342 h 512"/>
              <a:gd name="T6" fmla="*/ 206 w 512"/>
              <a:gd name="T7" fmla="*/ 372 h 512"/>
              <a:gd name="T8" fmla="*/ 198 w 512"/>
              <a:gd name="T9" fmla="*/ 372 h 512"/>
              <a:gd name="T10" fmla="*/ 167 w 512"/>
              <a:gd name="T11" fmla="*/ 342 h 512"/>
              <a:gd name="T12" fmla="*/ 182 w 512"/>
              <a:gd name="T13" fmla="*/ 327 h 512"/>
              <a:gd name="T14" fmla="*/ 192 w 512"/>
              <a:gd name="T15" fmla="*/ 149 h 512"/>
              <a:gd name="T16" fmla="*/ 213 w 512"/>
              <a:gd name="T17" fmla="*/ 149 h 512"/>
              <a:gd name="T18" fmla="*/ 222 w 512"/>
              <a:gd name="T19" fmla="*/ 327 h 512"/>
              <a:gd name="T20" fmla="*/ 237 w 512"/>
              <a:gd name="T21" fmla="*/ 342 h 512"/>
              <a:gd name="T22" fmla="*/ 277 w 512"/>
              <a:gd name="T23" fmla="*/ 138 h 512"/>
              <a:gd name="T24" fmla="*/ 277 w 512"/>
              <a:gd name="T25" fmla="*/ 160 h 512"/>
              <a:gd name="T26" fmla="*/ 256 w 512"/>
              <a:gd name="T27" fmla="*/ 149 h 512"/>
              <a:gd name="T28" fmla="*/ 266 w 512"/>
              <a:gd name="T29" fmla="*/ 181 h 512"/>
              <a:gd name="T30" fmla="*/ 309 w 512"/>
              <a:gd name="T31" fmla="*/ 192 h 512"/>
              <a:gd name="T32" fmla="*/ 266 w 512"/>
              <a:gd name="T33" fmla="*/ 202 h 512"/>
              <a:gd name="T34" fmla="*/ 266 w 512"/>
              <a:gd name="T35" fmla="*/ 181 h 512"/>
              <a:gd name="T36" fmla="*/ 320 w 512"/>
              <a:gd name="T37" fmla="*/ 224 h 512"/>
              <a:gd name="T38" fmla="*/ 320 w 512"/>
              <a:gd name="T39" fmla="*/ 245 h 512"/>
              <a:gd name="T40" fmla="*/ 256 w 512"/>
              <a:gd name="T41" fmla="*/ 234 h 512"/>
              <a:gd name="T42" fmla="*/ 266 w 512"/>
              <a:gd name="T43" fmla="*/ 266 h 512"/>
              <a:gd name="T44" fmla="*/ 352 w 512"/>
              <a:gd name="T45" fmla="*/ 277 h 512"/>
              <a:gd name="T46" fmla="*/ 266 w 512"/>
              <a:gd name="T47" fmla="*/ 288 h 512"/>
              <a:gd name="T48" fmla="*/ 266 w 512"/>
              <a:gd name="T49" fmla="*/ 266 h 512"/>
              <a:gd name="T50" fmla="*/ 362 w 512"/>
              <a:gd name="T51" fmla="*/ 309 h 512"/>
              <a:gd name="T52" fmla="*/ 362 w 512"/>
              <a:gd name="T53" fmla="*/ 330 h 512"/>
              <a:gd name="T54" fmla="*/ 256 w 512"/>
              <a:gd name="T55" fmla="*/ 320 h 512"/>
              <a:gd name="T56" fmla="*/ 378 w 512"/>
              <a:gd name="T57" fmla="*/ 373 h 512"/>
              <a:gd name="T58" fmla="*/ 256 w 512"/>
              <a:gd name="T59" fmla="*/ 362 h 512"/>
              <a:gd name="T60" fmla="*/ 378 w 512"/>
              <a:gd name="T61" fmla="*/ 352 h 512"/>
              <a:gd name="T62" fmla="*/ 378 w 512"/>
              <a:gd name="T6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7" y="342"/>
                </a:moveTo>
                <a:cubicBezTo>
                  <a:pt x="210" y="370"/>
                  <a:pt x="210" y="370"/>
                  <a:pt x="210" y="370"/>
                </a:cubicBezTo>
                <a:cubicBezTo>
                  <a:pt x="209" y="371"/>
                  <a:pt x="208" y="372"/>
                  <a:pt x="206" y="372"/>
                </a:cubicBezTo>
                <a:cubicBezTo>
                  <a:pt x="205" y="373"/>
                  <a:pt x="204" y="373"/>
                  <a:pt x="202" y="373"/>
                </a:cubicBezTo>
                <a:cubicBezTo>
                  <a:pt x="201" y="373"/>
                  <a:pt x="200" y="373"/>
                  <a:pt x="198" y="372"/>
                </a:cubicBezTo>
                <a:cubicBezTo>
                  <a:pt x="197" y="372"/>
                  <a:pt x="196" y="371"/>
                  <a:pt x="195" y="370"/>
                </a:cubicBezTo>
                <a:cubicBezTo>
                  <a:pt x="167" y="342"/>
                  <a:pt x="167" y="342"/>
                  <a:pt x="167" y="342"/>
                </a:cubicBezTo>
                <a:cubicBezTo>
                  <a:pt x="163" y="338"/>
                  <a:pt x="163" y="331"/>
                  <a:pt x="167" y="327"/>
                </a:cubicBezTo>
                <a:cubicBezTo>
                  <a:pt x="171" y="323"/>
                  <a:pt x="178" y="323"/>
                  <a:pt x="182" y="327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92" y="143"/>
                  <a:pt x="196" y="138"/>
                  <a:pt x="202" y="138"/>
                </a:cubicBezTo>
                <a:cubicBezTo>
                  <a:pt x="208" y="138"/>
                  <a:pt x="213" y="143"/>
                  <a:pt x="213" y="149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27" y="323"/>
                  <a:pt x="233" y="323"/>
                  <a:pt x="237" y="327"/>
                </a:cubicBezTo>
                <a:cubicBezTo>
                  <a:pt x="242" y="331"/>
                  <a:pt x="242" y="338"/>
                  <a:pt x="237" y="342"/>
                </a:cubicBezTo>
                <a:close/>
                <a:moveTo>
                  <a:pt x="266" y="138"/>
                </a:moveTo>
                <a:cubicBezTo>
                  <a:pt x="277" y="138"/>
                  <a:pt x="277" y="138"/>
                  <a:pt x="277" y="138"/>
                </a:cubicBezTo>
                <a:cubicBezTo>
                  <a:pt x="283" y="138"/>
                  <a:pt x="288" y="143"/>
                  <a:pt x="288" y="149"/>
                </a:cubicBezTo>
                <a:cubicBezTo>
                  <a:pt x="288" y="155"/>
                  <a:pt x="283" y="160"/>
                  <a:pt x="277" y="160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0" y="160"/>
                  <a:pt x="256" y="155"/>
                  <a:pt x="256" y="149"/>
                </a:cubicBezTo>
                <a:cubicBezTo>
                  <a:pt x="256" y="143"/>
                  <a:pt x="260" y="138"/>
                  <a:pt x="266" y="138"/>
                </a:cubicBezTo>
                <a:close/>
                <a:moveTo>
                  <a:pt x="266" y="181"/>
                </a:moveTo>
                <a:cubicBezTo>
                  <a:pt x="298" y="181"/>
                  <a:pt x="298" y="181"/>
                  <a:pt x="298" y="181"/>
                </a:cubicBezTo>
                <a:cubicBezTo>
                  <a:pt x="304" y="181"/>
                  <a:pt x="309" y="186"/>
                  <a:pt x="309" y="192"/>
                </a:cubicBezTo>
                <a:cubicBezTo>
                  <a:pt x="309" y="198"/>
                  <a:pt x="304" y="202"/>
                  <a:pt x="298" y="202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60" y="202"/>
                  <a:pt x="256" y="198"/>
                  <a:pt x="256" y="192"/>
                </a:cubicBezTo>
                <a:cubicBezTo>
                  <a:pt x="256" y="186"/>
                  <a:pt x="260" y="181"/>
                  <a:pt x="266" y="181"/>
                </a:cubicBezTo>
                <a:close/>
                <a:moveTo>
                  <a:pt x="266" y="224"/>
                </a:moveTo>
                <a:cubicBezTo>
                  <a:pt x="320" y="224"/>
                  <a:pt x="320" y="224"/>
                  <a:pt x="320" y="224"/>
                </a:cubicBezTo>
                <a:cubicBezTo>
                  <a:pt x="326" y="224"/>
                  <a:pt x="330" y="228"/>
                  <a:pt x="330" y="234"/>
                </a:cubicBezTo>
                <a:cubicBezTo>
                  <a:pt x="330" y="240"/>
                  <a:pt x="326" y="245"/>
                  <a:pt x="320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0" y="245"/>
                  <a:pt x="256" y="240"/>
                  <a:pt x="256" y="234"/>
                </a:cubicBezTo>
                <a:cubicBezTo>
                  <a:pt x="256" y="228"/>
                  <a:pt x="260" y="224"/>
                  <a:pt x="266" y="224"/>
                </a:cubicBezTo>
                <a:close/>
                <a:moveTo>
                  <a:pt x="266" y="266"/>
                </a:moveTo>
                <a:cubicBezTo>
                  <a:pt x="341" y="266"/>
                  <a:pt x="341" y="266"/>
                  <a:pt x="341" y="266"/>
                </a:cubicBezTo>
                <a:cubicBezTo>
                  <a:pt x="347" y="266"/>
                  <a:pt x="352" y="271"/>
                  <a:pt x="352" y="277"/>
                </a:cubicBezTo>
                <a:cubicBezTo>
                  <a:pt x="352" y="283"/>
                  <a:pt x="347" y="288"/>
                  <a:pt x="341" y="288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0" y="288"/>
                  <a:pt x="256" y="283"/>
                  <a:pt x="256" y="277"/>
                </a:cubicBezTo>
                <a:cubicBezTo>
                  <a:pt x="256" y="271"/>
                  <a:pt x="260" y="266"/>
                  <a:pt x="266" y="266"/>
                </a:cubicBezTo>
                <a:close/>
                <a:moveTo>
                  <a:pt x="266" y="309"/>
                </a:moveTo>
                <a:cubicBezTo>
                  <a:pt x="362" y="309"/>
                  <a:pt x="362" y="309"/>
                  <a:pt x="362" y="309"/>
                </a:cubicBezTo>
                <a:cubicBezTo>
                  <a:pt x="368" y="309"/>
                  <a:pt x="373" y="314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0" y="330"/>
                  <a:pt x="256" y="326"/>
                  <a:pt x="256" y="320"/>
                </a:cubicBezTo>
                <a:cubicBezTo>
                  <a:pt x="256" y="314"/>
                  <a:pt x="260" y="309"/>
                  <a:pt x="266" y="309"/>
                </a:cubicBezTo>
                <a:close/>
                <a:moveTo>
                  <a:pt x="378" y="373"/>
                </a:moveTo>
                <a:cubicBezTo>
                  <a:pt x="266" y="373"/>
                  <a:pt x="266" y="373"/>
                  <a:pt x="266" y="373"/>
                </a:cubicBezTo>
                <a:cubicBezTo>
                  <a:pt x="260" y="373"/>
                  <a:pt x="256" y="368"/>
                  <a:pt x="256" y="362"/>
                </a:cubicBezTo>
                <a:cubicBezTo>
                  <a:pt x="256" y="356"/>
                  <a:pt x="260" y="352"/>
                  <a:pt x="266" y="352"/>
                </a:cubicBezTo>
                <a:cubicBezTo>
                  <a:pt x="378" y="352"/>
                  <a:pt x="378" y="352"/>
                  <a:pt x="378" y="352"/>
                </a:cubicBezTo>
                <a:cubicBezTo>
                  <a:pt x="384" y="352"/>
                  <a:pt x="389" y="356"/>
                  <a:pt x="389" y="362"/>
                </a:cubicBezTo>
                <a:cubicBezTo>
                  <a:pt x="389" y="368"/>
                  <a:pt x="384" y="373"/>
                  <a:pt x="378" y="37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0" name="Group 136"/>
          <p:cNvGrpSpPr>
            <a:grpSpLocks noChangeAspect="1"/>
          </p:cNvGrpSpPr>
          <p:nvPr/>
        </p:nvGrpSpPr>
        <p:grpSpPr bwMode="auto">
          <a:xfrm>
            <a:off x="3926018" y="2915582"/>
            <a:ext cx="369676" cy="369676"/>
            <a:chOff x="4251" y="385"/>
            <a:chExt cx="340" cy="340"/>
          </a:xfrm>
          <a:solidFill>
            <a:schemeClr val="accent2"/>
          </a:solidFill>
        </p:grpSpPr>
        <p:sp>
          <p:nvSpPr>
            <p:cNvPr id="391" name="Freeform 137"/>
            <p:cNvSpPr>
              <a:spLocks noEditPoints="1"/>
            </p:cNvSpPr>
            <p:nvPr/>
          </p:nvSpPr>
          <p:spPr bwMode="auto">
            <a:xfrm>
              <a:off x="4251" y="3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2" name="Freeform 138"/>
            <p:cNvSpPr>
              <a:spLocks noEditPoints="1"/>
            </p:cNvSpPr>
            <p:nvPr/>
          </p:nvSpPr>
          <p:spPr bwMode="auto">
            <a:xfrm>
              <a:off x="4359" y="477"/>
              <a:ext cx="116" cy="156"/>
            </a:xfrm>
            <a:custGeom>
              <a:avLst/>
              <a:gdLst>
                <a:gd name="T0" fmla="*/ 74 w 174"/>
                <a:gd name="T1" fmla="*/ 189 h 235"/>
                <a:gd name="T2" fmla="*/ 74 w 174"/>
                <a:gd name="T3" fmla="*/ 204 h 235"/>
                <a:gd name="T4" fmla="*/ 47 w 174"/>
                <a:gd name="T5" fmla="*/ 232 h 235"/>
                <a:gd name="T6" fmla="*/ 43 w 174"/>
                <a:gd name="T7" fmla="*/ 234 h 235"/>
                <a:gd name="T8" fmla="*/ 39 w 174"/>
                <a:gd name="T9" fmla="*/ 235 h 235"/>
                <a:gd name="T10" fmla="*/ 35 w 174"/>
                <a:gd name="T11" fmla="*/ 234 h 235"/>
                <a:gd name="T12" fmla="*/ 32 w 174"/>
                <a:gd name="T13" fmla="*/ 232 h 235"/>
                <a:gd name="T14" fmla="*/ 4 w 174"/>
                <a:gd name="T15" fmla="*/ 204 h 235"/>
                <a:gd name="T16" fmla="*/ 4 w 174"/>
                <a:gd name="T17" fmla="*/ 189 h 235"/>
                <a:gd name="T18" fmla="*/ 19 w 174"/>
                <a:gd name="T19" fmla="*/ 189 h 235"/>
                <a:gd name="T20" fmla="*/ 29 w 174"/>
                <a:gd name="T21" fmla="*/ 199 h 235"/>
                <a:gd name="T22" fmla="*/ 29 w 174"/>
                <a:gd name="T23" fmla="*/ 11 h 235"/>
                <a:gd name="T24" fmla="*/ 39 w 174"/>
                <a:gd name="T25" fmla="*/ 0 h 235"/>
                <a:gd name="T26" fmla="*/ 50 w 174"/>
                <a:gd name="T27" fmla="*/ 11 h 235"/>
                <a:gd name="T28" fmla="*/ 50 w 174"/>
                <a:gd name="T29" fmla="*/ 199 h 235"/>
                <a:gd name="T30" fmla="*/ 59 w 174"/>
                <a:gd name="T31" fmla="*/ 189 h 235"/>
                <a:gd name="T32" fmla="*/ 74 w 174"/>
                <a:gd name="T33" fmla="*/ 189 h 235"/>
                <a:gd name="T34" fmla="*/ 174 w 174"/>
                <a:gd name="T35" fmla="*/ 235 h 235"/>
                <a:gd name="T36" fmla="*/ 155 w 174"/>
                <a:gd name="T37" fmla="*/ 235 h 235"/>
                <a:gd name="T38" fmla="*/ 149 w 174"/>
                <a:gd name="T39" fmla="*/ 215 h 235"/>
                <a:gd name="T40" fmla="*/ 118 w 174"/>
                <a:gd name="T41" fmla="*/ 215 h 235"/>
                <a:gd name="T42" fmla="*/ 112 w 174"/>
                <a:gd name="T43" fmla="*/ 235 h 235"/>
                <a:gd name="T44" fmla="*/ 93 w 174"/>
                <a:gd name="T45" fmla="*/ 235 h 235"/>
                <a:gd name="T46" fmla="*/ 122 w 174"/>
                <a:gd name="T47" fmla="*/ 150 h 235"/>
                <a:gd name="T48" fmla="*/ 144 w 174"/>
                <a:gd name="T49" fmla="*/ 150 h 235"/>
                <a:gd name="T50" fmla="*/ 174 w 174"/>
                <a:gd name="T51" fmla="*/ 235 h 235"/>
                <a:gd name="T52" fmla="*/ 144 w 174"/>
                <a:gd name="T53" fmla="*/ 200 h 235"/>
                <a:gd name="T54" fmla="*/ 135 w 174"/>
                <a:gd name="T55" fmla="*/ 169 h 235"/>
                <a:gd name="T56" fmla="*/ 133 w 174"/>
                <a:gd name="T57" fmla="*/ 163 h 235"/>
                <a:gd name="T58" fmla="*/ 123 w 174"/>
                <a:gd name="T59" fmla="*/ 200 h 235"/>
                <a:gd name="T60" fmla="*/ 144 w 174"/>
                <a:gd name="T61" fmla="*/ 200 h 235"/>
                <a:gd name="T62" fmla="*/ 167 w 174"/>
                <a:gd name="T63" fmla="*/ 70 h 235"/>
                <a:gd name="T64" fmla="*/ 126 w 174"/>
                <a:gd name="T65" fmla="*/ 70 h 235"/>
                <a:gd name="T66" fmla="*/ 166 w 174"/>
                <a:gd name="T67" fmla="*/ 12 h 235"/>
                <a:gd name="T68" fmla="*/ 166 w 174"/>
                <a:gd name="T69" fmla="*/ 0 h 235"/>
                <a:gd name="T70" fmla="*/ 106 w 174"/>
                <a:gd name="T71" fmla="*/ 0 h 235"/>
                <a:gd name="T72" fmla="*/ 106 w 174"/>
                <a:gd name="T73" fmla="*/ 15 h 235"/>
                <a:gd name="T74" fmla="*/ 145 w 174"/>
                <a:gd name="T75" fmla="*/ 15 h 235"/>
                <a:gd name="T76" fmla="*/ 105 w 174"/>
                <a:gd name="T77" fmla="*/ 73 h 235"/>
                <a:gd name="T78" fmla="*/ 105 w 174"/>
                <a:gd name="T79" fmla="*/ 85 h 235"/>
                <a:gd name="T80" fmla="*/ 167 w 174"/>
                <a:gd name="T81" fmla="*/ 85 h 235"/>
                <a:gd name="T82" fmla="*/ 167 w 174"/>
                <a:gd name="T83" fmla="*/ 7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4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174" y="235"/>
                  </a:moveTo>
                  <a:cubicBezTo>
                    <a:pt x="155" y="235"/>
                    <a:pt x="155" y="235"/>
                    <a:pt x="155" y="235"/>
                  </a:cubicBezTo>
                  <a:cubicBezTo>
                    <a:pt x="149" y="215"/>
                    <a:pt x="149" y="215"/>
                    <a:pt x="149" y="215"/>
                  </a:cubicBezTo>
                  <a:cubicBezTo>
                    <a:pt x="118" y="215"/>
                    <a:pt x="118" y="215"/>
                    <a:pt x="118" y="215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93" y="235"/>
                    <a:pt x="93" y="235"/>
                    <a:pt x="93" y="235"/>
                  </a:cubicBezTo>
                  <a:cubicBezTo>
                    <a:pt x="122" y="150"/>
                    <a:pt x="122" y="150"/>
                    <a:pt x="122" y="150"/>
                  </a:cubicBezTo>
                  <a:cubicBezTo>
                    <a:pt x="144" y="150"/>
                    <a:pt x="144" y="150"/>
                    <a:pt x="144" y="150"/>
                  </a:cubicBezTo>
                  <a:lnTo>
                    <a:pt x="174" y="235"/>
                  </a:lnTo>
                  <a:close/>
                  <a:moveTo>
                    <a:pt x="144" y="200"/>
                  </a:moveTo>
                  <a:cubicBezTo>
                    <a:pt x="139" y="182"/>
                    <a:pt x="136" y="171"/>
                    <a:pt x="135" y="169"/>
                  </a:cubicBezTo>
                  <a:cubicBezTo>
                    <a:pt x="134" y="167"/>
                    <a:pt x="134" y="165"/>
                    <a:pt x="133" y="163"/>
                  </a:cubicBezTo>
                  <a:cubicBezTo>
                    <a:pt x="132" y="168"/>
                    <a:pt x="129" y="181"/>
                    <a:pt x="123" y="200"/>
                  </a:cubicBezTo>
                  <a:lnTo>
                    <a:pt x="144" y="200"/>
                  </a:lnTo>
                  <a:close/>
                  <a:moveTo>
                    <a:pt x="167" y="70"/>
                  </a:moveTo>
                  <a:cubicBezTo>
                    <a:pt x="126" y="70"/>
                    <a:pt x="126" y="70"/>
                    <a:pt x="126" y="70"/>
                  </a:cubicBezTo>
                  <a:cubicBezTo>
                    <a:pt x="166" y="12"/>
                    <a:pt x="166" y="12"/>
                    <a:pt x="166" y="12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5"/>
                    <a:pt x="106" y="15"/>
                    <a:pt x="106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5" y="85"/>
                    <a:pt x="105" y="85"/>
                    <a:pt x="105" y="85"/>
                  </a:cubicBezTo>
                  <a:cubicBezTo>
                    <a:pt x="167" y="85"/>
                    <a:pt x="167" y="85"/>
                    <a:pt x="167" y="85"/>
                  </a:cubicBezTo>
                  <a:lnTo>
                    <a:pt x="167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3" name="Freeform 142"/>
          <p:cNvSpPr>
            <a:spLocks noChangeAspect="1" noEditPoints="1"/>
          </p:cNvSpPr>
          <p:nvPr/>
        </p:nvSpPr>
        <p:spPr bwMode="auto">
          <a:xfrm>
            <a:off x="3428916" y="2915582"/>
            <a:ext cx="369676" cy="369676"/>
          </a:xfrm>
          <a:custGeom>
            <a:avLst/>
            <a:gdLst>
              <a:gd name="T0" fmla="*/ 298 w 512"/>
              <a:gd name="T1" fmla="*/ 307 h 512"/>
              <a:gd name="T2" fmla="*/ 307 w 512"/>
              <a:gd name="T3" fmla="*/ 338 h 512"/>
              <a:gd name="T4" fmla="*/ 286 w 512"/>
              <a:gd name="T5" fmla="*/ 338 h 512"/>
              <a:gd name="T6" fmla="*/ 296 w 512"/>
              <a:gd name="T7" fmla="*/ 301 h 512"/>
              <a:gd name="T8" fmla="*/ 298 w 512"/>
              <a:gd name="T9" fmla="*/ 307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237 w 512"/>
              <a:gd name="T21" fmla="*/ 327 h 512"/>
              <a:gd name="T22" fmla="*/ 222 w 512"/>
              <a:gd name="T23" fmla="*/ 327 h 512"/>
              <a:gd name="T24" fmla="*/ 213 w 512"/>
              <a:gd name="T25" fmla="*/ 337 h 512"/>
              <a:gd name="T26" fmla="*/ 213 w 512"/>
              <a:gd name="T27" fmla="*/ 149 h 512"/>
              <a:gd name="T28" fmla="*/ 202 w 512"/>
              <a:gd name="T29" fmla="*/ 138 h 512"/>
              <a:gd name="T30" fmla="*/ 192 w 512"/>
              <a:gd name="T31" fmla="*/ 149 h 512"/>
              <a:gd name="T32" fmla="*/ 192 w 512"/>
              <a:gd name="T33" fmla="*/ 337 h 512"/>
              <a:gd name="T34" fmla="*/ 182 w 512"/>
              <a:gd name="T35" fmla="*/ 327 h 512"/>
              <a:gd name="T36" fmla="*/ 167 w 512"/>
              <a:gd name="T37" fmla="*/ 327 h 512"/>
              <a:gd name="T38" fmla="*/ 167 w 512"/>
              <a:gd name="T39" fmla="*/ 342 h 512"/>
              <a:gd name="T40" fmla="*/ 195 w 512"/>
              <a:gd name="T41" fmla="*/ 370 h 512"/>
              <a:gd name="T42" fmla="*/ 198 w 512"/>
              <a:gd name="T43" fmla="*/ 372 h 512"/>
              <a:gd name="T44" fmla="*/ 202 w 512"/>
              <a:gd name="T45" fmla="*/ 373 h 512"/>
              <a:gd name="T46" fmla="*/ 206 w 512"/>
              <a:gd name="T47" fmla="*/ 372 h 512"/>
              <a:gd name="T48" fmla="*/ 210 w 512"/>
              <a:gd name="T49" fmla="*/ 370 h 512"/>
              <a:gd name="T50" fmla="*/ 237 w 512"/>
              <a:gd name="T51" fmla="*/ 342 h 512"/>
              <a:gd name="T52" fmla="*/ 237 w 512"/>
              <a:gd name="T53" fmla="*/ 327 h 512"/>
              <a:gd name="T54" fmla="*/ 268 w 512"/>
              <a:gd name="T55" fmla="*/ 223 h 512"/>
              <a:gd name="T56" fmla="*/ 330 w 512"/>
              <a:gd name="T57" fmla="*/ 223 h 512"/>
              <a:gd name="T58" fmla="*/ 330 w 512"/>
              <a:gd name="T59" fmla="*/ 208 h 512"/>
              <a:gd name="T60" fmla="*/ 289 w 512"/>
              <a:gd name="T61" fmla="*/ 208 h 512"/>
              <a:gd name="T62" fmla="*/ 329 w 512"/>
              <a:gd name="T63" fmla="*/ 150 h 512"/>
              <a:gd name="T64" fmla="*/ 329 w 512"/>
              <a:gd name="T65" fmla="*/ 138 h 512"/>
              <a:gd name="T66" fmla="*/ 269 w 512"/>
              <a:gd name="T67" fmla="*/ 138 h 512"/>
              <a:gd name="T68" fmla="*/ 269 w 512"/>
              <a:gd name="T69" fmla="*/ 153 h 512"/>
              <a:gd name="T70" fmla="*/ 308 w 512"/>
              <a:gd name="T71" fmla="*/ 153 h 512"/>
              <a:gd name="T72" fmla="*/ 268 w 512"/>
              <a:gd name="T73" fmla="*/ 211 h 512"/>
              <a:gd name="T74" fmla="*/ 268 w 512"/>
              <a:gd name="T75" fmla="*/ 223 h 512"/>
              <a:gd name="T76" fmla="*/ 337 w 512"/>
              <a:gd name="T77" fmla="*/ 373 h 512"/>
              <a:gd name="T78" fmla="*/ 307 w 512"/>
              <a:gd name="T79" fmla="*/ 288 h 512"/>
              <a:gd name="T80" fmla="*/ 285 w 512"/>
              <a:gd name="T81" fmla="*/ 288 h 512"/>
              <a:gd name="T82" fmla="*/ 256 w 512"/>
              <a:gd name="T83" fmla="*/ 373 h 512"/>
              <a:gd name="T84" fmla="*/ 275 w 512"/>
              <a:gd name="T85" fmla="*/ 373 h 512"/>
              <a:gd name="T86" fmla="*/ 281 w 512"/>
              <a:gd name="T87" fmla="*/ 353 h 512"/>
              <a:gd name="T88" fmla="*/ 312 w 512"/>
              <a:gd name="T89" fmla="*/ 353 h 512"/>
              <a:gd name="T90" fmla="*/ 318 w 512"/>
              <a:gd name="T91" fmla="*/ 373 h 512"/>
              <a:gd name="T92" fmla="*/ 337 w 512"/>
              <a:gd name="T9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98" y="307"/>
                </a:moveTo>
                <a:cubicBezTo>
                  <a:pt x="299" y="309"/>
                  <a:pt x="302" y="320"/>
                  <a:pt x="307" y="338"/>
                </a:cubicBezTo>
                <a:cubicBezTo>
                  <a:pt x="286" y="338"/>
                  <a:pt x="286" y="338"/>
                  <a:pt x="286" y="338"/>
                </a:cubicBezTo>
                <a:cubicBezTo>
                  <a:pt x="292" y="319"/>
                  <a:pt x="295" y="306"/>
                  <a:pt x="296" y="301"/>
                </a:cubicBezTo>
                <a:cubicBezTo>
                  <a:pt x="297" y="303"/>
                  <a:pt x="297" y="305"/>
                  <a:pt x="298" y="30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7" y="327"/>
                </a:moveTo>
                <a:cubicBezTo>
                  <a:pt x="233" y="323"/>
                  <a:pt x="227" y="323"/>
                  <a:pt x="222" y="327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13" y="149"/>
                  <a:pt x="213" y="149"/>
                  <a:pt x="213" y="149"/>
                </a:cubicBezTo>
                <a:cubicBezTo>
                  <a:pt x="213" y="143"/>
                  <a:pt x="208" y="138"/>
                  <a:pt x="202" y="138"/>
                </a:cubicBezTo>
                <a:cubicBezTo>
                  <a:pt x="196" y="138"/>
                  <a:pt x="192" y="143"/>
                  <a:pt x="192" y="149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82" y="327"/>
                  <a:pt x="182" y="327"/>
                  <a:pt x="182" y="327"/>
                </a:cubicBezTo>
                <a:cubicBezTo>
                  <a:pt x="178" y="323"/>
                  <a:pt x="171" y="323"/>
                  <a:pt x="167" y="327"/>
                </a:cubicBezTo>
                <a:cubicBezTo>
                  <a:pt x="163" y="331"/>
                  <a:pt x="163" y="338"/>
                  <a:pt x="167" y="342"/>
                </a:cubicBezTo>
                <a:cubicBezTo>
                  <a:pt x="195" y="370"/>
                  <a:pt x="195" y="370"/>
                  <a:pt x="195" y="370"/>
                </a:cubicBezTo>
                <a:cubicBezTo>
                  <a:pt x="196" y="371"/>
                  <a:pt x="197" y="372"/>
                  <a:pt x="198" y="372"/>
                </a:cubicBezTo>
                <a:cubicBezTo>
                  <a:pt x="200" y="373"/>
                  <a:pt x="201" y="373"/>
                  <a:pt x="202" y="373"/>
                </a:cubicBezTo>
                <a:cubicBezTo>
                  <a:pt x="204" y="373"/>
                  <a:pt x="205" y="373"/>
                  <a:pt x="206" y="372"/>
                </a:cubicBezTo>
                <a:cubicBezTo>
                  <a:pt x="208" y="372"/>
                  <a:pt x="209" y="371"/>
                  <a:pt x="210" y="370"/>
                </a:cubicBezTo>
                <a:cubicBezTo>
                  <a:pt x="237" y="342"/>
                  <a:pt x="237" y="342"/>
                  <a:pt x="237" y="342"/>
                </a:cubicBezTo>
                <a:cubicBezTo>
                  <a:pt x="242" y="338"/>
                  <a:pt x="242" y="331"/>
                  <a:pt x="237" y="327"/>
                </a:cubicBezTo>
                <a:close/>
                <a:moveTo>
                  <a:pt x="268" y="223"/>
                </a:moveTo>
                <a:cubicBezTo>
                  <a:pt x="330" y="223"/>
                  <a:pt x="330" y="223"/>
                  <a:pt x="330" y="223"/>
                </a:cubicBezTo>
                <a:cubicBezTo>
                  <a:pt x="330" y="208"/>
                  <a:pt x="330" y="208"/>
                  <a:pt x="330" y="208"/>
                </a:cubicBezTo>
                <a:cubicBezTo>
                  <a:pt x="289" y="208"/>
                  <a:pt x="289" y="208"/>
                  <a:pt x="289" y="208"/>
                </a:cubicBezTo>
                <a:cubicBezTo>
                  <a:pt x="329" y="150"/>
                  <a:pt x="329" y="150"/>
                  <a:pt x="329" y="150"/>
                </a:cubicBezTo>
                <a:cubicBezTo>
                  <a:pt x="329" y="138"/>
                  <a:pt x="329" y="138"/>
                  <a:pt x="329" y="138"/>
                </a:cubicBezTo>
                <a:cubicBezTo>
                  <a:pt x="269" y="138"/>
                  <a:pt x="269" y="138"/>
                  <a:pt x="269" y="138"/>
                </a:cubicBezTo>
                <a:cubicBezTo>
                  <a:pt x="269" y="153"/>
                  <a:pt x="269" y="153"/>
                  <a:pt x="269" y="153"/>
                </a:cubicBezTo>
                <a:cubicBezTo>
                  <a:pt x="308" y="153"/>
                  <a:pt x="308" y="153"/>
                  <a:pt x="308" y="153"/>
                </a:cubicBezTo>
                <a:cubicBezTo>
                  <a:pt x="268" y="211"/>
                  <a:pt x="268" y="211"/>
                  <a:pt x="268" y="211"/>
                </a:cubicBezTo>
                <a:lnTo>
                  <a:pt x="268" y="223"/>
                </a:lnTo>
                <a:close/>
                <a:moveTo>
                  <a:pt x="337" y="373"/>
                </a:moveTo>
                <a:cubicBezTo>
                  <a:pt x="307" y="288"/>
                  <a:pt x="307" y="288"/>
                  <a:pt x="307" y="288"/>
                </a:cubicBezTo>
                <a:cubicBezTo>
                  <a:pt x="285" y="288"/>
                  <a:pt x="285" y="288"/>
                  <a:pt x="285" y="288"/>
                </a:cubicBezTo>
                <a:cubicBezTo>
                  <a:pt x="256" y="373"/>
                  <a:pt x="256" y="373"/>
                  <a:pt x="256" y="373"/>
                </a:cubicBezTo>
                <a:cubicBezTo>
                  <a:pt x="275" y="373"/>
                  <a:pt x="275" y="373"/>
                  <a:pt x="275" y="373"/>
                </a:cubicBezTo>
                <a:cubicBezTo>
                  <a:pt x="281" y="353"/>
                  <a:pt x="281" y="353"/>
                  <a:pt x="281" y="353"/>
                </a:cubicBezTo>
                <a:cubicBezTo>
                  <a:pt x="312" y="353"/>
                  <a:pt x="312" y="353"/>
                  <a:pt x="312" y="353"/>
                </a:cubicBezTo>
                <a:cubicBezTo>
                  <a:pt x="318" y="373"/>
                  <a:pt x="318" y="373"/>
                  <a:pt x="318" y="373"/>
                </a:cubicBezTo>
                <a:lnTo>
                  <a:pt x="337" y="3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4" name="Group 145"/>
          <p:cNvGrpSpPr>
            <a:grpSpLocks noChangeAspect="1"/>
          </p:cNvGrpSpPr>
          <p:nvPr/>
        </p:nvGrpSpPr>
        <p:grpSpPr bwMode="auto">
          <a:xfrm>
            <a:off x="2931814" y="2915582"/>
            <a:ext cx="369676" cy="369676"/>
            <a:chOff x="3490" y="388"/>
            <a:chExt cx="340" cy="340"/>
          </a:xfrm>
          <a:solidFill>
            <a:schemeClr val="accent2"/>
          </a:solidFill>
        </p:grpSpPr>
        <p:sp>
          <p:nvSpPr>
            <p:cNvPr id="395" name="Freeform 146"/>
            <p:cNvSpPr>
              <a:spLocks noEditPoints="1"/>
            </p:cNvSpPr>
            <p:nvPr/>
          </p:nvSpPr>
          <p:spPr bwMode="auto">
            <a:xfrm>
              <a:off x="3490" y="3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6" name="Freeform 147"/>
            <p:cNvSpPr>
              <a:spLocks noEditPoints="1"/>
            </p:cNvSpPr>
            <p:nvPr/>
          </p:nvSpPr>
          <p:spPr bwMode="auto">
            <a:xfrm>
              <a:off x="3598" y="480"/>
              <a:ext cx="116" cy="156"/>
            </a:xfrm>
            <a:custGeom>
              <a:avLst/>
              <a:gdLst>
                <a:gd name="T0" fmla="*/ 74 w 174"/>
                <a:gd name="T1" fmla="*/ 189 h 235"/>
                <a:gd name="T2" fmla="*/ 74 w 174"/>
                <a:gd name="T3" fmla="*/ 204 h 235"/>
                <a:gd name="T4" fmla="*/ 47 w 174"/>
                <a:gd name="T5" fmla="*/ 232 h 235"/>
                <a:gd name="T6" fmla="*/ 43 w 174"/>
                <a:gd name="T7" fmla="*/ 234 h 235"/>
                <a:gd name="T8" fmla="*/ 39 w 174"/>
                <a:gd name="T9" fmla="*/ 235 h 235"/>
                <a:gd name="T10" fmla="*/ 35 w 174"/>
                <a:gd name="T11" fmla="*/ 234 h 235"/>
                <a:gd name="T12" fmla="*/ 32 w 174"/>
                <a:gd name="T13" fmla="*/ 232 h 235"/>
                <a:gd name="T14" fmla="*/ 4 w 174"/>
                <a:gd name="T15" fmla="*/ 204 h 235"/>
                <a:gd name="T16" fmla="*/ 4 w 174"/>
                <a:gd name="T17" fmla="*/ 189 h 235"/>
                <a:gd name="T18" fmla="*/ 19 w 174"/>
                <a:gd name="T19" fmla="*/ 189 h 235"/>
                <a:gd name="T20" fmla="*/ 29 w 174"/>
                <a:gd name="T21" fmla="*/ 199 h 235"/>
                <a:gd name="T22" fmla="*/ 29 w 174"/>
                <a:gd name="T23" fmla="*/ 11 h 235"/>
                <a:gd name="T24" fmla="*/ 39 w 174"/>
                <a:gd name="T25" fmla="*/ 0 h 235"/>
                <a:gd name="T26" fmla="*/ 50 w 174"/>
                <a:gd name="T27" fmla="*/ 11 h 235"/>
                <a:gd name="T28" fmla="*/ 50 w 174"/>
                <a:gd name="T29" fmla="*/ 199 h 235"/>
                <a:gd name="T30" fmla="*/ 59 w 174"/>
                <a:gd name="T31" fmla="*/ 189 h 235"/>
                <a:gd name="T32" fmla="*/ 74 w 174"/>
                <a:gd name="T33" fmla="*/ 189 h 235"/>
                <a:gd name="T34" fmla="*/ 112 w 174"/>
                <a:gd name="T35" fmla="*/ 85 h 235"/>
                <a:gd name="T36" fmla="*/ 93 w 174"/>
                <a:gd name="T37" fmla="*/ 85 h 235"/>
                <a:gd name="T38" fmla="*/ 122 w 174"/>
                <a:gd name="T39" fmla="*/ 0 h 235"/>
                <a:gd name="T40" fmla="*/ 144 w 174"/>
                <a:gd name="T41" fmla="*/ 0 h 235"/>
                <a:gd name="T42" fmla="*/ 174 w 174"/>
                <a:gd name="T43" fmla="*/ 85 h 235"/>
                <a:gd name="T44" fmla="*/ 155 w 174"/>
                <a:gd name="T45" fmla="*/ 85 h 235"/>
                <a:gd name="T46" fmla="*/ 149 w 174"/>
                <a:gd name="T47" fmla="*/ 65 h 235"/>
                <a:gd name="T48" fmla="*/ 118 w 174"/>
                <a:gd name="T49" fmla="*/ 65 h 235"/>
                <a:gd name="T50" fmla="*/ 112 w 174"/>
                <a:gd name="T51" fmla="*/ 85 h 235"/>
                <a:gd name="T52" fmla="*/ 123 w 174"/>
                <a:gd name="T53" fmla="*/ 50 h 235"/>
                <a:gd name="T54" fmla="*/ 144 w 174"/>
                <a:gd name="T55" fmla="*/ 50 h 235"/>
                <a:gd name="T56" fmla="*/ 135 w 174"/>
                <a:gd name="T57" fmla="*/ 19 h 235"/>
                <a:gd name="T58" fmla="*/ 133 w 174"/>
                <a:gd name="T59" fmla="*/ 14 h 235"/>
                <a:gd name="T60" fmla="*/ 123 w 174"/>
                <a:gd name="T61" fmla="*/ 50 h 235"/>
                <a:gd name="T62" fmla="*/ 166 w 174"/>
                <a:gd name="T63" fmla="*/ 162 h 235"/>
                <a:gd name="T64" fmla="*/ 166 w 174"/>
                <a:gd name="T65" fmla="*/ 151 h 235"/>
                <a:gd name="T66" fmla="*/ 106 w 174"/>
                <a:gd name="T67" fmla="*/ 151 h 235"/>
                <a:gd name="T68" fmla="*/ 106 w 174"/>
                <a:gd name="T69" fmla="*/ 165 h 235"/>
                <a:gd name="T70" fmla="*/ 145 w 174"/>
                <a:gd name="T71" fmla="*/ 165 h 235"/>
                <a:gd name="T72" fmla="*/ 105 w 174"/>
                <a:gd name="T73" fmla="*/ 223 h 235"/>
                <a:gd name="T74" fmla="*/ 105 w 174"/>
                <a:gd name="T75" fmla="*/ 235 h 235"/>
                <a:gd name="T76" fmla="*/ 167 w 174"/>
                <a:gd name="T77" fmla="*/ 235 h 235"/>
                <a:gd name="T78" fmla="*/ 167 w 174"/>
                <a:gd name="T79" fmla="*/ 220 h 235"/>
                <a:gd name="T80" fmla="*/ 126 w 174"/>
                <a:gd name="T81" fmla="*/ 220 h 235"/>
                <a:gd name="T82" fmla="*/ 166 w 174"/>
                <a:gd name="T83" fmla="*/ 16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4" h="235">
                  <a:moveTo>
                    <a:pt x="74" y="189"/>
                  </a:moveTo>
                  <a:cubicBezTo>
                    <a:pt x="79" y="193"/>
                    <a:pt x="79" y="200"/>
                    <a:pt x="74" y="204"/>
                  </a:cubicBezTo>
                  <a:cubicBezTo>
                    <a:pt x="47" y="232"/>
                    <a:pt x="47" y="232"/>
                    <a:pt x="47" y="232"/>
                  </a:cubicBezTo>
                  <a:cubicBezTo>
                    <a:pt x="46" y="233"/>
                    <a:pt x="45" y="234"/>
                    <a:pt x="43" y="234"/>
                  </a:cubicBezTo>
                  <a:cubicBezTo>
                    <a:pt x="42" y="235"/>
                    <a:pt x="41" y="235"/>
                    <a:pt x="39" y="235"/>
                  </a:cubicBezTo>
                  <a:cubicBezTo>
                    <a:pt x="38" y="235"/>
                    <a:pt x="37" y="235"/>
                    <a:pt x="35" y="234"/>
                  </a:cubicBezTo>
                  <a:cubicBezTo>
                    <a:pt x="34" y="234"/>
                    <a:pt x="33" y="233"/>
                    <a:pt x="32" y="232"/>
                  </a:cubicBezTo>
                  <a:cubicBezTo>
                    <a:pt x="4" y="204"/>
                    <a:pt x="4" y="204"/>
                    <a:pt x="4" y="204"/>
                  </a:cubicBezTo>
                  <a:cubicBezTo>
                    <a:pt x="0" y="200"/>
                    <a:pt x="0" y="193"/>
                    <a:pt x="4" y="189"/>
                  </a:cubicBezTo>
                  <a:cubicBezTo>
                    <a:pt x="8" y="185"/>
                    <a:pt x="15" y="185"/>
                    <a:pt x="19" y="18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5"/>
                    <a:pt x="33" y="0"/>
                    <a:pt x="39" y="0"/>
                  </a:cubicBezTo>
                  <a:cubicBezTo>
                    <a:pt x="45" y="0"/>
                    <a:pt x="50" y="5"/>
                    <a:pt x="50" y="11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9" y="189"/>
                    <a:pt x="59" y="189"/>
                    <a:pt x="59" y="189"/>
                  </a:cubicBezTo>
                  <a:cubicBezTo>
                    <a:pt x="64" y="185"/>
                    <a:pt x="70" y="185"/>
                    <a:pt x="74" y="189"/>
                  </a:cubicBezTo>
                  <a:close/>
                  <a:moveTo>
                    <a:pt x="112" y="85"/>
                  </a:moveTo>
                  <a:cubicBezTo>
                    <a:pt x="93" y="85"/>
                    <a:pt x="93" y="85"/>
                    <a:pt x="93" y="8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74" y="85"/>
                    <a:pt x="174" y="85"/>
                    <a:pt x="174" y="85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49" y="65"/>
                    <a:pt x="149" y="65"/>
                    <a:pt x="149" y="65"/>
                  </a:cubicBezTo>
                  <a:cubicBezTo>
                    <a:pt x="118" y="65"/>
                    <a:pt x="118" y="65"/>
                    <a:pt x="118" y="65"/>
                  </a:cubicBezTo>
                  <a:lnTo>
                    <a:pt x="112" y="85"/>
                  </a:lnTo>
                  <a:close/>
                  <a:moveTo>
                    <a:pt x="123" y="50"/>
                  </a:moveTo>
                  <a:cubicBezTo>
                    <a:pt x="144" y="50"/>
                    <a:pt x="144" y="50"/>
                    <a:pt x="144" y="50"/>
                  </a:cubicBezTo>
                  <a:cubicBezTo>
                    <a:pt x="139" y="32"/>
                    <a:pt x="136" y="22"/>
                    <a:pt x="135" y="19"/>
                  </a:cubicBezTo>
                  <a:cubicBezTo>
                    <a:pt x="134" y="17"/>
                    <a:pt x="134" y="15"/>
                    <a:pt x="133" y="14"/>
                  </a:cubicBezTo>
                  <a:cubicBezTo>
                    <a:pt x="132" y="18"/>
                    <a:pt x="129" y="31"/>
                    <a:pt x="123" y="50"/>
                  </a:cubicBezTo>
                  <a:close/>
                  <a:moveTo>
                    <a:pt x="166" y="162"/>
                  </a:moveTo>
                  <a:cubicBezTo>
                    <a:pt x="166" y="151"/>
                    <a:pt x="166" y="151"/>
                    <a:pt x="166" y="151"/>
                  </a:cubicBezTo>
                  <a:cubicBezTo>
                    <a:pt x="106" y="151"/>
                    <a:pt x="106" y="151"/>
                    <a:pt x="106" y="151"/>
                  </a:cubicBezTo>
                  <a:cubicBezTo>
                    <a:pt x="106" y="165"/>
                    <a:pt x="106" y="165"/>
                    <a:pt x="106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05" y="223"/>
                    <a:pt x="105" y="223"/>
                    <a:pt x="105" y="223"/>
                  </a:cubicBezTo>
                  <a:cubicBezTo>
                    <a:pt x="105" y="235"/>
                    <a:pt x="105" y="235"/>
                    <a:pt x="105" y="235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7" y="220"/>
                    <a:pt x="167" y="220"/>
                    <a:pt x="167" y="220"/>
                  </a:cubicBezTo>
                  <a:cubicBezTo>
                    <a:pt x="126" y="220"/>
                    <a:pt x="126" y="220"/>
                    <a:pt x="126" y="220"/>
                  </a:cubicBezTo>
                  <a:lnTo>
                    <a:pt x="166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7" name="Freeform 151"/>
          <p:cNvSpPr>
            <a:spLocks noChangeAspect="1" noEditPoints="1"/>
          </p:cNvSpPr>
          <p:nvPr/>
        </p:nvSpPr>
        <p:spPr bwMode="auto">
          <a:xfrm>
            <a:off x="2434712" y="2915582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7 w 512"/>
              <a:gd name="T11" fmla="*/ 342 h 512"/>
              <a:gd name="T12" fmla="*/ 210 w 512"/>
              <a:gd name="T13" fmla="*/ 370 h 512"/>
              <a:gd name="T14" fmla="*/ 206 w 512"/>
              <a:gd name="T15" fmla="*/ 372 h 512"/>
              <a:gd name="T16" fmla="*/ 202 w 512"/>
              <a:gd name="T17" fmla="*/ 373 h 512"/>
              <a:gd name="T18" fmla="*/ 198 w 512"/>
              <a:gd name="T19" fmla="*/ 372 h 512"/>
              <a:gd name="T20" fmla="*/ 195 w 512"/>
              <a:gd name="T21" fmla="*/ 370 h 512"/>
              <a:gd name="T22" fmla="*/ 167 w 512"/>
              <a:gd name="T23" fmla="*/ 342 h 512"/>
              <a:gd name="T24" fmla="*/ 167 w 512"/>
              <a:gd name="T25" fmla="*/ 327 h 512"/>
              <a:gd name="T26" fmla="*/ 182 w 512"/>
              <a:gd name="T27" fmla="*/ 327 h 512"/>
              <a:gd name="T28" fmla="*/ 192 w 512"/>
              <a:gd name="T29" fmla="*/ 337 h 512"/>
              <a:gd name="T30" fmla="*/ 192 w 512"/>
              <a:gd name="T31" fmla="*/ 149 h 512"/>
              <a:gd name="T32" fmla="*/ 202 w 512"/>
              <a:gd name="T33" fmla="*/ 138 h 512"/>
              <a:gd name="T34" fmla="*/ 213 w 512"/>
              <a:gd name="T35" fmla="*/ 149 h 512"/>
              <a:gd name="T36" fmla="*/ 213 w 512"/>
              <a:gd name="T37" fmla="*/ 337 h 512"/>
              <a:gd name="T38" fmla="*/ 222 w 512"/>
              <a:gd name="T39" fmla="*/ 327 h 512"/>
              <a:gd name="T40" fmla="*/ 237 w 512"/>
              <a:gd name="T41" fmla="*/ 327 h 512"/>
              <a:gd name="T42" fmla="*/ 237 w 512"/>
              <a:gd name="T43" fmla="*/ 342 h 512"/>
              <a:gd name="T44" fmla="*/ 330 w 512"/>
              <a:gd name="T45" fmla="*/ 373 h 512"/>
              <a:gd name="T46" fmla="*/ 268 w 512"/>
              <a:gd name="T47" fmla="*/ 373 h 512"/>
              <a:gd name="T48" fmla="*/ 268 w 512"/>
              <a:gd name="T49" fmla="*/ 361 h 512"/>
              <a:gd name="T50" fmla="*/ 308 w 512"/>
              <a:gd name="T51" fmla="*/ 303 h 512"/>
              <a:gd name="T52" fmla="*/ 269 w 512"/>
              <a:gd name="T53" fmla="*/ 303 h 512"/>
              <a:gd name="T54" fmla="*/ 269 w 512"/>
              <a:gd name="T55" fmla="*/ 289 h 512"/>
              <a:gd name="T56" fmla="*/ 329 w 512"/>
              <a:gd name="T57" fmla="*/ 289 h 512"/>
              <a:gd name="T58" fmla="*/ 329 w 512"/>
              <a:gd name="T59" fmla="*/ 300 h 512"/>
              <a:gd name="T60" fmla="*/ 289 w 512"/>
              <a:gd name="T61" fmla="*/ 358 h 512"/>
              <a:gd name="T62" fmla="*/ 330 w 512"/>
              <a:gd name="T63" fmla="*/ 358 h 512"/>
              <a:gd name="T64" fmla="*/ 330 w 512"/>
              <a:gd name="T65" fmla="*/ 373 h 512"/>
              <a:gd name="T66" fmla="*/ 318 w 512"/>
              <a:gd name="T67" fmla="*/ 223 h 512"/>
              <a:gd name="T68" fmla="*/ 312 w 512"/>
              <a:gd name="T69" fmla="*/ 203 h 512"/>
              <a:gd name="T70" fmla="*/ 281 w 512"/>
              <a:gd name="T71" fmla="*/ 203 h 512"/>
              <a:gd name="T72" fmla="*/ 275 w 512"/>
              <a:gd name="T73" fmla="*/ 223 h 512"/>
              <a:gd name="T74" fmla="*/ 256 w 512"/>
              <a:gd name="T75" fmla="*/ 223 h 512"/>
              <a:gd name="T76" fmla="*/ 285 w 512"/>
              <a:gd name="T77" fmla="*/ 138 h 512"/>
              <a:gd name="T78" fmla="*/ 307 w 512"/>
              <a:gd name="T79" fmla="*/ 138 h 512"/>
              <a:gd name="T80" fmla="*/ 337 w 512"/>
              <a:gd name="T81" fmla="*/ 223 h 512"/>
              <a:gd name="T82" fmla="*/ 318 w 512"/>
              <a:gd name="T83" fmla="*/ 223 h 512"/>
              <a:gd name="T84" fmla="*/ 298 w 512"/>
              <a:gd name="T85" fmla="*/ 157 h 512"/>
              <a:gd name="T86" fmla="*/ 307 w 512"/>
              <a:gd name="T87" fmla="*/ 188 h 512"/>
              <a:gd name="T88" fmla="*/ 286 w 512"/>
              <a:gd name="T89" fmla="*/ 188 h 512"/>
              <a:gd name="T90" fmla="*/ 296 w 512"/>
              <a:gd name="T91" fmla="*/ 152 h 512"/>
              <a:gd name="T92" fmla="*/ 298 w 512"/>
              <a:gd name="T93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7" y="342"/>
                </a:moveTo>
                <a:cubicBezTo>
                  <a:pt x="210" y="370"/>
                  <a:pt x="210" y="370"/>
                  <a:pt x="210" y="370"/>
                </a:cubicBezTo>
                <a:cubicBezTo>
                  <a:pt x="209" y="371"/>
                  <a:pt x="208" y="372"/>
                  <a:pt x="206" y="372"/>
                </a:cubicBezTo>
                <a:cubicBezTo>
                  <a:pt x="205" y="373"/>
                  <a:pt x="204" y="373"/>
                  <a:pt x="202" y="373"/>
                </a:cubicBezTo>
                <a:cubicBezTo>
                  <a:pt x="201" y="373"/>
                  <a:pt x="200" y="373"/>
                  <a:pt x="198" y="372"/>
                </a:cubicBezTo>
                <a:cubicBezTo>
                  <a:pt x="197" y="372"/>
                  <a:pt x="196" y="371"/>
                  <a:pt x="195" y="370"/>
                </a:cubicBezTo>
                <a:cubicBezTo>
                  <a:pt x="167" y="342"/>
                  <a:pt x="167" y="342"/>
                  <a:pt x="167" y="342"/>
                </a:cubicBezTo>
                <a:cubicBezTo>
                  <a:pt x="163" y="338"/>
                  <a:pt x="163" y="331"/>
                  <a:pt x="167" y="327"/>
                </a:cubicBezTo>
                <a:cubicBezTo>
                  <a:pt x="171" y="323"/>
                  <a:pt x="178" y="323"/>
                  <a:pt x="182" y="327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92" y="143"/>
                  <a:pt x="196" y="138"/>
                  <a:pt x="202" y="138"/>
                </a:cubicBezTo>
                <a:cubicBezTo>
                  <a:pt x="208" y="138"/>
                  <a:pt x="213" y="143"/>
                  <a:pt x="213" y="149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27" y="323"/>
                  <a:pt x="233" y="323"/>
                  <a:pt x="237" y="327"/>
                </a:cubicBezTo>
                <a:cubicBezTo>
                  <a:pt x="242" y="331"/>
                  <a:pt x="242" y="338"/>
                  <a:pt x="237" y="342"/>
                </a:cubicBezTo>
                <a:close/>
                <a:moveTo>
                  <a:pt x="330" y="373"/>
                </a:moveTo>
                <a:cubicBezTo>
                  <a:pt x="268" y="373"/>
                  <a:pt x="268" y="373"/>
                  <a:pt x="268" y="373"/>
                </a:cubicBezTo>
                <a:cubicBezTo>
                  <a:pt x="268" y="361"/>
                  <a:pt x="268" y="361"/>
                  <a:pt x="268" y="361"/>
                </a:cubicBezTo>
                <a:cubicBezTo>
                  <a:pt x="308" y="303"/>
                  <a:pt x="308" y="303"/>
                  <a:pt x="308" y="303"/>
                </a:cubicBezTo>
                <a:cubicBezTo>
                  <a:pt x="269" y="303"/>
                  <a:pt x="269" y="303"/>
                  <a:pt x="269" y="303"/>
                </a:cubicBezTo>
                <a:cubicBezTo>
                  <a:pt x="269" y="289"/>
                  <a:pt x="269" y="289"/>
                  <a:pt x="269" y="289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29" y="300"/>
                  <a:pt x="329" y="300"/>
                  <a:pt x="329" y="300"/>
                </a:cubicBezTo>
                <a:cubicBezTo>
                  <a:pt x="289" y="358"/>
                  <a:pt x="289" y="358"/>
                  <a:pt x="289" y="358"/>
                </a:cubicBezTo>
                <a:cubicBezTo>
                  <a:pt x="330" y="358"/>
                  <a:pt x="330" y="358"/>
                  <a:pt x="330" y="358"/>
                </a:cubicBezTo>
                <a:lnTo>
                  <a:pt x="330" y="373"/>
                </a:lnTo>
                <a:close/>
                <a:moveTo>
                  <a:pt x="318" y="223"/>
                </a:moveTo>
                <a:cubicBezTo>
                  <a:pt x="312" y="203"/>
                  <a:pt x="312" y="203"/>
                  <a:pt x="312" y="203"/>
                </a:cubicBezTo>
                <a:cubicBezTo>
                  <a:pt x="281" y="203"/>
                  <a:pt x="281" y="203"/>
                  <a:pt x="281" y="203"/>
                </a:cubicBezTo>
                <a:cubicBezTo>
                  <a:pt x="275" y="223"/>
                  <a:pt x="275" y="223"/>
                  <a:pt x="275" y="223"/>
                </a:cubicBezTo>
                <a:cubicBezTo>
                  <a:pt x="256" y="223"/>
                  <a:pt x="256" y="223"/>
                  <a:pt x="256" y="223"/>
                </a:cubicBezTo>
                <a:cubicBezTo>
                  <a:pt x="285" y="138"/>
                  <a:pt x="285" y="138"/>
                  <a:pt x="285" y="138"/>
                </a:cubicBezTo>
                <a:cubicBezTo>
                  <a:pt x="307" y="138"/>
                  <a:pt x="307" y="138"/>
                  <a:pt x="307" y="138"/>
                </a:cubicBezTo>
                <a:cubicBezTo>
                  <a:pt x="337" y="223"/>
                  <a:pt x="337" y="223"/>
                  <a:pt x="337" y="223"/>
                </a:cubicBezTo>
                <a:lnTo>
                  <a:pt x="318" y="223"/>
                </a:lnTo>
                <a:close/>
                <a:moveTo>
                  <a:pt x="298" y="157"/>
                </a:moveTo>
                <a:cubicBezTo>
                  <a:pt x="299" y="160"/>
                  <a:pt x="302" y="170"/>
                  <a:pt x="307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92" y="169"/>
                  <a:pt x="295" y="156"/>
                  <a:pt x="296" y="152"/>
                </a:cubicBezTo>
                <a:cubicBezTo>
                  <a:pt x="297" y="153"/>
                  <a:pt x="297" y="155"/>
                  <a:pt x="298" y="15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8" name="Group 266"/>
          <p:cNvGrpSpPr>
            <a:grpSpLocks noChangeAspect="1"/>
          </p:cNvGrpSpPr>
          <p:nvPr/>
        </p:nvGrpSpPr>
        <p:grpSpPr bwMode="auto">
          <a:xfrm>
            <a:off x="8899212" y="2915582"/>
            <a:ext cx="369676" cy="369676"/>
            <a:chOff x="1926" y="792"/>
            <a:chExt cx="340" cy="340"/>
          </a:xfrm>
          <a:solidFill>
            <a:schemeClr val="accent3"/>
          </a:solidFill>
        </p:grpSpPr>
        <p:sp>
          <p:nvSpPr>
            <p:cNvPr id="399" name="Freeform 267"/>
            <p:cNvSpPr>
              <a:spLocks noEditPoints="1"/>
            </p:cNvSpPr>
            <p:nvPr/>
          </p:nvSpPr>
          <p:spPr bwMode="auto">
            <a:xfrm>
              <a:off x="1926" y="7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0" name="Freeform 268"/>
            <p:cNvSpPr>
              <a:spLocks noEditPoints="1"/>
            </p:cNvSpPr>
            <p:nvPr/>
          </p:nvSpPr>
          <p:spPr bwMode="auto">
            <a:xfrm>
              <a:off x="1996" y="875"/>
              <a:ext cx="196" cy="157"/>
            </a:xfrm>
            <a:custGeom>
              <a:avLst/>
              <a:gdLst>
                <a:gd name="T0" fmla="*/ 75 w 295"/>
                <a:gd name="T1" fmla="*/ 163 h 237"/>
                <a:gd name="T2" fmla="*/ 118 w 295"/>
                <a:gd name="T3" fmla="*/ 120 h 237"/>
                <a:gd name="T4" fmla="*/ 75 w 295"/>
                <a:gd name="T5" fmla="*/ 77 h 237"/>
                <a:gd name="T6" fmla="*/ 32 w 295"/>
                <a:gd name="T7" fmla="*/ 120 h 237"/>
                <a:gd name="T8" fmla="*/ 75 w 295"/>
                <a:gd name="T9" fmla="*/ 163 h 237"/>
                <a:gd name="T10" fmla="*/ 75 w 295"/>
                <a:gd name="T11" fmla="*/ 99 h 237"/>
                <a:gd name="T12" fmla="*/ 96 w 295"/>
                <a:gd name="T13" fmla="*/ 120 h 237"/>
                <a:gd name="T14" fmla="*/ 75 w 295"/>
                <a:gd name="T15" fmla="*/ 141 h 237"/>
                <a:gd name="T16" fmla="*/ 54 w 295"/>
                <a:gd name="T17" fmla="*/ 120 h 237"/>
                <a:gd name="T18" fmla="*/ 75 w 295"/>
                <a:gd name="T19" fmla="*/ 99 h 237"/>
                <a:gd name="T20" fmla="*/ 171 w 295"/>
                <a:gd name="T21" fmla="*/ 90 h 237"/>
                <a:gd name="T22" fmla="*/ 182 w 295"/>
                <a:gd name="T23" fmla="*/ 119 h 237"/>
                <a:gd name="T24" fmla="*/ 171 w 295"/>
                <a:gd name="T25" fmla="*/ 148 h 237"/>
                <a:gd name="T26" fmla="*/ 163 w 295"/>
                <a:gd name="T27" fmla="*/ 151 h 237"/>
                <a:gd name="T28" fmla="*/ 156 w 295"/>
                <a:gd name="T29" fmla="*/ 149 h 237"/>
                <a:gd name="T30" fmla="*/ 155 w 295"/>
                <a:gd name="T31" fmla="*/ 133 h 237"/>
                <a:gd name="T32" fmla="*/ 161 w 295"/>
                <a:gd name="T33" fmla="*/ 119 h 237"/>
                <a:gd name="T34" fmla="*/ 155 w 295"/>
                <a:gd name="T35" fmla="*/ 105 h 237"/>
                <a:gd name="T36" fmla="*/ 156 w 295"/>
                <a:gd name="T37" fmla="*/ 90 h 237"/>
                <a:gd name="T38" fmla="*/ 171 w 295"/>
                <a:gd name="T39" fmla="*/ 90 h 237"/>
                <a:gd name="T40" fmla="*/ 239 w 295"/>
                <a:gd name="T41" fmla="*/ 119 h 237"/>
                <a:gd name="T42" fmla="*/ 204 w 295"/>
                <a:gd name="T43" fmla="*/ 192 h 237"/>
                <a:gd name="T44" fmla="*/ 197 w 295"/>
                <a:gd name="T45" fmla="*/ 194 h 237"/>
                <a:gd name="T46" fmla="*/ 189 w 295"/>
                <a:gd name="T47" fmla="*/ 191 h 237"/>
                <a:gd name="T48" fmla="*/ 190 w 295"/>
                <a:gd name="T49" fmla="*/ 176 h 237"/>
                <a:gd name="T50" fmla="*/ 217 w 295"/>
                <a:gd name="T51" fmla="*/ 119 h 237"/>
                <a:gd name="T52" fmla="*/ 190 w 295"/>
                <a:gd name="T53" fmla="*/ 63 h 237"/>
                <a:gd name="T54" fmla="*/ 189 w 295"/>
                <a:gd name="T55" fmla="*/ 48 h 237"/>
                <a:gd name="T56" fmla="*/ 204 w 295"/>
                <a:gd name="T57" fmla="*/ 47 h 237"/>
                <a:gd name="T58" fmla="*/ 239 w 295"/>
                <a:gd name="T59" fmla="*/ 119 h 237"/>
                <a:gd name="T60" fmla="*/ 295 w 295"/>
                <a:gd name="T61" fmla="*/ 119 h 237"/>
                <a:gd name="T62" fmla="*/ 238 w 295"/>
                <a:gd name="T63" fmla="*/ 235 h 237"/>
                <a:gd name="T64" fmla="*/ 231 w 295"/>
                <a:gd name="T65" fmla="*/ 237 h 237"/>
                <a:gd name="T66" fmla="*/ 223 w 295"/>
                <a:gd name="T67" fmla="*/ 233 h 237"/>
                <a:gd name="T68" fmla="*/ 225 w 295"/>
                <a:gd name="T69" fmla="*/ 218 h 237"/>
                <a:gd name="T70" fmla="*/ 274 w 295"/>
                <a:gd name="T71" fmla="*/ 119 h 237"/>
                <a:gd name="T72" fmla="*/ 225 w 295"/>
                <a:gd name="T73" fmla="*/ 20 h 237"/>
                <a:gd name="T74" fmla="*/ 223 w 295"/>
                <a:gd name="T75" fmla="*/ 5 h 237"/>
                <a:gd name="T76" fmla="*/ 238 w 295"/>
                <a:gd name="T77" fmla="*/ 3 h 237"/>
                <a:gd name="T78" fmla="*/ 295 w 295"/>
                <a:gd name="T79" fmla="*/ 119 h 237"/>
                <a:gd name="T80" fmla="*/ 150 w 295"/>
                <a:gd name="T81" fmla="*/ 195 h 237"/>
                <a:gd name="T82" fmla="*/ 150 w 295"/>
                <a:gd name="T83" fmla="*/ 227 h 237"/>
                <a:gd name="T84" fmla="*/ 139 w 295"/>
                <a:gd name="T85" fmla="*/ 237 h 237"/>
                <a:gd name="T86" fmla="*/ 128 w 295"/>
                <a:gd name="T87" fmla="*/ 227 h 237"/>
                <a:gd name="T88" fmla="*/ 128 w 295"/>
                <a:gd name="T89" fmla="*/ 205 h 237"/>
                <a:gd name="T90" fmla="*/ 22 w 295"/>
                <a:gd name="T91" fmla="*/ 205 h 237"/>
                <a:gd name="T92" fmla="*/ 22 w 295"/>
                <a:gd name="T93" fmla="*/ 227 h 237"/>
                <a:gd name="T94" fmla="*/ 11 w 295"/>
                <a:gd name="T95" fmla="*/ 237 h 237"/>
                <a:gd name="T96" fmla="*/ 0 w 295"/>
                <a:gd name="T97" fmla="*/ 227 h 237"/>
                <a:gd name="T98" fmla="*/ 0 w 295"/>
                <a:gd name="T99" fmla="*/ 195 h 237"/>
                <a:gd name="T100" fmla="*/ 11 w 295"/>
                <a:gd name="T101" fmla="*/ 184 h 237"/>
                <a:gd name="T102" fmla="*/ 139 w 295"/>
                <a:gd name="T103" fmla="*/ 184 h 237"/>
                <a:gd name="T104" fmla="*/ 150 w 295"/>
                <a:gd name="T105" fmla="*/ 19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5" h="237">
                  <a:moveTo>
                    <a:pt x="75" y="163"/>
                  </a:moveTo>
                  <a:cubicBezTo>
                    <a:pt x="99" y="163"/>
                    <a:pt x="118" y="144"/>
                    <a:pt x="118" y="120"/>
                  </a:cubicBezTo>
                  <a:cubicBezTo>
                    <a:pt x="118" y="96"/>
                    <a:pt x="99" y="77"/>
                    <a:pt x="75" y="77"/>
                  </a:cubicBezTo>
                  <a:cubicBezTo>
                    <a:pt x="51" y="77"/>
                    <a:pt x="32" y="96"/>
                    <a:pt x="32" y="120"/>
                  </a:cubicBezTo>
                  <a:cubicBezTo>
                    <a:pt x="32" y="144"/>
                    <a:pt x="51" y="163"/>
                    <a:pt x="75" y="163"/>
                  </a:cubicBezTo>
                  <a:close/>
                  <a:moveTo>
                    <a:pt x="75" y="99"/>
                  </a:moveTo>
                  <a:cubicBezTo>
                    <a:pt x="87" y="99"/>
                    <a:pt x="96" y="108"/>
                    <a:pt x="96" y="120"/>
                  </a:cubicBezTo>
                  <a:cubicBezTo>
                    <a:pt x="96" y="132"/>
                    <a:pt x="87" y="141"/>
                    <a:pt x="75" y="141"/>
                  </a:cubicBezTo>
                  <a:cubicBezTo>
                    <a:pt x="63" y="141"/>
                    <a:pt x="54" y="132"/>
                    <a:pt x="54" y="120"/>
                  </a:cubicBezTo>
                  <a:cubicBezTo>
                    <a:pt x="54" y="108"/>
                    <a:pt x="63" y="99"/>
                    <a:pt x="75" y="99"/>
                  </a:cubicBezTo>
                  <a:close/>
                  <a:moveTo>
                    <a:pt x="171" y="90"/>
                  </a:moveTo>
                  <a:cubicBezTo>
                    <a:pt x="178" y="98"/>
                    <a:pt x="182" y="109"/>
                    <a:pt x="182" y="119"/>
                  </a:cubicBezTo>
                  <a:cubicBezTo>
                    <a:pt x="182" y="130"/>
                    <a:pt x="178" y="140"/>
                    <a:pt x="171" y="148"/>
                  </a:cubicBezTo>
                  <a:cubicBezTo>
                    <a:pt x="169" y="150"/>
                    <a:pt x="166" y="151"/>
                    <a:pt x="163" y="151"/>
                  </a:cubicBezTo>
                  <a:cubicBezTo>
                    <a:pt x="160" y="151"/>
                    <a:pt x="158" y="150"/>
                    <a:pt x="156" y="149"/>
                  </a:cubicBezTo>
                  <a:cubicBezTo>
                    <a:pt x="151" y="144"/>
                    <a:pt x="151" y="138"/>
                    <a:pt x="155" y="133"/>
                  </a:cubicBezTo>
                  <a:cubicBezTo>
                    <a:pt x="159" y="130"/>
                    <a:pt x="161" y="124"/>
                    <a:pt x="161" y="119"/>
                  </a:cubicBezTo>
                  <a:cubicBezTo>
                    <a:pt x="161" y="114"/>
                    <a:pt x="159" y="109"/>
                    <a:pt x="155" y="105"/>
                  </a:cubicBezTo>
                  <a:cubicBezTo>
                    <a:pt x="151" y="101"/>
                    <a:pt x="151" y="94"/>
                    <a:pt x="156" y="90"/>
                  </a:cubicBezTo>
                  <a:cubicBezTo>
                    <a:pt x="160" y="86"/>
                    <a:pt x="167" y="86"/>
                    <a:pt x="171" y="90"/>
                  </a:cubicBezTo>
                  <a:close/>
                  <a:moveTo>
                    <a:pt x="239" y="119"/>
                  </a:moveTo>
                  <a:cubicBezTo>
                    <a:pt x="239" y="147"/>
                    <a:pt x="226" y="174"/>
                    <a:pt x="204" y="192"/>
                  </a:cubicBezTo>
                  <a:cubicBezTo>
                    <a:pt x="202" y="194"/>
                    <a:pt x="200" y="194"/>
                    <a:pt x="197" y="194"/>
                  </a:cubicBezTo>
                  <a:cubicBezTo>
                    <a:pt x="194" y="194"/>
                    <a:pt x="191" y="193"/>
                    <a:pt x="189" y="191"/>
                  </a:cubicBezTo>
                  <a:cubicBezTo>
                    <a:pt x="185" y="186"/>
                    <a:pt x="186" y="179"/>
                    <a:pt x="190" y="176"/>
                  </a:cubicBezTo>
                  <a:cubicBezTo>
                    <a:pt x="207" y="161"/>
                    <a:pt x="217" y="141"/>
                    <a:pt x="217" y="119"/>
                  </a:cubicBezTo>
                  <a:cubicBezTo>
                    <a:pt x="217" y="98"/>
                    <a:pt x="207" y="77"/>
                    <a:pt x="190" y="63"/>
                  </a:cubicBezTo>
                  <a:cubicBezTo>
                    <a:pt x="186" y="59"/>
                    <a:pt x="185" y="52"/>
                    <a:pt x="189" y="48"/>
                  </a:cubicBezTo>
                  <a:cubicBezTo>
                    <a:pt x="193" y="43"/>
                    <a:pt x="200" y="43"/>
                    <a:pt x="204" y="47"/>
                  </a:cubicBezTo>
                  <a:cubicBezTo>
                    <a:pt x="226" y="65"/>
                    <a:pt x="239" y="91"/>
                    <a:pt x="239" y="119"/>
                  </a:cubicBezTo>
                  <a:close/>
                  <a:moveTo>
                    <a:pt x="295" y="119"/>
                  </a:moveTo>
                  <a:cubicBezTo>
                    <a:pt x="295" y="164"/>
                    <a:pt x="274" y="206"/>
                    <a:pt x="238" y="235"/>
                  </a:cubicBezTo>
                  <a:cubicBezTo>
                    <a:pt x="236" y="237"/>
                    <a:pt x="234" y="237"/>
                    <a:pt x="231" y="237"/>
                  </a:cubicBezTo>
                  <a:cubicBezTo>
                    <a:pt x="228" y="237"/>
                    <a:pt x="225" y="236"/>
                    <a:pt x="223" y="233"/>
                  </a:cubicBezTo>
                  <a:cubicBezTo>
                    <a:pt x="219" y="229"/>
                    <a:pt x="220" y="222"/>
                    <a:pt x="225" y="218"/>
                  </a:cubicBezTo>
                  <a:cubicBezTo>
                    <a:pt x="256" y="194"/>
                    <a:pt x="274" y="158"/>
                    <a:pt x="274" y="119"/>
                  </a:cubicBezTo>
                  <a:cubicBezTo>
                    <a:pt x="274" y="81"/>
                    <a:pt x="256" y="45"/>
                    <a:pt x="225" y="20"/>
                  </a:cubicBezTo>
                  <a:cubicBezTo>
                    <a:pt x="220" y="17"/>
                    <a:pt x="219" y="10"/>
                    <a:pt x="223" y="5"/>
                  </a:cubicBezTo>
                  <a:cubicBezTo>
                    <a:pt x="227" y="1"/>
                    <a:pt x="233" y="0"/>
                    <a:pt x="238" y="3"/>
                  </a:cubicBezTo>
                  <a:cubicBezTo>
                    <a:pt x="274" y="32"/>
                    <a:pt x="295" y="74"/>
                    <a:pt x="295" y="119"/>
                  </a:cubicBezTo>
                  <a:close/>
                  <a:moveTo>
                    <a:pt x="150" y="195"/>
                  </a:moveTo>
                  <a:cubicBezTo>
                    <a:pt x="150" y="227"/>
                    <a:pt x="150" y="227"/>
                    <a:pt x="150" y="227"/>
                  </a:cubicBezTo>
                  <a:cubicBezTo>
                    <a:pt x="150" y="233"/>
                    <a:pt x="145" y="237"/>
                    <a:pt x="139" y="237"/>
                  </a:cubicBezTo>
                  <a:cubicBezTo>
                    <a:pt x="133" y="237"/>
                    <a:pt x="128" y="233"/>
                    <a:pt x="128" y="227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22" y="205"/>
                    <a:pt x="22" y="205"/>
                    <a:pt x="22" y="205"/>
                  </a:cubicBezTo>
                  <a:cubicBezTo>
                    <a:pt x="22" y="227"/>
                    <a:pt x="22" y="227"/>
                    <a:pt x="22" y="227"/>
                  </a:cubicBezTo>
                  <a:cubicBezTo>
                    <a:pt x="22" y="233"/>
                    <a:pt x="17" y="237"/>
                    <a:pt x="11" y="237"/>
                  </a:cubicBezTo>
                  <a:cubicBezTo>
                    <a:pt x="5" y="237"/>
                    <a:pt x="0" y="233"/>
                    <a:pt x="0" y="227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189"/>
                    <a:pt x="5" y="184"/>
                    <a:pt x="11" y="184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45" y="184"/>
                    <a:pt x="150" y="189"/>
                    <a:pt x="150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1" name="Freeform 272"/>
          <p:cNvSpPr>
            <a:spLocks noChangeAspect="1" noEditPoints="1"/>
          </p:cNvSpPr>
          <p:nvPr/>
        </p:nvSpPr>
        <p:spPr bwMode="auto">
          <a:xfrm>
            <a:off x="8402110" y="2915582"/>
            <a:ext cx="369676" cy="369676"/>
          </a:xfrm>
          <a:custGeom>
            <a:avLst/>
            <a:gdLst>
              <a:gd name="T0" fmla="*/ 160 w 512"/>
              <a:gd name="T1" fmla="*/ 245 h 512"/>
              <a:gd name="T2" fmla="*/ 181 w 512"/>
              <a:gd name="T3" fmla="*/ 224 h 512"/>
              <a:gd name="T4" fmla="*/ 202 w 512"/>
              <a:gd name="T5" fmla="*/ 245 h 512"/>
              <a:gd name="T6" fmla="*/ 181 w 512"/>
              <a:gd name="T7" fmla="*/ 266 h 512"/>
              <a:gd name="T8" fmla="*/ 160 w 512"/>
              <a:gd name="T9" fmla="*/ 245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138 w 512"/>
              <a:gd name="T21" fmla="*/ 245 h 512"/>
              <a:gd name="T22" fmla="*/ 181 w 512"/>
              <a:gd name="T23" fmla="*/ 288 h 512"/>
              <a:gd name="T24" fmla="*/ 224 w 512"/>
              <a:gd name="T25" fmla="*/ 245 h 512"/>
              <a:gd name="T26" fmla="*/ 181 w 512"/>
              <a:gd name="T27" fmla="*/ 202 h 512"/>
              <a:gd name="T28" fmla="*/ 138 w 512"/>
              <a:gd name="T29" fmla="*/ 245 h 512"/>
              <a:gd name="T30" fmla="*/ 256 w 512"/>
              <a:gd name="T31" fmla="*/ 320 h 512"/>
              <a:gd name="T32" fmla="*/ 245 w 512"/>
              <a:gd name="T33" fmla="*/ 309 h 512"/>
              <a:gd name="T34" fmla="*/ 117 w 512"/>
              <a:gd name="T35" fmla="*/ 309 h 512"/>
              <a:gd name="T36" fmla="*/ 106 w 512"/>
              <a:gd name="T37" fmla="*/ 320 h 512"/>
              <a:gd name="T38" fmla="*/ 106 w 512"/>
              <a:gd name="T39" fmla="*/ 352 h 512"/>
              <a:gd name="T40" fmla="*/ 117 w 512"/>
              <a:gd name="T41" fmla="*/ 362 h 512"/>
              <a:gd name="T42" fmla="*/ 128 w 512"/>
              <a:gd name="T43" fmla="*/ 352 h 512"/>
              <a:gd name="T44" fmla="*/ 128 w 512"/>
              <a:gd name="T45" fmla="*/ 330 h 512"/>
              <a:gd name="T46" fmla="*/ 234 w 512"/>
              <a:gd name="T47" fmla="*/ 330 h 512"/>
              <a:gd name="T48" fmla="*/ 234 w 512"/>
              <a:gd name="T49" fmla="*/ 352 h 512"/>
              <a:gd name="T50" fmla="*/ 245 w 512"/>
              <a:gd name="T51" fmla="*/ 362 h 512"/>
              <a:gd name="T52" fmla="*/ 256 w 512"/>
              <a:gd name="T53" fmla="*/ 352 h 512"/>
              <a:gd name="T54" fmla="*/ 256 w 512"/>
              <a:gd name="T55" fmla="*/ 320 h 512"/>
              <a:gd name="T56" fmla="*/ 288 w 512"/>
              <a:gd name="T57" fmla="*/ 244 h 512"/>
              <a:gd name="T58" fmla="*/ 277 w 512"/>
              <a:gd name="T59" fmla="*/ 215 h 512"/>
              <a:gd name="T60" fmla="*/ 262 w 512"/>
              <a:gd name="T61" fmla="*/ 215 h 512"/>
              <a:gd name="T62" fmla="*/ 261 w 512"/>
              <a:gd name="T63" fmla="*/ 230 h 512"/>
              <a:gd name="T64" fmla="*/ 267 w 512"/>
              <a:gd name="T65" fmla="*/ 244 h 512"/>
              <a:gd name="T66" fmla="*/ 261 w 512"/>
              <a:gd name="T67" fmla="*/ 258 h 512"/>
              <a:gd name="T68" fmla="*/ 262 w 512"/>
              <a:gd name="T69" fmla="*/ 274 h 512"/>
              <a:gd name="T70" fmla="*/ 269 w 512"/>
              <a:gd name="T71" fmla="*/ 276 h 512"/>
              <a:gd name="T72" fmla="*/ 277 w 512"/>
              <a:gd name="T73" fmla="*/ 273 h 512"/>
              <a:gd name="T74" fmla="*/ 288 w 512"/>
              <a:gd name="T75" fmla="*/ 244 h 512"/>
              <a:gd name="T76" fmla="*/ 345 w 512"/>
              <a:gd name="T77" fmla="*/ 244 h 512"/>
              <a:gd name="T78" fmla="*/ 310 w 512"/>
              <a:gd name="T79" fmla="*/ 172 h 512"/>
              <a:gd name="T80" fmla="*/ 295 w 512"/>
              <a:gd name="T81" fmla="*/ 173 h 512"/>
              <a:gd name="T82" fmla="*/ 296 w 512"/>
              <a:gd name="T83" fmla="*/ 188 h 512"/>
              <a:gd name="T84" fmla="*/ 323 w 512"/>
              <a:gd name="T85" fmla="*/ 244 h 512"/>
              <a:gd name="T86" fmla="*/ 296 w 512"/>
              <a:gd name="T87" fmla="*/ 301 h 512"/>
              <a:gd name="T88" fmla="*/ 295 w 512"/>
              <a:gd name="T89" fmla="*/ 316 h 512"/>
              <a:gd name="T90" fmla="*/ 303 w 512"/>
              <a:gd name="T91" fmla="*/ 319 h 512"/>
              <a:gd name="T92" fmla="*/ 310 w 512"/>
              <a:gd name="T93" fmla="*/ 317 h 512"/>
              <a:gd name="T94" fmla="*/ 345 w 512"/>
              <a:gd name="T95" fmla="*/ 244 h 512"/>
              <a:gd name="T96" fmla="*/ 401 w 512"/>
              <a:gd name="T97" fmla="*/ 244 h 512"/>
              <a:gd name="T98" fmla="*/ 344 w 512"/>
              <a:gd name="T99" fmla="*/ 128 h 512"/>
              <a:gd name="T100" fmla="*/ 329 w 512"/>
              <a:gd name="T101" fmla="*/ 130 h 512"/>
              <a:gd name="T102" fmla="*/ 331 w 512"/>
              <a:gd name="T103" fmla="*/ 145 h 512"/>
              <a:gd name="T104" fmla="*/ 380 w 512"/>
              <a:gd name="T105" fmla="*/ 244 h 512"/>
              <a:gd name="T106" fmla="*/ 331 w 512"/>
              <a:gd name="T107" fmla="*/ 343 h 512"/>
              <a:gd name="T108" fmla="*/ 329 w 512"/>
              <a:gd name="T109" fmla="*/ 358 h 512"/>
              <a:gd name="T110" fmla="*/ 337 w 512"/>
              <a:gd name="T111" fmla="*/ 362 h 512"/>
              <a:gd name="T112" fmla="*/ 344 w 512"/>
              <a:gd name="T113" fmla="*/ 360 h 512"/>
              <a:gd name="T114" fmla="*/ 401 w 512"/>
              <a:gd name="T115" fmla="*/ 24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60" y="245"/>
                </a:moveTo>
                <a:cubicBezTo>
                  <a:pt x="160" y="233"/>
                  <a:pt x="169" y="224"/>
                  <a:pt x="181" y="224"/>
                </a:cubicBezTo>
                <a:cubicBezTo>
                  <a:pt x="193" y="224"/>
                  <a:pt x="202" y="233"/>
                  <a:pt x="202" y="245"/>
                </a:cubicBezTo>
                <a:cubicBezTo>
                  <a:pt x="202" y="257"/>
                  <a:pt x="193" y="266"/>
                  <a:pt x="181" y="266"/>
                </a:cubicBezTo>
                <a:cubicBezTo>
                  <a:pt x="169" y="266"/>
                  <a:pt x="160" y="257"/>
                  <a:pt x="160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38" y="245"/>
                </a:moveTo>
                <a:cubicBezTo>
                  <a:pt x="138" y="269"/>
                  <a:pt x="157" y="288"/>
                  <a:pt x="181" y="288"/>
                </a:cubicBezTo>
                <a:cubicBezTo>
                  <a:pt x="205" y="288"/>
                  <a:pt x="224" y="269"/>
                  <a:pt x="224" y="245"/>
                </a:cubicBezTo>
                <a:cubicBezTo>
                  <a:pt x="224" y="221"/>
                  <a:pt x="205" y="202"/>
                  <a:pt x="181" y="202"/>
                </a:cubicBezTo>
                <a:cubicBezTo>
                  <a:pt x="157" y="202"/>
                  <a:pt x="138" y="221"/>
                  <a:pt x="138" y="245"/>
                </a:cubicBezTo>
                <a:close/>
                <a:moveTo>
                  <a:pt x="256" y="320"/>
                </a:moveTo>
                <a:cubicBezTo>
                  <a:pt x="256" y="314"/>
                  <a:pt x="251" y="309"/>
                  <a:pt x="245" y="309"/>
                </a:cubicBezTo>
                <a:cubicBezTo>
                  <a:pt x="117" y="309"/>
                  <a:pt x="117" y="309"/>
                  <a:pt x="117" y="309"/>
                </a:cubicBezTo>
                <a:cubicBezTo>
                  <a:pt x="111" y="309"/>
                  <a:pt x="106" y="314"/>
                  <a:pt x="106" y="320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6" y="358"/>
                  <a:pt x="111" y="362"/>
                  <a:pt x="117" y="362"/>
                </a:cubicBezTo>
                <a:cubicBezTo>
                  <a:pt x="123" y="362"/>
                  <a:pt x="128" y="358"/>
                  <a:pt x="128" y="352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4" y="352"/>
                  <a:pt x="234" y="352"/>
                  <a:pt x="234" y="352"/>
                </a:cubicBezTo>
                <a:cubicBezTo>
                  <a:pt x="234" y="358"/>
                  <a:pt x="239" y="362"/>
                  <a:pt x="245" y="362"/>
                </a:cubicBezTo>
                <a:cubicBezTo>
                  <a:pt x="251" y="362"/>
                  <a:pt x="256" y="358"/>
                  <a:pt x="256" y="352"/>
                </a:cubicBezTo>
                <a:lnTo>
                  <a:pt x="256" y="320"/>
                </a:lnTo>
                <a:close/>
                <a:moveTo>
                  <a:pt x="288" y="244"/>
                </a:moveTo>
                <a:cubicBezTo>
                  <a:pt x="288" y="234"/>
                  <a:pt x="284" y="223"/>
                  <a:pt x="277" y="215"/>
                </a:cubicBezTo>
                <a:cubicBezTo>
                  <a:pt x="273" y="211"/>
                  <a:pt x="266" y="211"/>
                  <a:pt x="262" y="215"/>
                </a:cubicBezTo>
                <a:cubicBezTo>
                  <a:pt x="257" y="219"/>
                  <a:pt x="257" y="226"/>
                  <a:pt x="261" y="230"/>
                </a:cubicBezTo>
                <a:cubicBezTo>
                  <a:pt x="265" y="234"/>
                  <a:pt x="267" y="239"/>
                  <a:pt x="267" y="244"/>
                </a:cubicBezTo>
                <a:cubicBezTo>
                  <a:pt x="267" y="249"/>
                  <a:pt x="265" y="255"/>
                  <a:pt x="261" y="258"/>
                </a:cubicBezTo>
                <a:cubicBezTo>
                  <a:pt x="257" y="263"/>
                  <a:pt x="257" y="269"/>
                  <a:pt x="262" y="274"/>
                </a:cubicBezTo>
                <a:cubicBezTo>
                  <a:pt x="264" y="275"/>
                  <a:pt x="266" y="276"/>
                  <a:pt x="269" y="276"/>
                </a:cubicBezTo>
                <a:cubicBezTo>
                  <a:pt x="272" y="276"/>
                  <a:pt x="275" y="275"/>
                  <a:pt x="277" y="273"/>
                </a:cubicBezTo>
                <a:cubicBezTo>
                  <a:pt x="284" y="265"/>
                  <a:pt x="288" y="255"/>
                  <a:pt x="288" y="244"/>
                </a:cubicBezTo>
                <a:close/>
                <a:moveTo>
                  <a:pt x="345" y="244"/>
                </a:moveTo>
                <a:cubicBezTo>
                  <a:pt x="345" y="216"/>
                  <a:pt x="332" y="190"/>
                  <a:pt x="310" y="172"/>
                </a:cubicBezTo>
                <a:cubicBezTo>
                  <a:pt x="306" y="168"/>
                  <a:pt x="299" y="168"/>
                  <a:pt x="295" y="173"/>
                </a:cubicBezTo>
                <a:cubicBezTo>
                  <a:pt x="291" y="177"/>
                  <a:pt x="292" y="184"/>
                  <a:pt x="296" y="188"/>
                </a:cubicBezTo>
                <a:cubicBezTo>
                  <a:pt x="313" y="202"/>
                  <a:pt x="323" y="223"/>
                  <a:pt x="323" y="244"/>
                </a:cubicBezTo>
                <a:cubicBezTo>
                  <a:pt x="323" y="266"/>
                  <a:pt x="313" y="286"/>
                  <a:pt x="296" y="301"/>
                </a:cubicBezTo>
                <a:cubicBezTo>
                  <a:pt x="292" y="304"/>
                  <a:pt x="291" y="311"/>
                  <a:pt x="295" y="316"/>
                </a:cubicBezTo>
                <a:cubicBezTo>
                  <a:pt x="297" y="318"/>
                  <a:pt x="300" y="319"/>
                  <a:pt x="303" y="319"/>
                </a:cubicBezTo>
                <a:cubicBezTo>
                  <a:pt x="306" y="319"/>
                  <a:pt x="308" y="319"/>
                  <a:pt x="310" y="317"/>
                </a:cubicBezTo>
                <a:cubicBezTo>
                  <a:pt x="332" y="299"/>
                  <a:pt x="345" y="272"/>
                  <a:pt x="345" y="244"/>
                </a:cubicBezTo>
                <a:close/>
                <a:moveTo>
                  <a:pt x="401" y="244"/>
                </a:moveTo>
                <a:cubicBezTo>
                  <a:pt x="401" y="199"/>
                  <a:pt x="380" y="157"/>
                  <a:pt x="344" y="128"/>
                </a:cubicBezTo>
                <a:cubicBezTo>
                  <a:pt x="339" y="125"/>
                  <a:pt x="333" y="126"/>
                  <a:pt x="329" y="130"/>
                </a:cubicBezTo>
                <a:cubicBezTo>
                  <a:pt x="325" y="135"/>
                  <a:pt x="326" y="142"/>
                  <a:pt x="331" y="145"/>
                </a:cubicBezTo>
                <a:cubicBezTo>
                  <a:pt x="362" y="170"/>
                  <a:pt x="380" y="206"/>
                  <a:pt x="380" y="244"/>
                </a:cubicBezTo>
                <a:cubicBezTo>
                  <a:pt x="380" y="283"/>
                  <a:pt x="362" y="319"/>
                  <a:pt x="331" y="343"/>
                </a:cubicBezTo>
                <a:cubicBezTo>
                  <a:pt x="326" y="347"/>
                  <a:pt x="325" y="354"/>
                  <a:pt x="329" y="358"/>
                </a:cubicBezTo>
                <a:cubicBezTo>
                  <a:pt x="331" y="361"/>
                  <a:pt x="334" y="362"/>
                  <a:pt x="337" y="362"/>
                </a:cubicBezTo>
                <a:cubicBezTo>
                  <a:pt x="340" y="362"/>
                  <a:pt x="342" y="362"/>
                  <a:pt x="344" y="360"/>
                </a:cubicBezTo>
                <a:cubicBezTo>
                  <a:pt x="380" y="331"/>
                  <a:pt x="401" y="289"/>
                  <a:pt x="401" y="24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0" name="Group 387"/>
          <p:cNvGrpSpPr>
            <a:grpSpLocks noChangeAspect="1"/>
          </p:cNvGrpSpPr>
          <p:nvPr/>
        </p:nvGrpSpPr>
        <p:grpSpPr bwMode="auto">
          <a:xfrm>
            <a:off x="8880192" y="2051051"/>
            <a:ext cx="369676" cy="369676"/>
            <a:chOff x="7354" y="1520"/>
            <a:chExt cx="340" cy="340"/>
          </a:xfrm>
          <a:solidFill>
            <a:schemeClr val="accent5"/>
          </a:solidFill>
        </p:grpSpPr>
        <p:sp>
          <p:nvSpPr>
            <p:cNvPr id="411" name="Freeform 388"/>
            <p:cNvSpPr>
              <a:spLocks noEditPoints="1"/>
            </p:cNvSpPr>
            <p:nvPr/>
          </p:nvSpPr>
          <p:spPr bwMode="auto">
            <a:xfrm>
              <a:off x="7418" y="1619"/>
              <a:ext cx="212" cy="141"/>
            </a:xfrm>
            <a:custGeom>
              <a:avLst/>
              <a:gdLst>
                <a:gd name="T0" fmla="*/ 64 w 320"/>
                <a:gd name="T1" fmla="*/ 0 h 213"/>
                <a:gd name="T2" fmla="*/ 10 w 320"/>
                <a:gd name="T3" fmla="*/ 0 h 213"/>
                <a:gd name="T4" fmla="*/ 0 w 320"/>
                <a:gd name="T5" fmla="*/ 11 h 213"/>
                <a:gd name="T6" fmla="*/ 0 w 320"/>
                <a:gd name="T7" fmla="*/ 64 h 213"/>
                <a:gd name="T8" fmla="*/ 10 w 320"/>
                <a:gd name="T9" fmla="*/ 75 h 213"/>
                <a:gd name="T10" fmla="*/ 64 w 320"/>
                <a:gd name="T11" fmla="*/ 75 h 213"/>
                <a:gd name="T12" fmla="*/ 74 w 320"/>
                <a:gd name="T13" fmla="*/ 64 h 213"/>
                <a:gd name="T14" fmla="*/ 74 w 320"/>
                <a:gd name="T15" fmla="*/ 11 h 213"/>
                <a:gd name="T16" fmla="*/ 64 w 320"/>
                <a:gd name="T17" fmla="*/ 0 h 213"/>
                <a:gd name="T18" fmla="*/ 53 w 320"/>
                <a:gd name="T19" fmla="*/ 53 h 213"/>
                <a:gd name="T20" fmla="*/ 21 w 320"/>
                <a:gd name="T21" fmla="*/ 53 h 213"/>
                <a:gd name="T22" fmla="*/ 21 w 320"/>
                <a:gd name="T23" fmla="*/ 21 h 213"/>
                <a:gd name="T24" fmla="*/ 53 w 320"/>
                <a:gd name="T25" fmla="*/ 21 h 213"/>
                <a:gd name="T26" fmla="*/ 53 w 320"/>
                <a:gd name="T27" fmla="*/ 53 h 213"/>
                <a:gd name="T28" fmla="*/ 117 w 320"/>
                <a:gd name="T29" fmla="*/ 11 h 213"/>
                <a:gd name="T30" fmla="*/ 128 w 320"/>
                <a:gd name="T31" fmla="*/ 0 h 213"/>
                <a:gd name="T32" fmla="*/ 309 w 320"/>
                <a:gd name="T33" fmla="*/ 0 h 213"/>
                <a:gd name="T34" fmla="*/ 320 w 320"/>
                <a:gd name="T35" fmla="*/ 11 h 213"/>
                <a:gd name="T36" fmla="*/ 309 w 320"/>
                <a:gd name="T37" fmla="*/ 21 h 213"/>
                <a:gd name="T38" fmla="*/ 128 w 320"/>
                <a:gd name="T39" fmla="*/ 21 h 213"/>
                <a:gd name="T40" fmla="*/ 117 w 320"/>
                <a:gd name="T41" fmla="*/ 11 h 213"/>
                <a:gd name="T42" fmla="*/ 320 w 320"/>
                <a:gd name="T43" fmla="*/ 64 h 213"/>
                <a:gd name="T44" fmla="*/ 309 w 320"/>
                <a:gd name="T45" fmla="*/ 75 h 213"/>
                <a:gd name="T46" fmla="*/ 128 w 320"/>
                <a:gd name="T47" fmla="*/ 75 h 213"/>
                <a:gd name="T48" fmla="*/ 117 w 320"/>
                <a:gd name="T49" fmla="*/ 64 h 213"/>
                <a:gd name="T50" fmla="*/ 128 w 320"/>
                <a:gd name="T51" fmla="*/ 53 h 213"/>
                <a:gd name="T52" fmla="*/ 309 w 320"/>
                <a:gd name="T53" fmla="*/ 53 h 213"/>
                <a:gd name="T54" fmla="*/ 320 w 320"/>
                <a:gd name="T55" fmla="*/ 64 h 213"/>
                <a:gd name="T56" fmla="*/ 64 w 320"/>
                <a:gd name="T57" fmla="*/ 139 h 213"/>
                <a:gd name="T58" fmla="*/ 10 w 320"/>
                <a:gd name="T59" fmla="*/ 139 h 213"/>
                <a:gd name="T60" fmla="*/ 0 w 320"/>
                <a:gd name="T61" fmla="*/ 149 h 213"/>
                <a:gd name="T62" fmla="*/ 0 w 320"/>
                <a:gd name="T63" fmla="*/ 203 h 213"/>
                <a:gd name="T64" fmla="*/ 10 w 320"/>
                <a:gd name="T65" fmla="*/ 213 h 213"/>
                <a:gd name="T66" fmla="*/ 64 w 320"/>
                <a:gd name="T67" fmla="*/ 213 h 213"/>
                <a:gd name="T68" fmla="*/ 74 w 320"/>
                <a:gd name="T69" fmla="*/ 203 h 213"/>
                <a:gd name="T70" fmla="*/ 74 w 320"/>
                <a:gd name="T71" fmla="*/ 149 h 213"/>
                <a:gd name="T72" fmla="*/ 64 w 320"/>
                <a:gd name="T73" fmla="*/ 139 h 213"/>
                <a:gd name="T74" fmla="*/ 53 w 320"/>
                <a:gd name="T75" fmla="*/ 192 h 213"/>
                <a:gd name="T76" fmla="*/ 21 w 320"/>
                <a:gd name="T77" fmla="*/ 192 h 213"/>
                <a:gd name="T78" fmla="*/ 21 w 320"/>
                <a:gd name="T79" fmla="*/ 160 h 213"/>
                <a:gd name="T80" fmla="*/ 53 w 320"/>
                <a:gd name="T81" fmla="*/ 160 h 213"/>
                <a:gd name="T82" fmla="*/ 53 w 320"/>
                <a:gd name="T83" fmla="*/ 192 h 213"/>
                <a:gd name="T84" fmla="*/ 320 w 320"/>
                <a:gd name="T85" fmla="*/ 149 h 213"/>
                <a:gd name="T86" fmla="*/ 309 w 320"/>
                <a:gd name="T87" fmla="*/ 160 h 213"/>
                <a:gd name="T88" fmla="*/ 128 w 320"/>
                <a:gd name="T89" fmla="*/ 160 h 213"/>
                <a:gd name="T90" fmla="*/ 117 w 320"/>
                <a:gd name="T91" fmla="*/ 149 h 213"/>
                <a:gd name="T92" fmla="*/ 128 w 320"/>
                <a:gd name="T93" fmla="*/ 139 h 213"/>
                <a:gd name="T94" fmla="*/ 309 w 320"/>
                <a:gd name="T95" fmla="*/ 139 h 213"/>
                <a:gd name="T96" fmla="*/ 320 w 320"/>
                <a:gd name="T97" fmla="*/ 149 h 213"/>
                <a:gd name="T98" fmla="*/ 320 w 320"/>
                <a:gd name="T99" fmla="*/ 203 h 213"/>
                <a:gd name="T100" fmla="*/ 309 w 320"/>
                <a:gd name="T101" fmla="*/ 213 h 213"/>
                <a:gd name="T102" fmla="*/ 128 w 320"/>
                <a:gd name="T103" fmla="*/ 213 h 213"/>
                <a:gd name="T104" fmla="*/ 117 w 320"/>
                <a:gd name="T105" fmla="*/ 203 h 213"/>
                <a:gd name="T106" fmla="*/ 128 w 320"/>
                <a:gd name="T107" fmla="*/ 192 h 213"/>
                <a:gd name="T108" fmla="*/ 309 w 320"/>
                <a:gd name="T109" fmla="*/ 192 h 213"/>
                <a:gd name="T110" fmla="*/ 320 w 320"/>
                <a:gd name="T111" fmla="*/ 20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13">
                  <a:moveTo>
                    <a:pt x="6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70"/>
                    <a:pt x="4" y="75"/>
                    <a:pt x="10" y="75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70" y="75"/>
                    <a:pt x="74" y="70"/>
                    <a:pt x="74" y="64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5"/>
                    <a:pt x="70" y="0"/>
                    <a:pt x="64" y="0"/>
                  </a:cubicBezTo>
                  <a:close/>
                  <a:moveTo>
                    <a:pt x="53" y="53"/>
                  </a:moveTo>
                  <a:cubicBezTo>
                    <a:pt x="21" y="53"/>
                    <a:pt x="21" y="53"/>
                    <a:pt x="21" y="5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53" y="21"/>
                    <a:pt x="53" y="21"/>
                    <a:pt x="53" y="21"/>
                  </a:cubicBezTo>
                  <a:lnTo>
                    <a:pt x="53" y="53"/>
                  </a:lnTo>
                  <a:close/>
                  <a:moveTo>
                    <a:pt x="117" y="11"/>
                  </a:moveTo>
                  <a:cubicBezTo>
                    <a:pt x="117" y="5"/>
                    <a:pt x="122" y="0"/>
                    <a:pt x="128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5" y="0"/>
                    <a:pt x="320" y="5"/>
                    <a:pt x="320" y="11"/>
                  </a:cubicBezTo>
                  <a:cubicBezTo>
                    <a:pt x="320" y="17"/>
                    <a:pt x="315" y="21"/>
                    <a:pt x="309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2" y="21"/>
                    <a:pt x="117" y="17"/>
                    <a:pt x="117" y="11"/>
                  </a:cubicBezTo>
                  <a:close/>
                  <a:moveTo>
                    <a:pt x="320" y="64"/>
                  </a:moveTo>
                  <a:cubicBezTo>
                    <a:pt x="320" y="70"/>
                    <a:pt x="315" y="75"/>
                    <a:pt x="309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ubicBezTo>
                    <a:pt x="117" y="58"/>
                    <a:pt x="122" y="53"/>
                    <a:pt x="128" y="53"/>
                  </a:cubicBezTo>
                  <a:cubicBezTo>
                    <a:pt x="309" y="53"/>
                    <a:pt x="309" y="53"/>
                    <a:pt x="309" y="53"/>
                  </a:cubicBezTo>
                  <a:cubicBezTo>
                    <a:pt x="315" y="53"/>
                    <a:pt x="320" y="58"/>
                    <a:pt x="320" y="64"/>
                  </a:cubicBezTo>
                  <a:close/>
                  <a:moveTo>
                    <a:pt x="64" y="139"/>
                  </a:moveTo>
                  <a:cubicBezTo>
                    <a:pt x="10" y="139"/>
                    <a:pt x="10" y="139"/>
                    <a:pt x="10" y="139"/>
                  </a:cubicBezTo>
                  <a:cubicBezTo>
                    <a:pt x="4" y="139"/>
                    <a:pt x="0" y="143"/>
                    <a:pt x="0" y="149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3"/>
                    <a:pt x="10" y="213"/>
                  </a:cubicBezTo>
                  <a:cubicBezTo>
                    <a:pt x="64" y="213"/>
                    <a:pt x="64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49"/>
                    <a:pt x="74" y="149"/>
                    <a:pt x="74" y="149"/>
                  </a:cubicBezTo>
                  <a:cubicBezTo>
                    <a:pt x="74" y="143"/>
                    <a:pt x="70" y="139"/>
                    <a:pt x="64" y="139"/>
                  </a:cubicBezTo>
                  <a:close/>
                  <a:moveTo>
                    <a:pt x="53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53" y="160"/>
                    <a:pt x="53" y="160"/>
                    <a:pt x="53" y="160"/>
                  </a:cubicBezTo>
                  <a:lnTo>
                    <a:pt x="53" y="192"/>
                  </a:lnTo>
                  <a:close/>
                  <a:moveTo>
                    <a:pt x="320" y="149"/>
                  </a:moveTo>
                  <a:cubicBezTo>
                    <a:pt x="320" y="155"/>
                    <a:pt x="315" y="160"/>
                    <a:pt x="309" y="160"/>
                  </a:cubicBezTo>
                  <a:cubicBezTo>
                    <a:pt x="128" y="160"/>
                    <a:pt x="128" y="160"/>
                    <a:pt x="128" y="160"/>
                  </a:cubicBezTo>
                  <a:cubicBezTo>
                    <a:pt x="122" y="160"/>
                    <a:pt x="117" y="155"/>
                    <a:pt x="117" y="149"/>
                  </a:cubicBezTo>
                  <a:cubicBezTo>
                    <a:pt x="117" y="143"/>
                    <a:pt x="122" y="139"/>
                    <a:pt x="128" y="139"/>
                  </a:cubicBezTo>
                  <a:cubicBezTo>
                    <a:pt x="309" y="139"/>
                    <a:pt x="309" y="139"/>
                    <a:pt x="309" y="139"/>
                  </a:cubicBezTo>
                  <a:cubicBezTo>
                    <a:pt x="315" y="139"/>
                    <a:pt x="320" y="143"/>
                    <a:pt x="320" y="149"/>
                  </a:cubicBezTo>
                  <a:close/>
                  <a:moveTo>
                    <a:pt x="320" y="203"/>
                  </a:moveTo>
                  <a:cubicBezTo>
                    <a:pt x="320" y="209"/>
                    <a:pt x="315" y="213"/>
                    <a:pt x="309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2" y="213"/>
                    <a:pt x="117" y="209"/>
                    <a:pt x="117" y="203"/>
                  </a:cubicBezTo>
                  <a:cubicBezTo>
                    <a:pt x="117" y="197"/>
                    <a:pt x="122" y="192"/>
                    <a:pt x="12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97"/>
                    <a:pt x="320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2" name="Freeform 389"/>
            <p:cNvSpPr>
              <a:spLocks noEditPoints="1"/>
            </p:cNvSpPr>
            <p:nvPr/>
          </p:nvSpPr>
          <p:spPr bwMode="auto">
            <a:xfrm>
              <a:off x="7354" y="152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3" name="Freeform 393"/>
          <p:cNvSpPr>
            <a:spLocks noChangeAspect="1" noEditPoints="1"/>
          </p:cNvSpPr>
          <p:nvPr/>
        </p:nvSpPr>
        <p:spPr bwMode="auto">
          <a:xfrm>
            <a:off x="8382953" y="2051054"/>
            <a:ext cx="369676" cy="370763"/>
          </a:xfrm>
          <a:custGeom>
            <a:avLst/>
            <a:gdLst>
              <a:gd name="T0" fmla="*/ 117 w 512"/>
              <a:gd name="T1" fmla="*/ 170 h 512"/>
              <a:gd name="T2" fmla="*/ 149 w 512"/>
              <a:gd name="T3" fmla="*/ 170 h 512"/>
              <a:gd name="T4" fmla="*/ 149 w 512"/>
              <a:gd name="T5" fmla="*/ 202 h 512"/>
              <a:gd name="T6" fmla="*/ 117 w 512"/>
              <a:gd name="T7" fmla="*/ 202 h 512"/>
              <a:gd name="T8" fmla="*/ 117 w 512"/>
              <a:gd name="T9" fmla="*/ 170 h 512"/>
              <a:gd name="T10" fmla="*/ 117 w 512"/>
              <a:gd name="T11" fmla="*/ 341 h 512"/>
              <a:gd name="T12" fmla="*/ 149 w 512"/>
              <a:gd name="T13" fmla="*/ 341 h 512"/>
              <a:gd name="T14" fmla="*/ 149 w 512"/>
              <a:gd name="T15" fmla="*/ 309 h 512"/>
              <a:gd name="T16" fmla="*/ 117 w 512"/>
              <a:gd name="T17" fmla="*/ 309 h 512"/>
              <a:gd name="T18" fmla="*/ 117 w 512"/>
              <a:gd name="T19" fmla="*/ 341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70 w 512"/>
              <a:gd name="T31" fmla="*/ 298 h 512"/>
              <a:gd name="T32" fmla="*/ 160 w 512"/>
              <a:gd name="T33" fmla="*/ 288 h 512"/>
              <a:gd name="T34" fmla="*/ 106 w 512"/>
              <a:gd name="T35" fmla="*/ 288 h 512"/>
              <a:gd name="T36" fmla="*/ 96 w 512"/>
              <a:gd name="T37" fmla="*/ 298 h 512"/>
              <a:gd name="T38" fmla="*/ 96 w 512"/>
              <a:gd name="T39" fmla="*/ 352 h 512"/>
              <a:gd name="T40" fmla="*/ 106 w 512"/>
              <a:gd name="T41" fmla="*/ 362 h 512"/>
              <a:gd name="T42" fmla="*/ 160 w 512"/>
              <a:gd name="T43" fmla="*/ 362 h 512"/>
              <a:gd name="T44" fmla="*/ 170 w 512"/>
              <a:gd name="T45" fmla="*/ 352 h 512"/>
              <a:gd name="T46" fmla="*/ 170 w 512"/>
              <a:gd name="T47" fmla="*/ 298 h 512"/>
              <a:gd name="T48" fmla="*/ 170 w 512"/>
              <a:gd name="T49" fmla="*/ 160 h 512"/>
              <a:gd name="T50" fmla="*/ 160 w 512"/>
              <a:gd name="T51" fmla="*/ 149 h 512"/>
              <a:gd name="T52" fmla="*/ 106 w 512"/>
              <a:gd name="T53" fmla="*/ 149 h 512"/>
              <a:gd name="T54" fmla="*/ 96 w 512"/>
              <a:gd name="T55" fmla="*/ 160 h 512"/>
              <a:gd name="T56" fmla="*/ 96 w 512"/>
              <a:gd name="T57" fmla="*/ 213 h 512"/>
              <a:gd name="T58" fmla="*/ 106 w 512"/>
              <a:gd name="T59" fmla="*/ 224 h 512"/>
              <a:gd name="T60" fmla="*/ 160 w 512"/>
              <a:gd name="T61" fmla="*/ 224 h 512"/>
              <a:gd name="T62" fmla="*/ 170 w 512"/>
              <a:gd name="T63" fmla="*/ 213 h 512"/>
              <a:gd name="T64" fmla="*/ 170 w 512"/>
              <a:gd name="T65" fmla="*/ 160 h 512"/>
              <a:gd name="T66" fmla="*/ 416 w 512"/>
              <a:gd name="T67" fmla="*/ 352 h 512"/>
              <a:gd name="T68" fmla="*/ 405 w 512"/>
              <a:gd name="T69" fmla="*/ 341 h 512"/>
              <a:gd name="T70" fmla="*/ 224 w 512"/>
              <a:gd name="T71" fmla="*/ 341 h 512"/>
              <a:gd name="T72" fmla="*/ 213 w 512"/>
              <a:gd name="T73" fmla="*/ 352 h 512"/>
              <a:gd name="T74" fmla="*/ 224 w 512"/>
              <a:gd name="T75" fmla="*/ 362 h 512"/>
              <a:gd name="T76" fmla="*/ 405 w 512"/>
              <a:gd name="T77" fmla="*/ 362 h 512"/>
              <a:gd name="T78" fmla="*/ 416 w 512"/>
              <a:gd name="T79" fmla="*/ 352 h 512"/>
              <a:gd name="T80" fmla="*/ 416 w 512"/>
              <a:gd name="T81" fmla="*/ 298 h 512"/>
              <a:gd name="T82" fmla="*/ 405 w 512"/>
              <a:gd name="T83" fmla="*/ 288 h 512"/>
              <a:gd name="T84" fmla="*/ 224 w 512"/>
              <a:gd name="T85" fmla="*/ 288 h 512"/>
              <a:gd name="T86" fmla="*/ 213 w 512"/>
              <a:gd name="T87" fmla="*/ 298 h 512"/>
              <a:gd name="T88" fmla="*/ 224 w 512"/>
              <a:gd name="T89" fmla="*/ 309 h 512"/>
              <a:gd name="T90" fmla="*/ 405 w 512"/>
              <a:gd name="T91" fmla="*/ 309 h 512"/>
              <a:gd name="T92" fmla="*/ 416 w 512"/>
              <a:gd name="T93" fmla="*/ 298 h 512"/>
              <a:gd name="T94" fmla="*/ 416 w 512"/>
              <a:gd name="T95" fmla="*/ 213 h 512"/>
              <a:gd name="T96" fmla="*/ 405 w 512"/>
              <a:gd name="T97" fmla="*/ 202 h 512"/>
              <a:gd name="T98" fmla="*/ 224 w 512"/>
              <a:gd name="T99" fmla="*/ 202 h 512"/>
              <a:gd name="T100" fmla="*/ 213 w 512"/>
              <a:gd name="T101" fmla="*/ 213 h 512"/>
              <a:gd name="T102" fmla="*/ 224 w 512"/>
              <a:gd name="T103" fmla="*/ 224 h 512"/>
              <a:gd name="T104" fmla="*/ 405 w 512"/>
              <a:gd name="T105" fmla="*/ 224 h 512"/>
              <a:gd name="T106" fmla="*/ 416 w 512"/>
              <a:gd name="T107" fmla="*/ 213 h 512"/>
              <a:gd name="T108" fmla="*/ 416 w 512"/>
              <a:gd name="T109" fmla="*/ 160 h 512"/>
              <a:gd name="T110" fmla="*/ 405 w 512"/>
              <a:gd name="T111" fmla="*/ 149 h 512"/>
              <a:gd name="T112" fmla="*/ 224 w 512"/>
              <a:gd name="T113" fmla="*/ 149 h 512"/>
              <a:gd name="T114" fmla="*/ 213 w 512"/>
              <a:gd name="T115" fmla="*/ 160 h 512"/>
              <a:gd name="T116" fmla="*/ 224 w 512"/>
              <a:gd name="T117" fmla="*/ 170 h 512"/>
              <a:gd name="T118" fmla="*/ 405 w 512"/>
              <a:gd name="T119" fmla="*/ 170 h 512"/>
              <a:gd name="T120" fmla="*/ 416 w 512"/>
              <a:gd name="T121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17" y="170"/>
                </a:moveTo>
                <a:cubicBezTo>
                  <a:pt x="149" y="170"/>
                  <a:pt x="149" y="170"/>
                  <a:pt x="149" y="170"/>
                </a:cubicBezTo>
                <a:cubicBezTo>
                  <a:pt x="149" y="202"/>
                  <a:pt x="149" y="202"/>
                  <a:pt x="149" y="202"/>
                </a:cubicBezTo>
                <a:cubicBezTo>
                  <a:pt x="117" y="202"/>
                  <a:pt x="117" y="202"/>
                  <a:pt x="117" y="202"/>
                </a:cubicBezTo>
                <a:lnTo>
                  <a:pt x="117" y="170"/>
                </a:lnTo>
                <a:close/>
                <a:moveTo>
                  <a:pt x="117" y="341"/>
                </a:moveTo>
                <a:cubicBezTo>
                  <a:pt x="149" y="341"/>
                  <a:pt x="149" y="341"/>
                  <a:pt x="149" y="341"/>
                </a:cubicBezTo>
                <a:cubicBezTo>
                  <a:pt x="149" y="309"/>
                  <a:pt x="149" y="309"/>
                  <a:pt x="149" y="309"/>
                </a:cubicBezTo>
                <a:cubicBezTo>
                  <a:pt x="117" y="309"/>
                  <a:pt x="117" y="309"/>
                  <a:pt x="117" y="309"/>
                </a:cubicBezTo>
                <a:lnTo>
                  <a:pt x="117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70" y="298"/>
                </a:moveTo>
                <a:cubicBezTo>
                  <a:pt x="170" y="292"/>
                  <a:pt x="166" y="288"/>
                  <a:pt x="160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92"/>
                  <a:pt x="96" y="298"/>
                </a:cubicBezTo>
                <a:cubicBezTo>
                  <a:pt x="96" y="352"/>
                  <a:pt x="96" y="352"/>
                  <a:pt x="96" y="352"/>
                </a:cubicBezTo>
                <a:cubicBezTo>
                  <a:pt x="96" y="358"/>
                  <a:pt x="100" y="362"/>
                  <a:pt x="106" y="362"/>
                </a:cubicBezTo>
                <a:cubicBezTo>
                  <a:pt x="160" y="362"/>
                  <a:pt x="160" y="362"/>
                  <a:pt x="160" y="362"/>
                </a:cubicBezTo>
                <a:cubicBezTo>
                  <a:pt x="166" y="362"/>
                  <a:pt x="170" y="358"/>
                  <a:pt x="170" y="352"/>
                </a:cubicBezTo>
                <a:lnTo>
                  <a:pt x="170" y="298"/>
                </a:lnTo>
                <a:close/>
                <a:moveTo>
                  <a:pt x="170" y="160"/>
                </a:moveTo>
                <a:cubicBezTo>
                  <a:pt x="170" y="154"/>
                  <a:pt x="166" y="149"/>
                  <a:pt x="160" y="149"/>
                </a:cubicBezTo>
                <a:cubicBezTo>
                  <a:pt x="106" y="149"/>
                  <a:pt x="106" y="149"/>
                  <a:pt x="106" y="149"/>
                </a:cubicBezTo>
                <a:cubicBezTo>
                  <a:pt x="100" y="149"/>
                  <a:pt x="96" y="154"/>
                  <a:pt x="96" y="160"/>
                </a:cubicBezTo>
                <a:cubicBezTo>
                  <a:pt x="96" y="213"/>
                  <a:pt x="96" y="213"/>
                  <a:pt x="96" y="213"/>
                </a:cubicBezTo>
                <a:cubicBezTo>
                  <a:pt x="96" y="219"/>
                  <a:pt x="100" y="224"/>
                  <a:pt x="106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6" y="224"/>
                  <a:pt x="170" y="219"/>
                  <a:pt x="170" y="213"/>
                </a:cubicBezTo>
                <a:lnTo>
                  <a:pt x="170" y="160"/>
                </a:lnTo>
                <a:close/>
                <a:moveTo>
                  <a:pt x="416" y="352"/>
                </a:moveTo>
                <a:cubicBezTo>
                  <a:pt x="416" y="346"/>
                  <a:pt x="411" y="341"/>
                  <a:pt x="405" y="341"/>
                </a:cubicBezTo>
                <a:cubicBezTo>
                  <a:pt x="224" y="341"/>
                  <a:pt x="224" y="341"/>
                  <a:pt x="224" y="341"/>
                </a:cubicBezTo>
                <a:cubicBezTo>
                  <a:pt x="218" y="341"/>
                  <a:pt x="213" y="346"/>
                  <a:pt x="213" y="352"/>
                </a:cubicBezTo>
                <a:cubicBezTo>
                  <a:pt x="213" y="358"/>
                  <a:pt x="218" y="362"/>
                  <a:pt x="224" y="362"/>
                </a:cubicBezTo>
                <a:cubicBezTo>
                  <a:pt x="405" y="362"/>
                  <a:pt x="405" y="362"/>
                  <a:pt x="405" y="362"/>
                </a:cubicBezTo>
                <a:cubicBezTo>
                  <a:pt x="411" y="362"/>
                  <a:pt x="416" y="358"/>
                  <a:pt x="416" y="352"/>
                </a:cubicBezTo>
                <a:close/>
                <a:moveTo>
                  <a:pt x="416" y="298"/>
                </a:moveTo>
                <a:cubicBezTo>
                  <a:pt x="416" y="292"/>
                  <a:pt x="411" y="288"/>
                  <a:pt x="405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18" y="288"/>
                  <a:pt x="213" y="292"/>
                  <a:pt x="213" y="298"/>
                </a:cubicBezTo>
                <a:cubicBezTo>
                  <a:pt x="213" y="304"/>
                  <a:pt x="218" y="309"/>
                  <a:pt x="224" y="309"/>
                </a:cubicBezTo>
                <a:cubicBezTo>
                  <a:pt x="405" y="309"/>
                  <a:pt x="405" y="309"/>
                  <a:pt x="405" y="309"/>
                </a:cubicBezTo>
                <a:cubicBezTo>
                  <a:pt x="411" y="309"/>
                  <a:pt x="416" y="304"/>
                  <a:pt x="416" y="298"/>
                </a:cubicBezTo>
                <a:close/>
                <a:moveTo>
                  <a:pt x="416" y="213"/>
                </a:moveTo>
                <a:cubicBezTo>
                  <a:pt x="416" y="207"/>
                  <a:pt x="411" y="202"/>
                  <a:pt x="405" y="202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18" y="202"/>
                  <a:pt x="213" y="207"/>
                  <a:pt x="213" y="213"/>
                </a:cubicBezTo>
                <a:cubicBezTo>
                  <a:pt x="213" y="219"/>
                  <a:pt x="218" y="224"/>
                  <a:pt x="224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19"/>
                  <a:pt x="416" y="213"/>
                </a:cubicBezTo>
                <a:close/>
                <a:moveTo>
                  <a:pt x="416" y="160"/>
                </a:moveTo>
                <a:cubicBezTo>
                  <a:pt x="416" y="154"/>
                  <a:pt x="411" y="149"/>
                  <a:pt x="405" y="149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18" y="149"/>
                  <a:pt x="213" y="154"/>
                  <a:pt x="213" y="160"/>
                </a:cubicBezTo>
                <a:cubicBezTo>
                  <a:pt x="213" y="166"/>
                  <a:pt x="218" y="170"/>
                  <a:pt x="224" y="170"/>
                </a:cubicBezTo>
                <a:cubicBezTo>
                  <a:pt x="405" y="170"/>
                  <a:pt x="405" y="170"/>
                  <a:pt x="405" y="170"/>
                </a:cubicBezTo>
                <a:cubicBezTo>
                  <a:pt x="411" y="170"/>
                  <a:pt x="416" y="166"/>
                  <a:pt x="416" y="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8" name="Group 759"/>
          <p:cNvGrpSpPr>
            <a:grpSpLocks noChangeAspect="1"/>
          </p:cNvGrpSpPr>
          <p:nvPr/>
        </p:nvGrpSpPr>
        <p:grpSpPr bwMode="auto">
          <a:xfrm>
            <a:off x="9874662" y="2050399"/>
            <a:ext cx="369676" cy="369676"/>
            <a:chOff x="2732" y="2698"/>
            <a:chExt cx="340" cy="340"/>
          </a:xfrm>
          <a:solidFill>
            <a:schemeClr val="accent2"/>
          </a:solidFill>
        </p:grpSpPr>
        <p:sp>
          <p:nvSpPr>
            <p:cNvPr id="419" name="Freeform 760"/>
            <p:cNvSpPr>
              <a:spLocks noEditPoints="1"/>
            </p:cNvSpPr>
            <p:nvPr/>
          </p:nvSpPr>
          <p:spPr bwMode="auto">
            <a:xfrm>
              <a:off x="2732" y="26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0" name="Freeform 761"/>
            <p:cNvSpPr>
              <a:spLocks noEditPoints="1"/>
            </p:cNvSpPr>
            <p:nvPr/>
          </p:nvSpPr>
          <p:spPr bwMode="auto">
            <a:xfrm>
              <a:off x="2817" y="2762"/>
              <a:ext cx="170" cy="212"/>
            </a:xfrm>
            <a:custGeom>
              <a:avLst/>
              <a:gdLst>
                <a:gd name="T0" fmla="*/ 245 w 256"/>
                <a:gd name="T1" fmla="*/ 320 h 320"/>
                <a:gd name="T2" fmla="*/ 234 w 256"/>
                <a:gd name="T3" fmla="*/ 309 h 320"/>
                <a:gd name="T4" fmla="*/ 234 w 256"/>
                <a:gd name="T5" fmla="*/ 213 h 320"/>
                <a:gd name="T6" fmla="*/ 192 w 256"/>
                <a:gd name="T7" fmla="*/ 170 h 320"/>
                <a:gd name="T8" fmla="*/ 64 w 256"/>
                <a:gd name="T9" fmla="*/ 170 h 320"/>
                <a:gd name="T10" fmla="*/ 21 w 256"/>
                <a:gd name="T11" fmla="*/ 213 h 320"/>
                <a:gd name="T12" fmla="*/ 21 w 256"/>
                <a:gd name="T13" fmla="*/ 309 h 320"/>
                <a:gd name="T14" fmla="*/ 10 w 256"/>
                <a:gd name="T15" fmla="*/ 320 h 320"/>
                <a:gd name="T16" fmla="*/ 0 w 256"/>
                <a:gd name="T17" fmla="*/ 309 h 320"/>
                <a:gd name="T18" fmla="*/ 0 w 256"/>
                <a:gd name="T19" fmla="*/ 213 h 320"/>
                <a:gd name="T20" fmla="*/ 64 w 256"/>
                <a:gd name="T21" fmla="*/ 149 h 320"/>
                <a:gd name="T22" fmla="*/ 192 w 256"/>
                <a:gd name="T23" fmla="*/ 149 h 320"/>
                <a:gd name="T24" fmla="*/ 256 w 256"/>
                <a:gd name="T25" fmla="*/ 213 h 320"/>
                <a:gd name="T26" fmla="*/ 256 w 256"/>
                <a:gd name="T27" fmla="*/ 309 h 320"/>
                <a:gd name="T28" fmla="*/ 245 w 256"/>
                <a:gd name="T29" fmla="*/ 320 h 320"/>
                <a:gd name="T30" fmla="*/ 192 w 256"/>
                <a:gd name="T31" fmla="*/ 64 h 320"/>
                <a:gd name="T32" fmla="*/ 128 w 256"/>
                <a:gd name="T33" fmla="*/ 0 h 320"/>
                <a:gd name="T34" fmla="*/ 64 w 256"/>
                <a:gd name="T35" fmla="*/ 64 h 320"/>
                <a:gd name="T36" fmla="*/ 128 w 256"/>
                <a:gd name="T37" fmla="*/ 128 h 320"/>
                <a:gd name="T38" fmla="*/ 192 w 256"/>
                <a:gd name="T39" fmla="*/ 64 h 320"/>
                <a:gd name="T40" fmla="*/ 170 w 256"/>
                <a:gd name="T41" fmla="*/ 64 h 320"/>
                <a:gd name="T42" fmla="*/ 128 w 256"/>
                <a:gd name="T43" fmla="*/ 106 h 320"/>
                <a:gd name="T44" fmla="*/ 85 w 256"/>
                <a:gd name="T45" fmla="*/ 64 h 320"/>
                <a:gd name="T46" fmla="*/ 128 w 256"/>
                <a:gd name="T47" fmla="*/ 21 h 320"/>
                <a:gd name="T48" fmla="*/ 170 w 256"/>
                <a:gd name="T49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320">
                  <a:moveTo>
                    <a:pt x="245" y="320"/>
                  </a:moveTo>
                  <a:cubicBezTo>
                    <a:pt x="239" y="320"/>
                    <a:pt x="234" y="315"/>
                    <a:pt x="234" y="309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189"/>
                    <a:pt x="215" y="170"/>
                    <a:pt x="192" y="170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40" y="170"/>
                    <a:pt x="21" y="189"/>
                    <a:pt x="21" y="213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16" y="320"/>
                    <a:pt x="10" y="320"/>
                  </a:cubicBezTo>
                  <a:cubicBezTo>
                    <a:pt x="4" y="320"/>
                    <a:pt x="0" y="315"/>
                    <a:pt x="0" y="309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178"/>
                    <a:pt x="28" y="149"/>
                    <a:pt x="64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227" y="149"/>
                    <a:pt x="256" y="178"/>
                    <a:pt x="256" y="213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15"/>
                    <a:pt x="251" y="320"/>
                    <a:pt x="245" y="320"/>
                  </a:cubicBezTo>
                  <a:close/>
                  <a:moveTo>
                    <a:pt x="192" y="64"/>
                  </a:moveTo>
                  <a:cubicBezTo>
                    <a:pt x="192" y="28"/>
                    <a:pt x="163" y="0"/>
                    <a:pt x="128" y="0"/>
                  </a:cubicBezTo>
                  <a:cubicBezTo>
                    <a:pt x="92" y="0"/>
                    <a:pt x="64" y="28"/>
                    <a:pt x="64" y="64"/>
                  </a:cubicBezTo>
                  <a:cubicBezTo>
                    <a:pt x="64" y="99"/>
                    <a:pt x="92" y="128"/>
                    <a:pt x="128" y="128"/>
                  </a:cubicBezTo>
                  <a:cubicBezTo>
                    <a:pt x="163" y="128"/>
                    <a:pt x="192" y="99"/>
                    <a:pt x="192" y="64"/>
                  </a:cubicBezTo>
                  <a:close/>
                  <a:moveTo>
                    <a:pt x="170" y="64"/>
                  </a:moveTo>
                  <a:cubicBezTo>
                    <a:pt x="170" y="87"/>
                    <a:pt x="151" y="106"/>
                    <a:pt x="128" y="106"/>
                  </a:cubicBezTo>
                  <a:cubicBezTo>
                    <a:pt x="104" y="106"/>
                    <a:pt x="85" y="87"/>
                    <a:pt x="85" y="64"/>
                  </a:cubicBezTo>
                  <a:cubicBezTo>
                    <a:pt x="85" y="40"/>
                    <a:pt x="104" y="21"/>
                    <a:pt x="128" y="21"/>
                  </a:cubicBezTo>
                  <a:cubicBezTo>
                    <a:pt x="151" y="21"/>
                    <a:pt x="170" y="40"/>
                    <a:pt x="17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21" name="Freeform 765"/>
          <p:cNvSpPr>
            <a:spLocks noChangeAspect="1" noEditPoints="1"/>
          </p:cNvSpPr>
          <p:nvPr/>
        </p:nvSpPr>
        <p:spPr bwMode="auto">
          <a:xfrm>
            <a:off x="9377431" y="2051051"/>
            <a:ext cx="369676" cy="369676"/>
          </a:xfrm>
          <a:custGeom>
            <a:avLst/>
            <a:gdLst>
              <a:gd name="T0" fmla="*/ 213 w 512"/>
              <a:gd name="T1" fmla="*/ 160 h 512"/>
              <a:gd name="T2" fmla="*/ 256 w 512"/>
              <a:gd name="T3" fmla="*/ 117 h 512"/>
              <a:gd name="T4" fmla="*/ 298 w 512"/>
              <a:gd name="T5" fmla="*/ 160 h 512"/>
              <a:gd name="T6" fmla="*/ 256 w 512"/>
              <a:gd name="T7" fmla="*/ 202 h 512"/>
              <a:gd name="T8" fmla="*/ 213 w 512"/>
              <a:gd name="T9" fmla="*/ 160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192 w 512"/>
              <a:gd name="T21" fmla="*/ 160 h 512"/>
              <a:gd name="T22" fmla="*/ 256 w 512"/>
              <a:gd name="T23" fmla="*/ 224 h 512"/>
              <a:gd name="T24" fmla="*/ 320 w 512"/>
              <a:gd name="T25" fmla="*/ 160 h 512"/>
              <a:gd name="T26" fmla="*/ 256 w 512"/>
              <a:gd name="T27" fmla="*/ 96 h 512"/>
              <a:gd name="T28" fmla="*/ 192 w 512"/>
              <a:gd name="T29" fmla="*/ 160 h 512"/>
              <a:gd name="T30" fmla="*/ 384 w 512"/>
              <a:gd name="T31" fmla="*/ 309 h 512"/>
              <a:gd name="T32" fmla="*/ 320 w 512"/>
              <a:gd name="T33" fmla="*/ 245 h 512"/>
              <a:gd name="T34" fmla="*/ 192 w 512"/>
              <a:gd name="T35" fmla="*/ 245 h 512"/>
              <a:gd name="T36" fmla="*/ 128 w 512"/>
              <a:gd name="T37" fmla="*/ 309 h 512"/>
              <a:gd name="T38" fmla="*/ 128 w 512"/>
              <a:gd name="T39" fmla="*/ 405 h 512"/>
              <a:gd name="T40" fmla="*/ 138 w 512"/>
              <a:gd name="T41" fmla="*/ 416 h 512"/>
              <a:gd name="T42" fmla="*/ 149 w 512"/>
              <a:gd name="T43" fmla="*/ 405 h 512"/>
              <a:gd name="T44" fmla="*/ 149 w 512"/>
              <a:gd name="T45" fmla="*/ 309 h 512"/>
              <a:gd name="T46" fmla="*/ 192 w 512"/>
              <a:gd name="T47" fmla="*/ 266 h 512"/>
              <a:gd name="T48" fmla="*/ 320 w 512"/>
              <a:gd name="T49" fmla="*/ 266 h 512"/>
              <a:gd name="T50" fmla="*/ 362 w 512"/>
              <a:gd name="T51" fmla="*/ 309 h 512"/>
              <a:gd name="T52" fmla="*/ 362 w 512"/>
              <a:gd name="T53" fmla="*/ 405 h 512"/>
              <a:gd name="T54" fmla="*/ 373 w 512"/>
              <a:gd name="T55" fmla="*/ 416 h 512"/>
              <a:gd name="T56" fmla="*/ 384 w 512"/>
              <a:gd name="T57" fmla="*/ 405 h 512"/>
              <a:gd name="T58" fmla="*/ 384 w 512"/>
              <a:gd name="T59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13" y="160"/>
                </a:moveTo>
                <a:cubicBezTo>
                  <a:pt x="213" y="136"/>
                  <a:pt x="232" y="117"/>
                  <a:pt x="256" y="117"/>
                </a:cubicBezTo>
                <a:cubicBezTo>
                  <a:pt x="279" y="117"/>
                  <a:pt x="298" y="136"/>
                  <a:pt x="298" y="160"/>
                </a:cubicBezTo>
                <a:cubicBezTo>
                  <a:pt x="298" y="183"/>
                  <a:pt x="279" y="202"/>
                  <a:pt x="256" y="202"/>
                </a:cubicBezTo>
                <a:cubicBezTo>
                  <a:pt x="232" y="202"/>
                  <a:pt x="213" y="183"/>
                  <a:pt x="213" y="16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92" y="160"/>
                </a:moveTo>
                <a:cubicBezTo>
                  <a:pt x="192" y="195"/>
                  <a:pt x="220" y="224"/>
                  <a:pt x="256" y="224"/>
                </a:cubicBezTo>
                <a:cubicBezTo>
                  <a:pt x="291" y="224"/>
                  <a:pt x="320" y="195"/>
                  <a:pt x="320" y="160"/>
                </a:cubicBezTo>
                <a:cubicBezTo>
                  <a:pt x="320" y="124"/>
                  <a:pt x="291" y="96"/>
                  <a:pt x="256" y="96"/>
                </a:cubicBezTo>
                <a:cubicBezTo>
                  <a:pt x="220" y="96"/>
                  <a:pt x="192" y="124"/>
                  <a:pt x="192" y="160"/>
                </a:cubicBezTo>
                <a:close/>
                <a:moveTo>
                  <a:pt x="384" y="309"/>
                </a:moveTo>
                <a:cubicBezTo>
                  <a:pt x="384" y="274"/>
                  <a:pt x="355" y="245"/>
                  <a:pt x="320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56" y="245"/>
                  <a:pt x="128" y="274"/>
                  <a:pt x="128" y="309"/>
                </a:cubicBezTo>
                <a:cubicBezTo>
                  <a:pt x="128" y="405"/>
                  <a:pt x="128" y="405"/>
                  <a:pt x="128" y="405"/>
                </a:cubicBezTo>
                <a:cubicBezTo>
                  <a:pt x="128" y="411"/>
                  <a:pt x="132" y="416"/>
                  <a:pt x="138" y="416"/>
                </a:cubicBezTo>
                <a:cubicBezTo>
                  <a:pt x="144" y="416"/>
                  <a:pt x="149" y="411"/>
                  <a:pt x="149" y="405"/>
                </a:cubicBezTo>
                <a:cubicBezTo>
                  <a:pt x="149" y="309"/>
                  <a:pt x="149" y="309"/>
                  <a:pt x="149" y="309"/>
                </a:cubicBezTo>
                <a:cubicBezTo>
                  <a:pt x="149" y="285"/>
                  <a:pt x="168" y="266"/>
                  <a:pt x="192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43" y="266"/>
                  <a:pt x="362" y="285"/>
                  <a:pt x="362" y="309"/>
                </a:cubicBezTo>
                <a:cubicBezTo>
                  <a:pt x="362" y="405"/>
                  <a:pt x="362" y="405"/>
                  <a:pt x="362" y="405"/>
                </a:cubicBezTo>
                <a:cubicBezTo>
                  <a:pt x="362" y="411"/>
                  <a:pt x="367" y="416"/>
                  <a:pt x="373" y="416"/>
                </a:cubicBezTo>
                <a:cubicBezTo>
                  <a:pt x="379" y="416"/>
                  <a:pt x="384" y="411"/>
                  <a:pt x="384" y="405"/>
                </a:cubicBezTo>
                <a:lnTo>
                  <a:pt x="384" y="3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4" name="TextBox 113"/>
          <p:cNvSpPr txBox="1"/>
          <p:nvPr/>
        </p:nvSpPr>
        <p:spPr>
          <a:xfrm>
            <a:off x="9426046" y="33215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cissors</a:t>
            </a:r>
          </a:p>
        </p:txBody>
      </p:sp>
      <p:grpSp>
        <p:nvGrpSpPr>
          <p:cNvPr id="115" name="Group 920"/>
          <p:cNvGrpSpPr>
            <a:grpSpLocks noChangeAspect="1"/>
          </p:cNvGrpSpPr>
          <p:nvPr/>
        </p:nvGrpSpPr>
        <p:grpSpPr bwMode="auto">
          <a:xfrm>
            <a:off x="9892759" y="2916237"/>
            <a:ext cx="369021" cy="369021"/>
            <a:chOff x="1865" y="3468"/>
            <a:chExt cx="340" cy="340"/>
          </a:xfrm>
          <a:solidFill>
            <a:schemeClr val="accent4"/>
          </a:solidFill>
        </p:grpSpPr>
        <p:sp>
          <p:nvSpPr>
            <p:cNvPr id="116" name="Line 921"/>
            <p:cNvSpPr>
              <a:spLocks noChangeShapeType="1"/>
            </p:cNvSpPr>
            <p:nvPr/>
          </p:nvSpPr>
          <p:spPr bwMode="auto">
            <a:xfrm>
              <a:off x="2030" y="363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Line 922"/>
            <p:cNvSpPr>
              <a:spLocks noChangeShapeType="1"/>
            </p:cNvSpPr>
            <p:nvPr/>
          </p:nvSpPr>
          <p:spPr bwMode="auto">
            <a:xfrm>
              <a:off x="2030" y="363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Line 923"/>
            <p:cNvSpPr>
              <a:spLocks noChangeShapeType="1"/>
            </p:cNvSpPr>
            <p:nvPr/>
          </p:nvSpPr>
          <p:spPr bwMode="auto">
            <a:xfrm>
              <a:off x="2030" y="368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Line 924"/>
            <p:cNvSpPr>
              <a:spLocks noChangeShapeType="1"/>
            </p:cNvSpPr>
            <p:nvPr/>
          </p:nvSpPr>
          <p:spPr bwMode="auto">
            <a:xfrm>
              <a:off x="2030" y="368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925"/>
            <p:cNvSpPr>
              <a:spLocks/>
            </p:cNvSpPr>
            <p:nvPr/>
          </p:nvSpPr>
          <p:spPr bwMode="auto">
            <a:xfrm>
              <a:off x="2028" y="3532"/>
              <a:ext cx="14" cy="77"/>
            </a:xfrm>
            <a:custGeom>
              <a:avLst/>
              <a:gdLst>
                <a:gd name="T0" fmla="*/ 11 w 21"/>
                <a:gd name="T1" fmla="*/ 117 h 117"/>
                <a:gd name="T2" fmla="*/ 21 w 21"/>
                <a:gd name="T3" fmla="*/ 106 h 117"/>
                <a:gd name="T4" fmla="*/ 21 w 21"/>
                <a:gd name="T5" fmla="*/ 10 h 117"/>
                <a:gd name="T6" fmla="*/ 11 w 21"/>
                <a:gd name="T7" fmla="*/ 0 h 117"/>
                <a:gd name="T8" fmla="*/ 0 w 21"/>
                <a:gd name="T9" fmla="*/ 10 h 117"/>
                <a:gd name="T10" fmla="*/ 0 w 21"/>
                <a:gd name="T11" fmla="*/ 106 h 117"/>
                <a:gd name="T12" fmla="*/ 11 w 21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17">
                  <a:moveTo>
                    <a:pt x="11" y="117"/>
                  </a:moveTo>
                  <a:cubicBezTo>
                    <a:pt x="17" y="117"/>
                    <a:pt x="21" y="112"/>
                    <a:pt x="21" y="106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12"/>
                    <a:pt x="5" y="117"/>
                    <a:pt x="11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926"/>
            <p:cNvSpPr>
              <a:spLocks noEditPoints="1"/>
            </p:cNvSpPr>
            <p:nvPr/>
          </p:nvSpPr>
          <p:spPr bwMode="auto">
            <a:xfrm>
              <a:off x="1929" y="3594"/>
              <a:ext cx="205" cy="150"/>
            </a:xfrm>
            <a:custGeom>
              <a:avLst/>
              <a:gdLst>
                <a:gd name="T0" fmla="*/ 308 w 309"/>
                <a:gd name="T1" fmla="*/ 9 h 227"/>
                <a:gd name="T2" fmla="*/ 295 w 309"/>
                <a:gd name="T3" fmla="*/ 2 h 227"/>
                <a:gd name="T4" fmla="*/ 79 w 309"/>
                <a:gd name="T5" fmla="*/ 66 h 227"/>
                <a:gd name="T6" fmla="*/ 73 w 309"/>
                <a:gd name="T7" fmla="*/ 58 h 227"/>
                <a:gd name="T8" fmla="*/ 42 w 309"/>
                <a:gd name="T9" fmla="*/ 45 h 227"/>
                <a:gd name="T10" fmla="*/ 42 w 309"/>
                <a:gd name="T11" fmla="*/ 45 h 227"/>
                <a:gd name="T12" fmla="*/ 12 w 309"/>
                <a:gd name="T13" fmla="*/ 58 h 227"/>
                <a:gd name="T14" fmla="*/ 0 w 309"/>
                <a:gd name="T15" fmla="*/ 88 h 227"/>
                <a:gd name="T16" fmla="*/ 12 w 309"/>
                <a:gd name="T17" fmla="*/ 118 h 227"/>
                <a:gd name="T18" fmla="*/ 42 w 309"/>
                <a:gd name="T19" fmla="*/ 131 h 227"/>
                <a:gd name="T20" fmla="*/ 42 w 309"/>
                <a:gd name="T21" fmla="*/ 131 h 227"/>
                <a:gd name="T22" fmla="*/ 72 w 309"/>
                <a:gd name="T23" fmla="*/ 118 h 227"/>
                <a:gd name="T24" fmla="*/ 85 w 309"/>
                <a:gd name="T25" fmla="*/ 88 h 227"/>
                <a:gd name="T26" fmla="*/ 85 w 309"/>
                <a:gd name="T27" fmla="*/ 87 h 227"/>
                <a:gd name="T28" fmla="*/ 149 w 309"/>
                <a:gd name="T29" fmla="*/ 67 h 227"/>
                <a:gd name="T30" fmla="*/ 149 w 309"/>
                <a:gd name="T31" fmla="*/ 143 h 227"/>
                <a:gd name="T32" fmla="*/ 117 w 309"/>
                <a:gd name="T33" fmla="*/ 183 h 227"/>
                <a:gd name="T34" fmla="*/ 129 w 309"/>
                <a:gd name="T35" fmla="*/ 214 h 227"/>
                <a:gd name="T36" fmla="*/ 159 w 309"/>
                <a:gd name="T37" fmla="*/ 227 h 227"/>
                <a:gd name="T38" fmla="*/ 160 w 309"/>
                <a:gd name="T39" fmla="*/ 227 h 227"/>
                <a:gd name="T40" fmla="*/ 202 w 309"/>
                <a:gd name="T41" fmla="*/ 185 h 227"/>
                <a:gd name="T42" fmla="*/ 190 w 309"/>
                <a:gd name="T43" fmla="*/ 154 h 227"/>
                <a:gd name="T44" fmla="*/ 170 w 309"/>
                <a:gd name="T45" fmla="*/ 143 h 227"/>
                <a:gd name="T46" fmla="*/ 170 w 309"/>
                <a:gd name="T47" fmla="*/ 61 h 227"/>
                <a:gd name="T48" fmla="*/ 301 w 309"/>
                <a:gd name="T49" fmla="*/ 22 h 227"/>
                <a:gd name="T50" fmla="*/ 308 w 309"/>
                <a:gd name="T51" fmla="*/ 9 h 227"/>
                <a:gd name="T52" fmla="*/ 57 w 309"/>
                <a:gd name="T53" fmla="*/ 103 h 227"/>
                <a:gd name="T54" fmla="*/ 42 w 309"/>
                <a:gd name="T55" fmla="*/ 109 h 227"/>
                <a:gd name="T56" fmla="*/ 42 w 309"/>
                <a:gd name="T57" fmla="*/ 109 h 227"/>
                <a:gd name="T58" fmla="*/ 27 w 309"/>
                <a:gd name="T59" fmla="*/ 103 h 227"/>
                <a:gd name="T60" fmla="*/ 21 w 309"/>
                <a:gd name="T61" fmla="*/ 88 h 227"/>
                <a:gd name="T62" fmla="*/ 27 w 309"/>
                <a:gd name="T63" fmla="*/ 73 h 227"/>
                <a:gd name="T64" fmla="*/ 42 w 309"/>
                <a:gd name="T65" fmla="*/ 67 h 227"/>
                <a:gd name="T66" fmla="*/ 42 w 309"/>
                <a:gd name="T67" fmla="*/ 67 h 227"/>
                <a:gd name="T68" fmla="*/ 57 w 309"/>
                <a:gd name="T69" fmla="*/ 73 h 227"/>
                <a:gd name="T70" fmla="*/ 64 w 309"/>
                <a:gd name="T71" fmla="*/ 88 h 227"/>
                <a:gd name="T72" fmla="*/ 57 w 309"/>
                <a:gd name="T73" fmla="*/ 103 h 227"/>
                <a:gd name="T74" fmla="*/ 175 w 309"/>
                <a:gd name="T75" fmla="*/ 169 h 227"/>
                <a:gd name="T76" fmla="*/ 181 w 309"/>
                <a:gd name="T77" fmla="*/ 184 h 227"/>
                <a:gd name="T78" fmla="*/ 160 w 309"/>
                <a:gd name="T79" fmla="*/ 205 h 227"/>
                <a:gd name="T80" fmla="*/ 159 w 309"/>
                <a:gd name="T81" fmla="*/ 205 h 227"/>
                <a:gd name="T82" fmla="*/ 144 w 309"/>
                <a:gd name="T83" fmla="*/ 199 h 227"/>
                <a:gd name="T84" fmla="*/ 138 w 309"/>
                <a:gd name="T85" fmla="*/ 184 h 227"/>
                <a:gd name="T86" fmla="*/ 160 w 309"/>
                <a:gd name="T87" fmla="*/ 163 h 227"/>
                <a:gd name="T88" fmla="*/ 160 w 309"/>
                <a:gd name="T89" fmla="*/ 163 h 227"/>
                <a:gd name="T90" fmla="*/ 175 w 309"/>
                <a:gd name="T91" fmla="*/ 169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9" h="227">
                  <a:moveTo>
                    <a:pt x="308" y="9"/>
                  </a:moveTo>
                  <a:cubicBezTo>
                    <a:pt x="306" y="4"/>
                    <a:pt x="300" y="0"/>
                    <a:pt x="295" y="2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7" y="63"/>
                    <a:pt x="75" y="60"/>
                    <a:pt x="73" y="58"/>
                  </a:cubicBezTo>
                  <a:cubicBezTo>
                    <a:pt x="65" y="50"/>
                    <a:pt x="54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31" y="45"/>
                    <a:pt x="20" y="50"/>
                    <a:pt x="12" y="58"/>
                  </a:cubicBezTo>
                  <a:cubicBezTo>
                    <a:pt x="4" y="66"/>
                    <a:pt x="0" y="77"/>
                    <a:pt x="0" y="88"/>
                  </a:cubicBezTo>
                  <a:cubicBezTo>
                    <a:pt x="0" y="99"/>
                    <a:pt x="4" y="110"/>
                    <a:pt x="12" y="118"/>
                  </a:cubicBezTo>
                  <a:cubicBezTo>
                    <a:pt x="20" y="126"/>
                    <a:pt x="31" y="131"/>
                    <a:pt x="42" y="131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54" y="131"/>
                    <a:pt x="64" y="126"/>
                    <a:pt x="72" y="118"/>
                  </a:cubicBezTo>
                  <a:cubicBezTo>
                    <a:pt x="81" y="110"/>
                    <a:pt x="85" y="99"/>
                    <a:pt x="85" y="88"/>
                  </a:cubicBezTo>
                  <a:cubicBezTo>
                    <a:pt x="85" y="88"/>
                    <a:pt x="85" y="87"/>
                    <a:pt x="85" y="87"/>
                  </a:cubicBezTo>
                  <a:cubicBezTo>
                    <a:pt x="149" y="67"/>
                    <a:pt x="149" y="67"/>
                    <a:pt x="149" y="67"/>
                  </a:cubicBezTo>
                  <a:cubicBezTo>
                    <a:pt x="149" y="143"/>
                    <a:pt x="149" y="143"/>
                    <a:pt x="149" y="143"/>
                  </a:cubicBezTo>
                  <a:cubicBezTo>
                    <a:pt x="131" y="148"/>
                    <a:pt x="117" y="164"/>
                    <a:pt x="117" y="183"/>
                  </a:cubicBezTo>
                  <a:cubicBezTo>
                    <a:pt x="117" y="195"/>
                    <a:pt x="121" y="206"/>
                    <a:pt x="129" y="214"/>
                  </a:cubicBezTo>
                  <a:cubicBezTo>
                    <a:pt x="137" y="222"/>
                    <a:pt x="148" y="226"/>
                    <a:pt x="159" y="227"/>
                  </a:cubicBezTo>
                  <a:cubicBezTo>
                    <a:pt x="159" y="227"/>
                    <a:pt x="159" y="227"/>
                    <a:pt x="160" y="227"/>
                  </a:cubicBezTo>
                  <a:cubicBezTo>
                    <a:pt x="183" y="227"/>
                    <a:pt x="202" y="208"/>
                    <a:pt x="202" y="185"/>
                  </a:cubicBezTo>
                  <a:cubicBezTo>
                    <a:pt x="203" y="173"/>
                    <a:pt x="198" y="162"/>
                    <a:pt x="190" y="154"/>
                  </a:cubicBezTo>
                  <a:cubicBezTo>
                    <a:pt x="185" y="149"/>
                    <a:pt x="178" y="145"/>
                    <a:pt x="170" y="143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301" y="22"/>
                    <a:pt x="301" y="22"/>
                    <a:pt x="301" y="22"/>
                  </a:cubicBezTo>
                  <a:cubicBezTo>
                    <a:pt x="306" y="21"/>
                    <a:pt x="309" y="15"/>
                    <a:pt x="308" y="9"/>
                  </a:cubicBezTo>
                  <a:close/>
                  <a:moveTo>
                    <a:pt x="57" y="103"/>
                  </a:moveTo>
                  <a:cubicBezTo>
                    <a:pt x="53" y="107"/>
                    <a:pt x="48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37" y="109"/>
                    <a:pt x="31" y="107"/>
                    <a:pt x="27" y="103"/>
                  </a:cubicBezTo>
                  <a:cubicBezTo>
                    <a:pt x="23" y="99"/>
                    <a:pt x="21" y="94"/>
                    <a:pt x="21" y="88"/>
                  </a:cubicBezTo>
                  <a:cubicBezTo>
                    <a:pt x="21" y="82"/>
                    <a:pt x="23" y="77"/>
                    <a:pt x="27" y="73"/>
                  </a:cubicBezTo>
                  <a:cubicBezTo>
                    <a:pt x="31" y="69"/>
                    <a:pt x="37" y="67"/>
                    <a:pt x="4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8" y="67"/>
                    <a:pt x="53" y="69"/>
                    <a:pt x="57" y="73"/>
                  </a:cubicBezTo>
                  <a:cubicBezTo>
                    <a:pt x="61" y="77"/>
                    <a:pt x="64" y="82"/>
                    <a:pt x="64" y="88"/>
                  </a:cubicBezTo>
                  <a:cubicBezTo>
                    <a:pt x="64" y="94"/>
                    <a:pt x="61" y="99"/>
                    <a:pt x="57" y="103"/>
                  </a:cubicBezTo>
                  <a:close/>
                  <a:moveTo>
                    <a:pt x="175" y="169"/>
                  </a:moveTo>
                  <a:cubicBezTo>
                    <a:pt x="179" y="173"/>
                    <a:pt x="181" y="179"/>
                    <a:pt x="181" y="184"/>
                  </a:cubicBezTo>
                  <a:cubicBezTo>
                    <a:pt x="181" y="196"/>
                    <a:pt x="171" y="205"/>
                    <a:pt x="160" y="205"/>
                  </a:cubicBezTo>
                  <a:cubicBezTo>
                    <a:pt x="160" y="205"/>
                    <a:pt x="159" y="205"/>
                    <a:pt x="159" y="205"/>
                  </a:cubicBezTo>
                  <a:cubicBezTo>
                    <a:pt x="154" y="205"/>
                    <a:pt x="148" y="203"/>
                    <a:pt x="144" y="199"/>
                  </a:cubicBezTo>
                  <a:cubicBezTo>
                    <a:pt x="140" y="195"/>
                    <a:pt x="138" y="189"/>
                    <a:pt x="138" y="184"/>
                  </a:cubicBezTo>
                  <a:cubicBezTo>
                    <a:pt x="139" y="172"/>
                    <a:pt x="148" y="163"/>
                    <a:pt x="160" y="163"/>
                  </a:cubicBezTo>
                  <a:cubicBezTo>
                    <a:pt x="160" y="163"/>
                    <a:pt x="160" y="163"/>
                    <a:pt x="160" y="163"/>
                  </a:cubicBezTo>
                  <a:cubicBezTo>
                    <a:pt x="166" y="163"/>
                    <a:pt x="171" y="165"/>
                    <a:pt x="175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927"/>
            <p:cNvSpPr>
              <a:spLocks noEditPoints="1"/>
            </p:cNvSpPr>
            <p:nvPr/>
          </p:nvSpPr>
          <p:spPr bwMode="auto">
            <a:xfrm>
              <a:off x="1865" y="346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3" name="Freeform 931"/>
          <p:cNvSpPr>
            <a:spLocks noChangeAspect="1" noEditPoints="1"/>
          </p:cNvSpPr>
          <p:nvPr/>
        </p:nvSpPr>
        <p:spPr bwMode="auto">
          <a:xfrm>
            <a:off x="9396314" y="2916241"/>
            <a:ext cx="369021" cy="369021"/>
          </a:xfrm>
          <a:custGeom>
            <a:avLst/>
            <a:gdLst>
              <a:gd name="T0" fmla="*/ 153 w 512"/>
              <a:gd name="T1" fmla="*/ 262 h 512"/>
              <a:gd name="T2" fmla="*/ 160 w 512"/>
              <a:gd name="T3" fmla="*/ 277 h 512"/>
              <a:gd name="T4" fmla="*/ 153 w 512"/>
              <a:gd name="T5" fmla="*/ 292 h 512"/>
              <a:gd name="T6" fmla="*/ 138 w 512"/>
              <a:gd name="T7" fmla="*/ 298 h 512"/>
              <a:gd name="T8" fmla="*/ 138 w 512"/>
              <a:gd name="T9" fmla="*/ 298 h 512"/>
              <a:gd name="T10" fmla="*/ 123 w 512"/>
              <a:gd name="T11" fmla="*/ 292 h 512"/>
              <a:gd name="T12" fmla="*/ 117 w 512"/>
              <a:gd name="T13" fmla="*/ 277 h 512"/>
              <a:gd name="T14" fmla="*/ 123 w 512"/>
              <a:gd name="T15" fmla="*/ 262 h 512"/>
              <a:gd name="T16" fmla="*/ 138 w 512"/>
              <a:gd name="T17" fmla="*/ 256 h 512"/>
              <a:gd name="T18" fmla="*/ 138 w 512"/>
              <a:gd name="T19" fmla="*/ 256 h 512"/>
              <a:gd name="T20" fmla="*/ 153 w 512"/>
              <a:gd name="T21" fmla="*/ 262 h 512"/>
              <a:gd name="T22" fmla="*/ 256 w 512"/>
              <a:gd name="T23" fmla="*/ 352 h 512"/>
              <a:gd name="T24" fmla="*/ 234 w 512"/>
              <a:gd name="T25" fmla="*/ 373 h 512"/>
              <a:gd name="T26" fmla="*/ 240 w 512"/>
              <a:gd name="T27" fmla="*/ 388 h 512"/>
              <a:gd name="T28" fmla="*/ 255 w 512"/>
              <a:gd name="T29" fmla="*/ 394 h 512"/>
              <a:gd name="T30" fmla="*/ 256 w 512"/>
              <a:gd name="T31" fmla="*/ 394 h 512"/>
              <a:gd name="T32" fmla="*/ 277 w 512"/>
              <a:gd name="T33" fmla="*/ 373 h 512"/>
              <a:gd name="T34" fmla="*/ 271 w 512"/>
              <a:gd name="T35" fmla="*/ 358 h 512"/>
              <a:gd name="T36" fmla="*/ 256 w 512"/>
              <a:gd name="T37" fmla="*/ 352 h 512"/>
              <a:gd name="T38" fmla="*/ 256 w 512"/>
              <a:gd name="T39" fmla="*/ 352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245 w 512"/>
              <a:gd name="T51" fmla="*/ 202 h 512"/>
              <a:gd name="T52" fmla="*/ 256 w 512"/>
              <a:gd name="T53" fmla="*/ 213 h 512"/>
              <a:gd name="T54" fmla="*/ 266 w 512"/>
              <a:gd name="T55" fmla="*/ 202 h 512"/>
              <a:gd name="T56" fmla="*/ 266 w 512"/>
              <a:gd name="T57" fmla="*/ 106 h 512"/>
              <a:gd name="T58" fmla="*/ 256 w 512"/>
              <a:gd name="T59" fmla="*/ 96 h 512"/>
              <a:gd name="T60" fmla="*/ 245 w 512"/>
              <a:gd name="T61" fmla="*/ 106 h 512"/>
              <a:gd name="T62" fmla="*/ 245 w 512"/>
              <a:gd name="T63" fmla="*/ 202 h 512"/>
              <a:gd name="T64" fmla="*/ 404 w 512"/>
              <a:gd name="T65" fmla="*/ 198 h 512"/>
              <a:gd name="T66" fmla="*/ 391 w 512"/>
              <a:gd name="T67" fmla="*/ 191 h 512"/>
              <a:gd name="T68" fmla="*/ 175 w 512"/>
              <a:gd name="T69" fmla="*/ 255 h 512"/>
              <a:gd name="T70" fmla="*/ 169 w 512"/>
              <a:gd name="T71" fmla="*/ 247 h 512"/>
              <a:gd name="T72" fmla="*/ 138 w 512"/>
              <a:gd name="T73" fmla="*/ 234 h 512"/>
              <a:gd name="T74" fmla="*/ 138 w 512"/>
              <a:gd name="T75" fmla="*/ 234 h 512"/>
              <a:gd name="T76" fmla="*/ 108 w 512"/>
              <a:gd name="T77" fmla="*/ 247 h 512"/>
              <a:gd name="T78" fmla="*/ 96 w 512"/>
              <a:gd name="T79" fmla="*/ 277 h 512"/>
              <a:gd name="T80" fmla="*/ 108 w 512"/>
              <a:gd name="T81" fmla="*/ 307 h 512"/>
              <a:gd name="T82" fmla="*/ 138 w 512"/>
              <a:gd name="T83" fmla="*/ 320 h 512"/>
              <a:gd name="T84" fmla="*/ 138 w 512"/>
              <a:gd name="T85" fmla="*/ 320 h 512"/>
              <a:gd name="T86" fmla="*/ 168 w 512"/>
              <a:gd name="T87" fmla="*/ 307 h 512"/>
              <a:gd name="T88" fmla="*/ 181 w 512"/>
              <a:gd name="T89" fmla="*/ 277 h 512"/>
              <a:gd name="T90" fmla="*/ 181 w 512"/>
              <a:gd name="T91" fmla="*/ 276 h 512"/>
              <a:gd name="T92" fmla="*/ 245 w 512"/>
              <a:gd name="T93" fmla="*/ 256 h 512"/>
              <a:gd name="T94" fmla="*/ 245 w 512"/>
              <a:gd name="T95" fmla="*/ 332 h 512"/>
              <a:gd name="T96" fmla="*/ 213 w 512"/>
              <a:gd name="T97" fmla="*/ 372 h 512"/>
              <a:gd name="T98" fmla="*/ 225 w 512"/>
              <a:gd name="T99" fmla="*/ 403 h 512"/>
              <a:gd name="T100" fmla="*/ 255 w 512"/>
              <a:gd name="T101" fmla="*/ 416 h 512"/>
              <a:gd name="T102" fmla="*/ 256 w 512"/>
              <a:gd name="T103" fmla="*/ 416 h 512"/>
              <a:gd name="T104" fmla="*/ 298 w 512"/>
              <a:gd name="T105" fmla="*/ 374 h 512"/>
              <a:gd name="T106" fmla="*/ 286 w 512"/>
              <a:gd name="T107" fmla="*/ 343 h 512"/>
              <a:gd name="T108" fmla="*/ 266 w 512"/>
              <a:gd name="T109" fmla="*/ 332 h 512"/>
              <a:gd name="T110" fmla="*/ 266 w 512"/>
              <a:gd name="T111" fmla="*/ 250 h 512"/>
              <a:gd name="T112" fmla="*/ 397 w 512"/>
              <a:gd name="T113" fmla="*/ 211 h 512"/>
              <a:gd name="T114" fmla="*/ 404 w 512"/>
              <a:gd name="T115" fmla="*/ 1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53" y="262"/>
                </a:moveTo>
                <a:cubicBezTo>
                  <a:pt x="157" y="266"/>
                  <a:pt x="160" y="271"/>
                  <a:pt x="160" y="277"/>
                </a:cubicBezTo>
                <a:cubicBezTo>
                  <a:pt x="160" y="283"/>
                  <a:pt x="157" y="288"/>
                  <a:pt x="153" y="292"/>
                </a:cubicBezTo>
                <a:cubicBezTo>
                  <a:pt x="149" y="296"/>
                  <a:pt x="144" y="298"/>
                  <a:pt x="138" y="298"/>
                </a:cubicBezTo>
                <a:cubicBezTo>
                  <a:pt x="138" y="298"/>
                  <a:pt x="138" y="298"/>
                  <a:pt x="138" y="298"/>
                </a:cubicBezTo>
                <a:cubicBezTo>
                  <a:pt x="133" y="298"/>
                  <a:pt x="127" y="296"/>
                  <a:pt x="123" y="292"/>
                </a:cubicBezTo>
                <a:cubicBezTo>
                  <a:pt x="119" y="288"/>
                  <a:pt x="117" y="283"/>
                  <a:pt x="117" y="277"/>
                </a:cubicBezTo>
                <a:cubicBezTo>
                  <a:pt x="117" y="271"/>
                  <a:pt x="119" y="266"/>
                  <a:pt x="123" y="262"/>
                </a:cubicBezTo>
                <a:cubicBezTo>
                  <a:pt x="127" y="258"/>
                  <a:pt x="133" y="256"/>
                  <a:pt x="138" y="256"/>
                </a:cubicBezTo>
                <a:cubicBezTo>
                  <a:pt x="138" y="256"/>
                  <a:pt x="138" y="256"/>
                  <a:pt x="138" y="256"/>
                </a:cubicBezTo>
                <a:cubicBezTo>
                  <a:pt x="144" y="256"/>
                  <a:pt x="149" y="258"/>
                  <a:pt x="153" y="262"/>
                </a:cubicBezTo>
                <a:close/>
                <a:moveTo>
                  <a:pt x="256" y="352"/>
                </a:moveTo>
                <a:cubicBezTo>
                  <a:pt x="244" y="352"/>
                  <a:pt x="235" y="361"/>
                  <a:pt x="234" y="373"/>
                </a:cubicBezTo>
                <a:cubicBezTo>
                  <a:pt x="234" y="378"/>
                  <a:pt x="236" y="384"/>
                  <a:pt x="240" y="388"/>
                </a:cubicBezTo>
                <a:cubicBezTo>
                  <a:pt x="244" y="392"/>
                  <a:pt x="250" y="394"/>
                  <a:pt x="255" y="394"/>
                </a:cubicBezTo>
                <a:cubicBezTo>
                  <a:pt x="255" y="394"/>
                  <a:pt x="256" y="394"/>
                  <a:pt x="256" y="394"/>
                </a:cubicBezTo>
                <a:cubicBezTo>
                  <a:pt x="267" y="394"/>
                  <a:pt x="277" y="385"/>
                  <a:pt x="277" y="373"/>
                </a:cubicBezTo>
                <a:cubicBezTo>
                  <a:pt x="277" y="368"/>
                  <a:pt x="275" y="362"/>
                  <a:pt x="271" y="358"/>
                </a:cubicBezTo>
                <a:cubicBezTo>
                  <a:pt x="267" y="354"/>
                  <a:pt x="262" y="352"/>
                  <a:pt x="256" y="352"/>
                </a:cubicBezTo>
                <a:cubicBezTo>
                  <a:pt x="256" y="352"/>
                  <a:pt x="256" y="352"/>
                  <a:pt x="256" y="35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45" y="202"/>
                </a:moveTo>
                <a:cubicBezTo>
                  <a:pt x="245" y="208"/>
                  <a:pt x="250" y="213"/>
                  <a:pt x="256" y="213"/>
                </a:cubicBezTo>
                <a:cubicBezTo>
                  <a:pt x="262" y="213"/>
                  <a:pt x="266" y="208"/>
                  <a:pt x="266" y="202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lnTo>
                  <a:pt x="245" y="202"/>
                </a:lnTo>
                <a:close/>
                <a:moveTo>
                  <a:pt x="404" y="198"/>
                </a:moveTo>
                <a:cubicBezTo>
                  <a:pt x="402" y="193"/>
                  <a:pt x="396" y="189"/>
                  <a:pt x="391" y="191"/>
                </a:cubicBezTo>
                <a:cubicBezTo>
                  <a:pt x="175" y="255"/>
                  <a:pt x="175" y="255"/>
                  <a:pt x="175" y="255"/>
                </a:cubicBezTo>
                <a:cubicBezTo>
                  <a:pt x="173" y="252"/>
                  <a:pt x="171" y="249"/>
                  <a:pt x="169" y="247"/>
                </a:cubicBezTo>
                <a:cubicBezTo>
                  <a:pt x="161" y="239"/>
                  <a:pt x="150" y="234"/>
                  <a:pt x="138" y="234"/>
                </a:cubicBezTo>
                <a:cubicBezTo>
                  <a:pt x="138" y="234"/>
                  <a:pt x="138" y="234"/>
                  <a:pt x="138" y="234"/>
                </a:cubicBezTo>
                <a:cubicBezTo>
                  <a:pt x="127" y="234"/>
                  <a:pt x="116" y="239"/>
                  <a:pt x="108" y="247"/>
                </a:cubicBezTo>
                <a:cubicBezTo>
                  <a:pt x="100" y="255"/>
                  <a:pt x="96" y="266"/>
                  <a:pt x="96" y="277"/>
                </a:cubicBezTo>
                <a:cubicBezTo>
                  <a:pt x="96" y="288"/>
                  <a:pt x="100" y="299"/>
                  <a:pt x="108" y="307"/>
                </a:cubicBezTo>
                <a:cubicBezTo>
                  <a:pt x="116" y="315"/>
                  <a:pt x="127" y="320"/>
                  <a:pt x="138" y="320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50" y="320"/>
                  <a:pt x="160" y="315"/>
                  <a:pt x="168" y="307"/>
                </a:cubicBezTo>
                <a:cubicBezTo>
                  <a:pt x="177" y="299"/>
                  <a:pt x="181" y="288"/>
                  <a:pt x="181" y="277"/>
                </a:cubicBezTo>
                <a:cubicBezTo>
                  <a:pt x="181" y="277"/>
                  <a:pt x="181" y="276"/>
                  <a:pt x="181" y="276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332"/>
                  <a:pt x="245" y="332"/>
                  <a:pt x="245" y="332"/>
                </a:cubicBezTo>
                <a:cubicBezTo>
                  <a:pt x="227" y="337"/>
                  <a:pt x="213" y="353"/>
                  <a:pt x="213" y="372"/>
                </a:cubicBezTo>
                <a:cubicBezTo>
                  <a:pt x="213" y="384"/>
                  <a:pt x="217" y="395"/>
                  <a:pt x="225" y="403"/>
                </a:cubicBezTo>
                <a:cubicBezTo>
                  <a:pt x="233" y="411"/>
                  <a:pt x="244" y="415"/>
                  <a:pt x="255" y="416"/>
                </a:cubicBezTo>
                <a:cubicBezTo>
                  <a:pt x="255" y="416"/>
                  <a:pt x="255" y="416"/>
                  <a:pt x="256" y="416"/>
                </a:cubicBezTo>
                <a:cubicBezTo>
                  <a:pt x="279" y="416"/>
                  <a:pt x="298" y="397"/>
                  <a:pt x="298" y="374"/>
                </a:cubicBezTo>
                <a:cubicBezTo>
                  <a:pt x="299" y="362"/>
                  <a:pt x="294" y="351"/>
                  <a:pt x="286" y="343"/>
                </a:cubicBezTo>
                <a:cubicBezTo>
                  <a:pt x="281" y="338"/>
                  <a:pt x="274" y="334"/>
                  <a:pt x="266" y="332"/>
                </a:cubicBezTo>
                <a:cubicBezTo>
                  <a:pt x="266" y="250"/>
                  <a:pt x="266" y="250"/>
                  <a:pt x="266" y="250"/>
                </a:cubicBezTo>
                <a:cubicBezTo>
                  <a:pt x="397" y="211"/>
                  <a:pt x="397" y="211"/>
                  <a:pt x="397" y="211"/>
                </a:cubicBezTo>
                <a:cubicBezTo>
                  <a:pt x="402" y="210"/>
                  <a:pt x="405" y="204"/>
                  <a:pt x="404" y="19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4193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Char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31386" y="247524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ne graph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17404" y="247524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r chart 1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18239" y="24752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r chart 2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13559" y="24752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e chart 2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11221" y="24752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ot graph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15899" y="24752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e chart 1</a:t>
            </a:r>
          </a:p>
        </p:txBody>
      </p:sp>
      <p:sp>
        <p:nvSpPr>
          <p:cNvPr id="256" name="Freeform 584"/>
          <p:cNvSpPr>
            <a:spLocks noChangeAspect="1" noEditPoints="1"/>
          </p:cNvSpPr>
          <p:nvPr/>
        </p:nvSpPr>
        <p:spPr bwMode="auto">
          <a:xfrm>
            <a:off x="431386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373 h 512"/>
              <a:gd name="T12" fmla="*/ 106 w 512"/>
              <a:gd name="T13" fmla="*/ 373 h 512"/>
              <a:gd name="T14" fmla="*/ 96 w 512"/>
              <a:gd name="T15" fmla="*/ 362 h 512"/>
              <a:gd name="T16" fmla="*/ 96 w 512"/>
              <a:gd name="T17" fmla="*/ 149 h 512"/>
              <a:gd name="T18" fmla="*/ 106 w 512"/>
              <a:gd name="T19" fmla="*/ 138 h 512"/>
              <a:gd name="T20" fmla="*/ 117 w 512"/>
              <a:gd name="T21" fmla="*/ 149 h 512"/>
              <a:gd name="T22" fmla="*/ 117 w 512"/>
              <a:gd name="T23" fmla="*/ 352 h 512"/>
              <a:gd name="T24" fmla="*/ 405 w 512"/>
              <a:gd name="T25" fmla="*/ 352 h 512"/>
              <a:gd name="T26" fmla="*/ 416 w 512"/>
              <a:gd name="T27" fmla="*/ 362 h 512"/>
              <a:gd name="T28" fmla="*/ 405 w 512"/>
              <a:gd name="T29" fmla="*/ 373 h 512"/>
              <a:gd name="T30" fmla="*/ 413 w 512"/>
              <a:gd name="T31" fmla="*/ 178 h 512"/>
              <a:gd name="T32" fmla="*/ 295 w 512"/>
              <a:gd name="T33" fmla="*/ 295 h 512"/>
              <a:gd name="T34" fmla="*/ 280 w 512"/>
              <a:gd name="T35" fmla="*/ 295 h 512"/>
              <a:gd name="T36" fmla="*/ 224 w 512"/>
              <a:gd name="T37" fmla="*/ 239 h 512"/>
              <a:gd name="T38" fmla="*/ 157 w 512"/>
              <a:gd name="T39" fmla="*/ 306 h 512"/>
              <a:gd name="T40" fmla="*/ 149 w 512"/>
              <a:gd name="T41" fmla="*/ 309 h 512"/>
              <a:gd name="T42" fmla="*/ 141 w 512"/>
              <a:gd name="T43" fmla="*/ 306 h 512"/>
              <a:gd name="T44" fmla="*/ 141 w 512"/>
              <a:gd name="T45" fmla="*/ 291 h 512"/>
              <a:gd name="T46" fmla="*/ 216 w 512"/>
              <a:gd name="T47" fmla="*/ 216 h 512"/>
              <a:gd name="T48" fmla="*/ 231 w 512"/>
              <a:gd name="T49" fmla="*/ 216 h 512"/>
              <a:gd name="T50" fmla="*/ 288 w 512"/>
              <a:gd name="T51" fmla="*/ 273 h 512"/>
              <a:gd name="T52" fmla="*/ 397 w 512"/>
              <a:gd name="T53" fmla="*/ 163 h 512"/>
              <a:gd name="T54" fmla="*/ 413 w 512"/>
              <a:gd name="T55" fmla="*/ 163 h 512"/>
              <a:gd name="T56" fmla="*/ 413 w 512"/>
              <a:gd name="T57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  <a:moveTo>
                  <a:pt x="413" y="178"/>
                </a:moveTo>
                <a:cubicBezTo>
                  <a:pt x="295" y="295"/>
                  <a:pt x="295" y="295"/>
                  <a:pt x="295" y="295"/>
                </a:cubicBezTo>
                <a:cubicBezTo>
                  <a:pt x="291" y="299"/>
                  <a:pt x="284" y="299"/>
                  <a:pt x="280" y="295"/>
                </a:cubicBezTo>
                <a:cubicBezTo>
                  <a:pt x="224" y="239"/>
                  <a:pt x="224" y="239"/>
                  <a:pt x="224" y="239"/>
                </a:cubicBezTo>
                <a:cubicBezTo>
                  <a:pt x="157" y="306"/>
                  <a:pt x="157" y="306"/>
                  <a:pt x="157" y="306"/>
                </a:cubicBezTo>
                <a:cubicBezTo>
                  <a:pt x="154" y="308"/>
                  <a:pt x="152" y="309"/>
                  <a:pt x="149" y="309"/>
                </a:cubicBezTo>
                <a:cubicBezTo>
                  <a:pt x="146" y="309"/>
                  <a:pt x="144" y="308"/>
                  <a:pt x="141" y="306"/>
                </a:cubicBezTo>
                <a:cubicBezTo>
                  <a:pt x="137" y="302"/>
                  <a:pt x="137" y="295"/>
                  <a:pt x="141" y="291"/>
                </a:cubicBezTo>
                <a:cubicBezTo>
                  <a:pt x="216" y="216"/>
                  <a:pt x="216" y="216"/>
                  <a:pt x="216" y="216"/>
                </a:cubicBezTo>
                <a:cubicBezTo>
                  <a:pt x="220" y="212"/>
                  <a:pt x="227" y="212"/>
                  <a:pt x="231" y="216"/>
                </a:cubicBezTo>
                <a:cubicBezTo>
                  <a:pt x="288" y="273"/>
                  <a:pt x="288" y="273"/>
                  <a:pt x="288" y="273"/>
                </a:cubicBezTo>
                <a:cubicBezTo>
                  <a:pt x="397" y="163"/>
                  <a:pt x="397" y="163"/>
                  <a:pt x="397" y="163"/>
                </a:cubicBezTo>
                <a:cubicBezTo>
                  <a:pt x="402" y="159"/>
                  <a:pt x="408" y="159"/>
                  <a:pt x="413" y="163"/>
                </a:cubicBezTo>
                <a:cubicBezTo>
                  <a:pt x="417" y="167"/>
                  <a:pt x="417" y="174"/>
                  <a:pt x="413" y="1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587"/>
          <p:cNvGrpSpPr>
            <a:grpSpLocks noChangeAspect="1"/>
          </p:cNvGrpSpPr>
          <p:nvPr/>
        </p:nvGrpSpPr>
        <p:grpSpPr bwMode="auto">
          <a:xfrm>
            <a:off x="927276" y="2051054"/>
            <a:ext cx="367041" cy="367041"/>
            <a:chOff x="2878" y="2417"/>
            <a:chExt cx="340" cy="340"/>
          </a:xfrm>
          <a:solidFill>
            <a:schemeClr val="accent1"/>
          </a:solidFill>
        </p:grpSpPr>
        <p:sp>
          <p:nvSpPr>
            <p:cNvPr id="258" name="Freeform 588"/>
            <p:cNvSpPr>
              <a:spLocks/>
            </p:cNvSpPr>
            <p:nvPr/>
          </p:nvSpPr>
          <p:spPr bwMode="auto">
            <a:xfrm>
              <a:off x="2942" y="2509"/>
              <a:ext cx="212" cy="156"/>
            </a:xfrm>
            <a:custGeom>
              <a:avLst/>
              <a:gdLst>
                <a:gd name="T0" fmla="*/ 309 w 320"/>
                <a:gd name="T1" fmla="*/ 214 h 235"/>
                <a:gd name="T2" fmla="*/ 21 w 320"/>
                <a:gd name="T3" fmla="*/ 214 h 235"/>
                <a:gd name="T4" fmla="*/ 21 w 320"/>
                <a:gd name="T5" fmla="*/ 11 h 235"/>
                <a:gd name="T6" fmla="*/ 10 w 320"/>
                <a:gd name="T7" fmla="*/ 0 h 235"/>
                <a:gd name="T8" fmla="*/ 0 w 320"/>
                <a:gd name="T9" fmla="*/ 11 h 235"/>
                <a:gd name="T10" fmla="*/ 0 w 320"/>
                <a:gd name="T11" fmla="*/ 224 h 235"/>
                <a:gd name="T12" fmla="*/ 10 w 320"/>
                <a:gd name="T13" fmla="*/ 235 h 235"/>
                <a:gd name="T14" fmla="*/ 309 w 320"/>
                <a:gd name="T15" fmla="*/ 235 h 235"/>
                <a:gd name="T16" fmla="*/ 320 w 320"/>
                <a:gd name="T17" fmla="*/ 224 h 235"/>
                <a:gd name="T18" fmla="*/ 309 w 320"/>
                <a:gd name="T19" fmla="*/ 21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0" h="235">
                  <a:moveTo>
                    <a:pt x="309" y="214"/>
                  </a:moveTo>
                  <a:cubicBezTo>
                    <a:pt x="21" y="214"/>
                    <a:pt x="21" y="214"/>
                    <a:pt x="21" y="214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6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218"/>
                    <a:pt x="315" y="214"/>
                    <a:pt x="309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589"/>
            <p:cNvSpPr>
              <a:spLocks/>
            </p:cNvSpPr>
            <p:nvPr/>
          </p:nvSpPr>
          <p:spPr bwMode="auto">
            <a:xfrm>
              <a:off x="2969" y="2523"/>
              <a:ext cx="186" cy="99"/>
            </a:xfrm>
            <a:custGeom>
              <a:avLst/>
              <a:gdLst>
                <a:gd name="T0" fmla="*/ 12 w 280"/>
                <a:gd name="T1" fmla="*/ 150 h 150"/>
                <a:gd name="T2" fmla="*/ 20 w 280"/>
                <a:gd name="T3" fmla="*/ 147 h 150"/>
                <a:gd name="T4" fmla="*/ 87 w 280"/>
                <a:gd name="T5" fmla="*/ 80 h 150"/>
                <a:gd name="T6" fmla="*/ 143 w 280"/>
                <a:gd name="T7" fmla="*/ 136 h 150"/>
                <a:gd name="T8" fmla="*/ 158 w 280"/>
                <a:gd name="T9" fmla="*/ 136 h 150"/>
                <a:gd name="T10" fmla="*/ 276 w 280"/>
                <a:gd name="T11" fmla="*/ 19 h 150"/>
                <a:gd name="T12" fmla="*/ 276 w 280"/>
                <a:gd name="T13" fmla="*/ 4 h 150"/>
                <a:gd name="T14" fmla="*/ 260 w 280"/>
                <a:gd name="T15" fmla="*/ 4 h 150"/>
                <a:gd name="T16" fmla="*/ 151 w 280"/>
                <a:gd name="T17" fmla="*/ 114 h 150"/>
                <a:gd name="T18" fmla="*/ 94 w 280"/>
                <a:gd name="T19" fmla="*/ 57 h 150"/>
                <a:gd name="T20" fmla="*/ 79 w 280"/>
                <a:gd name="T21" fmla="*/ 57 h 150"/>
                <a:gd name="T22" fmla="*/ 4 w 280"/>
                <a:gd name="T23" fmla="*/ 132 h 150"/>
                <a:gd name="T24" fmla="*/ 4 w 280"/>
                <a:gd name="T25" fmla="*/ 147 h 150"/>
                <a:gd name="T26" fmla="*/ 12 w 280"/>
                <a:gd name="T27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0" h="150">
                  <a:moveTo>
                    <a:pt x="12" y="150"/>
                  </a:moveTo>
                  <a:cubicBezTo>
                    <a:pt x="15" y="150"/>
                    <a:pt x="17" y="149"/>
                    <a:pt x="20" y="147"/>
                  </a:cubicBezTo>
                  <a:cubicBezTo>
                    <a:pt x="87" y="80"/>
                    <a:pt x="87" y="80"/>
                    <a:pt x="87" y="80"/>
                  </a:cubicBezTo>
                  <a:cubicBezTo>
                    <a:pt x="143" y="136"/>
                    <a:pt x="143" y="136"/>
                    <a:pt x="143" y="136"/>
                  </a:cubicBezTo>
                  <a:cubicBezTo>
                    <a:pt x="147" y="140"/>
                    <a:pt x="154" y="140"/>
                    <a:pt x="158" y="136"/>
                  </a:cubicBezTo>
                  <a:cubicBezTo>
                    <a:pt x="276" y="19"/>
                    <a:pt x="276" y="19"/>
                    <a:pt x="276" y="19"/>
                  </a:cubicBezTo>
                  <a:cubicBezTo>
                    <a:pt x="280" y="15"/>
                    <a:pt x="280" y="8"/>
                    <a:pt x="276" y="4"/>
                  </a:cubicBezTo>
                  <a:cubicBezTo>
                    <a:pt x="271" y="0"/>
                    <a:pt x="265" y="0"/>
                    <a:pt x="260" y="4"/>
                  </a:cubicBezTo>
                  <a:cubicBezTo>
                    <a:pt x="151" y="114"/>
                    <a:pt x="151" y="114"/>
                    <a:pt x="151" y="114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0" y="53"/>
                    <a:pt x="83" y="53"/>
                    <a:pt x="79" y="57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0" y="136"/>
                    <a:pt x="0" y="143"/>
                    <a:pt x="4" y="147"/>
                  </a:cubicBezTo>
                  <a:cubicBezTo>
                    <a:pt x="7" y="149"/>
                    <a:pt x="9" y="150"/>
                    <a:pt x="12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590"/>
            <p:cNvSpPr>
              <a:spLocks noEditPoints="1"/>
            </p:cNvSpPr>
            <p:nvPr/>
          </p:nvSpPr>
          <p:spPr bwMode="auto">
            <a:xfrm>
              <a:off x="2878" y="241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1" name="Freeform 364"/>
          <p:cNvSpPr>
            <a:spLocks noChangeAspect="1" noEditPoints="1"/>
          </p:cNvSpPr>
          <p:nvPr/>
        </p:nvSpPr>
        <p:spPr bwMode="auto">
          <a:xfrm>
            <a:off x="1423166" y="2051050"/>
            <a:ext cx="369064" cy="36798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17 w 512"/>
              <a:gd name="T5" fmla="*/ 362 h 512"/>
              <a:gd name="T6" fmla="*/ 96 w 512"/>
              <a:gd name="T7" fmla="*/ 362 h 512"/>
              <a:gd name="T8" fmla="*/ 106 w 512"/>
              <a:gd name="T9" fmla="*/ 330 h 512"/>
              <a:gd name="T10" fmla="*/ 117 w 512"/>
              <a:gd name="T11" fmla="*/ 362 h 512"/>
              <a:gd name="T12" fmla="*/ 149 w 512"/>
              <a:gd name="T13" fmla="*/ 373 h 512"/>
              <a:gd name="T14" fmla="*/ 138 w 512"/>
              <a:gd name="T15" fmla="*/ 320 h 512"/>
              <a:gd name="T16" fmla="*/ 160 w 512"/>
              <a:gd name="T17" fmla="*/ 320 h 512"/>
              <a:gd name="T18" fmla="*/ 202 w 512"/>
              <a:gd name="T19" fmla="*/ 362 h 512"/>
              <a:gd name="T20" fmla="*/ 181 w 512"/>
              <a:gd name="T21" fmla="*/ 362 h 512"/>
              <a:gd name="T22" fmla="*/ 192 w 512"/>
              <a:gd name="T23" fmla="*/ 277 h 512"/>
              <a:gd name="T24" fmla="*/ 202 w 512"/>
              <a:gd name="T25" fmla="*/ 362 h 512"/>
              <a:gd name="T26" fmla="*/ 234 w 512"/>
              <a:gd name="T27" fmla="*/ 373 h 512"/>
              <a:gd name="T28" fmla="*/ 224 w 512"/>
              <a:gd name="T29" fmla="*/ 277 h 512"/>
              <a:gd name="T30" fmla="*/ 245 w 512"/>
              <a:gd name="T31" fmla="*/ 277 h 512"/>
              <a:gd name="T32" fmla="*/ 288 w 512"/>
              <a:gd name="T33" fmla="*/ 362 h 512"/>
              <a:gd name="T34" fmla="*/ 266 w 512"/>
              <a:gd name="T35" fmla="*/ 362 h 512"/>
              <a:gd name="T36" fmla="*/ 277 w 512"/>
              <a:gd name="T37" fmla="*/ 266 h 512"/>
              <a:gd name="T38" fmla="*/ 288 w 512"/>
              <a:gd name="T39" fmla="*/ 362 h 512"/>
              <a:gd name="T40" fmla="*/ 320 w 512"/>
              <a:gd name="T41" fmla="*/ 373 h 512"/>
              <a:gd name="T42" fmla="*/ 309 w 512"/>
              <a:gd name="T43" fmla="*/ 245 h 512"/>
              <a:gd name="T44" fmla="*/ 330 w 512"/>
              <a:gd name="T45" fmla="*/ 245 h 512"/>
              <a:gd name="T46" fmla="*/ 373 w 512"/>
              <a:gd name="T47" fmla="*/ 362 h 512"/>
              <a:gd name="T48" fmla="*/ 352 w 512"/>
              <a:gd name="T49" fmla="*/ 362 h 512"/>
              <a:gd name="T50" fmla="*/ 362 w 512"/>
              <a:gd name="T51" fmla="*/ 202 h 512"/>
              <a:gd name="T52" fmla="*/ 373 w 512"/>
              <a:gd name="T53" fmla="*/ 362 h 512"/>
              <a:gd name="T54" fmla="*/ 384 w 512"/>
              <a:gd name="T55" fmla="*/ 181 h 512"/>
              <a:gd name="T56" fmla="*/ 373 w 512"/>
              <a:gd name="T57" fmla="*/ 153 h 512"/>
              <a:gd name="T58" fmla="*/ 277 w 512"/>
              <a:gd name="T59" fmla="*/ 245 h 512"/>
              <a:gd name="T60" fmla="*/ 113 w 512"/>
              <a:gd name="T61" fmla="*/ 307 h 512"/>
              <a:gd name="T62" fmla="*/ 98 w 512"/>
              <a:gd name="T63" fmla="*/ 305 h 512"/>
              <a:gd name="T64" fmla="*/ 185 w 512"/>
              <a:gd name="T65" fmla="*/ 226 h 512"/>
              <a:gd name="T66" fmla="*/ 273 w 512"/>
              <a:gd name="T67" fmla="*/ 224 h 512"/>
              <a:gd name="T68" fmla="*/ 341 w 512"/>
              <a:gd name="T69" fmla="*/ 138 h 512"/>
              <a:gd name="T70" fmla="*/ 341 w 512"/>
              <a:gd name="T71" fmla="*/ 117 h 512"/>
              <a:gd name="T72" fmla="*/ 388 w 512"/>
              <a:gd name="T73" fmla="*/ 118 h 512"/>
              <a:gd name="T74" fmla="*/ 394 w 512"/>
              <a:gd name="T75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362"/>
                </a:moveTo>
                <a:cubicBezTo>
                  <a:pt x="117" y="368"/>
                  <a:pt x="112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35"/>
                  <a:pt x="100" y="330"/>
                  <a:pt x="106" y="330"/>
                </a:cubicBezTo>
                <a:cubicBezTo>
                  <a:pt x="112" y="330"/>
                  <a:pt x="117" y="335"/>
                  <a:pt x="117" y="341"/>
                </a:cubicBezTo>
                <a:lnTo>
                  <a:pt x="117" y="362"/>
                </a:lnTo>
                <a:close/>
                <a:moveTo>
                  <a:pt x="160" y="362"/>
                </a:moveTo>
                <a:cubicBezTo>
                  <a:pt x="160" y="368"/>
                  <a:pt x="155" y="373"/>
                  <a:pt x="149" y="373"/>
                </a:cubicBezTo>
                <a:cubicBezTo>
                  <a:pt x="143" y="373"/>
                  <a:pt x="138" y="368"/>
                  <a:pt x="138" y="362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ubicBezTo>
                  <a:pt x="155" y="309"/>
                  <a:pt x="160" y="314"/>
                  <a:pt x="160" y="320"/>
                </a:cubicBezTo>
                <a:lnTo>
                  <a:pt x="160" y="362"/>
                </a:lnTo>
                <a:close/>
                <a:moveTo>
                  <a:pt x="202" y="362"/>
                </a:moveTo>
                <a:cubicBezTo>
                  <a:pt x="202" y="368"/>
                  <a:pt x="198" y="373"/>
                  <a:pt x="192" y="373"/>
                </a:cubicBezTo>
                <a:cubicBezTo>
                  <a:pt x="186" y="373"/>
                  <a:pt x="181" y="368"/>
                  <a:pt x="181" y="362"/>
                </a:cubicBezTo>
                <a:cubicBezTo>
                  <a:pt x="181" y="288"/>
                  <a:pt x="181" y="288"/>
                  <a:pt x="181" y="288"/>
                </a:cubicBezTo>
                <a:cubicBezTo>
                  <a:pt x="181" y="282"/>
                  <a:pt x="186" y="277"/>
                  <a:pt x="192" y="277"/>
                </a:cubicBezTo>
                <a:cubicBezTo>
                  <a:pt x="198" y="277"/>
                  <a:pt x="202" y="282"/>
                  <a:pt x="202" y="288"/>
                </a:cubicBezTo>
                <a:lnTo>
                  <a:pt x="202" y="362"/>
                </a:lnTo>
                <a:close/>
                <a:moveTo>
                  <a:pt x="245" y="362"/>
                </a:moveTo>
                <a:cubicBezTo>
                  <a:pt x="245" y="368"/>
                  <a:pt x="240" y="373"/>
                  <a:pt x="234" y="373"/>
                </a:cubicBezTo>
                <a:cubicBezTo>
                  <a:pt x="228" y="373"/>
                  <a:pt x="224" y="368"/>
                  <a:pt x="224" y="362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271"/>
                  <a:pt x="228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lnTo>
                  <a:pt x="245" y="362"/>
                </a:lnTo>
                <a:close/>
                <a:moveTo>
                  <a:pt x="288" y="362"/>
                </a:moveTo>
                <a:cubicBezTo>
                  <a:pt x="288" y="368"/>
                  <a:pt x="283" y="373"/>
                  <a:pt x="277" y="373"/>
                </a:cubicBezTo>
                <a:cubicBezTo>
                  <a:pt x="271" y="373"/>
                  <a:pt x="266" y="368"/>
                  <a:pt x="266" y="362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66" y="271"/>
                  <a:pt x="271" y="266"/>
                  <a:pt x="277" y="266"/>
                </a:cubicBezTo>
                <a:cubicBezTo>
                  <a:pt x="283" y="266"/>
                  <a:pt x="288" y="271"/>
                  <a:pt x="288" y="277"/>
                </a:cubicBezTo>
                <a:lnTo>
                  <a:pt x="288" y="362"/>
                </a:lnTo>
                <a:close/>
                <a:moveTo>
                  <a:pt x="330" y="362"/>
                </a:moveTo>
                <a:cubicBezTo>
                  <a:pt x="330" y="368"/>
                  <a:pt x="326" y="373"/>
                  <a:pt x="320" y="373"/>
                </a:cubicBezTo>
                <a:cubicBezTo>
                  <a:pt x="314" y="373"/>
                  <a:pt x="309" y="368"/>
                  <a:pt x="309" y="362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39"/>
                  <a:pt x="314" y="234"/>
                  <a:pt x="320" y="234"/>
                </a:cubicBezTo>
                <a:cubicBezTo>
                  <a:pt x="326" y="234"/>
                  <a:pt x="330" y="239"/>
                  <a:pt x="330" y="245"/>
                </a:cubicBezTo>
                <a:lnTo>
                  <a:pt x="330" y="362"/>
                </a:lnTo>
                <a:close/>
                <a:moveTo>
                  <a:pt x="373" y="362"/>
                </a:moveTo>
                <a:cubicBezTo>
                  <a:pt x="373" y="368"/>
                  <a:pt x="368" y="373"/>
                  <a:pt x="362" y="373"/>
                </a:cubicBezTo>
                <a:cubicBezTo>
                  <a:pt x="356" y="373"/>
                  <a:pt x="352" y="368"/>
                  <a:pt x="352" y="362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2" y="207"/>
                  <a:pt x="356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362"/>
                </a:lnTo>
                <a:close/>
                <a:moveTo>
                  <a:pt x="394" y="170"/>
                </a:moveTo>
                <a:cubicBezTo>
                  <a:pt x="394" y="176"/>
                  <a:pt x="390" y="181"/>
                  <a:pt x="384" y="181"/>
                </a:cubicBezTo>
                <a:cubicBezTo>
                  <a:pt x="378" y="181"/>
                  <a:pt x="373" y="176"/>
                  <a:pt x="373" y="170"/>
                </a:cubicBezTo>
                <a:cubicBezTo>
                  <a:pt x="373" y="153"/>
                  <a:pt x="373" y="153"/>
                  <a:pt x="373" y="153"/>
                </a:cubicBezTo>
                <a:cubicBezTo>
                  <a:pt x="285" y="242"/>
                  <a:pt x="285" y="242"/>
                  <a:pt x="285" y="242"/>
                </a:cubicBezTo>
                <a:cubicBezTo>
                  <a:pt x="283" y="244"/>
                  <a:pt x="280" y="245"/>
                  <a:pt x="277" y="245"/>
                </a:cubicBezTo>
                <a:cubicBezTo>
                  <a:pt x="195" y="245"/>
                  <a:pt x="195" y="245"/>
                  <a:pt x="195" y="245"/>
                </a:cubicBezTo>
                <a:cubicBezTo>
                  <a:pt x="113" y="307"/>
                  <a:pt x="113" y="307"/>
                  <a:pt x="113" y="307"/>
                </a:cubicBezTo>
                <a:cubicBezTo>
                  <a:pt x="111" y="308"/>
                  <a:pt x="109" y="309"/>
                  <a:pt x="106" y="309"/>
                </a:cubicBezTo>
                <a:cubicBezTo>
                  <a:pt x="103" y="309"/>
                  <a:pt x="100" y="308"/>
                  <a:pt x="98" y="305"/>
                </a:cubicBezTo>
                <a:cubicBezTo>
                  <a:pt x="94" y="300"/>
                  <a:pt x="95" y="293"/>
                  <a:pt x="100" y="290"/>
                </a:cubicBezTo>
                <a:cubicBezTo>
                  <a:pt x="185" y="226"/>
                  <a:pt x="185" y="226"/>
                  <a:pt x="185" y="226"/>
                </a:cubicBezTo>
                <a:cubicBezTo>
                  <a:pt x="187" y="224"/>
                  <a:pt x="189" y="224"/>
                  <a:pt x="192" y="224"/>
                </a:cubicBezTo>
                <a:cubicBezTo>
                  <a:pt x="273" y="224"/>
                  <a:pt x="273" y="224"/>
                  <a:pt x="273" y="224"/>
                </a:cubicBezTo>
                <a:cubicBezTo>
                  <a:pt x="358" y="138"/>
                  <a:pt x="358" y="138"/>
                  <a:pt x="358" y="138"/>
                </a:cubicBezTo>
                <a:cubicBezTo>
                  <a:pt x="341" y="138"/>
                  <a:pt x="341" y="138"/>
                  <a:pt x="341" y="138"/>
                </a:cubicBezTo>
                <a:cubicBezTo>
                  <a:pt x="335" y="138"/>
                  <a:pt x="330" y="134"/>
                  <a:pt x="330" y="128"/>
                </a:cubicBezTo>
                <a:cubicBezTo>
                  <a:pt x="330" y="122"/>
                  <a:pt x="335" y="117"/>
                  <a:pt x="341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85" y="117"/>
                  <a:pt x="386" y="117"/>
                  <a:pt x="388" y="118"/>
                </a:cubicBezTo>
                <a:cubicBezTo>
                  <a:pt x="390" y="119"/>
                  <a:pt x="392" y="121"/>
                  <a:pt x="394" y="124"/>
                </a:cubicBezTo>
                <a:cubicBezTo>
                  <a:pt x="394" y="125"/>
                  <a:pt x="394" y="126"/>
                  <a:pt x="394" y="128"/>
                </a:cubicBezTo>
                <a:lnTo>
                  <a:pt x="394" y="17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2" name="Group 367"/>
          <p:cNvGrpSpPr>
            <a:grpSpLocks noChangeAspect="1"/>
          </p:cNvGrpSpPr>
          <p:nvPr/>
        </p:nvGrpSpPr>
        <p:grpSpPr bwMode="auto">
          <a:xfrm>
            <a:off x="1921079" y="2051050"/>
            <a:ext cx="367982" cy="369064"/>
            <a:chOff x="4383" y="2091"/>
            <a:chExt cx="340" cy="341"/>
          </a:xfrm>
          <a:solidFill>
            <a:schemeClr val="accent4"/>
          </a:solidFill>
        </p:grpSpPr>
        <p:sp>
          <p:nvSpPr>
            <p:cNvPr id="263" name="Freeform 262"/>
            <p:cNvSpPr>
              <a:spLocks noEditPoints="1"/>
            </p:cNvSpPr>
            <p:nvPr/>
          </p:nvSpPr>
          <p:spPr bwMode="auto">
            <a:xfrm>
              <a:off x="4445" y="2169"/>
              <a:ext cx="200" cy="170"/>
            </a:xfrm>
            <a:custGeom>
              <a:avLst/>
              <a:gdLst>
                <a:gd name="T0" fmla="*/ 23 w 300"/>
                <a:gd name="T1" fmla="*/ 245 h 256"/>
                <a:gd name="T2" fmla="*/ 2 w 300"/>
                <a:gd name="T3" fmla="*/ 245 h 256"/>
                <a:gd name="T4" fmla="*/ 12 w 300"/>
                <a:gd name="T5" fmla="*/ 213 h 256"/>
                <a:gd name="T6" fmla="*/ 55 w 300"/>
                <a:gd name="T7" fmla="*/ 192 h 256"/>
                <a:gd name="T8" fmla="*/ 44 w 300"/>
                <a:gd name="T9" fmla="*/ 245 h 256"/>
                <a:gd name="T10" fmla="*/ 66 w 300"/>
                <a:gd name="T11" fmla="*/ 245 h 256"/>
                <a:gd name="T12" fmla="*/ 55 w 300"/>
                <a:gd name="T13" fmla="*/ 192 h 256"/>
                <a:gd name="T14" fmla="*/ 87 w 300"/>
                <a:gd name="T15" fmla="*/ 171 h 256"/>
                <a:gd name="T16" fmla="*/ 98 w 300"/>
                <a:gd name="T17" fmla="*/ 256 h 256"/>
                <a:gd name="T18" fmla="*/ 108 w 300"/>
                <a:gd name="T19" fmla="*/ 171 h 256"/>
                <a:gd name="T20" fmla="*/ 140 w 300"/>
                <a:gd name="T21" fmla="*/ 149 h 256"/>
                <a:gd name="T22" fmla="*/ 130 w 300"/>
                <a:gd name="T23" fmla="*/ 245 h 256"/>
                <a:gd name="T24" fmla="*/ 151 w 300"/>
                <a:gd name="T25" fmla="*/ 245 h 256"/>
                <a:gd name="T26" fmla="*/ 140 w 300"/>
                <a:gd name="T27" fmla="*/ 149 h 256"/>
                <a:gd name="T28" fmla="*/ 172 w 300"/>
                <a:gd name="T29" fmla="*/ 160 h 256"/>
                <a:gd name="T30" fmla="*/ 183 w 300"/>
                <a:gd name="T31" fmla="*/ 256 h 256"/>
                <a:gd name="T32" fmla="*/ 194 w 300"/>
                <a:gd name="T33" fmla="*/ 160 h 256"/>
                <a:gd name="T34" fmla="*/ 226 w 300"/>
                <a:gd name="T35" fmla="*/ 117 h 256"/>
                <a:gd name="T36" fmla="*/ 215 w 300"/>
                <a:gd name="T37" fmla="*/ 245 h 256"/>
                <a:gd name="T38" fmla="*/ 236 w 300"/>
                <a:gd name="T39" fmla="*/ 245 h 256"/>
                <a:gd name="T40" fmla="*/ 226 w 300"/>
                <a:gd name="T41" fmla="*/ 117 h 256"/>
                <a:gd name="T42" fmla="*/ 258 w 300"/>
                <a:gd name="T43" fmla="*/ 96 h 256"/>
                <a:gd name="T44" fmla="*/ 268 w 300"/>
                <a:gd name="T45" fmla="*/ 256 h 256"/>
                <a:gd name="T46" fmla="*/ 279 w 300"/>
                <a:gd name="T47" fmla="*/ 96 h 256"/>
                <a:gd name="T48" fmla="*/ 300 w 300"/>
                <a:gd name="T49" fmla="*/ 7 h 256"/>
                <a:gd name="T50" fmla="*/ 290 w 300"/>
                <a:gd name="T51" fmla="*/ 0 h 256"/>
                <a:gd name="T52" fmla="*/ 236 w 300"/>
                <a:gd name="T53" fmla="*/ 11 h 256"/>
                <a:gd name="T54" fmla="*/ 264 w 300"/>
                <a:gd name="T55" fmla="*/ 21 h 256"/>
                <a:gd name="T56" fmla="*/ 98 w 300"/>
                <a:gd name="T57" fmla="*/ 107 h 256"/>
                <a:gd name="T58" fmla="*/ 6 w 300"/>
                <a:gd name="T59" fmla="*/ 173 h 256"/>
                <a:gd name="T60" fmla="*/ 12 w 300"/>
                <a:gd name="T61" fmla="*/ 192 h 256"/>
                <a:gd name="T62" fmla="*/ 101 w 300"/>
                <a:gd name="T63" fmla="*/ 128 h 256"/>
                <a:gd name="T64" fmla="*/ 191 w 300"/>
                <a:gd name="T65" fmla="*/ 125 h 256"/>
                <a:gd name="T66" fmla="*/ 279 w 300"/>
                <a:gd name="T67" fmla="*/ 53 h 256"/>
                <a:gd name="T68" fmla="*/ 300 w 300"/>
                <a:gd name="T69" fmla="*/ 53 h 256"/>
                <a:gd name="T70" fmla="*/ 300 w 300"/>
                <a:gd name="T71" fmla="*/ 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256">
                  <a:moveTo>
                    <a:pt x="23" y="224"/>
                  </a:moveTo>
                  <a:cubicBezTo>
                    <a:pt x="23" y="245"/>
                    <a:pt x="23" y="245"/>
                    <a:pt x="23" y="245"/>
                  </a:cubicBezTo>
                  <a:cubicBezTo>
                    <a:pt x="23" y="251"/>
                    <a:pt x="18" y="256"/>
                    <a:pt x="12" y="256"/>
                  </a:cubicBezTo>
                  <a:cubicBezTo>
                    <a:pt x="6" y="256"/>
                    <a:pt x="2" y="251"/>
                    <a:pt x="2" y="245"/>
                  </a:cubicBezTo>
                  <a:cubicBezTo>
                    <a:pt x="2" y="224"/>
                    <a:pt x="2" y="224"/>
                    <a:pt x="2" y="224"/>
                  </a:cubicBezTo>
                  <a:cubicBezTo>
                    <a:pt x="2" y="218"/>
                    <a:pt x="6" y="213"/>
                    <a:pt x="12" y="213"/>
                  </a:cubicBezTo>
                  <a:cubicBezTo>
                    <a:pt x="18" y="213"/>
                    <a:pt x="23" y="218"/>
                    <a:pt x="23" y="224"/>
                  </a:cubicBezTo>
                  <a:close/>
                  <a:moveTo>
                    <a:pt x="55" y="192"/>
                  </a:moveTo>
                  <a:cubicBezTo>
                    <a:pt x="49" y="192"/>
                    <a:pt x="44" y="197"/>
                    <a:pt x="44" y="203"/>
                  </a:cubicBezTo>
                  <a:cubicBezTo>
                    <a:pt x="44" y="245"/>
                    <a:pt x="44" y="245"/>
                    <a:pt x="44" y="245"/>
                  </a:cubicBezTo>
                  <a:cubicBezTo>
                    <a:pt x="44" y="251"/>
                    <a:pt x="49" y="256"/>
                    <a:pt x="55" y="256"/>
                  </a:cubicBezTo>
                  <a:cubicBezTo>
                    <a:pt x="61" y="256"/>
                    <a:pt x="66" y="251"/>
                    <a:pt x="66" y="245"/>
                  </a:cubicBezTo>
                  <a:cubicBezTo>
                    <a:pt x="66" y="203"/>
                    <a:pt x="66" y="203"/>
                    <a:pt x="66" y="203"/>
                  </a:cubicBezTo>
                  <a:cubicBezTo>
                    <a:pt x="66" y="197"/>
                    <a:pt x="61" y="192"/>
                    <a:pt x="55" y="192"/>
                  </a:cubicBezTo>
                  <a:close/>
                  <a:moveTo>
                    <a:pt x="98" y="160"/>
                  </a:moveTo>
                  <a:cubicBezTo>
                    <a:pt x="92" y="160"/>
                    <a:pt x="87" y="165"/>
                    <a:pt x="87" y="171"/>
                  </a:cubicBezTo>
                  <a:cubicBezTo>
                    <a:pt x="87" y="245"/>
                    <a:pt x="87" y="245"/>
                    <a:pt x="87" y="245"/>
                  </a:cubicBezTo>
                  <a:cubicBezTo>
                    <a:pt x="87" y="251"/>
                    <a:pt x="92" y="256"/>
                    <a:pt x="98" y="256"/>
                  </a:cubicBezTo>
                  <a:cubicBezTo>
                    <a:pt x="104" y="256"/>
                    <a:pt x="108" y="251"/>
                    <a:pt x="108" y="245"/>
                  </a:cubicBezTo>
                  <a:cubicBezTo>
                    <a:pt x="108" y="171"/>
                    <a:pt x="108" y="171"/>
                    <a:pt x="108" y="171"/>
                  </a:cubicBezTo>
                  <a:cubicBezTo>
                    <a:pt x="108" y="165"/>
                    <a:pt x="104" y="160"/>
                    <a:pt x="98" y="160"/>
                  </a:cubicBezTo>
                  <a:close/>
                  <a:moveTo>
                    <a:pt x="140" y="149"/>
                  </a:moveTo>
                  <a:cubicBezTo>
                    <a:pt x="134" y="149"/>
                    <a:pt x="130" y="154"/>
                    <a:pt x="130" y="160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51"/>
                    <a:pt x="134" y="256"/>
                    <a:pt x="140" y="256"/>
                  </a:cubicBezTo>
                  <a:cubicBezTo>
                    <a:pt x="146" y="256"/>
                    <a:pt x="151" y="251"/>
                    <a:pt x="151" y="245"/>
                  </a:cubicBezTo>
                  <a:cubicBezTo>
                    <a:pt x="151" y="160"/>
                    <a:pt x="151" y="160"/>
                    <a:pt x="151" y="160"/>
                  </a:cubicBezTo>
                  <a:cubicBezTo>
                    <a:pt x="151" y="154"/>
                    <a:pt x="146" y="149"/>
                    <a:pt x="140" y="149"/>
                  </a:cubicBezTo>
                  <a:close/>
                  <a:moveTo>
                    <a:pt x="183" y="149"/>
                  </a:moveTo>
                  <a:cubicBezTo>
                    <a:pt x="177" y="149"/>
                    <a:pt x="172" y="154"/>
                    <a:pt x="172" y="160"/>
                  </a:cubicBezTo>
                  <a:cubicBezTo>
                    <a:pt x="172" y="245"/>
                    <a:pt x="172" y="245"/>
                    <a:pt x="172" y="245"/>
                  </a:cubicBezTo>
                  <a:cubicBezTo>
                    <a:pt x="172" y="251"/>
                    <a:pt x="177" y="256"/>
                    <a:pt x="183" y="256"/>
                  </a:cubicBezTo>
                  <a:cubicBezTo>
                    <a:pt x="189" y="256"/>
                    <a:pt x="194" y="251"/>
                    <a:pt x="194" y="245"/>
                  </a:cubicBezTo>
                  <a:cubicBezTo>
                    <a:pt x="194" y="160"/>
                    <a:pt x="194" y="160"/>
                    <a:pt x="194" y="160"/>
                  </a:cubicBezTo>
                  <a:cubicBezTo>
                    <a:pt x="194" y="154"/>
                    <a:pt x="189" y="149"/>
                    <a:pt x="183" y="149"/>
                  </a:cubicBezTo>
                  <a:close/>
                  <a:moveTo>
                    <a:pt x="226" y="117"/>
                  </a:moveTo>
                  <a:cubicBezTo>
                    <a:pt x="220" y="117"/>
                    <a:pt x="215" y="122"/>
                    <a:pt x="215" y="128"/>
                  </a:cubicBezTo>
                  <a:cubicBezTo>
                    <a:pt x="215" y="245"/>
                    <a:pt x="215" y="245"/>
                    <a:pt x="215" y="245"/>
                  </a:cubicBezTo>
                  <a:cubicBezTo>
                    <a:pt x="215" y="251"/>
                    <a:pt x="220" y="256"/>
                    <a:pt x="226" y="256"/>
                  </a:cubicBezTo>
                  <a:cubicBezTo>
                    <a:pt x="232" y="256"/>
                    <a:pt x="236" y="251"/>
                    <a:pt x="236" y="245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36" y="122"/>
                    <a:pt x="232" y="117"/>
                    <a:pt x="226" y="117"/>
                  </a:cubicBezTo>
                  <a:close/>
                  <a:moveTo>
                    <a:pt x="268" y="85"/>
                  </a:moveTo>
                  <a:cubicBezTo>
                    <a:pt x="262" y="85"/>
                    <a:pt x="258" y="90"/>
                    <a:pt x="258" y="96"/>
                  </a:cubicBezTo>
                  <a:cubicBezTo>
                    <a:pt x="258" y="245"/>
                    <a:pt x="258" y="245"/>
                    <a:pt x="258" y="245"/>
                  </a:cubicBezTo>
                  <a:cubicBezTo>
                    <a:pt x="258" y="251"/>
                    <a:pt x="262" y="256"/>
                    <a:pt x="268" y="256"/>
                  </a:cubicBezTo>
                  <a:cubicBezTo>
                    <a:pt x="274" y="256"/>
                    <a:pt x="279" y="251"/>
                    <a:pt x="279" y="245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9" y="90"/>
                    <a:pt x="274" y="85"/>
                    <a:pt x="268" y="85"/>
                  </a:cubicBezTo>
                  <a:close/>
                  <a:moveTo>
                    <a:pt x="300" y="7"/>
                  </a:moveTo>
                  <a:cubicBezTo>
                    <a:pt x="298" y="4"/>
                    <a:pt x="296" y="2"/>
                    <a:pt x="294" y="1"/>
                  </a:cubicBezTo>
                  <a:cubicBezTo>
                    <a:pt x="292" y="0"/>
                    <a:pt x="291" y="0"/>
                    <a:pt x="29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1" y="0"/>
                    <a:pt x="236" y="5"/>
                    <a:pt x="236" y="11"/>
                  </a:cubicBezTo>
                  <a:cubicBezTo>
                    <a:pt x="236" y="17"/>
                    <a:pt x="241" y="21"/>
                    <a:pt x="247" y="21"/>
                  </a:cubicBezTo>
                  <a:cubicBezTo>
                    <a:pt x="264" y="21"/>
                    <a:pt x="264" y="21"/>
                    <a:pt x="264" y="21"/>
                  </a:cubicBezTo>
                  <a:cubicBezTo>
                    <a:pt x="179" y="107"/>
                    <a:pt x="179" y="107"/>
                    <a:pt x="179" y="107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5" y="107"/>
                    <a:pt x="93" y="107"/>
                    <a:pt x="91" y="109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1" y="176"/>
                    <a:pt x="0" y="183"/>
                    <a:pt x="4" y="188"/>
                  </a:cubicBezTo>
                  <a:cubicBezTo>
                    <a:pt x="6" y="191"/>
                    <a:pt x="9" y="192"/>
                    <a:pt x="12" y="192"/>
                  </a:cubicBezTo>
                  <a:cubicBezTo>
                    <a:pt x="15" y="192"/>
                    <a:pt x="17" y="191"/>
                    <a:pt x="19" y="190"/>
                  </a:cubicBezTo>
                  <a:cubicBezTo>
                    <a:pt x="101" y="128"/>
                    <a:pt x="101" y="128"/>
                    <a:pt x="101" y="128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6" y="128"/>
                    <a:pt x="189" y="127"/>
                    <a:pt x="191" y="125"/>
                  </a:cubicBezTo>
                  <a:cubicBezTo>
                    <a:pt x="279" y="36"/>
                    <a:pt x="279" y="36"/>
                    <a:pt x="279" y="36"/>
                  </a:cubicBezTo>
                  <a:cubicBezTo>
                    <a:pt x="279" y="53"/>
                    <a:pt x="279" y="53"/>
                    <a:pt x="279" y="53"/>
                  </a:cubicBezTo>
                  <a:cubicBezTo>
                    <a:pt x="279" y="59"/>
                    <a:pt x="284" y="64"/>
                    <a:pt x="290" y="64"/>
                  </a:cubicBezTo>
                  <a:cubicBezTo>
                    <a:pt x="296" y="64"/>
                    <a:pt x="300" y="59"/>
                    <a:pt x="300" y="53"/>
                  </a:cubicBezTo>
                  <a:cubicBezTo>
                    <a:pt x="300" y="11"/>
                    <a:pt x="300" y="11"/>
                    <a:pt x="300" y="11"/>
                  </a:cubicBezTo>
                  <a:cubicBezTo>
                    <a:pt x="300" y="9"/>
                    <a:pt x="300" y="8"/>
                    <a:pt x="30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263"/>
            <p:cNvSpPr>
              <a:spLocks noEditPoints="1"/>
            </p:cNvSpPr>
            <p:nvPr/>
          </p:nvSpPr>
          <p:spPr bwMode="auto">
            <a:xfrm>
              <a:off x="4383" y="209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5" name="Freeform 373"/>
          <p:cNvSpPr>
            <a:spLocks noChangeAspect="1" noEditPoints="1"/>
          </p:cNvSpPr>
          <p:nvPr/>
        </p:nvSpPr>
        <p:spPr bwMode="auto">
          <a:xfrm>
            <a:off x="2417910" y="2051050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256 h 512"/>
              <a:gd name="T12" fmla="*/ 362 w 512"/>
              <a:gd name="T13" fmla="*/ 245 h 512"/>
              <a:gd name="T14" fmla="*/ 373 w 512"/>
              <a:gd name="T15" fmla="*/ 256 h 512"/>
              <a:gd name="T16" fmla="*/ 373 w 512"/>
              <a:gd name="T17" fmla="*/ 320 h 512"/>
              <a:gd name="T18" fmla="*/ 362 w 512"/>
              <a:gd name="T19" fmla="*/ 330 h 512"/>
              <a:gd name="T20" fmla="*/ 352 w 512"/>
              <a:gd name="T21" fmla="*/ 320 h 512"/>
              <a:gd name="T22" fmla="*/ 352 w 512"/>
              <a:gd name="T23" fmla="*/ 256 h 512"/>
              <a:gd name="T24" fmla="*/ 309 w 512"/>
              <a:gd name="T25" fmla="*/ 170 h 512"/>
              <a:gd name="T26" fmla="*/ 320 w 512"/>
              <a:gd name="T27" fmla="*/ 160 h 512"/>
              <a:gd name="T28" fmla="*/ 330 w 512"/>
              <a:gd name="T29" fmla="*/ 170 h 512"/>
              <a:gd name="T30" fmla="*/ 330 w 512"/>
              <a:gd name="T31" fmla="*/ 320 h 512"/>
              <a:gd name="T32" fmla="*/ 320 w 512"/>
              <a:gd name="T33" fmla="*/ 330 h 512"/>
              <a:gd name="T34" fmla="*/ 309 w 512"/>
              <a:gd name="T35" fmla="*/ 320 h 512"/>
              <a:gd name="T36" fmla="*/ 309 w 512"/>
              <a:gd name="T37" fmla="*/ 170 h 512"/>
              <a:gd name="T38" fmla="*/ 266 w 512"/>
              <a:gd name="T39" fmla="*/ 202 h 512"/>
              <a:gd name="T40" fmla="*/ 277 w 512"/>
              <a:gd name="T41" fmla="*/ 192 h 512"/>
              <a:gd name="T42" fmla="*/ 288 w 512"/>
              <a:gd name="T43" fmla="*/ 202 h 512"/>
              <a:gd name="T44" fmla="*/ 288 w 512"/>
              <a:gd name="T45" fmla="*/ 320 h 512"/>
              <a:gd name="T46" fmla="*/ 277 w 512"/>
              <a:gd name="T47" fmla="*/ 330 h 512"/>
              <a:gd name="T48" fmla="*/ 266 w 512"/>
              <a:gd name="T49" fmla="*/ 320 h 512"/>
              <a:gd name="T50" fmla="*/ 266 w 512"/>
              <a:gd name="T51" fmla="*/ 202 h 512"/>
              <a:gd name="T52" fmla="*/ 224 w 512"/>
              <a:gd name="T53" fmla="*/ 149 h 512"/>
              <a:gd name="T54" fmla="*/ 234 w 512"/>
              <a:gd name="T55" fmla="*/ 138 h 512"/>
              <a:gd name="T56" fmla="*/ 245 w 512"/>
              <a:gd name="T57" fmla="*/ 149 h 512"/>
              <a:gd name="T58" fmla="*/ 245 w 512"/>
              <a:gd name="T59" fmla="*/ 320 h 512"/>
              <a:gd name="T60" fmla="*/ 234 w 512"/>
              <a:gd name="T61" fmla="*/ 330 h 512"/>
              <a:gd name="T62" fmla="*/ 224 w 512"/>
              <a:gd name="T63" fmla="*/ 320 h 512"/>
              <a:gd name="T64" fmla="*/ 224 w 512"/>
              <a:gd name="T65" fmla="*/ 149 h 512"/>
              <a:gd name="T66" fmla="*/ 181 w 512"/>
              <a:gd name="T67" fmla="*/ 245 h 512"/>
              <a:gd name="T68" fmla="*/ 192 w 512"/>
              <a:gd name="T69" fmla="*/ 234 h 512"/>
              <a:gd name="T70" fmla="*/ 202 w 512"/>
              <a:gd name="T71" fmla="*/ 245 h 512"/>
              <a:gd name="T72" fmla="*/ 202 w 512"/>
              <a:gd name="T73" fmla="*/ 320 h 512"/>
              <a:gd name="T74" fmla="*/ 192 w 512"/>
              <a:gd name="T75" fmla="*/ 330 h 512"/>
              <a:gd name="T76" fmla="*/ 181 w 512"/>
              <a:gd name="T77" fmla="*/ 320 h 512"/>
              <a:gd name="T78" fmla="*/ 181 w 512"/>
              <a:gd name="T79" fmla="*/ 245 h 512"/>
              <a:gd name="T80" fmla="*/ 138 w 512"/>
              <a:gd name="T81" fmla="*/ 277 h 512"/>
              <a:gd name="T82" fmla="*/ 149 w 512"/>
              <a:gd name="T83" fmla="*/ 266 h 512"/>
              <a:gd name="T84" fmla="*/ 160 w 512"/>
              <a:gd name="T85" fmla="*/ 277 h 512"/>
              <a:gd name="T86" fmla="*/ 160 w 512"/>
              <a:gd name="T87" fmla="*/ 320 h 512"/>
              <a:gd name="T88" fmla="*/ 149 w 512"/>
              <a:gd name="T89" fmla="*/ 330 h 512"/>
              <a:gd name="T90" fmla="*/ 138 w 512"/>
              <a:gd name="T91" fmla="*/ 320 h 512"/>
              <a:gd name="T92" fmla="*/ 138 w 512"/>
              <a:gd name="T93" fmla="*/ 277 h 512"/>
              <a:gd name="T94" fmla="*/ 405 w 512"/>
              <a:gd name="T95" fmla="*/ 373 h 512"/>
              <a:gd name="T96" fmla="*/ 106 w 512"/>
              <a:gd name="T97" fmla="*/ 373 h 512"/>
              <a:gd name="T98" fmla="*/ 96 w 512"/>
              <a:gd name="T99" fmla="*/ 362 h 512"/>
              <a:gd name="T100" fmla="*/ 96 w 512"/>
              <a:gd name="T101" fmla="*/ 149 h 512"/>
              <a:gd name="T102" fmla="*/ 106 w 512"/>
              <a:gd name="T103" fmla="*/ 138 h 512"/>
              <a:gd name="T104" fmla="*/ 117 w 512"/>
              <a:gd name="T105" fmla="*/ 149 h 512"/>
              <a:gd name="T106" fmla="*/ 117 w 512"/>
              <a:gd name="T107" fmla="*/ 352 h 512"/>
              <a:gd name="T108" fmla="*/ 405 w 512"/>
              <a:gd name="T109" fmla="*/ 352 h 512"/>
              <a:gd name="T110" fmla="*/ 416 w 512"/>
              <a:gd name="T111" fmla="*/ 362 h 512"/>
              <a:gd name="T112" fmla="*/ 405 w 512"/>
              <a:gd name="T11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56"/>
                </a:moveTo>
                <a:cubicBezTo>
                  <a:pt x="352" y="250"/>
                  <a:pt x="356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lnTo>
                  <a:pt x="352" y="256"/>
                </a:lnTo>
                <a:close/>
                <a:moveTo>
                  <a:pt x="309" y="170"/>
                </a:moveTo>
                <a:cubicBezTo>
                  <a:pt x="309" y="164"/>
                  <a:pt x="314" y="160"/>
                  <a:pt x="320" y="160"/>
                </a:cubicBezTo>
                <a:cubicBezTo>
                  <a:pt x="326" y="160"/>
                  <a:pt x="330" y="164"/>
                  <a:pt x="330" y="170"/>
                </a:cubicBezTo>
                <a:cubicBezTo>
                  <a:pt x="330" y="320"/>
                  <a:pt x="330" y="320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lnTo>
                  <a:pt x="309" y="170"/>
                </a:lnTo>
                <a:close/>
                <a:moveTo>
                  <a:pt x="266" y="202"/>
                </a:moveTo>
                <a:cubicBezTo>
                  <a:pt x="266" y="196"/>
                  <a:pt x="271" y="192"/>
                  <a:pt x="277" y="192"/>
                </a:cubicBezTo>
                <a:cubicBezTo>
                  <a:pt x="283" y="192"/>
                  <a:pt x="288" y="196"/>
                  <a:pt x="288" y="202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71" y="330"/>
                  <a:pt x="266" y="326"/>
                  <a:pt x="266" y="320"/>
                </a:cubicBezTo>
                <a:lnTo>
                  <a:pt x="266" y="202"/>
                </a:lnTo>
                <a:close/>
                <a:moveTo>
                  <a:pt x="224" y="149"/>
                </a:moveTo>
                <a:cubicBezTo>
                  <a:pt x="224" y="143"/>
                  <a:pt x="228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26"/>
                  <a:pt x="240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lnTo>
                  <a:pt x="224" y="149"/>
                </a:lnTo>
                <a:close/>
                <a:moveTo>
                  <a:pt x="181" y="245"/>
                </a:moveTo>
                <a:cubicBezTo>
                  <a:pt x="181" y="239"/>
                  <a:pt x="186" y="234"/>
                  <a:pt x="192" y="234"/>
                </a:cubicBezTo>
                <a:cubicBezTo>
                  <a:pt x="198" y="234"/>
                  <a:pt x="202" y="239"/>
                  <a:pt x="202" y="245"/>
                </a:cubicBezTo>
                <a:cubicBezTo>
                  <a:pt x="202" y="320"/>
                  <a:pt x="202" y="320"/>
                  <a:pt x="202" y="320"/>
                </a:cubicBezTo>
                <a:cubicBezTo>
                  <a:pt x="202" y="326"/>
                  <a:pt x="198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lnTo>
                  <a:pt x="181" y="245"/>
                </a:lnTo>
                <a:close/>
                <a:moveTo>
                  <a:pt x="138" y="277"/>
                </a:moveTo>
                <a:cubicBezTo>
                  <a:pt x="138" y="271"/>
                  <a:pt x="143" y="266"/>
                  <a:pt x="149" y="266"/>
                </a:cubicBezTo>
                <a:cubicBezTo>
                  <a:pt x="155" y="266"/>
                  <a:pt x="160" y="271"/>
                  <a:pt x="160" y="277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lnTo>
                  <a:pt x="138" y="277"/>
                </a:ln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6" name="Group 376"/>
          <p:cNvGrpSpPr>
            <a:grpSpLocks noChangeAspect="1"/>
          </p:cNvGrpSpPr>
          <p:nvPr/>
        </p:nvGrpSpPr>
        <p:grpSpPr bwMode="auto">
          <a:xfrm>
            <a:off x="2914741" y="2051050"/>
            <a:ext cx="367982" cy="367982"/>
            <a:chOff x="3466" y="2823"/>
            <a:chExt cx="340" cy="340"/>
          </a:xfrm>
          <a:solidFill>
            <a:schemeClr val="accent4"/>
          </a:solidFill>
        </p:grpSpPr>
        <p:sp>
          <p:nvSpPr>
            <p:cNvPr id="267" name="Freeform 377"/>
            <p:cNvSpPr>
              <a:spLocks noEditPoints="1"/>
            </p:cNvSpPr>
            <p:nvPr/>
          </p:nvSpPr>
          <p:spPr bwMode="auto">
            <a:xfrm>
              <a:off x="3530" y="2915"/>
              <a:ext cx="212" cy="156"/>
            </a:xfrm>
            <a:custGeom>
              <a:avLst/>
              <a:gdLst>
                <a:gd name="T0" fmla="*/ 320 w 320"/>
                <a:gd name="T1" fmla="*/ 224 h 235"/>
                <a:gd name="T2" fmla="*/ 309 w 320"/>
                <a:gd name="T3" fmla="*/ 235 h 235"/>
                <a:gd name="T4" fmla="*/ 10 w 320"/>
                <a:gd name="T5" fmla="*/ 235 h 235"/>
                <a:gd name="T6" fmla="*/ 0 w 320"/>
                <a:gd name="T7" fmla="*/ 224 h 235"/>
                <a:gd name="T8" fmla="*/ 0 w 320"/>
                <a:gd name="T9" fmla="*/ 11 h 235"/>
                <a:gd name="T10" fmla="*/ 10 w 320"/>
                <a:gd name="T11" fmla="*/ 0 h 235"/>
                <a:gd name="T12" fmla="*/ 21 w 320"/>
                <a:gd name="T13" fmla="*/ 11 h 235"/>
                <a:gd name="T14" fmla="*/ 21 w 320"/>
                <a:gd name="T15" fmla="*/ 214 h 235"/>
                <a:gd name="T16" fmla="*/ 309 w 320"/>
                <a:gd name="T17" fmla="*/ 214 h 235"/>
                <a:gd name="T18" fmla="*/ 320 w 320"/>
                <a:gd name="T19" fmla="*/ 224 h 235"/>
                <a:gd name="T20" fmla="*/ 53 w 320"/>
                <a:gd name="T21" fmla="*/ 192 h 235"/>
                <a:gd name="T22" fmla="*/ 64 w 320"/>
                <a:gd name="T23" fmla="*/ 182 h 235"/>
                <a:gd name="T24" fmla="*/ 64 w 320"/>
                <a:gd name="T25" fmla="*/ 139 h 235"/>
                <a:gd name="T26" fmla="*/ 53 w 320"/>
                <a:gd name="T27" fmla="*/ 128 h 235"/>
                <a:gd name="T28" fmla="*/ 42 w 320"/>
                <a:gd name="T29" fmla="*/ 139 h 235"/>
                <a:gd name="T30" fmla="*/ 42 w 320"/>
                <a:gd name="T31" fmla="*/ 182 h 235"/>
                <a:gd name="T32" fmla="*/ 53 w 320"/>
                <a:gd name="T33" fmla="*/ 192 h 235"/>
                <a:gd name="T34" fmla="*/ 96 w 320"/>
                <a:gd name="T35" fmla="*/ 192 h 235"/>
                <a:gd name="T36" fmla="*/ 106 w 320"/>
                <a:gd name="T37" fmla="*/ 182 h 235"/>
                <a:gd name="T38" fmla="*/ 106 w 320"/>
                <a:gd name="T39" fmla="*/ 107 h 235"/>
                <a:gd name="T40" fmla="*/ 96 w 320"/>
                <a:gd name="T41" fmla="*/ 96 h 235"/>
                <a:gd name="T42" fmla="*/ 85 w 320"/>
                <a:gd name="T43" fmla="*/ 107 h 235"/>
                <a:gd name="T44" fmla="*/ 85 w 320"/>
                <a:gd name="T45" fmla="*/ 182 h 235"/>
                <a:gd name="T46" fmla="*/ 96 w 320"/>
                <a:gd name="T47" fmla="*/ 192 h 235"/>
                <a:gd name="T48" fmla="*/ 138 w 320"/>
                <a:gd name="T49" fmla="*/ 192 h 235"/>
                <a:gd name="T50" fmla="*/ 149 w 320"/>
                <a:gd name="T51" fmla="*/ 182 h 235"/>
                <a:gd name="T52" fmla="*/ 149 w 320"/>
                <a:gd name="T53" fmla="*/ 11 h 235"/>
                <a:gd name="T54" fmla="*/ 138 w 320"/>
                <a:gd name="T55" fmla="*/ 0 h 235"/>
                <a:gd name="T56" fmla="*/ 128 w 320"/>
                <a:gd name="T57" fmla="*/ 11 h 235"/>
                <a:gd name="T58" fmla="*/ 128 w 320"/>
                <a:gd name="T59" fmla="*/ 182 h 235"/>
                <a:gd name="T60" fmla="*/ 138 w 320"/>
                <a:gd name="T61" fmla="*/ 192 h 235"/>
                <a:gd name="T62" fmla="*/ 181 w 320"/>
                <a:gd name="T63" fmla="*/ 192 h 235"/>
                <a:gd name="T64" fmla="*/ 192 w 320"/>
                <a:gd name="T65" fmla="*/ 182 h 235"/>
                <a:gd name="T66" fmla="*/ 192 w 320"/>
                <a:gd name="T67" fmla="*/ 64 h 235"/>
                <a:gd name="T68" fmla="*/ 181 w 320"/>
                <a:gd name="T69" fmla="*/ 54 h 235"/>
                <a:gd name="T70" fmla="*/ 170 w 320"/>
                <a:gd name="T71" fmla="*/ 64 h 235"/>
                <a:gd name="T72" fmla="*/ 170 w 320"/>
                <a:gd name="T73" fmla="*/ 182 h 235"/>
                <a:gd name="T74" fmla="*/ 181 w 320"/>
                <a:gd name="T75" fmla="*/ 192 h 235"/>
                <a:gd name="T76" fmla="*/ 224 w 320"/>
                <a:gd name="T77" fmla="*/ 192 h 235"/>
                <a:gd name="T78" fmla="*/ 234 w 320"/>
                <a:gd name="T79" fmla="*/ 182 h 235"/>
                <a:gd name="T80" fmla="*/ 234 w 320"/>
                <a:gd name="T81" fmla="*/ 32 h 235"/>
                <a:gd name="T82" fmla="*/ 224 w 320"/>
                <a:gd name="T83" fmla="*/ 22 h 235"/>
                <a:gd name="T84" fmla="*/ 213 w 320"/>
                <a:gd name="T85" fmla="*/ 32 h 235"/>
                <a:gd name="T86" fmla="*/ 213 w 320"/>
                <a:gd name="T87" fmla="*/ 182 h 235"/>
                <a:gd name="T88" fmla="*/ 224 w 320"/>
                <a:gd name="T89" fmla="*/ 192 h 235"/>
                <a:gd name="T90" fmla="*/ 266 w 320"/>
                <a:gd name="T91" fmla="*/ 192 h 235"/>
                <a:gd name="T92" fmla="*/ 277 w 320"/>
                <a:gd name="T93" fmla="*/ 182 h 235"/>
                <a:gd name="T94" fmla="*/ 277 w 320"/>
                <a:gd name="T95" fmla="*/ 118 h 235"/>
                <a:gd name="T96" fmla="*/ 266 w 320"/>
                <a:gd name="T97" fmla="*/ 107 h 235"/>
                <a:gd name="T98" fmla="*/ 256 w 320"/>
                <a:gd name="T99" fmla="*/ 118 h 235"/>
                <a:gd name="T100" fmla="*/ 256 w 320"/>
                <a:gd name="T101" fmla="*/ 182 h 235"/>
                <a:gd name="T102" fmla="*/ 266 w 320"/>
                <a:gd name="T103" fmla="*/ 19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0" h="235">
                  <a:moveTo>
                    <a:pt x="320" y="224"/>
                  </a:moveTo>
                  <a:cubicBezTo>
                    <a:pt x="320" y="230"/>
                    <a:pt x="315" y="235"/>
                    <a:pt x="309" y="235"/>
                  </a:cubicBezTo>
                  <a:cubicBezTo>
                    <a:pt x="10" y="235"/>
                    <a:pt x="10" y="235"/>
                    <a:pt x="10" y="235"/>
                  </a:cubicBezTo>
                  <a:cubicBezTo>
                    <a:pt x="4" y="235"/>
                    <a:pt x="0" y="230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1" y="5"/>
                    <a:pt x="21" y="11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18"/>
                    <a:pt x="320" y="224"/>
                  </a:cubicBezTo>
                  <a:close/>
                  <a:moveTo>
                    <a:pt x="53" y="192"/>
                  </a:moveTo>
                  <a:cubicBezTo>
                    <a:pt x="59" y="192"/>
                    <a:pt x="64" y="188"/>
                    <a:pt x="64" y="182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3"/>
                    <a:pt x="59" y="128"/>
                    <a:pt x="53" y="128"/>
                  </a:cubicBezTo>
                  <a:cubicBezTo>
                    <a:pt x="47" y="128"/>
                    <a:pt x="42" y="133"/>
                    <a:pt x="42" y="139"/>
                  </a:cubicBezTo>
                  <a:cubicBezTo>
                    <a:pt x="42" y="182"/>
                    <a:pt x="42" y="182"/>
                    <a:pt x="42" y="182"/>
                  </a:cubicBezTo>
                  <a:cubicBezTo>
                    <a:pt x="42" y="188"/>
                    <a:pt x="47" y="192"/>
                    <a:pt x="53" y="192"/>
                  </a:cubicBezTo>
                  <a:close/>
                  <a:moveTo>
                    <a:pt x="96" y="192"/>
                  </a:moveTo>
                  <a:cubicBezTo>
                    <a:pt x="102" y="192"/>
                    <a:pt x="106" y="188"/>
                    <a:pt x="106" y="182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106" y="101"/>
                    <a:pt x="102" y="96"/>
                    <a:pt x="96" y="96"/>
                  </a:cubicBezTo>
                  <a:cubicBezTo>
                    <a:pt x="90" y="96"/>
                    <a:pt x="85" y="101"/>
                    <a:pt x="85" y="107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8"/>
                    <a:pt x="90" y="192"/>
                    <a:pt x="96" y="192"/>
                  </a:cubicBezTo>
                  <a:close/>
                  <a:moveTo>
                    <a:pt x="138" y="192"/>
                  </a:moveTo>
                  <a:cubicBezTo>
                    <a:pt x="144" y="192"/>
                    <a:pt x="149" y="188"/>
                    <a:pt x="149" y="182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4" y="0"/>
                    <a:pt x="138" y="0"/>
                  </a:cubicBezTo>
                  <a:cubicBezTo>
                    <a:pt x="132" y="0"/>
                    <a:pt x="128" y="5"/>
                    <a:pt x="128" y="11"/>
                  </a:cubicBezTo>
                  <a:cubicBezTo>
                    <a:pt x="128" y="182"/>
                    <a:pt x="128" y="182"/>
                    <a:pt x="128" y="182"/>
                  </a:cubicBezTo>
                  <a:cubicBezTo>
                    <a:pt x="128" y="188"/>
                    <a:pt x="132" y="192"/>
                    <a:pt x="138" y="192"/>
                  </a:cubicBezTo>
                  <a:close/>
                  <a:moveTo>
                    <a:pt x="181" y="192"/>
                  </a:moveTo>
                  <a:cubicBezTo>
                    <a:pt x="187" y="192"/>
                    <a:pt x="192" y="188"/>
                    <a:pt x="192" y="182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192" y="58"/>
                    <a:pt x="187" y="54"/>
                    <a:pt x="181" y="54"/>
                  </a:cubicBezTo>
                  <a:cubicBezTo>
                    <a:pt x="175" y="54"/>
                    <a:pt x="170" y="58"/>
                    <a:pt x="170" y="64"/>
                  </a:cubicBezTo>
                  <a:cubicBezTo>
                    <a:pt x="170" y="182"/>
                    <a:pt x="170" y="182"/>
                    <a:pt x="170" y="182"/>
                  </a:cubicBezTo>
                  <a:cubicBezTo>
                    <a:pt x="170" y="188"/>
                    <a:pt x="175" y="192"/>
                    <a:pt x="181" y="192"/>
                  </a:cubicBezTo>
                  <a:close/>
                  <a:moveTo>
                    <a:pt x="224" y="192"/>
                  </a:moveTo>
                  <a:cubicBezTo>
                    <a:pt x="230" y="192"/>
                    <a:pt x="234" y="188"/>
                    <a:pt x="234" y="18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26"/>
                    <a:pt x="230" y="22"/>
                    <a:pt x="224" y="22"/>
                  </a:cubicBezTo>
                  <a:cubicBezTo>
                    <a:pt x="218" y="22"/>
                    <a:pt x="213" y="26"/>
                    <a:pt x="213" y="32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3" y="188"/>
                    <a:pt x="218" y="192"/>
                    <a:pt x="224" y="192"/>
                  </a:cubicBezTo>
                  <a:close/>
                  <a:moveTo>
                    <a:pt x="266" y="192"/>
                  </a:moveTo>
                  <a:cubicBezTo>
                    <a:pt x="272" y="192"/>
                    <a:pt x="277" y="188"/>
                    <a:pt x="277" y="182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12"/>
                    <a:pt x="272" y="107"/>
                    <a:pt x="266" y="107"/>
                  </a:cubicBezTo>
                  <a:cubicBezTo>
                    <a:pt x="260" y="107"/>
                    <a:pt x="256" y="112"/>
                    <a:pt x="256" y="118"/>
                  </a:cubicBezTo>
                  <a:cubicBezTo>
                    <a:pt x="256" y="182"/>
                    <a:pt x="256" y="182"/>
                    <a:pt x="256" y="182"/>
                  </a:cubicBezTo>
                  <a:cubicBezTo>
                    <a:pt x="256" y="188"/>
                    <a:pt x="260" y="192"/>
                    <a:pt x="26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378"/>
            <p:cNvSpPr>
              <a:spLocks noEditPoints="1"/>
            </p:cNvSpPr>
            <p:nvPr/>
          </p:nvSpPr>
          <p:spPr bwMode="auto">
            <a:xfrm>
              <a:off x="3466" y="282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9" name="Group 354"/>
          <p:cNvGrpSpPr>
            <a:grpSpLocks noChangeAspect="1"/>
          </p:cNvGrpSpPr>
          <p:nvPr/>
        </p:nvGrpSpPr>
        <p:grpSpPr bwMode="auto">
          <a:xfrm>
            <a:off x="4905182" y="2051051"/>
            <a:ext cx="369021" cy="370106"/>
            <a:chOff x="2705" y="1184"/>
            <a:chExt cx="340" cy="341"/>
          </a:xfrm>
          <a:solidFill>
            <a:schemeClr val="accent4"/>
          </a:solidFill>
        </p:grpSpPr>
        <p:sp>
          <p:nvSpPr>
            <p:cNvPr id="270" name="Freeform 355"/>
            <p:cNvSpPr>
              <a:spLocks noEditPoints="1"/>
            </p:cNvSpPr>
            <p:nvPr/>
          </p:nvSpPr>
          <p:spPr bwMode="auto">
            <a:xfrm>
              <a:off x="2769" y="1248"/>
              <a:ext cx="212" cy="213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185 w 320"/>
                <a:gd name="T11" fmla="*/ 170 h 320"/>
                <a:gd name="T12" fmla="*/ 298 w 320"/>
                <a:gd name="T13" fmla="*/ 170 h 320"/>
                <a:gd name="T14" fmla="*/ 265 w 320"/>
                <a:gd name="T15" fmla="*/ 250 h 320"/>
                <a:gd name="T16" fmla="*/ 185 w 320"/>
                <a:gd name="T17" fmla="*/ 170 h 320"/>
                <a:gd name="T18" fmla="*/ 298 w 320"/>
                <a:gd name="T19" fmla="*/ 149 h 320"/>
                <a:gd name="T20" fmla="*/ 170 w 320"/>
                <a:gd name="T21" fmla="*/ 149 h 320"/>
                <a:gd name="T22" fmla="*/ 170 w 320"/>
                <a:gd name="T23" fmla="*/ 22 h 320"/>
                <a:gd name="T24" fmla="*/ 298 w 320"/>
                <a:gd name="T25" fmla="*/ 149 h 320"/>
                <a:gd name="T26" fmla="*/ 21 w 320"/>
                <a:gd name="T27" fmla="*/ 160 h 320"/>
                <a:gd name="T28" fmla="*/ 149 w 320"/>
                <a:gd name="T29" fmla="*/ 22 h 320"/>
                <a:gd name="T30" fmla="*/ 149 w 320"/>
                <a:gd name="T31" fmla="*/ 160 h 320"/>
                <a:gd name="T32" fmla="*/ 152 w 320"/>
                <a:gd name="T33" fmla="*/ 167 h 320"/>
                <a:gd name="T34" fmla="*/ 250 w 320"/>
                <a:gd name="T35" fmla="*/ 265 h 320"/>
                <a:gd name="T36" fmla="*/ 160 w 320"/>
                <a:gd name="T37" fmla="*/ 298 h 320"/>
                <a:gd name="T38" fmla="*/ 21 w 320"/>
                <a:gd name="T39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185" y="170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295" y="201"/>
                    <a:pt x="283" y="228"/>
                    <a:pt x="265" y="250"/>
                  </a:cubicBezTo>
                  <a:lnTo>
                    <a:pt x="185" y="170"/>
                  </a:lnTo>
                  <a:close/>
                  <a:moveTo>
                    <a:pt x="298" y="149"/>
                  </a:moveTo>
                  <a:cubicBezTo>
                    <a:pt x="170" y="149"/>
                    <a:pt x="170" y="149"/>
                    <a:pt x="170" y="149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238" y="27"/>
                    <a:pt x="293" y="81"/>
                    <a:pt x="298" y="149"/>
                  </a:cubicBezTo>
                  <a:close/>
                  <a:moveTo>
                    <a:pt x="21" y="160"/>
                  </a:moveTo>
                  <a:cubicBezTo>
                    <a:pt x="21" y="87"/>
                    <a:pt x="78" y="27"/>
                    <a:pt x="149" y="22"/>
                  </a:cubicBezTo>
                  <a:cubicBezTo>
                    <a:pt x="149" y="160"/>
                    <a:pt x="149" y="160"/>
                    <a:pt x="149" y="160"/>
                  </a:cubicBezTo>
                  <a:cubicBezTo>
                    <a:pt x="149" y="163"/>
                    <a:pt x="150" y="165"/>
                    <a:pt x="152" y="167"/>
                  </a:cubicBezTo>
                  <a:cubicBezTo>
                    <a:pt x="250" y="265"/>
                    <a:pt x="250" y="265"/>
                    <a:pt x="250" y="265"/>
                  </a:cubicBezTo>
                  <a:cubicBezTo>
                    <a:pt x="226" y="286"/>
                    <a:pt x="194" y="298"/>
                    <a:pt x="160" y="298"/>
                  </a:cubicBezTo>
                  <a:cubicBezTo>
                    <a:pt x="83" y="298"/>
                    <a:pt x="21" y="236"/>
                    <a:pt x="21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356"/>
            <p:cNvSpPr>
              <a:spLocks noEditPoints="1"/>
            </p:cNvSpPr>
            <p:nvPr/>
          </p:nvSpPr>
          <p:spPr bwMode="auto">
            <a:xfrm>
              <a:off x="2705" y="1184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360"/>
          <p:cNvSpPr>
            <a:spLocks noChangeAspect="1" noEditPoints="1"/>
          </p:cNvSpPr>
          <p:nvPr/>
        </p:nvSpPr>
        <p:spPr bwMode="auto">
          <a:xfrm>
            <a:off x="4407312" y="2051054"/>
            <a:ext cx="369021" cy="369021"/>
          </a:xfrm>
          <a:custGeom>
            <a:avLst/>
            <a:gdLst>
              <a:gd name="T0" fmla="*/ 281 w 512"/>
              <a:gd name="T1" fmla="*/ 266 h 512"/>
              <a:gd name="T2" fmla="*/ 394 w 512"/>
              <a:gd name="T3" fmla="*/ 266 h 512"/>
              <a:gd name="T4" fmla="*/ 361 w 512"/>
              <a:gd name="T5" fmla="*/ 346 h 512"/>
              <a:gd name="T6" fmla="*/ 281 w 512"/>
              <a:gd name="T7" fmla="*/ 266 h 512"/>
              <a:gd name="T8" fmla="*/ 245 w 512"/>
              <a:gd name="T9" fmla="*/ 256 h 512"/>
              <a:gd name="T10" fmla="*/ 245 w 512"/>
              <a:gd name="T11" fmla="*/ 118 h 512"/>
              <a:gd name="T12" fmla="*/ 117 w 512"/>
              <a:gd name="T13" fmla="*/ 256 h 512"/>
              <a:gd name="T14" fmla="*/ 256 w 512"/>
              <a:gd name="T15" fmla="*/ 394 h 512"/>
              <a:gd name="T16" fmla="*/ 346 w 512"/>
              <a:gd name="T17" fmla="*/ 361 h 512"/>
              <a:gd name="T18" fmla="*/ 248 w 512"/>
              <a:gd name="T19" fmla="*/ 263 h 512"/>
              <a:gd name="T20" fmla="*/ 245 w 512"/>
              <a:gd name="T21" fmla="*/ 256 h 512"/>
              <a:gd name="T22" fmla="*/ 266 w 512"/>
              <a:gd name="T23" fmla="*/ 118 h 512"/>
              <a:gd name="T24" fmla="*/ 266 w 512"/>
              <a:gd name="T25" fmla="*/ 245 h 512"/>
              <a:gd name="T26" fmla="*/ 394 w 512"/>
              <a:gd name="T27" fmla="*/ 245 h 512"/>
              <a:gd name="T28" fmla="*/ 266 w 512"/>
              <a:gd name="T29" fmla="*/ 118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6 w 512"/>
              <a:gd name="T41" fmla="*/ 256 h 512"/>
              <a:gd name="T42" fmla="*/ 256 w 512"/>
              <a:gd name="T43" fmla="*/ 96 h 512"/>
              <a:gd name="T44" fmla="*/ 96 w 512"/>
              <a:gd name="T45" fmla="*/ 256 h 512"/>
              <a:gd name="T46" fmla="*/ 256 w 512"/>
              <a:gd name="T47" fmla="*/ 416 h 512"/>
              <a:gd name="T48" fmla="*/ 416 w 512"/>
              <a:gd name="T4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81" y="266"/>
                </a:moveTo>
                <a:cubicBezTo>
                  <a:pt x="394" y="266"/>
                  <a:pt x="394" y="266"/>
                  <a:pt x="394" y="266"/>
                </a:cubicBezTo>
                <a:cubicBezTo>
                  <a:pt x="391" y="297"/>
                  <a:pt x="379" y="324"/>
                  <a:pt x="361" y="346"/>
                </a:cubicBezTo>
                <a:lnTo>
                  <a:pt x="281" y="266"/>
                </a:lnTo>
                <a:close/>
                <a:moveTo>
                  <a:pt x="245" y="256"/>
                </a:moveTo>
                <a:cubicBezTo>
                  <a:pt x="245" y="118"/>
                  <a:pt x="245" y="118"/>
                  <a:pt x="245" y="118"/>
                </a:cubicBezTo>
                <a:cubicBezTo>
                  <a:pt x="174" y="123"/>
                  <a:pt x="117" y="183"/>
                  <a:pt x="117" y="256"/>
                </a:cubicBezTo>
                <a:cubicBezTo>
                  <a:pt x="117" y="332"/>
                  <a:pt x="179" y="394"/>
                  <a:pt x="256" y="394"/>
                </a:cubicBezTo>
                <a:cubicBezTo>
                  <a:pt x="290" y="394"/>
                  <a:pt x="322" y="382"/>
                  <a:pt x="346" y="361"/>
                </a:cubicBezTo>
                <a:cubicBezTo>
                  <a:pt x="248" y="263"/>
                  <a:pt x="248" y="263"/>
                  <a:pt x="248" y="263"/>
                </a:cubicBezTo>
                <a:cubicBezTo>
                  <a:pt x="246" y="261"/>
                  <a:pt x="245" y="259"/>
                  <a:pt x="245" y="256"/>
                </a:cubicBezTo>
                <a:close/>
                <a:moveTo>
                  <a:pt x="266" y="118"/>
                </a:moveTo>
                <a:cubicBezTo>
                  <a:pt x="266" y="245"/>
                  <a:pt x="266" y="245"/>
                  <a:pt x="266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89" y="177"/>
                  <a:pt x="334" y="123"/>
                  <a:pt x="266" y="11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363"/>
          <p:cNvGrpSpPr>
            <a:grpSpLocks noChangeAspect="1"/>
          </p:cNvGrpSpPr>
          <p:nvPr/>
        </p:nvGrpSpPr>
        <p:grpSpPr bwMode="auto">
          <a:xfrm>
            <a:off x="3909442" y="2051054"/>
            <a:ext cx="369021" cy="369021"/>
            <a:chOff x="1912" y="1204"/>
            <a:chExt cx="340" cy="340"/>
          </a:xfrm>
          <a:solidFill>
            <a:schemeClr val="accent4"/>
          </a:solidFill>
        </p:grpSpPr>
        <p:sp>
          <p:nvSpPr>
            <p:cNvPr id="274" name="Freeform 364"/>
            <p:cNvSpPr>
              <a:spLocks noEditPoints="1"/>
            </p:cNvSpPr>
            <p:nvPr/>
          </p:nvSpPr>
          <p:spPr bwMode="auto">
            <a:xfrm>
              <a:off x="1997" y="1289"/>
              <a:ext cx="170" cy="170"/>
            </a:xfrm>
            <a:custGeom>
              <a:avLst/>
              <a:gdLst>
                <a:gd name="T0" fmla="*/ 245 w 256"/>
                <a:gd name="T1" fmla="*/ 117 h 256"/>
                <a:gd name="T2" fmla="*/ 138 w 256"/>
                <a:gd name="T3" fmla="*/ 117 h 256"/>
                <a:gd name="T4" fmla="*/ 138 w 256"/>
                <a:gd name="T5" fmla="*/ 10 h 256"/>
                <a:gd name="T6" fmla="*/ 128 w 256"/>
                <a:gd name="T7" fmla="*/ 0 h 256"/>
                <a:gd name="T8" fmla="*/ 0 w 256"/>
                <a:gd name="T9" fmla="*/ 128 h 256"/>
                <a:gd name="T10" fmla="*/ 128 w 256"/>
                <a:gd name="T11" fmla="*/ 256 h 256"/>
                <a:gd name="T12" fmla="*/ 256 w 256"/>
                <a:gd name="T13" fmla="*/ 128 h 256"/>
                <a:gd name="T14" fmla="*/ 245 w 256"/>
                <a:gd name="T15" fmla="*/ 117 h 256"/>
                <a:gd name="T16" fmla="*/ 128 w 256"/>
                <a:gd name="T17" fmla="*/ 234 h 256"/>
                <a:gd name="T18" fmla="*/ 21 w 256"/>
                <a:gd name="T19" fmla="*/ 128 h 256"/>
                <a:gd name="T20" fmla="*/ 117 w 256"/>
                <a:gd name="T21" fmla="*/ 22 h 256"/>
                <a:gd name="T22" fmla="*/ 117 w 256"/>
                <a:gd name="T23" fmla="*/ 128 h 256"/>
                <a:gd name="T24" fmla="*/ 128 w 256"/>
                <a:gd name="T25" fmla="*/ 138 h 256"/>
                <a:gd name="T26" fmla="*/ 234 w 256"/>
                <a:gd name="T27" fmla="*/ 138 h 256"/>
                <a:gd name="T28" fmla="*/ 128 w 256"/>
                <a:gd name="T29" fmla="*/ 23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256">
                  <a:moveTo>
                    <a:pt x="245" y="117"/>
                  </a:moveTo>
                  <a:cubicBezTo>
                    <a:pt x="138" y="117"/>
                    <a:pt x="138" y="117"/>
                    <a:pt x="138" y="117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38" y="4"/>
                    <a:pt x="134" y="0"/>
                    <a:pt x="128" y="0"/>
                  </a:cubicBezTo>
                  <a:cubicBezTo>
                    <a:pt x="57" y="0"/>
                    <a:pt x="0" y="57"/>
                    <a:pt x="0" y="128"/>
                  </a:cubicBezTo>
                  <a:cubicBezTo>
                    <a:pt x="0" y="198"/>
                    <a:pt x="57" y="256"/>
                    <a:pt x="128" y="256"/>
                  </a:cubicBezTo>
                  <a:cubicBezTo>
                    <a:pt x="198" y="256"/>
                    <a:pt x="256" y="198"/>
                    <a:pt x="256" y="128"/>
                  </a:cubicBezTo>
                  <a:cubicBezTo>
                    <a:pt x="256" y="122"/>
                    <a:pt x="251" y="117"/>
                    <a:pt x="245" y="117"/>
                  </a:cubicBezTo>
                  <a:close/>
                  <a:moveTo>
                    <a:pt x="128" y="234"/>
                  </a:moveTo>
                  <a:cubicBezTo>
                    <a:pt x="69" y="234"/>
                    <a:pt x="21" y="186"/>
                    <a:pt x="21" y="128"/>
                  </a:cubicBezTo>
                  <a:cubicBezTo>
                    <a:pt x="21" y="72"/>
                    <a:pt x="63" y="27"/>
                    <a:pt x="117" y="22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7" y="134"/>
                    <a:pt x="122" y="138"/>
                    <a:pt x="128" y="138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28" y="192"/>
                    <a:pt x="183" y="234"/>
                    <a:pt x="128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365"/>
            <p:cNvSpPr>
              <a:spLocks noEditPoints="1"/>
            </p:cNvSpPr>
            <p:nvPr/>
          </p:nvSpPr>
          <p:spPr bwMode="auto">
            <a:xfrm>
              <a:off x="2103" y="1280"/>
              <a:ext cx="73" cy="73"/>
            </a:xfrm>
            <a:custGeom>
              <a:avLst/>
              <a:gdLst>
                <a:gd name="T0" fmla="*/ 109 w 110"/>
                <a:gd name="T1" fmla="*/ 96 h 110"/>
                <a:gd name="T2" fmla="*/ 14 w 110"/>
                <a:gd name="T3" fmla="*/ 1 h 110"/>
                <a:gd name="T4" fmla="*/ 4 w 110"/>
                <a:gd name="T5" fmla="*/ 2 h 110"/>
                <a:gd name="T6" fmla="*/ 0 w 110"/>
                <a:gd name="T7" fmla="*/ 11 h 110"/>
                <a:gd name="T8" fmla="*/ 0 w 110"/>
                <a:gd name="T9" fmla="*/ 99 h 110"/>
                <a:gd name="T10" fmla="*/ 10 w 110"/>
                <a:gd name="T11" fmla="*/ 110 h 110"/>
                <a:gd name="T12" fmla="*/ 98 w 110"/>
                <a:gd name="T13" fmla="*/ 110 h 110"/>
                <a:gd name="T14" fmla="*/ 107 w 110"/>
                <a:gd name="T15" fmla="*/ 105 h 110"/>
                <a:gd name="T16" fmla="*/ 109 w 110"/>
                <a:gd name="T17" fmla="*/ 96 h 110"/>
                <a:gd name="T18" fmla="*/ 21 w 110"/>
                <a:gd name="T19" fmla="*/ 88 h 110"/>
                <a:gd name="T20" fmla="*/ 21 w 110"/>
                <a:gd name="T21" fmla="*/ 26 h 110"/>
                <a:gd name="T22" fmla="*/ 83 w 110"/>
                <a:gd name="T23" fmla="*/ 88 h 110"/>
                <a:gd name="T24" fmla="*/ 21 w 110"/>
                <a:gd name="T25" fmla="*/ 8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110">
                  <a:moveTo>
                    <a:pt x="109" y="96"/>
                  </a:moveTo>
                  <a:cubicBezTo>
                    <a:pt x="94" y="51"/>
                    <a:pt x="59" y="15"/>
                    <a:pt x="14" y="1"/>
                  </a:cubicBezTo>
                  <a:cubicBezTo>
                    <a:pt x="10" y="0"/>
                    <a:pt x="7" y="0"/>
                    <a:pt x="4" y="2"/>
                  </a:cubicBezTo>
                  <a:cubicBezTo>
                    <a:pt x="1" y="4"/>
                    <a:pt x="0" y="8"/>
                    <a:pt x="0" y="1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5"/>
                    <a:pt x="4" y="110"/>
                    <a:pt x="10" y="110"/>
                  </a:cubicBezTo>
                  <a:cubicBezTo>
                    <a:pt x="98" y="110"/>
                    <a:pt x="98" y="110"/>
                    <a:pt x="98" y="110"/>
                  </a:cubicBezTo>
                  <a:cubicBezTo>
                    <a:pt x="102" y="110"/>
                    <a:pt x="105" y="108"/>
                    <a:pt x="107" y="105"/>
                  </a:cubicBezTo>
                  <a:cubicBezTo>
                    <a:pt x="109" y="103"/>
                    <a:pt x="110" y="99"/>
                    <a:pt x="109" y="96"/>
                  </a:cubicBezTo>
                  <a:close/>
                  <a:moveTo>
                    <a:pt x="21" y="8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48" y="39"/>
                    <a:pt x="70" y="61"/>
                    <a:pt x="83" y="88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366"/>
            <p:cNvSpPr>
              <a:spLocks noEditPoints="1"/>
            </p:cNvSpPr>
            <p:nvPr/>
          </p:nvSpPr>
          <p:spPr bwMode="auto">
            <a:xfrm>
              <a:off x="1912" y="12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370"/>
          <p:cNvSpPr>
            <a:spLocks noChangeAspect="1" noEditPoints="1"/>
          </p:cNvSpPr>
          <p:nvPr/>
        </p:nvSpPr>
        <p:spPr bwMode="auto">
          <a:xfrm>
            <a:off x="3411572" y="2051054"/>
            <a:ext cx="369021" cy="369021"/>
          </a:xfrm>
          <a:custGeom>
            <a:avLst/>
            <a:gdLst>
              <a:gd name="T0" fmla="*/ 371 w 512"/>
              <a:gd name="T1" fmla="*/ 202 h 512"/>
              <a:gd name="T2" fmla="*/ 309 w 512"/>
              <a:gd name="T3" fmla="*/ 202 h 512"/>
              <a:gd name="T4" fmla="*/ 309 w 512"/>
              <a:gd name="T5" fmla="*/ 140 h 512"/>
              <a:gd name="T6" fmla="*/ 371 w 512"/>
              <a:gd name="T7" fmla="*/ 202 h 512"/>
              <a:gd name="T8" fmla="*/ 245 w 512"/>
              <a:gd name="T9" fmla="*/ 256 h 512"/>
              <a:gd name="T10" fmla="*/ 245 w 512"/>
              <a:gd name="T11" fmla="*/ 150 h 512"/>
              <a:gd name="T12" fmla="*/ 149 w 512"/>
              <a:gd name="T13" fmla="*/ 256 h 512"/>
              <a:gd name="T14" fmla="*/ 256 w 512"/>
              <a:gd name="T15" fmla="*/ 362 h 512"/>
              <a:gd name="T16" fmla="*/ 362 w 512"/>
              <a:gd name="T17" fmla="*/ 266 h 512"/>
              <a:gd name="T18" fmla="*/ 256 w 512"/>
              <a:gd name="T19" fmla="*/ 266 h 512"/>
              <a:gd name="T20" fmla="*/ 245 w 512"/>
              <a:gd name="T21" fmla="*/ 256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84 w 512"/>
              <a:gd name="T33" fmla="*/ 256 h 512"/>
              <a:gd name="T34" fmla="*/ 373 w 512"/>
              <a:gd name="T35" fmla="*/ 245 h 512"/>
              <a:gd name="T36" fmla="*/ 266 w 512"/>
              <a:gd name="T37" fmla="*/ 245 h 512"/>
              <a:gd name="T38" fmla="*/ 266 w 512"/>
              <a:gd name="T39" fmla="*/ 138 h 512"/>
              <a:gd name="T40" fmla="*/ 256 w 512"/>
              <a:gd name="T41" fmla="*/ 128 h 512"/>
              <a:gd name="T42" fmla="*/ 128 w 512"/>
              <a:gd name="T43" fmla="*/ 256 h 512"/>
              <a:gd name="T44" fmla="*/ 256 w 512"/>
              <a:gd name="T45" fmla="*/ 384 h 512"/>
              <a:gd name="T46" fmla="*/ 384 w 512"/>
              <a:gd name="T47" fmla="*/ 256 h 512"/>
              <a:gd name="T48" fmla="*/ 397 w 512"/>
              <a:gd name="T49" fmla="*/ 210 h 512"/>
              <a:gd name="T50" fmla="*/ 302 w 512"/>
              <a:gd name="T51" fmla="*/ 115 h 512"/>
              <a:gd name="T52" fmla="*/ 292 w 512"/>
              <a:gd name="T53" fmla="*/ 116 h 512"/>
              <a:gd name="T54" fmla="*/ 288 w 512"/>
              <a:gd name="T55" fmla="*/ 125 h 512"/>
              <a:gd name="T56" fmla="*/ 288 w 512"/>
              <a:gd name="T57" fmla="*/ 213 h 512"/>
              <a:gd name="T58" fmla="*/ 298 w 512"/>
              <a:gd name="T59" fmla="*/ 224 h 512"/>
              <a:gd name="T60" fmla="*/ 386 w 512"/>
              <a:gd name="T61" fmla="*/ 224 h 512"/>
              <a:gd name="T62" fmla="*/ 395 w 512"/>
              <a:gd name="T63" fmla="*/ 219 h 512"/>
              <a:gd name="T64" fmla="*/ 397 w 512"/>
              <a:gd name="T65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71" y="202"/>
                </a:moveTo>
                <a:cubicBezTo>
                  <a:pt x="309" y="202"/>
                  <a:pt x="309" y="202"/>
                  <a:pt x="309" y="202"/>
                </a:cubicBezTo>
                <a:cubicBezTo>
                  <a:pt x="309" y="140"/>
                  <a:pt x="309" y="140"/>
                  <a:pt x="309" y="140"/>
                </a:cubicBezTo>
                <a:cubicBezTo>
                  <a:pt x="336" y="153"/>
                  <a:pt x="358" y="175"/>
                  <a:pt x="371" y="202"/>
                </a:cubicBezTo>
                <a:close/>
                <a:moveTo>
                  <a:pt x="245" y="256"/>
                </a:moveTo>
                <a:cubicBezTo>
                  <a:pt x="245" y="150"/>
                  <a:pt x="245" y="150"/>
                  <a:pt x="245" y="150"/>
                </a:cubicBezTo>
                <a:cubicBezTo>
                  <a:pt x="191" y="155"/>
                  <a:pt x="149" y="200"/>
                  <a:pt x="149" y="256"/>
                </a:cubicBezTo>
                <a:cubicBezTo>
                  <a:pt x="149" y="314"/>
                  <a:pt x="197" y="362"/>
                  <a:pt x="256" y="362"/>
                </a:cubicBezTo>
                <a:cubicBezTo>
                  <a:pt x="311" y="362"/>
                  <a:pt x="356" y="320"/>
                  <a:pt x="362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56"/>
                </a:moveTo>
                <a:cubicBezTo>
                  <a:pt x="384" y="250"/>
                  <a:pt x="379" y="245"/>
                  <a:pt x="373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32"/>
                  <a:pt x="262" y="128"/>
                  <a:pt x="256" y="128"/>
                </a:cubicBezTo>
                <a:cubicBezTo>
                  <a:pt x="185" y="128"/>
                  <a:pt x="128" y="185"/>
                  <a:pt x="128" y="256"/>
                </a:cubicBezTo>
                <a:cubicBezTo>
                  <a:pt x="128" y="326"/>
                  <a:pt x="185" y="384"/>
                  <a:pt x="256" y="384"/>
                </a:cubicBezTo>
                <a:cubicBezTo>
                  <a:pt x="326" y="384"/>
                  <a:pt x="384" y="326"/>
                  <a:pt x="384" y="256"/>
                </a:cubicBezTo>
                <a:close/>
                <a:moveTo>
                  <a:pt x="397" y="210"/>
                </a:moveTo>
                <a:cubicBezTo>
                  <a:pt x="382" y="165"/>
                  <a:pt x="347" y="129"/>
                  <a:pt x="302" y="115"/>
                </a:cubicBezTo>
                <a:cubicBezTo>
                  <a:pt x="298" y="114"/>
                  <a:pt x="295" y="114"/>
                  <a:pt x="292" y="116"/>
                </a:cubicBezTo>
                <a:cubicBezTo>
                  <a:pt x="289" y="118"/>
                  <a:pt x="288" y="122"/>
                  <a:pt x="288" y="125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86" y="224"/>
                  <a:pt x="386" y="224"/>
                  <a:pt x="386" y="224"/>
                </a:cubicBezTo>
                <a:cubicBezTo>
                  <a:pt x="390" y="224"/>
                  <a:pt x="393" y="222"/>
                  <a:pt x="395" y="219"/>
                </a:cubicBezTo>
                <a:cubicBezTo>
                  <a:pt x="397" y="217"/>
                  <a:pt x="398" y="213"/>
                  <a:pt x="397" y="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8" name="Group 463"/>
          <p:cNvGrpSpPr>
            <a:grpSpLocks noChangeAspect="1"/>
          </p:cNvGrpSpPr>
          <p:nvPr/>
        </p:nvGrpSpPr>
        <p:grpSpPr bwMode="auto">
          <a:xfrm>
            <a:off x="5900924" y="2051054"/>
            <a:ext cx="369021" cy="369021"/>
            <a:chOff x="1110" y="1564"/>
            <a:chExt cx="340" cy="340"/>
          </a:xfrm>
          <a:solidFill>
            <a:schemeClr val="accent5"/>
          </a:solidFill>
        </p:grpSpPr>
        <p:sp>
          <p:nvSpPr>
            <p:cNvPr id="279" name="Freeform 464"/>
            <p:cNvSpPr>
              <a:spLocks noEditPoints="1"/>
            </p:cNvSpPr>
            <p:nvPr/>
          </p:nvSpPr>
          <p:spPr bwMode="auto">
            <a:xfrm>
              <a:off x="1174" y="1656"/>
              <a:ext cx="212" cy="148"/>
            </a:xfrm>
            <a:custGeom>
              <a:avLst/>
              <a:gdLst>
                <a:gd name="T0" fmla="*/ 277 w 320"/>
                <a:gd name="T1" fmla="*/ 0 h 224"/>
                <a:gd name="T2" fmla="*/ 234 w 320"/>
                <a:gd name="T3" fmla="*/ 43 h 224"/>
                <a:gd name="T4" fmla="*/ 246 w 320"/>
                <a:gd name="T5" fmla="*/ 73 h 224"/>
                <a:gd name="T6" fmla="*/ 204 w 320"/>
                <a:gd name="T7" fmla="*/ 141 h 224"/>
                <a:gd name="T8" fmla="*/ 192 w 320"/>
                <a:gd name="T9" fmla="*/ 139 h 224"/>
                <a:gd name="T10" fmla="*/ 182 w 320"/>
                <a:gd name="T11" fmla="*/ 140 h 224"/>
                <a:gd name="T12" fmla="*/ 146 w 320"/>
                <a:gd name="T13" fmla="*/ 74 h 224"/>
                <a:gd name="T14" fmla="*/ 160 w 320"/>
                <a:gd name="T15" fmla="*/ 43 h 224"/>
                <a:gd name="T16" fmla="*/ 117 w 320"/>
                <a:gd name="T17" fmla="*/ 0 h 224"/>
                <a:gd name="T18" fmla="*/ 74 w 320"/>
                <a:gd name="T19" fmla="*/ 43 h 224"/>
                <a:gd name="T20" fmla="*/ 88 w 320"/>
                <a:gd name="T21" fmla="*/ 74 h 224"/>
                <a:gd name="T22" fmla="*/ 52 w 320"/>
                <a:gd name="T23" fmla="*/ 140 h 224"/>
                <a:gd name="T24" fmla="*/ 42 w 320"/>
                <a:gd name="T25" fmla="*/ 139 h 224"/>
                <a:gd name="T26" fmla="*/ 0 w 320"/>
                <a:gd name="T27" fmla="*/ 182 h 224"/>
                <a:gd name="T28" fmla="*/ 42 w 320"/>
                <a:gd name="T29" fmla="*/ 224 h 224"/>
                <a:gd name="T30" fmla="*/ 85 w 320"/>
                <a:gd name="T31" fmla="*/ 182 h 224"/>
                <a:gd name="T32" fmla="*/ 71 w 320"/>
                <a:gd name="T33" fmla="*/ 150 h 224"/>
                <a:gd name="T34" fmla="*/ 107 w 320"/>
                <a:gd name="T35" fmla="*/ 84 h 224"/>
                <a:gd name="T36" fmla="*/ 117 w 320"/>
                <a:gd name="T37" fmla="*/ 86 h 224"/>
                <a:gd name="T38" fmla="*/ 127 w 320"/>
                <a:gd name="T39" fmla="*/ 84 h 224"/>
                <a:gd name="T40" fmla="*/ 163 w 320"/>
                <a:gd name="T41" fmla="*/ 150 h 224"/>
                <a:gd name="T42" fmla="*/ 149 w 320"/>
                <a:gd name="T43" fmla="*/ 182 h 224"/>
                <a:gd name="T44" fmla="*/ 192 w 320"/>
                <a:gd name="T45" fmla="*/ 224 h 224"/>
                <a:gd name="T46" fmla="*/ 234 w 320"/>
                <a:gd name="T47" fmla="*/ 182 h 224"/>
                <a:gd name="T48" fmla="*/ 222 w 320"/>
                <a:gd name="T49" fmla="*/ 152 h 224"/>
                <a:gd name="T50" fmla="*/ 265 w 320"/>
                <a:gd name="T51" fmla="*/ 84 h 224"/>
                <a:gd name="T52" fmla="*/ 277 w 320"/>
                <a:gd name="T53" fmla="*/ 86 h 224"/>
                <a:gd name="T54" fmla="*/ 320 w 320"/>
                <a:gd name="T55" fmla="*/ 43 h 224"/>
                <a:gd name="T56" fmla="*/ 277 w 320"/>
                <a:gd name="T57" fmla="*/ 0 h 224"/>
                <a:gd name="T58" fmla="*/ 42 w 320"/>
                <a:gd name="T59" fmla="*/ 203 h 224"/>
                <a:gd name="T60" fmla="*/ 21 w 320"/>
                <a:gd name="T61" fmla="*/ 182 h 224"/>
                <a:gd name="T62" fmla="*/ 42 w 320"/>
                <a:gd name="T63" fmla="*/ 160 h 224"/>
                <a:gd name="T64" fmla="*/ 64 w 320"/>
                <a:gd name="T65" fmla="*/ 182 h 224"/>
                <a:gd name="T66" fmla="*/ 42 w 320"/>
                <a:gd name="T67" fmla="*/ 203 h 224"/>
                <a:gd name="T68" fmla="*/ 96 w 320"/>
                <a:gd name="T69" fmla="*/ 43 h 224"/>
                <a:gd name="T70" fmla="*/ 117 w 320"/>
                <a:gd name="T71" fmla="*/ 22 h 224"/>
                <a:gd name="T72" fmla="*/ 138 w 320"/>
                <a:gd name="T73" fmla="*/ 43 h 224"/>
                <a:gd name="T74" fmla="*/ 117 w 320"/>
                <a:gd name="T75" fmla="*/ 64 h 224"/>
                <a:gd name="T76" fmla="*/ 96 w 320"/>
                <a:gd name="T77" fmla="*/ 43 h 224"/>
                <a:gd name="T78" fmla="*/ 192 w 320"/>
                <a:gd name="T79" fmla="*/ 203 h 224"/>
                <a:gd name="T80" fmla="*/ 170 w 320"/>
                <a:gd name="T81" fmla="*/ 182 h 224"/>
                <a:gd name="T82" fmla="*/ 192 w 320"/>
                <a:gd name="T83" fmla="*/ 160 h 224"/>
                <a:gd name="T84" fmla="*/ 213 w 320"/>
                <a:gd name="T85" fmla="*/ 182 h 224"/>
                <a:gd name="T86" fmla="*/ 192 w 320"/>
                <a:gd name="T87" fmla="*/ 203 h 224"/>
                <a:gd name="T88" fmla="*/ 277 w 320"/>
                <a:gd name="T89" fmla="*/ 64 h 224"/>
                <a:gd name="T90" fmla="*/ 256 w 320"/>
                <a:gd name="T91" fmla="*/ 43 h 224"/>
                <a:gd name="T92" fmla="*/ 277 w 320"/>
                <a:gd name="T93" fmla="*/ 22 h 224"/>
                <a:gd name="T94" fmla="*/ 298 w 320"/>
                <a:gd name="T95" fmla="*/ 43 h 224"/>
                <a:gd name="T96" fmla="*/ 277 w 320"/>
                <a:gd name="T97" fmla="*/ 6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224">
                  <a:moveTo>
                    <a:pt x="277" y="0"/>
                  </a:moveTo>
                  <a:cubicBezTo>
                    <a:pt x="253" y="0"/>
                    <a:pt x="234" y="19"/>
                    <a:pt x="234" y="43"/>
                  </a:cubicBezTo>
                  <a:cubicBezTo>
                    <a:pt x="234" y="54"/>
                    <a:pt x="239" y="65"/>
                    <a:pt x="246" y="73"/>
                  </a:cubicBezTo>
                  <a:cubicBezTo>
                    <a:pt x="204" y="141"/>
                    <a:pt x="204" y="141"/>
                    <a:pt x="204" y="141"/>
                  </a:cubicBezTo>
                  <a:cubicBezTo>
                    <a:pt x="200" y="140"/>
                    <a:pt x="196" y="139"/>
                    <a:pt x="192" y="139"/>
                  </a:cubicBezTo>
                  <a:cubicBezTo>
                    <a:pt x="188" y="139"/>
                    <a:pt x="185" y="140"/>
                    <a:pt x="182" y="140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54" y="66"/>
                    <a:pt x="160" y="55"/>
                    <a:pt x="160" y="43"/>
                  </a:cubicBezTo>
                  <a:cubicBezTo>
                    <a:pt x="160" y="19"/>
                    <a:pt x="141" y="0"/>
                    <a:pt x="117" y="0"/>
                  </a:cubicBezTo>
                  <a:cubicBezTo>
                    <a:pt x="93" y="0"/>
                    <a:pt x="74" y="19"/>
                    <a:pt x="74" y="43"/>
                  </a:cubicBezTo>
                  <a:cubicBezTo>
                    <a:pt x="74" y="55"/>
                    <a:pt x="80" y="66"/>
                    <a:pt x="88" y="74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49" y="140"/>
                    <a:pt x="46" y="139"/>
                    <a:pt x="42" y="139"/>
                  </a:cubicBezTo>
                  <a:cubicBezTo>
                    <a:pt x="19" y="139"/>
                    <a:pt x="0" y="158"/>
                    <a:pt x="0" y="182"/>
                  </a:cubicBezTo>
                  <a:cubicBezTo>
                    <a:pt x="0" y="205"/>
                    <a:pt x="19" y="224"/>
                    <a:pt x="42" y="224"/>
                  </a:cubicBezTo>
                  <a:cubicBezTo>
                    <a:pt x="66" y="224"/>
                    <a:pt x="85" y="205"/>
                    <a:pt x="85" y="182"/>
                  </a:cubicBezTo>
                  <a:cubicBezTo>
                    <a:pt x="85" y="169"/>
                    <a:pt x="80" y="158"/>
                    <a:pt x="71" y="150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10" y="85"/>
                    <a:pt x="113" y="86"/>
                    <a:pt x="117" y="86"/>
                  </a:cubicBezTo>
                  <a:cubicBezTo>
                    <a:pt x="121" y="86"/>
                    <a:pt x="124" y="85"/>
                    <a:pt x="127" y="84"/>
                  </a:cubicBezTo>
                  <a:cubicBezTo>
                    <a:pt x="163" y="150"/>
                    <a:pt x="163" y="150"/>
                    <a:pt x="163" y="150"/>
                  </a:cubicBezTo>
                  <a:cubicBezTo>
                    <a:pt x="154" y="158"/>
                    <a:pt x="149" y="169"/>
                    <a:pt x="149" y="182"/>
                  </a:cubicBezTo>
                  <a:cubicBezTo>
                    <a:pt x="149" y="205"/>
                    <a:pt x="168" y="224"/>
                    <a:pt x="192" y="224"/>
                  </a:cubicBezTo>
                  <a:cubicBezTo>
                    <a:pt x="215" y="224"/>
                    <a:pt x="234" y="205"/>
                    <a:pt x="234" y="182"/>
                  </a:cubicBezTo>
                  <a:cubicBezTo>
                    <a:pt x="234" y="170"/>
                    <a:pt x="230" y="160"/>
                    <a:pt x="222" y="152"/>
                  </a:cubicBezTo>
                  <a:cubicBezTo>
                    <a:pt x="265" y="84"/>
                    <a:pt x="265" y="84"/>
                    <a:pt x="265" y="84"/>
                  </a:cubicBezTo>
                  <a:cubicBezTo>
                    <a:pt x="269" y="85"/>
                    <a:pt x="273" y="86"/>
                    <a:pt x="277" y="86"/>
                  </a:cubicBezTo>
                  <a:cubicBezTo>
                    <a:pt x="301" y="86"/>
                    <a:pt x="320" y="67"/>
                    <a:pt x="320" y="43"/>
                  </a:cubicBezTo>
                  <a:cubicBezTo>
                    <a:pt x="320" y="19"/>
                    <a:pt x="301" y="0"/>
                    <a:pt x="277" y="0"/>
                  </a:cubicBezTo>
                  <a:close/>
                  <a:moveTo>
                    <a:pt x="42" y="203"/>
                  </a:moveTo>
                  <a:cubicBezTo>
                    <a:pt x="31" y="203"/>
                    <a:pt x="21" y="193"/>
                    <a:pt x="21" y="182"/>
                  </a:cubicBezTo>
                  <a:cubicBezTo>
                    <a:pt x="21" y="170"/>
                    <a:pt x="31" y="160"/>
                    <a:pt x="42" y="160"/>
                  </a:cubicBezTo>
                  <a:cubicBezTo>
                    <a:pt x="54" y="160"/>
                    <a:pt x="64" y="170"/>
                    <a:pt x="64" y="182"/>
                  </a:cubicBezTo>
                  <a:cubicBezTo>
                    <a:pt x="64" y="193"/>
                    <a:pt x="54" y="203"/>
                    <a:pt x="42" y="203"/>
                  </a:cubicBezTo>
                  <a:close/>
                  <a:moveTo>
                    <a:pt x="96" y="43"/>
                  </a:moveTo>
                  <a:cubicBezTo>
                    <a:pt x="96" y="31"/>
                    <a:pt x="105" y="22"/>
                    <a:pt x="117" y="22"/>
                  </a:cubicBezTo>
                  <a:cubicBezTo>
                    <a:pt x="129" y="22"/>
                    <a:pt x="138" y="31"/>
                    <a:pt x="138" y="43"/>
                  </a:cubicBezTo>
                  <a:cubicBezTo>
                    <a:pt x="138" y="55"/>
                    <a:pt x="129" y="64"/>
                    <a:pt x="117" y="64"/>
                  </a:cubicBezTo>
                  <a:cubicBezTo>
                    <a:pt x="105" y="64"/>
                    <a:pt x="96" y="55"/>
                    <a:pt x="96" y="43"/>
                  </a:cubicBezTo>
                  <a:close/>
                  <a:moveTo>
                    <a:pt x="192" y="203"/>
                  </a:moveTo>
                  <a:cubicBezTo>
                    <a:pt x="180" y="203"/>
                    <a:pt x="170" y="193"/>
                    <a:pt x="170" y="182"/>
                  </a:cubicBezTo>
                  <a:cubicBezTo>
                    <a:pt x="170" y="170"/>
                    <a:pt x="180" y="160"/>
                    <a:pt x="192" y="160"/>
                  </a:cubicBezTo>
                  <a:cubicBezTo>
                    <a:pt x="203" y="160"/>
                    <a:pt x="213" y="170"/>
                    <a:pt x="213" y="182"/>
                  </a:cubicBezTo>
                  <a:cubicBezTo>
                    <a:pt x="213" y="193"/>
                    <a:pt x="203" y="203"/>
                    <a:pt x="192" y="203"/>
                  </a:cubicBezTo>
                  <a:close/>
                  <a:moveTo>
                    <a:pt x="277" y="64"/>
                  </a:moveTo>
                  <a:cubicBezTo>
                    <a:pt x="265" y="64"/>
                    <a:pt x="256" y="55"/>
                    <a:pt x="256" y="43"/>
                  </a:cubicBezTo>
                  <a:cubicBezTo>
                    <a:pt x="256" y="31"/>
                    <a:pt x="265" y="22"/>
                    <a:pt x="277" y="22"/>
                  </a:cubicBezTo>
                  <a:cubicBezTo>
                    <a:pt x="289" y="22"/>
                    <a:pt x="298" y="31"/>
                    <a:pt x="298" y="43"/>
                  </a:cubicBezTo>
                  <a:cubicBezTo>
                    <a:pt x="298" y="55"/>
                    <a:pt x="289" y="64"/>
                    <a:pt x="27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465"/>
            <p:cNvSpPr>
              <a:spLocks noEditPoints="1"/>
            </p:cNvSpPr>
            <p:nvPr/>
          </p:nvSpPr>
          <p:spPr bwMode="auto">
            <a:xfrm>
              <a:off x="1110" y="15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1" name="Freeform 469"/>
          <p:cNvSpPr>
            <a:spLocks noChangeAspect="1" noEditPoints="1"/>
          </p:cNvSpPr>
          <p:nvPr/>
        </p:nvSpPr>
        <p:spPr bwMode="auto">
          <a:xfrm>
            <a:off x="5403052" y="2051054"/>
            <a:ext cx="369021" cy="369021"/>
          </a:xfrm>
          <a:custGeom>
            <a:avLst/>
            <a:gdLst>
              <a:gd name="T0" fmla="*/ 309 w 512"/>
              <a:gd name="T1" fmla="*/ 320 h 512"/>
              <a:gd name="T2" fmla="*/ 288 w 512"/>
              <a:gd name="T3" fmla="*/ 341 h 512"/>
              <a:gd name="T4" fmla="*/ 266 w 512"/>
              <a:gd name="T5" fmla="*/ 320 h 512"/>
              <a:gd name="T6" fmla="*/ 288 w 512"/>
              <a:gd name="T7" fmla="*/ 298 h 512"/>
              <a:gd name="T8" fmla="*/ 309 w 512"/>
              <a:gd name="T9" fmla="*/ 320 h 512"/>
              <a:gd name="T10" fmla="*/ 213 w 512"/>
              <a:gd name="T11" fmla="*/ 160 h 512"/>
              <a:gd name="T12" fmla="*/ 192 w 512"/>
              <a:gd name="T13" fmla="*/ 181 h 512"/>
              <a:gd name="T14" fmla="*/ 213 w 512"/>
              <a:gd name="T15" fmla="*/ 202 h 512"/>
              <a:gd name="T16" fmla="*/ 234 w 512"/>
              <a:gd name="T17" fmla="*/ 181 h 512"/>
              <a:gd name="T18" fmla="*/ 213 w 512"/>
              <a:gd name="T19" fmla="*/ 160 h 512"/>
              <a:gd name="T20" fmla="*/ 138 w 512"/>
              <a:gd name="T21" fmla="*/ 298 h 512"/>
              <a:gd name="T22" fmla="*/ 117 w 512"/>
              <a:gd name="T23" fmla="*/ 320 h 512"/>
              <a:gd name="T24" fmla="*/ 138 w 512"/>
              <a:gd name="T25" fmla="*/ 341 h 512"/>
              <a:gd name="T26" fmla="*/ 160 w 512"/>
              <a:gd name="T27" fmla="*/ 320 h 512"/>
              <a:gd name="T28" fmla="*/ 138 w 512"/>
              <a:gd name="T29" fmla="*/ 298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6 w 512"/>
              <a:gd name="T41" fmla="*/ 181 h 512"/>
              <a:gd name="T42" fmla="*/ 373 w 512"/>
              <a:gd name="T43" fmla="*/ 138 h 512"/>
              <a:gd name="T44" fmla="*/ 330 w 512"/>
              <a:gd name="T45" fmla="*/ 181 h 512"/>
              <a:gd name="T46" fmla="*/ 342 w 512"/>
              <a:gd name="T47" fmla="*/ 211 h 512"/>
              <a:gd name="T48" fmla="*/ 300 w 512"/>
              <a:gd name="T49" fmla="*/ 279 h 512"/>
              <a:gd name="T50" fmla="*/ 288 w 512"/>
              <a:gd name="T51" fmla="*/ 277 h 512"/>
              <a:gd name="T52" fmla="*/ 278 w 512"/>
              <a:gd name="T53" fmla="*/ 278 h 512"/>
              <a:gd name="T54" fmla="*/ 242 w 512"/>
              <a:gd name="T55" fmla="*/ 212 h 512"/>
              <a:gd name="T56" fmla="*/ 256 w 512"/>
              <a:gd name="T57" fmla="*/ 181 h 512"/>
              <a:gd name="T58" fmla="*/ 213 w 512"/>
              <a:gd name="T59" fmla="*/ 138 h 512"/>
              <a:gd name="T60" fmla="*/ 170 w 512"/>
              <a:gd name="T61" fmla="*/ 181 h 512"/>
              <a:gd name="T62" fmla="*/ 184 w 512"/>
              <a:gd name="T63" fmla="*/ 212 h 512"/>
              <a:gd name="T64" fmla="*/ 148 w 512"/>
              <a:gd name="T65" fmla="*/ 278 h 512"/>
              <a:gd name="T66" fmla="*/ 138 w 512"/>
              <a:gd name="T67" fmla="*/ 277 h 512"/>
              <a:gd name="T68" fmla="*/ 96 w 512"/>
              <a:gd name="T69" fmla="*/ 320 h 512"/>
              <a:gd name="T70" fmla="*/ 138 w 512"/>
              <a:gd name="T71" fmla="*/ 362 h 512"/>
              <a:gd name="T72" fmla="*/ 181 w 512"/>
              <a:gd name="T73" fmla="*/ 320 h 512"/>
              <a:gd name="T74" fmla="*/ 167 w 512"/>
              <a:gd name="T75" fmla="*/ 288 h 512"/>
              <a:gd name="T76" fmla="*/ 203 w 512"/>
              <a:gd name="T77" fmla="*/ 222 h 512"/>
              <a:gd name="T78" fmla="*/ 213 w 512"/>
              <a:gd name="T79" fmla="*/ 224 h 512"/>
              <a:gd name="T80" fmla="*/ 223 w 512"/>
              <a:gd name="T81" fmla="*/ 222 h 512"/>
              <a:gd name="T82" fmla="*/ 259 w 512"/>
              <a:gd name="T83" fmla="*/ 288 h 512"/>
              <a:gd name="T84" fmla="*/ 245 w 512"/>
              <a:gd name="T85" fmla="*/ 320 h 512"/>
              <a:gd name="T86" fmla="*/ 288 w 512"/>
              <a:gd name="T87" fmla="*/ 362 h 512"/>
              <a:gd name="T88" fmla="*/ 330 w 512"/>
              <a:gd name="T89" fmla="*/ 320 h 512"/>
              <a:gd name="T90" fmla="*/ 318 w 512"/>
              <a:gd name="T91" fmla="*/ 290 h 512"/>
              <a:gd name="T92" fmla="*/ 361 w 512"/>
              <a:gd name="T93" fmla="*/ 222 h 512"/>
              <a:gd name="T94" fmla="*/ 373 w 512"/>
              <a:gd name="T95" fmla="*/ 224 h 512"/>
              <a:gd name="T96" fmla="*/ 416 w 512"/>
              <a:gd name="T97" fmla="*/ 181 h 512"/>
              <a:gd name="T98" fmla="*/ 373 w 512"/>
              <a:gd name="T99" fmla="*/ 160 h 512"/>
              <a:gd name="T100" fmla="*/ 352 w 512"/>
              <a:gd name="T101" fmla="*/ 181 h 512"/>
              <a:gd name="T102" fmla="*/ 373 w 512"/>
              <a:gd name="T103" fmla="*/ 202 h 512"/>
              <a:gd name="T104" fmla="*/ 394 w 512"/>
              <a:gd name="T105" fmla="*/ 181 h 512"/>
              <a:gd name="T106" fmla="*/ 373 w 512"/>
              <a:gd name="T107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309" y="320"/>
                </a:moveTo>
                <a:cubicBezTo>
                  <a:pt x="309" y="331"/>
                  <a:pt x="299" y="341"/>
                  <a:pt x="288" y="341"/>
                </a:cubicBezTo>
                <a:cubicBezTo>
                  <a:pt x="276" y="341"/>
                  <a:pt x="266" y="331"/>
                  <a:pt x="266" y="320"/>
                </a:cubicBezTo>
                <a:cubicBezTo>
                  <a:pt x="266" y="308"/>
                  <a:pt x="276" y="298"/>
                  <a:pt x="288" y="298"/>
                </a:cubicBezTo>
                <a:cubicBezTo>
                  <a:pt x="299" y="298"/>
                  <a:pt x="309" y="308"/>
                  <a:pt x="309" y="320"/>
                </a:cubicBezTo>
                <a:close/>
                <a:moveTo>
                  <a:pt x="213" y="160"/>
                </a:moveTo>
                <a:cubicBezTo>
                  <a:pt x="201" y="160"/>
                  <a:pt x="192" y="169"/>
                  <a:pt x="192" y="181"/>
                </a:cubicBezTo>
                <a:cubicBezTo>
                  <a:pt x="192" y="193"/>
                  <a:pt x="201" y="202"/>
                  <a:pt x="213" y="202"/>
                </a:cubicBezTo>
                <a:cubicBezTo>
                  <a:pt x="225" y="202"/>
                  <a:pt x="234" y="193"/>
                  <a:pt x="234" y="181"/>
                </a:cubicBezTo>
                <a:cubicBezTo>
                  <a:pt x="234" y="169"/>
                  <a:pt x="225" y="160"/>
                  <a:pt x="213" y="160"/>
                </a:cubicBezTo>
                <a:close/>
                <a:moveTo>
                  <a:pt x="138" y="298"/>
                </a:moveTo>
                <a:cubicBezTo>
                  <a:pt x="127" y="298"/>
                  <a:pt x="117" y="308"/>
                  <a:pt x="117" y="320"/>
                </a:cubicBezTo>
                <a:cubicBezTo>
                  <a:pt x="117" y="331"/>
                  <a:pt x="127" y="341"/>
                  <a:pt x="138" y="341"/>
                </a:cubicBezTo>
                <a:cubicBezTo>
                  <a:pt x="150" y="341"/>
                  <a:pt x="160" y="331"/>
                  <a:pt x="160" y="320"/>
                </a:cubicBezTo>
                <a:cubicBezTo>
                  <a:pt x="160" y="308"/>
                  <a:pt x="150" y="298"/>
                  <a:pt x="138" y="29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57"/>
                  <a:pt x="397" y="138"/>
                  <a:pt x="373" y="138"/>
                </a:cubicBezTo>
                <a:cubicBezTo>
                  <a:pt x="349" y="138"/>
                  <a:pt x="330" y="157"/>
                  <a:pt x="330" y="181"/>
                </a:cubicBezTo>
                <a:cubicBezTo>
                  <a:pt x="330" y="192"/>
                  <a:pt x="335" y="203"/>
                  <a:pt x="342" y="211"/>
                </a:cubicBezTo>
                <a:cubicBezTo>
                  <a:pt x="300" y="279"/>
                  <a:pt x="300" y="279"/>
                  <a:pt x="300" y="279"/>
                </a:cubicBezTo>
                <a:cubicBezTo>
                  <a:pt x="296" y="278"/>
                  <a:pt x="292" y="277"/>
                  <a:pt x="288" y="277"/>
                </a:cubicBezTo>
                <a:cubicBezTo>
                  <a:pt x="284" y="277"/>
                  <a:pt x="281" y="278"/>
                  <a:pt x="278" y="278"/>
                </a:cubicBezTo>
                <a:cubicBezTo>
                  <a:pt x="242" y="212"/>
                  <a:pt x="242" y="212"/>
                  <a:pt x="242" y="212"/>
                </a:cubicBezTo>
                <a:cubicBezTo>
                  <a:pt x="250" y="204"/>
                  <a:pt x="256" y="193"/>
                  <a:pt x="256" y="181"/>
                </a:cubicBezTo>
                <a:cubicBezTo>
                  <a:pt x="256" y="157"/>
                  <a:pt x="237" y="138"/>
                  <a:pt x="213" y="138"/>
                </a:cubicBezTo>
                <a:cubicBezTo>
                  <a:pt x="189" y="138"/>
                  <a:pt x="170" y="157"/>
                  <a:pt x="170" y="181"/>
                </a:cubicBezTo>
                <a:cubicBezTo>
                  <a:pt x="170" y="193"/>
                  <a:pt x="176" y="204"/>
                  <a:pt x="184" y="212"/>
                </a:cubicBezTo>
                <a:cubicBezTo>
                  <a:pt x="148" y="278"/>
                  <a:pt x="148" y="278"/>
                  <a:pt x="148" y="278"/>
                </a:cubicBezTo>
                <a:cubicBezTo>
                  <a:pt x="145" y="278"/>
                  <a:pt x="142" y="277"/>
                  <a:pt x="138" y="277"/>
                </a:cubicBezTo>
                <a:cubicBezTo>
                  <a:pt x="115" y="277"/>
                  <a:pt x="96" y="296"/>
                  <a:pt x="96" y="320"/>
                </a:cubicBezTo>
                <a:cubicBezTo>
                  <a:pt x="96" y="343"/>
                  <a:pt x="115" y="362"/>
                  <a:pt x="138" y="362"/>
                </a:cubicBezTo>
                <a:cubicBezTo>
                  <a:pt x="162" y="362"/>
                  <a:pt x="181" y="343"/>
                  <a:pt x="181" y="320"/>
                </a:cubicBezTo>
                <a:cubicBezTo>
                  <a:pt x="181" y="307"/>
                  <a:pt x="176" y="296"/>
                  <a:pt x="167" y="288"/>
                </a:cubicBezTo>
                <a:cubicBezTo>
                  <a:pt x="203" y="222"/>
                  <a:pt x="203" y="222"/>
                  <a:pt x="203" y="222"/>
                </a:cubicBezTo>
                <a:cubicBezTo>
                  <a:pt x="206" y="223"/>
                  <a:pt x="209" y="224"/>
                  <a:pt x="213" y="224"/>
                </a:cubicBezTo>
                <a:cubicBezTo>
                  <a:pt x="217" y="224"/>
                  <a:pt x="220" y="223"/>
                  <a:pt x="223" y="222"/>
                </a:cubicBezTo>
                <a:cubicBezTo>
                  <a:pt x="259" y="288"/>
                  <a:pt x="259" y="288"/>
                  <a:pt x="259" y="288"/>
                </a:cubicBezTo>
                <a:cubicBezTo>
                  <a:pt x="250" y="296"/>
                  <a:pt x="245" y="307"/>
                  <a:pt x="245" y="320"/>
                </a:cubicBezTo>
                <a:cubicBezTo>
                  <a:pt x="245" y="343"/>
                  <a:pt x="264" y="362"/>
                  <a:pt x="288" y="362"/>
                </a:cubicBezTo>
                <a:cubicBezTo>
                  <a:pt x="311" y="362"/>
                  <a:pt x="330" y="343"/>
                  <a:pt x="330" y="320"/>
                </a:cubicBezTo>
                <a:cubicBezTo>
                  <a:pt x="330" y="308"/>
                  <a:pt x="326" y="298"/>
                  <a:pt x="318" y="290"/>
                </a:cubicBezTo>
                <a:cubicBezTo>
                  <a:pt x="361" y="222"/>
                  <a:pt x="361" y="222"/>
                  <a:pt x="361" y="222"/>
                </a:cubicBezTo>
                <a:cubicBezTo>
                  <a:pt x="365" y="223"/>
                  <a:pt x="369" y="224"/>
                  <a:pt x="373" y="224"/>
                </a:cubicBezTo>
                <a:cubicBezTo>
                  <a:pt x="397" y="224"/>
                  <a:pt x="416" y="205"/>
                  <a:pt x="416" y="181"/>
                </a:cubicBezTo>
                <a:close/>
                <a:moveTo>
                  <a:pt x="373" y="160"/>
                </a:moveTo>
                <a:cubicBezTo>
                  <a:pt x="361" y="160"/>
                  <a:pt x="352" y="169"/>
                  <a:pt x="352" y="181"/>
                </a:cubicBezTo>
                <a:cubicBezTo>
                  <a:pt x="352" y="193"/>
                  <a:pt x="361" y="202"/>
                  <a:pt x="373" y="202"/>
                </a:cubicBezTo>
                <a:cubicBezTo>
                  <a:pt x="385" y="202"/>
                  <a:pt x="394" y="193"/>
                  <a:pt x="394" y="181"/>
                </a:cubicBezTo>
                <a:cubicBezTo>
                  <a:pt x="394" y="169"/>
                  <a:pt x="385" y="160"/>
                  <a:pt x="373" y="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10887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Arrow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61170" y="2473895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down arrow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48140" y="2473895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left arrow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49927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row left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47151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eft up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45763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eft down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48539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eft right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44375" y="247389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row journey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440214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wn left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41599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wn right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42987" y="24738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row down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82436" y="3311782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right arrow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64982" y="3311782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up arrow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62345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ight down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50721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row right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44909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p left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56533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ight up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439097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p right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9421660" y="3311782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left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8427473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row up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7433285" y="331177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p down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82436" y="4139387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right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61173" y="4139387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side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54727" y="4139387"/>
            <a:ext cx="8650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up down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9411088" y="49762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in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460142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crease 2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79384" y="413938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up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450521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crease 3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9421660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finity loop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431279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crease 5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7440900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crease 4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1421596" y="4976223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rections 1</a:t>
            </a:r>
          </a:p>
        </p:txBody>
      </p:sp>
      <p:sp>
        <p:nvSpPr>
          <p:cNvPr id="623" name="TextBox 622"/>
          <p:cNvSpPr txBox="1"/>
          <p:nvPr/>
        </p:nvSpPr>
        <p:spPr>
          <a:xfrm>
            <a:off x="2399173" y="4976223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rections 2</a:t>
            </a:r>
          </a:p>
        </p:txBody>
      </p:sp>
      <p:sp>
        <p:nvSpPr>
          <p:cNvPr id="625" name="TextBox 624"/>
          <p:cNvSpPr txBox="1"/>
          <p:nvPr/>
        </p:nvSpPr>
        <p:spPr>
          <a:xfrm>
            <a:off x="3418506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crease 4</a:t>
            </a:r>
          </a:p>
        </p:txBody>
      </p:sp>
      <p:sp>
        <p:nvSpPr>
          <p:cNvPr id="626" name="TextBox 625"/>
          <p:cNvSpPr txBox="1"/>
          <p:nvPr/>
        </p:nvSpPr>
        <p:spPr>
          <a:xfrm>
            <a:off x="4408215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crease 5</a:t>
            </a:r>
          </a:p>
        </p:txBody>
      </p:sp>
      <p:sp>
        <p:nvSpPr>
          <p:cNvPr id="628" name="TextBox 627"/>
          <p:cNvSpPr txBox="1"/>
          <p:nvPr/>
        </p:nvSpPr>
        <p:spPr>
          <a:xfrm>
            <a:off x="6359224" y="4976226"/>
            <a:ext cx="8800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decrease</a:t>
            </a:r>
          </a:p>
        </p:txBody>
      </p:sp>
      <p:sp>
        <p:nvSpPr>
          <p:cNvPr id="630" name="TextBox 629"/>
          <p:cNvSpPr txBox="1"/>
          <p:nvPr/>
        </p:nvSpPr>
        <p:spPr>
          <a:xfrm>
            <a:off x="8386911" y="4976226"/>
            <a:ext cx="8657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increase</a:t>
            </a:r>
          </a:p>
        </p:txBody>
      </p:sp>
      <p:sp>
        <p:nvSpPr>
          <p:cNvPr id="631" name="TextBox 630"/>
          <p:cNvSpPr txBox="1"/>
          <p:nvPr/>
        </p:nvSpPr>
        <p:spPr>
          <a:xfrm>
            <a:off x="7397692" y="497622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imple arrow down</a:t>
            </a:r>
          </a:p>
        </p:txBody>
      </p:sp>
      <p:sp>
        <p:nvSpPr>
          <p:cNvPr id="675" name="TextBox 674"/>
          <p:cNvSpPr txBox="1"/>
          <p:nvPr/>
        </p:nvSpPr>
        <p:spPr>
          <a:xfrm>
            <a:off x="1439088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crease 2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2428797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crease 3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449379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crease 1</a:t>
            </a:r>
          </a:p>
        </p:txBody>
      </p:sp>
      <p:sp>
        <p:nvSpPr>
          <p:cNvPr id="679" name="TextBox 678"/>
          <p:cNvSpPr txBox="1"/>
          <p:nvPr/>
        </p:nvSpPr>
        <p:spPr>
          <a:xfrm>
            <a:off x="5370005" y="49762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verse</a:t>
            </a:r>
          </a:p>
        </p:txBody>
      </p:sp>
      <p:sp>
        <p:nvSpPr>
          <p:cNvPr id="680" name="TextBox 679"/>
          <p:cNvSpPr txBox="1"/>
          <p:nvPr/>
        </p:nvSpPr>
        <p:spPr>
          <a:xfrm>
            <a:off x="6387634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tate 2</a:t>
            </a:r>
          </a:p>
        </p:txBody>
      </p:sp>
      <p:sp>
        <p:nvSpPr>
          <p:cNvPr id="681" name="TextBox 680"/>
          <p:cNvSpPr txBox="1"/>
          <p:nvPr/>
        </p:nvSpPr>
        <p:spPr>
          <a:xfrm>
            <a:off x="5397924" y="581310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tate 1</a:t>
            </a:r>
          </a:p>
        </p:txBody>
      </p:sp>
      <p:sp>
        <p:nvSpPr>
          <p:cNvPr id="256" name="Freeform 82"/>
          <p:cNvSpPr>
            <a:spLocks noChangeAspect="1" noEditPoints="1"/>
          </p:cNvSpPr>
          <p:nvPr/>
        </p:nvSpPr>
        <p:spPr bwMode="auto">
          <a:xfrm>
            <a:off x="438305" y="2042608"/>
            <a:ext cx="368254" cy="3681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3 w 512"/>
              <a:gd name="T11" fmla="*/ 157 h 512"/>
              <a:gd name="T12" fmla="*/ 263 w 512"/>
              <a:gd name="T13" fmla="*/ 306 h 512"/>
              <a:gd name="T14" fmla="*/ 256 w 512"/>
              <a:gd name="T15" fmla="*/ 309 h 512"/>
              <a:gd name="T16" fmla="*/ 248 w 512"/>
              <a:gd name="T17" fmla="*/ 306 h 512"/>
              <a:gd name="T18" fmla="*/ 99 w 512"/>
              <a:gd name="T19" fmla="*/ 157 h 512"/>
              <a:gd name="T20" fmla="*/ 99 w 512"/>
              <a:gd name="T21" fmla="*/ 141 h 512"/>
              <a:gd name="T22" fmla="*/ 114 w 512"/>
              <a:gd name="T23" fmla="*/ 141 h 512"/>
              <a:gd name="T24" fmla="*/ 256 w 512"/>
              <a:gd name="T25" fmla="*/ 283 h 512"/>
              <a:gd name="T26" fmla="*/ 397 w 512"/>
              <a:gd name="T27" fmla="*/ 141 h 512"/>
              <a:gd name="T28" fmla="*/ 413 w 512"/>
              <a:gd name="T29" fmla="*/ 141 h 512"/>
              <a:gd name="T30" fmla="*/ 413 w 512"/>
              <a:gd name="T31" fmla="*/ 157 h 512"/>
              <a:gd name="T32" fmla="*/ 413 w 512"/>
              <a:gd name="T33" fmla="*/ 263 h 512"/>
              <a:gd name="T34" fmla="*/ 263 w 512"/>
              <a:gd name="T35" fmla="*/ 413 h 512"/>
              <a:gd name="T36" fmla="*/ 256 w 512"/>
              <a:gd name="T37" fmla="*/ 416 h 512"/>
              <a:gd name="T38" fmla="*/ 248 w 512"/>
              <a:gd name="T39" fmla="*/ 413 h 512"/>
              <a:gd name="T40" fmla="*/ 99 w 512"/>
              <a:gd name="T41" fmla="*/ 263 h 512"/>
              <a:gd name="T42" fmla="*/ 99 w 512"/>
              <a:gd name="T43" fmla="*/ 248 h 512"/>
              <a:gd name="T44" fmla="*/ 114 w 512"/>
              <a:gd name="T45" fmla="*/ 248 h 512"/>
              <a:gd name="T46" fmla="*/ 256 w 512"/>
              <a:gd name="T47" fmla="*/ 390 h 512"/>
              <a:gd name="T48" fmla="*/ 397 w 512"/>
              <a:gd name="T49" fmla="*/ 248 h 512"/>
              <a:gd name="T50" fmla="*/ 413 w 512"/>
              <a:gd name="T51" fmla="*/ 248 h 512"/>
              <a:gd name="T52" fmla="*/ 413 w 512"/>
              <a:gd name="T5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3" y="157"/>
                </a:move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99" y="157"/>
                  <a:pt x="99" y="157"/>
                  <a:pt x="99" y="157"/>
                </a:cubicBezTo>
                <a:cubicBezTo>
                  <a:pt x="95" y="152"/>
                  <a:pt x="95" y="146"/>
                  <a:pt x="99" y="141"/>
                </a:cubicBezTo>
                <a:cubicBezTo>
                  <a:pt x="103" y="137"/>
                  <a:pt x="110" y="137"/>
                  <a:pt x="114" y="141"/>
                </a:cubicBezTo>
                <a:cubicBezTo>
                  <a:pt x="256" y="283"/>
                  <a:pt x="256" y="283"/>
                  <a:pt x="256" y="283"/>
                </a:cubicBezTo>
                <a:cubicBezTo>
                  <a:pt x="397" y="141"/>
                  <a:pt x="397" y="141"/>
                  <a:pt x="397" y="141"/>
                </a:cubicBezTo>
                <a:cubicBezTo>
                  <a:pt x="402" y="137"/>
                  <a:pt x="408" y="137"/>
                  <a:pt x="413" y="141"/>
                </a:cubicBezTo>
                <a:cubicBezTo>
                  <a:pt x="417" y="146"/>
                  <a:pt x="417" y="152"/>
                  <a:pt x="413" y="157"/>
                </a:cubicBezTo>
                <a:close/>
                <a:moveTo>
                  <a:pt x="413" y="263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5" y="259"/>
                  <a:pt x="95" y="252"/>
                  <a:pt x="99" y="248"/>
                </a:cubicBezTo>
                <a:cubicBezTo>
                  <a:pt x="103" y="244"/>
                  <a:pt x="110" y="244"/>
                  <a:pt x="114" y="248"/>
                </a:cubicBezTo>
                <a:cubicBezTo>
                  <a:pt x="256" y="390"/>
                  <a:pt x="256" y="390"/>
                  <a:pt x="256" y="390"/>
                </a:cubicBezTo>
                <a:cubicBezTo>
                  <a:pt x="397" y="248"/>
                  <a:pt x="397" y="248"/>
                  <a:pt x="397" y="248"/>
                </a:cubicBezTo>
                <a:cubicBezTo>
                  <a:pt x="402" y="244"/>
                  <a:pt x="408" y="244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7" name="Freeform 256"/>
          <p:cNvSpPr>
            <a:spLocks noChangeAspect="1" noEditPoints="1"/>
          </p:cNvSpPr>
          <p:nvPr/>
        </p:nvSpPr>
        <p:spPr bwMode="auto">
          <a:xfrm>
            <a:off x="936001" y="2042609"/>
            <a:ext cx="368051" cy="3681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490 h 512"/>
              <a:gd name="T12" fmla="*/ 21 w 512"/>
              <a:gd name="T13" fmla="*/ 256 h 512"/>
              <a:gd name="T14" fmla="*/ 256 w 512"/>
              <a:gd name="T15" fmla="*/ 21 h 512"/>
              <a:gd name="T16" fmla="*/ 490 w 512"/>
              <a:gd name="T17" fmla="*/ 256 h 512"/>
              <a:gd name="T18" fmla="*/ 256 w 512"/>
              <a:gd name="T19" fmla="*/ 490 h 512"/>
              <a:gd name="T20" fmla="*/ 413 w 512"/>
              <a:gd name="T21" fmla="*/ 141 h 512"/>
              <a:gd name="T22" fmla="*/ 413 w 512"/>
              <a:gd name="T23" fmla="*/ 157 h 512"/>
              <a:gd name="T24" fmla="*/ 263 w 512"/>
              <a:gd name="T25" fmla="*/ 306 h 512"/>
              <a:gd name="T26" fmla="*/ 256 w 512"/>
              <a:gd name="T27" fmla="*/ 309 h 512"/>
              <a:gd name="T28" fmla="*/ 248 w 512"/>
              <a:gd name="T29" fmla="*/ 306 h 512"/>
              <a:gd name="T30" fmla="*/ 99 w 512"/>
              <a:gd name="T31" fmla="*/ 157 h 512"/>
              <a:gd name="T32" fmla="*/ 99 w 512"/>
              <a:gd name="T33" fmla="*/ 141 h 512"/>
              <a:gd name="T34" fmla="*/ 114 w 512"/>
              <a:gd name="T35" fmla="*/ 141 h 512"/>
              <a:gd name="T36" fmla="*/ 256 w 512"/>
              <a:gd name="T37" fmla="*/ 283 h 512"/>
              <a:gd name="T38" fmla="*/ 397 w 512"/>
              <a:gd name="T39" fmla="*/ 141 h 512"/>
              <a:gd name="T40" fmla="*/ 413 w 512"/>
              <a:gd name="T41" fmla="*/ 141 h 512"/>
              <a:gd name="T42" fmla="*/ 413 w 512"/>
              <a:gd name="T43" fmla="*/ 248 h 512"/>
              <a:gd name="T44" fmla="*/ 413 w 512"/>
              <a:gd name="T45" fmla="*/ 263 h 512"/>
              <a:gd name="T46" fmla="*/ 263 w 512"/>
              <a:gd name="T47" fmla="*/ 413 h 512"/>
              <a:gd name="T48" fmla="*/ 256 w 512"/>
              <a:gd name="T49" fmla="*/ 416 h 512"/>
              <a:gd name="T50" fmla="*/ 248 w 512"/>
              <a:gd name="T51" fmla="*/ 413 h 512"/>
              <a:gd name="T52" fmla="*/ 99 w 512"/>
              <a:gd name="T53" fmla="*/ 263 h 512"/>
              <a:gd name="T54" fmla="*/ 99 w 512"/>
              <a:gd name="T55" fmla="*/ 248 h 512"/>
              <a:gd name="T56" fmla="*/ 114 w 512"/>
              <a:gd name="T57" fmla="*/ 248 h 512"/>
              <a:gd name="T58" fmla="*/ 256 w 512"/>
              <a:gd name="T59" fmla="*/ 390 h 512"/>
              <a:gd name="T60" fmla="*/ 397 w 512"/>
              <a:gd name="T61" fmla="*/ 248 h 512"/>
              <a:gd name="T62" fmla="*/ 413 w 512"/>
              <a:gd name="T63" fmla="*/ 24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90"/>
                </a:move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lose/>
                <a:moveTo>
                  <a:pt x="413" y="141"/>
                </a:moveTo>
                <a:cubicBezTo>
                  <a:pt x="417" y="146"/>
                  <a:pt x="417" y="152"/>
                  <a:pt x="413" y="157"/>
                </a:cubicBezTo>
                <a:cubicBezTo>
                  <a:pt x="263" y="306"/>
                  <a:pt x="263" y="306"/>
                  <a:pt x="263" y="306"/>
                </a:cubicBezTo>
                <a:cubicBezTo>
                  <a:pt x="261" y="308"/>
                  <a:pt x="258" y="309"/>
                  <a:pt x="256" y="309"/>
                </a:cubicBezTo>
                <a:cubicBezTo>
                  <a:pt x="253" y="309"/>
                  <a:pt x="250" y="308"/>
                  <a:pt x="248" y="306"/>
                </a:cubicBezTo>
                <a:cubicBezTo>
                  <a:pt x="99" y="157"/>
                  <a:pt x="99" y="157"/>
                  <a:pt x="99" y="157"/>
                </a:cubicBezTo>
                <a:cubicBezTo>
                  <a:pt x="95" y="152"/>
                  <a:pt x="95" y="146"/>
                  <a:pt x="99" y="141"/>
                </a:cubicBezTo>
                <a:cubicBezTo>
                  <a:pt x="103" y="137"/>
                  <a:pt x="110" y="137"/>
                  <a:pt x="114" y="141"/>
                </a:cubicBezTo>
                <a:cubicBezTo>
                  <a:pt x="256" y="283"/>
                  <a:pt x="256" y="283"/>
                  <a:pt x="256" y="283"/>
                </a:cubicBezTo>
                <a:cubicBezTo>
                  <a:pt x="397" y="141"/>
                  <a:pt x="397" y="141"/>
                  <a:pt x="397" y="141"/>
                </a:cubicBezTo>
                <a:cubicBezTo>
                  <a:pt x="402" y="137"/>
                  <a:pt x="408" y="137"/>
                  <a:pt x="413" y="141"/>
                </a:cubicBezTo>
                <a:close/>
                <a:moveTo>
                  <a:pt x="413" y="248"/>
                </a:moveTo>
                <a:cubicBezTo>
                  <a:pt x="417" y="252"/>
                  <a:pt x="417" y="259"/>
                  <a:pt x="413" y="263"/>
                </a:cubicBez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5" y="259"/>
                  <a:pt x="95" y="252"/>
                  <a:pt x="99" y="248"/>
                </a:cubicBezTo>
                <a:cubicBezTo>
                  <a:pt x="103" y="244"/>
                  <a:pt x="110" y="244"/>
                  <a:pt x="114" y="248"/>
                </a:cubicBezTo>
                <a:cubicBezTo>
                  <a:pt x="256" y="390"/>
                  <a:pt x="256" y="390"/>
                  <a:pt x="256" y="390"/>
                </a:cubicBezTo>
                <a:cubicBezTo>
                  <a:pt x="397" y="248"/>
                  <a:pt x="397" y="248"/>
                  <a:pt x="397" y="248"/>
                </a:cubicBezTo>
                <a:cubicBezTo>
                  <a:pt x="402" y="244"/>
                  <a:pt x="408" y="244"/>
                  <a:pt x="413" y="2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8" name="Group 94"/>
          <p:cNvGrpSpPr>
            <a:grpSpLocks noChangeAspect="1"/>
          </p:cNvGrpSpPr>
          <p:nvPr/>
        </p:nvGrpSpPr>
        <p:grpSpPr bwMode="auto">
          <a:xfrm>
            <a:off x="1433494" y="2042609"/>
            <a:ext cx="368152" cy="368152"/>
            <a:chOff x="54" y="161"/>
            <a:chExt cx="3636" cy="3636"/>
          </a:xfrm>
          <a:solidFill>
            <a:schemeClr val="accent1"/>
          </a:solidFill>
        </p:grpSpPr>
        <p:sp>
          <p:nvSpPr>
            <p:cNvPr id="259" name="Freeform 95"/>
            <p:cNvSpPr>
              <a:spLocks noEditPoints="1"/>
            </p:cNvSpPr>
            <p:nvPr/>
          </p:nvSpPr>
          <p:spPr bwMode="auto">
            <a:xfrm>
              <a:off x="54" y="161"/>
              <a:ext cx="3636" cy="3636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63 w 512"/>
                <a:gd name="T11" fmla="*/ 413 h 512"/>
                <a:gd name="T12" fmla="*/ 256 w 512"/>
                <a:gd name="T13" fmla="*/ 416 h 512"/>
                <a:gd name="T14" fmla="*/ 248 w 512"/>
                <a:gd name="T15" fmla="*/ 413 h 512"/>
                <a:gd name="T16" fmla="*/ 99 w 512"/>
                <a:gd name="T17" fmla="*/ 263 h 512"/>
                <a:gd name="T18" fmla="*/ 99 w 512"/>
                <a:gd name="T19" fmla="*/ 248 h 512"/>
                <a:gd name="T20" fmla="*/ 248 w 512"/>
                <a:gd name="T21" fmla="*/ 99 h 512"/>
                <a:gd name="T22" fmla="*/ 263 w 512"/>
                <a:gd name="T23" fmla="*/ 99 h 512"/>
                <a:gd name="T24" fmla="*/ 263 w 512"/>
                <a:gd name="T25" fmla="*/ 114 h 512"/>
                <a:gd name="T26" fmla="*/ 121 w 512"/>
                <a:gd name="T27" fmla="*/ 256 h 512"/>
                <a:gd name="T28" fmla="*/ 263 w 512"/>
                <a:gd name="T29" fmla="*/ 397 h 512"/>
                <a:gd name="T30" fmla="*/ 263 w 512"/>
                <a:gd name="T31" fmla="*/ 413 h 512"/>
                <a:gd name="T32" fmla="*/ 370 w 512"/>
                <a:gd name="T33" fmla="*/ 397 h 512"/>
                <a:gd name="T34" fmla="*/ 370 w 512"/>
                <a:gd name="T35" fmla="*/ 413 h 512"/>
                <a:gd name="T36" fmla="*/ 362 w 512"/>
                <a:gd name="T37" fmla="*/ 416 h 512"/>
                <a:gd name="T38" fmla="*/ 355 w 512"/>
                <a:gd name="T39" fmla="*/ 413 h 512"/>
                <a:gd name="T40" fmla="*/ 205 w 512"/>
                <a:gd name="T41" fmla="*/ 263 h 512"/>
                <a:gd name="T42" fmla="*/ 205 w 512"/>
                <a:gd name="T43" fmla="*/ 248 h 512"/>
                <a:gd name="T44" fmla="*/ 355 w 512"/>
                <a:gd name="T45" fmla="*/ 99 h 512"/>
                <a:gd name="T46" fmla="*/ 370 w 512"/>
                <a:gd name="T47" fmla="*/ 99 h 512"/>
                <a:gd name="T48" fmla="*/ 370 w 512"/>
                <a:gd name="T49" fmla="*/ 114 h 512"/>
                <a:gd name="T50" fmla="*/ 228 w 512"/>
                <a:gd name="T51" fmla="*/ 256 h 512"/>
                <a:gd name="T52" fmla="*/ 370 w 512"/>
                <a:gd name="T53" fmla="*/ 39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63" y="413"/>
                  </a:move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99" y="263"/>
                    <a:pt x="99" y="263"/>
                    <a:pt x="99" y="263"/>
                  </a:cubicBezTo>
                  <a:cubicBezTo>
                    <a:pt x="95" y="259"/>
                    <a:pt x="95" y="252"/>
                    <a:pt x="99" y="248"/>
                  </a:cubicBezTo>
                  <a:cubicBezTo>
                    <a:pt x="248" y="99"/>
                    <a:pt x="248" y="99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267" y="103"/>
                    <a:pt x="267" y="110"/>
                    <a:pt x="263" y="114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263" y="397"/>
                    <a:pt x="263" y="397"/>
                    <a:pt x="263" y="397"/>
                  </a:cubicBezTo>
                  <a:cubicBezTo>
                    <a:pt x="267" y="402"/>
                    <a:pt x="267" y="408"/>
                    <a:pt x="263" y="413"/>
                  </a:cubicBezTo>
                  <a:close/>
                  <a:moveTo>
                    <a:pt x="370" y="397"/>
                  </a:moveTo>
                  <a:cubicBezTo>
                    <a:pt x="374" y="402"/>
                    <a:pt x="374" y="408"/>
                    <a:pt x="370" y="413"/>
                  </a:cubicBezTo>
                  <a:cubicBezTo>
                    <a:pt x="368" y="415"/>
                    <a:pt x="365" y="416"/>
                    <a:pt x="362" y="416"/>
                  </a:cubicBezTo>
                  <a:cubicBezTo>
                    <a:pt x="360" y="416"/>
                    <a:pt x="357" y="415"/>
                    <a:pt x="355" y="413"/>
                  </a:cubicBezTo>
                  <a:cubicBezTo>
                    <a:pt x="205" y="263"/>
                    <a:pt x="205" y="263"/>
                    <a:pt x="205" y="263"/>
                  </a:cubicBezTo>
                  <a:cubicBezTo>
                    <a:pt x="201" y="259"/>
                    <a:pt x="201" y="252"/>
                    <a:pt x="205" y="248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9" y="95"/>
                    <a:pt x="366" y="95"/>
                    <a:pt x="370" y="99"/>
                  </a:cubicBezTo>
                  <a:cubicBezTo>
                    <a:pt x="374" y="103"/>
                    <a:pt x="374" y="110"/>
                    <a:pt x="370" y="114"/>
                  </a:cubicBezTo>
                  <a:cubicBezTo>
                    <a:pt x="228" y="256"/>
                    <a:pt x="228" y="256"/>
                    <a:pt x="228" y="256"/>
                  </a:cubicBezTo>
                  <a:lnTo>
                    <a:pt x="370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96"/>
            <p:cNvSpPr>
              <a:spLocks noEditPoints="1"/>
            </p:cNvSpPr>
            <p:nvPr/>
          </p:nvSpPr>
          <p:spPr bwMode="auto">
            <a:xfrm>
              <a:off x="54" y="161"/>
              <a:ext cx="3636" cy="3636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63 w 512"/>
                <a:gd name="T11" fmla="*/ 413 h 512"/>
                <a:gd name="T12" fmla="*/ 256 w 512"/>
                <a:gd name="T13" fmla="*/ 416 h 512"/>
                <a:gd name="T14" fmla="*/ 248 w 512"/>
                <a:gd name="T15" fmla="*/ 413 h 512"/>
                <a:gd name="T16" fmla="*/ 99 w 512"/>
                <a:gd name="T17" fmla="*/ 263 h 512"/>
                <a:gd name="T18" fmla="*/ 99 w 512"/>
                <a:gd name="T19" fmla="*/ 248 h 512"/>
                <a:gd name="T20" fmla="*/ 248 w 512"/>
                <a:gd name="T21" fmla="*/ 99 h 512"/>
                <a:gd name="T22" fmla="*/ 263 w 512"/>
                <a:gd name="T23" fmla="*/ 99 h 512"/>
                <a:gd name="T24" fmla="*/ 263 w 512"/>
                <a:gd name="T25" fmla="*/ 114 h 512"/>
                <a:gd name="T26" fmla="*/ 121 w 512"/>
                <a:gd name="T27" fmla="*/ 256 h 512"/>
                <a:gd name="T28" fmla="*/ 263 w 512"/>
                <a:gd name="T29" fmla="*/ 397 h 512"/>
                <a:gd name="T30" fmla="*/ 263 w 512"/>
                <a:gd name="T31" fmla="*/ 413 h 512"/>
                <a:gd name="T32" fmla="*/ 370 w 512"/>
                <a:gd name="T33" fmla="*/ 397 h 512"/>
                <a:gd name="T34" fmla="*/ 370 w 512"/>
                <a:gd name="T35" fmla="*/ 413 h 512"/>
                <a:gd name="T36" fmla="*/ 362 w 512"/>
                <a:gd name="T37" fmla="*/ 416 h 512"/>
                <a:gd name="T38" fmla="*/ 355 w 512"/>
                <a:gd name="T39" fmla="*/ 413 h 512"/>
                <a:gd name="T40" fmla="*/ 205 w 512"/>
                <a:gd name="T41" fmla="*/ 263 h 512"/>
                <a:gd name="T42" fmla="*/ 205 w 512"/>
                <a:gd name="T43" fmla="*/ 248 h 512"/>
                <a:gd name="T44" fmla="*/ 355 w 512"/>
                <a:gd name="T45" fmla="*/ 99 h 512"/>
                <a:gd name="T46" fmla="*/ 370 w 512"/>
                <a:gd name="T47" fmla="*/ 99 h 512"/>
                <a:gd name="T48" fmla="*/ 370 w 512"/>
                <a:gd name="T49" fmla="*/ 114 h 512"/>
                <a:gd name="T50" fmla="*/ 228 w 512"/>
                <a:gd name="T51" fmla="*/ 256 h 512"/>
                <a:gd name="T52" fmla="*/ 370 w 512"/>
                <a:gd name="T53" fmla="*/ 39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63" y="413"/>
                  </a:move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99" y="263"/>
                    <a:pt x="99" y="263"/>
                    <a:pt x="99" y="263"/>
                  </a:cubicBezTo>
                  <a:cubicBezTo>
                    <a:pt x="95" y="259"/>
                    <a:pt x="95" y="252"/>
                    <a:pt x="99" y="248"/>
                  </a:cubicBezTo>
                  <a:cubicBezTo>
                    <a:pt x="248" y="99"/>
                    <a:pt x="248" y="99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267" y="103"/>
                    <a:pt x="267" y="110"/>
                    <a:pt x="263" y="114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263" y="397"/>
                    <a:pt x="263" y="397"/>
                    <a:pt x="263" y="397"/>
                  </a:cubicBezTo>
                  <a:cubicBezTo>
                    <a:pt x="267" y="402"/>
                    <a:pt x="267" y="408"/>
                    <a:pt x="263" y="413"/>
                  </a:cubicBezTo>
                  <a:close/>
                  <a:moveTo>
                    <a:pt x="370" y="397"/>
                  </a:moveTo>
                  <a:cubicBezTo>
                    <a:pt x="374" y="402"/>
                    <a:pt x="374" y="408"/>
                    <a:pt x="370" y="413"/>
                  </a:cubicBezTo>
                  <a:cubicBezTo>
                    <a:pt x="368" y="415"/>
                    <a:pt x="365" y="416"/>
                    <a:pt x="362" y="416"/>
                  </a:cubicBezTo>
                  <a:cubicBezTo>
                    <a:pt x="360" y="416"/>
                    <a:pt x="357" y="415"/>
                    <a:pt x="355" y="413"/>
                  </a:cubicBezTo>
                  <a:cubicBezTo>
                    <a:pt x="205" y="263"/>
                    <a:pt x="205" y="263"/>
                    <a:pt x="205" y="263"/>
                  </a:cubicBezTo>
                  <a:cubicBezTo>
                    <a:pt x="201" y="259"/>
                    <a:pt x="201" y="252"/>
                    <a:pt x="205" y="248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9" y="95"/>
                    <a:pt x="366" y="95"/>
                    <a:pt x="370" y="99"/>
                  </a:cubicBezTo>
                  <a:cubicBezTo>
                    <a:pt x="374" y="103"/>
                    <a:pt x="374" y="110"/>
                    <a:pt x="370" y="114"/>
                  </a:cubicBezTo>
                  <a:cubicBezTo>
                    <a:pt x="228" y="256"/>
                    <a:pt x="228" y="256"/>
                    <a:pt x="228" y="256"/>
                  </a:cubicBezTo>
                  <a:lnTo>
                    <a:pt x="370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1" name="Group 99"/>
          <p:cNvGrpSpPr>
            <a:grpSpLocks noChangeAspect="1"/>
          </p:cNvGrpSpPr>
          <p:nvPr/>
        </p:nvGrpSpPr>
        <p:grpSpPr bwMode="auto">
          <a:xfrm>
            <a:off x="1931088" y="2042609"/>
            <a:ext cx="368152" cy="368152"/>
            <a:chOff x="521" y="390"/>
            <a:chExt cx="3635" cy="3635"/>
          </a:xfrm>
          <a:solidFill>
            <a:schemeClr val="accent1"/>
          </a:solidFill>
        </p:grpSpPr>
        <p:sp>
          <p:nvSpPr>
            <p:cNvPr id="262" name="Freeform 100"/>
            <p:cNvSpPr>
              <a:spLocks noEditPoints="1"/>
            </p:cNvSpPr>
            <p:nvPr/>
          </p:nvSpPr>
          <p:spPr bwMode="auto">
            <a:xfrm>
              <a:off x="521" y="390"/>
              <a:ext cx="3635" cy="3635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  <a:gd name="T20" fmla="*/ 370 w 512"/>
                <a:gd name="T21" fmla="*/ 397 h 512"/>
                <a:gd name="T22" fmla="*/ 370 w 512"/>
                <a:gd name="T23" fmla="*/ 413 h 512"/>
                <a:gd name="T24" fmla="*/ 362 w 512"/>
                <a:gd name="T25" fmla="*/ 416 h 512"/>
                <a:gd name="T26" fmla="*/ 355 w 512"/>
                <a:gd name="T27" fmla="*/ 413 h 512"/>
                <a:gd name="T28" fmla="*/ 205 w 512"/>
                <a:gd name="T29" fmla="*/ 263 h 512"/>
                <a:gd name="T30" fmla="*/ 205 w 512"/>
                <a:gd name="T31" fmla="*/ 248 h 512"/>
                <a:gd name="T32" fmla="*/ 355 w 512"/>
                <a:gd name="T33" fmla="*/ 99 h 512"/>
                <a:gd name="T34" fmla="*/ 370 w 512"/>
                <a:gd name="T35" fmla="*/ 99 h 512"/>
                <a:gd name="T36" fmla="*/ 370 w 512"/>
                <a:gd name="T37" fmla="*/ 114 h 512"/>
                <a:gd name="T38" fmla="*/ 228 w 512"/>
                <a:gd name="T39" fmla="*/ 256 h 512"/>
                <a:gd name="T40" fmla="*/ 370 w 512"/>
                <a:gd name="T41" fmla="*/ 397 h 512"/>
                <a:gd name="T42" fmla="*/ 263 w 512"/>
                <a:gd name="T43" fmla="*/ 397 h 512"/>
                <a:gd name="T44" fmla="*/ 263 w 512"/>
                <a:gd name="T45" fmla="*/ 413 h 512"/>
                <a:gd name="T46" fmla="*/ 256 w 512"/>
                <a:gd name="T47" fmla="*/ 416 h 512"/>
                <a:gd name="T48" fmla="*/ 248 w 512"/>
                <a:gd name="T49" fmla="*/ 413 h 512"/>
                <a:gd name="T50" fmla="*/ 99 w 512"/>
                <a:gd name="T51" fmla="*/ 263 h 512"/>
                <a:gd name="T52" fmla="*/ 99 w 512"/>
                <a:gd name="T53" fmla="*/ 248 h 512"/>
                <a:gd name="T54" fmla="*/ 248 w 512"/>
                <a:gd name="T55" fmla="*/ 99 h 512"/>
                <a:gd name="T56" fmla="*/ 263 w 512"/>
                <a:gd name="T57" fmla="*/ 99 h 512"/>
                <a:gd name="T58" fmla="*/ 263 w 512"/>
                <a:gd name="T59" fmla="*/ 114 h 512"/>
                <a:gd name="T60" fmla="*/ 121 w 512"/>
                <a:gd name="T61" fmla="*/ 256 h 512"/>
                <a:gd name="T62" fmla="*/ 263 w 512"/>
                <a:gd name="T63" fmla="*/ 39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  <a:moveTo>
                    <a:pt x="370" y="397"/>
                  </a:moveTo>
                  <a:cubicBezTo>
                    <a:pt x="374" y="402"/>
                    <a:pt x="374" y="408"/>
                    <a:pt x="370" y="413"/>
                  </a:cubicBezTo>
                  <a:cubicBezTo>
                    <a:pt x="368" y="415"/>
                    <a:pt x="365" y="416"/>
                    <a:pt x="362" y="416"/>
                  </a:cubicBezTo>
                  <a:cubicBezTo>
                    <a:pt x="360" y="416"/>
                    <a:pt x="357" y="415"/>
                    <a:pt x="355" y="413"/>
                  </a:cubicBezTo>
                  <a:cubicBezTo>
                    <a:pt x="205" y="263"/>
                    <a:pt x="205" y="263"/>
                    <a:pt x="205" y="263"/>
                  </a:cubicBezTo>
                  <a:cubicBezTo>
                    <a:pt x="201" y="259"/>
                    <a:pt x="201" y="252"/>
                    <a:pt x="205" y="248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9" y="95"/>
                    <a:pt x="366" y="95"/>
                    <a:pt x="370" y="99"/>
                  </a:cubicBezTo>
                  <a:cubicBezTo>
                    <a:pt x="374" y="103"/>
                    <a:pt x="374" y="110"/>
                    <a:pt x="370" y="114"/>
                  </a:cubicBezTo>
                  <a:cubicBezTo>
                    <a:pt x="228" y="256"/>
                    <a:pt x="228" y="256"/>
                    <a:pt x="228" y="256"/>
                  </a:cubicBezTo>
                  <a:lnTo>
                    <a:pt x="370" y="397"/>
                  </a:lnTo>
                  <a:close/>
                  <a:moveTo>
                    <a:pt x="263" y="397"/>
                  </a:moveTo>
                  <a:cubicBezTo>
                    <a:pt x="267" y="402"/>
                    <a:pt x="267" y="408"/>
                    <a:pt x="263" y="413"/>
                  </a:cubicBez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99" y="263"/>
                    <a:pt x="99" y="263"/>
                    <a:pt x="99" y="263"/>
                  </a:cubicBezTo>
                  <a:cubicBezTo>
                    <a:pt x="95" y="259"/>
                    <a:pt x="95" y="252"/>
                    <a:pt x="99" y="248"/>
                  </a:cubicBezTo>
                  <a:cubicBezTo>
                    <a:pt x="248" y="99"/>
                    <a:pt x="248" y="99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267" y="103"/>
                    <a:pt x="267" y="110"/>
                    <a:pt x="263" y="114"/>
                  </a:cubicBezTo>
                  <a:cubicBezTo>
                    <a:pt x="121" y="256"/>
                    <a:pt x="121" y="256"/>
                    <a:pt x="121" y="256"/>
                  </a:cubicBezTo>
                  <a:lnTo>
                    <a:pt x="263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101"/>
            <p:cNvSpPr>
              <a:spLocks noEditPoints="1"/>
            </p:cNvSpPr>
            <p:nvPr/>
          </p:nvSpPr>
          <p:spPr bwMode="auto">
            <a:xfrm>
              <a:off x="521" y="390"/>
              <a:ext cx="3635" cy="3635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  <a:gd name="T20" fmla="*/ 370 w 512"/>
                <a:gd name="T21" fmla="*/ 397 h 512"/>
                <a:gd name="T22" fmla="*/ 370 w 512"/>
                <a:gd name="T23" fmla="*/ 413 h 512"/>
                <a:gd name="T24" fmla="*/ 362 w 512"/>
                <a:gd name="T25" fmla="*/ 416 h 512"/>
                <a:gd name="T26" fmla="*/ 355 w 512"/>
                <a:gd name="T27" fmla="*/ 413 h 512"/>
                <a:gd name="T28" fmla="*/ 205 w 512"/>
                <a:gd name="T29" fmla="*/ 263 h 512"/>
                <a:gd name="T30" fmla="*/ 205 w 512"/>
                <a:gd name="T31" fmla="*/ 248 h 512"/>
                <a:gd name="T32" fmla="*/ 355 w 512"/>
                <a:gd name="T33" fmla="*/ 99 h 512"/>
                <a:gd name="T34" fmla="*/ 370 w 512"/>
                <a:gd name="T35" fmla="*/ 99 h 512"/>
                <a:gd name="T36" fmla="*/ 370 w 512"/>
                <a:gd name="T37" fmla="*/ 114 h 512"/>
                <a:gd name="T38" fmla="*/ 228 w 512"/>
                <a:gd name="T39" fmla="*/ 256 h 512"/>
                <a:gd name="T40" fmla="*/ 370 w 512"/>
                <a:gd name="T41" fmla="*/ 397 h 512"/>
                <a:gd name="T42" fmla="*/ 263 w 512"/>
                <a:gd name="T43" fmla="*/ 397 h 512"/>
                <a:gd name="T44" fmla="*/ 263 w 512"/>
                <a:gd name="T45" fmla="*/ 413 h 512"/>
                <a:gd name="T46" fmla="*/ 256 w 512"/>
                <a:gd name="T47" fmla="*/ 416 h 512"/>
                <a:gd name="T48" fmla="*/ 248 w 512"/>
                <a:gd name="T49" fmla="*/ 413 h 512"/>
                <a:gd name="T50" fmla="*/ 99 w 512"/>
                <a:gd name="T51" fmla="*/ 263 h 512"/>
                <a:gd name="T52" fmla="*/ 99 w 512"/>
                <a:gd name="T53" fmla="*/ 248 h 512"/>
                <a:gd name="T54" fmla="*/ 248 w 512"/>
                <a:gd name="T55" fmla="*/ 99 h 512"/>
                <a:gd name="T56" fmla="*/ 263 w 512"/>
                <a:gd name="T57" fmla="*/ 99 h 512"/>
                <a:gd name="T58" fmla="*/ 263 w 512"/>
                <a:gd name="T59" fmla="*/ 114 h 512"/>
                <a:gd name="T60" fmla="*/ 121 w 512"/>
                <a:gd name="T61" fmla="*/ 256 h 512"/>
                <a:gd name="T62" fmla="*/ 263 w 512"/>
                <a:gd name="T63" fmla="*/ 39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  <a:moveTo>
                    <a:pt x="370" y="397"/>
                  </a:moveTo>
                  <a:cubicBezTo>
                    <a:pt x="374" y="402"/>
                    <a:pt x="374" y="408"/>
                    <a:pt x="370" y="413"/>
                  </a:cubicBezTo>
                  <a:cubicBezTo>
                    <a:pt x="368" y="415"/>
                    <a:pt x="365" y="416"/>
                    <a:pt x="362" y="416"/>
                  </a:cubicBezTo>
                  <a:cubicBezTo>
                    <a:pt x="360" y="416"/>
                    <a:pt x="357" y="415"/>
                    <a:pt x="355" y="413"/>
                  </a:cubicBezTo>
                  <a:cubicBezTo>
                    <a:pt x="205" y="263"/>
                    <a:pt x="205" y="263"/>
                    <a:pt x="205" y="263"/>
                  </a:cubicBezTo>
                  <a:cubicBezTo>
                    <a:pt x="201" y="259"/>
                    <a:pt x="201" y="252"/>
                    <a:pt x="205" y="248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9" y="95"/>
                    <a:pt x="366" y="95"/>
                    <a:pt x="370" y="99"/>
                  </a:cubicBezTo>
                  <a:cubicBezTo>
                    <a:pt x="374" y="103"/>
                    <a:pt x="374" y="110"/>
                    <a:pt x="370" y="114"/>
                  </a:cubicBezTo>
                  <a:cubicBezTo>
                    <a:pt x="228" y="256"/>
                    <a:pt x="228" y="256"/>
                    <a:pt x="228" y="256"/>
                  </a:cubicBezTo>
                  <a:lnTo>
                    <a:pt x="370" y="397"/>
                  </a:lnTo>
                  <a:close/>
                  <a:moveTo>
                    <a:pt x="263" y="397"/>
                  </a:moveTo>
                  <a:cubicBezTo>
                    <a:pt x="267" y="402"/>
                    <a:pt x="267" y="408"/>
                    <a:pt x="263" y="413"/>
                  </a:cubicBez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99" y="263"/>
                    <a:pt x="99" y="263"/>
                    <a:pt x="99" y="263"/>
                  </a:cubicBezTo>
                  <a:cubicBezTo>
                    <a:pt x="95" y="259"/>
                    <a:pt x="95" y="252"/>
                    <a:pt x="99" y="248"/>
                  </a:cubicBezTo>
                  <a:cubicBezTo>
                    <a:pt x="248" y="99"/>
                    <a:pt x="248" y="99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267" y="103"/>
                    <a:pt x="267" y="110"/>
                    <a:pt x="263" y="114"/>
                  </a:cubicBezTo>
                  <a:cubicBezTo>
                    <a:pt x="121" y="256"/>
                    <a:pt x="121" y="256"/>
                    <a:pt x="121" y="256"/>
                  </a:cubicBezTo>
                  <a:lnTo>
                    <a:pt x="263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105"/>
          <p:cNvSpPr>
            <a:spLocks noChangeAspect="1" noEditPoints="1"/>
          </p:cNvSpPr>
          <p:nvPr/>
        </p:nvSpPr>
        <p:spPr bwMode="auto">
          <a:xfrm>
            <a:off x="438305" y="2914870"/>
            <a:ext cx="368152" cy="36825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49 w 512"/>
              <a:gd name="T11" fmla="*/ 416 h 512"/>
              <a:gd name="T12" fmla="*/ 141 w 512"/>
              <a:gd name="T13" fmla="*/ 413 h 512"/>
              <a:gd name="T14" fmla="*/ 141 w 512"/>
              <a:gd name="T15" fmla="*/ 397 h 512"/>
              <a:gd name="T16" fmla="*/ 283 w 512"/>
              <a:gd name="T17" fmla="*/ 256 h 512"/>
              <a:gd name="T18" fmla="*/ 141 w 512"/>
              <a:gd name="T19" fmla="*/ 114 h 512"/>
              <a:gd name="T20" fmla="*/ 141 w 512"/>
              <a:gd name="T21" fmla="*/ 99 h 512"/>
              <a:gd name="T22" fmla="*/ 157 w 512"/>
              <a:gd name="T23" fmla="*/ 99 h 512"/>
              <a:gd name="T24" fmla="*/ 306 w 512"/>
              <a:gd name="T25" fmla="*/ 248 h 512"/>
              <a:gd name="T26" fmla="*/ 306 w 512"/>
              <a:gd name="T27" fmla="*/ 263 h 512"/>
              <a:gd name="T28" fmla="*/ 157 w 512"/>
              <a:gd name="T29" fmla="*/ 413 h 512"/>
              <a:gd name="T30" fmla="*/ 149 w 512"/>
              <a:gd name="T31" fmla="*/ 416 h 512"/>
              <a:gd name="T32" fmla="*/ 413 w 512"/>
              <a:gd name="T33" fmla="*/ 263 h 512"/>
              <a:gd name="T34" fmla="*/ 263 w 512"/>
              <a:gd name="T35" fmla="*/ 413 h 512"/>
              <a:gd name="T36" fmla="*/ 256 w 512"/>
              <a:gd name="T37" fmla="*/ 416 h 512"/>
              <a:gd name="T38" fmla="*/ 248 w 512"/>
              <a:gd name="T39" fmla="*/ 413 h 512"/>
              <a:gd name="T40" fmla="*/ 248 w 512"/>
              <a:gd name="T41" fmla="*/ 397 h 512"/>
              <a:gd name="T42" fmla="*/ 390 w 512"/>
              <a:gd name="T43" fmla="*/ 256 h 512"/>
              <a:gd name="T44" fmla="*/ 248 w 512"/>
              <a:gd name="T45" fmla="*/ 114 h 512"/>
              <a:gd name="T46" fmla="*/ 248 w 512"/>
              <a:gd name="T47" fmla="*/ 99 h 512"/>
              <a:gd name="T48" fmla="*/ 263 w 512"/>
              <a:gd name="T49" fmla="*/ 99 h 512"/>
              <a:gd name="T50" fmla="*/ 413 w 512"/>
              <a:gd name="T51" fmla="*/ 248 h 512"/>
              <a:gd name="T52" fmla="*/ 413 w 512"/>
              <a:gd name="T5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49" y="416"/>
                </a:moveTo>
                <a:cubicBezTo>
                  <a:pt x="146" y="416"/>
                  <a:pt x="144" y="415"/>
                  <a:pt x="141" y="413"/>
                </a:cubicBezTo>
                <a:cubicBezTo>
                  <a:pt x="137" y="408"/>
                  <a:pt x="137" y="402"/>
                  <a:pt x="141" y="397"/>
                </a:cubicBezTo>
                <a:cubicBezTo>
                  <a:pt x="283" y="256"/>
                  <a:pt x="283" y="256"/>
                  <a:pt x="283" y="256"/>
                </a:cubicBezTo>
                <a:cubicBezTo>
                  <a:pt x="141" y="114"/>
                  <a:pt x="141" y="114"/>
                  <a:pt x="141" y="114"/>
                </a:cubicBezTo>
                <a:cubicBezTo>
                  <a:pt x="137" y="110"/>
                  <a:pt x="137" y="103"/>
                  <a:pt x="141" y="99"/>
                </a:cubicBezTo>
                <a:cubicBezTo>
                  <a:pt x="146" y="95"/>
                  <a:pt x="152" y="95"/>
                  <a:pt x="157" y="99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10" y="252"/>
                  <a:pt x="310" y="259"/>
                  <a:pt x="306" y="263"/>
                </a:cubicBezTo>
                <a:cubicBezTo>
                  <a:pt x="157" y="413"/>
                  <a:pt x="157" y="413"/>
                  <a:pt x="157" y="413"/>
                </a:cubicBezTo>
                <a:cubicBezTo>
                  <a:pt x="154" y="415"/>
                  <a:pt x="152" y="416"/>
                  <a:pt x="149" y="416"/>
                </a:cubicBezTo>
                <a:close/>
                <a:moveTo>
                  <a:pt x="413" y="263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244" y="408"/>
                  <a:pt x="244" y="402"/>
                  <a:pt x="248" y="397"/>
                </a:cubicBezTo>
                <a:cubicBezTo>
                  <a:pt x="390" y="256"/>
                  <a:pt x="390" y="256"/>
                  <a:pt x="390" y="256"/>
                </a:cubicBezTo>
                <a:cubicBezTo>
                  <a:pt x="248" y="114"/>
                  <a:pt x="248" y="114"/>
                  <a:pt x="248" y="114"/>
                </a:cubicBezTo>
                <a:cubicBezTo>
                  <a:pt x="244" y="110"/>
                  <a:pt x="244" y="103"/>
                  <a:pt x="248" y="99"/>
                </a:cubicBezTo>
                <a:cubicBezTo>
                  <a:pt x="252" y="95"/>
                  <a:pt x="259" y="95"/>
                  <a:pt x="263" y="99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264"/>
          <p:cNvGrpSpPr>
            <a:grpSpLocks noChangeAspect="1"/>
          </p:cNvGrpSpPr>
          <p:nvPr/>
        </p:nvGrpSpPr>
        <p:grpSpPr bwMode="auto">
          <a:xfrm>
            <a:off x="935093" y="2914974"/>
            <a:ext cx="368152" cy="368152"/>
            <a:chOff x="1153" y="614"/>
            <a:chExt cx="3635" cy="3635"/>
          </a:xfrm>
          <a:solidFill>
            <a:schemeClr val="accent2"/>
          </a:solidFill>
        </p:grpSpPr>
        <p:sp>
          <p:nvSpPr>
            <p:cNvPr id="266" name="Freeform 109"/>
            <p:cNvSpPr>
              <a:spLocks noEditPoints="1"/>
            </p:cNvSpPr>
            <p:nvPr/>
          </p:nvSpPr>
          <p:spPr bwMode="auto">
            <a:xfrm>
              <a:off x="1153" y="614"/>
              <a:ext cx="3635" cy="3635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  <a:gd name="T20" fmla="*/ 306 w 512"/>
                <a:gd name="T21" fmla="*/ 263 h 512"/>
                <a:gd name="T22" fmla="*/ 157 w 512"/>
                <a:gd name="T23" fmla="*/ 413 h 512"/>
                <a:gd name="T24" fmla="*/ 149 w 512"/>
                <a:gd name="T25" fmla="*/ 416 h 512"/>
                <a:gd name="T26" fmla="*/ 141 w 512"/>
                <a:gd name="T27" fmla="*/ 413 h 512"/>
                <a:gd name="T28" fmla="*/ 141 w 512"/>
                <a:gd name="T29" fmla="*/ 397 h 512"/>
                <a:gd name="T30" fmla="*/ 283 w 512"/>
                <a:gd name="T31" fmla="*/ 256 h 512"/>
                <a:gd name="T32" fmla="*/ 141 w 512"/>
                <a:gd name="T33" fmla="*/ 114 h 512"/>
                <a:gd name="T34" fmla="*/ 141 w 512"/>
                <a:gd name="T35" fmla="*/ 99 h 512"/>
                <a:gd name="T36" fmla="*/ 157 w 512"/>
                <a:gd name="T37" fmla="*/ 99 h 512"/>
                <a:gd name="T38" fmla="*/ 306 w 512"/>
                <a:gd name="T39" fmla="*/ 248 h 512"/>
                <a:gd name="T40" fmla="*/ 306 w 512"/>
                <a:gd name="T41" fmla="*/ 263 h 512"/>
                <a:gd name="T42" fmla="*/ 413 w 512"/>
                <a:gd name="T43" fmla="*/ 263 h 512"/>
                <a:gd name="T44" fmla="*/ 263 w 512"/>
                <a:gd name="T45" fmla="*/ 413 h 512"/>
                <a:gd name="T46" fmla="*/ 256 w 512"/>
                <a:gd name="T47" fmla="*/ 416 h 512"/>
                <a:gd name="T48" fmla="*/ 248 w 512"/>
                <a:gd name="T49" fmla="*/ 413 h 512"/>
                <a:gd name="T50" fmla="*/ 248 w 512"/>
                <a:gd name="T51" fmla="*/ 397 h 512"/>
                <a:gd name="T52" fmla="*/ 390 w 512"/>
                <a:gd name="T53" fmla="*/ 256 h 512"/>
                <a:gd name="T54" fmla="*/ 248 w 512"/>
                <a:gd name="T55" fmla="*/ 114 h 512"/>
                <a:gd name="T56" fmla="*/ 248 w 512"/>
                <a:gd name="T57" fmla="*/ 99 h 512"/>
                <a:gd name="T58" fmla="*/ 263 w 512"/>
                <a:gd name="T59" fmla="*/ 99 h 512"/>
                <a:gd name="T60" fmla="*/ 413 w 512"/>
                <a:gd name="T61" fmla="*/ 248 h 512"/>
                <a:gd name="T62" fmla="*/ 413 w 512"/>
                <a:gd name="T63" fmla="*/ 2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  <a:moveTo>
                    <a:pt x="306" y="263"/>
                  </a:moveTo>
                  <a:cubicBezTo>
                    <a:pt x="157" y="413"/>
                    <a:pt x="157" y="413"/>
                    <a:pt x="157" y="413"/>
                  </a:cubicBezTo>
                  <a:cubicBezTo>
                    <a:pt x="154" y="415"/>
                    <a:pt x="152" y="416"/>
                    <a:pt x="149" y="416"/>
                  </a:cubicBezTo>
                  <a:cubicBezTo>
                    <a:pt x="146" y="416"/>
                    <a:pt x="144" y="415"/>
                    <a:pt x="141" y="413"/>
                  </a:cubicBezTo>
                  <a:cubicBezTo>
                    <a:pt x="137" y="408"/>
                    <a:pt x="137" y="402"/>
                    <a:pt x="141" y="397"/>
                  </a:cubicBezTo>
                  <a:cubicBezTo>
                    <a:pt x="283" y="256"/>
                    <a:pt x="283" y="256"/>
                    <a:pt x="283" y="256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37" y="110"/>
                    <a:pt x="137" y="103"/>
                    <a:pt x="141" y="99"/>
                  </a:cubicBezTo>
                  <a:cubicBezTo>
                    <a:pt x="146" y="95"/>
                    <a:pt x="152" y="95"/>
                    <a:pt x="157" y="99"/>
                  </a:cubicBezTo>
                  <a:cubicBezTo>
                    <a:pt x="306" y="248"/>
                    <a:pt x="306" y="248"/>
                    <a:pt x="306" y="248"/>
                  </a:cubicBezTo>
                  <a:cubicBezTo>
                    <a:pt x="310" y="252"/>
                    <a:pt x="310" y="259"/>
                    <a:pt x="306" y="263"/>
                  </a:cubicBezTo>
                  <a:close/>
                  <a:moveTo>
                    <a:pt x="413" y="263"/>
                  </a:moveTo>
                  <a:cubicBezTo>
                    <a:pt x="263" y="413"/>
                    <a:pt x="263" y="413"/>
                    <a:pt x="263" y="413"/>
                  </a:cubicBez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244" y="408"/>
                    <a:pt x="244" y="402"/>
                    <a:pt x="248" y="397"/>
                  </a:cubicBezTo>
                  <a:cubicBezTo>
                    <a:pt x="390" y="256"/>
                    <a:pt x="390" y="256"/>
                    <a:pt x="390" y="256"/>
                  </a:cubicBezTo>
                  <a:cubicBezTo>
                    <a:pt x="248" y="114"/>
                    <a:pt x="248" y="114"/>
                    <a:pt x="248" y="114"/>
                  </a:cubicBezTo>
                  <a:cubicBezTo>
                    <a:pt x="244" y="110"/>
                    <a:pt x="244" y="103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413" y="248"/>
                    <a:pt x="413" y="248"/>
                    <a:pt x="413" y="248"/>
                  </a:cubicBezTo>
                  <a:cubicBezTo>
                    <a:pt x="417" y="252"/>
                    <a:pt x="417" y="259"/>
                    <a:pt x="41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110"/>
            <p:cNvSpPr>
              <a:spLocks noEditPoints="1"/>
            </p:cNvSpPr>
            <p:nvPr/>
          </p:nvSpPr>
          <p:spPr bwMode="auto">
            <a:xfrm>
              <a:off x="1153" y="614"/>
              <a:ext cx="3635" cy="3635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  <a:gd name="T20" fmla="*/ 306 w 512"/>
                <a:gd name="T21" fmla="*/ 263 h 512"/>
                <a:gd name="T22" fmla="*/ 157 w 512"/>
                <a:gd name="T23" fmla="*/ 413 h 512"/>
                <a:gd name="T24" fmla="*/ 149 w 512"/>
                <a:gd name="T25" fmla="*/ 416 h 512"/>
                <a:gd name="T26" fmla="*/ 141 w 512"/>
                <a:gd name="T27" fmla="*/ 413 h 512"/>
                <a:gd name="T28" fmla="*/ 141 w 512"/>
                <a:gd name="T29" fmla="*/ 397 h 512"/>
                <a:gd name="T30" fmla="*/ 283 w 512"/>
                <a:gd name="T31" fmla="*/ 256 h 512"/>
                <a:gd name="T32" fmla="*/ 141 w 512"/>
                <a:gd name="T33" fmla="*/ 114 h 512"/>
                <a:gd name="T34" fmla="*/ 141 w 512"/>
                <a:gd name="T35" fmla="*/ 99 h 512"/>
                <a:gd name="T36" fmla="*/ 157 w 512"/>
                <a:gd name="T37" fmla="*/ 99 h 512"/>
                <a:gd name="T38" fmla="*/ 306 w 512"/>
                <a:gd name="T39" fmla="*/ 248 h 512"/>
                <a:gd name="T40" fmla="*/ 306 w 512"/>
                <a:gd name="T41" fmla="*/ 263 h 512"/>
                <a:gd name="T42" fmla="*/ 413 w 512"/>
                <a:gd name="T43" fmla="*/ 263 h 512"/>
                <a:gd name="T44" fmla="*/ 263 w 512"/>
                <a:gd name="T45" fmla="*/ 413 h 512"/>
                <a:gd name="T46" fmla="*/ 256 w 512"/>
                <a:gd name="T47" fmla="*/ 416 h 512"/>
                <a:gd name="T48" fmla="*/ 248 w 512"/>
                <a:gd name="T49" fmla="*/ 413 h 512"/>
                <a:gd name="T50" fmla="*/ 248 w 512"/>
                <a:gd name="T51" fmla="*/ 397 h 512"/>
                <a:gd name="T52" fmla="*/ 390 w 512"/>
                <a:gd name="T53" fmla="*/ 256 h 512"/>
                <a:gd name="T54" fmla="*/ 248 w 512"/>
                <a:gd name="T55" fmla="*/ 114 h 512"/>
                <a:gd name="T56" fmla="*/ 248 w 512"/>
                <a:gd name="T57" fmla="*/ 99 h 512"/>
                <a:gd name="T58" fmla="*/ 263 w 512"/>
                <a:gd name="T59" fmla="*/ 99 h 512"/>
                <a:gd name="T60" fmla="*/ 413 w 512"/>
                <a:gd name="T61" fmla="*/ 248 h 512"/>
                <a:gd name="T62" fmla="*/ 413 w 512"/>
                <a:gd name="T63" fmla="*/ 2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  <a:moveTo>
                    <a:pt x="306" y="263"/>
                  </a:moveTo>
                  <a:cubicBezTo>
                    <a:pt x="157" y="413"/>
                    <a:pt x="157" y="413"/>
                    <a:pt x="157" y="413"/>
                  </a:cubicBezTo>
                  <a:cubicBezTo>
                    <a:pt x="154" y="415"/>
                    <a:pt x="152" y="416"/>
                    <a:pt x="149" y="416"/>
                  </a:cubicBezTo>
                  <a:cubicBezTo>
                    <a:pt x="146" y="416"/>
                    <a:pt x="144" y="415"/>
                    <a:pt x="141" y="413"/>
                  </a:cubicBezTo>
                  <a:cubicBezTo>
                    <a:pt x="137" y="408"/>
                    <a:pt x="137" y="402"/>
                    <a:pt x="141" y="397"/>
                  </a:cubicBezTo>
                  <a:cubicBezTo>
                    <a:pt x="283" y="256"/>
                    <a:pt x="283" y="256"/>
                    <a:pt x="283" y="256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37" y="110"/>
                    <a:pt x="137" y="103"/>
                    <a:pt x="141" y="99"/>
                  </a:cubicBezTo>
                  <a:cubicBezTo>
                    <a:pt x="146" y="95"/>
                    <a:pt x="152" y="95"/>
                    <a:pt x="157" y="99"/>
                  </a:cubicBezTo>
                  <a:cubicBezTo>
                    <a:pt x="306" y="248"/>
                    <a:pt x="306" y="248"/>
                    <a:pt x="306" y="248"/>
                  </a:cubicBezTo>
                  <a:cubicBezTo>
                    <a:pt x="310" y="252"/>
                    <a:pt x="310" y="259"/>
                    <a:pt x="306" y="263"/>
                  </a:cubicBezTo>
                  <a:close/>
                  <a:moveTo>
                    <a:pt x="413" y="263"/>
                  </a:moveTo>
                  <a:cubicBezTo>
                    <a:pt x="263" y="413"/>
                    <a:pt x="263" y="413"/>
                    <a:pt x="263" y="413"/>
                  </a:cubicBezTo>
                  <a:cubicBezTo>
                    <a:pt x="261" y="415"/>
                    <a:pt x="258" y="416"/>
                    <a:pt x="256" y="416"/>
                  </a:cubicBezTo>
                  <a:cubicBezTo>
                    <a:pt x="253" y="416"/>
                    <a:pt x="250" y="415"/>
                    <a:pt x="248" y="413"/>
                  </a:cubicBezTo>
                  <a:cubicBezTo>
                    <a:pt x="244" y="408"/>
                    <a:pt x="244" y="402"/>
                    <a:pt x="248" y="397"/>
                  </a:cubicBezTo>
                  <a:cubicBezTo>
                    <a:pt x="390" y="256"/>
                    <a:pt x="390" y="256"/>
                    <a:pt x="390" y="256"/>
                  </a:cubicBezTo>
                  <a:cubicBezTo>
                    <a:pt x="248" y="114"/>
                    <a:pt x="248" y="114"/>
                    <a:pt x="248" y="114"/>
                  </a:cubicBezTo>
                  <a:cubicBezTo>
                    <a:pt x="244" y="110"/>
                    <a:pt x="244" y="103"/>
                    <a:pt x="248" y="99"/>
                  </a:cubicBezTo>
                  <a:cubicBezTo>
                    <a:pt x="252" y="95"/>
                    <a:pt x="259" y="95"/>
                    <a:pt x="263" y="99"/>
                  </a:cubicBezTo>
                  <a:cubicBezTo>
                    <a:pt x="413" y="248"/>
                    <a:pt x="413" y="248"/>
                    <a:pt x="413" y="248"/>
                  </a:cubicBezTo>
                  <a:cubicBezTo>
                    <a:pt x="417" y="252"/>
                    <a:pt x="417" y="259"/>
                    <a:pt x="41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267"/>
          <p:cNvSpPr>
            <a:spLocks noChangeAspect="1" noEditPoints="1"/>
          </p:cNvSpPr>
          <p:nvPr/>
        </p:nvSpPr>
        <p:spPr bwMode="auto">
          <a:xfrm>
            <a:off x="1431881" y="2914974"/>
            <a:ext cx="368051" cy="36815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13 w 512"/>
              <a:gd name="T21" fmla="*/ 370 h 512"/>
              <a:gd name="T22" fmla="*/ 413 w 512"/>
              <a:gd name="T23" fmla="*/ 355 h 512"/>
              <a:gd name="T24" fmla="*/ 263 w 512"/>
              <a:gd name="T25" fmla="*/ 205 h 512"/>
              <a:gd name="T26" fmla="*/ 248 w 512"/>
              <a:gd name="T27" fmla="*/ 205 h 512"/>
              <a:gd name="T28" fmla="*/ 99 w 512"/>
              <a:gd name="T29" fmla="*/ 355 h 512"/>
              <a:gd name="T30" fmla="*/ 99 w 512"/>
              <a:gd name="T31" fmla="*/ 370 h 512"/>
              <a:gd name="T32" fmla="*/ 114 w 512"/>
              <a:gd name="T33" fmla="*/ 370 h 512"/>
              <a:gd name="T34" fmla="*/ 256 w 512"/>
              <a:gd name="T35" fmla="*/ 228 h 512"/>
              <a:gd name="T36" fmla="*/ 397 w 512"/>
              <a:gd name="T37" fmla="*/ 370 h 512"/>
              <a:gd name="T38" fmla="*/ 405 w 512"/>
              <a:gd name="T39" fmla="*/ 373 h 512"/>
              <a:gd name="T40" fmla="*/ 413 w 512"/>
              <a:gd name="T41" fmla="*/ 370 h 512"/>
              <a:gd name="T42" fmla="*/ 413 w 512"/>
              <a:gd name="T43" fmla="*/ 263 h 512"/>
              <a:gd name="T44" fmla="*/ 413 w 512"/>
              <a:gd name="T45" fmla="*/ 248 h 512"/>
              <a:gd name="T46" fmla="*/ 263 w 512"/>
              <a:gd name="T47" fmla="*/ 99 h 512"/>
              <a:gd name="T48" fmla="*/ 248 w 512"/>
              <a:gd name="T49" fmla="*/ 99 h 512"/>
              <a:gd name="T50" fmla="*/ 99 w 512"/>
              <a:gd name="T51" fmla="*/ 248 h 512"/>
              <a:gd name="T52" fmla="*/ 99 w 512"/>
              <a:gd name="T53" fmla="*/ 263 h 512"/>
              <a:gd name="T54" fmla="*/ 114 w 512"/>
              <a:gd name="T55" fmla="*/ 263 h 512"/>
              <a:gd name="T56" fmla="*/ 256 w 512"/>
              <a:gd name="T57" fmla="*/ 121 h 512"/>
              <a:gd name="T58" fmla="*/ 397 w 512"/>
              <a:gd name="T59" fmla="*/ 263 h 512"/>
              <a:gd name="T60" fmla="*/ 405 w 512"/>
              <a:gd name="T61" fmla="*/ 266 h 512"/>
              <a:gd name="T62" fmla="*/ 413 w 512"/>
              <a:gd name="T6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3" y="370"/>
                </a:moveTo>
                <a:cubicBezTo>
                  <a:pt x="417" y="366"/>
                  <a:pt x="417" y="359"/>
                  <a:pt x="413" y="355"/>
                </a:cubicBezTo>
                <a:cubicBezTo>
                  <a:pt x="263" y="205"/>
                  <a:pt x="263" y="205"/>
                  <a:pt x="263" y="205"/>
                </a:cubicBezTo>
                <a:cubicBezTo>
                  <a:pt x="259" y="201"/>
                  <a:pt x="252" y="201"/>
                  <a:pt x="248" y="205"/>
                </a:cubicBezTo>
                <a:cubicBezTo>
                  <a:pt x="99" y="355"/>
                  <a:pt x="99" y="355"/>
                  <a:pt x="99" y="355"/>
                </a:cubicBezTo>
                <a:cubicBezTo>
                  <a:pt x="95" y="359"/>
                  <a:pt x="95" y="366"/>
                  <a:pt x="99" y="370"/>
                </a:cubicBezTo>
                <a:cubicBezTo>
                  <a:pt x="103" y="374"/>
                  <a:pt x="110" y="374"/>
                  <a:pt x="114" y="370"/>
                </a:cubicBezTo>
                <a:cubicBezTo>
                  <a:pt x="256" y="228"/>
                  <a:pt x="256" y="228"/>
                  <a:pt x="256" y="228"/>
                </a:cubicBezTo>
                <a:cubicBezTo>
                  <a:pt x="397" y="370"/>
                  <a:pt x="397" y="370"/>
                  <a:pt x="397" y="370"/>
                </a:cubicBezTo>
                <a:cubicBezTo>
                  <a:pt x="400" y="372"/>
                  <a:pt x="402" y="373"/>
                  <a:pt x="405" y="373"/>
                </a:cubicBezTo>
                <a:cubicBezTo>
                  <a:pt x="408" y="373"/>
                  <a:pt x="410" y="372"/>
                  <a:pt x="413" y="370"/>
                </a:cubicBezTo>
                <a:close/>
                <a:moveTo>
                  <a:pt x="413" y="263"/>
                </a:moveTo>
                <a:cubicBezTo>
                  <a:pt x="417" y="259"/>
                  <a:pt x="417" y="252"/>
                  <a:pt x="413" y="248"/>
                </a:cubicBezTo>
                <a:cubicBezTo>
                  <a:pt x="263" y="99"/>
                  <a:pt x="263" y="99"/>
                  <a:pt x="263" y="99"/>
                </a:cubicBezTo>
                <a:cubicBezTo>
                  <a:pt x="259" y="95"/>
                  <a:pt x="252" y="95"/>
                  <a:pt x="248" y="99"/>
                </a:cubicBezTo>
                <a:cubicBezTo>
                  <a:pt x="99" y="248"/>
                  <a:pt x="99" y="248"/>
                  <a:pt x="99" y="248"/>
                </a:cubicBezTo>
                <a:cubicBezTo>
                  <a:pt x="95" y="252"/>
                  <a:pt x="95" y="259"/>
                  <a:pt x="99" y="263"/>
                </a:cubicBezTo>
                <a:cubicBezTo>
                  <a:pt x="103" y="267"/>
                  <a:pt x="110" y="267"/>
                  <a:pt x="114" y="263"/>
                </a:cubicBezTo>
                <a:cubicBezTo>
                  <a:pt x="256" y="121"/>
                  <a:pt x="256" y="121"/>
                  <a:pt x="256" y="121"/>
                </a:cubicBezTo>
                <a:cubicBezTo>
                  <a:pt x="397" y="263"/>
                  <a:pt x="397" y="263"/>
                  <a:pt x="397" y="263"/>
                </a:cubicBezTo>
                <a:cubicBezTo>
                  <a:pt x="400" y="265"/>
                  <a:pt x="402" y="266"/>
                  <a:pt x="405" y="266"/>
                </a:cubicBezTo>
                <a:cubicBezTo>
                  <a:pt x="408" y="266"/>
                  <a:pt x="410" y="265"/>
                  <a:pt x="413" y="2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9" name="Freeform 122"/>
          <p:cNvSpPr>
            <a:spLocks noChangeAspect="1" noEditPoints="1"/>
          </p:cNvSpPr>
          <p:nvPr/>
        </p:nvSpPr>
        <p:spPr bwMode="auto">
          <a:xfrm>
            <a:off x="9385989" y="2042609"/>
            <a:ext cx="367982" cy="36906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309 h 512"/>
              <a:gd name="T12" fmla="*/ 405 w 512"/>
              <a:gd name="T13" fmla="*/ 320 h 512"/>
              <a:gd name="T14" fmla="*/ 132 w 512"/>
              <a:gd name="T15" fmla="*/ 320 h 512"/>
              <a:gd name="T16" fmla="*/ 199 w 512"/>
              <a:gd name="T17" fmla="*/ 387 h 512"/>
              <a:gd name="T18" fmla="*/ 199 w 512"/>
              <a:gd name="T19" fmla="*/ 402 h 512"/>
              <a:gd name="T20" fmla="*/ 192 w 512"/>
              <a:gd name="T21" fmla="*/ 405 h 512"/>
              <a:gd name="T22" fmla="*/ 184 w 512"/>
              <a:gd name="T23" fmla="*/ 402 h 512"/>
              <a:gd name="T24" fmla="*/ 99 w 512"/>
              <a:gd name="T25" fmla="*/ 317 h 512"/>
              <a:gd name="T26" fmla="*/ 96 w 512"/>
              <a:gd name="T27" fmla="*/ 313 h 512"/>
              <a:gd name="T28" fmla="*/ 96 w 512"/>
              <a:gd name="T29" fmla="*/ 305 h 512"/>
              <a:gd name="T30" fmla="*/ 99 w 512"/>
              <a:gd name="T31" fmla="*/ 301 h 512"/>
              <a:gd name="T32" fmla="*/ 184 w 512"/>
              <a:gd name="T33" fmla="*/ 216 h 512"/>
              <a:gd name="T34" fmla="*/ 199 w 512"/>
              <a:gd name="T35" fmla="*/ 216 h 512"/>
              <a:gd name="T36" fmla="*/ 199 w 512"/>
              <a:gd name="T37" fmla="*/ 231 h 512"/>
              <a:gd name="T38" fmla="*/ 132 w 512"/>
              <a:gd name="T39" fmla="*/ 298 h 512"/>
              <a:gd name="T40" fmla="*/ 394 w 512"/>
              <a:gd name="T41" fmla="*/ 298 h 512"/>
              <a:gd name="T42" fmla="*/ 394 w 512"/>
              <a:gd name="T43" fmla="*/ 181 h 512"/>
              <a:gd name="T44" fmla="*/ 405 w 512"/>
              <a:gd name="T45" fmla="*/ 170 h 512"/>
              <a:gd name="T46" fmla="*/ 416 w 512"/>
              <a:gd name="T47" fmla="*/ 181 h 512"/>
              <a:gd name="T48" fmla="*/ 416 w 512"/>
              <a:gd name="T49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09"/>
                </a:moveTo>
                <a:cubicBezTo>
                  <a:pt x="416" y="315"/>
                  <a:pt x="411" y="320"/>
                  <a:pt x="405" y="320"/>
                </a:cubicBezTo>
                <a:cubicBezTo>
                  <a:pt x="132" y="320"/>
                  <a:pt x="132" y="320"/>
                  <a:pt x="132" y="320"/>
                </a:cubicBezTo>
                <a:cubicBezTo>
                  <a:pt x="199" y="387"/>
                  <a:pt x="199" y="387"/>
                  <a:pt x="199" y="387"/>
                </a:cubicBezTo>
                <a:cubicBezTo>
                  <a:pt x="203" y="391"/>
                  <a:pt x="203" y="398"/>
                  <a:pt x="199" y="402"/>
                </a:cubicBezTo>
                <a:cubicBezTo>
                  <a:pt x="197" y="404"/>
                  <a:pt x="194" y="405"/>
                  <a:pt x="192" y="405"/>
                </a:cubicBezTo>
                <a:cubicBezTo>
                  <a:pt x="189" y="405"/>
                  <a:pt x="186" y="404"/>
                  <a:pt x="184" y="402"/>
                </a:cubicBezTo>
                <a:cubicBezTo>
                  <a:pt x="99" y="317"/>
                  <a:pt x="99" y="317"/>
                  <a:pt x="99" y="317"/>
                </a:cubicBezTo>
                <a:cubicBezTo>
                  <a:pt x="98" y="316"/>
                  <a:pt x="97" y="314"/>
                  <a:pt x="96" y="313"/>
                </a:cubicBezTo>
                <a:cubicBezTo>
                  <a:pt x="95" y="310"/>
                  <a:pt x="95" y="308"/>
                  <a:pt x="96" y="305"/>
                </a:cubicBezTo>
                <a:cubicBezTo>
                  <a:pt x="97" y="304"/>
                  <a:pt x="98" y="302"/>
                  <a:pt x="99" y="301"/>
                </a:cubicBezTo>
                <a:cubicBezTo>
                  <a:pt x="184" y="216"/>
                  <a:pt x="184" y="216"/>
                  <a:pt x="184" y="216"/>
                </a:cubicBezTo>
                <a:cubicBezTo>
                  <a:pt x="188" y="212"/>
                  <a:pt x="195" y="212"/>
                  <a:pt x="199" y="216"/>
                </a:cubicBezTo>
                <a:cubicBezTo>
                  <a:pt x="203" y="220"/>
                  <a:pt x="203" y="227"/>
                  <a:pt x="199" y="231"/>
                </a:cubicBezTo>
                <a:cubicBezTo>
                  <a:pt x="132" y="298"/>
                  <a:pt x="132" y="298"/>
                  <a:pt x="132" y="298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394" y="175"/>
                  <a:pt x="399" y="170"/>
                  <a:pt x="405" y="170"/>
                </a:cubicBezTo>
                <a:cubicBezTo>
                  <a:pt x="411" y="170"/>
                  <a:pt x="416" y="175"/>
                  <a:pt x="416" y="181"/>
                </a:cubicBezTo>
                <a:lnTo>
                  <a:pt x="416" y="3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0" name="Freeform 126"/>
          <p:cNvSpPr>
            <a:spLocks noChangeAspect="1" noEditPoints="1"/>
          </p:cNvSpPr>
          <p:nvPr/>
        </p:nvSpPr>
        <p:spPr bwMode="auto">
          <a:xfrm>
            <a:off x="9883415" y="2042608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5 w 512"/>
              <a:gd name="T21" fmla="*/ 170 h 512"/>
              <a:gd name="T22" fmla="*/ 394 w 512"/>
              <a:gd name="T23" fmla="*/ 181 h 512"/>
              <a:gd name="T24" fmla="*/ 394 w 512"/>
              <a:gd name="T25" fmla="*/ 298 h 512"/>
              <a:gd name="T26" fmla="*/ 132 w 512"/>
              <a:gd name="T27" fmla="*/ 298 h 512"/>
              <a:gd name="T28" fmla="*/ 199 w 512"/>
              <a:gd name="T29" fmla="*/ 231 h 512"/>
              <a:gd name="T30" fmla="*/ 199 w 512"/>
              <a:gd name="T31" fmla="*/ 216 h 512"/>
              <a:gd name="T32" fmla="*/ 184 w 512"/>
              <a:gd name="T33" fmla="*/ 216 h 512"/>
              <a:gd name="T34" fmla="*/ 99 w 512"/>
              <a:gd name="T35" fmla="*/ 301 h 512"/>
              <a:gd name="T36" fmla="*/ 96 w 512"/>
              <a:gd name="T37" fmla="*/ 305 h 512"/>
              <a:gd name="T38" fmla="*/ 96 w 512"/>
              <a:gd name="T39" fmla="*/ 313 h 512"/>
              <a:gd name="T40" fmla="*/ 99 w 512"/>
              <a:gd name="T41" fmla="*/ 317 h 512"/>
              <a:gd name="T42" fmla="*/ 184 w 512"/>
              <a:gd name="T43" fmla="*/ 402 h 512"/>
              <a:gd name="T44" fmla="*/ 192 w 512"/>
              <a:gd name="T45" fmla="*/ 405 h 512"/>
              <a:gd name="T46" fmla="*/ 199 w 512"/>
              <a:gd name="T47" fmla="*/ 402 h 512"/>
              <a:gd name="T48" fmla="*/ 199 w 512"/>
              <a:gd name="T49" fmla="*/ 387 h 512"/>
              <a:gd name="T50" fmla="*/ 132 w 512"/>
              <a:gd name="T51" fmla="*/ 320 h 512"/>
              <a:gd name="T52" fmla="*/ 405 w 512"/>
              <a:gd name="T53" fmla="*/ 320 h 512"/>
              <a:gd name="T54" fmla="*/ 416 w 512"/>
              <a:gd name="T55" fmla="*/ 309 h 512"/>
              <a:gd name="T56" fmla="*/ 416 w 512"/>
              <a:gd name="T57" fmla="*/ 181 h 512"/>
              <a:gd name="T58" fmla="*/ 405 w 512"/>
              <a:gd name="T59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170"/>
                </a:moveTo>
                <a:cubicBezTo>
                  <a:pt x="399" y="170"/>
                  <a:pt x="394" y="175"/>
                  <a:pt x="394" y="181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132" y="298"/>
                  <a:pt x="132" y="298"/>
                  <a:pt x="132" y="298"/>
                </a:cubicBezTo>
                <a:cubicBezTo>
                  <a:pt x="199" y="231"/>
                  <a:pt x="199" y="231"/>
                  <a:pt x="199" y="231"/>
                </a:cubicBezTo>
                <a:cubicBezTo>
                  <a:pt x="203" y="227"/>
                  <a:pt x="203" y="220"/>
                  <a:pt x="199" y="216"/>
                </a:cubicBezTo>
                <a:cubicBezTo>
                  <a:pt x="195" y="212"/>
                  <a:pt x="188" y="212"/>
                  <a:pt x="184" y="216"/>
                </a:cubicBezTo>
                <a:cubicBezTo>
                  <a:pt x="99" y="301"/>
                  <a:pt x="99" y="301"/>
                  <a:pt x="99" y="301"/>
                </a:cubicBezTo>
                <a:cubicBezTo>
                  <a:pt x="98" y="302"/>
                  <a:pt x="97" y="304"/>
                  <a:pt x="96" y="305"/>
                </a:cubicBezTo>
                <a:cubicBezTo>
                  <a:pt x="95" y="308"/>
                  <a:pt x="95" y="310"/>
                  <a:pt x="96" y="313"/>
                </a:cubicBezTo>
                <a:cubicBezTo>
                  <a:pt x="97" y="314"/>
                  <a:pt x="98" y="316"/>
                  <a:pt x="99" y="317"/>
                </a:cubicBezTo>
                <a:cubicBezTo>
                  <a:pt x="184" y="402"/>
                  <a:pt x="184" y="402"/>
                  <a:pt x="184" y="402"/>
                </a:cubicBezTo>
                <a:cubicBezTo>
                  <a:pt x="186" y="404"/>
                  <a:pt x="189" y="405"/>
                  <a:pt x="192" y="405"/>
                </a:cubicBezTo>
                <a:cubicBezTo>
                  <a:pt x="194" y="405"/>
                  <a:pt x="197" y="404"/>
                  <a:pt x="199" y="402"/>
                </a:cubicBezTo>
                <a:cubicBezTo>
                  <a:pt x="203" y="398"/>
                  <a:pt x="203" y="391"/>
                  <a:pt x="199" y="387"/>
                </a:cubicBezTo>
                <a:cubicBezTo>
                  <a:pt x="132" y="320"/>
                  <a:pt x="132" y="320"/>
                  <a:pt x="132" y="32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15"/>
                  <a:pt x="416" y="309"/>
                </a:cubicBezTo>
                <a:cubicBezTo>
                  <a:pt x="416" y="181"/>
                  <a:pt x="416" y="181"/>
                  <a:pt x="416" y="181"/>
                </a:cubicBezTo>
                <a:cubicBezTo>
                  <a:pt x="416" y="175"/>
                  <a:pt x="411" y="170"/>
                  <a:pt x="405" y="17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1" name="Freeform 130"/>
          <p:cNvSpPr>
            <a:spLocks noChangeAspect="1" noEditPoints="1"/>
          </p:cNvSpPr>
          <p:nvPr/>
        </p:nvSpPr>
        <p:spPr bwMode="auto">
          <a:xfrm>
            <a:off x="8390059" y="2042608"/>
            <a:ext cx="369064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313 h 512"/>
              <a:gd name="T12" fmla="*/ 413 w 512"/>
              <a:gd name="T13" fmla="*/ 317 h 512"/>
              <a:gd name="T14" fmla="*/ 327 w 512"/>
              <a:gd name="T15" fmla="*/ 402 h 512"/>
              <a:gd name="T16" fmla="*/ 320 w 512"/>
              <a:gd name="T17" fmla="*/ 405 h 512"/>
              <a:gd name="T18" fmla="*/ 312 w 512"/>
              <a:gd name="T19" fmla="*/ 402 h 512"/>
              <a:gd name="T20" fmla="*/ 312 w 512"/>
              <a:gd name="T21" fmla="*/ 387 h 512"/>
              <a:gd name="T22" fmla="*/ 379 w 512"/>
              <a:gd name="T23" fmla="*/ 320 h 512"/>
              <a:gd name="T24" fmla="*/ 106 w 512"/>
              <a:gd name="T25" fmla="*/ 320 h 512"/>
              <a:gd name="T26" fmla="*/ 96 w 512"/>
              <a:gd name="T27" fmla="*/ 309 h 512"/>
              <a:gd name="T28" fmla="*/ 96 w 512"/>
              <a:gd name="T29" fmla="*/ 181 h 512"/>
              <a:gd name="T30" fmla="*/ 106 w 512"/>
              <a:gd name="T31" fmla="*/ 170 h 512"/>
              <a:gd name="T32" fmla="*/ 117 w 512"/>
              <a:gd name="T33" fmla="*/ 181 h 512"/>
              <a:gd name="T34" fmla="*/ 117 w 512"/>
              <a:gd name="T35" fmla="*/ 298 h 512"/>
              <a:gd name="T36" fmla="*/ 379 w 512"/>
              <a:gd name="T37" fmla="*/ 298 h 512"/>
              <a:gd name="T38" fmla="*/ 312 w 512"/>
              <a:gd name="T39" fmla="*/ 231 h 512"/>
              <a:gd name="T40" fmla="*/ 312 w 512"/>
              <a:gd name="T41" fmla="*/ 216 h 512"/>
              <a:gd name="T42" fmla="*/ 327 w 512"/>
              <a:gd name="T43" fmla="*/ 216 h 512"/>
              <a:gd name="T44" fmla="*/ 413 w 512"/>
              <a:gd name="T45" fmla="*/ 301 h 512"/>
              <a:gd name="T46" fmla="*/ 415 w 512"/>
              <a:gd name="T47" fmla="*/ 305 h 512"/>
              <a:gd name="T48" fmla="*/ 415 w 512"/>
              <a:gd name="T49" fmla="*/ 3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313"/>
                </a:moveTo>
                <a:cubicBezTo>
                  <a:pt x="414" y="314"/>
                  <a:pt x="414" y="316"/>
                  <a:pt x="413" y="317"/>
                </a:cubicBezTo>
                <a:cubicBezTo>
                  <a:pt x="327" y="402"/>
                  <a:pt x="327" y="402"/>
                  <a:pt x="327" y="402"/>
                </a:cubicBezTo>
                <a:cubicBezTo>
                  <a:pt x="325" y="404"/>
                  <a:pt x="322" y="405"/>
                  <a:pt x="320" y="405"/>
                </a:cubicBezTo>
                <a:cubicBezTo>
                  <a:pt x="317" y="405"/>
                  <a:pt x="314" y="404"/>
                  <a:pt x="312" y="402"/>
                </a:cubicBezTo>
                <a:cubicBezTo>
                  <a:pt x="308" y="398"/>
                  <a:pt x="308" y="391"/>
                  <a:pt x="312" y="387"/>
                </a:cubicBezTo>
                <a:cubicBezTo>
                  <a:pt x="379" y="320"/>
                  <a:pt x="379" y="320"/>
                  <a:pt x="379" y="320"/>
                </a:cubicBezTo>
                <a:cubicBezTo>
                  <a:pt x="106" y="320"/>
                  <a:pt x="106" y="320"/>
                  <a:pt x="106" y="320"/>
                </a:cubicBezTo>
                <a:cubicBezTo>
                  <a:pt x="100" y="320"/>
                  <a:pt x="96" y="315"/>
                  <a:pt x="96" y="309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112" y="170"/>
                  <a:pt x="117" y="175"/>
                  <a:pt x="117" y="181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379" y="298"/>
                  <a:pt x="379" y="298"/>
                  <a:pt x="379" y="298"/>
                </a:cubicBezTo>
                <a:cubicBezTo>
                  <a:pt x="312" y="231"/>
                  <a:pt x="312" y="231"/>
                  <a:pt x="312" y="231"/>
                </a:cubicBezTo>
                <a:cubicBezTo>
                  <a:pt x="308" y="227"/>
                  <a:pt x="308" y="220"/>
                  <a:pt x="312" y="216"/>
                </a:cubicBezTo>
                <a:cubicBezTo>
                  <a:pt x="316" y="212"/>
                  <a:pt x="323" y="212"/>
                  <a:pt x="327" y="216"/>
                </a:cubicBezTo>
                <a:cubicBezTo>
                  <a:pt x="413" y="301"/>
                  <a:pt x="413" y="301"/>
                  <a:pt x="413" y="301"/>
                </a:cubicBezTo>
                <a:cubicBezTo>
                  <a:pt x="414" y="302"/>
                  <a:pt x="414" y="304"/>
                  <a:pt x="415" y="305"/>
                </a:cubicBezTo>
                <a:cubicBezTo>
                  <a:pt x="416" y="308"/>
                  <a:pt x="416" y="310"/>
                  <a:pt x="415" y="3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2" name="Freeform 134"/>
          <p:cNvSpPr>
            <a:spLocks noChangeAspect="1" noEditPoints="1"/>
          </p:cNvSpPr>
          <p:nvPr/>
        </p:nvSpPr>
        <p:spPr bwMode="auto">
          <a:xfrm>
            <a:off x="8888565" y="2042608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15 w 512"/>
              <a:gd name="T21" fmla="*/ 313 h 512"/>
              <a:gd name="T22" fmla="*/ 415 w 512"/>
              <a:gd name="T23" fmla="*/ 305 h 512"/>
              <a:gd name="T24" fmla="*/ 413 w 512"/>
              <a:gd name="T25" fmla="*/ 301 h 512"/>
              <a:gd name="T26" fmla="*/ 327 w 512"/>
              <a:gd name="T27" fmla="*/ 216 h 512"/>
              <a:gd name="T28" fmla="*/ 312 w 512"/>
              <a:gd name="T29" fmla="*/ 216 h 512"/>
              <a:gd name="T30" fmla="*/ 312 w 512"/>
              <a:gd name="T31" fmla="*/ 231 h 512"/>
              <a:gd name="T32" fmla="*/ 379 w 512"/>
              <a:gd name="T33" fmla="*/ 298 h 512"/>
              <a:gd name="T34" fmla="*/ 117 w 512"/>
              <a:gd name="T35" fmla="*/ 298 h 512"/>
              <a:gd name="T36" fmla="*/ 117 w 512"/>
              <a:gd name="T37" fmla="*/ 181 h 512"/>
              <a:gd name="T38" fmla="*/ 106 w 512"/>
              <a:gd name="T39" fmla="*/ 170 h 512"/>
              <a:gd name="T40" fmla="*/ 96 w 512"/>
              <a:gd name="T41" fmla="*/ 181 h 512"/>
              <a:gd name="T42" fmla="*/ 96 w 512"/>
              <a:gd name="T43" fmla="*/ 309 h 512"/>
              <a:gd name="T44" fmla="*/ 106 w 512"/>
              <a:gd name="T45" fmla="*/ 320 h 512"/>
              <a:gd name="T46" fmla="*/ 379 w 512"/>
              <a:gd name="T47" fmla="*/ 320 h 512"/>
              <a:gd name="T48" fmla="*/ 312 w 512"/>
              <a:gd name="T49" fmla="*/ 387 h 512"/>
              <a:gd name="T50" fmla="*/ 312 w 512"/>
              <a:gd name="T51" fmla="*/ 402 h 512"/>
              <a:gd name="T52" fmla="*/ 320 w 512"/>
              <a:gd name="T53" fmla="*/ 405 h 512"/>
              <a:gd name="T54" fmla="*/ 327 w 512"/>
              <a:gd name="T55" fmla="*/ 402 h 512"/>
              <a:gd name="T56" fmla="*/ 413 w 512"/>
              <a:gd name="T57" fmla="*/ 317 h 512"/>
              <a:gd name="T58" fmla="*/ 415 w 512"/>
              <a:gd name="T59" fmla="*/ 3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313"/>
                </a:moveTo>
                <a:cubicBezTo>
                  <a:pt x="416" y="310"/>
                  <a:pt x="416" y="308"/>
                  <a:pt x="415" y="305"/>
                </a:cubicBezTo>
                <a:cubicBezTo>
                  <a:pt x="414" y="304"/>
                  <a:pt x="414" y="302"/>
                  <a:pt x="413" y="301"/>
                </a:cubicBezTo>
                <a:cubicBezTo>
                  <a:pt x="327" y="216"/>
                  <a:pt x="327" y="216"/>
                  <a:pt x="327" y="216"/>
                </a:cubicBezTo>
                <a:cubicBezTo>
                  <a:pt x="323" y="212"/>
                  <a:pt x="316" y="212"/>
                  <a:pt x="312" y="216"/>
                </a:cubicBezTo>
                <a:cubicBezTo>
                  <a:pt x="308" y="220"/>
                  <a:pt x="308" y="227"/>
                  <a:pt x="312" y="231"/>
                </a:cubicBezTo>
                <a:cubicBezTo>
                  <a:pt x="379" y="298"/>
                  <a:pt x="379" y="298"/>
                  <a:pt x="379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181"/>
                  <a:pt x="117" y="181"/>
                  <a:pt x="117" y="181"/>
                </a:cubicBezTo>
                <a:cubicBezTo>
                  <a:pt x="117" y="175"/>
                  <a:pt x="112" y="170"/>
                  <a:pt x="106" y="170"/>
                </a:cubicBezTo>
                <a:cubicBezTo>
                  <a:pt x="100" y="170"/>
                  <a:pt x="96" y="175"/>
                  <a:pt x="96" y="181"/>
                </a:cubicBezTo>
                <a:cubicBezTo>
                  <a:pt x="96" y="309"/>
                  <a:pt x="96" y="309"/>
                  <a:pt x="96" y="309"/>
                </a:cubicBezTo>
                <a:cubicBezTo>
                  <a:pt x="96" y="315"/>
                  <a:pt x="100" y="320"/>
                  <a:pt x="106" y="320"/>
                </a:cubicBezTo>
                <a:cubicBezTo>
                  <a:pt x="379" y="320"/>
                  <a:pt x="379" y="320"/>
                  <a:pt x="379" y="320"/>
                </a:cubicBezTo>
                <a:cubicBezTo>
                  <a:pt x="312" y="387"/>
                  <a:pt x="312" y="387"/>
                  <a:pt x="312" y="387"/>
                </a:cubicBezTo>
                <a:cubicBezTo>
                  <a:pt x="308" y="391"/>
                  <a:pt x="308" y="398"/>
                  <a:pt x="312" y="402"/>
                </a:cubicBezTo>
                <a:cubicBezTo>
                  <a:pt x="314" y="404"/>
                  <a:pt x="317" y="405"/>
                  <a:pt x="320" y="405"/>
                </a:cubicBezTo>
                <a:cubicBezTo>
                  <a:pt x="322" y="405"/>
                  <a:pt x="325" y="404"/>
                  <a:pt x="327" y="402"/>
                </a:cubicBezTo>
                <a:cubicBezTo>
                  <a:pt x="413" y="317"/>
                  <a:pt x="413" y="317"/>
                  <a:pt x="413" y="317"/>
                </a:cubicBezTo>
                <a:cubicBezTo>
                  <a:pt x="414" y="316"/>
                  <a:pt x="414" y="314"/>
                  <a:pt x="415" y="31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3" name="Freeform 272"/>
          <p:cNvSpPr>
            <a:spLocks noChangeAspect="1" noEditPoints="1"/>
          </p:cNvSpPr>
          <p:nvPr/>
        </p:nvSpPr>
        <p:spPr bwMode="auto">
          <a:xfrm>
            <a:off x="7393787" y="2042609"/>
            <a:ext cx="368152" cy="3681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9 w 512"/>
              <a:gd name="T11" fmla="*/ 327 h 512"/>
              <a:gd name="T12" fmla="*/ 263 w 512"/>
              <a:gd name="T13" fmla="*/ 413 h 512"/>
              <a:gd name="T14" fmla="*/ 260 w 512"/>
              <a:gd name="T15" fmla="*/ 415 h 512"/>
              <a:gd name="T16" fmla="*/ 256 w 512"/>
              <a:gd name="T17" fmla="*/ 416 h 512"/>
              <a:gd name="T18" fmla="*/ 252 w 512"/>
              <a:gd name="T19" fmla="*/ 415 h 512"/>
              <a:gd name="T20" fmla="*/ 248 w 512"/>
              <a:gd name="T21" fmla="*/ 413 h 512"/>
              <a:gd name="T22" fmla="*/ 163 w 512"/>
              <a:gd name="T23" fmla="*/ 327 h 512"/>
              <a:gd name="T24" fmla="*/ 163 w 512"/>
              <a:gd name="T25" fmla="*/ 312 h 512"/>
              <a:gd name="T26" fmla="*/ 178 w 512"/>
              <a:gd name="T27" fmla="*/ 312 h 512"/>
              <a:gd name="T28" fmla="*/ 245 w 512"/>
              <a:gd name="T29" fmla="*/ 379 h 512"/>
              <a:gd name="T30" fmla="*/ 245 w 512"/>
              <a:gd name="T31" fmla="*/ 106 h 512"/>
              <a:gd name="T32" fmla="*/ 256 w 512"/>
              <a:gd name="T33" fmla="*/ 96 h 512"/>
              <a:gd name="T34" fmla="*/ 266 w 512"/>
              <a:gd name="T35" fmla="*/ 106 h 512"/>
              <a:gd name="T36" fmla="*/ 266 w 512"/>
              <a:gd name="T37" fmla="*/ 379 h 512"/>
              <a:gd name="T38" fmla="*/ 333 w 512"/>
              <a:gd name="T39" fmla="*/ 312 h 512"/>
              <a:gd name="T40" fmla="*/ 349 w 512"/>
              <a:gd name="T41" fmla="*/ 312 h 512"/>
              <a:gd name="T42" fmla="*/ 349 w 512"/>
              <a:gd name="T43" fmla="*/ 32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9" y="327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2" y="414"/>
                  <a:pt x="261" y="414"/>
                  <a:pt x="260" y="415"/>
                </a:cubicBezTo>
                <a:cubicBezTo>
                  <a:pt x="258" y="415"/>
                  <a:pt x="257" y="416"/>
                  <a:pt x="256" y="416"/>
                </a:cubicBezTo>
                <a:cubicBezTo>
                  <a:pt x="254" y="416"/>
                  <a:pt x="253" y="415"/>
                  <a:pt x="252" y="415"/>
                </a:cubicBezTo>
                <a:cubicBezTo>
                  <a:pt x="250" y="414"/>
                  <a:pt x="249" y="414"/>
                  <a:pt x="248" y="413"/>
                </a:cubicBezTo>
                <a:cubicBezTo>
                  <a:pt x="163" y="327"/>
                  <a:pt x="163" y="327"/>
                  <a:pt x="163" y="327"/>
                </a:cubicBezTo>
                <a:cubicBezTo>
                  <a:pt x="159" y="323"/>
                  <a:pt x="159" y="316"/>
                  <a:pt x="163" y="312"/>
                </a:cubicBezTo>
                <a:cubicBezTo>
                  <a:pt x="167" y="308"/>
                  <a:pt x="174" y="308"/>
                  <a:pt x="178" y="312"/>
                </a:cubicBezTo>
                <a:cubicBezTo>
                  <a:pt x="245" y="379"/>
                  <a:pt x="245" y="379"/>
                  <a:pt x="245" y="379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50" y="96"/>
                  <a:pt x="256" y="96"/>
                </a:cubicBezTo>
                <a:cubicBezTo>
                  <a:pt x="262" y="96"/>
                  <a:pt x="266" y="100"/>
                  <a:pt x="266" y="106"/>
                </a:cubicBezTo>
                <a:cubicBezTo>
                  <a:pt x="266" y="379"/>
                  <a:pt x="266" y="379"/>
                  <a:pt x="266" y="379"/>
                </a:cubicBezTo>
                <a:cubicBezTo>
                  <a:pt x="333" y="312"/>
                  <a:pt x="333" y="312"/>
                  <a:pt x="333" y="312"/>
                </a:cubicBezTo>
                <a:cubicBezTo>
                  <a:pt x="338" y="308"/>
                  <a:pt x="344" y="308"/>
                  <a:pt x="349" y="312"/>
                </a:cubicBezTo>
                <a:cubicBezTo>
                  <a:pt x="353" y="316"/>
                  <a:pt x="353" y="323"/>
                  <a:pt x="349" y="32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4" name="Group 141"/>
          <p:cNvGrpSpPr>
            <a:grpSpLocks noChangeAspect="1"/>
          </p:cNvGrpSpPr>
          <p:nvPr/>
        </p:nvGrpSpPr>
        <p:grpSpPr bwMode="auto">
          <a:xfrm>
            <a:off x="7891381" y="2042609"/>
            <a:ext cx="369236" cy="368152"/>
            <a:chOff x="3478" y="1502"/>
            <a:chExt cx="341" cy="340"/>
          </a:xfrm>
          <a:solidFill>
            <a:schemeClr val="accent2"/>
          </a:solidFill>
        </p:grpSpPr>
        <p:sp>
          <p:nvSpPr>
            <p:cNvPr id="275" name="Freeform 142"/>
            <p:cNvSpPr>
              <a:spLocks/>
            </p:cNvSpPr>
            <p:nvPr/>
          </p:nvSpPr>
          <p:spPr bwMode="auto">
            <a:xfrm>
              <a:off x="3584" y="1566"/>
              <a:ext cx="129" cy="212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143"/>
            <p:cNvSpPr>
              <a:spLocks noEditPoints="1"/>
            </p:cNvSpPr>
            <p:nvPr/>
          </p:nvSpPr>
          <p:spPr bwMode="auto">
            <a:xfrm>
              <a:off x="3478" y="1502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174"/>
          <p:cNvSpPr>
            <a:spLocks noChangeAspect="1" noEditPoints="1"/>
          </p:cNvSpPr>
          <p:nvPr/>
        </p:nvSpPr>
        <p:spPr bwMode="auto">
          <a:xfrm>
            <a:off x="6411320" y="2042608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4 w 512"/>
              <a:gd name="T11" fmla="*/ 260 h 512"/>
              <a:gd name="T12" fmla="*/ 402 w 512"/>
              <a:gd name="T13" fmla="*/ 263 h 512"/>
              <a:gd name="T14" fmla="*/ 370 w 512"/>
              <a:gd name="T15" fmla="*/ 295 h 512"/>
              <a:gd name="T16" fmla="*/ 362 w 512"/>
              <a:gd name="T17" fmla="*/ 298 h 512"/>
              <a:gd name="T18" fmla="*/ 355 w 512"/>
              <a:gd name="T19" fmla="*/ 295 h 512"/>
              <a:gd name="T20" fmla="*/ 355 w 512"/>
              <a:gd name="T21" fmla="*/ 280 h 512"/>
              <a:gd name="T22" fmla="*/ 369 w 512"/>
              <a:gd name="T23" fmla="*/ 266 h 512"/>
              <a:gd name="T24" fmla="*/ 341 w 512"/>
              <a:gd name="T25" fmla="*/ 266 h 512"/>
              <a:gd name="T26" fmla="*/ 309 w 512"/>
              <a:gd name="T27" fmla="*/ 234 h 512"/>
              <a:gd name="T28" fmla="*/ 309 w 512"/>
              <a:gd name="T29" fmla="*/ 170 h 512"/>
              <a:gd name="T30" fmla="*/ 298 w 512"/>
              <a:gd name="T31" fmla="*/ 160 h 512"/>
              <a:gd name="T32" fmla="*/ 288 w 512"/>
              <a:gd name="T33" fmla="*/ 170 h 512"/>
              <a:gd name="T34" fmla="*/ 288 w 512"/>
              <a:gd name="T35" fmla="*/ 341 h 512"/>
              <a:gd name="T36" fmla="*/ 256 w 512"/>
              <a:gd name="T37" fmla="*/ 373 h 512"/>
              <a:gd name="T38" fmla="*/ 224 w 512"/>
              <a:gd name="T39" fmla="*/ 341 h 512"/>
              <a:gd name="T40" fmla="*/ 224 w 512"/>
              <a:gd name="T41" fmla="*/ 256 h 512"/>
              <a:gd name="T42" fmla="*/ 224 w 512"/>
              <a:gd name="T43" fmla="*/ 170 h 512"/>
              <a:gd name="T44" fmla="*/ 213 w 512"/>
              <a:gd name="T45" fmla="*/ 160 h 512"/>
              <a:gd name="T46" fmla="*/ 202 w 512"/>
              <a:gd name="T47" fmla="*/ 170 h 512"/>
              <a:gd name="T48" fmla="*/ 202 w 512"/>
              <a:gd name="T49" fmla="*/ 341 h 512"/>
              <a:gd name="T50" fmla="*/ 170 w 512"/>
              <a:gd name="T51" fmla="*/ 373 h 512"/>
              <a:gd name="T52" fmla="*/ 138 w 512"/>
              <a:gd name="T53" fmla="*/ 341 h 512"/>
              <a:gd name="T54" fmla="*/ 138 w 512"/>
              <a:gd name="T55" fmla="*/ 277 h 512"/>
              <a:gd name="T56" fmla="*/ 128 w 512"/>
              <a:gd name="T57" fmla="*/ 266 h 512"/>
              <a:gd name="T58" fmla="*/ 117 w 512"/>
              <a:gd name="T59" fmla="*/ 256 h 512"/>
              <a:gd name="T60" fmla="*/ 128 w 512"/>
              <a:gd name="T61" fmla="*/ 245 h 512"/>
              <a:gd name="T62" fmla="*/ 160 w 512"/>
              <a:gd name="T63" fmla="*/ 277 h 512"/>
              <a:gd name="T64" fmla="*/ 160 w 512"/>
              <a:gd name="T65" fmla="*/ 341 h 512"/>
              <a:gd name="T66" fmla="*/ 170 w 512"/>
              <a:gd name="T67" fmla="*/ 352 h 512"/>
              <a:gd name="T68" fmla="*/ 181 w 512"/>
              <a:gd name="T69" fmla="*/ 341 h 512"/>
              <a:gd name="T70" fmla="*/ 181 w 512"/>
              <a:gd name="T71" fmla="*/ 170 h 512"/>
              <a:gd name="T72" fmla="*/ 213 w 512"/>
              <a:gd name="T73" fmla="*/ 138 h 512"/>
              <a:gd name="T74" fmla="*/ 245 w 512"/>
              <a:gd name="T75" fmla="*/ 170 h 512"/>
              <a:gd name="T76" fmla="*/ 245 w 512"/>
              <a:gd name="T77" fmla="*/ 256 h 512"/>
              <a:gd name="T78" fmla="*/ 245 w 512"/>
              <a:gd name="T79" fmla="*/ 341 h 512"/>
              <a:gd name="T80" fmla="*/ 256 w 512"/>
              <a:gd name="T81" fmla="*/ 352 h 512"/>
              <a:gd name="T82" fmla="*/ 266 w 512"/>
              <a:gd name="T83" fmla="*/ 341 h 512"/>
              <a:gd name="T84" fmla="*/ 266 w 512"/>
              <a:gd name="T85" fmla="*/ 170 h 512"/>
              <a:gd name="T86" fmla="*/ 298 w 512"/>
              <a:gd name="T87" fmla="*/ 138 h 512"/>
              <a:gd name="T88" fmla="*/ 330 w 512"/>
              <a:gd name="T89" fmla="*/ 170 h 512"/>
              <a:gd name="T90" fmla="*/ 330 w 512"/>
              <a:gd name="T91" fmla="*/ 234 h 512"/>
              <a:gd name="T92" fmla="*/ 341 w 512"/>
              <a:gd name="T93" fmla="*/ 245 h 512"/>
              <a:gd name="T94" fmla="*/ 369 w 512"/>
              <a:gd name="T95" fmla="*/ 245 h 512"/>
              <a:gd name="T96" fmla="*/ 355 w 512"/>
              <a:gd name="T97" fmla="*/ 231 h 512"/>
              <a:gd name="T98" fmla="*/ 355 w 512"/>
              <a:gd name="T99" fmla="*/ 216 h 512"/>
              <a:gd name="T100" fmla="*/ 370 w 512"/>
              <a:gd name="T101" fmla="*/ 216 h 512"/>
              <a:gd name="T102" fmla="*/ 402 w 512"/>
              <a:gd name="T103" fmla="*/ 248 h 512"/>
              <a:gd name="T104" fmla="*/ 404 w 512"/>
              <a:gd name="T105" fmla="*/ 252 h 512"/>
              <a:gd name="T106" fmla="*/ 404 w 512"/>
              <a:gd name="T107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4" y="260"/>
                </a:moveTo>
                <a:cubicBezTo>
                  <a:pt x="404" y="261"/>
                  <a:pt x="403" y="262"/>
                  <a:pt x="402" y="263"/>
                </a:cubicBezTo>
                <a:cubicBezTo>
                  <a:pt x="370" y="295"/>
                  <a:pt x="370" y="295"/>
                  <a:pt x="370" y="295"/>
                </a:cubicBezTo>
                <a:cubicBezTo>
                  <a:pt x="368" y="297"/>
                  <a:pt x="365" y="298"/>
                  <a:pt x="362" y="298"/>
                </a:cubicBezTo>
                <a:cubicBezTo>
                  <a:pt x="360" y="298"/>
                  <a:pt x="357" y="297"/>
                  <a:pt x="355" y="295"/>
                </a:cubicBezTo>
                <a:cubicBezTo>
                  <a:pt x="351" y="291"/>
                  <a:pt x="351" y="284"/>
                  <a:pt x="355" y="280"/>
                </a:cubicBezTo>
                <a:cubicBezTo>
                  <a:pt x="369" y="266"/>
                  <a:pt x="369" y="266"/>
                  <a:pt x="369" y="266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323" y="266"/>
                  <a:pt x="309" y="252"/>
                  <a:pt x="309" y="234"/>
                </a:cubicBezTo>
                <a:cubicBezTo>
                  <a:pt x="309" y="170"/>
                  <a:pt x="309" y="170"/>
                  <a:pt x="309" y="170"/>
                </a:cubicBezTo>
                <a:cubicBezTo>
                  <a:pt x="309" y="164"/>
                  <a:pt x="304" y="160"/>
                  <a:pt x="298" y="160"/>
                </a:cubicBezTo>
                <a:cubicBezTo>
                  <a:pt x="292" y="160"/>
                  <a:pt x="288" y="164"/>
                  <a:pt x="288" y="170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59"/>
                  <a:pt x="273" y="373"/>
                  <a:pt x="256" y="373"/>
                </a:cubicBezTo>
                <a:cubicBezTo>
                  <a:pt x="238" y="373"/>
                  <a:pt x="224" y="359"/>
                  <a:pt x="224" y="341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24" y="164"/>
                  <a:pt x="219" y="160"/>
                  <a:pt x="213" y="160"/>
                </a:cubicBezTo>
                <a:cubicBezTo>
                  <a:pt x="207" y="160"/>
                  <a:pt x="202" y="164"/>
                  <a:pt x="202" y="170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59"/>
                  <a:pt x="188" y="373"/>
                  <a:pt x="170" y="373"/>
                </a:cubicBezTo>
                <a:cubicBezTo>
                  <a:pt x="153" y="373"/>
                  <a:pt x="138" y="359"/>
                  <a:pt x="138" y="341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38" y="271"/>
                  <a:pt x="134" y="266"/>
                  <a:pt x="128" y="266"/>
                </a:cubicBezTo>
                <a:cubicBezTo>
                  <a:pt x="122" y="266"/>
                  <a:pt x="117" y="262"/>
                  <a:pt x="117" y="256"/>
                </a:cubicBezTo>
                <a:cubicBezTo>
                  <a:pt x="117" y="250"/>
                  <a:pt x="122" y="245"/>
                  <a:pt x="128" y="245"/>
                </a:cubicBezTo>
                <a:cubicBezTo>
                  <a:pt x="145" y="245"/>
                  <a:pt x="160" y="259"/>
                  <a:pt x="160" y="277"/>
                </a:cubicBezTo>
                <a:cubicBezTo>
                  <a:pt x="160" y="341"/>
                  <a:pt x="160" y="341"/>
                  <a:pt x="160" y="341"/>
                </a:cubicBezTo>
                <a:cubicBezTo>
                  <a:pt x="160" y="347"/>
                  <a:pt x="164" y="352"/>
                  <a:pt x="170" y="352"/>
                </a:cubicBezTo>
                <a:cubicBezTo>
                  <a:pt x="176" y="352"/>
                  <a:pt x="181" y="347"/>
                  <a:pt x="181" y="341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81" y="153"/>
                  <a:pt x="195" y="138"/>
                  <a:pt x="213" y="138"/>
                </a:cubicBezTo>
                <a:cubicBezTo>
                  <a:pt x="231" y="138"/>
                  <a:pt x="245" y="153"/>
                  <a:pt x="245" y="170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50" y="352"/>
                  <a:pt x="256" y="352"/>
                </a:cubicBezTo>
                <a:cubicBezTo>
                  <a:pt x="262" y="352"/>
                  <a:pt x="266" y="347"/>
                  <a:pt x="266" y="341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66" y="153"/>
                  <a:pt x="281" y="138"/>
                  <a:pt x="298" y="138"/>
                </a:cubicBezTo>
                <a:cubicBezTo>
                  <a:pt x="316" y="138"/>
                  <a:pt x="330" y="153"/>
                  <a:pt x="330" y="170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0" y="240"/>
                  <a:pt x="335" y="245"/>
                  <a:pt x="341" y="245"/>
                </a:cubicBezTo>
                <a:cubicBezTo>
                  <a:pt x="369" y="245"/>
                  <a:pt x="369" y="245"/>
                  <a:pt x="369" y="245"/>
                </a:cubicBezTo>
                <a:cubicBezTo>
                  <a:pt x="355" y="231"/>
                  <a:pt x="355" y="231"/>
                  <a:pt x="355" y="231"/>
                </a:cubicBezTo>
                <a:cubicBezTo>
                  <a:pt x="351" y="227"/>
                  <a:pt x="351" y="220"/>
                  <a:pt x="355" y="216"/>
                </a:cubicBezTo>
                <a:cubicBezTo>
                  <a:pt x="359" y="212"/>
                  <a:pt x="366" y="212"/>
                  <a:pt x="370" y="216"/>
                </a:cubicBezTo>
                <a:cubicBezTo>
                  <a:pt x="402" y="248"/>
                  <a:pt x="402" y="248"/>
                  <a:pt x="402" y="248"/>
                </a:cubicBezTo>
                <a:cubicBezTo>
                  <a:pt x="403" y="249"/>
                  <a:pt x="404" y="250"/>
                  <a:pt x="404" y="252"/>
                </a:cubicBezTo>
                <a:cubicBezTo>
                  <a:pt x="405" y="254"/>
                  <a:pt x="405" y="257"/>
                  <a:pt x="404" y="2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1" name="Freeform 183"/>
          <p:cNvSpPr>
            <a:spLocks noChangeAspect="1" noEditPoints="1"/>
          </p:cNvSpPr>
          <p:nvPr/>
        </p:nvSpPr>
        <p:spPr bwMode="auto">
          <a:xfrm>
            <a:off x="5415390" y="2042608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30 w 512"/>
              <a:gd name="T11" fmla="*/ 117 h 512"/>
              <a:gd name="T12" fmla="*/ 213 w 512"/>
              <a:gd name="T13" fmla="*/ 117 h 512"/>
              <a:gd name="T14" fmla="*/ 213 w 512"/>
              <a:gd name="T15" fmla="*/ 379 h 512"/>
              <a:gd name="T16" fmla="*/ 280 w 512"/>
              <a:gd name="T17" fmla="*/ 312 h 512"/>
              <a:gd name="T18" fmla="*/ 295 w 512"/>
              <a:gd name="T19" fmla="*/ 312 h 512"/>
              <a:gd name="T20" fmla="*/ 295 w 512"/>
              <a:gd name="T21" fmla="*/ 327 h 512"/>
              <a:gd name="T22" fmla="*/ 210 w 512"/>
              <a:gd name="T23" fmla="*/ 413 h 512"/>
              <a:gd name="T24" fmla="*/ 206 w 512"/>
              <a:gd name="T25" fmla="*/ 415 h 512"/>
              <a:gd name="T26" fmla="*/ 202 w 512"/>
              <a:gd name="T27" fmla="*/ 416 h 512"/>
              <a:gd name="T28" fmla="*/ 198 w 512"/>
              <a:gd name="T29" fmla="*/ 415 h 512"/>
              <a:gd name="T30" fmla="*/ 195 w 512"/>
              <a:gd name="T31" fmla="*/ 413 h 512"/>
              <a:gd name="T32" fmla="*/ 109 w 512"/>
              <a:gd name="T33" fmla="*/ 327 h 512"/>
              <a:gd name="T34" fmla="*/ 109 w 512"/>
              <a:gd name="T35" fmla="*/ 312 h 512"/>
              <a:gd name="T36" fmla="*/ 125 w 512"/>
              <a:gd name="T37" fmla="*/ 312 h 512"/>
              <a:gd name="T38" fmla="*/ 192 w 512"/>
              <a:gd name="T39" fmla="*/ 379 h 512"/>
              <a:gd name="T40" fmla="*/ 192 w 512"/>
              <a:gd name="T41" fmla="*/ 106 h 512"/>
              <a:gd name="T42" fmla="*/ 202 w 512"/>
              <a:gd name="T43" fmla="*/ 96 h 512"/>
              <a:gd name="T44" fmla="*/ 330 w 512"/>
              <a:gd name="T45" fmla="*/ 96 h 512"/>
              <a:gd name="T46" fmla="*/ 341 w 512"/>
              <a:gd name="T47" fmla="*/ 106 h 512"/>
              <a:gd name="T48" fmla="*/ 330 w 512"/>
              <a:gd name="T49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117"/>
                </a:moveTo>
                <a:cubicBezTo>
                  <a:pt x="213" y="117"/>
                  <a:pt x="213" y="117"/>
                  <a:pt x="213" y="117"/>
                </a:cubicBezTo>
                <a:cubicBezTo>
                  <a:pt x="213" y="379"/>
                  <a:pt x="213" y="379"/>
                  <a:pt x="213" y="379"/>
                </a:cubicBezTo>
                <a:cubicBezTo>
                  <a:pt x="280" y="312"/>
                  <a:pt x="280" y="312"/>
                  <a:pt x="280" y="312"/>
                </a:cubicBezTo>
                <a:cubicBezTo>
                  <a:pt x="284" y="308"/>
                  <a:pt x="291" y="308"/>
                  <a:pt x="295" y="312"/>
                </a:cubicBezTo>
                <a:cubicBezTo>
                  <a:pt x="299" y="316"/>
                  <a:pt x="299" y="323"/>
                  <a:pt x="295" y="327"/>
                </a:cubicBezTo>
                <a:cubicBezTo>
                  <a:pt x="210" y="413"/>
                  <a:pt x="210" y="413"/>
                  <a:pt x="210" y="413"/>
                </a:cubicBezTo>
                <a:cubicBezTo>
                  <a:pt x="209" y="414"/>
                  <a:pt x="208" y="414"/>
                  <a:pt x="206" y="415"/>
                </a:cubicBezTo>
                <a:cubicBezTo>
                  <a:pt x="205" y="415"/>
                  <a:pt x="204" y="416"/>
                  <a:pt x="202" y="416"/>
                </a:cubicBezTo>
                <a:cubicBezTo>
                  <a:pt x="201" y="416"/>
                  <a:pt x="200" y="415"/>
                  <a:pt x="198" y="415"/>
                </a:cubicBezTo>
                <a:cubicBezTo>
                  <a:pt x="197" y="414"/>
                  <a:pt x="196" y="414"/>
                  <a:pt x="195" y="413"/>
                </a:cubicBezTo>
                <a:cubicBezTo>
                  <a:pt x="109" y="327"/>
                  <a:pt x="109" y="327"/>
                  <a:pt x="109" y="327"/>
                </a:cubicBezTo>
                <a:cubicBezTo>
                  <a:pt x="105" y="323"/>
                  <a:pt x="105" y="316"/>
                  <a:pt x="109" y="312"/>
                </a:cubicBezTo>
                <a:cubicBezTo>
                  <a:pt x="114" y="308"/>
                  <a:pt x="120" y="308"/>
                  <a:pt x="125" y="312"/>
                </a:cubicBezTo>
                <a:cubicBezTo>
                  <a:pt x="192" y="379"/>
                  <a:pt x="192" y="379"/>
                  <a:pt x="192" y="379"/>
                </a:cubicBezTo>
                <a:cubicBezTo>
                  <a:pt x="192" y="106"/>
                  <a:pt x="192" y="106"/>
                  <a:pt x="192" y="106"/>
                </a:cubicBezTo>
                <a:cubicBezTo>
                  <a:pt x="192" y="100"/>
                  <a:pt x="196" y="96"/>
                  <a:pt x="202" y="96"/>
                </a:cubicBezTo>
                <a:cubicBezTo>
                  <a:pt x="330" y="96"/>
                  <a:pt x="330" y="96"/>
                  <a:pt x="330" y="96"/>
                </a:cubicBezTo>
                <a:cubicBezTo>
                  <a:pt x="336" y="96"/>
                  <a:pt x="341" y="100"/>
                  <a:pt x="341" y="106"/>
                </a:cubicBezTo>
                <a:cubicBezTo>
                  <a:pt x="341" y="112"/>
                  <a:pt x="336" y="117"/>
                  <a:pt x="330" y="1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2" name="Freeform 187"/>
          <p:cNvSpPr>
            <a:spLocks noChangeAspect="1" noEditPoints="1"/>
          </p:cNvSpPr>
          <p:nvPr/>
        </p:nvSpPr>
        <p:spPr bwMode="auto">
          <a:xfrm>
            <a:off x="5912814" y="2042608"/>
            <a:ext cx="369064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30 w 512"/>
              <a:gd name="T21" fmla="*/ 96 h 512"/>
              <a:gd name="T22" fmla="*/ 202 w 512"/>
              <a:gd name="T23" fmla="*/ 96 h 512"/>
              <a:gd name="T24" fmla="*/ 192 w 512"/>
              <a:gd name="T25" fmla="*/ 106 h 512"/>
              <a:gd name="T26" fmla="*/ 192 w 512"/>
              <a:gd name="T27" fmla="*/ 379 h 512"/>
              <a:gd name="T28" fmla="*/ 125 w 512"/>
              <a:gd name="T29" fmla="*/ 312 h 512"/>
              <a:gd name="T30" fmla="*/ 109 w 512"/>
              <a:gd name="T31" fmla="*/ 312 h 512"/>
              <a:gd name="T32" fmla="*/ 109 w 512"/>
              <a:gd name="T33" fmla="*/ 327 h 512"/>
              <a:gd name="T34" fmla="*/ 195 w 512"/>
              <a:gd name="T35" fmla="*/ 413 h 512"/>
              <a:gd name="T36" fmla="*/ 198 w 512"/>
              <a:gd name="T37" fmla="*/ 415 h 512"/>
              <a:gd name="T38" fmla="*/ 202 w 512"/>
              <a:gd name="T39" fmla="*/ 416 h 512"/>
              <a:gd name="T40" fmla="*/ 206 w 512"/>
              <a:gd name="T41" fmla="*/ 415 h 512"/>
              <a:gd name="T42" fmla="*/ 210 w 512"/>
              <a:gd name="T43" fmla="*/ 413 h 512"/>
              <a:gd name="T44" fmla="*/ 295 w 512"/>
              <a:gd name="T45" fmla="*/ 327 h 512"/>
              <a:gd name="T46" fmla="*/ 295 w 512"/>
              <a:gd name="T47" fmla="*/ 312 h 512"/>
              <a:gd name="T48" fmla="*/ 280 w 512"/>
              <a:gd name="T49" fmla="*/ 312 h 512"/>
              <a:gd name="T50" fmla="*/ 213 w 512"/>
              <a:gd name="T51" fmla="*/ 379 h 512"/>
              <a:gd name="T52" fmla="*/ 213 w 512"/>
              <a:gd name="T53" fmla="*/ 117 h 512"/>
              <a:gd name="T54" fmla="*/ 330 w 512"/>
              <a:gd name="T55" fmla="*/ 117 h 512"/>
              <a:gd name="T56" fmla="*/ 341 w 512"/>
              <a:gd name="T57" fmla="*/ 106 h 512"/>
              <a:gd name="T58" fmla="*/ 330 w 512"/>
              <a:gd name="T59" fmla="*/ 9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96"/>
                </a:moveTo>
                <a:cubicBezTo>
                  <a:pt x="202" y="96"/>
                  <a:pt x="202" y="96"/>
                  <a:pt x="202" y="96"/>
                </a:cubicBezTo>
                <a:cubicBezTo>
                  <a:pt x="196" y="96"/>
                  <a:pt x="192" y="100"/>
                  <a:pt x="192" y="106"/>
                </a:cubicBezTo>
                <a:cubicBezTo>
                  <a:pt x="192" y="379"/>
                  <a:pt x="192" y="379"/>
                  <a:pt x="192" y="379"/>
                </a:cubicBezTo>
                <a:cubicBezTo>
                  <a:pt x="125" y="312"/>
                  <a:pt x="125" y="312"/>
                  <a:pt x="125" y="312"/>
                </a:cubicBezTo>
                <a:cubicBezTo>
                  <a:pt x="120" y="308"/>
                  <a:pt x="114" y="308"/>
                  <a:pt x="109" y="312"/>
                </a:cubicBezTo>
                <a:cubicBezTo>
                  <a:pt x="105" y="316"/>
                  <a:pt x="105" y="323"/>
                  <a:pt x="109" y="327"/>
                </a:cubicBezTo>
                <a:cubicBezTo>
                  <a:pt x="195" y="413"/>
                  <a:pt x="195" y="413"/>
                  <a:pt x="195" y="413"/>
                </a:cubicBezTo>
                <a:cubicBezTo>
                  <a:pt x="196" y="414"/>
                  <a:pt x="197" y="414"/>
                  <a:pt x="198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4" y="416"/>
                  <a:pt x="205" y="415"/>
                  <a:pt x="206" y="415"/>
                </a:cubicBezTo>
                <a:cubicBezTo>
                  <a:pt x="208" y="414"/>
                  <a:pt x="209" y="414"/>
                  <a:pt x="210" y="413"/>
                </a:cubicBezTo>
                <a:cubicBezTo>
                  <a:pt x="295" y="327"/>
                  <a:pt x="295" y="327"/>
                  <a:pt x="295" y="327"/>
                </a:cubicBezTo>
                <a:cubicBezTo>
                  <a:pt x="299" y="323"/>
                  <a:pt x="299" y="316"/>
                  <a:pt x="295" y="312"/>
                </a:cubicBezTo>
                <a:cubicBezTo>
                  <a:pt x="291" y="308"/>
                  <a:pt x="284" y="308"/>
                  <a:pt x="280" y="312"/>
                </a:cubicBezTo>
                <a:cubicBezTo>
                  <a:pt x="213" y="379"/>
                  <a:pt x="213" y="379"/>
                  <a:pt x="213" y="379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36" y="117"/>
                  <a:pt x="341" y="112"/>
                  <a:pt x="341" y="106"/>
                </a:cubicBezTo>
                <a:cubicBezTo>
                  <a:pt x="341" y="100"/>
                  <a:pt x="336" y="96"/>
                  <a:pt x="330" y="9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3" name="Freeform 282"/>
          <p:cNvSpPr>
            <a:spLocks noChangeAspect="1" noEditPoints="1"/>
          </p:cNvSpPr>
          <p:nvPr/>
        </p:nvSpPr>
        <p:spPr bwMode="auto">
          <a:xfrm>
            <a:off x="4419460" y="2042609"/>
            <a:ext cx="369064" cy="36906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30 w 512"/>
              <a:gd name="T11" fmla="*/ 416 h 512"/>
              <a:gd name="T12" fmla="*/ 202 w 512"/>
              <a:gd name="T13" fmla="*/ 416 h 512"/>
              <a:gd name="T14" fmla="*/ 192 w 512"/>
              <a:gd name="T15" fmla="*/ 405 h 512"/>
              <a:gd name="T16" fmla="*/ 192 w 512"/>
              <a:gd name="T17" fmla="*/ 132 h 512"/>
              <a:gd name="T18" fmla="*/ 125 w 512"/>
              <a:gd name="T19" fmla="*/ 199 h 512"/>
              <a:gd name="T20" fmla="*/ 117 w 512"/>
              <a:gd name="T21" fmla="*/ 202 h 512"/>
              <a:gd name="T22" fmla="*/ 109 w 512"/>
              <a:gd name="T23" fmla="*/ 199 h 512"/>
              <a:gd name="T24" fmla="*/ 109 w 512"/>
              <a:gd name="T25" fmla="*/ 184 h 512"/>
              <a:gd name="T26" fmla="*/ 195 w 512"/>
              <a:gd name="T27" fmla="*/ 99 h 512"/>
              <a:gd name="T28" fmla="*/ 198 w 512"/>
              <a:gd name="T29" fmla="*/ 96 h 512"/>
              <a:gd name="T30" fmla="*/ 206 w 512"/>
              <a:gd name="T31" fmla="*/ 96 h 512"/>
              <a:gd name="T32" fmla="*/ 210 w 512"/>
              <a:gd name="T33" fmla="*/ 99 h 512"/>
              <a:gd name="T34" fmla="*/ 295 w 512"/>
              <a:gd name="T35" fmla="*/ 184 h 512"/>
              <a:gd name="T36" fmla="*/ 295 w 512"/>
              <a:gd name="T37" fmla="*/ 199 h 512"/>
              <a:gd name="T38" fmla="*/ 288 w 512"/>
              <a:gd name="T39" fmla="*/ 202 h 512"/>
              <a:gd name="T40" fmla="*/ 280 w 512"/>
              <a:gd name="T41" fmla="*/ 199 h 512"/>
              <a:gd name="T42" fmla="*/ 213 w 512"/>
              <a:gd name="T43" fmla="*/ 132 h 512"/>
              <a:gd name="T44" fmla="*/ 213 w 512"/>
              <a:gd name="T45" fmla="*/ 394 h 512"/>
              <a:gd name="T46" fmla="*/ 330 w 512"/>
              <a:gd name="T47" fmla="*/ 394 h 512"/>
              <a:gd name="T48" fmla="*/ 341 w 512"/>
              <a:gd name="T49" fmla="*/ 405 h 512"/>
              <a:gd name="T50" fmla="*/ 330 w 512"/>
              <a:gd name="T5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416"/>
                </a:move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132"/>
                  <a:pt x="192" y="132"/>
                  <a:pt x="192" y="132"/>
                </a:cubicBezTo>
                <a:cubicBezTo>
                  <a:pt x="125" y="199"/>
                  <a:pt x="125" y="199"/>
                  <a:pt x="125" y="199"/>
                </a:cubicBezTo>
                <a:cubicBezTo>
                  <a:pt x="122" y="201"/>
                  <a:pt x="120" y="202"/>
                  <a:pt x="117" y="202"/>
                </a:cubicBezTo>
                <a:cubicBezTo>
                  <a:pt x="114" y="202"/>
                  <a:pt x="112" y="201"/>
                  <a:pt x="109" y="199"/>
                </a:cubicBezTo>
                <a:cubicBezTo>
                  <a:pt x="105" y="195"/>
                  <a:pt x="105" y="188"/>
                  <a:pt x="109" y="184"/>
                </a:cubicBezTo>
                <a:cubicBezTo>
                  <a:pt x="195" y="99"/>
                  <a:pt x="195" y="99"/>
                  <a:pt x="195" y="99"/>
                </a:cubicBezTo>
                <a:cubicBezTo>
                  <a:pt x="196" y="98"/>
                  <a:pt x="197" y="97"/>
                  <a:pt x="198" y="96"/>
                </a:cubicBezTo>
                <a:cubicBezTo>
                  <a:pt x="201" y="95"/>
                  <a:pt x="204" y="95"/>
                  <a:pt x="206" y="96"/>
                </a:cubicBezTo>
                <a:cubicBezTo>
                  <a:pt x="208" y="97"/>
                  <a:pt x="209" y="98"/>
                  <a:pt x="210" y="99"/>
                </a:cubicBezTo>
                <a:cubicBezTo>
                  <a:pt x="295" y="184"/>
                  <a:pt x="295" y="184"/>
                  <a:pt x="295" y="184"/>
                </a:cubicBezTo>
                <a:cubicBezTo>
                  <a:pt x="299" y="188"/>
                  <a:pt x="299" y="195"/>
                  <a:pt x="295" y="199"/>
                </a:cubicBezTo>
                <a:cubicBezTo>
                  <a:pt x="293" y="201"/>
                  <a:pt x="290" y="202"/>
                  <a:pt x="288" y="202"/>
                </a:cubicBezTo>
                <a:cubicBezTo>
                  <a:pt x="285" y="202"/>
                  <a:pt x="282" y="201"/>
                  <a:pt x="280" y="199"/>
                </a:cubicBezTo>
                <a:cubicBezTo>
                  <a:pt x="213" y="132"/>
                  <a:pt x="213" y="132"/>
                  <a:pt x="213" y="132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336" y="394"/>
                  <a:pt x="341" y="399"/>
                  <a:pt x="341" y="405"/>
                </a:cubicBezTo>
                <a:cubicBezTo>
                  <a:pt x="341" y="411"/>
                  <a:pt x="336" y="416"/>
                  <a:pt x="330" y="41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4" name="Freeform 195"/>
          <p:cNvSpPr>
            <a:spLocks noChangeAspect="1" noEditPoints="1"/>
          </p:cNvSpPr>
          <p:nvPr/>
        </p:nvSpPr>
        <p:spPr bwMode="auto">
          <a:xfrm>
            <a:off x="4917966" y="2042608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30 w 512"/>
              <a:gd name="T21" fmla="*/ 394 h 512"/>
              <a:gd name="T22" fmla="*/ 213 w 512"/>
              <a:gd name="T23" fmla="*/ 394 h 512"/>
              <a:gd name="T24" fmla="*/ 213 w 512"/>
              <a:gd name="T25" fmla="*/ 132 h 512"/>
              <a:gd name="T26" fmla="*/ 280 w 512"/>
              <a:gd name="T27" fmla="*/ 199 h 512"/>
              <a:gd name="T28" fmla="*/ 288 w 512"/>
              <a:gd name="T29" fmla="*/ 202 h 512"/>
              <a:gd name="T30" fmla="*/ 295 w 512"/>
              <a:gd name="T31" fmla="*/ 199 h 512"/>
              <a:gd name="T32" fmla="*/ 295 w 512"/>
              <a:gd name="T33" fmla="*/ 184 h 512"/>
              <a:gd name="T34" fmla="*/ 210 w 512"/>
              <a:gd name="T35" fmla="*/ 99 h 512"/>
              <a:gd name="T36" fmla="*/ 206 w 512"/>
              <a:gd name="T37" fmla="*/ 96 h 512"/>
              <a:gd name="T38" fmla="*/ 198 w 512"/>
              <a:gd name="T39" fmla="*/ 96 h 512"/>
              <a:gd name="T40" fmla="*/ 195 w 512"/>
              <a:gd name="T41" fmla="*/ 99 h 512"/>
              <a:gd name="T42" fmla="*/ 109 w 512"/>
              <a:gd name="T43" fmla="*/ 184 h 512"/>
              <a:gd name="T44" fmla="*/ 109 w 512"/>
              <a:gd name="T45" fmla="*/ 199 h 512"/>
              <a:gd name="T46" fmla="*/ 117 w 512"/>
              <a:gd name="T47" fmla="*/ 202 h 512"/>
              <a:gd name="T48" fmla="*/ 125 w 512"/>
              <a:gd name="T49" fmla="*/ 199 h 512"/>
              <a:gd name="T50" fmla="*/ 192 w 512"/>
              <a:gd name="T51" fmla="*/ 132 h 512"/>
              <a:gd name="T52" fmla="*/ 192 w 512"/>
              <a:gd name="T53" fmla="*/ 405 h 512"/>
              <a:gd name="T54" fmla="*/ 202 w 512"/>
              <a:gd name="T55" fmla="*/ 416 h 512"/>
              <a:gd name="T56" fmla="*/ 330 w 512"/>
              <a:gd name="T57" fmla="*/ 416 h 512"/>
              <a:gd name="T58" fmla="*/ 341 w 512"/>
              <a:gd name="T59" fmla="*/ 405 h 512"/>
              <a:gd name="T60" fmla="*/ 330 w 512"/>
              <a:gd name="T61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394"/>
                </a:moveTo>
                <a:cubicBezTo>
                  <a:pt x="213" y="394"/>
                  <a:pt x="213" y="394"/>
                  <a:pt x="213" y="394"/>
                </a:cubicBezTo>
                <a:cubicBezTo>
                  <a:pt x="213" y="132"/>
                  <a:pt x="213" y="132"/>
                  <a:pt x="213" y="132"/>
                </a:cubicBezTo>
                <a:cubicBezTo>
                  <a:pt x="280" y="199"/>
                  <a:pt x="280" y="199"/>
                  <a:pt x="280" y="199"/>
                </a:cubicBezTo>
                <a:cubicBezTo>
                  <a:pt x="282" y="201"/>
                  <a:pt x="285" y="202"/>
                  <a:pt x="288" y="202"/>
                </a:cubicBezTo>
                <a:cubicBezTo>
                  <a:pt x="290" y="202"/>
                  <a:pt x="293" y="201"/>
                  <a:pt x="295" y="199"/>
                </a:cubicBezTo>
                <a:cubicBezTo>
                  <a:pt x="299" y="195"/>
                  <a:pt x="299" y="188"/>
                  <a:pt x="295" y="184"/>
                </a:cubicBezTo>
                <a:cubicBezTo>
                  <a:pt x="210" y="99"/>
                  <a:pt x="210" y="99"/>
                  <a:pt x="210" y="99"/>
                </a:cubicBezTo>
                <a:cubicBezTo>
                  <a:pt x="209" y="98"/>
                  <a:pt x="208" y="97"/>
                  <a:pt x="206" y="96"/>
                </a:cubicBezTo>
                <a:cubicBezTo>
                  <a:pt x="204" y="95"/>
                  <a:pt x="201" y="95"/>
                  <a:pt x="198" y="96"/>
                </a:cubicBezTo>
                <a:cubicBezTo>
                  <a:pt x="197" y="97"/>
                  <a:pt x="196" y="98"/>
                  <a:pt x="195" y="99"/>
                </a:cubicBezTo>
                <a:cubicBezTo>
                  <a:pt x="109" y="184"/>
                  <a:pt x="109" y="184"/>
                  <a:pt x="109" y="184"/>
                </a:cubicBezTo>
                <a:cubicBezTo>
                  <a:pt x="105" y="188"/>
                  <a:pt x="105" y="195"/>
                  <a:pt x="109" y="199"/>
                </a:cubicBezTo>
                <a:cubicBezTo>
                  <a:pt x="112" y="201"/>
                  <a:pt x="114" y="202"/>
                  <a:pt x="117" y="202"/>
                </a:cubicBezTo>
                <a:cubicBezTo>
                  <a:pt x="120" y="202"/>
                  <a:pt x="122" y="201"/>
                  <a:pt x="125" y="199"/>
                </a:cubicBezTo>
                <a:cubicBezTo>
                  <a:pt x="192" y="132"/>
                  <a:pt x="192" y="132"/>
                  <a:pt x="192" y="132"/>
                </a:cubicBezTo>
                <a:cubicBezTo>
                  <a:pt x="192" y="405"/>
                  <a:pt x="192" y="405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6" y="416"/>
                  <a:pt x="341" y="411"/>
                  <a:pt x="341" y="405"/>
                </a:cubicBezTo>
                <a:cubicBezTo>
                  <a:pt x="341" y="399"/>
                  <a:pt x="336" y="394"/>
                  <a:pt x="330" y="39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5" name="Freeform 199"/>
          <p:cNvSpPr>
            <a:spLocks noChangeAspect="1" noEditPoints="1"/>
          </p:cNvSpPr>
          <p:nvPr/>
        </p:nvSpPr>
        <p:spPr bwMode="auto">
          <a:xfrm>
            <a:off x="3424612" y="2042608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60 h 512"/>
              <a:gd name="T12" fmla="*/ 413 w 512"/>
              <a:gd name="T13" fmla="*/ 263 h 512"/>
              <a:gd name="T14" fmla="*/ 327 w 512"/>
              <a:gd name="T15" fmla="*/ 349 h 512"/>
              <a:gd name="T16" fmla="*/ 320 w 512"/>
              <a:gd name="T17" fmla="*/ 352 h 512"/>
              <a:gd name="T18" fmla="*/ 312 w 512"/>
              <a:gd name="T19" fmla="*/ 349 h 512"/>
              <a:gd name="T20" fmla="*/ 312 w 512"/>
              <a:gd name="T21" fmla="*/ 333 h 512"/>
              <a:gd name="T22" fmla="*/ 379 w 512"/>
              <a:gd name="T23" fmla="*/ 266 h 512"/>
              <a:gd name="T24" fmla="*/ 132 w 512"/>
              <a:gd name="T25" fmla="*/ 266 h 512"/>
              <a:gd name="T26" fmla="*/ 199 w 512"/>
              <a:gd name="T27" fmla="*/ 333 h 512"/>
              <a:gd name="T28" fmla="*/ 199 w 512"/>
              <a:gd name="T29" fmla="*/ 349 h 512"/>
              <a:gd name="T30" fmla="*/ 184 w 512"/>
              <a:gd name="T31" fmla="*/ 349 h 512"/>
              <a:gd name="T32" fmla="*/ 99 w 512"/>
              <a:gd name="T33" fmla="*/ 263 h 512"/>
              <a:gd name="T34" fmla="*/ 96 w 512"/>
              <a:gd name="T35" fmla="*/ 260 h 512"/>
              <a:gd name="T36" fmla="*/ 96 w 512"/>
              <a:gd name="T37" fmla="*/ 252 h 512"/>
              <a:gd name="T38" fmla="*/ 99 w 512"/>
              <a:gd name="T39" fmla="*/ 248 h 512"/>
              <a:gd name="T40" fmla="*/ 184 w 512"/>
              <a:gd name="T41" fmla="*/ 163 h 512"/>
              <a:gd name="T42" fmla="*/ 192 w 512"/>
              <a:gd name="T43" fmla="*/ 160 h 512"/>
              <a:gd name="T44" fmla="*/ 199 w 512"/>
              <a:gd name="T45" fmla="*/ 163 h 512"/>
              <a:gd name="T46" fmla="*/ 199 w 512"/>
              <a:gd name="T47" fmla="*/ 178 h 512"/>
              <a:gd name="T48" fmla="*/ 132 w 512"/>
              <a:gd name="T49" fmla="*/ 245 h 512"/>
              <a:gd name="T50" fmla="*/ 379 w 512"/>
              <a:gd name="T51" fmla="*/ 245 h 512"/>
              <a:gd name="T52" fmla="*/ 312 w 512"/>
              <a:gd name="T53" fmla="*/ 178 h 512"/>
              <a:gd name="T54" fmla="*/ 312 w 512"/>
              <a:gd name="T55" fmla="*/ 163 h 512"/>
              <a:gd name="T56" fmla="*/ 327 w 512"/>
              <a:gd name="T57" fmla="*/ 163 h 512"/>
              <a:gd name="T58" fmla="*/ 413 w 512"/>
              <a:gd name="T59" fmla="*/ 248 h 512"/>
              <a:gd name="T60" fmla="*/ 415 w 512"/>
              <a:gd name="T61" fmla="*/ 252 h 512"/>
              <a:gd name="T62" fmla="*/ 415 w 512"/>
              <a:gd name="T63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0"/>
                </a:moveTo>
                <a:cubicBezTo>
                  <a:pt x="414" y="261"/>
                  <a:pt x="414" y="262"/>
                  <a:pt x="413" y="263"/>
                </a:cubicBezTo>
                <a:cubicBezTo>
                  <a:pt x="327" y="349"/>
                  <a:pt x="327" y="349"/>
                  <a:pt x="327" y="349"/>
                </a:cubicBezTo>
                <a:cubicBezTo>
                  <a:pt x="325" y="351"/>
                  <a:pt x="322" y="352"/>
                  <a:pt x="320" y="352"/>
                </a:cubicBezTo>
                <a:cubicBezTo>
                  <a:pt x="317" y="352"/>
                  <a:pt x="314" y="351"/>
                  <a:pt x="312" y="349"/>
                </a:cubicBezTo>
                <a:cubicBezTo>
                  <a:pt x="308" y="344"/>
                  <a:pt x="308" y="338"/>
                  <a:pt x="312" y="333"/>
                </a:cubicBezTo>
                <a:cubicBezTo>
                  <a:pt x="379" y="266"/>
                  <a:pt x="379" y="266"/>
                  <a:pt x="379" y="266"/>
                </a:cubicBezTo>
                <a:cubicBezTo>
                  <a:pt x="132" y="266"/>
                  <a:pt x="132" y="266"/>
                  <a:pt x="132" y="266"/>
                </a:cubicBezTo>
                <a:cubicBezTo>
                  <a:pt x="199" y="333"/>
                  <a:pt x="199" y="333"/>
                  <a:pt x="199" y="333"/>
                </a:cubicBezTo>
                <a:cubicBezTo>
                  <a:pt x="203" y="338"/>
                  <a:pt x="203" y="344"/>
                  <a:pt x="199" y="349"/>
                </a:cubicBezTo>
                <a:cubicBezTo>
                  <a:pt x="195" y="353"/>
                  <a:pt x="188" y="353"/>
                  <a:pt x="184" y="349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8" y="262"/>
                  <a:pt x="97" y="261"/>
                  <a:pt x="96" y="260"/>
                </a:cubicBezTo>
                <a:cubicBezTo>
                  <a:pt x="95" y="257"/>
                  <a:pt x="95" y="254"/>
                  <a:pt x="96" y="252"/>
                </a:cubicBezTo>
                <a:cubicBezTo>
                  <a:pt x="97" y="250"/>
                  <a:pt x="98" y="249"/>
                  <a:pt x="99" y="248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186" y="161"/>
                  <a:pt x="189" y="160"/>
                  <a:pt x="192" y="160"/>
                </a:cubicBezTo>
                <a:cubicBezTo>
                  <a:pt x="194" y="160"/>
                  <a:pt x="197" y="161"/>
                  <a:pt x="199" y="163"/>
                </a:cubicBezTo>
                <a:cubicBezTo>
                  <a:pt x="203" y="167"/>
                  <a:pt x="203" y="174"/>
                  <a:pt x="199" y="178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312" y="178"/>
                  <a:pt x="312" y="178"/>
                  <a:pt x="312" y="178"/>
                </a:cubicBezTo>
                <a:cubicBezTo>
                  <a:pt x="308" y="174"/>
                  <a:pt x="308" y="167"/>
                  <a:pt x="312" y="163"/>
                </a:cubicBezTo>
                <a:cubicBezTo>
                  <a:pt x="316" y="159"/>
                  <a:pt x="323" y="159"/>
                  <a:pt x="327" y="163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4" y="249"/>
                  <a:pt x="414" y="250"/>
                  <a:pt x="415" y="252"/>
                </a:cubicBezTo>
                <a:cubicBezTo>
                  <a:pt x="416" y="254"/>
                  <a:pt x="416" y="257"/>
                  <a:pt x="415" y="2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6" name="Freeform 203"/>
          <p:cNvSpPr>
            <a:spLocks noChangeAspect="1" noEditPoints="1"/>
          </p:cNvSpPr>
          <p:nvPr/>
        </p:nvSpPr>
        <p:spPr bwMode="auto">
          <a:xfrm>
            <a:off x="3922036" y="2042608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79 w 512"/>
              <a:gd name="T21" fmla="*/ 266 h 512"/>
              <a:gd name="T22" fmla="*/ 312 w 512"/>
              <a:gd name="T23" fmla="*/ 333 h 512"/>
              <a:gd name="T24" fmla="*/ 312 w 512"/>
              <a:gd name="T25" fmla="*/ 349 h 512"/>
              <a:gd name="T26" fmla="*/ 320 w 512"/>
              <a:gd name="T27" fmla="*/ 352 h 512"/>
              <a:gd name="T28" fmla="*/ 327 w 512"/>
              <a:gd name="T29" fmla="*/ 349 h 512"/>
              <a:gd name="T30" fmla="*/ 413 w 512"/>
              <a:gd name="T31" fmla="*/ 263 h 512"/>
              <a:gd name="T32" fmla="*/ 415 w 512"/>
              <a:gd name="T33" fmla="*/ 260 h 512"/>
              <a:gd name="T34" fmla="*/ 415 w 512"/>
              <a:gd name="T35" fmla="*/ 252 h 512"/>
              <a:gd name="T36" fmla="*/ 413 w 512"/>
              <a:gd name="T37" fmla="*/ 248 h 512"/>
              <a:gd name="T38" fmla="*/ 327 w 512"/>
              <a:gd name="T39" fmla="*/ 163 h 512"/>
              <a:gd name="T40" fmla="*/ 312 w 512"/>
              <a:gd name="T41" fmla="*/ 163 h 512"/>
              <a:gd name="T42" fmla="*/ 312 w 512"/>
              <a:gd name="T43" fmla="*/ 178 h 512"/>
              <a:gd name="T44" fmla="*/ 379 w 512"/>
              <a:gd name="T45" fmla="*/ 245 h 512"/>
              <a:gd name="T46" fmla="*/ 132 w 512"/>
              <a:gd name="T47" fmla="*/ 245 h 512"/>
              <a:gd name="T48" fmla="*/ 199 w 512"/>
              <a:gd name="T49" fmla="*/ 178 h 512"/>
              <a:gd name="T50" fmla="*/ 199 w 512"/>
              <a:gd name="T51" fmla="*/ 163 h 512"/>
              <a:gd name="T52" fmla="*/ 192 w 512"/>
              <a:gd name="T53" fmla="*/ 160 h 512"/>
              <a:gd name="T54" fmla="*/ 184 w 512"/>
              <a:gd name="T55" fmla="*/ 163 h 512"/>
              <a:gd name="T56" fmla="*/ 99 w 512"/>
              <a:gd name="T57" fmla="*/ 248 h 512"/>
              <a:gd name="T58" fmla="*/ 96 w 512"/>
              <a:gd name="T59" fmla="*/ 252 h 512"/>
              <a:gd name="T60" fmla="*/ 96 w 512"/>
              <a:gd name="T61" fmla="*/ 260 h 512"/>
              <a:gd name="T62" fmla="*/ 99 w 512"/>
              <a:gd name="T63" fmla="*/ 263 h 512"/>
              <a:gd name="T64" fmla="*/ 184 w 512"/>
              <a:gd name="T65" fmla="*/ 349 h 512"/>
              <a:gd name="T66" fmla="*/ 199 w 512"/>
              <a:gd name="T67" fmla="*/ 349 h 512"/>
              <a:gd name="T68" fmla="*/ 199 w 512"/>
              <a:gd name="T69" fmla="*/ 333 h 512"/>
              <a:gd name="T70" fmla="*/ 132 w 512"/>
              <a:gd name="T71" fmla="*/ 266 h 512"/>
              <a:gd name="T72" fmla="*/ 379 w 512"/>
              <a:gd name="T7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9" y="266"/>
                </a:moveTo>
                <a:cubicBezTo>
                  <a:pt x="312" y="333"/>
                  <a:pt x="312" y="333"/>
                  <a:pt x="312" y="333"/>
                </a:cubicBezTo>
                <a:cubicBezTo>
                  <a:pt x="308" y="338"/>
                  <a:pt x="308" y="344"/>
                  <a:pt x="312" y="349"/>
                </a:cubicBezTo>
                <a:cubicBezTo>
                  <a:pt x="314" y="351"/>
                  <a:pt x="317" y="352"/>
                  <a:pt x="320" y="352"/>
                </a:cubicBezTo>
                <a:cubicBezTo>
                  <a:pt x="322" y="352"/>
                  <a:pt x="325" y="351"/>
                  <a:pt x="327" y="349"/>
                </a:cubicBezTo>
                <a:cubicBezTo>
                  <a:pt x="413" y="263"/>
                  <a:pt x="413" y="263"/>
                  <a:pt x="413" y="263"/>
                </a:cubicBezTo>
                <a:cubicBezTo>
                  <a:pt x="414" y="262"/>
                  <a:pt x="414" y="261"/>
                  <a:pt x="415" y="260"/>
                </a:cubicBezTo>
                <a:cubicBezTo>
                  <a:pt x="416" y="257"/>
                  <a:pt x="416" y="254"/>
                  <a:pt x="415" y="252"/>
                </a:cubicBezTo>
                <a:cubicBezTo>
                  <a:pt x="414" y="250"/>
                  <a:pt x="414" y="249"/>
                  <a:pt x="413" y="248"/>
                </a:cubicBezTo>
                <a:cubicBezTo>
                  <a:pt x="327" y="163"/>
                  <a:pt x="327" y="163"/>
                  <a:pt x="327" y="163"/>
                </a:cubicBezTo>
                <a:cubicBezTo>
                  <a:pt x="323" y="159"/>
                  <a:pt x="316" y="159"/>
                  <a:pt x="312" y="163"/>
                </a:cubicBezTo>
                <a:cubicBezTo>
                  <a:pt x="308" y="167"/>
                  <a:pt x="308" y="174"/>
                  <a:pt x="312" y="178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199" y="178"/>
                  <a:pt x="199" y="178"/>
                  <a:pt x="199" y="178"/>
                </a:cubicBezTo>
                <a:cubicBezTo>
                  <a:pt x="203" y="174"/>
                  <a:pt x="203" y="167"/>
                  <a:pt x="199" y="163"/>
                </a:cubicBezTo>
                <a:cubicBezTo>
                  <a:pt x="197" y="161"/>
                  <a:pt x="194" y="160"/>
                  <a:pt x="192" y="160"/>
                </a:cubicBezTo>
                <a:cubicBezTo>
                  <a:pt x="189" y="160"/>
                  <a:pt x="186" y="161"/>
                  <a:pt x="184" y="163"/>
                </a:cubicBezTo>
                <a:cubicBezTo>
                  <a:pt x="99" y="248"/>
                  <a:pt x="99" y="248"/>
                  <a:pt x="99" y="248"/>
                </a:cubicBezTo>
                <a:cubicBezTo>
                  <a:pt x="98" y="249"/>
                  <a:pt x="97" y="250"/>
                  <a:pt x="96" y="252"/>
                </a:cubicBezTo>
                <a:cubicBezTo>
                  <a:pt x="95" y="254"/>
                  <a:pt x="95" y="257"/>
                  <a:pt x="96" y="260"/>
                </a:cubicBezTo>
                <a:cubicBezTo>
                  <a:pt x="97" y="261"/>
                  <a:pt x="98" y="262"/>
                  <a:pt x="99" y="263"/>
                </a:cubicBezTo>
                <a:cubicBezTo>
                  <a:pt x="184" y="349"/>
                  <a:pt x="184" y="349"/>
                  <a:pt x="184" y="349"/>
                </a:cubicBezTo>
                <a:cubicBezTo>
                  <a:pt x="188" y="353"/>
                  <a:pt x="195" y="353"/>
                  <a:pt x="199" y="349"/>
                </a:cubicBezTo>
                <a:cubicBezTo>
                  <a:pt x="203" y="344"/>
                  <a:pt x="203" y="338"/>
                  <a:pt x="199" y="333"/>
                </a:cubicBezTo>
                <a:cubicBezTo>
                  <a:pt x="132" y="266"/>
                  <a:pt x="132" y="266"/>
                  <a:pt x="132" y="266"/>
                </a:cubicBezTo>
                <a:lnTo>
                  <a:pt x="379" y="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7" name="Freeform 207"/>
          <p:cNvSpPr>
            <a:spLocks noChangeAspect="1" noEditPoints="1"/>
          </p:cNvSpPr>
          <p:nvPr/>
        </p:nvSpPr>
        <p:spPr bwMode="auto">
          <a:xfrm>
            <a:off x="2428682" y="2042608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266 h 512"/>
              <a:gd name="T12" fmla="*/ 132 w 512"/>
              <a:gd name="T13" fmla="*/ 266 h 512"/>
              <a:gd name="T14" fmla="*/ 199 w 512"/>
              <a:gd name="T15" fmla="*/ 333 h 512"/>
              <a:gd name="T16" fmla="*/ 199 w 512"/>
              <a:gd name="T17" fmla="*/ 349 h 512"/>
              <a:gd name="T18" fmla="*/ 192 w 512"/>
              <a:gd name="T19" fmla="*/ 352 h 512"/>
              <a:gd name="T20" fmla="*/ 184 w 512"/>
              <a:gd name="T21" fmla="*/ 349 h 512"/>
              <a:gd name="T22" fmla="*/ 99 w 512"/>
              <a:gd name="T23" fmla="*/ 263 h 512"/>
              <a:gd name="T24" fmla="*/ 96 w 512"/>
              <a:gd name="T25" fmla="*/ 260 h 512"/>
              <a:gd name="T26" fmla="*/ 96 w 512"/>
              <a:gd name="T27" fmla="*/ 252 h 512"/>
              <a:gd name="T28" fmla="*/ 99 w 512"/>
              <a:gd name="T29" fmla="*/ 248 h 512"/>
              <a:gd name="T30" fmla="*/ 184 w 512"/>
              <a:gd name="T31" fmla="*/ 163 h 512"/>
              <a:gd name="T32" fmla="*/ 199 w 512"/>
              <a:gd name="T33" fmla="*/ 163 h 512"/>
              <a:gd name="T34" fmla="*/ 199 w 512"/>
              <a:gd name="T35" fmla="*/ 178 h 512"/>
              <a:gd name="T36" fmla="*/ 132 w 512"/>
              <a:gd name="T37" fmla="*/ 245 h 512"/>
              <a:gd name="T38" fmla="*/ 405 w 512"/>
              <a:gd name="T39" fmla="*/ 245 h 512"/>
              <a:gd name="T40" fmla="*/ 416 w 512"/>
              <a:gd name="T41" fmla="*/ 256 h 512"/>
              <a:gd name="T42" fmla="*/ 405 w 512"/>
              <a:gd name="T4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66"/>
                </a:moveTo>
                <a:cubicBezTo>
                  <a:pt x="132" y="266"/>
                  <a:pt x="132" y="266"/>
                  <a:pt x="132" y="266"/>
                </a:cubicBezTo>
                <a:cubicBezTo>
                  <a:pt x="199" y="333"/>
                  <a:pt x="199" y="333"/>
                  <a:pt x="199" y="333"/>
                </a:cubicBezTo>
                <a:cubicBezTo>
                  <a:pt x="203" y="338"/>
                  <a:pt x="203" y="344"/>
                  <a:pt x="199" y="349"/>
                </a:cubicBezTo>
                <a:cubicBezTo>
                  <a:pt x="197" y="351"/>
                  <a:pt x="194" y="352"/>
                  <a:pt x="192" y="352"/>
                </a:cubicBezTo>
                <a:cubicBezTo>
                  <a:pt x="189" y="352"/>
                  <a:pt x="186" y="351"/>
                  <a:pt x="184" y="349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8" y="262"/>
                  <a:pt x="97" y="261"/>
                  <a:pt x="96" y="260"/>
                </a:cubicBezTo>
                <a:cubicBezTo>
                  <a:pt x="95" y="257"/>
                  <a:pt x="95" y="254"/>
                  <a:pt x="96" y="252"/>
                </a:cubicBezTo>
                <a:cubicBezTo>
                  <a:pt x="97" y="250"/>
                  <a:pt x="98" y="249"/>
                  <a:pt x="99" y="248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188" y="159"/>
                  <a:pt x="195" y="159"/>
                  <a:pt x="199" y="163"/>
                </a:cubicBezTo>
                <a:cubicBezTo>
                  <a:pt x="203" y="167"/>
                  <a:pt x="203" y="174"/>
                  <a:pt x="199" y="178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8" name="Group 287"/>
          <p:cNvGrpSpPr>
            <a:grpSpLocks noChangeAspect="1"/>
          </p:cNvGrpSpPr>
          <p:nvPr/>
        </p:nvGrpSpPr>
        <p:grpSpPr bwMode="auto">
          <a:xfrm>
            <a:off x="2926106" y="2042608"/>
            <a:ext cx="369064" cy="367982"/>
            <a:chOff x="4186" y="1669"/>
            <a:chExt cx="341" cy="340"/>
          </a:xfrm>
          <a:solidFill>
            <a:schemeClr val="accent2"/>
          </a:solidFill>
        </p:grpSpPr>
        <p:sp>
          <p:nvSpPr>
            <p:cNvPr id="289" name="Freeform 211"/>
            <p:cNvSpPr>
              <a:spLocks/>
            </p:cNvSpPr>
            <p:nvPr/>
          </p:nvSpPr>
          <p:spPr bwMode="auto">
            <a:xfrm>
              <a:off x="4249" y="1775"/>
              <a:ext cx="214" cy="128"/>
            </a:xfrm>
            <a:custGeom>
              <a:avLst/>
              <a:gdLst>
                <a:gd name="T0" fmla="*/ 310 w 321"/>
                <a:gd name="T1" fmla="*/ 86 h 193"/>
                <a:gd name="T2" fmla="*/ 37 w 321"/>
                <a:gd name="T3" fmla="*/ 86 h 193"/>
                <a:gd name="T4" fmla="*/ 104 w 321"/>
                <a:gd name="T5" fmla="*/ 19 h 193"/>
                <a:gd name="T6" fmla="*/ 104 w 321"/>
                <a:gd name="T7" fmla="*/ 4 h 193"/>
                <a:gd name="T8" fmla="*/ 89 w 321"/>
                <a:gd name="T9" fmla="*/ 4 h 193"/>
                <a:gd name="T10" fmla="*/ 4 w 321"/>
                <a:gd name="T11" fmla="*/ 89 h 193"/>
                <a:gd name="T12" fmla="*/ 1 w 321"/>
                <a:gd name="T13" fmla="*/ 93 h 193"/>
                <a:gd name="T14" fmla="*/ 1 w 321"/>
                <a:gd name="T15" fmla="*/ 101 h 193"/>
                <a:gd name="T16" fmla="*/ 4 w 321"/>
                <a:gd name="T17" fmla="*/ 104 h 193"/>
                <a:gd name="T18" fmla="*/ 89 w 321"/>
                <a:gd name="T19" fmla="*/ 190 h 193"/>
                <a:gd name="T20" fmla="*/ 97 w 321"/>
                <a:gd name="T21" fmla="*/ 193 h 193"/>
                <a:gd name="T22" fmla="*/ 104 w 321"/>
                <a:gd name="T23" fmla="*/ 190 h 193"/>
                <a:gd name="T24" fmla="*/ 104 w 321"/>
                <a:gd name="T25" fmla="*/ 174 h 193"/>
                <a:gd name="T26" fmla="*/ 37 w 321"/>
                <a:gd name="T27" fmla="*/ 107 h 193"/>
                <a:gd name="T28" fmla="*/ 310 w 321"/>
                <a:gd name="T29" fmla="*/ 107 h 193"/>
                <a:gd name="T30" fmla="*/ 321 w 321"/>
                <a:gd name="T31" fmla="*/ 97 h 193"/>
                <a:gd name="T32" fmla="*/ 310 w 321"/>
                <a:gd name="T33" fmla="*/ 8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1" h="193">
                  <a:moveTo>
                    <a:pt x="310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8" y="15"/>
                    <a:pt x="108" y="8"/>
                    <a:pt x="104" y="4"/>
                  </a:cubicBezTo>
                  <a:cubicBezTo>
                    <a:pt x="100" y="0"/>
                    <a:pt x="93" y="0"/>
                    <a:pt x="89" y="4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3" y="90"/>
                    <a:pt x="2" y="91"/>
                    <a:pt x="1" y="93"/>
                  </a:cubicBezTo>
                  <a:cubicBezTo>
                    <a:pt x="0" y="95"/>
                    <a:pt x="0" y="98"/>
                    <a:pt x="1" y="101"/>
                  </a:cubicBezTo>
                  <a:cubicBezTo>
                    <a:pt x="2" y="102"/>
                    <a:pt x="3" y="103"/>
                    <a:pt x="4" y="104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91" y="192"/>
                    <a:pt x="94" y="193"/>
                    <a:pt x="97" y="193"/>
                  </a:cubicBezTo>
                  <a:cubicBezTo>
                    <a:pt x="99" y="193"/>
                    <a:pt x="102" y="192"/>
                    <a:pt x="104" y="190"/>
                  </a:cubicBezTo>
                  <a:cubicBezTo>
                    <a:pt x="108" y="185"/>
                    <a:pt x="108" y="179"/>
                    <a:pt x="104" y="174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10" y="107"/>
                    <a:pt x="310" y="107"/>
                    <a:pt x="310" y="107"/>
                  </a:cubicBezTo>
                  <a:cubicBezTo>
                    <a:pt x="316" y="107"/>
                    <a:pt x="321" y="103"/>
                    <a:pt x="321" y="97"/>
                  </a:cubicBezTo>
                  <a:cubicBezTo>
                    <a:pt x="321" y="91"/>
                    <a:pt x="316" y="86"/>
                    <a:pt x="310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212"/>
            <p:cNvSpPr>
              <a:spLocks noEditPoints="1"/>
            </p:cNvSpPr>
            <p:nvPr/>
          </p:nvSpPr>
          <p:spPr bwMode="auto">
            <a:xfrm>
              <a:off x="4186" y="166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1" name="Freeform 290"/>
          <p:cNvSpPr>
            <a:spLocks noChangeAspect="1" noEditPoints="1"/>
          </p:cNvSpPr>
          <p:nvPr/>
        </p:nvSpPr>
        <p:spPr bwMode="auto">
          <a:xfrm>
            <a:off x="2425356" y="2915143"/>
            <a:ext cx="369064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2 w 512"/>
              <a:gd name="T11" fmla="*/ 327 h 512"/>
              <a:gd name="T12" fmla="*/ 317 w 512"/>
              <a:gd name="T13" fmla="*/ 413 h 512"/>
              <a:gd name="T14" fmla="*/ 313 w 512"/>
              <a:gd name="T15" fmla="*/ 415 h 512"/>
              <a:gd name="T16" fmla="*/ 309 w 512"/>
              <a:gd name="T17" fmla="*/ 416 h 512"/>
              <a:gd name="T18" fmla="*/ 305 w 512"/>
              <a:gd name="T19" fmla="*/ 415 h 512"/>
              <a:gd name="T20" fmla="*/ 301 w 512"/>
              <a:gd name="T21" fmla="*/ 413 h 512"/>
              <a:gd name="T22" fmla="*/ 216 w 512"/>
              <a:gd name="T23" fmla="*/ 327 h 512"/>
              <a:gd name="T24" fmla="*/ 216 w 512"/>
              <a:gd name="T25" fmla="*/ 312 h 512"/>
              <a:gd name="T26" fmla="*/ 231 w 512"/>
              <a:gd name="T27" fmla="*/ 312 h 512"/>
              <a:gd name="T28" fmla="*/ 298 w 512"/>
              <a:gd name="T29" fmla="*/ 379 h 512"/>
              <a:gd name="T30" fmla="*/ 298 w 512"/>
              <a:gd name="T31" fmla="*/ 117 h 512"/>
              <a:gd name="T32" fmla="*/ 181 w 512"/>
              <a:gd name="T33" fmla="*/ 117 h 512"/>
              <a:gd name="T34" fmla="*/ 170 w 512"/>
              <a:gd name="T35" fmla="*/ 106 h 512"/>
              <a:gd name="T36" fmla="*/ 181 w 512"/>
              <a:gd name="T37" fmla="*/ 96 h 512"/>
              <a:gd name="T38" fmla="*/ 309 w 512"/>
              <a:gd name="T39" fmla="*/ 96 h 512"/>
              <a:gd name="T40" fmla="*/ 320 w 512"/>
              <a:gd name="T41" fmla="*/ 106 h 512"/>
              <a:gd name="T42" fmla="*/ 320 w 512"/>
              <a:gd name="T43" fmla="*/ 379 h 512"/>
              <a:gd name="T44" fmla="*/ 387 w 512"/>
              <a:gd name="T45" fmla="*/ 312 h 512"/>
              <a:gd name="T46" fmla="*/ 402 w 512"/>
              <a:gd name="T47" fmla="*/ 312 h 512"/>
              <a:gd name="T48" fmla="*/ 402 w 512"/>
              <a:gd name="T49" fmla="*/ 32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327"/>
                </a:moveTo>
                <a:cubicBezTo>
                  <a:pt x="317" y="413"/>
                  <a:pt x="317" y="413"/>
                  <a:pt x="317" y="413"/>
                </a:cubicBezTo>
                <a:cubicBezTo>
                  <a:pt x="316" y="414"/>
                  <a:pt x="314" y="414"/>
                  <a:pt x="313" y="415"/>
                </a:cubicBezTo>
                <a:cubicBezTo>
                  <a:pt x="312" y="415"/>
                  <a:pt x="310" y="416"/>
                  <a:pt x="309" y="416"/>
                </a:cubicBezTo>
                <a:cubicBezTo>
                  <a:pt x="308" y="416"/>
                  <a:pt x="306" y="415"/>
                  <a:pt x="305" y="415"/>
                </a:cubicBezTo>
                <a:cubicBezTo>
                  <a:pt x="304" y="414"/>
                  <a:pt x="302" y="414"/>
                  <a:pt x="301" y="413"/>
                </a:cubicBezTo>
                <a:cubicBezTo>
                  <a:pt x="216" y="327"/>
                  <a:pt x="216" y="327"/>
                  <a:pt x="216" y="327"/>
                </a:cubicBezTo>
                <a:cubicBezTo>
                  <a:pt x="212" y="323"/>
                  <a:pt x="212" y="316"/>
                  <a:pt x="216" y="312"/>
                </a:cubicBezTo>
                <a:cubicBezTo>
                  <a:pt x="220" y="308"/>
                  <a:pt x="227" y="308"/>
                  <a:pt x="231" y="312"/>
                </a:cubicBezTo>
                <a:cubicBezTo>
                  <a:pt x="298" y="379"/>
                  <a:pt x="298" y="379"/>
                  <a:pt x="298" y="379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75" y="117"/>
                  <a:pt x="170" y="112"/>
                  <a:pt x="170" y="106"/>
                </a:cubicBezTo>
                <a:cubicBezTo>
                  <a:pt x="170" y="100"/>
                  <a:pt x="175" y="96"/>
                  <a:pt x="181" y="96"/>
                </a:cubicBezTo>
                <a:cubicBezTo>
                  <a:pt x="309" y="96"/>
                  <a:pt x="309" y="96"/>
                  <a:pt x="309" y="96"/>
                </a:cubicBezTo>
                <a:cubicBezTo>
                  <a:pt x="315" y="96"/>
                  <a:pt x="320" y="100"/>
                  <a:pt x="320" y="106"/>
                </a:cubicBezTo>
                <a:cubicBezTo>
                  <a:pt x="320" y="379"/>
                  <a:pt x="320" y="379"/>
                  <a:pt x="320" y="379"/>
                </a:cubicBezTo>
                <a:cubicBezTo>
                  <a:pt x="387" y="312"/>
                  <a:pt x="387" y="312"/>
                  <a:pt x="387" y="312"/>
                </a:cubicBezTo>
                <a:cubicBezTo>
                  <a:pt x="391" y="308"/>
                  <a:pt x="398" y="308"/>
                  <a:pt x="402" y="312"/>
                </a:cubicBezTo>
                <a:cubicBezTo>
                  <a:pt x="406" y="316"/>
                  <a:pt x="406" y="323"/>
                  <a:pt x="402" y="32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2" name="Freeform 220"/>
          <p:cNvSpPr>
            <a:spLocks noChangeAspect="1" noEditPoints="1"/>
          </p:cNvSpPr>
          <p:nvPr/>
        </p:nvSpPr>
        <p:spPr bwMode="auto">
          <a:xfrm>
            <a:off x="2923056" y="2915143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2 w 512"/>
              <a:gd name="T21" fmla="*/ 312 h 512"/>
              <a:gd name="T22" fmla="*/ 387 w 512"/>
              <a:gd name="T23" fmla="*/ 312 h 512"/>
              <a:gd name="T24" fmla="*/ 320 w 512"/>
              <a:gd name="T25" fmla="*/ 379 h 512"/>
              <a:gd name="T26" fmla="*/ 320 w 512"/>
              <a:gd name="T27" fmla="*/ 106 h 512"/>
              <a:gd name="T28" fmla="*/ 309 w 512"/>
              <a:gd name="T29" fmla="*/ 96 h 512"/>
              <a:gd name="T30" fmla="*/ 181 w 512"/>
              <a:gd name="T31" fmla="*/ 96 h 512"/>
              <a:gd name="T32" fmla="*/ 170 w 512"/>
              <a:gd name="T33" fmla="*/ 106 h 512"/>
              <a:gd name="T34" fmla="*/ 181 w 512"/>
              <a:gd name="T35" fmla="*/ 117 h 512"/>
              <a:gd name="T36" fmla="*/ 298 w 512"/>
              <a:gd name="T37" fmla="*/ 117 h 512"/>
              <a:gd name="T38" fmla="*/ 298 w 512"/>
              <a:gd name="T39" fmla="*/ 379 h 512"/>
              <a:gd name="T40" fmla="*/ 231 w 512"/>
              <a:gd name="T41" fmla="*/ 312 h 512"/>
              <a:gd name="T42" fmla="*/ 216 w 512"/>
              <a:gd name="T43" fmla="*/ 312 h 512"/>
              <a:gd name="T44" fmla="*/ 216 w 512"/>
              <a:gd name="T45" fmla="*/ 327 h 512"/>
              <a:gd name="T46" fmla="*/ 301 w 512"/>
              <a:gd name="T47" fmla="*/ 413 h 512"/>
              <a:gd name="T48" fmla="*/ 305 w 512"/>
              <a:gd name="T49" fmla="*/ 415 h 512"/>
              <a:gd name="T50" fmla="*/ 309 w 512"/>
              <a:gd name="T51" fmla="*/ 416 h 512"/>
              <a:gd name="T52" fmla="*/ 313 w 512"/>
              <a:gd name="T53" fmla="*/ 415 h 512"/>
              <a:gd name="T54" fmla="*/ 317 w 512"/>
              <a:gd name="T55" fmla="*/ 413 h 512"/>
              <a:gd name="T56" fmla="*/ 402 w 512"/>
              <a:gd name="T57" fmla="*/ 327 h 512"/>
              <a:gd name="T58" fmla="*/ 402 w 512"/>
              <a:gd name="T59" fmla="*/ 3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312"/>
                </a:moveTo>
                <a:cubicBezTo>
                  <a:pt x="398" y="308"/>
                  <a:pt x="391" y="308"/>
                  <a:pt x="387" y="312"/>
                </a:cubicBezTo>
                <a:cubicBezTo>
                  <a:pt x="320" y="379"/>
                  <a:pt x="320" y="379"/>
                  <a:pt x="320" y="379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20" y="100"/>
                  <a:pt x="315" y="96"/>
                  <a:pt x="309" y="96"/>
                </a:cubicBezTo>
                <a:cubicBezTo>
                  <a:pt x="181" y="96"/>
                  <a:pt x="181" y="96"/>
                  <a:pt x="181" y="96"/>
                </a:cubicBezTo>
                <a:cubicBezTo>
                  <a:pt x="175" y="96"/>
                  <a:pt x="170" y="100"/>
                  <a:pt x="170" y="106"/>
                </a:cubicBezTo>
                <a:cubicBezTo>
                  <a:pt x="170" y="112"/>
                  <a:pt x="175" y="117"/>
                  <a:pt x="181" y="117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298" y="379"/>
                  <a:pt x="298" y="379"/>
                  <a:pt x="298" y="379"/>
                </a:cubicBezTo>
                <a:cubicBezTo>
                  <a:pt x="231" y="312"/>
                  <a:pt x="231" y="312"/>
                  <a:pt x="231" y="312"/>
                </a:cubicBezTo>
                <a:cubicBezTo>
                  <a:pt x="227" y="308"/>
                  <a:pt x="220" y="308"/>
                  <a:pt x="216" y="312"/>
                </a:cubicBezTo>
                <a:cubicBezTo>
                  <a:pt x="212" y="316"/>
                  <a:pt x="212" y="323"/>
                  <a:pt x="216" y="327"/>
                </a:cubicBezTo>
                <a:cubicBezTo>
                  <a:pt x="301" y="413"/>
                  <a:pt x="301" y="413"/>
                  <a:pt x="301" y="413"/>
                </a:cubicBezTo>
                <a:cubicBezTo>
                  <a:pt x="302" y="414"/>
                  <a:pt x="304" y="414"/>
                  <a:pt x="305" y="415"/>
                </a:cubicBezTo>
                <a:cubicBezTo>
                  <a:pt x="306" y="415"/>
                  <a:pt x="308" y="416"/>
                  <a:pt x="309" y="416"/>
                </a:cubicBezTo>
                <a:cubicBezTo>
                  <a:pt x="310" y="416"/>
                  <a:pt x="312" y="415"/>
                  <a:pt x="313" y="415"/>
                </a:cubicBezTo>
                <a:cubicBezTo>
                  <a:pt x="314" y="414"/>
                  <a:pt x="316" y="414"/>
                  <a:pt x="317" y="413"/>
                </a:cubicBezTo>
                <a:cubicBezTo>
                  <a:pt x="402" y="327"/>
                  <a:pt x="402" y="327"/>
                  <a:pt x="402" y="327"/>
                </a:cubicBezTo>
                <a:cubicBezTo>
                  <a:pt x="406" y="323"/>
                  <a:pt x="406" y="316"/>
                  <a:pt x="402" y="3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3" name="Freeform 224"/>
          <p:cNvSpPr>
            <a:spLocks noChangeAspect="1" noEditPoints="1"/>
          </p:cNvSpPr>
          <p:nvPr/>
        </p:nvSpPr>
        <p:spPr bwMode="auto">
          <a:xfrm>
            <a:off x="3419674" y="2915143"/>
            <a:ext cx="369064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2 w 512"/>
              <a:gd name="T11" fmla="*/ 199 h 512"/>
              <a:gd name="T12" fmla="*/ 394 w 512"/>
              <a:gd name="T13" fmla="*/ 202 h 512"/>
              <a:gd name="T14" fmla="*/ 387 w 512"/>
              <a:gd name="T15" fmla="*/ 199 h 512"/>
              <a:gd name="T16" fmla="*/ 320 w 512"/>
              <a:gd name="T17" fmla="*/ 132 h 512"/>
              <a:gd name="T18" fmla="*/ 320 w 512"/>
              <a:gd name="T19" fmla="*/ 405 h 512"/>
              <a:gd name="T20" fmla="*/ 309 w 512"/>
              <a:gd name="T21" fmla="*/ 416 h 512"/>
              <a:gd name="T22" fmla="*/ 181 w 512"/>
              <a:gd name="T23" fmla="*/ 416 h 512"/>
              <a:gd name="T24" fmla="*/ 170 w 512"/>
              <a:gd name="T25" fmla="*/ 405 h 512"/>
              <a:gd name="T26" fmla="*/ 181 w 512"/>
              <a:gd name="T27" fmla="*/ 394 h 512"/>
              <a:gd name="T28" fmla="*/ 298 w 512"/>
              <a:gd name="T29" fmla="*/ 394 h 512"/>
              <a:gd name="T30" fmla="*/ 298 w 512"/>
              <a:gd name="T31" fmla="*/ 132 h 512"/>
              <a:gd name="T32" fmla="*/ 231 w 512"/>
              <a:gd name="T33" fmla="*/ 199 h 512"/>
              <a:gd name="T34" fmla="*/ 224 w 512"/>
              <a:gd name="T35" fmla="*/ 202 h 512"/>
              <a:gd name="T36" fmla="*/ 216 w 512"/>
              <a:gd name="T37" fmla="*/ 199 h 512"/>
              <a:gd name="T38" fmla="*/ 216 w 512"/>
              <a:gd name="T39" fmla="*/ 184 h 512"/>
              <a:gd name="T40" fmla="*/ 301 w 512"/>
              <a:gd name="T41" fmla="*/ 99 h 512"/>
              <a:gd name="T42" fmla="*/ 305 w 512"/>
              <a:gd name="T43" fmla="*/ 96 h 512"/>
              <a:gd name="T44" fmla="*/ 313 w 512"/>
              <a:gd name="T45" fmla="*/ 96 h 512"/>
              <a:gd name="T46" fmla="*/ 317 w 512"/>
              <a:gd name="T47" fmla="*/ 99 h 512"/>
              <a:gd name="T48" fmla="*/ 402 w 512"/>
              <a:gd name="T49" fmla="*/ 184 h 512"/>
              <a:gd name="T50" fmla="*/ 402 w 512"/>
              <a:gd name="T51" fmla="*/ 1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199"/>
                </a:moveTo>
                <a:cubicBezTo>
                  <a:pt x="400" y="201"/>
                  <a:pt x="397" y="202"/>
                  <a:pt x="394" y="202"/>
                </a:cubicBezTo>
                <a:cubicBezTo>
                  <a:pt x="392" y="202"/>
                  <a:pt x="389" y="201"/>
                  <a:pt x="387" y="199"/>
                </a:cubicBezTo>
                <a:cubicBezTo>
                  <a:pt x="320" y="132"/>
                  <a:pt x="320" y="132"/>
                  <a:pt x="320" y="132"/>
                </a:cubicBezTo>
                <a:cubicBezTo>
                  <a:pt x="320" y="405"/>
                  <a:pt x="320" y="405"/>
                  <a:pt x="320" y="405"/>
                </a:cubicBezTo>
                <a:cubicBezTo>
                  <a:pt x="320" y="411"/>
                  <a:pt x="315" y="416"/>
                  <a:pt x="309" y="416"/>
                </a:cubicBezTo>
                <a:cubicBezTo>
                  <a:pt x="181" y="416"/>
                  <a:pt x="181" y="416"/>
                  <a:pt x="181" y="416"/>
                </a:cubicBezTo>
                <a:cubicBezTo>
                  <a:pt x="175" y="416"/>
                  <a:pt x="170" y="411"/>
                  <a:pt x="170" y="405"/>
                </a:cubicBezTo>
                <a:cubicBezTo>
                  <a:pt x="170" y="399"/>
                  <a:pt x="175" y="394"/>
                  <a:pt x="181" y="394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98" y="132"/>
                  <a:pt x="298" y="132"/>
                  <a:pt x="298" y="132"/>
                </a:cubicBezTo>
                <a:cubicBezTo>
                  <a:pt x="231" y="199"/>
                  <a:pt x="231" y="199"/>
                  <a:pt x="231" y="199"/>
                </a:cubicBezTo>
                <a:cubicBezTo>
                  <a:pt x="229" y="201"/>
                  <a:pt x="226" y="202"/>
                  <a:pt x="224" y="202"/>
                </a:cubicBezTo>
                <a:cubicBezTo>
                  <a:pt x="221" y="202"/>
                  <a:pt x="218" y="201"/>
                  <a:pt x="216" y="199"/>
                </a:cubicBezTo>
                <a:cubicBezTo>
                  <a:pt x="212" y="195"/>
                  <a:pt x="212" y="188"/>
                  <a:pt x="216" y="184"/>
                </a:cubicBezTo>
                <a:cubicBezTo>
                  <a:pt x="301" y="99"/>
                  <a:pt x="301" y="99"/>
                  <a:pt x="301" y="99"/>
                </a:cubicBezTo>
                <a:cubicBezTo>
                  <a:pt x="302" y="98"/>
                  <a:pt x="304" y="97"/>
                  <a:pt x="305" y="96"/>
                </a:cubicBezTo>
                <a:cubicBezTo>
                  <a:pt x="308" y="95"/>
                  <a:pt x="310" y="95"/>
                  <a:pt x="313" y="96"/>
                </a:cubicBezTo>
                <a:cubicBezTo>
                  <a:pt x="314" y="97"/>
                  <a:pt x="316" y="98"/>
                  <a:pt x="317" y="99"/>
                </a:cubicBezTo>
                <a:cubicBezTo>
                  <a:pt x="402" y="184"/>
                  <a:pt x="402" y="184"/>
                  <a:pt x="402" y="184"/>
                </a:cubicBezTo>
                <a:cubicBezTo>
                  <a:pt x="406" y="188"/>
                  <a:pt x="406" y="195"/>
                  <a:pt x="402" y="19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4" name="Freeform 228"/>
          <p:cNvSpPr>
            <a:spLocks noChangeAspect="1" noEditPoints="1"/>
          </p:cNvSpPr>
          <p:nvPr/>
        </p:nvSpPr>
        <p:spPr bwMode="auto">
          <a:xfrm>
            <a:off x="3917374" y="2915143"/>
            <a:ext cx="369064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2 w 512"/>
              <a:gd name="T21" fmla="*/ 184 h 512"/>
              <a:gd name="T22" fmla="*/ 317 w 512"/>
              <a:gd name="T23" fmla="*/ 99 h 512"/>
              <a:gd name="T24" fmla="*/ 313 w 512"/>
              <a:gd name="T25" fmla="*/ 96 h 512"/>
              <a:gd name="T26" fmla="*/ 305 w 512"/>
              <a:gd name="T27" fmla="*/ 96 h 512"/>
              <a:gd name="T28" fmla="*/ 301 w 512"/>
              <a:gd name="T29" fmla="*/ 99 h 512"/>
              <a:gd name="T30" fmla="*/ 216 w 512"/>
              <a:gd name="T31" fmla="*/ 184 h 512"/>
              <a:gd name="T32" fmla="*/ 216 w 512"/>
              <a:gd name="T33" fmla="*/ 199 h 512"/>
              <a:gd name="T34" fmla="*/ 224 w 512"/>
              <a:gd name="T35" fmla="*/ 202 h 512"/>
              <a:gd name="T36" fmla="*/ 231 w 512"/>
              <a:gd name="T37" fmla="*/ 199 h 512"/>
              <a:gd name="T38" fmla="*/ 298 w 512"/>
              <a:gd name="T39" fmla="*/ 132 h 512"/>
              <a:gd name="T40" fmla="*/ 298 w 512"/>
              <a:gd name="T41" fmla="*/ 394 h 512"/>
              <a:gd name="T42" fmla="*/ 181 w 512"/>
              <a:gd name="T43" fmla="*/ 394 h 512"/>
              <a:gd name="T44" fmla="*/ 170 w 512"/>
              <a:gd name="T45" fmla="*/ 405 h 512"/>
              <a:gd name="T46" fmla="*/ 181 w 512"/>
              <a:gd name="T47" fmla="*/ 416 h 512"/>
              <a:gd name="T48" fmla="*/ 309 w 512"/>
              <a:gd name="T49" fmla="*/ 416 h 512"/>
              <a:gd name="T50" fmla="*/ 320 w 512"/>
              <a:gd name="T51" fmla="*/ 405 h 512"/>
              <a:gd name="T52" fmla="*/ 320 w 512"/>
              <a:gd name="T53" fmla="*/ 132 h 512"/>
              <a:gd name="T54" fmla="*/ 387 w 512"/>
              <a:gd name="T55" fmla="*/ 199 h 512"/>
              <a:gd name="T56" fmla="*/ 394 w 512"/>
              <a:gd name="T57" fmla="*/ 202 h 512"/>
              <a:gd name="T58" fmla="*/ 402 w 512"/>
              <a:gd name="T59" fmla="*/ 199 h 512"/>
              <a:gd name="T60" fmla="*/ 402 w 512"/>
              <a:gd name="T61" fmla="*/ 1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184"/>
                </a:moveTo>
                <a:cubicBezTo>
                  <a:pt x="317" y="99"/>
                  <a:pt x="317" y="99"/>
                  <a:pt x="317" y="99"/>
                </a:cubicBezTo>
                <a:cubicBezTo>
                  <a:pt x="316" y="98"/>
                  <a:pt x="314" y="97"/>
                  <a:pt x="313" y="96"/>
                </a:cubicBezTo>
                <a:cubicBezTo>
                  <a:pt x="310" y="95"/>
                  <a:pt x="308" y="95"/>
                  <a:pt x="305" y="96"/>
                </a:cubicBezTo>
                <a:cubicBezTo>
                  <a:pt x="304" y="97"/>
                  <a:pt x="302" y="98"/>
                  <a:pt x="301" y="99"/>
                </a:cubicBezTo>
                <a:cubicBezTo>
                  <a:pt x="216" y="184"/>
                  <a:pt x="216" y="184"/>
                  <a:pt x="216" y="184"/>
                </a:cubicBezTo>
                <a:cubicBezTo>
                  <a:pt x="212" y="188"/>
                  <a:pt x="212" y="195"/>
                  <a:pt x="216" y="199"/>
                </a:cubicBezTo>
                <a:cubicBezTo>
                  <a:pt x="218" y="201"/>
                  <a:pt x="221" y="202"/>
                  <a:pt x="224" y="202"/>
                </a:cubicBezTo>
                <a:cubicBezTo>
                  <a:pt x="226" y="202"/>
                  <a:pt x="229" y="201"/>
                  <a:pt x="231" y="199"/>
                </a:cubicBezTo>
                <a:cubicBezTo>
                  <a:pt x="298" y="132"/>
                  <a:pt x="298" y="132"/>
                  <a:pt x="298" y="132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75" y="394"/>
                  <a:pt x="170" y="399"/>
                  <a:pt x="170" y="405"/>
                </a:cubicBezTo>
                <a:cubicBezTo>
                  <a:pt x="170" y="411"/>
                  <a:pt x="175" y="416"/>
                  <a:pt x="181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132"/>
                  <a:pt x="320" y="132"/>
                  <a:pt x="320" y="132"/>
                </a:cubicBezTo>
                <a:cubicBezTo>
                  <a:pt x="387" y="199"/>
                  <a:pt x="387" y="199"/>
                  <a:pt x="387" y="199"/>
                </a:cubicBezTo>
                <a:cubicBezTo>
                  <a:pt x="389" y="201"/>
                  <a:pt x="392" y="202"/>
                  <a:pt x="394" y="202"/>
                </a:cubicBezTo>
                <a:cubicBezTo>
                  <a:pt x="397" y="202"/>
                  <a:pt x="400" y="201"/>
                  <a:pt x="402" y="199"/>
                </a:cubicBezTo>
                <a:cubicBezTo>
                  <a:pt x="406" y="195"/>
                  <a:pt x="406" y="188"/>
                  <a:pt x="402" y="18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5" name="Freeform 232"/>
          <p:cNvSpPr>
            <a:spLocks noChangeAspect="1" noEditPoints="1"/>
          </p:cNvSpPr>
          <p:nvPr/>
        </p:nvSpPr>
        <p:spPr bwMode="auto">
          <a:xfrm>
            <a:off x="4415074" y="2915143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60 h 512"/>
              <a:gd name="T12" fmla="*/ 413 w 512"/>
              <a:gd name="T13" fmla="*/ 263 h 512"/>
              <a:gd name="T14" fmla="*/ 327 w 512"/>
              <a:gd name="T15" fmla="*/ 349 h 512"/>
              <a:gd name="T16" fmla="*/ 320 w 512"/>
              <a:gd name="T17" fmla="*/ 352 h 512"/>
              <a:gd name="T18" fmla="*/ 312 w 512"/>
              <a:gd name="T19" fmla="*/ 349 h 512"/>
              <a:gd name="T20" fmla="*/ 312 w 512"/>
              <a:gd name="T21" fmla="*/ 333 h 512"/>
              <a:gd name="T22" fmla="*/ 379 w 512"/>
              <a:gd name="T23" fmla="*/ 266 h 512"/>
              <a:gd name="T24" fmla="*/ 106 w 512"/>
              <a:gd name="T25" fmla="*/ 266 h 512"/>
              <a:gd name="T26" fmla="*/ 96 w 512"/>
              <a:gd name="T27" fmla="*/ 256 h 512"/>
              <a:gd name="T28" fmla="*/ 106 w 512"/>
              <a:gd name="T29" fmla="*/ 245 h 512"/>
              <a:gd name="T30" fmla="*/ 379 w 512"/>
              <a:gd name="T31" fmla="*/ 245 h 512"/>
              <a:gd name="T32" fmla="*/ 312 w 512"/>
              <a:gd name="T33" fmla="*/ 178 h 512"/>
              <a:gd name="T34" fmla="*/ 312 w 512"/>
              <a:gd name="T35" fmla="*/ 163 h 512"/>
              <a:gd name="T36" fmla="*/ 327 w 512"/>
              <a:gd name="T37" fmla="*/ 163 h 512"/>
              <a:gd name="T38" fmla="*/ 413 w 512"/>
              <a:gd name="T39" fmla="*/ 248 h 512"/>
              <a:gd name="T40" fmla="*/ 415 w 512"/>
              <a:gd name="T41" fmla="*/ 252 h 512"/>
              <a:gd name="T42" fmla="*/ 415 w 512"/>
              <a:gd name="T43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0"/>
                </a:moveTo>
                <a:cubicBezTo>
                  <a:pt x="414" y="261"/>
                  <a:pt x="414" y="262"/>
                  <a:pt x="413" y="263"/>
                </a:cubicBezTo>
                <a:cubicBezTo>
                  <a:pt x="327" y="349"/>
                  <a:pt x="327" y="349"/>
                  <a:pt x="327" y="349"/>
                </a:cubicBezTo>
                <a:cubicBezTo>
                  <a:pt x="325" y="351"/>
                  <a:pt x="322" y="352"/>
                  <a:pt x="320" y="352"/>
                </a:cubicBezTo>
                <a:cubicBezTo>
                  <a:pt x="317" y="352"/>
                  <a:pt x="314" y="351"/>
                  <a:pt x="312" y="349"/>
                </a:cubicBezTo>
                <a:cubicBezTo>
                  <a:pt x="308" y="344"/>
                  <a:pt x="308" y="338"/>
                  <a:pt x="312" y="333"/>
                </a:cubicBezTo>
                <a:cubicBezTo>
                  <a:pt x="379" y="266"/>
                  <a:pt x="379" y="266"/>
                  <a:pt x="379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312" y="178"/>
                  <a:pt x="312" y="178"/>
                  <a:pt x="312" y="178"/>
                </a:cubicBezTo>
                <a:cubicBezTo>
                  <a:pt x="308" y="174"/>
                  <a:pt x="308" y="167"/>
                  <a:pt x="312" y="163"/>
                </a:cubicBezTo>
                <a:cubicBezTo>
                  <a:pt x="316" y="159"/>
                  <a:pt x="323" y="159"/>
                  <a:pt x="327" y="163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4" y="249"/>
                  <a:pt x="414" y="250"/>
                  <a:pt x="415" y="252"/>
                </a:cubicBezTo>
                <a:cubicBezTo>
                  <a:pt x="416" y="254"/>
                  <a:pt x="416" y="257"/>
                  <a:pt x="415" y="2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6" name="Group 295"/>
          <p:cNvGrpSpPr>
            <a:grpSpLocks noChangeAspect="1"/>
          </p:cNvGrpSpPr>
          <p:nvPr/>
        </p:nvGrpSpPr>
        <p:grpSpPr bwMode="auto">
          <a:xfrm>
            <a:off x="4911692" y="2915143"/>
            <a:ext cx="367982" cy="367982"/>
            <a:chOff x="3852" y="1696"/>
            <a:chExt cx="340" cy="340"/>
          </a:xfrm>
          <a:solidFill>
            <a:schemeClr val="accent3"/>
          </a:solidFill>
        </p:grpSpPr>
        <p:sp>
          <p:nvSpPr>
            <p:cNvPr id="297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9" name="Freeform 298"/>
          <p:cNvSpPr>
            <a:spLocks noChangeAspect="1" noEditPoints="1"/>
          </p:cNvSpPr>
          <p:nvPr/>
        </p:nvSpPr>
        <p:spPr bwMode="auto">
          <a:xfrm>
            <a:off x="5408310" y="2915143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330 h 512"/>
              <a:gd name="T12" fmla="*/ 405 w 512"/>
              <a:gd name="T13" fmla="*/ 341 h 512"/>
              <a:gd name="T14" fmla="*/ 394 w 512"/>
              <a:gd name="T15" fmla="*/ 330 h 512"/>
              <a:gd name="T16" fmla="*/ 394 w 512"/>
              <a:gd name="T17" fmla="*/ 213 h 512"/>
              <a:gd name="T18" fmla="*/ 132 w 512"/>
              <a:gd name="T19" fmla="*/ 213 h 512"/>
              <a:gd name="T20" fmla="*/ 199 w 512"/>
              <a:gd name="T21" fmla="*/ 280 h 512"/>
              <a:gd name="T22" fmla="*/ 199 w 512"/>
              <a:gd name="T23" fmla="*/ 295 h 512"/>
              <a:gd name="T24" fmla="*/ 192 w 512"/>
              <a:gd name="T25" fmla="*/ 298 h 512"/>
              <a:gd name="T26" fmla="*/ 184 w 512"/>
              <a:gd name="T27" fmla="*/ 295 h 512"/>
              <a:gd name="T28" fmla="*/ 99 w 512"/>
              <a:gd name="T29" fmla="*/ 210 h 512"/>
              <a:gd name="T30" fmla="*/ 96 w 512"/>
              <a:gd name="T31" fmla="*/ 206 h 512"/>
              <a:gd name="T32" fmla="*/ 96 w 512"/>
              <a:gd name="T33" fmla="*/ 198 h 512"/>
              <a:gd name="T34" fmla="*/ 99 w 512"/>
              <a:gd name="T35" fmla="*/ 195 h 512"/>
              <a:gd name="T36" fmla="*/ 184 w 512"/>
              <a:gd name="T37" fmla="*/ 109 h 512"/>
              <a:gd name="T38" fmla="*/ 199 w 512"/>
              <a:gd name="T39" fmla="*/ 109 h 512"/>
              <a:gd name="T40" fmla="*/ 199 w 512"/>
              <a:gd name="T41" fmla="*/ 125 h 512"/>
              <a:gd name="T42" fmla="*/ 132 w 512"/>
              <a:gd name="T43" fmla="*/ 192 h 512"/>
              <a:gd name="T44" fmla="*/ 405 w 512"/>
              <a:gd name="T45" fmla="*/ 192 h 512"/>
              <a:gd name="T46" fmla="*/ 416 w 512"/>
              <a:gd name="T47" fmla="*/ 202 h 512"/>
              <a:gd name="T48" fmla="*/ 416 w 512"/>
              <a:gd name="T49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30"/>
                </a:moveTo>
                <a:cubicBezTo>
                  <a:pt x="416" y="336"/>
                  <a:pt x="411" y="341"/>
                  <a:pt x="405" y="341"/>
                </a:cubicBezTo>
                <a:cubicBezTo>
                  <a:pt x="399" y="341"/>
                  <a:pt x="394" y="336"/>
                  <a:pt x="394" y="330"/>
                </a:cubicBezTo>
                <a:cubicBezTo>
                  <a:pt x="394" y="213"/>
                  <a:pt x="394" y="213"/>
                  <a:pt x="394" y="213"/>
                </a:cubicBezTo>
                <a:cubicBezTo>
                  <a:pt x="132" y="213"/>
                  <a:pt x="132" y="213"/>
                  <a:pt x="132" y="213"/>
                </a:cubicBezTo>
                <a:cubicBezTo>
                  <a:pt x="199" y="280"/>
                  <a:pt x="199" y="280"/>
                  <a:pt x="199" y="280"/>
                </a:cubicBezTo>
                <a:cubicBezTo>
                  <a:pt x="203" y="284"/>
                  <a:pt x="203" y="291"/>
                  <a:pt x="199" y="295"/>
                </a:cubicBezTo>
                <a:cubicBezTo>
                  <a:pt x="197" y="297"/>
                  <a:pt x="194" y="298"/>
                  <a:pt x="192" y="298"/>
                </a:cubicBezTo>
                <a:cubicBezTo>
                  <a:pt x="189" y="298"/>
                  <a:pt x="186" y="297"/>
                  <a:pt x="184" y="295"/>
                </a:cubicBezTo>
                <a:cubicBezTo>
                  <a:pt x="99" y="210"/>
                  <a:pt x="99" y="210"/>
                  <a:pt x="99" y="210"/>
                </a:cubicBezTo>
                <a:cubicBezTo>
                  <a:pt x="98" y="209"/>
                  <a:pt x="97" y="208"/>
                  <a:pt x="96" y="206"/>
                </a:cubicBezTo>
                <a:cubicBezTo>
                  <a:pt x="95" y="204"/>
                  <a:pt x="95" y="201"/>
                  <a:pt x="96" y="198"/>
                </a:cubicBezTo>
                <a:cubicBezTo>
                  <a:pt x="97" y="197"/>
                  <a:pt x="98" y="196"/>
                  <a:pt x="99" y="195"/>
                </a:cubicBezTo>
                <a:cubicBezTo>
                  <a:pt x="184" y="109"/>
                  <a:pt x="184" y="109"/>
                  <a:pt x="184" y="109"/>
                </a:cubicBezTo>
                <a:cubicBezTo>
                  <a:pt x="188" y="105"/>
                  <a:pt x="195" y="105"/>
                  <a:pt x="199" y="109"/>
                </a:cubicBezTo>
                <a:cubicBezTo>
                  <a:pt x="203" y="114"/>
                  <a:pt x="203" y="120"/>
                  <a:pt x="199" y="125"/>
                </a:cubicBezTo>
                <a:cubicBezTo>
                  <a:pt x="132" y="192"/>
                  <a:pt x="132" y="192"/>
                  <a:pt x="132" y="192"/>
                </a:cubicBezTo>
                <a:cubicBezTo>
                  <a:pt x="405" y="192"/>
                  <a:pt x="405" y="192"/>
                  <a:pt x="405" y="192"/>
                </a:cubicBezTo>
                <a:cubicBezTo>
                  <a:pt x="411" y="192"/>
                  <a:pt x="416" y="196"/>
                  <a:pt x="416" y="202"/>
                </a:cubicBezTo>
                <a:lnTo>
                  <a:pt x="416" y="3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0" name="Freeform 245"/>
          <p:cNvSpPr>
            <a:spLocks noChangeAspect="1" noEditPoints="1"/>
          </p:cNvSpPr>
          <p:nvPr/>
        </p:nvSpPr>
        <p:spPr bwMode="auto">
          <a:xfrm>
            <a:off x="5904928" y="2915143"/>
            <a:ext cx="369064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5 w 512"/>
              <a:gd name="T21" fmla="*/ 192 h 512"/>
              <a:gd name="T22" fmla="*/ 132 w 512"/>
              <a:gd name="T23" fmla="*/ 192 h 512"/>
              <a:gd name="T24" fmla="*/ 199 w 512"/>
              <a:gd name="T25" fmla="*/ 125 h 512"/>
              <a:gd name="T26" fmla="*/ 199 w 512"/>
              <a:gd name="T27" fmla="*/ 109 h 512"/>
              <a:gd name="T28" fmla="*/ 184 w 512"/>
              <a:gd name="T29" fmla="*/ 109 h 512"/>
              <a:gd name="T30" fmla="*/ 99 w 512"/>
              <a:gd name="T31" fmla="*/ 195 h 512"/>
              <a:gd name="T32" fmla="*/ 96 w 512"/>
              <a:gd name="T33" fmla="*/ 198 h 512"/>
              <a:gd name="T34" fmla="*/ 96 w 512"/>
              <a:gd name="T35" fmla="*/ 206 h 512"/>
              <a:gd name="T36" fmla="*/ 99 w 512"/>
              <a:gd name="T37" fmla="*/ 210 h 512"/>
              <a:gd name="T38" fmla="*/ 184 w 512"/>
              <a:gd name="T39" fmla="*/ 295 h 512"/>
              <a:gd name="T40" fmla="*/ 192 w 512"/>
              <a:gd name="T41" fmla="*/ 298 h 512"/>
              <a:gd name="T42" fmla="*/ 199 w 512"/>
              <a:gd name="T43" fmla="*/ 295 h 512"/>
              <a:gd name="T44" fmla="*/ 199 w 512"/>
              <a:gd name="T45" fmla="*/ 280 h 512"/>
              <a:gd name="T46" fmla="*/ 132 w 512"/>
              <a:gd name="T47" fmla="*/ 213 h 512"/>
              <a:gd name="T48" fmla="*/ 394 w 512"/>
              <a:gd name="T49" fmla="*/ 213 h 512"/>
              <a:gd name="T50" fmla="*/ 394 w 512"/>
              <a:gd name="T51" fmla="*/ 330 h 512"/>
              <a:gd name="T52" fmla="*/ 405 w 512"/>
              <a:gd name="T53" fmla="*/ 341 h 512"/>
              <a:gd name="T54" fmla="*/ 416 w 512"/>
              <a:gd name="T55" fmla="*/ 330 h 512"/>
              <a:gd name="T56" fmla="*/ 416 w 512"/>
              <a:gd name="T57" fmla="*/ 202 h 512"/>
              <a:gd name="T58" fmla="*/ 405 w 512"/>
              <a:gd name="T59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192"/>
                </a:moveTo>
                <a:cubicBezTo>
                  <a:pt x="132" y="192"/>
                  <a:pt x="132" y="192"/>
                  <a:pt x="132" y="192"/>
                </a:cubicBezTo>
                <a:cubicBezTo>
                  <a:pt x="199" y="125"/>
                  <a:pt x="199" y="125"/>
                  <a:pt x="199" y="125"/>
                </a:cubicBezTo>
                <a:cubicBezTo>
                  <a:pt x="203" y="120"/>
                  <a:pt x="203" y="114"/>
                  <a:pt x="199" y="109"/>
                </a:cubicBezTo>
                <a:cubicBezTo>
                  <a:pt x="195" y="105"/>
                  <a:pt x="188" y="105"/>
                  <a:pt x="184" y="109"/>
                </a:cubicBezTo>
                <a:cubicBezTo>
                  <a:pt x="99" y="195"/>
                  <a:pt x="99" y="195"/>
                  <a:pt x="99" y="195"/>
                </a:cubicBezTo>
                <a:cubicBezTo>
                  <a:pt x="98" y="196"/>
                  <a:pt x="97" y="197"/>
                  <a:pt x="96" y="198"/>
                </a:cubicBezTo>
                <a:cubicBezTo>
                  <a:pt x="95" y="201"/>
                  <a:pt x="95" y="204"/>
                  <a:pt x="96" y="206"/>
                </a:cubicBezTo>
                <a:cubicBezTo>
                  <a:pt x="97" y="208"/>
                  <a:pt x="98" y="209"/>
                  <a:pt x="99" y="210"/>
                </a:cubicBezTo>
                <a:cubicBezTo>
                  <a:pt x="184" y="295"/>
                  <a:pt x="184" y="295"/>
                  <a:pt x="184" y="295"/>
                </a:cubicBezTo>
                <a:cubicBezTo>
                  <a:pt x="186" y="297"/>
                  <a:pt x="189" y="298"/>
                  <a:pt x="192" y="298"/>
                </a:cubicBezTo>
                <a:cubicBezTo>
                  <a:pt x="194" y="298"/>
                  <a:pt x="197" y="297"/>
                  <a:pt x="199" y="295"/>
                </a:cubicBezTo>
                <a:cubicBezTo>
                  <a:pt x="203" y="291"/>
                  <a:pt x="203" y="284"/>
                  <a:pt x="199" y="280"/>
                </a:cubicBezTo>
                <a:cubicBezTo>
                  <a:pt x="132" y="213"/>
                  <a:pt x="132" y="213"/>
                  <a:pt x="132" y="213"/>
                </a:cubicBezTo>
                <a:cubicBezTo>
                  <a:pt x="394" y="213"/>
                  <a:pt x="394" y="213"/>
                  <a:pt x="394" y="213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336"/>
                  <a:pt x="399" y="341"/>
                  <a:pt x="405" y="341"/>
                </a:cubicBezTo>
                <a:cubicBezTo>
                  <a:pt x="411" y="341"/>
                  <a:pt x="416" y="336"/>
                  <a:pt x="416" y="330"/>
                </a:cubicBezTo>
                <a:cubicBezTo>
                  <a:pt x="416" y="202"/>
                  <a:pt x="416" y="202"/>
                  <a:pt x="416" y="202"/>
                </a:cubicBezTo>
                <a:cubicBezTo>
                  <a:pt x="416" y="196"/>
                  <a:pt x="411" y="192"/>
                  <a:pt x="405" y="19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1" name="Freeform 249"/>
          <p:cNvSpPr>
            <a:spLocks noChangeAspect="1" noEditPoints="1"/>
          </p:cNvSpPr>
          <p:nvPr/>
        </p:nvSpPr>
        <p:spPr bwMode="auto">
          <a:xfrm>
            <a:off x="6402628" y="2915143"/>
            <a:ext cx="369064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06 h 512"/>
              <a:gd name="T12" fmla="*/ 413 w 512"/>
              <a:gd name="T13" fmla="*/ 210 h 512"/>
              <a:gd name="T14" fmla="*/ 327 w 512"/>
              <a:gd name="T15" fmla="*/ 295 h 512"/>
              <a:gd name="T16" fmla="*/ 320 w 512"/>
              <a:gd name="T17" fmla="*/ 298 h 512"/>
              <a:gd name="T18" fmla="*/ 312 w 512"/>
              <a:gd name="T19" fmla="*/ 295 h 512"/>
              <a:gd name="T20" fmla="*/ 312 w 512"/>
              <a:gd name="T21" fmla="*/ 280 h 512"/>
              <a:gd name="T22" fmla="*/ 379 w 512"/>
              <a:gd name="T23" fmla="*/ 213 h 512"/>
              <a:gd name="T24" fmla="*/ 117 w 512"/>
              <a:gd name="T25" fmla="*/ 213 h 512"/>
              <a:gd name="T26" fmla="*/ 117 w 512"/>
              <a:gd name="T27" fmla="*/ 330 h 512"/>
              <a:gd name="T28" fmla="*/ 106 w 512"/>
              <a:gd name="T29" fmla="*/ 341 h 512"/>
              <a:gd name="T30" fmla="*/ 96 w 512"/>
              <a:gd name="T31" fmla="*/ 330 h 512"/>
              <a:gd name="T32" fmla="*/ 96 w 512"/>
              <a:gd name="T33" fmla="*/ 202 h 512"/>
              <a:gd name="T34" fmla="*/ 106 w 512"/>
              <a:gd name="T35" fmla="*/ 192 h 512"/>
              <a:gd name="T36" fmla="*/ 379 w 512"/>
              <a:gd name="T37" fmla="*/ 192 h 512"/>
              <a:gd name="T38" fmla="*/ 312 w 512"/>
              <a:gd name="T39" fmla="*/ 125 h 512"/>
              <a:gd name="T40" fmla="*/ 312 w 512"/>
              <a:gd name="T41" fmla="*/ 109 h 512"/>
              <a:gd name="T42" fmla="*/ 327 w 512"/>
              <a:gd name="T43" fmla="*/ 109 h 512"/>
              <a:gd name="T44" fmla="*/ 413 w 512"/>
              <a:gd name="T45" fmla="*/ 195 h 512"/>
              <a:gd name="T46" fmla="*/ 415 w 512"/>
              <a:gd name="T47" fmla="*/ 198 h 512"/>
              <a:gd name="T48" fmla="*/ 415 w 512"/>
              <a:gd name="T49" fmla="*/ 2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06"/>
                </a:moveTo>
                <a:cubicBezTo>
                  <a:pt x="414" y="208"/>
                  <a:pt x="414" y="209"/>
                  <a:pt x="413" y="210"/>
                </a:cubicBezTo>
                <a:cubicBezTo>
                  <a:pt x="327" y="295"/>
                  <a:pt x="327" y="295"/>
                  <a:pt x="327" y="295"/>
                </a:cubicBezTo>
                <a:cubicBezTo>
                  <a:pt x="325" y="297"/>
                  <a:pt x="322" y="298"/>
                  <a:pt x="320" y="298"/>
                </a:cubicBezTo>
                <a:cubicBezTo>
                  <a:pt x="317" y="298"/>
                  <a:pt x="314" y="297"/>
                  <a:pt x="312" y="295"/>
                </a:cubicBezTo>
                <a:cubicBezTo>
                  <a:pt x="308" y="291"/>
                  <a:pt x="308" y="284"/>
                  <a:pt x="312" y="280"/>
                </a:cubicBezTo>
                <a:cubicBezTo>
                  <a:pt x="379" y="213"/>
                  <a:pt x="379" y="213"/>
                  <a:pt x="379" y="213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117" y="330"/>
                  <a:pt x="117" y="330"/>
                  <a:pt x="117" y="330"/>
                </a:cubicBezTo>
                <a:cubicBezTo>
                  <a:pt x="117" y="336"/>
                  <a:pt x="112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202"/>
                  <a:pt x="96" y="202"/>
                  <a:pt x="96" y="202"/>
                </a:cubicBezTo>
                <a:cubicBezTo>
                  <a:pt x="96" y="196"/>
                  <a:pt x="100" y="192"/>
                  <a:pt x="106" y="192"/>
                </a:cubicBezTo>
                <a:cubicBezTo>
                  <a:pt x="379" y="192"/>
                  <a:pt x="379" y="192"/>
                  <a:pt x="379" y="192"/>
                </a:cubicBezTo>
                <a:cubicBezTo>
                  <a:pt x="312" y="125"/>
                  <a:pt x="312" y="125"/>
                  <a:pt x="312" y="125"/>
                </a:cubicBezTo>
                <a:cubicBezTo>
                  <a:pt x="308" y="120"/>
                  <a:pt x="308" y="114"/>
                  <a:pt x="312" y="109"/>
                </a:cubicBezTo>
                <a:cubicBezTo>
                  <a:pt x="316" y="105"/>
                  <a:pt x="323" y="105"/>
                  <a:pt x="327" y="109"/>
                </a:cubicBezTo>
                <a:cubicBezTo>
                  <a:pt x="413" y="195"/>
                  <a:pt x="413" y="195"/>
                  <a:pt x="413" y="195"/>
                </a:cubicBezTo>
                <a:cubicBezTo>
                  <a:pt x="414" y="196"/>
                  <a:pt x="414" y="197"/>
                  <a:pt x="415" y="198"/>
                </a:cubicBezTo>
                <a:cubicBezTo>
                  <a:pt x="416" y="201"/>
                  <a:pt x="416" y="204"/>
                  <a:pt x="415" y="2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2" name="Freeform 253"/>
          <p:cNvSpPr>
            <a:spLocks noChangeAspect="1" noEditPoints="1"/>
          </p:cNvSpPr>
          <p:nvPr/>
        </p:nvSpPr>
        <p:spPr bwMode="auto">
          <a:xfrm>
            <a:off x="6900328" y="2915143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15 w 512"/>
              <a:gd name="T21" fmla="*/ 206 h 512"/>
              <a:gd name="T22" fmla="*/ 415 w 512"/>
              <a:gd name="T23" fmla="*/ 198 h 512"/>
              <a:gd name="T24" fmla="*/ 413 w 512"/>
              <a:gd name="T25" fmla="*/ 195 h 512"/>
              <a:gd name="T26" fmla="*/ 327 w 512"/>
              <a:gd name="T27" fmla="*/ 109 h 512"/>
              <a:gd name="T28" fmla="*/ 312 w 512"/>
              <a:gd name="T29" fmla="*/ 109 h 512"/>
              <a:gd name="T30" fmla="*/ 312 w 512"/>
              <a:gd name="T31" fmla="*/ 125 h 512"/>
              <a:gd name="T32" fmla="*/ 379 w 512"/>
              <a:gd name="T33" fmla="*/ 192 h 512"/>
              <a:gd name="T34" fmla="*/ 106 w 512"/>
              <a:gd name="T35" fmla="*/ 192 h 512"/>
              <a:gd name="T36" fmla="*/ 96 w 512"/>
              <a:gd name="T37" fmla="*/ 202 h 512"/>
              <a:gd name="T38" fmla="*/ 96 w 512"/>
              <a:gd name="T39" fmla="*/ 330 h 512"/>
              <a:gd name="T40" fmla="*/ 106 w 512"/>
              <a:gd name="T41" fmla="*/ 341 h 512"/>
              <a:gd name="T42" fmla="*/ 117 w 512"/>
              <a:gd name="T43" fmla="*/ 330 h 512"/>
              <a:gd name="T44" fmla="*/ 117 w 512"/>
              <a:gd name="T45" fmla="*/ 213 h 512"/>
              <a:gd name="T46" fmla="*/ 379 w 512"/>
              <a:gd name="T47" fmla="*/ 213 h 512"/>
              <a:gd name="T48" fmla="*/ 312 w 512"/>
              <a:gd name="T49" fmla="*/ 280 h 512"/>
              <a:gd name="T50" fmla="*/ 312 w 512"/>
              <a:gd name="T51" fmla="*/ 295 h 512"/>
              <a:gd name="T52" fmla="*/ 320 w 512"/>
              <a:gd name="T53" fmla="*/ 298 h 512"/>
              <a:gd name="T54" fmla="*/ 327 w 512"/>
              <a:gd name="T55" fmla="*/ 295 h 512"/>
              <a:gd name="T56" fmla="*/ 413 w 512"/>
              <a:gd name="T57" fmla="*/ 210 h 512"/>
              <a:gd name="T58" fmla="*/ 415 w 512"/>
              <a:gd name="T59" fmla="*/ 2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06"/>
                </a:moveTo>
                <a:cubicBezTo>
                  <a:pt x="416" y="204"/>
                  <a:pt x="416" y="201"/>
                  <a:pt x="415" y="198"/>
                </a:cubicBezTo>
                <a:cubicBezTo>
                  <a:pt x="414" y="197"/>
                  <a:pt x="414" y="196"/>
                  <a:pt x="413" y="195"/>
                </a:cubicBezTo>
                <a:cubicBezTo>
                  <a:pt x="327" y="109"/>
                  <a:pt x="327" y="109"/>
                  <a:pt x="327" y="109"/>
                </a:cubicBezTo>
                <a:cubicBezTo>
                  <a:pt x="323" y="105"/>
                  <a:pt x="316" y="105"/>
                  <a:pt x="312" y="109"/>
                </a:cubicBezTo>
                <a:cubicBezTo>
                  <a:pt x="308" y="114"/>
                  <a:pt x="308" y="120"/>
                  <a:pt x="312" y="125"/>
                </a:cubicBezTo>
                <a:cubicBezTo>
                  <a:pt x="379" y="192"/>
                  <a:pt x="379" y="192"/>
                  <a:pt x="379" y="192"/>
                </a:cubicBezTo>
                <a:cubicBezTo>
                  <a:pt x="106" y="192"/>
                  <a:pt x="106" y="192"/>
                  <a:pt x="106" y="192"/>
                </a:cubicBezTo>
                <a:cubicBezTo>
                  <a:pt x="100" y="192"/>
                  <a:pt x="96" y="196"/>
                  <a:pt x="96" y="202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6"/>
                  <a:pt x="100" y="341"/>
                  <a:pt x="106" y="341"/>
                </a:cubicBezTo>
                <a:cubicBezTo>
                  <a:pt x="112" y="341"/>
                  <a:pt x="117" y="336"/>
                  <a:pt x="117" y="330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379" y="213"/>
                  <a:pt x="379" y="213"/>
                  <a:pt x="379" y="213"/>
                </a:cubicBezTo>
                <a:cubicBezTo>
                  <a:pt x="312" y="280"/>
                  <a:pt x="312" y="280"/>
                  <a:pt x="312" y="280"/>
                </a:cubicBezTo>
                <a:cubicBezTo>
                  <a:pt x="308" y="284"/>
                  <a:pt x="308" y="291"/>
                  <a:pt x="312" y="295"/>
                </a:cubicBezTo>
                <a:cubicBezTo>
                  <a:pt x="314" y="297"/>
                  <a:pt x="317" y="298"/>
                  <a:pt x="320" y="298"/>
                </a:cubicBezTo>
                <a:cubicBezTo>
                  <a:pt x="322" y="298"/>
                  <a:pt x="325" y="297"/>
                  <a:pt x="327" y="295"/>
                </a:cubicBezTo>
                <a:cubicBezTo>
                  <a:pt x="413" y="210"/>
                  <a:pt x="413" y="210"/>
                  <a:pt x="413" y="210"/>
                </a:cubicBezTo>
                <a:cubicBezTo>
                  <a:pt x="414" y="209"/>
                  <a:pt x="414" y="208"/>
                  <a:pt x="415" y="2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3" name="Freeform 257"/>
          <p:cNvSpPr>
            <a:spLocks noChangeAspect="1" noEditPoints="1"/>
          </p:cNvSpPr>
          <p:nvPr/>
        </p:nvSpPr>
        <p:spPr bwMode="auto">
          <a:xfrm>
            <a:off x="7396946" y="2915143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33 w 512"/>
              <a:gd name="T11" fmla="*/ 312 h 512"/>
              <a:gd name="T12" fmla="*/ 349 w 512"/>
              <a:gd name="T13" fmla="*/ 312 h 512"/>
              <a:gd name="T14" fmla="*/ 349 w 512"/>
              <a:gd name="T15" fmla="*/ 327 h 512"/>
              <a:gd name="T16" fmla="*/ 263 w 512"/>
              <a:gd name="T17" fmla="*/ 413 h 512"/>
              <a:gd name="T18" fmla="*/ 260 w 512"/>
              <a:gd name="T19" fmla="*/ 415 h 512"/>
              <a:gd name="T20" fmla="*/ 252 w 512"/>
              <a:gd name="T21" fmla="*/ 415 h 512"/>
              <a:gd name="T22" fmla="*/ 248 w 512"/>
              <a:gd name="T23" fmla="*/ 413 h 512"/>
              <a:gd name="T24" fmla="*/ 163 w 512"/>
              <a:gd name="T25" fmla="*/ 327 h 512"/>
              <a:gd name="T26" fmla="*/ 160 w 512"/>
              <a:gd name="T27" fmla="*/ 320 h 512"/>
              <a:gd name="T28" fmla="*/ 163 w 512"/>
              <a:gd name="T29" fmla="*/ 312 h 512"/>
              <a:gd name="T30" fmla="*/ 178 w 512"/>
              <a:gd name="T31" fmla="*/ 312 h 512"/>
              <a:gd name="T32" fmla="*/ 245 w 512"/>
              <a:gd name="T33" fmla="*/ 379 h 512"/>
              <a:gd name="T34" fmla="*/ 245 w 512"/>
              <a:gd name="T35" fmla="*/ 132 h 512"/>
              <a:gd name="T36" fmla="*/ 178 w 512"/>
              <a:gd name="T37" fmla="*/ 199 h 512"/>
              <a:gd name="T38" fmla="*/ 163 w 512"/>
              <a:gd name="T39" fmla="*/ 199 h 512"/>
              <a:gd name="T40" fmla="*/ 163 w 512"/>
              <a:gd name="T41" fmla="*/ 184 h 512"/>
              <a:gd name="T42" fmla="*/ 248 w 512"/>
              <a:gd name="T43" fmla="*/ 99 h 512"/>
              <a:gd name="T44" fmla="*/ 252 w 512"/>
              <a:gd name="T45" fmla="*/ 96 h 512"/>
              <a:gd name="T46" fmla="*/ 260 w 512"/>
              <a:gd name="T47" fmla="*/ 96 h 512"/>
              <a:gd name="T48" fmla="*/ 263 w 512"/>
              <a:gd name="T49" fmla="*/ 99 h 512"/>
              <a:gd name="T50" fmla="*/ 349 w 512"/>
              <a:gd name="T51" fmla="*/ 184 h 512"/>
              <a:gd name="T52" fmla="*/ 352 w 512"/>
              <a:gd name="T53" fmla="*/ 192 h 512"/>
              <a:gd name="T54" fmla="*/ 349 w 512"/>
              <a:gd name="T55" fmla="*/ 199 h 512"/>
              <a:gd name="T56" fmla="*/ 333 w 512"/>
              <a:gd name="T57" fmla="*/ 199 h 512"/>
              <a:gd name="T58" fmla="*/ 266 w 512"/>
              <a:gd name="T59" fmla="*/ 132 h 512"/>
              <a:gd name="T60" fmla="*/ 266 w 512"/>
              <a:gd name="T61" fmla="*/ 379 h 512"/>
              <a:gd name="T62" fmla="*/ 333 w 512"/>
              <a:gd name="T63" fmla="*/ 3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3" y="312"/>
                </a:moveTo>
                <a:cubicBezTo>
                  <a:pt x="338" y="308"/>
                  <a:pt x="344" y="308"/>
                  <a:pt x="349" y="312"/>
                </a:cubicBezTo>
                <a:cubicBezTo>
                  <a:pt x="353" y="316"/>
                  <a:pt x="353" y="323"/>
                  <a:pt x="349" y="327"/>
                </a:cubicBezTo>
                <a:cubicBezTo>
                  <a:pt x="263" y="413"/>
                  <a:pt x="263" y="413"/>
                  <a:pt x="263" y="413"/>
                </a:cubicBezTo>
                <a:cubicBezTo>
                  <a:pt x="262" y="414"/>
                  <a:pt x="261" y="414"/>
                  <a:pt x="260" y="415"/>
                </a:cubicBezTo>
                <a:cubicBezTo>
                  <a:pt x="257" y="416"/>
                  <a:pt x="254" y="416"/>
                  <a:pt x="252" y="415"/>
                </a:cubicBezTo>
                <a:cubicBezTo>
                  <a:pt x="250" y="414"/>
                  <a:pt x="249" y="414"/>
                  <a:pt x="248" y="413"/>
                </a:cubicBezTo>
                <a:cubicBezTo>
                  <a:pt x="163" y="327"/>
                  <a:pt x="163" y="327"/>
                  <a:pt x="163" y="327"/>
                </a:cubicBezTo>
                <a:cubicBezTo>
                  <a:pt x="161" y="325"/>
                  <a:pt x="160" y="322"/>
                  <a:pt x="160" y="320"/>
                </a:cubicBezTo>
                <a:cubicBezTo>
                  <a:pt x="160" y="317"/>
                  <a:pt x="161" y="314"/>
                  <a:pt x="163" y="312"/>
                </a:cubicBezTo>
                <a:cubicBezTo>
                  <a:pt x="167" y="308"/>
                  <a:pt x="174" y="308"/>
                  <a:pt x="178" y="312"/>
                </a:cubicBezTo>
                <a:cubicBezTo>
                  <a:pt x="245" y="379"/>
                  <a:pt x="245" y="379"/>
                  <a:pt x="245" y="379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178" y="199"/>
                  <a:pt x="178" y="199"/>
                  <a:pt x="178" y="199"/>
                </a:cubicBezTo>
                <a:cubicBezTo>
                  <a:pt x="174" y="203"/>
                  <a:pt x="167" y="203"/>
                  <a:pt x="163" y="199"/>
                </a:cubicBezTo>
                <a:cubicBezTo>
                  <a:pt x="159" y="195"/>
                  <a:pt x="159" y="188"/>
                  <a:pt x="163" y="184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49" y="184"/>
                  <a:pt x="349" y="184"/>
                  <a:pt x="349" y="184"/>
                </a:cubicBezTo>
                <a:cubicBezTo>
                  <a:pt x="351" y="186"/>
                  <a:pt x="352" y="189"/>
                  <a:pt x="352" y="192"/>
                </a:cubicBezTo>
                <a:cubicBezTo>
                  <a:pt x="352" y="194"/>
                  <a:pt x="351" y="197"/>
                  <a:pt x="349" y="199"/>
                </a:cubicBezTo>
                <a:cubicBezTo>
                  <a:pt x="344" y="203"/>
                  <a:pt x="338" y="203"/>
                  <a:pt x="333" y="199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379"/>
                  <a:pt x="266" y="379"/>
                  <a:pt x="266" y="379"/>
                </a:cubicBezTo>
                <a:lnTo>
                  <a:pt x="333" y="31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4" name="Freeform 261"/>
          <p:cNvSpPr>
            <a:spLocks noChangeAspect="1" noEditPoints="1"/>
          </p:cNvSpPr>
          <p:nvPr/>
        </p:nvSpPr>
        <p:spPr bwMode="auto">
          <a:xfrm>
            <a:off x="7893564" y="2915143"/>
            <a:ext cx="367982" cy="367982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66 w 512"/>
              <a:gd name="T21" fmla="*/ 132 h 512"/>
              <a:gd name="T22" fmla="*/ 333 w 512"/>
              <a:gd name="T23" fmla="*/ 199 h 512"/>
              <a:gd name="T24" fmla="*/ 349 w 512"/>
              <a:gd name="T25" fmla="*/ 199 h 512"/>
              <a:gd name="T26" fmla="*/ 352 w 512"/>
              <a:gd name="T27" fmla="*/ 192 h 512"/>
              <a:gd name="T28" fmla="*/ 349 w 512"/>
              <a:gd name="T29" fmla="*/ 184 h 512"/>
              <a:gd name="T30" fmla="*/ 263 w 512"/>
              <a:gd name="T31" fmla="*/ 99 h 512"/>
              <a:gd name="T32" fmla="*/ 260 w 512"/>
              <a:gd name="T33" fmla="*/ 96 h 512"/>
              <a:gd name="T34" fmla="*/ 252 w 512"/>
              <a:gd name="T35" fmla="*/ 96 h 512"/>
              <a:gd name="T36" fmla="*/ 248 w 512"/>
              <a:gd name="T37" fmla="*/ 99 h 512"/>
              <a:gd name="T38" fmla="*/ 163 w 512"/>
              <a:gd name="T39" fmla="*/ 184 h 512"/>
              <a:gd name="T40" fmla="*/ 163 w 512"/>
              <a:gd name="T41" fmla="*/ 199 h 512"/>
              <a:gd name="T42" fmla="*/ 178 w 512"/>
              <a:gd name="T43" fmla="*/ 199 h 512"/>
              <a:gd name="T44" fmla="*/ 245 w 512"/>
              <a:gd name="T45" fmla="*/ 132 h 512"/>
              <a:gd name="T46" fmla="*/ 245 w 512"/>
              <a:gd name="T47" fmla="*/ 379 h 512"/>
              <a:gd name="T48" fmla="*/ 178 w 512"/>
              <a:gd name="T49" fmla="*/ 312 h 512"/>
              <a:gd name="T50" fmla="*/ 163 w 512"/>
              <a:gd name="T51" fmla="*/ 312 h 512"/>
              <a:gd name="T52" fmla="*/ 160 w 512"/>
              <a:gd name="T53" fmla="*/ 320 h 512"/>
              <a:gd name="T54" fmla="*/ 163 w 512"/>
              <a:gd name="T55" fmla="*/ 327 h 512"/>
              <a:gd name="T56" fmla="*/ 248 w 512"/>
              <a:gd name="T57" fmla="*/ 413 h 512"/>
              <a:gd name="T58" fmla="*/ 252 w 512"/>
              <a:gd name="T59" fmla="*/ 415 h 512"/>
              <a:gd name="T60" fmla="*/ 260 w 512"/>
              <a:gd name="T61" fmla="*/ 415 h 512"/>
              <a:gd name="T62" fmla="*/ 263 w 512"/>
              <a:gd name="T63" fmla="*/ 413 h 512"/>
              <a:gd name="T64" fmla="*/ 349 w 512"/>
              <a:gd name="T65" fmla="*/ 327 h 512"/>
              <a:gd name="T66" fmla="*/ 349 w 512"/>
              <a:gd name="T67" fmla="*/ 312 h 512"/>
              <a:gd name="T68" fmla="*/ 333 w 512"/>
              <a:gd name="T69" fmla="*/ 312 h 512"/>
              <a:gd name="T70" fmla="*/ 266 w 512"/>
              <a:gd name="T71" fmla="*/ 379 h 512"/>
              <a:gd name="T72" fmla="*/ 266 w 512"/>
              <a:gd name="T73" fmla="*/ 13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66" y="132"/>
                </a:moveTo>
                <a:cubicBezTo>
                  <a:pt x="333" y="199"/>
                  <a:pt x="333" y="199"/>
                  <a:pt x="333" y="199"/>
                </a:cubicBezTo>
                <a:cubicBezTo>
                  <a:pt x="338" y="203"/>
                  <a:pt x="344" y="203"/>
                  <a:pt x="349" y="199"/>
                </a:cubicBezTo>
                <a:cubicBezTo>
                  <a:pt x="351" y="197"/>
                  <a:pt x="352" y="194"/>
                  <a:pt x="352" y="192"/>
                </a:cubicBezTo>
                <a:cubicBezTo>
                  <a:pt x="352" y="189"/>
                  <a:pt x="351" y="186"/>
                  <a:pt x="349" y="184"/>
                </a:cubicBezTo>
                <a:cubicBezTo>
                  <a:pt x="263" y="99"/>
                  <a:pt x="263" y="99"/>
                  <a:pt x="263" y="99"/>
                </a:cubicBezTo>
                <a:cubicBezTo>
                  <a:pt x="262" y="98"/>
                  <a:pt x="261" y="97"/>
                  <a:pt x="260" y="96"/>
                </a:cubicBezTo>
                <a:cubicBezTo>
                  <a:pt x="257" y="95"/>
                  <a:pt x="254" y="95"/>
                  <a:pt x="252" y="96"/>
                </a:cubicBezTo>
                <a:cubicBezTo>
                  <a:pt x="250" y="97"/>
                  <a:pt x="249" y="98"/>
                  <a:pt x="248" y="99"/>
                </a:cubicBezTo>
                <a:cubicBezTo>
                  <a:pt x="163" y="184"/>
                  <a:pt x="163" y="184"/>
                  <a:pt x="163" y="184"/>
                </a:cubicBezTo>
                <a:cubicBezTo>
                  <a:pt x="159" y="188"/>
                  <a:pt x="159" y="195"/>
                  <a:pt x="163" y="199"/>
                </a:cubicBezTo>
                <a:cubicBezTo>
                  <a:pt x="167" y="203"/>
                  <a:pt x="174" y="203"/>
                  <a:pt x="178" y="199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245" y="379"/>
                  <a:pt x="245" y="379"/>
                  <a:pt x="245" y="379"/>
                </a:cubicBezTo>
                <a:cubicBezTo>
                  <a:pt x="178" y="312"/>
                  <a:pt x="178" y="312"/>
                  <a:pt x="178" y="312"/>
                </a:cubicBezTo>
                <a:cubicBezTo>
                  <a:pt x="174" y="308"/>
                  <a:pt x="167" y="308"/>
                  <a:pt x="163" y="312"/>
                </a:cubicBezTo>
                <a:cubicBezTo>
                  <a:pt x="161" y="314"/>
                  <a:pt x="160" y="317"/>
                  <a:pt x="160" y="320"/>
                </a:cubicBezTo>
                <a:cubicBezTo>
                  <a:pt x="160" y="322"/>
                  <a:pt x="161" y="325"/>
                  <a:pt x="163" y="327"/>
                </a:cubicBezTo>
                <a:cubicBezTo>
                  <a:pt x="248" y="413"/>
                  <a:pt x="248" y="413"/>
                  <a:pt x="248" y="413"/>
                </a:cubicBezTo>
                <a:cubicBezTo>
                  <a:pt x="249" y="414"/>
                  <a:pt x="250" y="414"/>
                  <a:pt x="252" y="415"/>
                </a:cubicBezTo>
                <a:cubicBezTo>
                  <a:pt x="254" y="416"/>
                  <a:pt x="257" y="416"/>
                  <a:pt x="260" y="415"/>
                </a:cubicBezTo>
                <a:cubicBezTo>
                  <a:pt x="261" y="414"/>
                  <a:pt x="262" y="414"/>
                  <a:pt x="263" y="413"/>
                </a:cubicBezTo>
                <a:cubicBezTo>
                  <a:pt x="349" y="327"/>
                  <a:pt x="349" y="327"/>
                  <a:pt x="349" y="327"/>
                </a:cubicBezTo>
                <a:cubicBezTo>
                  <a:pt x="353" y="323"/>
                  <a:pt x="353" y="316"/>
                  <a:pt x="349" y="312"/>
                </a:cubicBezTo>
                <a:cubicBezTo>
                  <a:pt x="344" y="308"/>
                  <a:pt x="338" y="308"/>
                  <a:pt x="333" y="312"/>
                </a:cubicBezTo>
                <a:cubicBezTo>
                  <a:pt x="266" y="379"/>
                  <a:pt x="266" y="379"/>
                  <a:pt x="266" y="379"/>
                </a:cubicBezTo>
                <a:lnTo>
                  <a:pt x="266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5" name="Freeform 304"/>
          <p:cNvSpPr>
            <a:spLocks noChangeAspect="1" noEditPoints="1"/>
          </p:cNvSpPr>
          <p:nvPr/>
        </p:nvSpPr>
        <p:spPr bwMode="auto">
          <a:xfrm>
            <a:off x="8390182" y="2915143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9 w 512"/>
              <a:gd name="T11" fmla="*/ 199 h 512"/>
              <a:gd name="T12" fmla="*/ 341 w 512"/>
              <a:gd name="T13" fmla="*/ 202 h 512"/>
              <a:gd name="T14" fmla="*/ 333 w 512"/>
              <a:gd name="T15" fmla="*/ 199 h 512"/>
              <a:gd name="T16" fmla="*/ 266 w 512"/>
              <a:gd name="T17" fmla="*/ 132 h 512"/>
              <a:gd name="T18" fmla="*/ 266 w 512"/>
              <a:gd name="T19" fmla="*/ 405 h 512"/>
              <a:gd name="T20" fmla="*/ 256 w 512"/>
              <a:gd name="T21" fmla="*/ 416 h 512"/>
              <a:gd name="T22" fmla="*/ 245 w 512"/>
              <a:gd name="T23" fmla="*/ 405 h 512"/>
              <a:gd name="T24" fmla="*/ 245 w 512"/>
              <a:gd name="T25" fmla="*/ 132 h 512"/>
              <a:gd name="T26" fmla="*/ 178 w 512"/>
              <a:gd name="T27" fmla="*/ 199 h 512"/>
              <a:gd name="T28" fmla="*/ 170 w 512"/>
              <a:gd name="T29" fmla="*/ 202 h 512"/>
              <a:gd name="T30" fmla="*/ 163 w 512"/>
              <a:gd name="T31" fmla="*/ 199 h 512"/>
              <a:gd name="T32" fmla="*/ 163 w 512"/>
              <a:gd name="T33" fmla="*/ 184 h 512"/>
              <a:gd name="T34" fmla="*/ 248 w 512"/>
              <a:gd name="T35" fmla="*/ 99 h 512"/>
              <a:gd name="T36" fmla="*/ 252 w 512"/>
              <a:gd name="T37" fmla="*/ 96 h 512"/>
              <a:gd name="T38" fmla="*/ 260 w 512"/>
              <a:gd name="T39" fmla="*/ 96 h 512"/>
              <a:gd name="T40" fmla="*/ 263 w 512"/>
              <a:gd name="T41" fmla="*/ 99 h 512"/>
              <a:gd name="T42" fmla="*/ 349 w 512"/>
              <a:gd name="T43" fmla="*/ 184 h 512"/>
              <a:gd name="T44" fmla="*/ 349 w 512"/>
              <a:gd name="T45" fmla="*/ 1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9" y="199"/>
                </a:moveTo>
                <a:cubicBezTo>
                  <a:pt x="346" y="201"/>
                  <a:pt x="344" y="202"/>
                  <a:pt x="341" y="202"/>
                </a:cubicBezTo>
                <a:cubicBezTo>
                  <a:pt x="338" y="202"/>
                  <a:pt x="336" y="201"/>
                  <a:pt x="333" y="199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178" y="199"/>
                  <a:pt x="178" y="199"/>
                  <a:pt x="178" y="199"/>
                </a:cubicBezTo>
                <a:cubicBezTo>
                  <a:pt x="176" y="201"/>
                  <a:pt x="173" y="202"/>
                  <a:pt x="170" y="202"/>
                </a:cubicBezTo>
                <a:cubicBezTo>
                  <a:pt x="168" y="202"/>
                  <a:pt x="165" y="201"/>
                  <a:pt x="163" y="199"/>
                </a:cubicBezTo>
                <a:cubicBezTo>
                  <a:pt x="159" y="195"/>
                  <a:pt x="159" y="188"/>
                  <a:pt x="163" y="184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49" y="184"/>
                  <a:pt x="349" y="184"/>
                  <a:pt x="349" y="184"/>
                </a:cubicBezTo>
                <a:cubicBezTo>
                  <a:pt x="353" y="188"/>
                  <a:pt x="353" y="195"/>
                  <a:pt x="349" y="19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6" name="Group 268"/>
          <p:cNvGrpSpPr>
            <a:grpSpLocks noChangeAspect="1"/>
          </p:cNvGrpSpPr>
          <p:nvPr/>
        </p:nvGrpSpPr>
        <p:grpSpPr bwMode="auto">
          <a:xfrm>
            <a:off x="8886800" y="2915143"/>
            <a:ext cx="367982" cy="367982"/>
            <a:chOff x="5497" y="2036"/>
            <a:chExt cx="340" cy="340"/>
          </a:xfrm>
          <a:solidFill>
            <a:schemeClr val="accent3"/>
          </a:solidFill>
        </p:grpSpPr>
        <p:sp>
          <p:nvSpPr>
            <p:cNvPr id="307" name="Freeform 269"/>
            <p:cNvSpPr>
              <a:spLocks noEditPoints="1"/>
            </p:cNvSpPr>
            <p:nvPr/>
          </p:nvSpPr>
          <p:spPr bwMode="auto">
            <a:xfrm>
              <a:off x="5497" y="2036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270"/>
            <p:cNvSpPr>
              <a:spLocks/>
            </p:cNvSpPr>
            <p:nvPr/>
          </p:nvSpPr>
          <p:spPr bwMode="auto">
            <a:xfrm>
              <a:off x="5603" y="2100"/>
              <a:ext cx="128" cy="212"/>
            </a:xfrm>
            <a:custGeom>
              <a:avLst/>
              <a:gdLst>
                <a:gd name="T0" fmla="*/ 190 w 194"/>
                <a:gd name="T1" fmla="*/ 89 h 320"/>
                <a:gd name="T2" fmla="*/ 105 w 194"/>
                <a:gd name="T3" fmla="*/ 3 h 320"/>
                <a:gd name="T4" fmla="*/ 101 w 194"/>
                <a:gd name="T5" fmla="*/ 1 h 320"/>
                <a:gd name="T6" fmla="*/ 93 w 194"/>
                <a:gd name="T7" fmla="*/ 1 h 320"/>
                <a:gd name="T8" fmla="*/ 89 w 194"/>
                <a:gd name="T9" fmla="*/ 3 h 320"/>
                <a:gd name="T10" fmla="*/ 4 w 194"/>
                <a:gd name="T11" fmla="*/ 89 h 320"/>
                <a:gd name="T12" fmla="*/ 4 w 194"/>
                <a:gd name="T13" fmla="*/ 104 h 320"/>
                <a:gd name="T14" fmla="*/ 12 w 194"/>
                <a:gd name="T15" fmla="*/ 107 h 320"/>
                <a:gd name="T16" fmla="*/ 19 w 194"/>
                <a:gd name="T17" fmla="*/ 104 h 320"/>
                <a:gd name="T18" fmla="*/ 86 w 194"/>
                <a:gd name="T19" fmla="*/ 37 h 320"/>
                <a:gd name="T20" fmla="*/ 86 w 194"/>
                <a:gd name="T21" fmla="*/ 310 h 320"/>
                <a:gd name="T22" fmla="*/ 97 w 194"/>
                <a:gd name="T23" fmla="*/ 320 h 320"/>
                <a:gd name="T24" fmla="*/ 108 w 194"/>
                <a:gd name="T25" fmla="*/ 310 h 320"/>
                <a:gd name="T26" fmla="*/ 108 w 194"/>
                <a:gd name="T27" fmla="*/ 37 h 320"/>
                <a:gd name="T28" fmla="*/ 175 w 194"/>
                <a:gd name="T29" fmla="*/ 104 h 320"/>
                <a:gd name="T30" fmla="*/ 182 w 194"/>
                <a:gd name="T31" fmla="*/ 107 h 320"/>
                <a:gd name="T32" fmla="*/ 190 w 194"/>
                <a:gd name="T33" fmla="*/ 104 h 320"/>
                <a:gd name="T34" fmla="*/ 190 w 194"/>
                <a:gd name="T35" fmla="*/ 8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320">
                  <a:moveTo>
                    <a:pt x="190" y="89"/>
                  </a:moveTo>
                  <a:cubicBezTo>
                    <a:pt x="105" y="3"/>
                    <a:pt x="105" y="3"/>
                    <a:pt x="105" y="3"/>
                  </a:cubicBezTo>
                  <a:cubicBezTo>
                    <a:pt x="104" y="2"/>
                    <a:pt x="102" y="2"/>
                    <a:pt x="101" y="1"/>
                  </a:cubicBezTo>
                  <a:cubicBezTo>
                    <a:pt x="98" y="0"/>
                    <a:pt x="96" y="0"/>
                    <a:pt x="93" y="1"/>
                  </a:cubicBezTo>
                  <a:cubicBezTo>
                    <a:pt x="92" y="2"/>
                    <a:pt x="90" y="2"/>
                    <a:pt x="89" y="3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0" y="93"/>
                    <a:pt x="0" y="100"/>
                    <a:pt x="4" y="104"/>
                  </a:cubicBezTo>
                  <a:cubicBezTo>
                    <a:pt x="6" y="106"/>
                    <a:pt x="9" y="107"/>
                    <a:pt x="12" y="107"/>
                  </a:cubicBezTo>
                  <a:cubicBezTo>
                    <a:pt x="14" y="107"/>
                    <a:pt x="17" y="106"/>
                    <a:pt x="19" y="104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10"/>
                    <a:pt x="86" y="310"/>
                    <a:pt x="86" y="310"/>
                  </a:cubicBezTo>
                  <a:cubicBezTo>
                    <a:pt x="86" y="316"/>
                    <a:pt x="91" y="320"/>
                    <a:pt x="97" y="320"/>
                  </a:cubicBezTo>
                  <a:cubicBezTo>
                    <a:pt x="103" y="320"/>
                    <a:pt x="108" y="316"/>
                    <a:pt x="108" y="310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7" y="106"/>
                    <a:pt x="180" y="107"/>
                    <a:pt x="182" y="107"/>
                  </a:cubicBezTo>
                  <a:cubicBezTo>
                    <a:pt x="185" y="107"/>
                    <a:pt x="188" y="106"/>
                    <a:pt x="190" y="104"/>
                  </a:cubicBezTo>
                  <a:cubicBezTo>
                    <a:pt x="194" y="100"/>
                    <a:pt x="194" y="93"/>
                    <a:pt x="190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9" name="Freeform 118"/>
          <p:cNvSpPr>
            <a:spLocks noChangeAspect="1" noEditPoints="1"/>
          </p:cNvSpPr>
          <p:nvPr/>
        </p:nvSpPr>
        <p:spPr bwMode="auto">
          <a:xfrm>
            <a:off x="1928568" y="2914974"/>
            <a:ext cx="368152" cy="36815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3 w 512"/>
              <a:gd name="T11" fmla="*/ 370 h 512"/>
              <a:gd name="T12" fmla="*/ 405 w 512"/>
              <a:gd name="T13" fmla="*/ 373 h 512"/>
              <a:gd name="T14" fmla="*/ 397 w 512"/>
              <a:gd name="T15" fmla="*/ 370 h 512"/>
              <a:gd name="T16" fmla="*/ 256 w 512"/>
              <a:gd name="T17" fmla="*/ 228 h 512"/>
              <a:gd name="T18" fmla="*/ 114 w 512"/>
              <a:gd name="T19" fmla="*/ 370 h 512"/>
              <a:gd name="T20" fmla="*/ 99 w 512"/>
              <a:gd name="T21" fmla="*/ 370 h 512"/>
              <a:gd name="T22" fmla="*/ 99 w 512"/>
              <a:gd name="T23" fmla="*/ 355 h 512"/>
              <a:gd name="T24" fmla="*/ 248 w 512"/>
              <a:gd name="T25" fmla="*/ 205 h 512"/>
              <a:gd name="T26" fmla="*/ 263 w 512"/>
              <a:gd name="T27" fmla="*/ 205 h 512"/>
              <a:gd name="T28" fmla="*/ 413 w 512"/>
              <a:gd name="T29" fmla="*/ 355 h 512"/>
              <a:gd name="T30" fmla="*/ 413 w 512"/>
              <a:gd name="T31" fmla="*/ 370 h 512"/>
              <a:gd name="T32" fmla="*/ 413 w 512"/>
              <a:gd name="T33" fmla="*/ 263 h 512"/>
              <a:gd name="T34" fmla="*/ 405 w 512"/>
              <a:gd name="T35" fmla="*/ 266 h 512"/>
              <a:gd name="T36" fmla="*/ 397 w 512"/>
              <a:gd name="T37" fmla="*/ 263 h 512"/>
              <a:gd name="T38" fmla="*/ 256 w 512"/>
              <a:gd name="T39" fmla="*/ 121 h 512"/>
              <a:gd name="T40" fmla="*/ 114 w 512"/>
              <a:gd name="T41" fmla="*/ 263 h 512"/>
              <a:gd name="T42" fmla="*/ 99 w 512"/>
              <a:gd name="T43" fmla="*/ 263 h 512"/>
              <a:gd name="T44" fmla="*/ 99 w 512"/>
              <a:gd name="T45" fmla="*/ 248 h 512"/>
              <a:gd name="T46" fmla="*/ 248 w 512"/>
              <a:gd name="T47" fmla="*/ 99 h 512"/>
              <a:gd name="T48" fmla="*/ 263 w 512"/>
              <a:gd name="T49" fmla="*/ 99 h 512"/>
              <a:gd name="T50" fmla="*/ 413 w 512"/>
              <a:gd name="T51" fmla="*/ 248 h 512"/>
              <a:gd name="T52" fmla="*/ 413 w 512"/>
              <a:gd name="T5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3" y="370"/>
                </a:moveTo>
                <a:cubicBezTo>
                  <a:pt x="410" y="372"/>
                  <a:pt x="408" y="373"/>
                  <a:pt x="405" y="373"/>
                </a:cubicBezTo>
                <a:cubicBezTo>
                  <a:pt x="402" y="373"/>
                  <a:pt x="400" y="372"/>
                  <a:pt x="397" y="370"/>
                </a:cubicBezTo>
                <a:cubicBezTo>
                  <a:pt x="256" y="228"/>
                  <a:pt x="256" y="228"/>
                  <a:pt x="256" y="228"/>
                </a:cubicBezTo>
                <a:cubicBezTo>
                  <a:pt x="114" y="370"/>
                  <a:pt x="114" y="370"/>
                  <a:pt x="114" y="370"/>
                </a:cubicBezTo>
                <a:cubicBezTo>
                  <a:pt x="110" y="374"/>
                  <a:pt x="103" y="374"/>
                  <a:pt x="99" y="370"/>
                </a:cubicBezTo>
                <a:cubicBezTo>
                  <a:pt x="95" y="366"/>
                  <a:pt x="95" y="359"/>
                  <a:pt x="99" y="355"/>
                </a:cubicBezTo>
                <a:cubicBezTo>
                  <a:pt x="248" y="205"/>
                  <a:pt x="248" y="205"/>
                  <a:pt x="248" y="205"/>
                </a:cubicBezTo>
                <a:cubicBezTo>
                  <a:pt x="252" y="201"/>
                  <a:pt x="259" y="201"/>
                  <a:pt x="263" y="205"/>
                </a:cubicBezTo>
                <a:cubicBezTo>
                  <a:pt x="413" y="355"/>
                  <a:pt x="413" y="355"/>
                  <a:pt x="413" y="355"/>
                </a:cubicBezTo>
                <a:cubicBezTo>
                  <a:pt x="417" y="359"/>
                  <a:pt x="417" y="366"/>
                  <a:pt x="413" y="370"/>
                </a:cubicBezTo>
                <a:close/>
                <a:moveTo>
                  <a:pt x="413" y="263"/>
                </a:moveTo>
                <a:cubicBezTo>
                  <a:pt x="410" y="265"/>
                  <a:pt x="408" y="266"/>
                  <a:pt x="405" y="266"/>
                </a:cubicBezTo>
                <a:cubicBezTo>
                  <a:pt x="402" y="266"/>
                  <a:pt x="400" y="265"/>
                  <a:pt x="397" y="263"/>
                </a:cubicBezTo>
                <a:cubicBezTo>
                  <a:pt x="256" y="121"/>
                  <a:pt x="256" y="121"/>
                  <a:pt x="256" y="121"/>
                </a:cubicBezTo>
                <a:cubicBezTo>
                  <a:pt x="114" y="263"/>
                  <a:pt x="114" y="263"/>
                  <a:pt x="114" y="263"/>
                </a:cubicBezTo>
                <a:cubicBezTo>
                  <a:pt x="110" y="267"/>
                  <a:pt x="103" y="267"/>
                  <a:pt x="99" y="263"/>
                </a:cubicBezTo>
                <a:cubicBezTo>
                  <a:pt x="95" y="259"/>
                  <a:pt x="95" y="252"/>
                  <a:pt x="99" y="248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52" y="95"/>
                  <a:pt x="259" y="95"/>
                  <a:pt x="263" y="99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0" name="Group 53"/>
          <p:cNvGrpSpPr>
            <a:grpSpLocks noChangeAspect="1"/>
          </p:cNvGrpSpPr>
          <p:nvPr/>
        </p:nvGrpSpPr>
        <p:grpSpPr bwMode="auto">
          <a:xfrm>
            <a:off x="3928316" y="3720909"/>
            <a:ext cx="369676" cy="369676"/>
            <a:chOff x="3730" y="9"/>
            <a:chExt cx="340" cy="340"/>
          </a:xfrm>
          <a:solidFill>
            <a:schemeClr val="accent1"/>
          </a:solidFill>
        </p:grpSpPr>
        <p:sp>
          <p:nvSpPr>
            <p:cNvPr id="311" name="Freeform 54"/>
            <p:cNvSpPr>
              <a:spLocks/>
            </p:cNvSpPr>
            <p:nvPr/>
          </p:nvSpPr>
          <p:spPr bwMode="auto">
            <a:xfrm>
              <a:off x="3793" y="115"/>
              <a:ext cx="214" cy="114"/>
            </a:xfrm>
            <a:custGeom>
              <a:avLst/>
              <a:gdLst>
                <a:gd name="T0" fmla="*/ 310 w 322"/>
                <a:gd name="T1" fmla="*/ 171 h 172"/>
                <a:gd name="T2" fmla="*/ 302 w 322"/>
                <a:gd name="T3" fmla="*/ 168 h 172"/>
                <a:gd name="T4" fmla="*/ 161 w 322"/>
                <a:gd name="T5" fmla="*/ 26 h 172"/>
                <a:gd name="T6" fmla="*/ 19 w 322"/>
                <a:gd name="T7" fmla="*/ 168 h 172"/>
                <a:gd name="T8" fmla="*/ 4 w 322"/>
                <a:gd name="T9" fmla="*/ 168 h 172"/>
                <a:gd name="T10" fmla="*/ 4 w 322"/>
                <a:gd name="T11" fmla="*/ 153 h 172"/>
                <a:gd name="T12" fmla="*/ 153 w 322"/>
                <a:gd name="T13" fmla="*/ 4 h 172"/>
                <a:gd name="T14" fmla="*/ 168 w 322"/>
                <a:gd name="T15" fmla="*/ 4 h 172"/>
                <a:gd name="T16" fmla="*/ 318 w 322"/>
                <a:gd name="T17" fmla="*/ 153 h 172"/>
                <a:gd name="T18" fmla="*/ 318 w 322"/>
                <a:gd name="T19" fmla="*/ 168 h 172"/>
                <a:gd name="T20" fmla="*/ 310 w 322"/>
                <a:gd name="T21" fmla="*/ 17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172">
                  <a:moveTo>
                    <a:pt x="310" y="171"/>
                  </a:moveTo>
                  <a:cubicBezTo>
                    <a:pt x="307" y="171"/>
                    <a:pt x="305" y="170"/>
                    <a:pt x="302" y="168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9" y="168"/>
                    <a:pt x="19" y="168"/>
                    <a:pt x="19" y="168"/>
                  </a:cubicBezTo>
                  <a:cubicBezTo>
                    <a:pt x="15" y="172"/>
                    <a:pt x="8" y="172"/>
                    <a:pt x="4" y="168"/>
                  </a:cubicBezTo>
                  <a:cubicBezTo>
                    <a:pt x="0" y="164"/>
                    <a:pt x="0" y="157"/>
                    <a:pt x="4" y="153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7" y="0"/>
                    <a:pt x="164" y="0"/>
                    <a:pt x="168" y="4"/>
                  </a:cubicBezTo>
                  <a:cubicBezTo>
                    <a:pt x="318" y="153"/>
                    <a:pt x="318" y="153"/>
                    <a:pt x="318" y="153"/>
                  </a:cubicBezTo>
                  <a:cubicBezTo>
                    <a:pt x="322" y="157"/>
                    <a:pt x="322" y="164"/>
                    <a:pt x="318" y="168"/>
                  </a:cubicBezTo>
                  <a:cubicBezTo>
                    <a:pt x="315" y="170"/>
                    <a:pt x="313" y="171"/>
                    <a:pt x="310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55"/>
            <p:cNvSpPr>
              <a:spLocks noEditPoints="1"/>
            </p:cNvSpPr>
            <p:nvPr/>
          </p:nvSpPr>
          <p:spPr bwMode="auto">
            <a:xfrm>
              <a:off x="3730" y="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3" name="Freeform 59"/>
          <p:cNvSpPr>
            <a:spLocks noChangeAspect="1" noEditPoints="1"/>
          </p:cNvSpPr>
          <p:nvPr/>
        </p:nvSpPr>
        <p:spPr bwMode="auto">
          <a:xfrm>
            <a:off x="3429743" y="3720909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330 h 512"/>
              <a:gd name="T12" fmla="*/ 397 w 512"/>
              <a:gd name="T13" fmla="*/ 327 h 512"/>
              <a:gd name="T14" fmla="*/ 256 w 512"/>
              <a:gd name="T15" fmla="*/ 185 h 512"/>
              <a:gd name="T16" fmla="*/ 114 w 512"/>
              <a:gd name="T17" fmla="*/ 327 h 512"/>
              <a:gd name="T18" fmla="*/ 99 w 512"/>
              <a:gd name="T19" fmla="*/ 327 h 512"/>
              <a:gd name="T20" fmla="*/ 99 w 512"/>
              <a:gd name="T21" fmla="*/ 312 h 512"/>
              <a:gd name="T22" fmla="*/ 248 w 512"/>
              <a:gd name="T23" fmla="*/ 163 h 512"/>
              <a:gd name="T24" fmla="*/ 263 w 512"/>
              <a:gd name="T25" fmla="*/ 163 h 512"/>
              <a:gd name="T26" fmla="*/ 413 w 512"/>
              <a:gd name="T27" fmla="*/ 312 h 512"/>
              <a:gd name="T28" fmla="*/ 413 w 512"/>
              <a:gd name="T29" fmla="*/ 327 h 512"/>
              <a:gd name="T30" fmla="*/ 405 w 512"/>
              <a:gd name="T31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330"/>
                </a:moveTo>
                <a:cubicBezTo>
                  <a:pt x="402" y="330"/>
                  <a:pt x="400" y="329"/>
                  <a:pt x="397" y="327"/>
                </a:cubicBezTo>
                <a:cubicBezTo>
                  <a:pt x="256" y="185"/>
                  <a:pt x="256" y="185"/>
                  <a:pt x="256" y="185"/>
                </a:cubicBezTo>
                <a:cubicBezTo>
                  <a:pt x="114" y="327"/>
                  <a:pt x="114" y="327"/>
                  <a:pt x="114" y="327"/>
                </a:cubicBezTo>
                <a:cubicBezTo>
                  <a:pt x="110" y="331"/>
                  <a:pt x="103" y="331"/>
                  <a:pt x="99" y="327"/>
                </a:cubicBezTo>
                <a:cubicBezTo>
                  <a:pt x="95" y="323"/>
                  <a:pt x="95" y="316"/>
                  <a:pt x="99" y="312"/>
                </a:cubicBezTo>
                <a:cubicBezTo>
                  <a:pt x="248" y="163"/>
                  <a:pt x="248" y="163"/>
                  <a:pt x="248" y="163"/>
                </a:cubicBezTo>
                <a:cubicBezTo>
                  <a:pt x="252" y="159"/>
                  <a:pt x="259" y="159"/>
                  <a:pt x="263" y="163"/>
                </a:cubicBezTo>
                <a:cubicBezTo>
                  <a:pt x="413" y="312"/>
                  <a:pt x="413" y="312"/>
                  <a:pt x="413" y="312"/>
                </a:cubicBezTo>
                <a:cubicBezTo>
                  <a:pt x="417" y="316"/>
                  <a:pt x="417" y="323"/>
                  <a:pt x="413" y="327"/>
                </a:cubicBezTo>
                <a:cubicBezTo>
                  <a:pt x="410" y="329"/>
                  <a:pt x="408" y="330"/>
                  <a:pt x="405" y="3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4" name="Group 62"/>
          <p:cNvGrpSpPr>
            <a:grpSpLocks noChangeAspect="1"/>
          </p:cNvGrpSpPr>
          <p:nvPr/>
        </p:nvGrpSpPr>
        <p:grpSpPr bwMode="auto">
          <a:xfrm>
            <a:off x="2931170" y="3720909"/>
            <a:ext cx="369676" cy="369676"/>
            <a:chOff x="2980" y="0"/>
            <a:chExt cx="340" cy="340"/>
          </a:xfrm>
          <a:solidFill>
            <a:schemeClr val="accent1"/>
          </a:solidFill>
        </p:grpSpPr>
        <p:sp>
          <p:nvSpPr>
            <p:cNvPr id="315" name="Freeform 63"/>
            <p:cNvSpPr>
              <a:spLocks/>
            </p:cNvSpPr>
            <p:nvPr/>
          </p:nvSpPr>
          <p:spPr bwMode="auto">
            <a:xfrm>
              <a:off x="3071" y="191"/>
              <a:ext cx="157" cy="85"/>
            </a:xfrm>
            <a:custGeom>
              <a:avLst/>
              <a:gdLst>
                <a:gd name="T0" fmla="*/ 218 w 237"/>
                <a:gd name="T1" fmla="*/ 4 h 129"/>
                <a:gd name="T2" fmla="*/ 119 w 237"/>
                <a:gd name="T3" fmla="*/ 103 h 129"/>
                <a:gd name="T4" fmla="*/ 20 w 237"/>
                <a:gd name="T5" fmla="*/ 4 h 129"/>
                <a:gd name="T6" fmla="*/ 4 w 237"/>
                <a:gd name="T7" fmla="*/ 4 h 129"/>
                <a:gd name="T8" fmla="*/ 4 w 237"/>
                <a:gd name="T9" fmla="*/ 19 h 129"/>
                <a:gd name="T10" fmla="*/ 111 w 237"/>
                <a:gd name="T11" fmla="*/ 126 h 129"/>
                <a:gd name="T12" fmla="*/ 119 w 237"/>
                <a:gd name="T13" fmla="*/ 129 h 129"/>
                <a:gd name="T14" fmla="*/ 126 w 237"/>
                <a:gd name="T15" fmla="*/ 126 h 129"/>
                <a:gd name="T16" fmla="*/ 233 w 237"/>
                <a:gd name="T17" fmla="*/ 19 h 129"/>
                <a:gd name="T18" fmla="*/ 233 w 237"/>
                <a:gd name="T19" fmla="*/ 4 h 129"/>
                <a:gd name="T20" fmla="*/ 218 w 237"/>
                <a:gd name="T21" fmla="*/ 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129">
                  <a:moveTo>
                    <a:pt x="218" y="4"/>
                  </a:moveTo>
                  <a:cubicBezTo>
                    <a:pt x="119" y="103"/>
                    <a:pt x="119" y="103"/>
                    <a:pt x="119" y="10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5" y="0"/>
                    <a:pt x="9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3" y="128"/>
                    <a:pt x="116" y="129"/>
                    <a:pt x="119" y="129"/>
                  </a:cubicBezTo>
                  <a:cubicBezTo>
                    <a:pt x="121" y="129"/>
                    <a:pt x="124" y="128"/>
                    <a:pt x="126" y="126"/>
                  </a:cubicBezTo>
                  <a:cubicBezTo>
                    <a:pt x="233" y="19"/>
                    <a:pt x="233" y="19"/>
                    <a:pt x="233" y="19"/>
                  </a:cubicBezTo>
                  <a:cubicBezTo>
                    <a:pt x="237" y="15"/>
                    <a:pt x="237" y="8"/>
                    <a:pt x="233" y="4"/>
                  </a:cubicBezTo>
                  <a:cubicBezTo>
                    <a:pt x="229" y="0"/>
                    <a:pt x="222" y="0"/>
                    <a:pt x="2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64"/>
            <p:cNvSpPr>
              <a:spLocks/>
            </p:cNvSpPr>
            <p:nvPr/>
          </p:nvSpPr>
          <p:spPr bwMode="auto">
            <a:xfrm>
              <a:off x="3071" y="63"/>
              <a:ext cx="157" cy="86"/>
            </a:xfrm>
            <a:custGeom>
              <a:avLst/>
              <a:gdLst>
                <a:gd name="T0" fmla="*/ 20 w 237"/>
                <a:gd name="T1" fmla="*/ 126 h 130"/>
                <a:gd name="T2" fmla="*/ 119 w 237"/>
                <a:gd name="T3" fmla="*/ 26 h 130"/>
                <a:gd name="T4" fmla="*/ 218 w 237"/>
                <a:gd name="T5" fmla="*/ 126 h 130"/>
                <a:gd name="T6" fmla="*/ 225 w 237"/>
                <a:gd name="T7" fmla="*/ 129 h 130"/>
                <a:gd name="T8" fmla="*/ 233 w 237"/>
                <a:gd name="T9" fmla="*/ 126 h 130"/>
                <a:gd name="T10" fmla="*/ 233 w 237"/>
                <a:gd name="T11" fmla="*/ 110 h 130"/>
                <a:gd name="T12" fmla="*/ 126 w 237"/>
                <a:gd name="T13" fmla="*/ 4 h 130"/>
                <a:gd name="T14" fmla="*/ 111 w 237"/>
                <a:gd name="T15" fmla="*/ 4 h 130"/>
                <a:gd name="T16" fmla="*/ 4 w 237"/>
                <a:gd name="T17" fmla="*/ 110 h 130"/>
                <a:gd name="T18" fmla="*/ 4 w 237"/>
                <a:gd name="T19" fmla="*/ 126 h 130"/>
                <a:gd name="T20" fmla="*/ 20 w 237"/>
                <a:gd name="T21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130">
                  <a:moveTo>
                    <a:pt x="20" y="126"/>
                  </a:moveTo>
                  <a:cubicBezTo>
                    <a:pt x="119" y="26"/>
                    <a:pt x="119" y="26"/>
                    <a:pt x="119" y="26"/>
                  </a:cubicBezTo>
                  <a:cubicBezTo>
                    <a:pt x="218" y="126"/>
                    <a:pt x="218" y="126"/>
                    <a:pt x="218" y="126"/>
                  </a:cubicBezTo>
                  <a:cubicBezTo>
                    <a:pt x="220" y="128"/>
                    <a:pt x="223" y="129"/>
                    <a:pt x="225" y="129"/>
                  </a:cubicBezTo>
                  <a:cubicBezTo>
                    <a:pt x="228" y="129"/>
                    <a:pt x="231" y="128"/>
                    <a:pt x="233" y="126"/>
                  </a:cubicBezTo>
                  <a:cubicBezTo>
                    <a:pt x="237" y="121"/>
                    <a:pt x="237" y="115"/>
                    <a:pt x="233" y="110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2" y="0"/>
                    <a:pt x="115" y="0"/>
                    <a:pt x="111" y="4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0" y="115"/>
                    <a:pt x="0" y="121"/>
                    <a:pt x="4" y="126"/>
                  </a:cubicBezTo>
                  <a:cubicBezTo>
                    <a:pt x="9" y="130"/>
                    <a:pt x="15" y="130"/>
                    <a:pt x="20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65"/>
            <p:cNvSpPr>
              <a:spLocks noEditPoints="1"/>
            </p:cNvSpPr>
            <p:nvPr/>
          </p:nvSpPr>
          <p:spPr bwMode="auto">
            <a:xfrm>
              <a:off x="2980" y="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8" name="Freeform 69"/>
          <p:cNvSpPr>
            <a:spLocks noChangeAspect="1" noEditPoints="1"/>
          </p:cNvSpPr>
          <p:nvPr/>
        </p:nvSpPr>
        <p:spPr bwMode="auto">
          <a:xfrm>
            <a:off x="2432597" y="3720909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0 w 512"/>
              <a:gd name="T11" fmla="*/ 306 h 512"/>
              <a:gd name="T12" fmla="*/ 263 w 512"/>
              <a:gd name="T13" fmla="*/ 413 h 512"/>
              <a:gd name="T14" fmla="*/ 256 w 512"/>
              <a:gd name="T15" fmla="*/ 416 h 512"/>
              <a:gd name="T16" fmla="*/ 248 w 512"/>
              <a:gd name="T17" fmla="*/ 413 h 512"/>
              <a:gd name="T18" fmla="*/ 141 w 512"/>
              <a:gd name="T19" fmla="*/ 306 h 512"/>
              <a:gd name="T20" fmla="*/ 141 w 512"/>
              <a:gd name="T21" fmla="*/ 291 h 512"/>
              <a:gd name="T22" fmla="*/ 157 w 512"/>
              <a:gd name="T23" fmla="*/ 291 h 512"/>
              <a:gd name="T24" fmla="*/ 256 w 512"/>
              <a:gd name="T25" fmla="*/ 390 h 512"/>
              <a:gd name="T26" fmla="*/ 355 w 512"/>
              <a:gd name="T27" fmla="*/ 291 h 512"/>
              <a:gd name="T28" fmla="*/ 370 w 512"/>
              <a:gd name="T29" fmla="*/ 291 h 512"/>
              <a:gd name="T30" fmla="*/ 370 w 512"/>
              <a:gd name="T31" fmla="*/ 306 h 512"/>
              <a:gd name="T32" fmla="*/ 370 w 512"/>
              <a:gd name="T33" fmla="*/ 221 h 512"/>
              <a:gd name="T34" fmla="*/ 362 w 512"/>
              <a:gd name="T35" fmla="*/ 224 h 512"/>
              <a:gd name="T36" fmla="*/ 355 w 512"/>
              <a:gd name="T37" fmla="*/ 221 h 512"/>
              <a:gd name="T38" fmla="*/ 256 w 512"/>
              <a:gd name="T39" fmla="*/ 121 h 512"/>
              <a:gd name="T40" fmla="*/ 157 w 512"/>
              <a:gd name="T41" fmla="*/ 221 h 512"/>
              <a:gd name="T42" fmla="*/ 141 w 512"/>
              <a:gd name="T43" fmla="*/ 221 h 512"/>
              <a:gd name="T44" fmla="*/ 141 w 512"/>
              <a:gd name="T45" fmla="*/ 205 h 512"/>
              <a:gd name="T46" fmla="*/ 248 w 512"/>
              <a:gd name="T47" fmla="*/ 99 h 512"/>
              <a:gd name="T48" fmla="*/ 263 w 512"/>
              <a:gd name="T49" fmla="*/ 99 h 512"/>
              <a:gd name="T50" fmla="*/ 370 w 512"/>
              <a:gd name="T51" fmla="*/ 205 h 512"/>
              <a:gd name="T52" fmla="*/ 370 w 512"/>
              <a:gd name="T53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0" y="306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141" y="306"/>
                  <a:pt x="141" y="306"/>
                  <a:pt x="141" y="306"/>
                </a:cubicBezTo>
                <a:cubicBezTo>
                  <a:pt x="137" y="302"/>
                  <a:pt x="137" y="295"/>
                  <a:pt x="141" y="291"/>
                </a:cubicBezTo>
                <a:cubicBezTo>
                  <a:pt x="146" y="287"/>
                  <a:pt x="152" y="287"/>
                  <a:pt x="157" y="291"/>
                </a:cubicBezTo>
                <a:cubicBezTo>
                  <a:pt x="256" y="390"/>
                  <a:pt x="256" y="390"/>
                  <a:pt x="256" y="390"/>
                </a:cubicBezTo>
                <a:cubicBezTo>
                  <a:pt x="355" y="291"/>
                  <a:pt x="355" y="291"/>
                  <a:pt x="355" y="291"/>
                </a:cubicBezTo>
                <a:cubicBezTo>
                  <a:pt x="359" y="287"/>
                  <a:pt x="366" y="287"/>
                  <a:pt x="370" y="291"/>
                </a:cubicBezTo>
                <a:cubicBezTo>
                  <a:pt x="374" y="295"/>
                  <a:pt x="374" y="302"/>
                  <a:pt x="370" y="306"/>
                </a:cubicBezTo>
                <a:close/>
                <a:moveTo>
                  <a:pt x="370" y="221"/>
                </a:moveTo>
                <a:cubicBezTo>
                  <a:pt x="368" y="223"/>
                  <a:pt x="365" y="224"/>
                  <a:pt x="362" y="224"/>
                </a:cubicBezTo>
                <a:cubicBezTo>
                  <a:pt x="360" y="224"/>
                  <a:pt x="357" y="223"/>
                  <a:pt x="355" y="221"/>
                </a:cubicBezTo>
                <a:cubicBezTo>
                  <a:pt x="256" y="121"/>
                  <a:pt x="256" y="121"/>
                  <a:pt x="256" y="121"/>
                </a:cubicBezTo>
                <a:cubicBezTo>
                  <a:pt x="157" y="221"/>
                  <a:pt x="157" y="221"/>
                  <a:pt x="157" y="221"/>
                </a:cubicBezTo>
                <a:cubicBezTo>
                  <a:pt x="152" y="225"/>
                  <a:pt x="146" y="225"/>
                  <a:pt x="141" y="221"/>
                </a:cubicBezTo>
                <a:cubicBezTo>
                  <a:pt x="137" y="216"/>
                  <a:pt x="137" y="210"/>
                  <a:pt x="141" y="205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52" y="95"/>
                  <a:pt x="259" y="95"/>
                  <a:pt x="263" y="99"/>
                </a:cubicBezTo>
                <a:cubicBezTo>
                  <a:pt x="370" y="205"/>
                  <a:pt x="370" y="205"/>
                  <a:pt x="370" y="205"/>
                </a:cubicBezTo>
                <a:cubicBezTo>
                  <a:pt x="374" y="210"/>
                  <a:pt x="374" y="216"/>
                  <a:pt x="370" y="2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9" name="Group 72"/>
          <p:cNvGrpSpPr>
            <a:grpSpLocks noChangeAspect="1"/>
          </p:cNvGrpSpPr>
          <p:nvPr/>
        </p:nvGrpSpPr>
        <p:grpSpPr bwMode="auto">
          <a:xfrm>
            <a:off x="1934024" y="3720909"/>
            <a:ext cx="369676" cy="369676"/>
            <a:chOff x="2246" y="6"/>
            <a:chExt cx="340" cy="340"/>
          </a:xfrm>
          <a:solidFill>
            <a:schemeClr val="accent1"/>
          </a:solidFill>
        </p:grpSpPr>
        <p:sp>
          <p:nvSpPr>
            <p:cNvPr id="320" name="Freeform 73"/>
            <p:cNvSpPr>
              <a:spLocks/>
            </p:cNvSpPr>
            <p:nvPr/>
          </p:nvSpPr>
          <p:spPr bwMode="auto">
            <a:xfrm>
              <a:off x="2437" y="97"/>
              <a:ext cx="86" cy="157"/>
            </a:xfrm>
            <a:custGeom>
              <a:avLst/>
              <a:gdLst>
                <a:gd name="T0" fmla="*/ 126 w 130"/>
                <a:gd name="T1" fmla="*/ 111 h 236"/>
                <a:gd name="T2" fmla="*/ 19 w 130"/>
                <a:gd name="T3" fmla="*/ 4 h 236"/>
                <a:gd name="T4" fmla="*/ 4 w 130"/>
                <a:gd name="T5" fmla="*/ 4 h 236"/>
                <a:gd name="T6" fmla="*/ 4 w 130"/>
                <a:gd name="T7" fmla="*/ 20 h 236"/>
                <a:gd name="T8" fmla="*/ 103 w 130"/>
                <a:gd name="T9" fmla="*/ 119 h 236"/>
                <a:gd name="T10" fmla="*/ 4 w 130"/>
                <a:gd name="T11" fmla="*/ 218 h 236"/>
                <a:gd name="T12" fmla="*/ 4 w 130"/>
                <a:gd name="T13" fmla="*/ 233 h 236"/>
                <a:gd name="T14" fmla="*/ 11 w 130"/>
                <a:gd name="T15" fmla="*/ 236 h 236"/>
                <a:gd name="T16" fmla="*/ 19 w 130"/>
                <a:gd name="T17" fmla="*/ 233 h 236"/>
                <a:gd name="T18" fmla="*/ 126 w 130"/>
                <a:gd name="T19" fmla="*/ 126 h 236"/>
                <a:gd name="T20" fmla="*/ 126 w 130"/>
                <a:gd name="T21" fmla="*/ 11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" h="236">
                  <a:moveTo>
                    <a:pt x="126" y="111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9"/>
                    <a:pt x="0" y="15"/>
                    <a:pt x="4" y="20"/>
                  </a:cubicBezTo>
                  <a:cubicBezTo>
                    <a:pt x="103" y="119"/>
                    <a:pt x="103" y="119"/>
                    <a:pt x="103" y="119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0" y="222"/>
                    <a:pt x="0" y="229"/>
                    <a:pt x="4" y="233"/>
                  </a:cubicBezTo>
                  <a:cubicBezTo>
                    <a:pt x="6" y="235"/>
                    <a:pt x="9" y="236"/>
                    <a:pt x="11" y="236"/>
                  </a:cubicBezTo>
                  <a:cubicBezTo>
                    <a:pt x="14" y="236"/>
                    <a:pt x="17" y="235"/>
                    <a:pt x="19" y="233"/>
                  </a:cubicBezTo>
                  <a:cubicBezTo>
                    <a:pt x="126" y="126"/>
                    <a:pt x="126" y="126"/>
                    <a:pt x="126" y="126"/>
                  </a:cubicBezTo>
                  <a:cubicBezTo>
                    <a:pt x="130" y="122"/>
                    <a:pt x="130" y="115"/>
                    <a:pt x="126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74"/>
            <p:cNvSpPr>
              <a:spLocks/>
            </p:cNvSpPr>
            <p:nvPr/>
          </p:nvSpPr>
          <p:spPr bwMode="auto">
            <a:xfrm>
              <a:off x="2309" y="97"/>
              <a:ext cx="86" cy="157"/>
            </a:xfrm>
            <a:custGeom>
              <a:avLst/>
              <a:gdLst>
                <a:gd name="T0" fmla="*/ 126 w 130"/>
                <a:gd name="T1" fmla="*/ 4 h 236"/>
                <a:gd name="T2" fmla="*/ 110 w 130"/>
                <a:gd name="T3" fmla="*/ 4 h 236"/>
                <a:gd name="T4" fmla="*/ 4 w 130"/>
                <a:gd name="T5" fmla="*/ 111 h 236"/>
                <a:gd name="T6" fmla="*/ 4 w 130"/>
                <a:gd name="T7" fmla="*/ 126 h 236"/>
                <a:gd name="T8" fmla="*/ 110 w 130"/>
                <a:gd name="T9" fmla="*/ 233 h 236"/>
                <a:gd name="T10" fmla="*/ 118 w 130"/>
                <a:gd name="T11" fmla="*/ 236 h 236"/>
                <a:gd name="T12" fmla="*/ 126 w 130"/>
                <a:gd name="T13" fmla="*/ 233 h 236"/>
                <a:gd name="T14" fmla="*/ 126 w 130"/>
                <a:gd name="T15" fmla="*/ 218 h 236"/>
                <a:gd name="T16" fmla="*/ 26 w 130"/>
                <a:gd name="T17" fmla="*/ 119 h 236"/>
                <a:gd name="T18" fmla="*/ 126 w 130"/>
                <a:gd name="T19" fmla="*/ 20 h 236"/>
                <a:gd name="T20" fmla="*/ 126 w 130"/>
                <a:gd name="T21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" h="236">
                  <a:moveTo>
                    <a:pt x="126" y="4"/>
                  </a:moveTo>
                  <a:cubicBezTo>
                    <a:pt x="121" y="0"/>
                    <a:pt x="115" y="0"/>
                    <a:pt x="110" y="4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0" y="115"/>
                    <a:pt x="0" y="122"/>
                    <a:pt x="4" y="126"/>
                  </a:cubicBezTo>
                  <a:cubicBezTo>
                    <a:pt x="110" y="233"/>
                    <a:pt x="110" y="233"/>
                    <a:pt x="110" y="233"/>
                  </a:cubicBezTo>
                  <a:cubicBezTo>
                    <a:pt x="113" y="235"/>
                    <a:pt x="115" y="236"/>
                    <a:pt x="118" y="236"/>
                  </a:cubicBezTo>
                  <a:cubicBezTo>
                    <a:pt x="121" y="236"/>
                    <a:pt x="123" y="235"/>
                    <a:pt x="126" y="233"/>
                  </a:cubicBezTo>
                  <a:cubicBezTo>
                    <a:pt x="130" y="229"/>
                    <a:pt x="130" y="222"/>
                    <a:pt x="126" y="218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30" y="15"/>
                    <a:pt x="130" y="9"/>
                    <a:pt x="1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75"/>
            <p:cNvSpPr>
              <a:spLocks noEditPoints="1"/>
            </p:cNvSpPr>
            <p:nvPr/>
          </p:nvSpPr>
          <p:spPr bwMode="auto">
            <a:xfrm>
              <a:off x="2246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3" name="Freeform 79"/>
          <p:cNvSpPr>
            <a:spLocks noChangeAspect="1" noEditPoints="1"/>
          </p:cNvSpPr>
          <p:nvPr/>
        </p:nvSpPr>
        <p:spPr bwMode="auto">
          <a:xfrm>
            <a:off x="1435451" y="3720909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21 w 512"/>
              <a:gd name="T11" fmla="*/ 355 h 512"/>
              <a:gd name="T12" fmla="*/ 221 w 512"/>
              <a:gd name="T13" fmla="*/ 370 h 512"/>
              <a:gd name="T14" fmla="*/ 213 w 512"/>
              <a:gd name="T15" fmla="*/ 373 h 512"/>
              <a:gd name="T16" fmla="*/ 205 w 512"/>
              <a:gd name="T17" fmla="*/ 370 h 512"/>
              <a:gd name="T18" fmla="*/ 99 w 512"/>
              <a:gd name="T19" fmla="*/ 263 h 512"/>
              <a:gd name="T20" fmla="*/ 99 w 512"/>
              <a:gd name="T21" fmla="*/ 248 h 512"/>
              <a:gd name="T22" fmla="*/ 205 w 512"/>
              <a:gd name="T23" fmla="*/ 141 h 512"/>
              <a:gd name="T24" fmla="*/ 221 w 512"/>
              <a:gd name="T25" fmla="*/ 141 h 512"/>
              <a:gd name="T26" fmla="*/ 221 w 512"/>
              <a:gd name="T27" fmla="*/ 157 h 512"/>
              <a:gd name="T28" fmla="*/ 121 w 512"/>
              <a:gd name="T29" fmla="*/ 256 h 512"/>
              <a:gd name="T30" fmla="*/ 221 w 512"/>
              <a:gd name="T31" fmla="*/ 355 h 512"/>
              <a:gd name="T32" fmla="*/ 413 w 512"/>
              <a:gd name="T33" fmla="*/ 263 h 512"/>
              <a:gd name="T34" fmla="*/ 306 w 512"/>
              <a:gd name="T35" fmla="*/ 370 h 512"/>
              <a:gd name="T36" fmla="*/ 298 w 512"/>
              <a:gd name="T37" fmla="*/ 373 h 512"/>
              <a:gd name="T38" fmla="*/ 291 w 512"/>
              <a:gd name="T39" fmla="*/ 370 h 512"/>
              <a:gd name="T40" fmla="*/ 291 w 512"/>
              <a:gd name="T41" fmla="*/ 355 h 512"/>
              <a:gd name="T42" fmla="*/ 390 w 512"/>
              <a:gd name="T43" fmla="*/ 256 h 512"/>
              <a:gd name="T44" fmla="*/ 291 w 512"/>
              <a:gd name="T45" fmla="*/ 157 h 512"/>
              <a:gd name="T46" fmla="*/ 291 w 512"/>
              <a:gd name="T47" fmla="*/ 141 h 512"/>
              <a:gd name="T48" fmla="*/ 306 w 512"/>
              <a:gd name="T49" fmla="*/ 141 h 512"/>
              <a:gd name="T50" fmla="*/ 413 w 512"/>
              <a:gd name="T51" fmla="*/ 248 h 512"/>
              <a:gd name="T52" fmla="*/ 413 w 512"/>
              <a:gd name="T5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1" y="355"/>
                </a:moveTo>
                <a:cubicBezTo>
                  <a:pt x="225" y="359"/>
                  <a:pt x="225" y="366"/>
                  <a:pt x="221" y="370"/>
                </a:cubicBezTo>
                <a:cubicBezTo>
                  <a:pt x="218" y="372"/>
                  <a:pt x="216" y="373"/>
                  <a:pt x="213" y="373"/>
                </a:cubicBezTo>
                <a:cubicBezTo>
                  <a:pt x="210" y="373"/>
                  <a:pt x="208" y="372"/>
                  <a:pt x="205" y="370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5" y="259"/>
                  <a:pt x="95" y="252"/>
                  <a:pt x="99" y="248"/>
                </a:cubicBezTo>
                <a:cubicBezTo>
                  <a:pt x="205" y="141"/>
                  <a:pt x="205" y="141"/>
                  <a:pt x="205" y="141"/>
                </a:cubicBezTo>
                <a:cubicBezTo>
                  <a:pt x="210" y="137"/>
                  <a:pt x="216" y="137"/>
                  <a:pt x="221" y="141"/>
                </a:cubicBezTo>
                <a:cubicBezTo>
                  <a:pt x="225" y="146"/>
                  <a:pt x="225" y="152"/>
                  <a:pt x="221" y="157"/>
                </a:cubicBezTo>
                <a:cubicBezTo>
                  <a:pt x="121" y="256"/>
                  <a:pt x="121" y="256"/>
                  <a:pt x="121" y="256"/>
                </a:cubicBezTo>
                <a:lnTo>
                  <a:pt x="221" y="355"/>
                </a:lnTo>
                <a:close/>
                <a:moveTo>
                  <a:pt x="413" y="263"/>
                </a:moveTo>
                <a:cubicBezTo>
                  <a:pt x="306" y="370"/>
                  <a:pt x="306" y="370"/>
                  <a:pt x="306" y="370"/>
                </a:cubicBezTo>
                <a:cubicBezTo>
                  <a:pt x="304" y="372"/>
                  <a:pt x="301" y="373"/>
                  <a:pt x="298" y="373"/>
                </a:cubicBezTo>
                <a:cubicBezTo>
                  <a:pt x="296" y="373"/>
                  <a:pt x="293" y="372"/>
                  <a:pt x="291" y="370"/>
                </a:cubicBezTo>
                <a:cubicBezTo>
                  <a:pt x="287" y="366"/>
                  <a:pt x="287" y="359"/>
                  <a:pt x="291" y="355"/>
                </a:cubicBezTo>
                <a:cubicBezTo>
                  <a:pt x="390" y="256"/>
                  <a:pt x="390" y="256"/>
                  <a:pt x="390" y="256"/>
                </a:cubicBezTo>
                <a:cubicBezTo>
                  <a:pt x="291" y="157"/>
                  <a:pt x="291" y="157"/>
                  <a:pt x="291" y="157"/>
                </a:cubicBezTo>
                <a:cubicBezTo>
                  <a:pt x="287" y="152"/>
                  <a:pt x="287" y="146"/>
                  <a:pt x="291" y="141"/>
                </a:cubicBezTo>
                <a:cubicBezTo>
                  <a:pt x="295" y="137"/>
                  <a:pt x="302" y="137"/>
                  <a:pt x="306" y="141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4" name="Group 82"/>
          <p:cNvGrpSpPr>
            <a:grpSpLocks noChangeAspect="1"/>
          </p:cNvGrpSpPr>
          <p:nvPr/>
        </p:nvGrpSpPr>
        <p:grpSpPr bwMode="auto">
          <a:xfrm>
            <a:off x="936878" y="3720909"/>
            <a:ext cx="369676" cy="369676"/>
            <a:chOff x="1539" y="0"/>
            <a:chExt cx="340" cy="340"/>
          </a:xfrm>
          <a:solidFill>
            <a:schemeClr val="accent1"/>
          </a:solidFill>
        </p:grpSpPr>
        <p:sp>
          <p:nvSpPr>
            <p:cNvPr id="325" name="Freeform 83"/>
            <p:cNvSpPr>
              <a:spLocks/>
            </p:cNvSpPr>
            <p:nvPr/>
          </p:nvSpPr>
          <p:spPr bwMode="auto">
            <a:xfrm>
              <a:off x="1659" y="63"/>
              <a:ext cx="114" cy="213"/>
            </a:xfrm>
            <a:custGeom>
              <a:avLst/>
              <a:gdLst>
                <a:gd name="T0" fmla="*/ 12 w 173"/>
                <a:gd name="T1" fmla="*/ 321 h 321"/>
                <a:gd name="T2" fmla="*/ 4 w 173"/>
                <a:gd name="T3" fmla="*/ 318 h 321"/>
                <a:gd name="T4" fmla="*/ 4 w 173"/>
                <a:gd name="T5" fmla="*/ 302 h 321"/>
                <a:gd name="T6" fmla="*/ 146 w 173"/>
                <a:gd name="T7" fmla="*/ 161 h 321"/>
                <a:gd name="T8" fmla="*/ 4 w 173"/>
                <a:gd name="T9" fmla="*/ 19 h 321"/>
                <a:gd name="T10" fmla="*/ 4 w 173"/>
                <a:gd name="T11" fmla="*/ 4 h 321"/>
                <a:gd name="T12" fmla="*/ 19 w 173"/>
                <a:gd name="T13" fmla="*/ 4 h 321"/>
                <a:gd name="T14" fmla="*/ 169 w 173"/>
                <a:gd name="T15" fmla="*/ 153 h 321"/>
                <a:gd name="T16" fmla="*/ 169 w 173"/>
                <a:gd name="T17" fmla="*/ 168 h 321"/>
                <a:gd name="T18" fmla="*/ 19 w 173"/>
                <a:gd name="T19" fmla="*/ 318 h 321"/>
                <a:gd name="T20" fmla="*/ 12 w 173"/>
                <a:gd name="T21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321">
                  <a:moveTo>
                    <a:pt x="12" y="321"/>
                  </a:moveTo>
                  <a:cubicBezTo>
                    <a:pt x="9" y="321"/>
                    <a:pt x="6" y="320"/>
                    <a:pt x="4" y="318"/>
                  </a:cubicBezTo>
                  <a:cubicBezTo>
                    <a:pt x="0" y="313"/>
                    <a:pt x="0" y="307"/>
                    <a:pt x="4" y="302"/>
                  </a:cubicBezTo>
                  <a:cubicBezTo>
                    <a:pt x="146" y="161"/>
                    <a:pt x="146" y="161"/>
                    <a:pt x="146" y="161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8" y="0"/>
                    <a:pt x="15" y="0"/>
                    <a:pt x="19" y="4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173" y="157"/>
                    <a:pt x="173" y="164"/>
                    <a:pt x="169" y="168"/>
                  </a:cubicBezTo>
                  <a:cubicBezTo>
                    <a:pt x="19" y="318"/>
                    <a:pt x="19" y="318"/>
                    <a:pt x="19" y="318"/>
                  </a:cubicBezTo>
                  <a:cubicBezTo>
                    <a:pt x="17" y="320"/>
                    <a:pt x="14" y="321"/>
                    <a:pt x="12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84"/>
            <p:cNvSpPr>
              <a:spLocks noEditPoints="1"/>
            </p:cNvSpPr>
            <p:nvPr/>
          </p:nvSpPr>
          <p:spPr bwMode="auto">
            <a:xfrm>
              <a:off x="1539" y="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7" name="Freeform 88"/>
          <p:cNvSpPr>
            <a:spLocks noChangeAspect="1" noEditPoints="1"/>
          </p:cNvSpPr>
          <p:nvPr/>
        </p:nvSpPr>
        <p:spPr bwMode="auto">
          <a:xfrm>
            <a:off x="438305" y="3720908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8" name="Group 91"/>
          <p:cNvGrpSpPr>
            <a:grpSpLocks noChangeAspect="1"/>
          </p:cNvGrpSpPr>
          <p:nvPr/>
        </p:nvGrpSpPr>
        <p:grpSpPr bwMode="auto">
          <a:xfrm>
            <a:off x="9881722" y="2913450"/>
            <a:ext cx="369676" cy="369676"/>
            <a:chOff x="805" y="6"/>
            <a:chExt cx="340" cy="340"/>
          </a:xfrm>
          <a:solidFill>
            <a:schemeClr val="accent1"/>
          </a:solidFill>
        </p:grpSpPr>
        <p:sp>
          <p:nvSpPr>
            <p:cNvPr id="329" name="Freeform 328"/>
            <p:cNvSpPr>
              <a:spLocks/>
            </p:cNvSpPr>
            <p:nvPr/>
          </p:nvSpPr>
          <p:spPr bwMode="auto">
            <a:xfrm>
              <a:off x="911" y="69"/>
              <a:ext cx="114" cy="213"/>
            </a:xfrm>
            <a:custGeom>
              <a:avLst/>
              <a:gdLst>
                <a:gd name="T0" fmla="*/ 161 w 172"/>
                <a:gd name="T1" fmla="*/ 321 h 321"/>
                <a:gd name="T2" fmla="*/ 153 w 172"/>
                <a:gd name="T3" fmla="*/ 318 h 321"/>
                <a:gd name="T4" fmla="*/ 4 w 172"/>
                <a:gd name="T5" fmla="*/ 168 h 321"/>
                <a:gd name="T6" fmla="*/ 4 w 172"/>
                <a:gd name="T7" fmla="*/ 153 h 321"/>
                <a:gd name="T8" fmla="*/ 153 w 172"/>
                <a:gd name="T9" fmla="*/ 4 h 321"/>
                <a:gd name="T10" fmla="*/ 168 w 172"/>
                <a:gd name="T11" fmla="*/ 4 h 321"/>
                <a:gd name="T12" fmla="*/ 168 w 172"/>
                <a:gd name="T13" fmla="*/ 19 h 321"/>
                <a:gd name="T14" fmla="*/ 26 w 172"/>
                <a:gd name="T15" fmla="*/ 161 h 321"/>
                <a:gd name="T16" fmla="*/ 168 w 172"/>
                <a:gd name="T17" fmla="*/ 302 h 321"/>
                <a:gd name="T18" fmla="*/ 168 w 172"/>
                <a:gd name="T19" fmla="*/ 318 h 321"/>
                <a:gd name="T20" fmla="*/ 161 w 172"/>
                <a:gd name="T21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2" h="321">
                  <a:moveTo>
                    <a:pt x="161" y="321"/>
                  </a:moveTo>
                  <a:cubicBezTo>
                    <a:pt x="158" y="321"/>
                    <a:pt x="155" y="320"/>
                    <a:pt x="153" y="318"/>
                  </a:cubicBezTo>
                  <a:cubicBezTo>
                    <a:pt x="4" y="168"/>
                    <a:pt x="4" y="168"/>
                    <a:pt x="4" y="168"/>
                  </a:cubicBezTo>
                  <a:cubicBezTo>
                    <a:pt x="0" y="164"/>
                    <a:pt x="0" y="157"/>
                    <a:pt x="4" y="153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7" y="0"/>
                    <a:pt x="164" y="0"/>
                    <a:pt x="168" y="4"/>
                  </a:cubicBezTo>
                  <a:cubicBezTo>
                    <a:pt x="172" y="8"/>
                    <a:pt x="172" y="15"/>
                    <a:pt x="168" y="19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168" y="302"/>
                    <a:pt x="168" y="302"/>
                    <a:pt x="168" y="302"/>
                  </a:cubicBezTo>
                  <a:cubicBezTo>
                    <a:pt x="172" y="307"/>
                    <a:pt x="172" y="313"/>
                    <a:pt x="168" y="318"/>
                  </a:cubicBezTo>
                  <a:cubicBezTo>
                    <a:pt x="166" y="320"/>
                    <a:pt x="163" y="321"/>
                    <a:pt x="161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Freeform 329"/>
            <p:cNvSpPr>
              <a:spLocks noEditPoints="1"/>
            </p:cNvSpPr>
            <p:nvPr/>
          </p:nvSpPr>
          <p:spPr bwMode="auto">
            <a:xfrm>
              <a:off x="805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1" name="Freeform 97"/>
          <p:cNvSpPr>
            <a:spLocks noChangeAspect="1" noEditPoints="1"/>
          </p:cNvSpPr>
          <p:nvPr/>
        </p:nvSpPr>
        <p:spPr bwMode="auto">
          <a:xfrm>
            <a:off x="9383418" y="2912366"/>
            <a:ext cx="369676" cy="370763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27 w 512"/>
              <a:gd name="T11" fmla="*/ 397 h 512"/>
              <a:gd name="T12" fmla="*/ 327 w 512"/>
              <a:gd name="T13" fmla="*/ 413 h 512"/>
              <a:gd name="T14" fmla="*/ 320 w 512"/>
              <a:gd name="T15" fmla="*/ 416 h 512"/>
              <a:gd name="T16" fmla="*/ 312 w 512"/>
              <a:gd name="T17" fmla="*/ 413 h 512"/>
              <a:gd name="T18" fmla="*/ 163 w 512"/>
              <a:gd name="T19" fmla="*/ 263 h 512"/>
              <a:gd name="T20" fmla="*/ 163 w 512"/>
              <a:gd name="T21" fmla="*/ 248 h 512"/>
              <a:gd name="T22" fmla="*/ 312 w 512"/>
              <a:gd name="T23" fmla="*/ 99 h 512"/>
              <a:gd name="T24" fmla="*/ 327 w 512"/>
              <a:gd name="T25" fmla="*/ 99 h 512"/>
              <a:gd name="T26" fmla="*/ 327 w 512"/>
              <a:gd name="T27" fmla="*/ 114 h 512"/>
              <a:gd name="T28" fmla="*/ 185 w 512"/>
              <a:gd name="T29" fmla="*/ 256 h 512"/>
              <a:gd name="T30" fmla="*/ 327 w 512"/>
              <a:gd name="T31" fmla="*/ 39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7" y="397"/>
                </a:moveTo>
                <a:cubicBezTo>
                  <a:pt x="331" y="402"/>
                  <a:pt x="331" y="408"/>
                  <a:pt x="327" y="413"/>
                </a:cubicBezTo>
                <a:cubicBezTo>
                  <a:pt x="325" y="415"/>
                  <a:pt x="322" y="416"/>
                  <a:pt x="320" y="416"/>
                </a:cubicBezTo>
                <a:cubicBezTo>
                  <a:pt x="317" y="416"/>
                  <a:pt x="314" y="415"/>
                  <a:pt x="312" y="413"/>
                </a:cubicBezTo>
                <a:cubicBezTo>
                  <a:pt x="163" y="263"/>
                  <a:pt x="163" y="263"/>
                  <a:pt x="163" y="263"/>
                </a:cubicBezTo>
                <a:cubicBezTo>
                  <a:pt x="159" y="259"/>
                  <a:pt x="159" y="252"/>
                  <a:pt x="163" y="248"/>
                </a:cubicBezTo>
                <a:cubicBezTo>
                  <a:pt x="312" y="99"/>
                  <a:pt x="312" y="99"/>
                  <a:pt x="312" y="99"/>
                </a:cubicBezTo>
                <a:cubicBezTo>
                  <a:pt x="316" y="95"/>
                  <a:pt x="323" y="95"/>
                  <a:pt x="327" y="99"/>
                </a:cubicBezTo>
                <a:cubicBezTo>
                  <a:pt x="331" y="103"/>
                  <a:pt x="331" y="110"/>
                  <a:pt x="327" y="114"/>
                </a:cubicBezTo>
                <a:cubicBezTo>
                  <a:pt x="185" y="256"/>
                  <a:pt x="185" y="256"/>
                  <a:pt x="185" y="256"/>
                </a:cubicBezTo>
                <a:lnTo>
                  <a:pt x="327" y="39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2" name="Freeform 383"/>
          <p:cNvSpPr>
            <a:spLocks noChangeAspect="1" noEditPoints="1"/>
          </p:cNvSpPr>
          <p:nvPr/>
        </p:nvSpPr>
        <p:spPr bwMode="auto">
          <a:xfrm>
            <a:off x="5419845" y="3723547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1 w 512"/>
              <a:gd name="T11" fmla="*/ 231 h 512"/>
              <a:gd name="T12" fmla="*/ 224 w 512"/>
              <a:gd name="T13" fmla="*/ 234 h 512"/>
              <a:gd name="T14" fmla="*/ 216 w 512"/>
              <a:gd name="T15" fmla="*/ 231 h 512"/>
              <a:gd name="T16" fmla="*/ 160 w 512"/>
              <a:gd name="T17" fmla="*/ 175 h 512"/>
              <a:gd name="T18" fmla="*/ 160 w 512"/>
              <a:gd name="T19" fmla="*/ 213 h 512"/>
              <a:gd name="T20" fmla="*/ 149 w 512"/>
              <a:gd name="T21" fmla="*/ 224 h 512"/>
              <a:gd name="T22" fmla="*/ 138 w 512"/>
              <a:gd name="T23" fmla="*/ 213 h 512"/>
              <a:gd name="T24" fmla="*/ 138 w 512"/>
              <a:gd name="T25" fmla="*/ 149 h 512"/>
              <a:gd name="T26" fmla="*/ 145 w 512"/>
              <a:gd name="T27" fmla="*/ 139 h 512"/>
              <a:gd name="T28" fmla="*/ 149 w 512"/>
              <a:gd name="T29" fmla="*/ 138 h 512"/>
              <a:gd name="T30" fmla="*/ 213 w 512"/>
              <a:gd name="T31" fmla="*/ 138 h 512"/>
              <a:gd name="T32" fmla="*/ 224 w 512"/>
              <a:gd name="T33" fmla="*/ 149 h 512"/>
              <a:gd name="T34" fmla="*/ 213 w 512"/>
              <a:gd name="T35" fmla="*/ 160 h 512"/>
              <a:gd name="T36" fmla="*/ 175 w 512"/>
              <a:gd name="T37" fmla="*/ 160 h 512"/>
              <a:gd name="T38" fmla="*/ 231 w 512"/>
              <a:gd name="T39" fmla="*/ 216 h 512"/>
              <a:gd name="T40" fmla="*/ 231 w 512"/>
              <a:gd name="T41" fmla="*/ 231 h 512"/>
              <a:gd name="T42" fmla="*/ 373 w 512"/>
              <a:gd name="T43" fmla="*/ 362 h 512"/>
              <a:gd name="T44" fmla="*/ 366 w 512"/>
              <a:gd name="T45" fmla="*/ 372 h 512"/>
              <a:gd name="T46" fmla="*/ 362 w 512"/>
              <a:gd name="T47" fmla="*/ 373 h 512"/>
              <a:gd name="T48" fmla="*/ 298 w 512"/>
              <a:gd name="T49" fmla="*/ 373 h 512"/>
              <a:gd name="T50" fmla="*/ 288 w 512"/>
              <a:gd name="T51" fmla="*/ 362 h 512"/>
              <a:gd name="T52" fmla="*/ 298 w 512"/>
              <a:gd name="T53" fmla="*/ 352 h 512"/>
              <a:gd name="T54" fmla="*/ 337 w 512"/>
              <a:gd name="T55" fmla="*/ 352 h 512"/>
              <a:gd name="T56" fmla="*/ 280 w 512"/>
              <a:gd name="T57" fmla="*/ 295 h 512"/>
              <a:gd name="T58" fmla="*/ 280 w 512"/>
              <a:gd name="T59" fmla="*/ 280 h 512"/>
              <a:gd name="T60" fmla="*/ 288 w 512"/>
              <a:gd name="T61" fmla="*/ 277 h 512"/>
              <a:gd name="T62" fmla="*/ 295 w 512"/>
              <a:gd name="T63" fmla="*/ 280 h 512"/>
              <a:gd name="T64" fmla="*/ 352 w 512"/>
              <a:gd name="T65" fmla="*/ 337 h 512"/>
              <a:gd name="T66" fmla="*/ 352 w 512"/>
              <a:gd name="T67" fmla="*/ 298 h 512"/>
              <a:gd name="T68" fmla="*/ 362 w 512"/>
              <a:gd name="T69" fmla="*/ 288 h 512"/>
              <a:gd name="T70" fmla="*/ 373 w 512"/>
              <a:gd name="T71" fmla="*/ 298 h 512"/>
              <a:gd name="T72" fmla="*/ 373 w 512"/>
              <a:gd name="T73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1" y="231"/>
                </a:moveTo>
                <a:cubicBezTo>
                  <a:pt x="229" y="233"/>
                  <a:pt x="226" y="234"/>
                  <a:pt x="224" y="234"/>
                </a:cubicBezTo>
                <a:cubicBezTo>
                  <a:pt x="221" y="234"/>
                  <a:pt x="218" y="233"/>
                  <a:pt x="216" y="231"/>
                </a:cubicBezTo>
                <a:cubicBezTo>
                  <a:pt x="160" y="175"/>
                  <a:pt x="160" y="175"/>
                  <a:pt x="160" y="175"/>
                </a:cubicBezTo>
                <a:cubicBezTo>
                  <a:pt x="160" y="213"/>
                  <a:pt x="160" y="213"/>
                  <a:pt x="160" y="213"/>
                </a:cubicBezTo>
                <a:cubicBezTo>
                  <a:pt x="160" y="219"/>
                  <a:pt x="155" y="224"/>
                  <a:pt x="149" y="224"/>
                </a:cubicBezTo>
                <a:cubicBezTo>
                  <a:pt x="143" y="224"/>
                  <a:pt x="138" y="219"/>
                  <a:pt x="138" y="213"/>
                </a:cubicBezTo>
                <a:cubicBezTo>
                  <a:pt x="138" y="149"/>
                  <a:pt x="138" y="149"/>
                  <a:pt x="138" y="149"/>
                </a:cubicBezTo>
                <a:cubicBezTo>
                  <a:pt x="138" y="145"/>
                  <a:pt x="141" y="141"/>
                  <a:pt x="145" y="139"/>
                </a:cubicBezTo>
                <a:cubicBezTo>
                  <a:pt x="146" y="139"/>
                  <a:pt x="148" y="138"/>
                  <a:pt x="149" y="138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219" y="138"/>
                  <a:pt x="224" y="143"/>
                  <a:pt x="224" y="149"/>
                </a:cubicBezTo>
                <a:cubicBezTo>
                  <a:pt x="224" y="155"/>
                  <a:pt x="219" y="160"/>
                  <a:pt x="213" y="160"/>
                </a:cubicBezTo>
                <a:cubicBezTo>
                  <a:pt x="175" y="160"/>
                  <a:pt x="175" y="160"/>
                  <a:pt x="175" y="160"/>
                </a:cubicBezTo>
                <a:cubicBezTo>
                  <a:pt x="231" y="216"/>
                  <a:pt x="231" y="216"/>
                  <a:pt x="231" y="216"/>
                </a:cubicBezTo>
                <a:cubicBezTo>
                  <a:pt x="235" y="220"/>
                  <a:pt x="235" y="227"/>
                  <a:pt x="231" y="231"/>
                </a:cubicBezTo>
                <a:close/>
                <a:moveTo>
                  <a:pt x="373" y="362"/>
                </a:moveTo>
                <a:cubicBezTo>
                  <a:pt x="373" y="367"/>
                  <a:pt x="370" y="371"/>
                  <a:pt x="366" y="372"/>
                </a:cubicBezTo>
                <a:cubicBezTo>
                  <a:pt x="365" y="373"/>
                  <a:pt x="364" y="373"/>
                  <a:pt x="362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292" y="373"/>
                  <a:pt x="288" y="368"/>
                  <a:pt x="288" y="362"/>
                </a:cubicBezTo>
                <a:cubicBezTo>
                  <a:pt x="288" y="356"/>
                  <a:pt x="292" y="352"/>
                  <a:pt x="298" y="352"/>
                </a:cubicBezTo>
                <a:cubicBezTo>
                  <a:pt x="337" y="352"/>
                  <a:pt x="337" y="352"/>
                  <a:pt x="337" y="352"/>
                </a:cubicBezTo>
                <a:cubicBezTo>
                  <a:pt x="280" y="295"/>
                  <a:pt x="280" y="295"/>
                  <a:pt x="280" y="295"/>
                </a:cubicBezTo>
                <a:cubicBezTo>
                  <a:pt x="276" y="291"/>
                  <a:pt x="276" y="284"/>
                  <a:pt x="280" y="280"/>
                </a:cubicBezTo>
                <a:cubicBezTo>
                  <a:pt x="282" y="278"/>
                  <a:pt x="285" y="277"/>
                  <a:pt x="288" y="277"/>
                </a:cubicBezTo>
                <a:cubicBezTo>
                  <a:pt x="290" y="277"/>
                  <a:pt x="293" y="278"/>
                  <a:pt x="295" y="280"/>
                </a:cubicBezTo>
                <a:cubicBezTo>
                  <a:pt x="352" y="337"/>
                  <a:pt x="352" y="337"/>
                  <a:pt x="352" y="337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2" y="292"/>
                  <a:pt x="356" y="288"/>
                  <a:pt x="362" y="288"/>
                </a:cubicBezTo>
                <a:cubicBezTo>
                  <a:pt x="368" y="288"/>
                  <a:pt x="373" y="292"/>
                  <a:pt x="373" y="298"/>
                </a:cubicBezTo>
                <a:lnTo>
                  <a:pt x="373" y="3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3" name="Group 386"/>
          <p:cNvGrpSpPr>
            <a:grpSpLocks noChangeAspect="1"/>
          </p:cNvGrpSpPr>
          <p:nvPr/>
        </p:nvGrpSpPr>
        <p:grpSpPr bwMode="auto">
          <a:xfrm>
            <a:off x="5915783" y="3723547"/>
            <a:ext cx="367041" cy="367041"/>
            <a:chOff x="1863" y="1867"/>
            <a:chExt cx="340" cy="340"/>
          </a:xfrm>
          <a:solidFill>
            <a:schemeClr val="accent5"/>
          </a:solidFill>
        </p:grpSpPr>
        <p:sp>
          <p:nvSpPr>
            <p:cNvPr id="334" name="Freeform 387"/>
            <p:cNvSpPr>
              <a:spLocks noEditPoints="1"/>
            </p:cNvSpPr>
            <p:nvPr/>
          </p:nvSpPr>
          <p:spPr bwMode="auto">
            <a:xfrm>
              <a:off x="1863" y="186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388"/>
            <p:cNvSpPr>
              <a:spLocks noEditPoints="1"/>
            </p:cNvSpPr>
            <p:nvPr/>
          </p:nvSpPr>
          <p:spPr bwMode="auto">
            <a:xfrm>
              <a:off x="1955" y="1959"/>
              <a:ext cx="156" cy="156"/>
            </a:xfrm>
            <a:custGeom>
              <a:avLst/>
              <a:gdLst>
                <a:gd name="T0" fmla="*/ 235 w 235"/>
                <a:gd name="T1" fmla="*/ 160 h 235"/>
                <a:gd name="T2" fmla="*/ 235 w 235"/>
                <a:gd name="T3" fmla="*/ 224 h 235"/>
                <a:gd name="T4" fmla="*/ 228 w 235"/>
                <a:gd name="T5" fmla="*/ 234 h 235"/>
                <a:gd name="T6" fmla="*/ 224 w 235"/>
                <a:gd name="T7" fmla="*/ 235 h 235"/>
                <a:gd name="T8" fmla="*/ 160 w 235"/>
                <a:gd name="T9" fmla="*/ 235 h 235"/>
                <a:gd name="T10" fmla="*/ 150 w 235"/>
                <a:gd name="T11" fmla="*/ 224 h 235"/>
                <a:gd name="T12" fmla="*/ 160 w 235"/>
                <a:gd name="T13" fmla="*/ 214 h 235"/>
                <a:gd name="T14" fmla="*/ 199 w 235"/>
                <a:gd name="T15" fmla="*/ 214 h 235"/>
                <a:gd name="T16" fmla="*/ 142 w 235"/>
                <a:gd name="T17" fmla="*/ 157 h 235"/>
                <a:gd name="T18" fmla="*/ 142 w 235"/>
                <a:gd name="T19" fmla="*/ 142 h 235"/>
                <a:gd name="T20" fmla="*/ 150 w 235"/>
                <a:gd name="T21" fmla="*/ 139 h 235"/>
                <a:gd name="T22" fmla="*/ 157 w 235"/>
                <a:gd name="T23" fmla="*/ 142 h 235"/>
                <a:gd name="T24" fmla="*/ 214 w 235"/>
                <a:gd name="T25" fmla="*/ 199 h 235"/>
                <a:gd name="T26" fmla="*/ 214 w 235"/>
                <a:gd name="T27" fmla="*/ 160 h 235"/>
                <a:gd name="T28" fmla="*/ 224 w 235"/>
                <a:gd name="T29" fmla="*/ 150 h 235"/>
                <a:gd name="T30" fmla="*/ 235 w 235"/>
                <a:gd name="T31" fmla="*/ 160 h 235"/>
                <a:gd name="T32" fmla="*/ 37 w 235"/>
                <a:gd name="T33" fmla="*/ 22 h 235"/>
                <a:gd name="T34" fmla="*/ 75 w 235"/>
                <a:gd name="T35" fmla="*/ 22 h 235"/>
                <a:gd name="T36" fmla="*/ 86 w 235"/>
                <a:gd name="T37" fmla="*/ 11 h 235"/>
                <a:gd name="T38" fmla="*/ 75 w 235"/>
                <a:gd name="T39" fmla="*/ 0 h 235"/>
                <a:gd name="T40" fmla="*/ 11 w 235"/>
                <a:gd name="T41" fmla="*/ 0 h 235"/>
                <a:gd name="T42" fmla="*/ 7 w 235"/>
                <a:gd name="T43" fmla="*/ 1 h 235"/>
                <a:gd name="T44" fmla="*/ 0 w 235"/>
                <a:gd name="T45" fmla="*/ 11 h 235"/>
                <a:gd name="T46" fmla="*/ 0 w 235"/>
                <a:gd name="T47" fmla="*/ 75 h 235"/>
                <a:gd name="T48" fmla="*/ 11 w 235"/>
                <a:gd name="T49" fmla="*/ 86 h 235"/>
                <a:gd name="T50" fmla="*/ 22 w 235"/>
                <a:gd name="T51" fmla="*/ 75 h 235"/>
                <a:gd name="T52" fmla="*/ 22 w 235"/>
                <a:gd name="T53" fmla="*/ 37 h 235"/>
                <a:gd name="T54" fmla="*/ 78 w 235"/>
                <a:gd name="T55" fmla="*/ 93 h 235"/>
                <a:gd name="T56" fmla="*/ 86 w 235"/>
                <a:gd name="T57" fmla="*/ 96 h 235"/>
                <a:gd name="T58" fmla="*/ 93 w 235"/>
                <a:gd name="T59" fmla="*/ 93 h 235"/>
                <a:gd name="T60" fmla="*/ 93 w 235"/>
                <a:gd name="T61" fmla="*/ 78 h 235"/>
                <a:gd name="T62" fmla="*/ 37 w 235"/>
                <a:gd name="T63" fmla="*/ 2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5" h="235">
                  <a:moveTo>
                    <a:pt x="235" y="160"/>
                  </a:moveTo>
                  <a:cubicBezTo>
                    <a:pt x="235" y="224"/>
                    <a:pt x="235" y="224"/>
                    <a:pt x="235" y="224"/>
                  </a:cubicBezTo>
                  <a:cubicBezTo>
                    <a:pt x="235" y="229"/>
                    <a:pt x="232" y="233"/>
                    <a:pt x="228" y="234"/>
                  </a:cubicBezTo>
                  <a:cubicBezTo>
                    <a:pt x="227" y="235"/>
                    <a:pt x="226" y="235"/>
                    <a:pt x="224" y="235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4" y="235"/>
                    <a:pt x="150" y="230"/>
                    <a:pt x="150" y="224"/>
                  </a:cubicBezTo>
                  <a:cubicBezTo>
                    <a:pt x="150" y="218"/>
                    <a:pt x="154" y="214"/>
                    <a:pt x="160" y="214"/>
                  </a:cubicBezTo>
                  <a:cubicBezTo>
                    <a:pt x="199" y="214"/>
                    <a:pt x="199" y="214"/>
                    <a:pt x="199" y="214"/>
                  </a:cubicBezTo>
                  <a:cubicBezTo>
                    <a:pt x="142" y="157"/>
                    <a:pt x="142" y="157"/>
                    <a:pt x="142" y="157"/>
                  </a:cubicBezTo>
                  <a:cubicBezTo>
                    <a:pt x="138" y="153"/>
                    <a:pt x="138" y="146"/>
                    <a:pt x="142" y="142"/>
                  </a:cubicBezTo>
                  <a:cubicBezTo>
                    <a:pt x="144" y="140"/>
                    <a:pt x="147" y="139"/>
                    <a:pt x="150" y="139"/>
                  </a:cubicBezTo>
                  <a:cubicBezTo>
                    <a:pt x="152" y="139"/>
                    <a:pt x="155" y="140"/>
                    <a:pt x="157" y="142"/>
                  </a:cubicBezTo>
                  <a:cubicBezTo>
                    <a:pt x="214" y="199"/>
                    <a:pt x="214" y="199"/>
                    <a:pt x="214" y="199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4" y="154"/>
                    <a:pt x="218" y="150"/>
                    <a:pt x="224" y="150"/>
                  </a:cubicBezTo>
                  <a:cubicBezTo>
                    <a:pt x="230" y="150"/>
                    <a:pt x="235" y="154"/>
                    <a:pt x="235" y="160"/>
                  </a:cubicBezTo>
                  <a:close/>
                  <a:moveTo>
                    <a:pt x="37" y="22"/>
                  </a:moveTo>
                  <a:cubicBezTo>
                    <a:pt x="75" y="22"/>
                    <a:pt x="75" y="22"/>
                    <a:pt x="75" y="22"/>
                  </a:cubicBezTo>
                  <a:cubicBezTo>
                    <a:pt x="81" y="22"/>
                    <a:pt x="86" y="17"/>
                    <a:pt x="86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8" y="1"/>
                    <a:pt x="7" y="1"/>
                  </a:cubicBezTo>
                  <a:cubicBezTo>
                    <a:pt x="3" y="3"/>
                    <a:pt x="0" y="7"/>
                    <a:pt x="0" y="1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1"/>
                    <a:pt x="5" y="86"/>
                    <a:pt x="11" y="86"/>
                  </a:cubicBezTo>
                  <a:cubicBezTo>
                    <a:pt x="17" y="86"/>
                    <a:pt x="22" y="81"/>
                    <a:pt x="22" y="75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80" y="95"/>
                    <a:pt x="83" y="96"/>
                    <a:pt x="86" y="96"/>
                  </a:cubicBezTo>
                  <a:cubicBezTo>
                    <a:pt x="88" y="96"/>
                    <a:pt x="91" y="95"/>
                    <a:pt x="93" y="93"/>
                  </a:cubicBezTo>
                  <a:cubicBezTo>
                    <a:pt x="97" y="89"/>
                    <a:pt x="97" y="82"/>
                    <a:pt x="93" y="78"/>
                  </a:cubicBezTo>
                  <a:lnTo>
                    <a:pt x="3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6" name="Freeform 392"/>
          <p:cNvSpPr>
            <a:spLocks noChangeAspect="1" noEditPoints="1"/>
          </p:cNvSpPr>
          <p:nvPr/>
        </p:nvSpPr>
        <p:spPr bwMode="auto">
          <a:xfrm>
            <a:off x="6411721" y="3723547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06 w 512"/>
              <a:gd name="T11" fmla="*/ 370 h 512"/>
              <a:gd name="T12" fmla="*/ 263 w 512"/>
              <a:gd name="T13" fmla="*/ 413 h 512"/>
              <a:gd name="T14" fmla="*/ 256 w 512"/>
              <a:gd name="T15" fmla="*/ 416 h 512"/>
              <a:gd name="T16" fmla="*/ 248 w 512"/>
              <a:gd name="T17" fmla="*/ 413 h 512"/>
              <a:gd name="T18" fmla="*/ 205 w 512"/>
              <a:gd name="T19" fmla="*/ 370 h 512"/>
              <a:gd name="T20" fmla="*/ 205 w 512"/>
              <a:gd name="T21" fmla="*/ 355 h 512"/>
              <a:gd name="T22" fmla="*/ 221 w 512"/>
              <a:gd name="T23" fmla="*/ 355 h 512"/>
              <a:gd name="T24" fmla="*/ 245 w 512"/>
              <a:gd name="T25" fmla="*/ 379 h 512"/>
              <a:gd name="T26" fmla="*/ 245 w 512"/>
              <a:gd name="T27" fmla="*/ 298 h 512"/>
              <a:gd name="T28" fmla="*/ 256 w 512"/>
              <a:gd name="T29" fmla="*/ 288 h 512"/>
              <a:gd name="T30" fmla="*/ 266 w 512"/>
              <a:gd name="T31" fmla="*/ 298 h 512"/>
              <a:gd name="T32" fmla="*/ 266 w 512"/>
              <a:gd name="T33" fmla="*/ 379 h 512"/>
              <a:gd name="T34" fmla="*/ 291 w 512"/>
              <a:gd name="T35" fmla="*/ 355 h 512"/>
              <a:gd name="T36" fmla="*/ 306 w 512"/>
              <a:gd name="T37" fmla="*/ 355 h 512"/>
              <a:gd name="T38" fmla="*/ 306 w 512"/>
              <a:gd name="T39" fmla="*/ 370 h 512"/>
              <a:gd name="T40" fmla="*/ 306 w 512"/>
              <a:gd name="T41" fmla="*/ 157 h 512"/>
              <a:gd name="T42" fmla="*/ 298 w 512"/>
              <a:gd name="T43" fmla="*/ 160 h 512"/>
              <a:gd name="T44" fmla="*/ 291 w 512"/>
              <a:gd name="T45" fmla="*/ 157 h 512"/>
              <a:gd name="T46" fmla="*/ 266 w 512"/>
              <a:gd name="T47" fmla="*/ 132 h 512"/>
              <a:gd name="T48" fmla="*/ 266 w 512"/>
              <a:gd name="T49" fmla="*/ 213 h 512"/>
              <a:gd name="T50" fmla="*/ 256 w 512"/>
              <a:gd name="T51" fmla="*/ 224 h 512"/>
              <a:gd name="T52" fmla="*/ 245 w 512"/>
              <a:gd name="T53" fmla="*/ 213 h 512"/>
              <a:gd name="T54" fmla="*/ 245 w 512"/>
              <a:gd name="T55" fmla="*/ 132 h 512"/>
              <a:gd name="T56" fmla="*/ 221 w 512"/>
              <a:gd name="T57" fmla="*/ 157 h 512"/>
              <a:gd name="T58" fmla="*/ 205 w 512"/>
              <a:gd name="T59" fmla="*/ 157 h 512"/>
              <a:gd name="T60" fmla="*/ 205 w 512"/>
              <a:gd name="T61" fmla="*/ 141 h 512"/>
              <a:gd name="T62" fmla="*/ 248 w 512"/>
              <a:gd name="T63" fmla="*/ 99 h 512"/>
              <a:gd name="T64" fmla="*/ 263 w 512"/>
              <a:gd name="T65" fmla="*/ 99 h 512"/>
              <a:gd name="T66" fmla="*/ 306 w 512"/>
              <a:gd name="T67" fmla="*/ 141 h 512"/>
              <a:gd name="T68" fmla="*/ 306 w 512"/>
              <a:gd name="T69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6" y="370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205" y="370"/>
                  <a:pt x="205" y="370"/>
                  <a:pt x="205" y="370"/>
                </a:cubicBezTo>
                <a:cubicBezTo>
                  <a:pt x="201" y="366"/>
                  <a:pt x="201" y="359"/>
                  <a:pt x="205" y="355"/>
                </a:cubicBezTo>
                <a:cubicBezTo>
                  <a:pt x="210" y="351"/>
                  <a:pt x="216" y="351"/>
                  <a:pt x="221" y="355"/>
                </a:cubicBezTo>
                <a:cubicBezTo>
                  <a:pt x="245" y="379"/>
                  <a:pt x="245" y="379"/>
                  <a:pt x="245" y="379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50" y="288"/>
                  <a:pt x="256" y="288"/>
                </a:cubicBezTo>
                <a:cubicBezTo>
                  <a:pt x="262" y="288"/>
                  <a:pt x="266" y="292"/>
                  <a:pt x="266" y="298"/>
                </a:cubicBezTo>
                <a:cubicBezTo>
                  <a:pt x="266" y="379"/>
                  <a:pt x="266" y="379"/>
                  <a:pt x="266" y="379"/>
                </a:cubicBezTo>
                <a:cubicBezTo>
                  <a:pt x="291" y="355"/>
                  <a:pt x="291" y="355"/>
                  <a:pt x="291" y="355"/>
                </a:cubicBezTo>
                <a:cubicBezTo>
                  <a:pt x="295" y="351"/>
                  <a:pt x="302" y="351"/>
                  <a:pt x="306" y="355"/>
                </a:cubicBezTo>
                <a:cubicBezTo>
                  <a:pt x="310" y="359"/>
                  <a:pt x="310" y="366"/>
                  <a:pt x="306" y="370"/>
                </a:cubicBezTo>
                <a:close/>
                <a:moveTo>
                  <a:pt x="306" y="157"/>
                </a:moveTo>
                <a:cubicBezTo>
                  <a:pt x="304" y="159"/>
                  <a:pt x="301" y="160"/>
                  <a:pt x="298" y="160"/>
                </a:cubicBezTo>
                <a:cubicBezTo>
                  <a:pt x="296" y="160"/>
                  <a:pt x="293" y="159"/>
                  <a:pt x="291" y="157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213"/>
                  <a:pt x="266" y="213"/>
                  <a:pt x="266" y="213"/>
                </a:cubicBezTo>
                <a:cubicBezTo>
                  <a:pt x="266" y="219"/>
                  <a:pt x="262" y="224"/>
                  <a:pt x="256" y="224"/>
                </a:cubicBezTo>
                <a:cubicBezTo>
                  <a:pt x="250" y="224"/>
                  <a:pt x="245" y="219"/>
                  <a:pt x="245" y="213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221" y="157"/>
                  <a:pt x="221" y="157"/>
                  <a:pt x="221" y="157"/>
                </a:cubicBezTo>
                <a:cubicBezTo>
                  <a:pt x="216" y="161"/>
                  <a:pt x="210" y="161"/>
                  <a:pt x="205" y="157"/>
                </a:cubicBezTo>
                <a:cubicBezTo>
                  <a:pt x="201" y="152"/>
                  <a:pt x="201" y="146"/>
                  <a:pt x="205" y="141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52" y="95"/>
                  <a:pt x="259" y="95"/>
                  <a:pt x="263" y="99"/>
                </a:cubicBezTo>
                <a:cubicBezTo>
                  <a:pt x="306" y="141"/>
                  <a:pt x="306" y="141"/>
                  <a:pt x="306" y="141"/>
                </a:cubicBezTo>
                <a:cubicBezTo>
                  <a:pt x="310" y="146"/>
                  <a:pt x="310" y="152"/>
                  <a:pt x="306" y="15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7" name="Group 395"/>
          <p:cNvGrpSpPr>
            <a:grpSpLocks noChangeAspect="1"/>
          </p:cNvGrpSpPr>
          <p:nvPr/>
        </p:nvGrpSpPr>
        <p:grpSpPr bwMode="auto">
          <a:xfrm>
            <a:off x="6907659" y="3723547"/>
            <a:ext cx="367041" cy="367041"/>
            <a:chOff x="2637" y="2053"/>
            <a:chExt cx="340" cy="340"/>
          </a:xfrm>
          <a:solidFill>
            <a:schemeClr val="accent5"/>
          </a:solidFill>
        </p:grpSpPr>
        <p:sp>
          <p:nvSpPr>
            <p:cNvPr id="338" name="Freeform 396"/>
            <p:cNvSpPr>
              <a:spLocks noEditPoints="1"/>
            </p:cNvSpPr>
            <p:nvPr/>
          </p:nvSpPr>
          <p:spPr bwMode="auto">
            <a:xfrm>
              <a:off x="2637" y="20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397"/>
            <p:cNvSpPr>
              <a:spLocks/>
            </p:cNvSpPr>
            <p:nvPr/>
          </p:nvSpPr>
          <p:spPr bwMode="auto">
            <a:xfrm>
              <a:off x="2770" y="2116"/>
              <a:ext cx="73" cy="86"/>
            </a:xfrm>
            <a:custGeom>
              <a:avLst/>
              <a:gdLst>
                <a:gd name="T0" fmla="*/ 20 w 109"/>
                <a:gd name="T1" fmla="*/ 62 h 129"/>
                <a:gd name="T2" fmla="*/ 44 w 109"/>
                <a:gd name="T3" fmla="*/ 37 h 129"/>
                <a:gd name="T4" fmla="*/ 44 w 109"/>
                <a:gd name="T5" fmla="*/ 118 h 129"/>
                <a:gd name="T6" fmla="*/ 55 w 109"/>
                <a:gd name="T7" fmla="*/ 129 h 129"/>
                <a:gd name="T8" fmla="*/ 65 w 109"/>
                <a:gd name="T9" fmla="*/ 118 h 129"/>
                <a:gd name="T10" fmla="*/ 65 w 109"/>
                <a:gd name="T11" fmla="*/ 37 h 129"/>
                <a:gd name="T12" fmla="*/ 90 w 109"/>
                <a:gd name="T13" fmla="*/ 62 h 129"/>
                <a:gd name="T14" fmla="*/ 97 w 109"/>
                <a:gd name="T15" fmla="*/ 65 h 129"/>
                <a:gd name="T16" fmla="*/ 105 w 109"/>
                <a:gd name="T17" fmla="*/ 62 h 129"/>
                <a:gd name="T18" fmla="*/ 105 w 109"/>
                <a:gd name="T19" fmla="*/ 46 h 129"/>
                <a:gd name="T20" fmla="*/ 62 w 109"/>
                <a:gd name="T21" fmla="*/ 4 h 129"/>
                <a:gd name="T22" fmla="*/ 47 w 109"/>
                <a:gd name="T23" fmla="*/ 4 h 129"/>
                <a:gd name="T24" fmla="*/ 4 w 109"/>
                <a:gd name="T25" fmla="*/ 46 h 129"/>
                <a:gd name="T26" fmla="*/ 4 w 109"/>
                <a:gd name="T27" fmla="*/ 62 h 129"/>
                <a:gd name="T28" fmla="*/ 20 w 109"/>
                <a:gd name="T29" fmla="*/ 6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29">
                  <a:moveTo>
                    <a:pt x="20" y="62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118"/>
                    <a:pt x="44" y="118"/>
                    <a:pt x="44" y="118"/>
                  </a:cubicBezTo>
                  <a:cubicBezTo>
                    <a:pt x="44" y="124"/>
                    <a:pt x="49" y="129"/>
                    <a:pt x="55" y="129"/>
                  </a:cubicBezTo>
                  <a:cubicBezTo>
                    <a:pt x="61" y="129"/>
                    <a:pt x="65" y="124"/>
                    <a:pt x="65" y="118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2" y="64"/>
                    <a:pt x="95" y="65"/>
                    <a:pt x="97" y="65"/>
                  </a:cubicBezTo>
                  <a:cubicBezTo>
                    <a:pt x="100" y="65"/>
                    <a:pt x="103" y="64"/>
                    <a:pt x="105" y="62"/>
                  </a:cubicBezTo>
                  <a:cubicBezTo>
                    <a:pt x="109" y="57"/>
                    <a:pt x="109" y="51"/>
                    <a:pt x="105" y="46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58" y="0"/>
                    <a:pt x="51" y="0"/>
                    <a:pt x="47" y="4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0" y="51"/>
                    <a:pt x="0" y="57"/>
                    <a:pt x="4" y="62"/>
                  </a:cubicBezTo>
                  <a:cubicBezTo>
                    <a:pt x="9" y="66"/>
                    <a:pt x="15" y="66"/>
                    <a:pt x="20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398"/>
            <p:cNvSpPr>
              <a:spLocks/>
            </p:cNvSpPr>
            <p:nvPr/>
          </p:nvSpPr>
          <p:spPr bwMode="auto">
            <a:xfrm>
              <a:off x="2770" y="2244"/>
              <a:ext cx="73" cy="85"/>
            </a:xfrm>
            <a:custGeom>
              <a:avLst/>
              <a:gdLst>
                <a:gd name="T0" fmla="*/ 90 w 109"/>
                <a:gd name="T1" fmla="*/ 67 h 128"/>
                <a:gd name="T2" fmla="*/ 65 w 109"/>
                <a:gd name="T3" fmla="*/ 91 h 128"/>
                <a:gd name="T4" fmla="*/ 65 w 109"/>
                <a:gd name="T5" fmla="*/ 10 h 128"/>
                <a:gd name="T6" fmla="*/ 55 w 109"/>
                <a:gd name="T7" fmla="*/ 0 h 128"/>
                <a:gd name="T8" fmla="*/ 44 w 109"/>
                <a:gd name="T9" fmla="*/ 10 h 128"/>
                <a:gd name="T10" fmla="*/ 44 w 109"/>
                <a:gd name="T11" fmla="*/ 91 h 128"/>
                <a:gd name="T12" fmla="*/ 20 w 109"/>
                <a:gd name="T13" fmla="*/ 67 h 128"/>
                <a:gd name="T14" fmla="*/ 4 w 109"/>
                <a:gd name="T15" fmla="*/ 67 h 128"/>
                <a:gd name="T16" fmla="*/ 4 w 109"/>
                <a:gd name="T17" fmla="*/ 82 h 128"/>
                <a:gd name="T18" fmla="*/ 47 w 109"/>
                <a:gd name="T19" fmla="*/ 125 h 128"/>
                <a:gd name="T20" fmla="*/ 55 w 109"/>
                <a:gd name="T21" fmla="*/ 128 h 128"/>
                <a:gd name="T22" fmla="*/ 62 w 109"/>
                <a:gd name="T23" fmla="*/ 125 h 128"/>
                <a:gd name="T24" fmla="*/ 105 w 109"/>
                <a:gd name="T25" fmla="*/ 82 h 128"/>
                <a:gd name="T26" fmla="*/ 105 w 109"/>
                <a:gd name="T27" fmla="*/ 67 h 128"/>
                <a:gd name="T28" fmla="*/ 90 w 109"/>
                <a:gd name="T29" fmla="*/ 6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28">
                  <a:moveTo>
                    <a:pt x="90" y="67"/>
                  </a:moveTo>
                  <a:cubicBezTo>
                    <a:pt x="65" y="91"/>
                    <a:pt x="65" y="91"/>
                    <a:pt x="65" y="91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4"/>
                    <a:pt x="61" y="0"/>
                    <a:pt x="55" y="0"/>
                  </a:cubicBezTo>
                  <a:cubicBezTo>
                    <a:pt x="49" y="0"/>
                    <a:pt x="44" y="4"/>
                    <a:pt x="44" y="10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5" y="63"/>
                    <a:pt x="9" y="63"/>
                    <a:pt x="4" y="67"/>
                  </a:cubicBezTo>
                  <a:cubicBezTo>
                    <a:pt x="0" y="71"/>
                    <a:pt x="0" y="78"/>
                    <a:pt x="4" y="82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9" y="127"/>
                    <a:pt x="52" y="128"/>
                    <a:pt x="55" y="128"/>
                  </a:cubicBezTo>
                  <a:cubicBezTo>
                    <a:pt x="57" y="128"/>
                    <a:pt x="60" y="127"/>
                    <a:pt x="62" y="125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09" y="78"/>
                    <a:pt x="109" y="71"/>
                    <a:pt x="105" y="67"/>
                  </a:cubicBezTo>
                  <a:cubicBezTo>
                    <a:pt x="101" y="63"/>
                    <a:pt x="94" y="63"/>
                    <a:pt x="90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1" name="Freeform 402"/>
          <p:cNvSpPr>
            <a:spLocks noChangeAspect="1" noEditPoints="1"/>
          </p:cNvSpPr>
          <p:nvPr/>
        </p:nvSpPr>
        <p:spPr bwMode="auto">
          <a:xfrm>
            <a:off x="7403597" y="3723547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1 w 512"/>
              <a:gd name="T11" fmla="*/ 295 h 512"/>
              <a:gd name="T12" fmla="*/ 175 w 512"/>
              <a:gd name="T13" fmla="*/ 352 h 512"/>
              <a:gd name="T14" fmla="*/ 213 w 512"/>
              <a:gd name="T15" fmla="*/ 352 h 512"/>
              <a:gd name="T16" fmla="*/ 224 w 512"/>
              <a:gd name="T17" fmla="*/ 362 h 512"/>
              <a:gd name="T18" fmla="*/ 213 w 512"/>
              <a:gd name="T19" fmla="*/ 373 h 512"/>
              <a:gd name="T20" fmla="*/ 149 w 512"/>
              <a:gd name="T21" fmla="*/ 373 h 512"/>
              <a:gd name="T22" fmla="*/ 138 w 512"/>
              <a:gd name="T23" fmla="*/ 362 h 512"/>
              <a:gd name="T24" fmla="*/ 138 w 512"/>
              <a:gd name="T25" fmla="*/ 298 h 512"/>
              <a:gd name="T26" fmla="*/ 149 w 512"/>
              <a:gd name="T27" fmla="*/ 288 h 512"/>
              <a:gd name="T28" fmla="*/ 160 w 512"/>
              <a:gd name="T29" fmla="*/ 298 h 512"/>
              <a:gd name="T30" fmla="*/ 160 w 512"/>
              <a:gd name="T31" fmla="*/ 337 h 512"/>
              <a:gd name="T32" fmla="*/ 216 w 512"/>
              <a:gd name="T33" fmla="*/ 280 h 512"/>
              <a:gd name="T34" fmla="*/ 231 w 512"/>
              <a:gd name="T35" fmla="*/ 280 h 512"/>
              <a:gd name="T36" fmla="*/ 231 w 512"/>
              <a:gd name="T37" fmla="*/ 295 h 512"/>
              <a:gd name="T38" fmla="*/ 373 w 512"/>
              <a:gd name="T39" fmla="*/ 213 h 512"/>
              <a:gd name="T40" fmla="*/ 362 w 512"/>
              <a:gd name="T41" fmla="*/ 224 h 512"/>
              <a:gd name="T42" fmla="*/ 352 w 512"/>
              <a:gd name="T43" fmla="*/ 213 h 512"/>
              <a:gd name="T44" fmla="*/ 352 w 512"/>
              <a:gd name="T45" fmla="*/ 175 h 512"/>
              <a:gd name="T46" fmla="*/ 295 w 512"/>
              <a:gd name="T47" fmla="*/ 231 h 512"/>
              <a:gd name="T48" fmla="*/ 288 w 512"/>
              <a:gd name="T49" fmla="*/ 234 h 512"/>
              <a:gd name="T50" fmla="*/ 280 w 512"/>
              <a:gd name="T51" fmla="*/ 231 h 512"/>
              <a:gd name="T52" fmla="*/ 280 w 512"/>
              <a:gd name="T53" fmla="*/ 216 h 512"/>
              <a:gd name="T54" fmla="*/ 337 w 512"/>
              <a:gd name="T55" fmla="*/ 160 h 512"/>
              <a:gd name="T56" fmla="*/ 298 w 512"/>
              <a:gd name="T57" fmla="*/ 160 h 512"/>
              <a:gd name="T58" fmla="*/ 288 w 512"/>
              <a:gd name="T59" fmla="*/ 149 h 512"/>
              <a:gd name="T60" fmla="*/ 298 w 512"/>
              <a:gd name="T61" fmla="*/ 138 h 512"/>
              <a:gd name="T62" fmla="*/ 362 w 512"/>
              <a:gd name="T63" fmla="*/ 138 h 512"/>
              <a:gd name="T64" fmla="*/ 366 w 512"/>
              <a:gd name="T65" fmla="*/ 139 h 512"/>
              <a:gd name="T66" fmla="*/ 373 w 512"/>
              <a:gd name="T67" fmla="*/ 149 h 512"/>
              <a:gd name="T68" fmla="*/ 373 w 512"/>
              <a:gd name="T69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1" y="295"/>
                </a:moveTo>
                <a:cubicBezTo>
                  <a:pt x="175" y="352"/>
                  <a:pt x="175" y="352"/>
                  <a:pt x="175" y="352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19" y="352"/>
                  <a:pt x="224" y="356"/>
                  <a:pt x="224" y="362"/>
                </a:cubicBezTo>
                <a:cubicBezTo>
                  <a:pt x="224" y="368"/>
                  <a:pt x="219" y="373"/>
                  <a:pt x="213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3" y="373"/>
                  <a:pt x="138" y="368"/>
                  <a:pt x="138" y="362"/>
                </a:cubicBezTo>
                <a:cubicBezTo>
                  <a:pt x="138" y="298"/>
                  <a:pt x="138" y="298"/>
                  <a:pt x="138" y="298"/>
                </a:cubicBezTo>
                <a:cubicBezTo>
                  <a:pt x="138" y="292"/>
                  <a:pt x="143" y="288"/>
                  <a:pt x="149" y="288"/>
                </a:cubicBezTo>
                <a:cubicBezTo>
                  <a:pt x="155" y="288"/>
                  <a:pt x="160" y="292"/>
                  <a:pt x="160" y="298"/>
                </a:cubicBezTo>
                <a:cubicBezTo>
                  <a:pt x="160" y="337"/>
                  <a:pt x="160" y="337"/>
                  <a:pt x="160" y="337"/>
                </a:cubicBezTo>
                <a:cubicBezTo>
                  <a:pt x="216" y="280"/>
                  <a:pt x="216" y="280"/>
                  <a:pt x="216" y="280"/>
                </a:cubicBezTo>
                <a:cubicBezTo>
                  <a:pt x="220" y="276"/>
                  <a:pt x="227" y="276"/>
                  <a:pt x="231" y="280"/>
                </a:cubicBezTo>
                <a:cubicBezTo>
                  <a:pt x="235" y="284"/>
                  <a:pt x="235" y="291"/>
                  <a:pt x="231" y="295"/>
                </a:cubicBezTo>
                <a:close/>
                <a:moveTo>
                  <a:pt x="373" y="213"/>
                </a:moveTo>
                <a:cubicBezTo>
                  <a:pt x="373" y="219"/>
                  <a:pt x="368" y="224"/>
                  <a:pt x="362" y="224"/>
                </a:cubicBezTo>
                <a:cubicBezTo>
                  <a:pt x="356" y="224"/>
                  <a:pt x="352" y="219"/>
                  <a:pt x="352" y="213"/>
                </a:cubicBezTo>
                <a:cubicBezTo>
                  <a:pt x="352" y="175"/>
                  <a:pt x="352" y="175"/>
                  <a:pt x="352" y="175"/>
                </a:cubicBezTo>
                <a:cubicBezTo>
                  <a:pt x="295" y="231"/>
                  <a:pt x="295" y="231"/>
                  <a:pt x="295" y="231"/>
                </a:cubicBezTo>
                <a:cubicBezTo>
                  <a:pt x="293" y="233"/>
                  <a:pt x="290" y="234"/>
                  <a:pt x="288" y="234"/>
                </a:cubicBezTo>
                <a:cubicBezTo>
                  <a:pt x="285" y="234"/>
                  <a:pt x="282" y="233"/>
                  <a:pt x="280" y="231"/>
                </a:cubicBezTo>
                <a:cubicBezTo>
                  <a:pt x="276" y="227"/>
                  <a:pt x="276" y="220"/>
                  <a:pt x="280" y="216"/>
                </a:cubicBezTo>
                <a:cubicBezTo>
                  <a:pt x="337" y="160"/>
                  <a:pt x="337" y="160"/>
                  <a:pt x="337" y="160"/>
                </a:cubicBezTo>
                <a:cubicBezTo>
                  <a:pt x="298" y="160"/>
                  <a:pt x="298" y="160"/>
                  <a:pt x="298" y="160"/>
                </a:cubicBezTo>
                <a:cubicBezTo>
                  <a:pt x="292" y="160"/>
                  <a:pt x="288" y="155"/>
                  <a:pt x="288" y="149"/>
                </a:cubicBezTo>
                <a:cubicBezTo>
                  <a:pt x="288" y="143"/>
                  <a:pt x="292" y="138"/>
                  <a:pt x="298" y="138"/>
                </a:cubicBezTo>
                <a:cubicBezTo>
                  <a:pt x="362" y="138"/>
                  <a:pt x="362" y="138"/>
                  <a:pt x="362" y="138"/>
                </a:cubicBezTo>
                <a:cubicBezTo>
                  <a:pt x="364" y="138"/>
                  <a:pt x="365" y="139"/>
                  <a:pt x="366" y="139"/>
                </a:cubicBezTo>
                <a:cubicBezTo>
                  <a:pt x="370" y="141"/>
                  <a:pt x="373" y="145"/>
                  <a:pt x="373" y="149"/>
                </a:cubicBezTo>
                <a:lnTo>
                  <a:pt x="373" y="21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2" name="Group 405"/>
          <p:cNvGrpSpPr>
            <a:grpSpLocks noChangeAspect="1"/>
          </p:cNvGrpSpPr>
          <p:nvPr/>
        </p:nvGrpSpPr>
        <p:grpSpPr bwMode="auto">
          <a:xfrm>
            <a:off x="7899535" y="3723547"/>
            <a:ext cx="368121" cy="367041"/>
            <a:chOff x="1918" y="1516"/>
            <a:chExt cx="341" cy="340"/>
          </a:xfrm>
          <a:solidFill>
            <a:schemeClr val="accent5"/>
          </a:solidFill>
        </p:grpSpPr>
        <p:sp>
          <p:nvSpPr>
            <p:cNvPr id="343" name="Freeform 406"/>
            <p:cNvSpPr>
              <a:spLocks noEditPoints="1"/>
            </p:cNvSpPr>
            <p:nvPr/>
          </p:nvSpPr>
          <p:spPr bwMode="auto">
            <a:xfrm>
              <a:off x="1918" y="1516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407"/>
            <p:cNvSpPr>
              <a:spLocks/>
            </p:cNvSpPr>
            <p:nvPr/>
          </p:nvSpPr>
          <p:spPr bwMode="auto">
            <a:xfrm>
              <a:off x="2102" y="1608"/>
              <a:ext cx="64" cy="63"/>
            </a:xfrm>
            <a:custGeom>
              <a:avLst/>
              <a:gdLst>
                <a:gd name="T0" fmla="*/ 90 w 97"/>
                <a:gd name="T1" fmla="*/ 1 h 96"/>
                <a:gd name="T2" fmla="*/ 86 w 97"/>
                <a:gd name="T3" fmla="*/ 0 h 96"/>
                <a:gd name="T4" fmla="*/ 22 w 97"/>
                <a:gd name="T5" fmla="*/ 0 h 96"/>
                <a:gd name="T6" fmla="*/ 12 w 97"/>
                <a:gd name="T7" fmla="*/ 11 h 96"/>
                <a:gd name="T8" fmla="*/ 22 w 97"/>
                <a:gd name="T9" fmla="*/ 22 h 96"/>
                <a:gd name="T10" fmla="*/ 61 w 97"/>
                <a:gd name="T11" fmla="*/ 22 h 96"/>
                <a:gd name="T12" fmla="*/ 4 w 97"/>
                <a:gd name="T13" fmla="*/ 78 h 96"/>
                <a:gd name="T14" fmla="*/ 4 w 97"/>
                <a:gd name="T15" fmla="*/ 93 h 96"/>
                <a:gd name="T16" fmla="*/ 12 w 97"/>
                <a:gd name="T17" fmla="*/ 96 h 96"/>
                <a:gd name="T18" fmla="*/ 19 w 97"/>
                <a:gd name="T19" fmla="*/ 93 h 96"/>
                <a:gd name="T20" fmla="*/ 76 w 97"/>
                <a:gd name="T21" fmla="*/ 37 h 96"/>
                <a:gd name="T22" fmla="*/ 76 w 97"/>
                <a:gd name="T23" fmla="*/ 75 h 96"/>
                <a:gd name="T24" fmla="*/ 86 w 97"/>
                <a:gd name="T25" fmla="*/ 86 h 96"/>
                <a:gd name="T26" fmla="*/ 97 w 97"/>
                <a:gd name="T27" fmla="*/ 75 h 96"/>
                <a:gd name="T28" fmla="*/ 97 w 97"/>
                <a:gd name="T29" fmla="*/ 11 h 96"/>
                <a:gd name="T30" fmla="*/ 90 w 97"/>
                <a:gd name="T31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96">
                  <a:moveTo>
                    <a:pt x="90" y="1"/>
                  </a:moveTo>
                  <a:cubicBezTo>
                    <a:pt x="89" y="1"/>
                    <a:pt x="88" y="0"/>
                    <a:pt x="8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6" y="0"/>
                    <a:pt x="12" y="5"/>
                    <a:pt x="12" y="11"/>
                  </a:cubicBezTo>
                  <a:cubicBezTo>
                    <a:pt x="12" y="17"/>
                    <a:pt x="16" y="22"/>
                    <a:pt x="22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0" y="82"/>
                    <a:pt x="0" y="89"/>
                    <a:pt x="4" y="93"/>
                  </a:cubicBezTo>
                  <a:cubicBezTo>
                    <a:pt x="6" y="95"/>
                    <a:pt x="9" y="96"/>
                    <a:pt x="12" y="96"/>
                  </a:cubicBezTo>
                  <a:cubicBezTo>
                    <a:pt x="14" y="96"/>
                    <a:pt x="17" y="95"/>
                    <a:pt x="19" y="93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81"/>
                    <a:pt x="80" y="86"/>
                    <a:pt x="86" y="86"/>
                  </a:cubicBezTo>
                  <a:cubicBezTo>
                    <a:pt x="92" y="86"/>
                    <a:pt x="97" y="81"/>
                    <a:pt x="97" y="75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7"/>
                    <a:pt x="94" y="3"/>
                    <a:pt x="9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408"/>
            <p:cNvSpPr>
              <a:spLocks/>
            </p:cNvSpPr>
            <p:nvPr/>
          </p:nvSpPr>
          <p:spPr bwMode="auto">
            <a:xfrm>
              <a:off x="2010" y="1699"/>
              <a:ext cx="65" cy="65"/>
            </a:xfrm>
            <a:custGeom>
              <a:avLst/>
              <a:gdLst>
                <a:gd name="T0" fmla="*/ 78 w 97"/>
                <a:gd name="T1" fmla="*/ 4 h 97"/>
                <a:gd name="T2" fmla="*/ 22 w 97"/>
                <a:gd name="T3" fmla="*/ 61 h 97"/>
                <a:gd name="T4" fmla="*/ 22 w 97"/>
                <a:gd name="T5" fmla="*/ 22 h 97"/>
                <a:gd name="T6" fmla="*/ 11 w 97"/>
                <a:gd name="T7" fmla="*/ 12 h 97"/>
                <a:gd name="T8" fmla="*/ 0 w 97"/>
                <a:gd name="T9" fmla="*/ 22 h 97"/>
                <a:gd name="T10" fmla="*/ 0 w 97"/>
                <a:gd name="T11" fmla="*/ 86 h 97"/>
                <a:gd name="T12" fmla="*/ 11 w 97"/>
                <a:gd name="T13" fmla="*/ 97 h 97"/>
                <a:gd name="T14" fmla="*/ 75 w 97"/>
                <a:gd name="T15" fmla="*/ 97 h 97"/>
                <a:gd name="T16" fmla="*/ 86 w 97"/>
                <a:gd name="T17" fmla="*/ 86 h 97"/>
                <a:gd name="T18" fmla="*/ 75 w 97"/>
                <a:gd name="T19" fmla="*/ 76 h 97"/>
                <a:gd name="T20" fmla="*/ 37 w 97"/>
                <a:gd name="T21" fmla="*/ 76 h 97"/>
                <a:gd name="T22" fmla="*/ 93 w 97"/>
                <a:gd name="T23" fmla="*/ 19 h 97"/>
                <a:gd name="T24" fmla="*/ 93 w 97"/>
                <a:gd name="T25" fmla="*/ 4 h 97"/>
                <a:gd name="T26" fmla="*/ 78 w 97"/>
                <a:gd name="T27" fmla="*/ 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97">
                  <a:moveTo>
                    <a:pt x="78" y="4"/>
                  </a:moveTo>
                  <a:cubicBezTo>
                    <a:pt x="22" y="61"/>
                    <a:pt x="22" y="61"/>
                    <a:pt x="22" y="6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6"/>
                    <a:pt x="17" y="12"/>
                    <a:pt x="11" y="12"/>
                  </a:cubicBezTo>
                  <a:cubicBezTo>
                    <a:pt x="5" y="12"/>
                    <a:pt x="0" y="16"/>
                    <a:pt x="0" y="2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2"/>
                    <a:pt x="5" y="97"/>
                    <a:pt x="11" y="97"/>
                  </a:cubicBezTo>
                  <a:cubicBezTo>
                    <a:pt x="75" y="97"/>
                    <a:pt x="75" y="97"/>
                    <a:pt x="75" y="97"/>
                  </a:cubicBezTo>
                  <a:cubicBezTo>
                    <a:pt x="81" y="97"/>
                    <a:pt x="86" y="92"/>
                    <a:pt x="86" y="86"/>
                  </a:cubicBezTo>
                  <a:cubicBezTo>
                    <a:pt x="86" y="80"/>
                    <a:pt x="81" y="76"/>
                    <a:pt x="75" y="76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93" y="19"/>
                    <a:pt x="93" y="19"/>
                    <a:pt x="93" y="19"/>
                  </a:cubicBezTo>
                  <a:cubicBezTo>
                    <a:pt x="97" y="15"/>
                    <a:pt x="97" y="8"/>
                    <a:pt x="93" y="4"/>
                  </a:cubicBezTo>
                  <a:cubicBezTo>
                    <a:pt x="89" y="0"/>
                    <a:pt x="82" y="0"/>
                    <a:pt x="7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6" name="Freeform 412"/>
          <p:cNvSpPr>
            <a:spLocks noChangeAspect="1" noEditPoints="1"/>
          </p:cNvSpPr>
          <p:nvPr/>
        </p:nvSpPr>
        <p:spPr bwMode="auto">
          <a:xfrm>
            <a:off x="8396553" y="3722464"/>
            <a:ext cx="367041" cy="368120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2 w 512"/>
              <a:gd name="T5" fmla="*/ 296 h 512"/>
              <a:gd name="T6" fmla="*/ 203 w 512"/>
              <a:gd name="T7" fmla="*/ 352 h 512"/>
              <a:gd name="T8" fmla="*/ 203 w 512"/>
              <a:gd name="T9" fmla="*/ 374 h 512"/>
              <a:gd name="T10" fmla="*/ 139 w 512"/>
              <a:gd name="T11" fmla="*/ 367 h 512"/>
              <a:gd name="T12" fmla="*/ 139 w 512"/>
              <a:gd name="T13" fmla="*/ 363 h 512"/>
              <a:gd name="T14" fmla="*/ 149 w 512"/>
              <a:gd name="T15" fmla="*/ 299 h 512"/>
              <a:gd name="T16" fmla="*/ 160 w 512"/>
              <a:gd name="T17" fmla="*/ 337 h 512"/>
              <a:gd name="T18" fmla="*/ 232 w 512"/>
              <a:gd name="T19" fmla="*/ 281 h 512"/>
              <a:gd name="T20" fmla="*/ 232 w 512"/>
              <a:gd name="T21" fmla="*/ 232 h 512"/>
              <a:gd name="T22" fmla="*/ 216 w 512"/>
              <a:gd name="T23" fmla="*/ 232 h 512"/>
              <a:gd name="T24" fmla="*/ 160 w 512"/>
              <a:gd name="T25" fmla="*/ 203 h 512"/>
              <a:gd name="T26" fmla="*/ 139 w 512"/>
              <a:gd name="T27" fmla="*/ 203 h 512"/>
              <a:gd name="T28" fmla="*/ 145 w 512"/>
              <a:gd name="T29" fmla="*/ 140 h 512"/>
              <a:gd name="T30" fmla="*/ 149 w 512"/>
              <a:gd name="T31" fmla="*/ 139 h 512"/>
              <a:gd name="T32" fmla="*/ 213 w 512"/>
              <a:gd name="T33" fmla="*/ 150 h 512"/>
              <a:gd name="T34" fmla="*/ 175 w 512"/>
              <a:gd name="T35" fmla="*/ 160 h 512"/>
              <a:gd name="T36" fmla="*/ 232 w 512"/>
              <a:gd name="T37" fmla="*/ 232 h 512"/>
              <a:gd name="T38" fmla="*/ 373 w 512"/>
              <a:gd name="T39" fmla="*/ 363 h 512"/>
              <a:gd name="T40" fmla="*/ 363 w 512"/>
              <a:gd name="T41" fmla="*/ 374 h 512"/>
              <a:gd name="T42" fmla="*/ 299 w 512"/>
              <a:gd name="T43" fmla="*/ 363 h 512"/>
              <a:gd name="T44" fmla="*/ 337 w 512"/>
              <a:gd name="T45" fmla="*/ 352 h 512"/>
              <a:gd name="T46" fmla="*/ 280 w 512"/>
              <a:gd name="T47" fmla="*/ 281 h 512"/>
              <a:gd name="T48" fmla="*/ 352 w 512"/>
              <a:gd name="T49" fmla="*/ 337 h 512"/>
              <a:gd name="T50" fmla="*/ 363 w 512"/>
              <a:gd name="T51" fmla="*/ 299 h 512"/>
              <a:gd name="T52" fmla="*/ 373 w 512"/>
              <a:gd name="T53" fmla="*/ 363 h 512"/>
              <a:gd name="T54" fmla="*/ 363 w 512"/>
              <a:gd name="T55" fmla="*/ 214 h 512"/>
              <a:gd name="T56" fmla="*/ 352 w 512"/>
              <a:gd name="T57" fmla="*/ 175 h 512"/>
              <a:gd name="T58" fmla="*/ 288 w 512"/>
              <a:gd name="T59" fmla="*/ 235 h 512"/>
              <a:gd name="T60" fmla="*/ 280 w 512"/>
              <a:gd name="T61" fmla="*/ 217 h 512"/>
              <a:gd name="T62" fmla="*/ 309 w 512"/>
              <a:gd name="T63" fmla="*/ 160 h 512"/>
              <a:gd name="T64" fmla="*/ 309 w 512"/>
              <a:gd name="T65" fmla="*/ 139 h 512"/>
              <a:gd name="T66" fmla="*/ 363 w 512"/>
              <a:gd name="T67" fmla="*/ 139 h 512"/>
              <a:gd name="T68" fmla="*/ 373 w 512"/>
              <a:gd name="T69" fmla="*/ 15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232" y="296"/>
                </a:moveTo>
                <a:cubicBezTo>
                  <a:pt x="175" y="352"/>
                  <a:pt x="175" y="352"/>
                  <a:pt x="175" y="352"/>
                </a:cubicBezTo>
                <a:cubicBezTo>
                  <a:pt x="203" y="352"/>
                  <a:pt x="203" y="352"/>
                  <a:pt x="203" y="352"/>
                </a:cubicBezTo>
                <a:cubicBezTo>
                  <a:pt x="209" y="352"/>
                  <a:pt x="213" y="357"/>
                  <a:pt x="213" y="363"/>
                </a:cubicBezTo>
                <a:cubicBezTo>
                  <a:pt x="213" y="369"/>
                  <a:pt x="209" y="374"/>
                  <a:pt x="203" y="374"/>
                </a:cubicBezTo>
                <a:cubicBezTo>
                  <a:pt x="149" y="374"/>
                  <a:pt x="149" y="374"/>
                  <a:pt x="149" y="374"/>
                </a:cubicBezTo>
                <a:cubicBezTo>
                  <a:pt x="145" y="374"/>
                  <a:pt x="141" y="371"/>
                  <a:pt x="139" y="367"/>
                </a:cubicBezTo>
                <a:cubicBezTo>
                  <a:pt x="139" y="366"/>
                  <a:pt x="139" y="365"/>
                  <a:pt x="139" y="363"/>
                </a:cubicBezTo>
                <a:cubicBezTo>
                  <a:pt x="139" y="363"/>
                  <a:pt x="139" y="363"/>
                  <a:pt x="139" y="363"/>
                </a:cubicBezTo>
                <a:cubicBezTo>
                  <a:pt x="139" y="310"/>
                  <a:pt x="139" y="310"/>
                  <a:pt x="139" y="310"/>
                </a:cubicBezTo>
                <a:cubicBezTo>
                  <a:pt x="139" y="304"/>
                  <a:pt x="143" y="299"/>
                  <a:pt x="149" y="299"/>
                </a:cubicBezTo>
                <a:cubicBezTo>
                  <a:pt x="155" y="299"/>
                  <a:pt x="160" y="304"/>
                  <a:pt x="160" y="310"/>
                </a:cubicBezTo>
                <a:cubicBezTo>
                  <a:pt x="160" y="337"/>
                  <a:pt x="160" y="337"/>
                  <a:pt x="160" y="337"/>
                </a:cubicBezTo>
                <a:cubicBezTo>
                  <a:pt x="216" y="281"/>
                  <a:pt x="216" y="281"/>
                  <a:pt x="216" y="281"/>
                </a:cubicBezTo>
                <a:cubicBezTo>
                  <a:pt x="221" y="277"/>
                  <a:pt x="227" y="277"/>
                  <a:pt x="232" y="281"/>
                </a:cubicBezTo>
                <a:cubicBezTo>
                  <a:pt x="236" y="285"/>
                  <a:pt x="236" y="292"/>
                  <a:pt x="232" y="296"/>
                </a:cubicBezTo>
                <a:close/>
                <a:moveTo>
                  <a:pt x="232" y="232"/>
                </a:moveTo>
                <a:cubicBezTo>
                  <a:pt x="229" y="234"/>
                  <a:pt x="227" y="235"/>
                  <a:pt x="224" y="235"/>
                </a:cubicBezTo>
                <a:cubicBezTo>
                  <a:pt x="221" y="235"/>
                  <a:pt x="219" y="234"/>
                  <a:pt x="216" y="232"/>
                </a:cubicBezTo>
                <a:cubicBezTo>
                  <a:pt x="160" y="175"/>
                  <a:pt x="160" y="175"/>
                  <a:pt x="160" y="17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209"/>
                  <a:pt x="155" y="214"/>
                  <a:pt x="149" y="214"/>
                </a:cubicBezTo>
                <a:cubicBezTo>
                  <a:pt x="143" y="214"/>
                  <a:pt x="139" y="209"/>
                  <a:pt x="139" y="203"/>
                </a:cubicBezTo>
                <a:cubicBezTo>
                  <a:pt x="139" y="150"/>
                  <a:pt x="139" y="150"/>
                  <a:pt x="139" y="150"/>
                </a:cubicBezTo>
                <a:cubicBezTo>
                  <a:pt x="139" y="145"/>
                  <a:pt x="141" y="141"/>
                  <a:pt x="145" y="140"/>
                </a:cubicBezTo>
                <a:cubicBezTo>
                  <a:pt x="147" y="139"/>
                  <a:pt x="148" y="139"/>
                  <a:pt x="149" y="139"/>
                </a:cubicBezTo>
                <a:cubicBezTo>
                  <a:pt x="149" y="139"/>
                  <a:pt x="149" y="139"/>
                  <a:pt x="149" y="139"/>
                </a:cubicBezTo>
                <a:cubicBezTo>
                  <a:pt x="203" y="139"/>
                  <a:pt x="203" y="139"/>
                  <a:pt x="203" y="139"/>
                </a:cubicBezTo>
                <a:cubicBezTo>
                  <a:pt x="209" y="139"/>
                  <a:pt x="213" y="144"/>
                  <a:pt x="213" y="150"/>
                </a:cubicBezTo>
                <a:cubicBezTo>
                  <a:pt x="213" y="156"/>
                  <a:pt x="209" y="160"/>
                  <a:pt x="203" y="160"/>
                </a:cubicBezTo>
                <a:cubicBezTo>
                  <a:pt x="175" y="160"/>
                  <a:pt x="175" y="160"/>
                  <a:pt x="175" y="160"/>
                </a:cubicBezTo>
                <a:cubicBezTo>
                  <a:pt x="232" y="217"/>
                  <a:pt x="232" y="217"/>
                  <a:pt x="232" y="217"/>
                </a:cubicBezTo>
                <a:cubicBezTo>
                  <a:pt x="236" y="221"/>
                  <a:pt x="236" y="228"/>
                  <a:pt x="232" y="232"/>
                </a:cubicBezTo>
                <a:close/>
                <a:moveTo>
                  <a:pt x="373" y="363"/>
                </a:moveTo>
                <a:cubicBezTo>
                  <a:pt x="373" y="363"/>
                  <a:pt x="373" y="363"/>
                  <a:pt x="373" y="363"/>
                </a:cubicBezTo>
                <a:cubicBezTo>
                  <a:pt x="373" y="365"/>
                  <a:pt x="373" y="366"/>
                  <a:pt x="373" y="367"/>
                </a:cubicBezTo>
                <a:cubicBezTo>
                  <a:pt x="371" y="371"/>
                  <a:pt x="367" y="374"/>
                  <a:pt x="363" y="374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303" y="374"/>
                  <a:pt x="299" y="369"/>
                  <a:pt x="299" y="363"/>
                </a:cubicBezTo>
                <a:cubicBezTo>
                  <a:pt x="299" y="357"/>
                  <a:pt x="303" y="352"/>
                  <a:pt x="309" y="352"/>
                </a:cubicBezTo>
                <a:cubicBezTo>
                  <a:pt x="337" y="352"/>
                  <a:pt x="337" y="352"/>
                  <a:pt x="337" y="352"/>
                </a:cubicBezTo>
                <a:cubicBezTo>
                  <a:pt x="280" y="296"/>
                  <a:pt x="280" y="296"/>
                  <a:pt x="280" y="296"/>
                </a:cubicBezTo>
                <a:cubicBezTo>
                  <a:pt x="276" y="292"/>
                  <a:pt x="276" y="285"/>
                  <a:pt x="280" y="281"/>
                </a:cubicBezTo>
                <a:cubicBezTo>
                  <a:pt x="285" y="277"/>
                  <a:pt x="291" y="277"/>
                  <a:pt x="296" y="281"/>
                </a:cubicBezTo>
                <a:cubicBezTo>
                  <a:pt x="352" y="337"/>
                  <a:pt x="352" y="337"/>
                  <a:pt x="352" y="337"/>
                </a:cubicBezTo>
                <a:cubicBezTo>
                  <a:pt x="352" y="310"/>
                  <a:pt x="352" y="310"/>
                  <a:pt x="352" y="310"/>
                </a:cubicBezTo>
                <a:cubicBezTo>
                  <a:pt x="352" y="304"/>
                  <a:pt x="357" y="299"/>
                  <a:pt x="363" y="299"/>
                </a:cubicBezTo>
                <a:cubicBezTo>
                  <a:pt x="369" y="299"/>
                  <a:pt x="373" y="304"/>
                  <a:pt x="373" y="310"/>
                </a:cubicBezTo>
                <a:lnTo>
                  <a:pt x="373" y="363"/>
                </a:lnTo>
                <a:close/>
                <a:moveTo>
                  <a:pt x="373" y="203"/>
                </a:moveTo>
                <a:cubicBezTo>
                  <a:pt x="373" y="209"/>
                  <a:pt x="369" y="214"/>
                  <a:pt x="363" y="214"/>
                </a:cubicBezTo>
                <a:cubicBezTo>
                  <a:pt x="357" y="214"/>
                  <a:pt x="352" y="209"/>
                  <a:pt x="352" y="203"/>
                </a:cubicBezTo>
                <a:cubicBezTo>
                  <a:pt x="352" y="175"/>
                  <a:pt x="352" y="175"/>
                  <a:pt x="352" y="175"/>
                </a:cubicBezTo>
                <a:cubicBezTo>
                  <a:pt x="296" y="232"/>
                  <a:pt x="296" y="232"/>
                  <a:pt x="296" y="232"/>
                </a:cubicBezTo>
                <a:cubicBezTo>
                  <a:pt x="293" y="234"/>
                  <a:pt x="291" y="235"/>
                  <a:pt x="288" y="235"/>
                </a:cubicBezTo>
                <a:cubicBezTo>
                  <a:pt x="285" y="235"/>
                  <a:pt x="283" y="234"/>
                  <a:pt x="280" y="232"/>
                </a:cubicBezTo>
                <a:cubicBezTo>
                  <a:pt x="276" y="228"/>
                  <a:pt x="276" y="221"/>
                  <a:pt x="280" y="217"/>
                </a:cubicBezTo>
                <a:cubicBezTo>
                  <a:pt x="337" y="160"/>
                  <a:pt x="337" y="160"/>
                  <a:pt x="337" y="160"/>
                </a:cubicBezTo>
                <a:cubicBezTo>
                  <a:pt x="309" y="160"/>
                  <a:pt x="309" y="160"/>
                  <a:pt x="309" y="160"/>
                </a:cubicBezTo>
                <a:cubicBezTo>
                  <a:pt x="303" y="160"/>
                  <a:pt x="299" y="156"/>
                  <a:pt x="299" y="150"/>
                </a:cubicBezTo>
                <a:cubicBezTo>
                  <a:pt x="299" y="144"/>
                  <a:pt x="303" y="139"/>
                  <a:pt x="309" y="139"/>
                </a:cubicBezTo>
                <a:cubicBezTo>
                  <a:pt x="363" y="139"/>
                  <a:pt x="363" y="139"/>
                  <a:pt x="363" y="139"/>
                </a:cubicBezTo>
                <a:cubicBezTo>
                  <a:pt x="363" y="139"/>
                  <a:pt x="363" y="139"/>
                  <a:pt x="363" y="139"/>
                </a:cubicBezTo>
                <a:cubicBezTo>
                  <a:pt x="364" y="139"/>
                  <a:pt x="365" y="139"/>
                  <a:pt x="367" y="140"/>
                </a:cubicBezTo>
                <a:cubicBezTo>
                  <a:pt x="371" y="141"/>
                  <a:pt x="373" y="145"/>
                  <a:pt x="373" y="150"/>
                </a:cubicBezTo>
                <a:lnTo>
                  <a:pt x="373" y="20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7" name="Group 415"/>
          <p:cNvGrpSpPr>
            <a:grpSpLocks noChangeAspect="1"/>
          </p:cNvGrpSpPr>
          <p:nvPr/>
        </p:nvGrpSpPr>
        <p:grpSpPr bwMode="auto">
          <a:xfrm>
            <a:off x="8892491" y="3723547"/>
            <a:ext cx="367041" cy="367041"/>
            <a:chOff x="3342" y="1878"/>
            <a:chExt cx="340" cy="340"/>
          </a:xfrm>
          <a:solidFill>
            <a:schemeClr val="accent5"/>
          </a:solidFill>
        </p:grpSpPr>
        <p:sp>
          <p:nvSpPr>
            <p:cNvPr id="348" name="Freeform 416"/>
            <p:cNvSpPr>
              <a:spLocks noEditPoints="1"/>
            </p:cNvSpPr>
            <p:nvPr/>
          </p:nvSpPr>
          <p:spPr bwMode="auto">
            <a:xfrm>
              <a:off x="3434" y="1970"/>
              <a:ext cx="156" cy="156"/>
            </a:xfrm>
            <a:custGeom>
              <a:avLst/>
              <a:gdLst>
                <a:gd name="T0" fmla="*/ 234 w 234"/>
                <a:gd name="T1" fmla="*/ 64 h 235"/>
                <a:gd name="T2" fmla="*/ 213 w 234"/>
                <a:gd name="T3" fmla="*/ 64 h 235"/>
                <a:gd name="T4" fmla="*/ 157 w 234"/>
                <a:gd name="T5" fmla="*/ 93 h 235"/>
                <a:gd name="T6" fmla="*/ 141 w 234"/>
                <a:gd name="T7" fmla="*/ 93 h 235"/>
                <a:gd name="T8" fmla="*/ 198 w 234"/>
                <a:gd name="T9" fmla="*/ 21 h 235"/>
                <a:gd name="T10" fmla="*/ 160 w 234"/>
                <a:gd name="T11" fmla="*/ 11 h 235"/>
                <a:gd name="T12" fmla="*/ 224 w 234"/>
                <a:gd name="T13" fmla="*/ 0 h 235"/>
                <a:gd name="T14" fmla="*/ 228 w 234"/>
                <a:gd name="T15" fmla="*/ 1 h 235"/>
                <a:gd name="T16" fmla="*/ 77 w 234"/>
                <a:gd name="T17" fmla="*/ 142 h 235"/>
                <a:gd name="T18" fmla="*/ 21 w 234"/>
                <a:gd name="T19" fmla="*/ 171 h 235"/>
                <a:gd name="T20" fmla="*/ 0 w 234"/>
                <a:gd name="T21" fmla="*/ 171 h 235"/>
                <a:gd name="T22" fmla="*/ 0 w 234"/>
                <a:gd name="T23" fmla="*/ 224 h 235"/>
                <a:gd name="T24" fmla="*/ 10 w 234"/>
                <a:gd name="T25" fmla="*/ 235 h 235"/>
                <a:gd name="T26" fmla="*/ 74 w 234"/>
                <a:gd name="T27" fmla="*/ 224 h 235"/>
                <a:gd name="T28" fmla="*/ 36 w 234"/>
                <a:gd name="T29" fmla="*/ 213 h 235"/>
                <a:gd name="T30" fmla="*/ 93 w 234"/>
                <a:gd name="T31" fmla="*/ 142 h 235"/>
                <a:gd name="T32" fmla="*/ 36 w 234"/>
                <a:gd name="T33" fmla="*/ 21 h 235"/>
                <a:gd name="T34" fmla="*/ 74 w 234"/>
                <a:gd name="T35" fmla="*/ 11 h 235"/>
                <a:gd name="T36" fmla="*/ 10 w 234"/>
                <a:gd name="T37" fmla="*/ 0 h 235"/>
                <a:gd name="T38" fmla="*/ 6 w 234"/>
                <a:gd name="T39" fmla="*/ 1 h 235"/>
                <a:gd name="T40" fmla="*/ 0 w 234"/>
                <a:gd name="T41" fmla="*/ 64 h 235"/>
                <a:gd name="T42" fmla="*/ 21 w 234"/>
                <a:gd name="T43" fmla="*/ 64 h 235"/>
                <a:gd name="T44" fmla="*/ 77 w 234"/>
                <a:gd name="T45" fmla="*/ 93 h 235"/>
                <a:gd name="T46" fmla="*/ 93 w 234"/>
                <a:gd name="T47" fmla="*/ 93 h 235"/>
                <a:gd name="T48" fmla="*/ 36 w 234"/>
                <a:gd name="T49" fmla="*/ 21 h 235"/>
                <a:gd name="T50" fmla="*/ 213 w 234"/>
                <a:gd name="T51" fmla="*/ 171 h 235"/>
                <a:gd name="T52" fmla="*/ 157 w 234"/>
                <a:gd name="T53" fmla="*/ 142 h 235"/>
                <a:gd name="T54" fmla="*/ 141 w 234"/>
                <a:gd name="T55" fmla="*/ 157 h 235"/>
                <a:gd name="T56" fmla="*/ 170 w 234"/>
                <a:gd name="T57" fmla="*/ 213 h 235"/>
                <a:gd name="T58" fmla="*/ 170 w 234"/>
                <a:gd name="T59" fmla="*/ 235 h 235"/>
                <a:gd name="T60" fmla="*/ 234 w 234"/>
                <a:gd name="T61" fmla="*/ 228 h 235"/>
                <a:gd name="T62" fmla="*/ 234 w 234"/>
                <a:gd name="T63" fmla="*/ 224 h 235"/>
                <a:gd name="T64" fmla="*/ 224 w 234"/>
                <a:gd name="T65" fmla="*/ 16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35">
                  <a:moveTo>
                    <a:pt x="234" y="11"/>
                  </a:moveTo>
                  <a:cubicBezTo>
                    <a:pt x="234" y="64"/>
                    <a:pt x="234" y="64"/>
                    <a:pt x="234" y="64"/>
                  </a:cubicBezTo>
                  <a:cubicBezTo>
                    <a:pt x="234" y="70"/>
                    <a:pt x="230" y="75"/>
                    <a:pt x="224" y="75"/>
                  </a:cubicBezTo>
                  <a:cubicBezTo>
                    <a:pt x="218" y="75"/>
                    <a:pt x="213" y="70"/>
                    <a:pt x="213" y="64"/>
                  </a:cubicBezTo>
                  <a:cubicBezTo>
                    <a:pt x="213" y="36"/>
                    <a:pt x="213" y="36"/>
                    <a:pt x="213" y="36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4" y="95"/>
                    <a:pt x="152" y="96"/>
                    <a:pt x="149" y="96"/>
                  </a:cubicBezTo>
                  <a:cubicBezTo>
                    <a:pt x="146" y="96"/>
                    <a:pt x="144" y="95"/>
                    <a:pt x="141" y="93"/>
                  </a:cubicBezTo>
                  <a:cubicBezTo>
                    <a:pt x="137" y="89"/>
                    <a:pt x="137" y="82"/>
                    <a:pt x="141" y="78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64" y="21"/>
                    <a:pt x="160" y="17"/>
                    <a:pt x="160" y="11"/>
                  </a:cubicBezTo>
                  <a:cubicBezTo>
                    <a:pt x="160" y="5"/>
                    <a:pt x="164" y="0"/>
                    <a:pt x="170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25" y="0"/>
                    <a:pt x="226" y="0"/>
                    <a:pt x="228" y="1"/>
                  </a:cubicBezTo>
                  <a:cubicBezTo>
                    <a:pt x="232" y="2"/>
                    <a:pt x="234" y="6"/>
                    <a:pt x="234" y="11"/>
                  </a:cubicBezTo>
                  <a:close/>
                  <a:moveTo>
                    <a:pt x="77" y="142"/>
                  </a:moveTo>
                  <a:cubicBezTo>
                    <a:pt x="21" y="198"/>
                    <a:pt x="21" y="198"/>
                    <a:pt x="21" y="198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165"/>
                    <a:pt x="16" y="160"/>
                    <a:pt x="10" y="160"/>
                  </a:cubicBezTo>
                  <a:cubicBezTo>
                    <a:pt x="4" y="160"/>
                    <a:pt x="0" y="165"/>
                    <a:pt x="0" y="17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6"/>
                    <a:pt x="0" y="227"/>
                    <a:pt x="0" y="228"/>
                  </a:cubicBezTo>
                  <a:cubicBezTo>
                    <a:pt x="2" y="232"/>
                    <a:pt x="6" y="235"/>
                    <a:pt x="10" y="235"/>
                  </a:cubicBezTo>
                  <a:cubicBezTo>
                    <a:pt x="64" y="235"/>
                    <a:pt x="64" y="235"/>
                    <a:pt x="64" y="235"/>
                  </a:cubicBezTo>
                  <a:cubicBezTo>
                    <a:pt x="70" y="235"/>
                    <a:pt x="74" y="230"/>
                    <a:pt x="74" y="224"/>
                  </a:cubicBezTo>
                  <a:cubicBezTo>
                    <a:pt x="74" y="218"/>
                    <a:pt x="70" y="213"/>
                    <a:pt x="64" y="213"/>
                  </a:cubicBezTo>
                  <a:cubicBezTo>
                    <a:pt x="36" y="213"/>
                    <a:pt x="36" y="213"/>
                    <a:pt x="36" y="213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7" y="153"/>
                    <a:pt x="97" y="146"/>
                    <a:pt x="93" y="142"/>
                  </a:cubicBezTo>
                  <a:cubicBezTo>
                    <a:pt x="88" y="138"/>
                    <a:pt x="82" y="138"/>
                    <a:pt x="77" y="142"/>
                  </a:cubicBezTo>
                  <a:close/>
                  <a:moveTo>
                    <a:pt x="36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70" y="21"/>
                    <a:pt x="74" y="17"/>
                    <a:pt x="74" y="11"/>
                  </a:cubicBezTo>
                  <a:cubicBezTo>
                    <a:pt x="74" y="5"/>
                    <a:pt x="70" y="0"/>
                    <a:pt x="6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0"/>
                    <a:pt x="6" y="1"/>
                  </a:cubicBezTo>
                  <a:cubicBezTo>
                    <a:pt x="2" y="2"/>
                    <a:pt x="0" y="6"/>
                    <a:pt x="0" y="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70"/>
                    <a:pt x="4" y="75"/>
                    <a:pt x="10" y="75"/>
                  </a:cubicBezTo>
                  <a:cubicBezTo>
                    <a:pt x="16" y="75"/>
                    <a:pt x="21" y="70"/>
                    <a:pt x="21" y="64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80" y="95"/>
                    <a:pt x="82" y="96"/>
                    <a:pt x="85" y="96"/>
                  </a:cubicBezTo>
                  <a:cubicBezTo>
                    <a:pt x="88" y="96"/>
                    <a:pt x="90" y="95"/>
                    <a:pt x="93" y="93"/>
                  </a:cubicBezTo>
                  <a:cubicBezTo>
                    <a:pt x="97" y="89"/>
                    <a:pt x="97" y="82"/>
                    <a:pt x="93" y="78"/>
                  </a:cubicBezTo>
                  <a:lnTo>
                    <a:pt x="36" y="21"/>
                  </a:lnTo>
                  <a:close/>
                  <a:moveTo>
                    <a:pt x="224" y="160"/>
                  </a:moveTo>
                  <a:cubicBezTo>
                    <a:pt x="218" y="160"/>
                    <a:pt x="213" y="165"/>
                    <a:pt x="213" y="171"/>
                  </a:cubicBezTo>
                  <a:cubicBezTo>
                    <a:pt x="213" y="198"/>
                    <a:pt x="213" y="198"/>
                    <a:pt x="213" y="198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52" y="138"/>
                    <a:pt x="146" y="138"/>
                    <a:pt x="141" y="142"/>
                  </a:cubicBezTo>
                  <a:cubicBezTo>
                    <a:pt x="137" y="146"/>
                    <a:pt x="137" y="153"/>
                    <a:pt x="141" y="157"/>
                  </a:cubicBezTo>
                  <a:cubicBezTo>
                    <a:pt x="198" y="213"/>
                    <a:pt x="198" y="213"/>
                    <a:pt x="198" y="213"/>
                  </a:cubicBezTo>
                  <a:cubicBezTo>
                    <a:pt x="170" y="213"/>
                    <a:pt x="170" y="213"/>
                    <a:pt x="170" y="213"/>
                  </a:cubicBezTo>
                  <a:cubicBezTo>
                    <a:pt x="164" y="213"/>
                    <a:pt x="160" y="218"/>
                    <a:pt x="160" y="224"/>
                  </a:cubicBezTo>
                  <a:cubicBezTo>
                    <a:pt x="160" y="230"/>
                    <a:pt x="164" y="235"/>
                    <a:pt x="170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28" y="235"/>
                    <a:pt x="232" y="232"/>
                    <a:pt x="234" y="228"/>
                  </a:cubicBezTo>
                  <a:cubicBezTo>
                    <a:pt x="234" y="227"/>
                    <a:pt x="234" y="226"/>
                    <a:pt x="234" y="224"/>
                  </a:cubicBezTo>
                  <a:cubicBezTo>
                    <a:pt x="234" y="224"/>
                    <a:pt x="234" y="224"/>
                    <a:pt x="234" y="224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34" y="165"/>
                    <a:pt x="230" y="160"/>
                    <a:pt x="224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417"/>
            <p:cNvSpPr>
              <a:spLocks noEditPoints="1"/>
            </p:cNvSpPr>
            <p:nvPr/>
          </p:nvSpPr>
          <p:spPr bwMode="auto">
            <a:xfrm>
              <a:off x="3342" y="1878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0" name="Freeform 421"/>
          <p:cNvSpPr>
            <a:spLocks noChangeAspect="1" noEditPoints="1"/>
          </p:cNvSpPr>
          <p:nvPr/>
        </p:nvSpPr>
        <p:spPr bwMode="auto">
          <a:xfrm>
            <a:off x="9388429" y="3723547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1 w 512"/>
              <a:gd name="T11" fmla="*/ 329 h 512"/>
              <a:gd name="T12" fmla="*/ 298 w 512"/>
              <a:gd name="T13" fmla="*/ 315 h 512"/>
              <a:gd name="T14" fmla="*/ 298 w 512"/>
              <a:gd name="T15" fmla="*/ 330 h 512"/>
              <a:gd name="T16" fmla="*/ 288 w 512"/>
              <a:gd name="T17" fmla="*/ 341 h 512"/>
              <a:gd name="T18" fmla="*/ 277 w 512"/>
              <a:gd name="T19" fmla="*/ 330 h 512"/>
              <a:gd name="T20" fmla="*/ 277 w 512"/>
              <a:gd name="T21" fmla="*/ 288 h 512"/>
              <a:gd name="T22" fmla="*/ 288 w 512"/>
              <a:gd name="T23" fmla="*/ 277 h 512"/>
              <a:gd name="T24" fmla="*/ 330 w 512"/>
              <a:gd name="T25" fmla="*/ 277 h 512"/>
              <a:gd name="T26" fmla="*/ 341 w 512"/>
              <a:gd name="T27" fmla="*/ 288 h 512"/>
              <a:gd name="T28" fmla="*/ 330 w 512"/>
              <a:gd name="T29" fmla="*/ 298 h 512"/>
              <a:gd name="T30" fmla="*/ 311 w 512"/>
              <a:gd name="T31" fmla="*/ 298 h 512"/>
              <a:gd name="T32" fmla="*/ 341 w 512"/>
              <a:gd name="T33" fmla="*/ 308 h 512"/>
              <a:gd name="T34" fmla="*/ 394 w 512"/>
              <a:gd name="T35" fmla="*/ 255 h 512"/>
              <a:gd name="T36" fmla="*/ 341 w 512"/>
              <a:gd name="T37" fmla="*/ 202 h 512"/>
              <a:gd name="T38" fmla="*/ 303 w 512"/>
              <a:gd name="T39" fmla="*/ 218 h 512"/>
              <a:gd name="T40" fmla="*/ 224 w 512"/>
              <a:gd name="T41" fmla="*/ 308 h 512"/>
              <a:gd name="T42" fmla="*/ 170 w 512"/>
              <a:gd name="T43" fmla="*/ 330 h 512"/>
              <a:gd name="T44" fmla="*/ 96 w 512"/>
              <a:gd name="T45" fmla="*/ 256 h 512"/>
              <a:gd name="T46" fmla="*/ 170 w 512"/>
              <a:gd name="T47" fmla="*/ 181 h 512"/>
              <a:gd name="T48" fmla="*/ 213 w 512"/>
              <a:gd name="T49" fmla="*/ 194 h 512"/>
              <a:gd name="T50" fmla="*/ 213 w 512"/>
              <a:gd name="T51" fmla="*/ 181 h 512"/>
              <a:gd name="T52" fmla="*/ 224 w 512"/>
              <a:gd name="T53" fmla="*/ 170 h 512"/>
              <a:gd name="T54" fmla="*/ 234 w 512"/>
              <a:gd name="T55" fmla="*/ 181 h 512"/>
              <a:gd name="T56" fmla="*/ 234 w 512"/>
              <a:gd name="T57" fmla="*/ 224 h 512"/>
              <a:gd name="T58" fmla="*/ 224 w 512"/>
              <a:gd name="T59" fmla="*/ 234 h 512"/>
              <a:gd name="T60" fmla="*/ 181 w 512"/>
              <a:gd name="T61" fmla="*/ 234 h 512"/>
              <a:gd name="T62" fmla="*/ 170 w 512"/>
              <a:gd name="T63" fmla="*/ 224 h 512"/>
              <a:gd name="T64" fmla="*/ 181 w 512"/>
              <a:gd name="T65" fmla="*/ 213 h 512"/>
              <a:gd name="T66" fmla="*/ 202 w 512"/>
              <a:gd name="T67" fmla="*/ 213 h 512"/>
              <a:gd name="T68" fmla="*/ 170 w 512"/>
              <a:gd name="T69" fmla="*/ 202 h 512"/>
              <a:gd name="T70" fmla="*/ 117 w 512"/>
              <a:gd name="T71" fmla="*/ 256 h 512"/>
              <a:gd name="T72" fmla="*/ 170 w 512"/>
              <a:gd name="T73" fmla="*/ 309 h 512"/>
              <a:gd name="T74" fmla="*/ 208 w 512"/>
              <a:gd name="T75" fmla="*/ 293 h 512"/>
              <a:gd name="T76" fmla="*/ 288 w 512"/>
              <a:gd name="T77" fmla="*/ 203 h 512"/>
              <a:gd name="T78" fmla="*/ 341 w 512"/>
              <a:gd name="T79" fmla="*/ 181 h 512"/>
              <a:gd name="T80" fmla="*/ 415 w 512"/>
              <a:gd name="T81" fmla="*/ 255 h 512"/>
              <a:gd name="T82" fmla="*/ 341 w 512"/>
              <a:gd name="T83" fmla="*/ 32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1" y="329"/>
                </a:moveTo>
                <a:cubicBezTo>
                  <a:pt x="325" y="329"/>
                  <a:pt x="311" y="324"/>
                  <a:pt x="298" y="315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298" y="336"/>
                  <a:pt x="294" y="341"/>
                  <a:pt x="288" y="341"/>
                </a:cubicBezTo>
                <a:cubicBezTo>
                  <a:pt x="282" y="341"/>
                  <a:pt x="277" y="336"/>
                  <a:pt x="277" y="330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2"/>
                  <a:pt x="282" y="277"/>
                  <a:pt x="288" y="277"/>
                </a:cubicBezTo>
                <a:cubicBezTo>
                  <a:pt x="330" y="277"/>
                  <a:pt x="330" y="277"/>
                  <a:pt x="330" y="277"/>
                </a:cubicBezTo>
                <a:cubicBezTo>
                  <a:pt x="336" y="277"/>
                  <a:pt x="341" y="282"/>
                  <a:pt x="341" y="288"/>
                </a:cubicBezTo>
                <a:cubicBezTo>
                  <a:pt x="341" y="294"/>
                  <a:pt x="336" y="298"/>
                  <a:pt x="330" y="298"/>
                </a:cubicBezTo>
                <a:cubicBezTo>
                  <a:pt x="311" y="298"/>
                  <a:pt x="311" y="298"/>
                  <a:pt x="311" y="298"/>
                </a:cubicBezTo>
                <a:cubicBezTo>
                  <a:pt x="320" y="304"/>
                  <a:pt x="330" y="308"/>
                  <a:pt x="341" y="308"/>
                </a:cubicBezTo>
                <a:cubicBezTo>
                  <a:pt x="370" y="308"/>
                  <a:pt x="394" y="284"/>
                  <a:pt x="394" y="255"/>
                </a:cubicBezTo>
                <a:cubicBezTo>
                  <a:pt x="394" y="226"/>
                  <a:pt x="370" y="202"/>
                  <a:pt x="341" y="202"/>
                </a:cubicBezTo>
                <a:cubicBezTo>
                  <a:pt x="327" y="202"/>
                  <a:pt x="313" y="208"/>
                  <a:pt x="303" y="218"/>
                </a:cubicBezTo>
                <a:cubicBezTo>
                  <a:pt x="224" y="308"/>
                  <a:pt x="224" y="308"/>
                  <a:pt x="224" y="308"/>
                </a:cubicBezTo>
                <a:cubicBezTo>
                  <a:pt x="209" y="323"/>
                  <a:pt x="190" y="330"/>
                  <a:pt x="170" y="330"/>
                </a:cubicBezTo>
                <a:cubicBezTo>
                  <a:pt x="129" y="330"/>
                  <a:pt x="96" y="297"/>
                  <a:pt x="96" y="256"/>
                </a:cubicBezTo>
                <a:cubicBezTo>
                  <a:pt x="96" y="214"/>
                  <a:pt x="129" y="181"/>
                  <a:pt x="170" y="181"/>
                </a:cubicBezTo>
                <a:cubicBezTo>
                  <a:pt x="186" y="181"/>
                  <a:pt x="201" y="186"/>
                  <a:pt x="213" y="194"/>
                </a:cubicBezTo>
                <a:cubicBezTo>
                  <a:pt x="213" y="181"/>
                  <a:pt x="213" y="181"/>
                  <a:pt x="213" y="181"/>
                </a:cubicBezTo>
                <a:cubicBezTo>
                  <a:pt x="213" y="175"/>
                  <a:pt x="218" y="170"/>
                  <a:pt x="224" y="170"/>
                </a:cubicBezTo>
                <a:cubicBezTo>
                  <a:pt x="230" y="170"/>
                  <a:pt x="234" y="175"/>
                  <a:pt x="234" y="181"/>
                </a:cubicBezTo>
                <a:cubicBezTo>
                  <a:pt x="234" y="224"/>
                  <a:pt x="234" y="224"/>
                  <a:pt x="234" y="224"/>
                </a:cubicBezTo>
                <a:cubicBezTo>
                  <a:pt x="234" y="230"/>
                  <a:pt x="230" y="234"/>
                  <a:pt x="224" y="234"/>
                </a:cubicBezTo>
                <a:cubicBezTo>
                  <a:pt x="181" y="234"/>
                  <a:pt x="181" y="234"/>
                  <a:pt x="181" y="234"/>
                </a:cubicBezTo>
                <a:cubicBezTo>
                  <a:pt x="175" y="234"/>
                  <a:pt x="170" y="230"/>
                  <a:pt x="170" y="224"/>
                </a:cubicBezTo>
                <a:cubicBezTo>
                  <a:pt x="170" y="218"/>
                  <a:pt x="175" y="213"/>
                  <a:pt x="181" y="213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193" y="206"/>
                  <a:pt x="182" y="202"/>
                  <a:pt x="170" y="202"/>
                </a:cubicBezTo>
                <a:cubicBezTo>
                  <a:pt x="141" y="202"/>
                  <a:pt x="117" y="226"/>
                  <a:pt x="117" y="256"/>
                </a:cubicBezTo>
                <a:cubicBezTo>
                  <a:pt x="117" y="285"/>
                  <a:pt x="141" y="309"/>
                  <a:pt x="170" y="309"/>
                </a:cubicBezTo>
                <a:cubicBezTo>
                  <a:pt x="185" y="309"/>
                  <a:pt x="198" y="303"/>
                  <a:pt x="208" y="293"/>
                </a:cubicBezTo>
                <a:cubicBezTo>
                  <a:pt x="288" y="203"/>
                  <a:pt x="288" y="203"/>
                  <a:pt x="288" y="203"/>
                </a:cubicBezTo>
                <a:cubicBezTo>
                  <a:pt x="302" y="189"/>
                  <a:pt x="321" y="181"/>
                  <a:pt x="341" y="181"/>
                </a:cubicBezTo>
                <a:cubicBezTo>
                  <a:pt x="382" y="181"/>
                  <a:pt x="415" y="214"/>
                  <a:pt x="415" y="255"/>
                </a:cubicBezTo>
                <a:cubicBezTo>
                  <a:pt x="415" y="296"/>
                  <a:pt x="382" y="329"/>
                  <a:pt x="341" y="32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1" name="Group 424"/>
          <p:cNvGrpSpPr>
            <a:grpSpLocks noChangeAspect="1"/>
          </p:cNvGrpSpPr>
          <p:nvPr/>
        </p:nvGrpSpPr>
        <p:grpSpPr bwMode="auto">
          <a:xfrm>
            <a:off x="9884360" y="3722467"/>
            <a:ext cx="367041" cy="368121"/>
            <a:chOff x="3859" y="1900"/>
            <a:chExt cx="340" cy="341"/>
          </a:xfrm>
          <a:solidFill>
            <a:schemeClr val="accent5"/>
          </a:solidFill>
        </p:grpSpPr>
        <p:sp>
          <p:nvSpPr>
            <p:cNvPr id="352" name="Freeform 425"/>
            <p:cNvSpPr>
              <a:spLocks noEditPoints="1"/>
            </p:cNvSpPr>
            <p:nvPr/>
          </p:nvSpPr>
          <p:spPr bwMode="auto">
            <a:xfrm>
              <a:off x="3859" y="190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Freeform 426"/>
            <p:cNvSpPr>
              <a:spLocks/>
            </p:cNvSpPr>
            <p:nvPr/>
          </p:nvSpPr>
          <p:spPr bwMode="auto">
            <a:xfrm>
              <a:off x="3923" y="2013"/>
              <a:ext cx="212" cy="114"/>
            </a:xfrm>
            <a:custGeom>
              <a:avLst/>
              <a:gdLst>
                <a:gd name="T0" fmla="*/ 319 w 319"/>
                <a:gd name="T1" fmla="*/ 85 h 171"/>
                <a:gd name="T2" fmla="*/ 245 w 319"/>
                <a:gd name="T3" fmla="*/ 159 h 171"/>
                <a:gd name="T4" fmla="*/ 202 w 319"/>
                <a:gd name="T5" fmla="*/ 145 h 171"/>
                <a:gd name="T6" fmla="*/ 202 w 319"/>
                <a:gd name="T7" fmla="*/ 160 h 171"/>
                <a:gd name="T8" fmla="*/ 192 w 319"/>
                <a:gd name="T9" fmla="*/ 171 h 171"/>
                <a:gd name="T10" fmla="*/ 181 w 319"/>
                <a:gd name="T11" fmla="*/ 160 h 171"/>
                <a:gd name="T12" fmla="*/ 181 w 319"/>
                <a:gd name="T13" fmla="*/ 118 h 171"/>
                <a:gd name="T14" fmla="*/ 192 w 319"/>
                <a:gd name="T15" fmla="*/ 107 h 171"/>
                <a:gd name="T16" fmla="*/ 234 w 319"/>
                <a:gd name="T17" fmla="*/ 107 h 171"/>
                <a:gd name="T18" fmla="*/ 245 w 319"/>
                <a:gd name="T19" fmla="*/ 118 h 171"/>
                <a:gd name="T20" fmla="*/ 234 w 319"/>
                <a:gd name="T21" fmla="*/ 128 h 171"/>
                <a:gd name="T22" fmla="*/ 215 w 319"/>
                <a:gd name="T23" fmla="*/ 128 h 171"/>
                <a:gd name="T24" fmla="*/ 245 w 319"/>
                <a:gd name="T25" fmla="*/ 138 h 171"/>
                <a:gd name="T26" fmla="*/ 298 w 319"/>
                <a:gd name="T27" fmla="*/ 85 h 171"/>
                <a:gd name="T28" fmla="*/ 245 w 319"/>
                <a:gd name="T29" fmla="*/ 32 h 171"/>
                <a:gd name="T30" fmla="*/ 207 w 319"/>
                <a:gd name="T31" fmla="*/ 48 h 171"/>
                <a:gd name="T32" fmla="*/ 128 w 319"/>
                <a:gd name="T33" fmla="*/ 138 h 171"/>
                <a:gd name="T34" fmla="*/ 74 w 319"/>
                <a:gd name="T35" fmla="*/ 160 h 171"/>
                <a:gd name="T36" fmla="*/ 0 w 319"/>
                <a:gd name="T37" fmla="*/ 86 h 171"/>
                <a:gd name="T38" fmla="*/ 74 w 319"/>
                <a:gd name="T39" fmla="*/ 11 h 171"/>
                <a:gd name="T40" fmla="*/ 117 w 319"/>
                <a:gd name="T41" fmla="*/ 24 h 171"/>
                <a:gd name="T42" fmla="*/ 117 w 319"/>
                <a:gd name="T43" fmla="*/ 11 h 171"/>
                <a:gd name="T44" fmla="*/ 128 w 319"/>
                <a:gd name="T45" fmla="*/ 0 h 171"/>
                <a:gd name="T46" fmla="*/ 138 w 319"/>
                <a:gd name="T47" fmla="*/ 11 h 171"/>
                <a:gd name="T48" fmla="*/ 138 w 319"/>
                <a:gd name="T49" fmla="*/ 54 h 171"/>
                <a:gd name="T50" fmla="*/ 128 w 319"/>
                <a:gd name="T51" fmla="*/ 64 h 171"/>
                <a:gd name="T52" fmla="*/ 85 w 319"/>
                <a:gd name="T53" fmla="*/ 64 h 171"/>
                <a:gd name="T54" fmla="*/ 74 w 319"/>
                <a:gd name="T55" fmla="*/ 54 h 171"/>
                <a:gd name="T56" fmla="*/ 85 w 319"/>
                <a:gd name="T57" fmla="*/ 43 h 171"/>
                <a:gd name="T58" fmla="*/ 106 w 319"/>
                <a:gd name="T59" fmla="*/ 43 h 171"/>
                <a:gd name="T60" fmla="*/ 74 w 319"/>
                <a:gd name="T61" fmla="*/ 32 h 171"/>
                <a:gd name="T62" fmla="*/ 21 w 319"/>
                <a:gd name="T63" fmla="*/ 86 h 171"/>
                <a:gd name="T64" fmla="*/ 74 w 319"/>
                <a:gd name="T65" fmla="*/ 139 h 171"/>
                <a:gd name="T66" fmla="*/ 112 w 319"/>
                <a:gd name="T67" fmla="*/ 123 h 171"/>
                <a:gd name="T68" fmla="*/ 192 w 319"/>
                <a:gd name="T69" fmla="*/ 33 h 171"/>
                <a:gd name="T70" fmla="*/ 245 w 319"/>
                <a:gd name="T71" fmla="*/ 11 h 171"/>
                <a:gd name="T72" fmla="*/ 319 w 319"/>
                <a:gd name="T73" fmla="*/ 8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9" h="171">
                  <a:moveTo>
                    <a:pt x="319" y="85"/>
                  </a:moveTo>
                  <a:cubicBezTo>
                    <a:pt x="319" y="126"/>
                    <a:pt x="286" y="159"/>
                    <a:pt x="245" y="159"/>
                  </a:cubicBezTo>
                  <a:cubicBezTo>
                    <a:pt x="229" y="159"/>
                    <a:pt x="215" y="154"/>
                    <a:pt x="202" y="145"/>
                  </a:cubicBezTo>
                  <a:cubicBezTo>
                    <a:pt x="202" y="160"/>
                    <a:pt x="202" y="160"/>
                    <a:pt x="202" y="160"/>
                  </a:cubicBezTo>
                  <a:cubicBezTo>
                    <a:pt x="202" y="166"/>
                    <a:pt x="198" y="171"/>
                    <a:pt x="192" y="171"/>
                  </a:cubicBezTo>
                  <a:cubicBezTo>
                    <a:pt x="186" y="171"/>
                    <a:pt x="181" y="166"/>
                    <a:pt x="181" y="160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181" y="112"/>
                    <a:pt x="186" y="107"/>
                    <a:pt x="192" y="107"/>
                  </a:cubicBezTo>
                  <a:cubicBezTo>
                    <a:pt x="234" y="107"/>
                    <a:pt x="234" y="107"/>
                    <a:pt x="234" y="107"/>
                  </a:cubicBezTo>
                  <a:cubicBezTo>
                    <a:pt x="240" y="107"/>
                    <a:pt x="245" y="112"/>
                    <a:pt x="245" y="118"/>
                  </a:cubicBezTo>
                  <a:cubicBezTo>
                    <a:pt x="245" y="124"/>
                    <a:pt x="240" y="128"/>
                    <a:pt x="234" y="128"/>
                  </a:cubicBezTo>
                  <a:cubicBezTo>
                    <a:pt x="215" y="128"/>
                    <a:pt x="215" y="128"/>
                    <a:pt x="215" y="128"/>
                  </a:cubicBezTo>
                  <a:cubicBezTo>
                    <a:pt x="224" y="134"/>
                    <a:pt x="234" y="138"/>
                    <a:pt x="245" y="138"/>
                  </a:cubicBezTo>
                  <a:cubicBezTo>
                    <a:pt x="274" y="138"/>
                    <a:pt x="298" y="114"/>
                    <a:pt x="298" y="85"/>
                  </a:cubicBezTo>
                  <a:cubicBezTo>
                    <a:pt x="298" y="56"/>
                    <a:pt x="274" y="32"/>
                    <a:pt x="245" y="32"/>
                  </a:cubicBezTo>
                  <a:cubicBezTo>
                    <a:pt x="231" y="32"/>
                    <a:pt x="217" y="38"/>
                    <a:pt x="207" y="48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13" y="153"/>
                    <a:pt x="94" y="160"/>
                    <a:pt x="74" y="160"/>
                  </a:cubicBezTo>
                  <a:cubicBezTo>
                    <a:pt x="33" y="160"/>
                    <a:pt x="0" y="127"/>
                    <a:pt x="0" y="86"/>
                  </a:cubicBezTo>
                  <a:cubicBezTo>
                    <a:pt x="0" y="44"/>
                    <a:pt x="33" y="11"/>
                    <a:pt x="74" y="11"/>
                  </a:cubicBezTo>
                  <a:cubicBezTo>
                    <a:pt x="90" y="11"/>
                    <a:pt x="105" y="16"/>
                    <a:pt x="117" y="2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5"/>
                    <a:pt x="122" y="0"/>
                    <a:pt x="128" y="0"/>
                  </a:cubicBezTo>
                  <a:cubicBezTo>
                    <a:pt x="134" y="0"/>
                    <a:pt x="138" y="5"/>
                    <a:pt x="138" y="11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38" y="60"/>
                    <a:pt x="134" y="64"/>
                    <a:pt x="128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79" y="64"/>
                    <a:pt x="74" y="60"/>
                    <a:pt x="74" y="54"/>
                  </a:cubicBezTo>
                  <a:cubicBezTo>
                    <a:pt x="74" y="48"/>
                    <a:pt x="79" y="43"/>
                    <a:pt x="85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97" y="36"/>
                    <a:pt x="86" y="32"/>
                    <a:pt x="74" y="32"/>
                  </a:cubicBezTo>
                  <a:cubicBezTo>
                    <a:pt x="45" y="32"/>
                    <a:pt x="21" y="56"/>
                    <a:pt x="21" y="86"/>
                  </a:cubicBezTo>
                  <a:cubicBezTo>
                    <a:pt x="21" y="115"/>
                    <a:pt x="45" y="139"/>
                    <a:pt x="74" y="139"/>
                  </a:cubicBezTo>
                  <a:cubicBezTo>
                    <a:pt x="89" y="139"/>
                    <a:pt x="102" y="133"/>
                    <a:pt x="112" y="123"/>
                  </a:cubicBezTo>
                  <a:cubicBezTo>
                    <a:pt x="192" y="33"/>
                    <a:pt x="192" y="33"/>
                    <a:pt x="192" y="33"/>
                  </a:cubicBezTo>
                  <a:cubicBezTo>
                    <a:pt x="206" y="19"/>
                    <a:pt x="225" y="11"/>
                    <a:pt x="245" y="11"/>
                  </a:cubicBezTo>
                  <a:cubicBezTo>
                    <a:pt x="286" y="11"/>
                    <a:pt x="319" y="44"/>
                    <a:pt x="319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4" name="Freeform 268"/>
          <p:cNvSpPr>
            <a:spLocks noChangeAspect="1" noEditPoints="1"/>
          </p:cNvSpPr>
          <p:nvPr/>
        </p:nvSpPr>
        <p:spPr bwMode="auto">
          <a:xfrm>
            <a:off x="1430432" y="454047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324 h 512"/>
              <a:gd name="T12" fmla="*/ 413 w 512"/>
              <a:gd name="T13" fmla="*/ 327 h 512"/>
              <a:gd name="T14" fmla="*/ 370 w 512"/>
              <a:gd name="T15" fmla="*/ 370 h 512"/>
              <a:gd name="T16" fmla="*/ 362 w 512"/>
              <a:gd name="T17" fmla="*/ 373 h 512"/>
              <a:gd name="T18" fmla="*/ 355 w 512"/>
              <a:gd name="T19" fmla="*/ 370 h 512"/>
              <a:gd name="T20" fmla="*/ 355 w 512"/>
              <a:gd name="T21" fmla="*/ 355 h 512"/>
              <a:gd name="T22" fmla="*/ 379 w 512"/>
              <a:gd name="T23" fmla="*/ 330 h 512"/>
              <a:gd name="T24" fmla="*/ 106 w 512"/>
              <a:gd name="T25" fmla="*/ 330 h 512"/>
              <a:gd name="T26" fmla="*/ 96 w 512"/>
              <a:gd name="T27" fmla="*/ 320 h 512"/>
              <a:gd name="T28" fmla="*/ 106 w 512"/>
              <a:gd name="T29" fmla="*/ 309 h 512"/>
              <a:gd name="T30" fmla="*/ 379 w 512"/>
              <a:gd name="T31" fmla="*/ 309 h 512"/>
              <a:gd name="T32" fmla="*/ 355 w 512"/>
              <a:gd name="T33" fmla="*/ 285 h 512"/>
              <a:gd name="T34" fmla="*/ 355 w 512"/>
              <a:gd name="T35" fmla="*/ 269 h 512"/>
              <a:gd name="T36" fmla="*/ 370 w 512"/>
              <a:gd name="T37" fmla="*/ 269 h 512"/>
              <a:gd name="T38" fmla="*/ 413 w 512"/>
              <a:gd name="T39" fmla="*/ 312 h 512"/>
              <a:gd name="T40" fmla="*/ 415 w 512"/>
              <a:gd name="T41" fmla="*/ 316 h 512"/>
              <a:gd name="T42" fmla="*/ 415 w 512"/>
              <a:gd name="T43" fmla="*/ 324 h 512"/>
              <a:gd name="T44" fmla="*/ 405 w 512"/>
              <a:gd name="T45" fmla="*/ 202 h 512"/>
              <a:gd name="T46" fmla="*/ 132 w 512"/>
              <a:gd name="T47" fmla="*/ 202 h 512"/>
              <a:gd name="T48" fmla="*/ 157 w 512"/>
              <a:gd name="T49" fmla="*/ 227 h 512"/>
              <a:gd name="T50" fmla="*/ 157 w 512"/>
              <a:gd name="T51" fmla="*/ 242 h 512"/>
              <a:gd name="T52" fmla="*/ 149 w 512"/>
              <a:gd name="T53" fmla="*/ 245 h 512"/>
              <a:gd name="T54" fmla="*/ 141 w 512"/>
              <a:gd name="T55" fmla="*/ 242 h 512"/>
              <a:gd name="T56" fmla="*/ 99 w 512"/>
              <a:gd name="T57" fmla="*/ 199 h 512"/>
              <a:gd name="T58" fmla="*/ 96 w 512"/>
              <a:gd name="T59" fmla="*/ 196 h 512"/>
              <a:gd name="T60" fmla="*/ 96 w 512"/>
              <a:gd name="T61" fmla="*/ 188 h 512"/>
              <a:gd name="T62" fmla="*/ 99 w 512"/>
              <a:gd name="T63" fmla="*/ 184 h 512"/>
              <a:gd name="T64" fmla="*/ 141 w 512"/>
              <a:gd name="T65" fmla="*/ 141 h 512"/>
              <a:gd name="T66" fmla="*/ 157 w 512"/>
              <a:gd name="T67" fmla="*/ 141 h 512"/>
              <a:gd name="T68" fmla="*/ 157 w 512"/>
              <a:gd name="T69" fmla="*/ 157 h 512"/>
              <a:gd name="T70" fmla="*/ 132 w 512"/>
              <a:gd name="T71" fmla="*/ 181 h 512"/>
              <a:gd name="T72" fmla="*/ 405 w 512"/>
              <a:gd name="T73" fmla="*/ 181 h 512"/>
              <a:gd name="T74" fmla="*/ 416 w 512"/>
              <a:gd name="T75" fmla="*/ 192 h 512"/>
              <a:gd name="T76" fmla="*/ 405 w 512"/>
              <a:gd name="T77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324"/>
                </a:moveTo>
                <a:cubicBezTo>
                  <a:pt x="414" y="325"/>
                  <a:pt x="414" y="326"/>
                  <a:pt x="413" y="327"/>
                </a:cubicBezTo>
                <a:cubicBezTo>
                  <a:pt x="370" y="370"/>
                  <a:pt x="370" y="370"/>
                  <a:pt x="370" y="370"/>
                </a:cubicBezTo>
                <a:cubicBezTo>
                  <a:pt x="368" y="372"/>
                  <a:pt x="365" y="373"/>
                  <a:pt x="362" y="373"/>
                </a:cubicBezTo>
                <a:cubicBezTo>
                  <a:pt x="360" y="373"/>
                  <a:pt x="357" y="372"/>
                  <a:pt x="355" y="370"/>
                </a:cubicBezTo>
                <a:cubicBezTo>
                  <a:pt x="351" y="366"/>
                  <a:pt x="351" y="359"/>
                  <a:pt x="355" y="355"/>
                </a:cubicBezTo>
                <a:cubicBezTo>
                  <a:pt x="379" y="330"/>
                  <a:pt x="379" y="330"/>
                  <a:pt x="379" y="330"/>
                </a:cubicBezTo>
                <a:cubicBezTo>
                  <a:pt x="106" y="330"/>
                  <a:pt x="106" y="330"/>
                  <a:pt x="106" y="330"/>
                </a:cubicBezTo>
                <a:cubicBezTo>
                  <a:pt x="100" y="330"/>
                  <a:pt x="96" y="326"/>
                  <a:pt x="96" y="320"/>
                </a:cubicBezTo>
                <a:cubicBezTo>
                  <a:pt x="96" y="314"/>
                  <a:pt x="100" y="309"/>
                  <a:pt x="106" y="309"/>
                </a:cubicBezTo>
                <a:cubicBezTo>
                  <a:pt x="379" y="309"/>
                  <a:pt x="379" y="309"/>
                  <a:pt x="379" y="309"/>
                </a:cubicBezTo>
                <a:cubicBezTo>
                  <a:pt x="355" y="285"/>
                  <a:pt x="355" y="285"/>
                  <a:pt x="355" y="285"/>
                </a:cubicBezTo>
                <a:cubicBezTo>
                  <a:pt x="351" y="280"/>
                  <a:pt x="351" y="274"/>
                  <a:pt x="355" y="269"/>
                </a:cubicBezTo>
                <a:cubicBezTo>
                  <a:pt x="359" y="265"/>
                  <a:pt x="366" y="265"/>
                  <a:pt x="370" y="269"/>
                </a:cubicBezTo>
                <a:cubicBezTo>
                  <a:pt x="413" y="312"/>
                  <a:pt x="413" y="312"/>
                  <a:pt x="413" y="312"/>
                </a:cubicBezTo>
                <a:cubicBezTo>
                  <a:pt x="414" y="313"/>
                  <a:pt x="414" y="314"/>
                  <a:pt x="415" y="316"/>
                </a:cubicBezTo>
                <a:cubicBezTo>
                  <a:pt x="416" y="318"/>
                  <a:pt x="416" y="321"/>
                  <a:pt x="415" y="324"/>
                </a:cubicBezTo>
                <a:close/>
                <a:moveTo>
                  <a:pt x="405" y="202"/>
                </a:moveTo>
                <a:cubicBezTo>
                  <a:pt x="132" y="202"/>
                  <a:pt x="132" y="202"/>
                  <a:pt x="132" y="202"/>
                </a:cubicBezTo>
                <a:cubicBezTo>
                  <a:pt x="157" y="227"/>
                  <a:pt x="157" y="227"/>
                  <a:pt x="157" y="227"/>
                </a:cubicBezTo>
                <a:cubicBezTo>
                  <a:pt x="161" y="231"/>
                  <a:pt x="161" y="238"/>
                  <a:pt x="157" y="242"/>
                </a:cubicBezTo>
                <a:cubicBezTo>
                  <a:pt x="154" y="244"/>
                  <a:pt x="152" y="245"/>
                  <a:pt x="149" y="245"/>
                </a:cubicBezTo>
                <a:cubicBezTo>
                  <a:pt x="146" y="245"/>
                  <a:pt x="144" y="244"/>
                  <a:pt x="141" y="242"/>
                </a:cubicBezTo>
                <a:cubicBezTo>
                  <a:pt x="99" y="199"/>
                  <a:pt x="99" y="199"/>
                  <a:pt x="99" y="199"/>
                </a:cubicBezTo>
                <a:cubicBezTo>
                  <a:pt x="98" y="198"/>
                  <a:pt x="97" y="197"/>
                  <a:pt x="96" y="196"/>
                </a:cubicBezTo>
                <a:cubicBezTo>
                  <a:pt x="95" y="193"/>
                  <a:pt x="95" y="190"/>
                  <a:pt x="96" y="188"/>
                </a:cubicBezTo>
                <a:cubicBezTo>
                  <a:pt x="97" y="186"/>
                  <a:pt x="98" y="185"/>
                  <a:pt x="99" y="184"/>
                </a:cubicBezTo>
                <a:cubicBezTo>
                  <a:pt x="141" y="141"/>
                  <a:pt x="141" y="141"/>
                  <a:pt x="141" y="141"/>
                </a:cubicBezTo>
                <a:cubicBezTo>
                  <a:pt x="146" y="137"/>
                  <a:pt x="152" y="137"/>
                  <a:pt x="157" y="141"/>
                </a:cubicBezTo>
                <a:cubicBezTo>
                  <a:pt x="161" y="146"/>
                  <a:pt x="161" y="152"/>
                  <a:pt x="157" y="157"/>
                </a:cubicBezTo>
                <a:cubicBezTo>
                  <a:pt x="132" y="181"/>
                  <a:pt x="132" y="181"/>
                  <a:pt x="132" y="181"/>
                </a:cubicBezTo>
                <a:cubicBezTo>
                  <a:pt x="405" y="181"/>
                  <a:pt x="405" y="181"/>
                  <a:pt x="405" y="181"/>
                </a:cubicBezTo>
                <a:cubicBezTo>
                  <a:pt x="411" y="181"/>
                  <a:pt x="416" y="186"/>
                  <a:pt x="416" y="192"/>
                </a:cubicBezTo>
                <a:cubicBezTo>
                  <a:pt x="416" y="198"/>
                  <a:pt x="411" y="202"/>
                  <a:pt x="405" y="20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5" name="Group 271"/>
          <p:cNvGrpSpPr>
            <a:grpSpLocks noChangeAspect="1"/>
          </p:cNvGrpSpPr>
          <p:nvPr/>
        </p:nvGrpSpPr>
        <p:grpSpPr bwMode="auto">
          <a:xfrm>
            <a:off x="1926493" y="4540474"/>
            <a:ext cx="367631" cy="367631"/>
            <a:chOff x="6585" y="783"/>
            <a:chExt cx="340" cy="340"/>
          </a:xfrm>
          <a:solidFill>
            <a:schemeClr val="accent3"/>
          </a:solidFill>
        </p:grpSpPr>
        <p:sp>
          <p:nvSpPr>
            <p:cNvPr id="356" name="Freeform 272"/>
            <p:cNvSpPr>
              <a:spLocks noEditPoints="1"/>
            </p:cNvSpPr>
            <p:nvPr/>
          </p:nvSpPr>
          <p:spPr bwMode="auto">
            <a:xfrm>
              <a:off x="6648" y="874"/>
              <a:ext cx="213" cy="157"/>
            </a:xfrm>
            <a:custGeom>
              <a:avLst/>
              <a:gdLst>
                <a:gd name="T0" fmla="*/ 1 w 321"/>
                <a:gd name="T1" fmla="*/ 51 h 236"/>
                <a:gd name="T2" fmla="*/ 4 w 321"/>
                <a:gd name="T3" fmla="*/ 47 h 236"/>
                <a:gd name="T4" fmla="*/ 46 w 321"/>
                <a:gd name="T5" fmla="*/ 4 h 236"/>
                <a:gd name="T6" fmla="*/ 62 w 321"/>
                <a:gd name="T7" fmla="*/ 4 h 236"/>
                <a:gd name="T8" fmla="*/ 62 w 321"/>
                <a:gd name="T9" fmla="*/ 20 h 236"/>
                <a:gd name="T10" fmla="*/ 37 w 321"/>
                <a:gd name="T11" fmla="*/ 44 h 236"/>
                <a:gd name="T12" fmla="*/ 310 w 321"/>
                <a:gd name="T13" fmla="*/ 44 h 236"/>
                <a:gd name="T14" fmla="*/ 321 w 321"/>
                <a:gd name="T15" fmla="*/ 55 h 236"/>
                <a:gd name="T16" fmla="*/ 310 w 321"/>
                <a:gd name="T17" fmla="*/ 65 h 236"/>
                <a:gd name="T18" fmla="*/ 37 w 321"/>
                <a:gd name="T19" fmla="*/ 65 h 236"/>
                <a:gd name="T20" fmla="*/ 62 w 321"/>
                <a:gd name="T21" fmla="*/ 90 h 236"/>
                <a:gd name="T22" fmla="*/ 62 w 321"/>
                <a:gd name="T23" fmla="*/ 105 h 236"/>
                <a:gd name="T24" fmla="*/ 54 w 321"/>
                <a:gd name="T25" fmla="*/ 108 h 236"/>
                <a:gd name="T26" fmla="*/ 46 w 321"/>
                <a:gd name="T27" fmla="*/ 105 h 236"/>
                <a:gd name="T28" fmla="*/ 4 w 321"/>
                <a:gd name="T29" fmla="*/ 62 h 236"/>
                <a:gd name="T30" fmla="*/ 1 w 321"/>
                <a:gd name="T31" fmla="*/ 59 h 236"/>
                <a:gd name="T32" fmla="*/ 1 w 321"/>
                <a:gd name="T33" fmla="*/ 51 h 236"/>
                <a:gd name="T34" fmla="*/ 320 w 321"/>
                <a:gd name="T35" fmla="*/ 179 h 236"/>
                <a:gd name="T36" fmla="*/ 318 w 321"/>
                <a:gd name="T37" fmla="*/ 175 h 236"/>
                <a:gd name="T38" fmla="*/ 275 w 321"/>
                <a:gd name="T39" fmla="*/ 132 h 236"/>
                <a:gd name="T40" fmla="*/ 260 w 321"/>
                <a:gd name="T41" fmla="*/ 132 h 236"/>
                <a:gd name="T42" fmla="*/ 260 w 321"/>
                <a:gd name="T43" fmla="*/ 148 h 236"/>
                <a:gd name="T44" fmla="*/ 284 w 321"/>
                <a:gd name="T45" fmla="*/ 172 h 236"/>
                <a:gd name="T46" fmla="*/ 11 w 321"/>
                <a:gd name="T47" fmla="*/ 172 h 236"/>
                <a:gd name="T48" fmla="*/ 1 w 321"/>
                <a:gd name="T49" fmla="*/ 183 h 236"/>
                <a:gd name="T50" fmla="*/ 11 w 321"/>
                <a:gd name="T51" fmla="*/ 193 h 236"/>
                <a:gd name="T52" fmla="*/ 284 w 321"/>
                <a:gd name="T53" fmla="*/ 193 h 236"/>
                <a:gd name="T54" fmla="*/ 260 w 321"/>
                <a:gd name="T55" fmla="*/ 218 h 236"/>
                <a:gd name="T56" fmla="*/ 260 w 321"/>
                <a:gd name="T57" fmla="*/ 233 h 236"/>
                <a:gd name="T58" fmla="*/ 267 w 321"/>
                <a:gd name="T59" fmla="*/ 236 h 236"/>
                <a:gd name="T60" fmla="*/ 275 w 321"/>
                <a:gd name="T61" fmla="*/ 233 h 236"/>
                <a:gd name="T62" fmla="*/ 318 w 321"/>
                <a:gd name="T63" fmla="*/ 190 h 236"/>
                <a:gd name="T64" fmla="*/ 320 w 321"/>
                <a:gd name="T65" fmla="*/ 187 h 236"/>
                <a:gd name="T66" fmla="*/ 320 w 321"/>
                <a:gd name="T67" fmla="*/ 17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36">
                  <a:moveTo>
                    <a:pt x="1" y="51"/>
                  </a:moveTo>
                  <a:cubicBezTo>
                    <a:pt x="2" y="49"/>
                    <a:pt x="3" y="48"/>
                    <a:pt x="4" y="47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51" y="0"/>
                    <a:pt x="57" y="0"/>
                    <a:pt x="62" y="4"/>
                  </a:cubicBezTo>
                  <a:cubicBezTo>
                    <a:pt x="66" y="9"/>
                    <a:pt x="66" y="15"/>
                    <a:pt x="62" y="20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10" y="44"/>
                    <a:pt x="310" y="44"/>
                    <a:pt x="310" y="44"/>
                  </a:cubicBezTo>
                  <a:cubicBezTo>
                    <a:pt x="316" y="44"/>
                    <a:pt x="321" y="49"/>
                    <a:pt x="321" y="55"/>
                  </a:cubicBezTo>
                  <a:cubicBezTo>
                    <a:pt x="321" y="61"/>
                    <a:pt x="316" y="65"/>
                    <a:pt x="310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6" y="94"/>
                    <a:pt x="66" y="101"/>
                    <a:pt x="62" y="105"/>
                  </a:cubicBezTo>
                  <a:cubicBezTo>
                    <a:pt x="59" y="107"/>
                    <a:pt x="57" y="108"/>
                    <a:pt x="54" y="108"/>
                  </a:cubicBezTo>
                  <a:cubicBezTo>
                    <a:pt x="51" y="108"/>
                    <a:pt x="49" y="107"/>
                    <a:pt x="46" y="105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3" y="61"/>
                    <a:pt x="2" y="60"/>
                    <a:pt x="1" y="59"/>
                  </a:cubicBezTo>
                  <a:cubicBezTo>
                    <a:pt x="0" y="56"/>
                    <a:pt x="0" y="53"/>
                    <a:pt x="1" y="51"/>
                  </a:cubicBezTo>
                  <a:close/>
                  <a:moveTo>
                    <a:pt x="320" y="179"/>
                  </a:moveTo>
                  <a:cubicBezTo>
                    <a:pt x="319" y="177"/>
                    <a:pt x="319" y="176"/>
                    <a:pt x="318" y="175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1" y="128"/>
                    <a:pt x="264" y="128"/>
                    <a:pt x="260" y="132"/>
                  </a:cubicBezTo>
                  <a:cubicBezTo>
                    <a:pt x="256" y="137"/>
                    <a:pt x="256" y="143"/>
                    <a:pt x="260" y="148"/>
                  </a:cubicBezTo>
                  <a:cubicBezTo>
                    <a:pt x="284" y="172"/>
                    <a:pt x="284" y="172"/>
                    <a:pt x="284" y="172"/>
                  </a:cubicBezTo>
                  <a:cubicBezTo>
                    <a:pt x="11" y="172"/>
                    <a:pt x="11" y="172"/>
                    <a:pt x="11" y="172"/>
                  </a:cubicBezTo>
                  <a:cubicBezTo>
                    <a:pt x="5" y="172"/>
                    <a:pt x="1" y="177"/>
                    <a:pt x="1" y="183"/>
                  </a:cubicBezTo>
                  <a:cubicBezTo>
                    <a:pt x="1" y="189"/>
                    <a:pt x="5" y="193"/>
                    <a:pt x="11" y="193"/>
                  </a:cubicBezTo>
                  <a:cubicBezTo>
                    <a:pt x="284" y="193"/>
                    <a:pt x="284" y="193"/>
                    <a:pt x="284" y="193"/>
                  </a:cubicBezTo>
                  <a:cubicBezTo>
                    <a:pt x="260" y="218"/>
                    <a:pt x="260" y="218"/>
                    <a:pt x="260" y="218"/>
                  </a:cubicBezTo>
                  <a:cubicBezTo>
                    <a:pt x="256" y="222"/>
                    <a:pt x="256" y="229"/>
                    <a:pt x="260" y="233"/>
                  </a:cubicBezTo>
                  <a:cubicBezTo>
                    <a:pt x="262" y="235"/>
                    <a:pt x="265" y="236"/>
                    <a:pt x="267" y="236"/>
                  </a:cubicBezTo>
                  <a:cubicBezTo>
                    <a:pt x="270" y="236"/>
                    <a:pt x="273" y="235"/>
                    <a:pt x="275" y="233"/>
                  </a:cubicBezTo>
                  <a:cubicBezTo>
                    <a:pt x="318" y="190"/>
                    <a:pt x="318" y="190"/>
                    <a:pt x="318" y="190"/>
                  </a:cubicBezTo>
                  <a:cubicBezTo>
                    <a:pt x="319" y="189"/>
                    <a:pt x="319" y="188"/>
                    <a:pt x="320" y="187"/>
                  </a:cubicBezTo>
                  <a:cubicBezTo>
                    <a:pt x="321" y="184"/>
                    <a:pt x="321" y="181"/>
                    <a:pt x="320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7" name="Freeform 273"/>
            <p:cNvSpPr>
              <a:spLocks noEditPoints="1"/>
            </p:cNvSpPr>
            <p:nvPr/>
          </p:nvSpPr>
          <p:spPr bwMode="auto">
            <a:xfrm>
              <a:off x="6585" y="7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8" name="Freeform 277"/>
          <p:cNvSpPr>
            <a:spLocks noChangeAspect="1" noEditPoints="1"/>
          </p:cNvSpPr>
          <p:nvPr/>
        </p:nvSpPr>
        <p:spPr bwMode="auto">
          <a:xfrm>
            <a:off x="2422554" y="454047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06 w 512"/>
              <a:gd name="T11" fmla="*/ 181 h 512"/>
              <a:gd name="T12" fmla="*/ 379 w 512"/>
              <a:gd name="T13" fmla="*/ 181 h 512"/>
              <a:gd name="T14" fmla="*/ 355 w 512"/>
              <a:gd name="T15" fmla="*/ 157 h 512"/>
              <a:gd name="T16" fmla="*/ 355 w 512"/>
              <a:gd name="T17" fmla="*/ 141 h 512"/>
              <a:gd name="T18" fmla="*/ 370 w 512"/>
              <a:gd name="T19" fmla="*/ 141 h 512"/>
              <a:gd name="T20" fmla="*/ 413 w 512"/>
              <a:gd name="T21" fmla="*/ 184 h 512"/>
              <a:gd name="T22" fmla="*/ 415 w 512"/>
              <a:gd name="T23" fmla="*/ 188 h 512"/>
              <a:gd name="T24" fmla="*/ 415 w 512"/>
              <a:gd name="T25" fmla="*/ 196 h 512"/>
              <a:gd name="T26" fmla="*/ 413 w 512"/>
              <a:gd name="T27" fmla="*/ 199 h 512"/>
              <a:gd name="T28" fmla="*/ 370 w 512"/>
              <a:gd name="T29" fmla="*/ 242 h 512"/>
              <a:gd name="T30" fmla="*/ 362 w 512"/>
              <a:gd name="T31" fmla="*/ 245 h 512"/>
              <a:gd name="T32" fmla="*/ 355 w 512"/>
              <a:gd name="T33" fmla="*/ 242 h 512"/>
              <a:gd name="T34" fmla="*/ 355 w 512"/>
              <a:gd name="T35" fmla="*/ 227 h 512"/>
              <a:gd name="T36" fmla="*/ 379 w 512"/>
              <a:gd name="T37" fmla="*/ 202 h 512"/>
              <a:gd name="T38" fmla="*/ 106 w 512"/>
              <a:gd name="T39" fmla="*/ 202 h 512"/>
              <a:gd name="T40" fmla="*/ 96 w 512"/>
              <a:gd name="T41" fmla="*/ 192 h 512"/>
              <a:gd name="T42" fmla="*/ 106 w 512"/>
              <a:gd name="T43" fmla="*/ 181 h 512"/>
              <a:gd name="T44" fmla="*/ 405 w 512"/>
              <a:gd name="T45" fmla="*/ 330 h 512"/>
              <a:gd name="T46" fmla="*/ 132 w 512"/>
              <a:gd name="T47" fmla="*/ 330 h 512"/>
              <a:gd name="T48" fmla="*/ 157 w 512"/>
              <a:gd name="T49" fmla="*/ 355 h 512"/>
              <a:gd name="T50" fmla="*/ 157 w 512"/>
              <a:gd name="T51" fmla="*/ 370 h 512"/>
              <a:gd name="T52" fmla="*/ 149 w 512"/>
              <a:gd name="T53" fmla="*/ 373 h 512"/>
              <a:gd name="T54" fmla="*/ 141 w 512"/>
              <a:gd name="T55" fmla="*/ 370 h 512"/>
              <a:gd name="T56" fmla="*/ 99 w 512"/>
              <a:gd name="T57" fmla="*/ 327 h 512"/>
              <a:gd name="T58" fmla="*/ 96 w 512"/>
              <a:gd name="T59" fmla="*/ 324 h 512"/>
              <a:gd name="T60" fmla="*/ 96 w 512"/>
              <a:gd name="T61" fmla="*/ 316 h 512"/>
              <a:gd name="T62" fmla="*/ 99 w 512"/>
              <a:gd name="T63" fmla="*/ 312 h 512"/>
              <a:gd name="T64" fmla="*/ 141 w 512"/>
              <a:gd name="T65" fmla="*/ 269 h 512"/>
              <a:gd name="T66" fmla="*/ 157 w 512"/>
              <a:gd name="T67" fmla="*/ 269 h 512"/>
              <a:gd name="T68" fmla="*/ 157 w 512"/>
              <a:gd name="T69" fmla="*/ 285 h 512"/>
              <a:gd name="T70" fmla="*/ 132 w 512"/>
              <a:gd name="T71" fmla="*/ 309 h 512"/>
              <a:gd name="T72" fmla="*/ 405 w 512"/>
              <a:gd name="T73" fmla="*/ 309 h 512"/>
              <a:gd name="T74" fmla="*/ 416 w 512"/>
              <a:gd name="T75" fmla="*/ 320 h 512"/>
              <a:gd name="T76" fmla="*/ 405 w 512"/>
              <a:gd name="T7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06" y="181"/>
                </a:moveTo>
                <a:cubicBezTo>
                  <a:pt x="379" y="181"/>
                  <a:pt x="379" y="181"/>
                  <a:pt x="379" y="181"/>
                </a:cubicBezTo>
                <a:cubicBezTo>
                  <a:pt x="355" y="157"/>
                  <a:pt x="355" y="157"/>
                  <a:pt x="355" y="157"/>
                </a:cubicBezTo>
                <a:cubicBezTo>
                  <a:pt x="351" y="152"/>
                  <a:pt x="351" y="146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413" y="184"/>
                  <a:pt x="413" y="184"/>
                  <a:pt x="413" y="184"/>
                </a:cubicBezTo>
                <a:cubicBezTo>
                  <a:pt x="414" y="185"/>
                  <a:pt x="414" y="186"/>
                  <a:pt x="415" y="188"/>
                </a:cubicBezTo>
                <a:cubicBezTo>
                  <a:pt x="416" y="190"/>
                  <a:pt x="416" y="193"/>
                  <a:pt x="415" y="196"/>
                </a:cubicBezTo>
                <a:cubicBezTo>
                  <a:pt x="414" y="197"/>
                  <a:pt x="414" y="198"/>
                  <a:pt x="413" y="199"/>
                </a:cubicBezTo>
                <a:cubicBezTo>
                  <a:pt x="370" y="242"/>
                  <a:pt x="370" y="242"/>
                  <a:pt x="370" y="242"/>
                </a:cubicBezTo>
                <a:cubicBezTo>
                  <a:pt x="368" y="244"/>
                  <a:pt x="365" y="245"/>
                  <a:pt x="362" y="245"/>
                </a:cubicBezTo>
                <a:cubicBezTo>
                  <a:pt x="360" y="245"/>
                  <a:pt x="357" y="244"/>
                  <a:pt x="355" y="242"/>
                </a:cubicBezTo>
                <a:cubicBezTo>
                  <a:pt x="351" y="238"/>
                  <a:pt x="351" y="231"/>
                  <a:pt x="355" y="227"/>
                </a:cubicBezTo>
                <a:cubicBezTo>
                  <a:pt x="379" y="202"/>
                  <a:pt x="379" y="202"/>
                  <a:pt x="379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198"/>
                  <a:pt x="96" y="192"/>
                </a:cubicBezTo>
                <a:cubicBezTo>
                  <a:pt x="96" y="186"/>
                  <a:pt x="100" y="181"/>
                  <a:pt x="106" y="181"/>
                </a:cubicBezTo>
                <a:close/>
                <a:moveTo>
                  <a:pt x="405" y="330"/>
                </a:moveTo>
                <a:cubicBezTo>
                  <a:pt x="132" y="330"/>
                  <a:pt x="132" y="330"/>
                  <a:pt x="132" y="330"/>
                </a:cubicBezTo>
                <a:cubicBezTo>
                  <a:pt x="157" y="355"/>
                  <a:pt x="157" y="355"/>
                  <a:pt x="157" y="355"/>
                </a:cubicBezTo>
                <a:cubicBezTo>
                  <a:pt x="161" y="359"/>
                  <a:pt x="161" y="366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99" y="327"/>
                  <a:pt x="99" y="327"/>
                  <a:pt x="99" y="327"/>
                </a:cubicBezTo>
                <a:cubicBezTo>
                  <a:pt x="98" y="326"/>
                  <a:pt x="97" y="325"/>
                  <a:pt x="96" y="324"/>
                </a:cubicBezTo>
                <a:cubicBezTo>
                  <a:pt x="95" y="321"/>
                  <a:pt x="95" y="318"/>
                  <a:pt x="96" y="316"/>
                </a:cubicBezTo>
                <a:cubicBezTo>
                  <a:pt x="97" y="314"/>
                  <a:pt x="98" y="313"/>
                  <a:pt x="99" y="312"/>
                </a:cubicBezTo>
                <a:cubicBezTo>
                  <a:pt x="141" y="269"/>
                  <a:pt x="141" y="269"/>
                  <a:pt x="141" y="269"/>
                </a:cubicBezTo>
                <a:cubicBezTo>
                  <a:pt x="146" y="265"/>
                  <a:pt x="152" y="265"/>
                  <a:pt x="157" y="269"/>
                </a:cubicBezTo>
                <a:cubicBezTo>
                  <a:pt x="161" y="274"/>
                  <a:pt x="161" y="280"/>
                  <a:pt x="157" y="285"/>
                </a:cubicBezTo>
                <a:cubicBezTo>
                  <a:pt x="132" y="309"/>
                  <a:pt x="132" y="309"/>
                  <a:pt x="132" y="309"/>
                </a:cubicBezTo>
                <a:cubicBezTo>
                  <a:pt x="405" y="309"/>
                  <a:pt x="405" y="309"/>
                  <a:pt x="405" y="309"/>
                </a:cubicBezTo>
                <a:cubicBezTo>
                  <a:pt x="411" y="309"/>
                  <a:pt x="416" y="314"/>
                  <a:pt x="416" y="320"/>
                </a:cubicBezTo>
                <a:cubicBezTo>
                  <a:pt x="416" y="326"/>
                  <a:pt x="411" y="330"/>
                  <a:pt x="405" y="33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9" name="Group 280"/>
          <p:cNvGrpSpPr>
            <a:grpSpLocks noChangeAspect="1"/>
          </p:cNvGrpSpPr>
          <p:nvPr/>
        </p:nvGrpSpPr>
        <p:grpSpPr bwMode="auto">
          <a:xfrm>
            <a:off x="2918615" y="4540474"/>
            <a:ext cx="367631" cy="367631"/>
            <a:chOff x="7350" y="739"/>
            <a:chExt cx="340" cy="340"/>
          </a:xfrm>
          <a:solidFill>
            <a:schemeClr val="accent3"/>
          </a:solidFill>
        </p:grpSpPr>
        <p:sp>
          <p:nvSpPr>
            <p:cNvPr id="360" name="Freeform 281"/>
            <p:cNvSpPr>
              <a:spLocks noEditPoints="1"/>
            </p:cNvSpPr>
            <p:nvPr/>
          </p:nvSpPr>
          <p:spPr bwMode="auto">
            <a:xfrm>
              <a:off x="7413" y="830"/>
              <a:ext cx="213" cy="157"/>
            </a:xfrm>
            <a:custGeom>
              <a:avLst/>
              <a:gdLst>
                <a:gd name="T0" fmla="*/ 1 w 321"/>
                <a:gd name="T1" fmla="*/ 55 h 236"/>
                <a:gd name="T2" fmla="*/ 11 w 321"/>
                <a:gd name="T3" fmla="*/ 44 h 236"/>
                <a:gd name="T4" fmla="*/ 284 w 321"/>
                <a:gd name="T5" fmla="*/ 44 h 236"/>
                <a:gd name="T6" fmla="*/ 260 w 321"/>
                <a:gd name="T7" fmla="*/ 20 h 236"/>
                <a:gd name="T8" fmla="*/ 260 w 321"/>
                <a:gd name="T9" fmla="*/ 4 h 236"/>
                <a:gd name="T10" fmla="*/ 275 w 321"/>
                <a:gd name="T11" fmla="*/ 4 h 236"/>
                <a:gd name="T12" fmla="*/ 318 w 321"/>
                <a:gd name="T13" fmla="*/ 47 h 236"/>
                <a:gd name="T14" fmla="*/ 320 w 321"/>
                <a:gd name="T15" fmla="*/ 51 h 236"/>
                <a:gd name="T16" fmla="*/ 320 w 321"/>
                <a:gd name="T17" fmla="*/ 59 h 236"/>
                <a:gd name="T18" fmla="*/ 318 w 321"/>
                <a:gd name="T19" fmla="*/ 62 h 236"/>
                <a:gd name="T20" fmla="*/ 275 w 321"/>
                <a:gd name="T21" fmla="*/ 105 h 236"/>
                <a:gd name="T22" fmla="*/ 267 w 321"/>
                <a:gd name="T23" fmla="*/ 108 h 236"/>
                <a:gd name="T24" fmla="*/ 260 w 321"/>
                <a:gd name="T25" fmla="*/ 105 h 236"/>
                <a:gd name="T26" fmla="*/ 260 w 321"/>
                <a:gd name="T27" fmla="*/ 90 h 236"/>
                <a:gd name="T28" fmla="*/ 284 w 321"/>
                <a:gd name="T29" fmla="*/ 65 h 236"/>
                <a:gd name="T30" fmla="*/ 11 w 321"/>
                <a:gd name="T31" fmla="*/ 65 h 236"/>
                <a:gd name="T32" fmla="*/ 1 w 321"/>
                <a:gd name="T33" fmla="*/ 55 h 236"/>
                <a:gd name="T34" fmla="*/ 310 w 321"/>
                <a:gd name="T35" fmla="*/ 172 h 236"/>
                <a:gd name="T36" fmla="*/ 37 w 321"/>
                <a:gd name="T37" fmla="*/ 172 h 236"/>
                <a:gd name="T38" fmla="*/ 62 w 321"/>
                <a:gd name="T39" fmla="*/ 148 h 236"/>
                <a:gd name="T40" fmla="*/ 62 w 321"/>
                <a:gd name="T41" fmla="*/ 132 h 236"/>
                <a:gd name="T42" fmla="*/ 46 w 321"/>
                <a:gd name="T43" fmla="*/ 132 h 236"/>
                <a:gd name="T44" fmla="*/ 4 w 321"/>
                <a:gd name="T45" fmla="*/ 175 h 236"/>
                <a:gd name="T46" fmla="*/ 1 w 321"/>
                <a:gd name="T47" fmla="*/ 179 h 236"/>
                <a:gd name="T48" fmla="*/ 1 w 321"/>
                <a:gd name="T49" fmla="*/ 187 h 236"/>
                <a:gd name="T50" fmla="*/ 4 w 321"/>
                <a:gd name="T51" fmla="*/ 190 h 236"/>
                <a:gd name="T52" fmla="*/ 46 w 321"/>
                <a:gd name="T53" fmla="*/ 233 h 236"/>
                <a:gd name="T54" fmla="*/ 54 w 321"/>
                <a:gd name="T55" fmla="*/ 236 h 236"/>
                <a:gd name="T56" fmla="*/ 62 w 321"/>
                <a:gd name="T57" fmla="*/ 233 h 236"/>
                <a:gd name="T58" fmla="*/ 62 w 321"/>
                <a:gd name="T59" fmla="*/ 218 h 236"/>
                <a:gd name="T60" fmla="*/ 37 w 321"/>
                <a:gd name="T61" fmla="*/ 193 h 236"/>
                <a:gd name="T62" fmla="*/ 310 w 321"/>
                <a:gd name="T63" fmla="*/ 193 h 236"/>
                <a:gd name="T64" fmla="*/ 321 w 321"/>
                <a:gd name="T65" fmla="*/ 183 h 236"/>
                <a:gd name="T66" fmla="*/ 310 w 321"/>
                <a:gd name="T67" fmla="*/ 17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36">
                  <a:moveTo>
                    <a:pt x="1" y="55"/>
                  </a:moveTo>
                  <a:cubicBezTo>
                    <a:pt x="1" y="49"/>
                    <a:pt x="5" y="44"/>
                    <a:pt x="11" y="44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60" y="20"/>
                    <a:pt x="260" y="20"/>
                    <a:pt x="260" y="20"/>
                  </a:cubicBezTo>
                  <a:cubicBezTo>
                    <a:pt x="256" y="15"/>
                    <a:pt x="256" y="9"/>
                    <a:pt x="260" y="4"/>
                  </a:cubicBezTo>
                  <a:cubicBezTo>
                    <a:pt x="264" y="0"/>
                    <a:pt x="271" y="0"/>
                    <a:pt x="275" y="4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19" y="48"/>
                    <a:pt x="319" y="49"/>
                    <a:pt x="320" y="51"/>
                  </a:cubicBezTo>
                  <a:cubicBezTo>
                    <a:pt x="321" y="53"/>
                    <a:pt x="321" y="56"/>
                    <a:pt x="320" y="59"/>
                  </a:cubicBezTo>
                  <a:cubicBezTo>
                    <a:pt x="319" y="60"/>
                    <a:pt x="319" y="61"/>
                    <a:pt x="318" y="62"/>
                  </a:cubicBezTo>
                  <a:cubicBezTo>
                    <a:pt x="275" y="105"/>
                    <a:pt x="275" y="105"/>
                    <a:pt x="275" y="105"/>
                  </a:cubicBezTo>
                  <a:cubicBezTo>
                    <a:pt x="273" y="107"/>
                    <a:pt x="270" y="108"/>
                    <a:pt x="267" y="108"/>
                  </a:cubicBezTo>
                  <a:cubicBezTo>
                    <a:pt x="265" y="108"/>
                    <a:pt x="262" y="107"/>
                    <a:pt x="260" y="105"/>
                  </a:cubicBezTo>
                  <a:cubicBezTo>
                    <a:pt x="256" y="101"/>
                    <a:pt x="256" y="94"/>
                    <a:pt x="260" y="90"/>
                  </a:cubicBezTo>
                  <a:cubicBezTo>
                    <a:pt x="284" y="65"/>
                    <a:pt x="284" y="65"/>
                    <a:pt x="284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5" y="65"/>
                    <a:pt x="1" y="61"/>
                    <a:pt x="1" y="55"/>
                  </a:cubicBezTo>
                  <a:close/>
                  <a:moveTo>
                    <a:pt x="310" y="172"/>
                  </a:moveTo>
                  <a:cubicBezTo>
                    <a:pt x="37" y="172"/>
                    <a:pt x="37" y="172"/>
                    <a:pt x="37" y="172"/>
                  </a:cubicBezTo>
                  <a:cubicBezTo>
                    <a:pt x="62" y="148"/>
                    <a:pt x="62" y="148"/>
                    <a:pt x="62" y="148"/>
                  </a:cubicBezTo>
                  <a:cubicBezTo>
                    <a:pt x="66" y="143"/>
                    <a:pt x="66" y="137"/>
                    <a:pt x="62" y="132"/>
                  </a:cubicBezTo>
                  <a:cubicBezTo>
                    <a:pt x="57" y="128"/>
                    <a:pt x="51" y="128"/>
                    <a:pt x="46" y="132"/>
                  </a:cubicBezTo>
                  <a:cubicBezTo>
                    <a:pt x="4" y="175"/>
                    <a:pt x="4" y="175"/>
                    <a:pt x="4" y="175"/>
                  </a:cubicBezTo>
                  <a:cubicBezTo>
                    <a:pt x="3" y="176"/>
                    <a:pt x="2" y="177"/>
                    <a:pt x="1" y="179"/>
                  </a:cubicBezTo>
                  <a:cubicBezTo>
                    <a:pt x="0" y="181"/>
                    <a:pt x="0" y="184"/>
                    <a:pt x="1" y="187"/>
                  </a:cubicBezTo>
                  <a:cubicBezTo>
                    <a:pt x="2" y="188"/>
                    <a:pt x="3" y="189"/>
                    <a:pt x="4" y="190"/>
                  </a:cubicBezTo>
                  <a:cubicBezTo>
                    <a:pt x="46" y="233"/>
                    <a:pt x="46" y="233"/>
                    <a:pt x="46" y="233"/>
                  </a:cubicBezTo>
                  <a:cubicBezTo>
                    <a:pt x="49" y="235"/>
                    <a:pt x="51" y="236"/>
                    <a:pt x="54" y="236"/>
                  </a:cubicBezTo>
                  <a:cubicBezTo>
                    <a:pt x="57" y="236"/>
                    <a:pt x="59" y="235"/>
                    <a:pt x="62" y="233"/>
                  </a:cubicBezTo>
                  <a:cubicBezTo>
                    <a:pt x="66" y="229"/>
                    <a:pt x="66" y="222"/>
                    <a:pt x="62" y="218"/>
                  </a:cubicBezTo>
                  <a:cubicBezTo>
                    <a:pt x="37" y="193"/>
                    <a:pt x="37" y="193"/>
                    <a:pt x="37" y="193"/>
                  </a:cubicBezTo>
                  <a:cubicBezTo>
                    <a:pt x="310" y="193"/>
                    <a:pt x="310" y="193"/>
                    <a:pt x="310" y="193"/>
                  </a:cubicBezTo>
                  <a:cubicBezTo>
                    <a:pt x="316" y="193"/>
                    <a:pt x="321" y="189"/>
                    <a:pt x="321" y="183"/>
                  </a:cubicBezTo>
                  <a:cubicBezTo>
                    <a:pt x="321" y="177"/>
                    <a:pt x="316" y="172"/>
                    <a:pt x="310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Freeform 282"/>
            <p:cNvSpPr>
              <a:spLocks noEditPoints="1"/>
            </p:cNvSpPr>
            <p:nvPr/>
          </p:nvSpPr>
          <p:spPr bwMode="auto">
            <a:xfrm>
              <a:off x="7350" y="73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2" name="Freeform 250"/>
          <p:cNvSpPr>
            <a:spLocks noChangeAspect="1" noEditPoints="1"/>
          </p:cNvSpPr>
          <p:nvPr/>
        </p:nvSpPr>
        <p:spPr bwMode="auto">
          <a:xfrm>
            <a:off x="438310" y="454047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60 h 512"/>
              <a:gd name="T12" fmla="*/ 413 w 512"/>
              <a:gd name="T13" fmla="*/ 263 h 512"/>
              <a:gd name="T14" fmla="*/ 370 w 512"/>
              <a:gd name="T15" fmla="*/ 306 h 512"/>
              <a:gd name="T16" fmla="*/ 362 w 512"/>
              <a:gd name="T17" fmla="*/ 309 h 512"/>
              <a:gd name="T18" fmla="*/ 355 w 512"/>
              <a:gd name="T19" fmla="*/ 306 h 512"/>
              <a:gd name="T20" fmla="*/ 355 w 512"/>
              <a:gd name="T21" fmla="*/ 291 h 512"/>
              <a:gd name="T22" fmla="*/ 379 w 512"/>
              <a:gd name="T23" fmla="*/ 266 h 512"/>
              <a:gd name="T24" fmla="*/ 266 w 512"/>
              <a:gd name="T25" fmla="*/ 266 h 512"/>
              <a:gd name="T26" fmla="*/ 266 w 512"/>
              <a:gd name="T27" fmla="*/ 379 h 512"/>
              <a:gd name="T28" fmla="*/ 291 w 512"/>
              <a:gd name="T29" fmla="*/ 355 h 512"/>
              <a:gd name="T30" fmla="*/ 306 w 512"/>
              <a:gd name="T31" fmla="*/ 355 h 512"/>
              <a:gd name="T32" fmla="*/ 306 w 512"/>
              <a:gd name="T33" fmla="*/ 370 h 512"/>
              <a:gd name="T34" fmla="*/ 263 w 512"/>
              <a:gd name="T35" fmla="*/ 413 h 512"/>
              <a:gd name="T36" fmla="*/ 260 w 512"/>
              <a:gd name="T37" fmla="*/ 415 h 512"/>
              <a:gd name="T38" fmla="*/ 256 w 512"/>
              <a:gd name="T39" fmla="*/ 416 h 512"/>
              <a:gd name="T40" fmla="*/ 252 w 512"/>
              <a:gd name="T41" fmla="*/ 415 h 512"/>
              <a:gd name="T42" fmla="*/ 248 w 512"/>
              <a:gd name="T43" fmla="*/ 413 h 512"/>
              <a:gd name="T44" fmla="*/ 205 w 512"/>
              <a:gd name="T45" fmla="*/ 370 h 512"/>
              <a:gd name="T46" fmla="*/ 205 w 512"/>
              <a:gd name="T47" fmla="*/ 355 h 512"/>
              <a:gd name="T48" fmla="*/ 221 w 512"/>
              <a:gd name="T49" fmla="*/ 355 h 512"/>
              <a:gd name="T50" fmla="*/ 245 w 512"/>
              <a:gd name="T51" fmla="*/ 379 h 512"/>
              <a:gd name="T52" fmla="*/ 245 w 512"/>
              <a:gd name="T53" fmla="*/ 266 h 512"/>
              <a:gd name="T54" fmla="*/ 132 w 512"/>
              <a:gd name="T55" fmla="*/ 266 h 512"/>
              <a:gd name="T56" fmla="*/ 157 w 512"/>
              <a:gd name="T57" fmla="*/ 291 h 512"/>
              <a:gd name="T58" fmla="*/ 157 w 512"/>
              <a:gd name="T59" fmla="*/ 306 h 512"/>
              <a:gd name="T60" fmla="*/ 149 w 512"/>
              <a:gd name="T61" fmla="*/ 309 h 512"/>
              <a:gd name="T62" fmla="*/ 141 w 512"/>
              <a:gd name="T63" fmla="*/ 306 h 512"/>
              <a:gd name="T64" fmla="*/ 99 w 512"/>
              <a:gd name="T65" fmla="*/ 263 h 512"/>
              <a:gd name="T66" fmla="*/ 96 w 512"/>
              <a:gd name="T67" fmla="*/ 260 h 512"/>
              <a:gd name="T68" fmla="*/ 96 w 512"/>
              <a:gd name="T69" fmla="*/ 252 h 512"/>
              <a:gd name="T70" fmla="*/ 99 w 512"/>
              <a:gd name="T71" fmla="*/ 248 h 512"/>
              <a:gd name="T72" fmla="*/ 141 w 512"/>
              <a:gd name="T73" fmla="*/ 205 h 512"/>
              <a:gd name="T74" fmla="*/ 157 w 512"/>
              <a:gd name="T75" fmla="*/ 205 h 512"/>
              <a:gd name="T76" fmla="*/ 157 w 512"/>
              <a:gd name="T77" fmla="*/ 221 h 512"/>
              <a:gd name="T78" fmla="*/ 132 w 512"/>
              <a:gd name="T79" fmla="*/ 245 h 512"/>
              <a:gd name="T80" fmla="*/ 245 w 512"/>
              <a:gd name="T81" fmla="*/ 245 h 512"/>
              <a:gd name="T82" fmla="*/ 245 w 512"/>
              <a:gd name="T83" fmla="*/ 132 h 512"/>
              <a:gd name="T84" fmla="*/ 221 w 512"/>
              <a:gd name="T85" fmla="*/ 157 h 512"/>
              <a:gd name="T86" fmla="*/ 213 w 512"/>
              <a:gd name="T87" fmla="*/ 160 h 512"/>
              <a:gd name="T88" fmla="*/ 205 w 512"/>
              <a:gd name="T89" fmla="*/ 157 h 512"/>
              <a:gd name="T90" fmla="*/ 205 w 512"/>
              <a:gd name="T91" fmla="*/ 141 h 512"/>
              <a:gd name="T92" fmla="*/ 248 w 512"/>
              <a:gd name="T93" fmla="*/ 99 h 512"/>
              <a:gd name="T94" fmla="*/ 252 w 512"/>
              <a:gd name="T95" fmla="*/ 96 h 512"/>
              <a:gd name="T96" fmla="*/ 260 w 512"/>
              <a:gd name="T97" fmla="*/ 96 h 512"/>
              <a:gd name="T98" fmla="*/ 263 w 512"/>
              <a:gd name="T99" fmla="*/ 99 h 512"/>
              <a:gd name="T100" fmla="*/ 306 w 512"/>
              <a:gd name="T101" fmla="*/ 141 h 512"/>
              <a:gd name="T102" fmla="*/ 306 w 512"/>
              <a:gd name="T103" fmla="*/ 157 h 512"/>
              <a:gd name="T104" fmla="*/ 298 w 512"/>
              <a:gd name="T105" fmla="*/ 160 h 512"/>
              <a:gd name="T106" fmla="*/ 291 w 512"/>
              <a:gd name="T107" fmla="*/ 157 h 512"/>
              <a:gd name="T108" fmla="*/ 266 w 512"/>
              <a:gd name="T109" fmla="*/ 132 h 512"/>
              <a:gd name="T110" fmla="*/ 266 w 512"/>
              <a:gd name="T111" fmla="*/ 245 h 512"/>
              <a:gd name="T112" fmla="*/ 379 w 512"/>
              <a:gd name="T113" fmla="*/ 245 h 512"/>
              <a:gd name="T114" fmla="*/ 355 w 512"/>
              <a:gd name="T115" fmla="*/ 221 h 512"/>
              <a:gd name="T116" fmla="*/ 355 w 512"/>
              <a:gd name="T117" fmla="*/ 205 h 512"/>
              <a:gd name="T118" fmla="*/ 370 w 512"/>
              <a:gd name="T119" fmla="*/ 205 h 512"/>
              <a:gd name="T120" fmla="*/ 413 w 512"/>
              <a:gd name="T121" fmla="*/ 248 h 512"/>
              <a:gd name="T122" fmla="*/ 415 w 512"/>
              <a:gd name="T123" fmla="*/ 252 h 512"/>
              <a:gd name="T124" fmla="*/ 415 w 512"/>
              <a:gd name="T125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0"/>
                </a:moveTo>
                <a:cubicBezTo>
                  <a:pt x="414" y="261"/>
                  <a:pt x="414" y="262"/>
                  <a:pt x="413" y="263"/>
                </a:cubicBezTo>
                <a:cubicBezTo>
                  <a:pt x="370" y="306"/>
                  <a:pt x="370" y="306"/>
                  <a:pt x="370" y="306"/>
                </a:cubicBezTo>
                <a:cubicBezTo>
                  <a:pt x="368" y="308"/>
                  <a:pt x="365" y="309"/>
                  <a:pt x="362" y="309"/>
                </a:cubicBezTo>
                <a:cubicBezTo>
                  <a:pt x="360" y="309"/>
                  <a:pt x="357" y="308"/>
                  <a:pt x="355" y="306"/>
                </a:cubicBezTo>
                <a:cubicBezTo>
                  <a:pt x="351" y="302"/>
                  <a:pt x="351" y="295"/>
                  <a:pt x="355" y="291"/>
                </a:cubicBezTo>
                <a:cubicBezTo>
                  <a:pt x="379" y="266"/>
                  <a:pt x="379" y="266"/>
                  <a:pt x="379" y="266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379"/>
                  <a:pt x="266" y="379"/>
                  <a:pt x="266" y="379"/>
                </a:cubicBezTo>
                <a:cubicBezTo>
                  <a:pt x="291" y="355"/>
                  <a:pt x="291" y="355"/>
                  <a:pt x="291" y="355"/>
                </a:cubicBezTo>
                <a:cubicBezTo>
                  <a:pt x="295" y="351"/>
                  <a:pt x="302" y="351"/>
                  <a:pt x="306" y="355"/>
                </a:cubicBezTo>
                <a:cubicBezTo>
                  <a:pt x="310" y="359"/>
                  <a:pt x="310" y="366"/>
                  <a:pt x="306" y="370"/>
                </a:cubicBezTo>
                <a:cubicBezTo>
                  <a:pt x="263" y="413"/>
                  <a:pt x="263" y="413"/>
                  <a:pt x="263" y="413"/>
                </a:cubicBezTo>
                <a:cubicBezTo>
                  <a:pt x="262" y="414"/>
                  <a:pt x="261" y="414"/>
                  <a:pt x="260" y="415"/>
                </a:cubicBezTo>
                <a:cubicBezTo>
                  <a:pt x="258" y="415"/>
                  <a:pt x="257" y="416"/>
                  <a:pt x="256" y="416"/>
                </a:cubicBezTo>
                <a:cubicBezTo>
                  <a:pt x="254" y="416"/>
                  <a:pt x="253" y="415"/>
                  <a:pt x="252" y="415"/>
                </a:cubicBezTo>
                <a:cubicBezTo>
                  <a:pt x="250" y="414"/>
                  <a:pt x="249" y="414"/>
                  <a:pt x="248" y="413"/>
                </a:cubicBezTo>
                <a:cubicBezTo>
                  <a:pt x="205" y="370"/>
                  <a:pt x="205" y="370"/>
                  <a:pt x="205" y="370"/>
                </a:cubicBezTo>
                <a:cubicBezTo>
                  <a:pt x="201" y="366"/>
                  <a:pt x="201" y="359"/>
                  <a:pt x="205" y="355"/>
                </a:cubicBezTo>
                <a:cubicBezTo>
                  <a:pt x="210" y="351"/>
                  <a:pt x="216" y="351"/>
                  <a:pt x="221" y="355"/>
                </a:cubicBezTo>
                <a:cubicBezTo>
                  <a:pt x="245" y="379"/>
                  <a:pt x="245" y="379"/>
                  <a:pt x="245" y="379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132" y="266"/>
                  <a:pt x="132" y="266"/>
                  <a:pt x="132" y="266"/>
                </a:cubicBezTo>
                <a:cubicBezTo>
                  <a:pt x="157" y="291"/>
                  <a:pt x="157" y="291"/>
                  <a:pt x="157" y="291"/>
                </a:cubicBezTo>
                <a:cubicBezTo>
                  <a:pt x="161" y="295"/>
                  <a:pt x="161" y="302"/>
                  <a:pt x="157" y="306"/>
                </a:cubicBezTo>
                <a:cubicBezTo>
                  <a:pt x="154" y="308"/>
                  <a:pt x="152" y="309"/>
                  <a:pt x="149" y="309"/>
                </a:cubicBezTo>
                <a:cubicBezTo>
                  <a:pt x="146" y="309"/>
                  <a:pt x="144" y="308"/>
                  <a:pt x="141" y="306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8" y="262"/>
                  <a:pt x="97" y="261"/>
                  <a:pt x="96" y="260"/>
                </a:cubicBezTo>
                <a:cubicBezTo>
                  <a:pt x="95" y="257"/>
                  <a:pt x="95" y="254"/>
                  <a:pt x="96" y="252"/>
                </a:cubicBezTo>
                <a:cubicBezTo>
                  <a:pt x="97" y="250"/>
                  <a:pt x="98" y="249"/>
                  <a:pt x="99" y="248"/>
                </a:cubicBezTo>
                <a:cubicBezTo>
                  <a:pt x="141" y="205"/>
                  <a:pt x="141" y="205"/>
                  <a:pt x="141" y="205"/>
                </a:cubicBezTo>
                <a:cubicBezTo>
                  <a:pt x="146" y="201"/>
                  <a:pt x="152" y="201"/>
                  <a:pt x="157" y="205"/>
                </a:cubicBezTo>
                <a:cubicBezTo>
                  <a:pt x="161" y="210"/>
                  <a:pt x="161" y="216"/>
                  <a:pt x="157" y="221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221" y="157"/>
                  <a:pt x="221" y="157"/>
                  <a:pt x="221" y="157"/>
                </a:cubicBezTo>
                <a:cubicBezTo>
                  <a:pt x="218" y="159"/>
                  <a:pt x="216" y="160"/>
                  <a:pt x="213" y="160"/>
                </a:cubicBezTo>
                <a:cubicBezTo>
                  <a:pt x="210" y="160"/>
                  <a:pt x="208" y="159"/>
                  <a:pt x="205" y="157"/>
                </a:cubicBezTo>
                <a:cubicBezTo>
                  <a:pt x="201" y="152"/>
                  <a:pt x="201" y="146"/>
                  <a:pt x="205" y="141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06" y="141"/>
                  <a:pt x="306" y="141"/>
                  <a:pt x="306" y="141"/>
                </a:cubicBezTo>
                <a:cubicBezTo>
                  <a:pt x="310" y="146"/>
                  <a:pt x="310" y="152"/>
                  <a:pt x="306" y="157"/>
                </a:cubicBezTo>
                <a:cubicBezTo>
                  <a:pt x="304" y="159"/>
                  <a:pt x="301" y="160"/>
                  <a:pt x="298" y="160"/>
                </a:cubicBezTo>
                <a:cubicBezTo>
                  <a:pt x="296" y="160"/>
                  <a:pt x="293" y="159"/>
                  <a:pt x="291" y="157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355" y="221"/>
                  <a:pt x="355" y="221"/>
                  <a:pt x="355" y="221"/>
                </a:cubicBezTo>
                <a:cubicBezTo>
                  <a:pt x="351" y="216"/>
                  <a:pt x="351" y="210"/>
                  <a:pt x="355" y="205"/>
                </a:cubicBezTo>
                <a:cubicBezTo>
                  <a:pt x="359" y="201"/>
                  <a:pt x="366" y="201"/>
                  <a:pt x="370" y="205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4" y="249"/>
                  <a:pt x="414" y="250"/>
                  <a:pt x="415" y="252"/>
                </a:cubicBezTo>
                <a:cubicBezTo>
                  <a:pt x="416" y="254"/>
                  <a:pt x="416" y="257"/>
                  <a:pt x="415" y="2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3" name="Group 253"/>
          <p:cNvGrpSpPr>
            <a:grpSpLocks noChangeAspect="1"/>
          </p:cNvGrpSpPr>
          <p:nvPr/>
        </p:nvGrpSpPr>
        <p:grpSpPr bwMode="auto">
          <a:xfrm>
            <a:off x="934371" y="4540474"/>
            <a:ext cx="367631" cy="367631"/>
            <a:chOff x="4266" y="1820"/>
            <a:chExt cx="340" cy="340"/>
          </a:xfrm>
          <a:solidFill>
            <a:schemeClr val="accent3"/>
          </a:solidFill>
        </p:grpSpPr>
        <p:sp>
          <p:nvSpPr>
            <p:cNvPr id="364" name="Freeform 254"/>
            <p:cNvSpPr>
              <a:spLocks/>
            </p:cNvSpPr>
            <p:nvPr/>
          </p:nvSpPr>
          <p:spPr bwMode="auto">
            <a:xfrm>
              <a:off x="4329" y="1883"/>
              <a:ext cx="213" cy="213"/>
            </a:xfrm>
            <a:custGeom>
              <a:avLst/>
              <a:gdLst>
                <a:gd name="T0" fmla="*/ 320 w 321"/>
                <a:gd name="T1" fmla="*/ 165 h 321"/>
                <a:gd name="T2" fmla="*/ 320 w 321"/>
                <a:gd name="T3" fmla="*/ 157 h 321"/>
                <a:gd name="T4" fmla="*/ 318 w 321"/>
                <a:gd name="T5" fmla="*/ 153 h 321"/>
                <a:gd name="T6" fmla="*/ 275 w 321"/>
                <a:gd name="T7" fmla="*/ 110 h 321"/>
                <a:gd name="T8" fmla="*/ 260 w 321"/>
                <a:gd name="T9" fmla="*/ 110 h 321"/>
                <a:gd name="T10" fmla="*/ 260 w 321"/>
                <a:gd name="T11" fmla="*/ 126 h 321"/>
                <a:gd name="T12" fmla="*/ 284 w 321"/>
                <a:gd name="T13" fmla="*/ 150 h 321"/>
                <a:gd name="T14" fmla="*/ 171 w 321"/>
                <a:gd name="T15" fmla="*/ 150 h 321"/>
                <a:gd name="T16" fmla="*/ 171 w 321"/>
                <a:gd name="T17" fmla="*/ 37 h 321"/>
                <a:gd name="T18" fmla="*/ 196 w 321"/>
                <a:gd name="T19" fmla="*/ 62 h 321"/>
                <a:gd name="T20" fmla="*/ 203 w 321"/>
                <a:gd name="T21" fmla="*/ 65 h 321"/>
                <a:gd name="T22" fmla="*/ 211 w 321"/>
                <a:gd name="T23" fmla="*/ 62 h 321"/>
                <a:gd name="T24" fmla="*/ 211 w 321"/>
                <a:gd name="T25" fmla="*/ 46 h 321"/>
                <a:gd name="T26" fmla="*/ 168 w 321"/>
                <a:gd name="T27" fmla="*/ 4 h 321"/>
                <a:gd name="T28" fmla="*/ 165 w 321"/>
                <a:gd name="T29" fmla="*/ 1 h 321"/>
                <a:gd name="T30" fmla="*/ 157 w 321"/>
                <a:gd name="T31" fmla="*/ 1 h 321"/>
                <a:gd name="T32" fmla="*/ 153 w 321"/>
                <a:gd name="T33" fmla="*/ 4 h 321"/>
                <a:gd name="T34" fmla="*/ 110 w 321"/>
                <a:gd name="T35" fmla="*/ 46 h 321"/>
                <a:gd name="T36" fmla="*/ 110 w 321"/>
                <a:gd name="T37" fmla="*/ 62 h 321"/>
                <a:gd name="T38" fmla="*/ 118 w 321"/>
                <a:gd name="T39" fmla="*/ 65 h 321"/>
                <a:gd name="T40" fmla="*/ 126 w 321"/>
                <a:gd name="T41" fmla="*/ 62 h 321"/>
                <a:gd name="T42" fmla="*/ 150 w 321"/>
                <a:gd name="T43" fmla="*/ 37 h 321"/>
                <a:gd name="T44" fmla="*/ 150 w 321"/>
                <a:gd name="T45" fmla="*/ 150 h 321"/>
                <a:gd name="T46" fmla="*/ 37 w 321"/>
                <a:gd name="T47" fmla="*/ 150 h 321"/>
                <a:gd name="T48" fmla="*/ 62 w 321"/>
                <a:gd name="T49" fmla="*/ 126 h 321"/>
                <a:gd name="T50" fmla="*/ 62 w 321"/>
                <a:gd name="T51" fmla="*/ 110 h 321"/>
                <a:gd name="T52" fmla="*/ 46 w 321"/>
                <a:gd name="T53" fmla="*/ 110 h 321"/>
                <a:gd name="T54" fmla="*/ 4 w 321"/>
                <a:gd name="T55" fmla="*/ 153 h 321"/>
                <a:gd name="T56" fmla="*/ 1 w 321"/>
                <a:gd name="T57" fmla="*/ 157 h 321"/>
                <a:gd name="T58" fmla="*/ 1 w 321"/>
                <a:gd name="T59" fmla="*/ 165 h 321"/>
                <a:gd name="T60" fmla="*/ 4 w 321"/>
                <a:gd name="T61" fmla="*/ 168 h 321"/>
                <a:gd name="T62" fmla="*/ 46 w 321"/>
                <a:gd name="T63" fmla="*/ 211 h 321"/>
                <a:gd name="T64" fmla="*/ 54 w 321"/>
                <a:gd name="T65" fmla="*/ 214 h 321"/>
                <a:gd name="T66" fmla="*/ 62 w 321"/>
                <a:gd name="T67" fmla="*/ 211 h 321"/>
                <a:gd name="T68" fmla="*/ 62 w 321"/>
                <a:gd name="T69" fmla="*/ 196 h 321"/>
                <a:gd name="T70" fmla="*/ 37 w 321"/>
                <a:gd name="T71" fmla="*/ 171 h 321"/>
                <a:gd name="T72" fmla="*/ 150 w 321"/>
                <a:gd name="T73" fmla="*/ 171 h 321"/>
                <a:gd name="T74" fmla="*/ 150 w 321"/>
                <a:gd name="T75" fmla="*/ 284 h 321"/>
                <a:gd name="T76" fmla="*/ 126 w 321"/>
                <a:gd name="T77" fmla="*/ 260 h 321"/>
                <a:gd name="T78" fmla="*/ 110 w 321"/>
                <a:gd name="T79" fmla="*/ 260 h 321"/>
                <a:gd name="T80" fmla="*/ 110 w 321"/>
                <a:gd name="T81" fmla="*/ 275 h 321"/>
                <a:gd name="T82" fmla="*/ 153 w 321"/>
                <a:gd name="T83" fmla="*/ 318 h 321"/>
                <a:gd name="T84" fmla="*/ 157 w 321"/>
                <a:gd name="T85" fmla="*/ 320 h 321"/>
                <a:gd name="T86" fmla="*/ 161 w 321"/>
                <a:gd name="T87" fmla="*/ 321 h 321"/>
                <a:gd name="T88" fmla="*/ 165 w 321"/>
                <a:gd name="T89" fmla="*/ 320 h 321"/>
                <a:gd name="T90" fmla="*/ 168 w 321"/>
                <a:gd name="T91" fmla="*/ 318 h 321"/>
                <a:gd name="T92" fmla="*/ 211 w 321"/>
                <a:gd name="T93" fmla="*/ 275 h 321"/>
                <a:gd name="T94" fmla="*/ 211 w 321"/>
                <a:gd name="T95" fmla="*/ 260 h 321"/>
                <a:gd name="T96" fmla="*/ 196 w 321"/>
                <a:gd name="T97" fmla="*/ 260 h 321"/>
                <a:gd name="T98" fmla="*/ 171 w 321"/>
                <a:gd name="T99" fmla="*/ 284 h 321"/>
                <a:gd name="T100" fmla="*/ 171 w 321"/>
                <a:gd name="T101" fmla="*/ 171 h 321"/>
                <a:gd name="T102" fmla="*/ 284 w 321"/>
                <a:gd name="T103" fmla="*/ 171 h 321"/>
                <a:gd name="T104" fmla="*/ 260 w 321"/>
                <a:gd name="T105" fmla="*/ 196 h 321"/>
                <a:gd name="T106" fmla="*/ 260 w 321"/>
                <a:gd name="T107" fmla="*/ 211 h 321"/>
                <a:gd name="T108" fmla="*/ 267 w 321"/>
                <a:gd name="T109" fmla="*/ 214 h 321"/>
                <a:gd name="T110" fmla="*/ 275 w 321"/>
                <a:gd name="T111" fmla="*/ 211 h 321"/>
                <a:gd name="T112" fmla="*/ 318 w 321"/>
                <a:gd name="T113" fmla="*/ 168 h 321"/>
                <a:gd name="T114" fmla="*/ 320 w 321"/>
                <a:gd name="T115" fmla="*/ 16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1" h="321">
                  <a:moveTo>
                    <a:pt x="320" y="165"/>
                  </a:moveTo>
                  <a:cubicBezTo>
                    <a:pt x="321" y="162"/>
                    <a:pt x="321" y="159"/>
                    <a:pt x="320" y="157"/>
                  </a:cubicBezTo>
                  <a:cubicBezTo>
                    <a:pt x="319" y="155"/>
                    <a:pt x="319" y="154"/>
                    <a:pt x="318" y="153"/>
                  </a:cubicBezTo>
                  <a:cubicBezTo>
                    <a:pt x="275" y="110"/>
                    <a:pt x="275" y="110"/>
                    <a:pt x="275" y="110"/>
                  </a:cubicBezTo>
                  <a:cubicBezTo>
                    <a:pt x="271" y="106"/>
                    <a:pt x="264" y="106"/>
                    <a:pt x="260" y="110"/>
                  </a:cubicBezTo>
                  <a:cubicBezTo>
                    <a:pt x="256" y="115"/>
                    <a:pt x="256" y="121"/>
                    <a:pt x="260" y="126"/>
                  </a:cubicBezTo>
                  <a:cubicBezTo>
                    <a:pt x="284" y="150"/>
                    <a:pt x="284" y="150"/>
                    <a:pt x="284" y="150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96" y="62"/>
                    <a:pt x="196" y="62"/>
                    <a:pt x="196" y="62"/>
                  </a:cubicBezTo>
                  <a:cubicBezTo>
                    <a:pt x="198" y="64"/>
                    <a:pt x="201" y="65"/>
                    <a:pt x="203" y="65"/>
                  </a:cubicBezTo>
                  <a:cubicBezTo>
                    <a:pt x="206" y="65"/>
                    <a:pt x="209" y="64"/>
                    <a:pt x="211" y="62"/>
                  </a:cubicBezTo>
                  <a:cubicBezTo>
                    <a:pt x="215" y="57"/>
                    <a:pt x="215" y="51"/>
                    <a:pt x="211" y="46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67" y="3"/>
                    <a:pt x="166" y="2"/>
                    <a:pt x="165" y="1"/>
                  </a:cubicBezTo>
                  <a:cubicBezTo>
                    <a:pt x="162" y="0"/>
                    <a:pt x="159" y="0"/>
                    <a:pt x="157" y="1"/>
                  </a:cubicBezTo>
                  <a:cubicBezTo>
                    <a:pt x="155" y="2"/>
                    <a:pt x="154" y="3"/>
                    <a:pt x="153" y="4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6" y="51"/>
                    <a:pt x="106" y="57"/>
                    <a:pt x="110" y="62"/>
                  </a:cubicBezTo>
                  <a:cubicBezTo>
                    <a:pt x="113" y="64"/>
                    <a:pt x="115" y="65"/>
                    <a:pt x="118" y="65"/>
                  </a:cubicBezTo>
                  <a:cubicBezTo>
                    <a:pt x="121" y="65"/>
                    <a:pt x="123" y="64"/>
                    <a:pt x="126" y="62"/>
                  </a:cubicBezTo>
                  <a:cubicBezTo>
                    <a:pt x="150" y="37"/>
                    <a:pt x="150" y="37"/>
                    <a:pt x="150" y="37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37" y="150"/>
                    <a:pt x="37" y="150"/>
                    <a:pt x="37" y="150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6" y="121"/>
                    <a:pt x="66" y="115"/>
                    <a:pt x="62" y="110"/>
                  </a:cubicBezTo>
                  <a:cubicBezTo>
                    <a:pt x="57" y="106"/>
                    <a:pt x="51" y="106"/>
                    <a:pt x="46" y="110"/>
                  </a:cubicBezTo>
                  <a:cubicBezTo>
                    <a:pt x="4" y="153"/>
                    <a:pt x="4" y="153"/>
                    <a:pt x="4" y="153"/>
                  </a:cubicBezTo>
                  <a:cubicBezTo>
                    <a:pt x="3" y="154"/>
                    <a:pt x="2" y="155"/>
                    <a:pt x="1" y="157"/>
                  </a:cubicBezTo>
                  <a:cubicBezTo>
                    <a:pt x="0" y="159"/>
                    <a:pt x="0" y="162"/>
                    <a:pt x="1" y="165"/>
                  </a:cubicBezTo>
                  <a:cubicBezTo>
                    <a:pt x="2" y="166"/>
                    <a:pt x="3" y="167"/>
                    <a:pt x="4" y="168"/>
                  </a:cubicBezTo>
                  <a:cubicBezTo>
                    <a:pt x="46" y="211"/>
                    <a:pt x="46" y="211"/>
                    <a:pt x="46" y="211"/>
                  </a:cubicBezTo>
                  <a:cubicBezTo>
                    <a:pt x="49" y="213"/>
                    <a:pt x="51" y="214"/>
                    <a:pt x="54" y="214"/>
                  </a:cubicBezTo>
                  <a:cubicBezTo>
                    <a:pt x="57" y="214"/>
                    <a:pt x="59" y="213"/>
                    <a:pt x="62" y="211"/>
                  </a:cubicBezTo>
                  <a:cubicBezTo>
                    <a:pt x="66" y="207"/>
                    <a:pt x="66" y="200"/>
                    <a:pt x="62" y="196"/>
                  </a:cubicBezTo>
                  <a:cubicBezTo>
                    <a:pt x="37" y="171"/>
                    <a:pt x="37" y="171"/>
                    <a:pt x="37" y="171"/>
                  </a:cubicBezTo>
                  <a:cubicBezTo>
                    <a:pt x="150" y="171"/>
                    <a:pt x="150" y="171"/>
                    <a:pt x="150" y="171"/>
                  </a:cubicBezTo>
                  <a:cubicBezTo>
                    <a:pt x="150" y="284"/>
                    <a:pt x="150" y="284"/>
                    <a:pt x="150" y="284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1" y="256"/>
                    <a:pt x="115" y="256"/>
                    <a:pt x="110" y="260"/>
                  </a:cubicBezTo>
                  <a:cubicBezTo>
                    <a:pt x="106" y="264"/>
                    <a:pt x="106" y="271"/>
                    <a:pt x="110" y="275"/>
                  </a:cubicBezTo>
                  <a:cubicBezTo>
                    <a:pt x="153" y="318"/>
                    <a:pt x="153" y="318"/>
                    <a:pt x="153" y="318"/>
                  </a:cubicBezTo>
                  <a:cubicBezTo>
                    <a:pt x="154" y="319"/>
                    <a:pt x="155" y="319"/>
                    <a:pt x="157" y="320"/>
                  </a:cubicBezTo>
                  <a:cubicBezTo>
                    <a:pt x="158" y="320"/>
                    <a:pt x="159" y="321"/>
                    <a:pt x="161" y="321"/>
                  </a:cubicBezTo>
                  <a:cubicBezTo>
                    <a:pt x="162" y="321"/>
                    <a:pt x="163" y="320"/>
                    <a:pt x="165" y="320"/>
                  </a:cubicBezTo>
                  <a:cubicBezTo>
                    <a:pt x="166" y="319"/>
                    <a:pt x="167" y="319"/>
                    <a:pt x="168" y="318"/>
                  </a:cubicBezTo>
                  <a:cubicBezTo>
                    <a:pt x="211" y="275"/>
                    <a:pt x="211" y="275"/>
                    <a:pt x="211" y="275"/>
                  </a:cubicBezTo>
                  <a:cubicBezTo>
                    <a:pt x="215" y="271"/>
                    <a:pt x="215" y="264"/>
                    <a:pt x="211" y="260"/>
                  </a:cubicBezTo>
                  <a:cubicBezTo>
                    <a:pt x="207" y="256"/>
                    <a:pt x="200" y="256"/>
                    <a:pt x="196" y="260"/>
                  </a:cubicBezTo>
                  <a:cubicBezTo>
                    <a:pt x="171" y="284"/>
                    <a:pt x="171" y="284"/>
                    <a:pt x="171" y="284"/>
                  </a:cubicBezTo>
                  <a:cubicBezTo>
                    <a:pt x="171" y="171"/>
                    <a:pt x="171" y="171"/>
                    <a:pt x="171" y="171"/>
                  </a:cubicBezTo>
                  <a:cubicBezTo>
                    <a:pt x="284" y="171"/>
                    <a:pt x="284" y="171"/>
                    <a:pt x="284" y="171"/>
                  </a:cubicBezTo>
                  <a:cubicBezTo>
                    <a:pt x="260" y="196"/>
                    <a:pt x="260" y="196"/>
                    <a:pt x="260" y="196"/>
                  </a:cubicBezTo>
                  <a:cubicBezTo>
                    <a:pt x="256" y="200"/>
                    <a:pt x="256" y="207"/>
                    <a:pt x="260" y="211"/>
                  </a:cubicBezTo>
                  <a:cubicBezTo>
                    <a:pt x="262" y="213"/>
                    <a:pt x="265" y="214"/>
                    <a:pt x="267" y="214"/>
                  </a:cubicBezTo>
                  <a:cubicBezTo>
                    <a:pt x="270" y="214"/>
                    <a:pt x="273" y="213"/>
                    <a:pt x="275" y="211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9" y="167"/>
                    <a:pt x="319" y="166"/>
                    <a:pt x="320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Freeform 255"/>
            <p:cNvSpPr>
              <a:spLocks noEditPoints="1"/>
            </p:cNvSpPr>
            <p:nvPr/>
          </p:nvSpPr>
          <p:spPr bwMode="auto">
            <a:xfrm>
              <a:off x="4266" y="182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6" name="TextBox 365"/>
          <p:cNvSpPr txBox="1"/>
          <p:nvPr/>
        </p:nvSpPr>
        <p:spPr>
          <a:xfrm>
            <a:off x="444019" y="4976223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rections</a:t>
            </a:r>
          </a:p>
        </p:txBody>
      </p:sp>
      <p:sp>
        <p:nvSpPr>
          <p:cNvPr id="371" name="Freeform 196"/>
          <p:cNvSpPr>
            <a:spLocks noChangeAspect="1" noEditPoints="1"/>
          </p:cNvSpPr>
          <p:nvPr/>
        </p:nvSpPr>
        <p:spPr bwMode="auto">
          <a:xfrm>
            <a:off x="3417900" y="5398214"/>
            <a:ext cx="367632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4 w 512"/>
              <a:gd name="T11" fmla="*/ 352 h 512"/>
              <a:gd name="T12" fmla="*/ 224 w 512"/>
              <a:gd name="T13" fmla="*/ 362 h 512"/>
              <a:gd name="T14" fmla="*/ 213 w 512"/>
              <a:gd name="T15" fmla="*/ 352 h 512"/>
              <a:gd name="T16" fmla="*/ 213 w 512"/>
              <a:gd name="T17" fmla="*/ 313 h 512"/>
              <a:gd name="T18" fmla="*/ 157 w 512"/>
              <a:gd name="T19" fmla="*/ 370 h 512"/>
              <a:gd name="T20" fmla="*/ 149 w 512"/>
              <a:gd name="T21" fmla="*/ 373 h 512"/>
              <a:gd name="T22" fmla="*/ 141 w 512"/>
              <a:gd name="T23" fmla="*/ 370 h 512"/>
              <a:gd name="T24" fmla="*/ 141 w 512"/>
              <a:gd name="T25" fmla="*/ 355 h 512"/>
              <a:gd name="T26" fmla="*/ 198 w 512"/>
              <a:gd name="T27" fmla="*/ 298 h 512"/>
              <a:gd name="T28" fmla="*/ 160 w 512"/>
              <a:gd name="T29" fmla="*/ 298 h 512"/>
              <a:gd name="T30" fmla="*/ 149 w 512"/>
              <a:gd name="T31" fmla="*/ 288 h 512"/>
              <a:gd name="T32" fmla="*/ 160 w 512"/>
              <a:gd name="T33" fmla="*/ 277 h 512"/>
              <a:gd name="T34" fmla="*/ 224 w 512"/>
              <a:gd name="T35" fmla="*/ 277 h 512"/>
              <a:gd name="T36" fmla="*/ 234 w 512"/>
              <a:gd name="T37" fmla="*/ 288 h 512"/>
              <a:gd name="T38" fmla="*/ 234 w 512"/>
              <a:gd name="T39" fmla="*/ 352 h 512"/>
              <a:gd name="T40" fmla="*/ 370 w 512"/>
              <a:gd name="T41" fmla="*/ 157 h 512"/>
              <a:gd name="T42" fmla="*/ 313 w 512"/>
              <a:gd name="T43" fmla="*/ 213 h 512"/>
              <a:gd name="T44" fmla="*/ 352 w 512"/>
              <a:gd name="T45" fmla="*/ 213 h 512"/>
              <a:gd name="T46" fmla="*/ 362 w 512"/>
              <a:gd name="T47" fmla="*/ 224 h 512"/>
              <a:gd name="T48" fmla="*/ 352 w 512"/>
              <a:gd name="T49" fmla="*/ 234 h 512"/>
              <a:gd name="T50" fmla="*/ 288 w 512"/>
              <a:gd name="T51" fmla="*/ 234 h 512"/>
              <a:gd name="T52" fmla="*/ 277 w 512"/>
              <a:gd name="T53" fmla="*/ 224 h 512"/>
              <a:gd name="T54" fmla="*/ 277 w 512"/>
              <a:gd name="T55" fmla="*/ 160 h 512"/>
              <a:gd name="T56" fmla="*/ 288 w 512"/>
              <a:gd name="T57" fmla="*/ 149 h 512"/>
              <a:gd name="T58" fmla="*/ 298 w 512"/>
              <a:gd name="T59" fmla="*/ 160 h 512"/>
              <a:gd name="T60" fmla="*/ 298 w 512"/>
              <a:gd name="T61" fmla="*/ 198 h 512"/>
              <a:gd name="T62" fmla="*/ 355 w 512"/>
              <a:gd name="T63" fmla="*/ 141 h 512"/>
              <a:gd name="T64" fmla="*/ 370 w 512"/>
              <a:gd name="T65" fmla="*/ 141 h 512"/>
              <a:gd name="T66" fmla="*/ 370 w 512"/>
              <a:gd name="T67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4" y="352"/>
                </a:moveTo>
                <a:cubicBezTo>
                  <a:pt x="234" y="358"/>
                  <a:pt x="230" y="362"/>
                  <a:pt x="224" y="362"/>
                </a:cubicBezTo>
                <a:cubicBezTo>
                  <a:pt x="218" y="362"/>
                  <a:pt x="213" y="358"/>
                  <a:pt x="213" y="352"/>
                </a:cubicBezTo>
                <a:cubicBezTo>
                  <a:pt x="213" y="313"/>
                  <a:pt x="213" y="313"/>
                  <a:pt x="213" y="313"/>
                </a:cubicBezTo>
                <a:cubicBezTo>
                  <a:pt x="157" y="370"/>
                  <a:pt x="157" y="370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137" y="366"/>
                  <a:pt x="137" y="359"/>
                  <a:pt x="141" y="355"/>
                </a:cubicBezTo>
                <a:cubicBezTo>
                  <a:pt x="198" y="298"/>
                  <a:pt x="198" y="298"/>
                  <a:pt x="198" y="298"/>
                </a:cubicBezTo>
                <a:cubicBezTo>
                  <a:pt x="160" y="298"/>
                  <a:pt x="160" y="298"/>
                  <a:pt x="160" y="298"/>
                </a:cubicBezTo>
                <a:cubicBezTo>
                  <a:pt x="154" y="298"/>
                  <a:pt x="149" y="294"/>
                  <a:pt x="149" y="288"/>
                </a:cubicBezTo>
                <a:cubicBezTo>
                  <a:pt x="149" y="282"/>
                  <a:pt x="154" y="277"/>
                  <a:pt x="160" y="27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30" y="277"/>
                  <a:pt x="234" y="282"/>
                  <a:pt x="234" y="288"/>
                </a:cubicBezTo>
                <a:lnTo>
                  <a:pt x="234" y="352"/>
                </a:lnTo>
                <a:close/>
                <a:moveTo>
                  <a:pt x="370" y="157"/>
                </a:moveTo>
                <a:cubicBezTo>
                  <a:pt x="313" y="213"/>
                  <a:pt x="313" y="213"/>
                  <a:pt x="313" y="213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8" y="213"/>
                  <a:pt x="362" y="218"/>
                  <a:pt x="362" y="224"/>
                </a:cubicBezTo>
                <a:cubicBezTo>
                  <a:pt x="362" y="230"/>
                  <a:pt x="358" y="234"/>
                  <a:pt x="352" y="234"/>
                </a:cubicBezTo>
                <a:cubicBezTo>
                  <a:pt x="288" y="234"/>
                  <a:pt x="288" y="234"/>
                  <a:pt x="288" y="234"/>
                </a:cubicBezTo>
                <a:cubicBezTo>
                  <a:pt x="282" y="234"/>
                  <a:pt x="277" y="230"/>
                  <a:pt x="277" y="224"/>
                </a:cubicBezTo>
                <a:cubicBezTo>
                  <a:pt x="277" y="160"/>
                  <a:pt x="277" y="160"/>
                  <a:pt x="277" y="160"/>
                </a:cubicBezTo>
                <a:cubicBezTo>
                  <a:pt x="277" y="154"/>
                  <a:pt x="282" y="149"/>
                  <a:pt x="288" y="149"/>
                </a:cubicBezTo>
                <a:cubicBezTo>
                  <a:pt x="294" y="149"/>
                  <a:pt x="298" y="154"/>
                  <a:pt x="298" y="160"/>
                </a:cubicBezTo>
                <a:cubicBezTo>
                  <a:pt x="298" y="198"/>
                  <a:pt x="298" y="198"/>
                  <a:pt x="298" y="198"/>
                </a:cubicBezTo>
                <a:cubicBezTo>
                  <a:pt x="355" y="141"/>
                  <a:pt x="355" y="141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374" y="146"/>
                  <a:pt x="374" y="152"/>
                  <a:pt x="370" y="1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2" name="Group 199"/>
          <p:cNvGrpSpPr>
            <a:grpSpLocks noChangeAspect="1"/>
          </p:cNvGrpSpPr>
          <p:nvPr/>
        </p:nvGrpSpPr>
        <p:grpSpPr bwMode="auto">
          <a:xfrm>
            <a:off x="3914319" y="5398213"/>
            <a:ext cx="367631" cy="368713"/>
            <a:chOff x="1172" y="1056"/>
            <a:chExt cx="340" cy="341"/>
          </a:xfrm>
          <a:solidFill>
            <a:schemeClr val="accent3"/>
          </a:solidFill>
        </p:grpSpPr>
        <p:sp>
          <p:nvSpPr>
            <p:cNvPr id="373" name="Freeform 200"/>
            <p:cNvSpPr>
              <a:spLocks noEditPoints="1"/>
            </p:cNvSpPr>
            <p:nvPr/>
          </p:nvSpPr>
          <p:spPr bwMode="auto">
            <a:xfrm>
              <a:off x="1172" y="105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4" name="Freeform 201"/>
            <p:cNvSpPr>
              <a:spLocks noEditPoints="1"/>
            </p:cNvSpPr>
            <p:nvPr/>
          </p:nvSpPr>
          <p:spPr bwMode="auto">
            <a:xfrm>
              <a:off x="1263" y="1147"/>
              <a:ext cx="157" cy="157"/>
            </a:xfrm>
            <a:custGeom>
              <a:avLst/>
              <a:gdLst>
                <a:gd name="T0" fmla="*/ 233 w 237"/>
                <a:gd name="T1" fmla="*/ 20 h 236"/>
                <a:gd name="T2" fmla="*/ 176 w 237"/>
                <a:gd name="T3" fmla="*/ 76 h 236"/>
                <a:gd name="T4" fmla="*/ 215 w 237"/>
                <a:gd name="T5" fmla="*/ 76 h 236"/>
                <a:gd name="T6" fmla="*/ 225 w 237"/>
                <a:gd name="T7" fmla="*/ 87 h 236"/>
                <a:gd name="T8" fmla="*/ 215 w 237"/>
                <a:gd name="T9" fmla="*/ 97 h 236"/>
                <a:gd name="T10" fmla="*/ 151 w 237"/>
                <a:gd name="T11" fmla="*/ 97 h 236"/>
                <a:gd name="T12" fmla="*/ 140 w 237"/>
                <a:gd name="T13" fmla="*/ 87 h 236"/>
                <a:gd name="T14" fmla="*/ 140 w 237"/>
                <a:gd name="T15" fmla="*/ 23 h 236"/>
                <a:gd name="T16" fmla="*/ 151 w 237"/>
                <a:gd name="T17" fmla="*/ 12 h 236"/>
                <a:gd name="T18" fmla="*/ 161 w 237"/>
                <a:gd name="T19" fmla="*/ 23 h 236"/>
                <a:gd name="T20" fmla="*/ 161 w 237"/>
                <a:gd name="T21" fmla="*/ 61 h 236"/>
                <a:gd name="T22" fmla="*/ 218 w 237"/>
                <a:gd name="T23" fmla="*/ 4 h 236"/>
                <a:gd name="T24" fmla="*/ 233 w 237"/>
                <a:gd name="T25" fmla="*/ 4 h 236"/>
                <a:gd name="T26" fmla="*/ 233 w 237"/>
                <a:gd name="T27" fmla="*/ 20 h 236"/>
                <a:gd name="T28" fmla="*/ 87 w 237"/>
                <a:gd name="T29" fmla="*/ 140 h 236"/>
                <a:gd name="T30" fmla="*/ 23 w 237"/>
                <a:gd name="T31" fmla="*/ 140 h 236"/>
                <a:gd name="T32" fmla="*/ 12 w 237"/>
                <a:gd name="T33" fmla="*/ 151 h 236"/>
                <a:gd name="T34" fmla="*/ 23 w 237"/>
                <a:gd name="T35" fmla="*/ 161 h 236"/>
                <a:gd name="T36" fmla="*/ 61 w 237"/>
                <a:gd name="T37" fmla="*/ 161 h 236"/>
                <a:gd name="T38" fmla="*/ 4 w 237"/>
                <a:gd name="T39" fmla="*/ 218 h 236"/>
                <a:gd name="T40" fmla="*/ 4 w 237"/>
                <a:gd name="T41" fmla="*/ 233 h 236"/>
                <a:gd name="T42" fmla="*/ 12 w 237"/>
                <a:gd name="T43" fmla="*/ 236 h 236"/>
                <a:gd name="T44" fmla="*/ 20 w 237"/>
                <a:gd name="T45" fmla="*/ 233 h 236"/>
                <a:gd name="T46" fmla="*/ 76 w 237"/>
                <a:gd name="T47" fmla="*/ 176 h 236"/>
                <a:gd name="T48" fmla="*/ 76 w 237"/>
                <a:gd name="T49" fmla="*/ 215 h 236"/>
                <a:gd name="T50" fmla="*/ 87 w 237"/>
                <a:gd name="T51" fmla="*/ 225 h 236"/>
                <a:gd name="T52" fmla="*/ 97 w 237"/>
                <a:gd name="T53" fmla="*/ 215 h 236"/>
                <a:gd name="T54" fmla="*/ 97 w 237"/>
                <a:gd name="T55" fmla="*/ 151 h 236"/>
                <a:gd name="T56" fmla="*/ 87 w 237"/>
                <a:gd name="T57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7" h="236">
                  <a:moveTo>
                    <a:pt x="233" y="20"/>
                  </a:moveTo>
                  <a:cubicBezTo>
                    <a:pt x="176" y="76"/>
                    <a:pt x="176" y="76"/>
                    <a:pt x="176" y="76"/>
                  </a:cubicBezTo>
                  <a:cubicBezTo>
                    <a:pt x="215" y="76"/>
                    <a:pt x="215" y="76"/>
                    <a:pt x="215" y="76"/>
                  </a:cubicBezTo>
                  <a:cubicBezTo>
                    <a:pt x="221" y="76"/>
                    <a:pt x="225" y="81"/>
                    <a:pt x="225" y="87"/>
                  </a:cubicBezTo>
                  <a:cubicBezTo>
                    <a:pt x="225" y="93"/>
                    <a:pt x="221" y="97"/>
                    <a:pt x="215" y="97"/>
                  </a:cubicBezTo>
                  <a:cubicBezTo>
                    <a:pt x="151" y="97"/>
                    <a:pt x="151" y="97"/>
                    <a:pt x="151" y="97"/>
                  </a:cubicBezTo>
                  <a:cubicBezTo>
                    <a:pt x="145" y="97"/>
                    <a:pt x="140" y="93"/>
                    <a:pt x="140" y="87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17"/>
                    <a:pt x="145" y="12"/>
                    <a:pt x="151" y="12"/>
                  </a:cubicBezTo>
                  <a:cubicBezTo>
                    <a:pt x="157" y="12"/>
                    <a:pt x="161" y="17"/>
                    <a:pt x="161" y="23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22" y="0"/>
                    <a:pt x="229" y="0"/>
                    <a:pt x="233" y="4"/>
                  </a:cubicBezTo>
                  <a:cubicBezTo>
                    <a:pt x="237" y="9"/>
                    <a:pt x="237" y="15"/>
                    <a:pt x="233" y="20"/>
                  </a:cubicBezTo>
                  <a:close/>
                  <a:moveTo>
                    <a:pt x="87" y="140"/>
                  </a:moveTo>
                  <a:cubicBezTo>
                    <a:pt x="23" y="140"/>
                    <a:pt x="23" y="140"/>
                    <a:pt x="23" y="140"/>
                  </a:cubicBezTo>
                  <a:cubicBezTo>
                    <a:pt x="17" y="140"/>
                    <a:pt x="12" y="145"/>
                    <a:pt x="12" y="151"/>
                  </a:cubicBezTo>
                  <a:cubicBezTo>
                    <a:pt x="12" y="157"/>
                    <a:pt x="17" y="161"/>
                    <a:pt x="23" y="161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0" y="222"/>
                    <a:pt x="0" y="229"/>
                    <a:pt x="4" y="233"/>
                  </a:cubicBezTo>
                  <a:cubicBezTo>
                    <a:pt x="7" y="235"/>
                    <a:pt x="9" y="236"/>
                    <a:pt x="12" y="236"/>
                  </a:cubicBezTo>
                  <a:cubicBezTo>
                    <a:pt x="15" y="236"/>
                    <a:pt x="17" y="235"/>
                    <a:pt x="20" y="233"/>
                  </a:cubicBezTo>
                  <a:cubicBezTo>
                    <a:pt x="76" y="176"/>
                    <a:pt x="76" y="176"/>
                    <a:pt x="76" y="176"/>
                  </a:cubicBezTo>
                  <a:cubicBezTo>
                    <a:pt x="76" y="215"/>
                    <a:pt x="76" y="215"/>
                    <a:pt x="76" y="215"/>
                  </a:cubicBezTo>
                  <a:cubicBezTo>
                    <a:pt x="76" y="221"/>
                    <a:pt x="81" y="225"/>
                    <a:pt x="87" y="225"/>
                  </a:cubicBezTo>
                  <a:cubicBezTo>
                    <a:pt x="93" y="225"/>
                    <a:pt x="97" y="221"/>
                    <a:pt x="97" y="215"/>
                  </a:cubicBezTo>
                  <a:cubicBezTo>
                    <a:pt x="97" y="151"/>
                    <a:pt x="97" y="151"/>
                    <a:pt x="97" y="151"/>
                  </a:cubicBezTo>
                  <a:cubicBezTo>
                    <a:pt x="97" y="145"/>
                    <a:pt x="93" y="140"/>
                    <a:pt x="8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5" name="Freeform 205"/>
          <p:cNvSpPr>
            <a:spLocks noChangeAspect="1" noEditPoints="1"/>
          </p:cNvSpPr>
          <p:nvPr/>
        </p:nvSpPr>
        <p:spPr bwMode="auto">
          <a:xfrm>
            <a:off x="4410737" y="5398214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4 w 512"/>
              <a:gd name="T5" fmla="*/ 341 h 512"/>
              <a:gd name="T6" fmla="*/ 213 w 512"/>
              <a:gd name="T7" fmla="*/ 341 h 512"/>
              <a:gd name="T8" fmla="*/ 157 w 512"/>
              <a:gd name="T9" fmla="*/ 370 h 512"/>
              <a:gd name="T10" fmla="*/ 141 w 512"/>
              <a:gd name="T11" fmla="*/ 370 h 512"/>
              <a:gd name="T12" fmla="*/ 198 w 512"/>
              <a:gd name="T13" fmla="*/ 298 h 512"/>
              <a:gd name="T14" fmla="*/ 160 w 512"/>
              <a:gd name="T15" fmla="*/ 288 h 512"/>
              <a:gd name="T16" fmla="*/ 224 w 512"/>
              <a:gd name="T17" fmla="*/ 277 h 512"/>
              <a:gd name="T18" fmla="*/ 234 w 512"/>
              <a:gd name="T19" fmla="*/ 288 h 512"/>
              <a:gd name="T20" fmla="*/ 234 w 512"/>
              <a:gd name="T21" fmla="*/ 341 h 512"/>
              <a:gd name="T22" fmla="*/ 228 w 512"/>
              <a:gd name="T23" fmla="*/ 234 h 512"/>
              <a:gd name="T24" fmla="*/ 170 w 512"/>
              <a:gd name="T25" fmla="*/ 234 h 512"/>
              <a:gd name="T26" fmla="*/ 170 w 512"/>
              <a:gd name="T27" fmla="*/ 213 h 512"/>
              <a:gd name="T28" fmla="*/ 141 w 512"/>
              <a:gd name="T29" fmla="*/ 157 h 512"/>
              <a:gd name="T30" fmla="*/ 157 w 512"/>
              <a:gd name="T31" fmla="*/ 141 h 512"/>
              <a:gd name="T32" fmla="*/ 213 w 512"/>
              <a:gd name="T33" fmla="*/ 170 h 512"/>
              <a:gd name="T34" fmla="*/ 234 w 512"/>
              <a:gd name="T35" fmla="*/ 170 h 512"/>
              <a:gd name="T36" fmla="*/ 370 w 512"/>
              <a:gd name="T37" fmla="*/ 370 h 512"/>
              <a:gd name="T38" fmla="*/ 355 w 512"/>
              <a:gd name="T39" fmla="*/ 370 h 512"/>
              <a:gd name="T40" fmla="*/ 298 w 512"/>
              <a:gd name="T41" fmla="*/ 341 h 512"/>
              <a:gd name="T42" fmla="*/ 277 w 512"/>
              <a:gd name="T43" fmla="*/ 341 h 512"/>
              <a:gd name="T44" fmla="*/ 277 w 512"/>
              <a:gd name="T45" fmla="*/ 288 h 512"/>
              <a:gd name="T46" fmla="*/ 288 w 512"/>
              <a:gd name="T47" fmla="*/ 277 h 512"/>
              <a:gd name="T48" fmla="*/ 352 w 512"/>
              <a:gd name="T49" fmla="*/ 288 h 512"/>
              <a:gd name="T50" fmla="*/ 313 w 512"/>
              <a:gd name="T51" fmla="*/ 298 h 512"/>
              <a:gd name="T52" fmla="*/ 370 w 512"/>
              <a:gd name="T53" fmla="*/ 370 h 512"/>
              <a:gd name="T54" fmla="*/ 313 w 512"/>
              <a:gd name="T55" fmla="*/ 213 h 512"/>
              <a:gd name="T56" fmla="*/ 352 w 512"/>
              <a:gd name="T57" fmla="*/ 224 h 512"/>
              <a:gd name="T58" fmla="*/ 288 w 512"/>
              <a:gd name="T59" fmla="*/ 234 h 512"/>
              <a:gd name="T60" fmla="*/ 277 w 512"/>
              <a:gd name="T61" fmla="*/ 224 h 512"/>
              <a:gd name="T62" fmla="*/ 288 w 512"/>
              <a:gd name="T63" fmla="*/ 160 h 512"/>
              <a:gd name="T64" fmla="*/ 298 w 512"/>
              <a:gd name="T65" fmla="*/ 198 h 512"/>
              <a:gd name="T66" fmla="*/ 370 w 512"/>
              <a:gd name="T67" fmla="*/ 1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4" y="341"/>
                </a:moveTo>
                <a:cubicBezTo>
                  <a:pt x="234" y="347"/>
                  <a:pt x="230" y="352"/>
                  <a:pt x="224" y="352"/>
                </a:cubicBezTo>
                <a:cubicBezTo>
                  <a:pt x="218" y="352"/>
                  <a:pt x="213" y="347"/>
                  <a:pt x="213" y="341"/>
                </a:cubicBezTo>
                <a:cubicBezTo>
                  <a:pt x="213" y="313"/>
                  <a:pt x="213" y="313"/>
                  <a:pt x="213" y="313"/>
                </a:cubicBezTo>
                <a:cubicBezTo>
                  <a:pt x="157" y="370"/>
                  <a:pt x="157" y="370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137" y="366"/>
                  <a:pt x="137" y="359"/>
                  <a:pt x="141" y="355"/>
                </a:cubicBezTo>
                <a:cubicBezTo>
                  <a:pt x="198" y="298"/>
                  <a:pt x="198" y="298"/>
                  <a:pt x="198" y="298"/>
                </a:cubicBezTo>
                <a:cubicBezTo>
                  <a:pt x="170" y="298"/>
                  <a:pt x="170" y="298"/>
                  <a:pt x="170" y="298"/>
                </a:cubicBezTo>
                <a:cubicBezTo>
                  <a:pt x="164" y="298"/>
                  <a:pt x="160" y="294"/>
                  <a:pt x="160" y="288"/>
                </a:cubicBezTo>
                <a:cubicBezTo>
                  <a:pt x="160" y="282"/>
                  <a:pt x="164" y="277"/>
                  <a:pt x="170" y="27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8" y="277"/>
                  <a:pt x="232" y="280"/>
                  <a:pt x="234" y="284"/>
                </a:cubicBezTo>
                <a:cubicBezTo>
                  <a:pt x="234" y="285"/>
                  <a:pt x="234" y="286"/>
                  <a:pt x="234" y="288"/>
                </a:cubicBezTo>
                <a:cubicBezTo>
                  <a:pt x="234" y="288"/>
                  <a:pt x="234" y="288"/>
                  <a:pt x="234" y="288"/>
                </a:cubicBezTo>
                <a:lnTo>
                  <a:pt x="234" y="341"/>
                </a:lnTo>
                <a:close/>
                <a:moveTo>
                  <a:pt x="234" y="224"/>
                </a:moveTo>
                <a:cubicBezTo>
                  <a:pt x="234" y="228"/>
                  <a:pt x="232" y="232"/>
                  <a:pt x="228" y="234"/>
                </a:cubicBezTo>
                <a:cubicBezTo>
                  <a:pt x="226" y="234"/>
                  <a:pt x="225" y="234"/>
                  <a:pt x="224" y="234"/>
                </a:cubicBezTo>
                <a:cubicBezTo>
                  <a:pt x="170" y="234"/>
                  <a:pt x="170" y="234"/>
                  <a:pt x="170" y="234"/>
                </a:cubicBezTo>
                <a:cubicBezTo>
                  <a:pt x="164" y="234"/>
                  <a:pt x="160" y="230"/>
                  <a:pt x="160" y="224"/>
                </a:cubicBezTo>
                <a:cubicBezTo>
                  <a:pt x="160" y="218"/>
                  <a:pt x="164" y="213"/>
                  <a:pt x="170" y="213"/>
                </a:cubicBezTo>
                <a:cubicBezTo>
                  <a:pt x="198" y="213"/>
                  <a:pt x="198" y="213"/>
                  <a:pt x="198" y="213"/>
                </a:cubicBezTo>
                <a:cubicBezTo>
                  <a:pt x="141" y="157"/>
                  <a:pt x="141" y="157"/>
                  <a:pt x="141" y="157"/>
                </a:cubicBezTo>
                <a:cubicBezTo>
                  <a:pt x="137" y="152"/>
                  <a:pt x="137" y="146"/>
                  <a:pt x="141" y="141"/>
                </a:cubicBezTo>
                <a:cubicBezTo>
                  <a:pt x="146" y="137"/>
                  <a:pt x="152" y="137"/>
                  <a:pt x="157" y="141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13" y="170"/>
                  <a:pt x="213" y="170"/>
                  <a:pt x="213" y="170"/>
                </a:cubicBezTo>
                <a:cubicBezTo>
                  <a:pt x="213" y="164"/>
                  <a:pt x="218" y="160"/>
                  <a:pt x="224" y="160"/>
                </a:cubicBezTo>
                <a:cubicBezTo>
                  <a:pt x="230" y="160"/>
                  <a:pt x="234" y="164"/>
                  <a:pt x="234" y="170"/>
                </a:cubicBezTo>
                <a:lnTo>
                  <a:pt x="234" y="224"/>
                </a:lnTo>
                <a:close/>
                <a:moveTo>
                  <a:pt x="370" y="370"/>
                </a:moveTo>
                <a:cubicBezTo>
                  <a:pt x="368" y="372"/>
                  <a:pt x="365" y="373"/>
                  <a:pt x="362" y="373"/>
                </a:cubicBezTo>
                <a:cubicBezTo>
                  <a:pt x="360" y="373"/>
                  <a:pt x="357" y="372"/>
                  <a:pt x="355" y="370"/>
                </a:cubicBezTo>
                <a:cubicBezTo>
                  <a:pt x="298" y="313"/>
                  <a:pt x="298" y="313"/>
                  <a:pt x="298" y="313"/>
                </a:cubicBezTo>
                <a:cubicBezTo>
                  <a:pt x="298" y="341"/>
                  <a:pt x="298" y="341"/>
                  <a:pt x="298" y="341"/>
                </a:cubicBezTo>
                <a:cubicBezTo>
                  <a:pt x="298" y="347"/>
                  <a:pt x="294" y="352"/>
                  <a:pt x="288" y="352"/>
                </a:cubicBezTo>
                <a:cubicBezTo>
                  <a:pt x="282" y="352"/>
                  <a:pt x="277" y="347"/>
                  <a:pt x="277" y="341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6"/>
                  <a:pt x="277" y="285"/>
                  <a:pt x="278" y="284"/>
                </a:cubicBezTo>
                <a:cubicBezTo>
                  <a:pt x="279" y="280"/>
                  <a:pt x="283" y="277"/>
                  <a:pt x="288" y="277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34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ubicBezTo>
                  <a:pt x="313" y="298"/>
                  <a:pt x="313" y="298"/>
                  <a:pt x="313" y="298"/>
                </a:cubicBezTo>
                <a:cubicBezTo>
                  <a:pt x="370" y="355"/>
                  <a:pt x="370" y="355"/>
                  <a:pt x="370" y="355"/>
                </a:cubicBezTo>
                <a:cubicBezTo>
                  <a:pt x="374" y="359"/>
                  <a:pt x="374" y="366"/>
                  <a:pt x="370" y="370"/>
                </a:cubicBezTo>
                <a:close/>
                <a:moveTo>
                  <a:pt x="370" y="157"/>
                </a:moveTo>
                <a:cubicBezTo>
                  <a:pt x="313" y="213"/>
                  <a:pt x="313" y="213"/>
                  <a:pt x="313" y="213"/>
                </a:cubicBezTo>
                <a:cubicBezTo>
                  <a:pt x="341" y="213"/>
                  <a:pt x="341" y="213"/>
                  <a:pt x="341" y="213"/>
                </a:cubicBezTo>
                <a:cubicBezTo>
                  <a:pt x="347" y="213"/>
                  <a:pt x="352" y="218"/>
                  <a:pt x="352" y="224"/>
                </a:cubicBezTo>
                <a:cubicBezTo>
                  <a:pt x="352" y="230"/>
                  <a:pt x="347" y="234"/>
                  <a:pt x="341" y="234"/>
                </a:cubicBezTo>
                <a:cubicBezTo>
                  <a:pt x="288" y="234"/>
                  <a:pt x="288" y="234"/>
                  <a:pt x="288" y="234"/>
                </a:cubicBezTo>
                <a:cubicBezTo>
                  <a:pt x="286" y="234"/>
                  <a:pt x="285" y="234"/>
                  <a:pt x="284" y="234"/>
                </a:cubicBezTo>
                <a:cubicBezTo>
                  <a:pt x="280" y="232"/>
                  <a:pt x="277" y="228"/>
                  <a:pt x="277" y="224"/>
                </a:cubicBezTo>
                <a:cubicBezTo>
                  <a:pt x="277" y="170"/>
                  <a:pt x="277" y="170"/>
                  <a:pt x="277" y="170"/>
                </a:cubicBezTo>
                <a:cubicBezTo>
                  <a:pt x="277" y="164"/>
                  <a:pt x="282" y="160"/>
                  <a:pt x="288" y="160"/>
                </a:cubicBezTo>
                <a:cubicBezTo>
                  <a:pt x="294" y="160"/>
                  <a:pt x="298" y="164"/>
                  <a:pt x="298" y="170"/>
                </a:cubicBezTo>
                <a:cubicBezTo>
                  <a:pt x="298" y="198"/>
                  <a:pt x="298" y="198"/>
                  <a:pt x="298" y="198"/>
                </a:cubicBezTo>
                <a:cubicBezTo>
                  <a:pt x="355" y="141"/>
                  <a:pt x="355" y="141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374" y="146"/>
                  <a:pt x="374" y="152"/>
                  <a:pt x="370" y="1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6" name="Group 208"/>
          <p:cNvGrpSpPr>
            <a:grpSpLocks noChangeAspect="1"/>
          </p:cNvGrpSpPr>
          <p:nvPr/>
        </p:nvGrpSpPr>
        <p:grpSpPr bwMode="auto">
          <a:xfrm>
            <a:off x="4907155" y="5398214"/>
            <a:ext cx="368713" cy="367631"/>
            <a:chOff x="1818" y="1193"/>
            <a:chExt cx="341" cy="340"/>
          </a:xfrm>
          <a:solidFill>
            <a:schemeClr val="accent3"/>
          </a:solidFill>
        </p:grpSpPr>
        <p:sp>
          <p:nvSpPr>
            <p:cNvPr id="377" name="Freeform 209"/>
            <p:cNvSpPr>
              <a:spLocks noEditPoints="1"/>
            </p:cNvSpPr>
            <p:nvPr/>
          </p:nvSpPr>
          <p:spPr bwMode="auto">
            <a:xfrm>
              <a:off x="1909" y="1284"/>
              <a:ext cx="158" cy="157"/>
            </a:xfrm>
            <a:custGeom>
              <a:avLst/>
              <a:gdLst>
                <a:gd name="T0" fmla="*/ 140 w 237"/>
                <a:gd name="T1" fmla="*/ 33 h 236"/>
                <a:gd name="T2" fmla="*/ 161 w 237"/>
                <a:gd name="T3" fmla="*/ 33 h 236"/>
                <a:gd name="T4" fmla="*/ 218 w 237"/>
                <a:gd name="T5" fmla="*/ 4 h 236"/>
                <a:gd name="T6" fmla="*/ 233 w 237"/>
                <a:gd name="T7" fmla="*/ 20 h 236"/>
                <a:gd name="T8" fmla="*/ 204 w 237"/>
                <a:gd name="T9" fmla="*/ 76 h 236"/>
                <a:gd name="T10" fmla="*/ 204 w 237"/>
                <a:gd name="T11" fmla="*/ 97 h 236"/>
                <a:gd name="T12" fmla="*/ 147 w 237"/>
                <a:gd name="T13" fmla="*/ 97 h 236"/>
                <a:gd name="T14" fmla="*/ 97 w 237"/>
                <a:gd name="T15" fmla="*/ 147 h 236"/>
                <a:gd name="T16" fmla="*/ 33 w 237"/>
                <a:gd name="T17" fmla="*/ 140 h 236"/>
                <a:gd name="T18" fmla="*/ 33 w 237"/>
                <a:gd name="T19" fmla="*/ 161 h 236"/>
                <a:gd name="T20" fmla="*/ 4 w 237"/>
                <a:gd name="T21" fmla="*/ 218 h 236"/>
                <a:gd name="T22" fmla="*/ 12 w 237"/>
                <a:gd name="T23" fmla="*/ 236 h 236"/>
                <a:gd name="T24" fmla="*/ 76 w 237"/>
                <a:gd name="T25" fmla="*/ 176 h 236"/>
                <a:gd name="T26" fmla="*/ 87 w 237"/>
                <a:gd name="T27" fmla="*/ 215 h 236"/>
                <a:gd name="T28" fmla="*/ 97 w 237"/>
                <a:gd name="T29" fmla="*/ 151 h 236"/>
                <a:gd name="T30" fmla="*/ 97 w 237"/>
                <a:gd name="T31" fmla="*/ 147 h 236"/>
                <a:gd name="T32" fmla="*/ 204 w 237"/>
                <a:gd name="T33" fmla="*/ 161 h 236"/>
                <a:gd name="T34" fmla="*/ 204 w 237"/>
                <a:gd name="T35" fmla="*/ 140 h 236"/>
                <a:gd name="T36" fmla="*/ 141 w 237"/>
                <a:gd name="T37" fmla="*/ 147 h 236"/>
                <a:gd name="T38" fmla="*/ 140 w 237"/>
                <a:gd name="T39" fmla="*/ 151 h 236"/>
                <a:gd name="T40" fmla="*/ 151 w 237"/>
                <a:gd name="T41" fmla="*/ 215 h 236"/>
                <a:gd name="T42" fmla="*/ 161 w 237"/>
                <a:gd name="T43" fmla="*/ 176 h 236"/>
                <a:gd name="T44" fmla="*/ 225 w 237"/>
                <a:gd name="T45" fmla="*/ 236 h 236"/>
                <a:gd name="T46" fmla="*/ 233 w 237"/>
                <a:gd name="T47" fmla="*/ 218 h 236"/>
                <a:gd name="T48" fmla="*/ 87 w 237"/>
                <a:gd name="T49" fmla="*/ 23 h 236"/>
                <a:gd name="T50" fmla="*/ 76 w 237"/>
                <a:gd name="T51" fmla="*/ 61 h 236"/>
                <a:gd name="T52" fmla="*/ 4 w 237"/>
                <a:gd name="T53" fmla="*/ 4 h 236"/>
                <a:gd name="T54" fmla="*/ 61 w 237"/>
                <a:gd name="T55" fmla="*/ 76 h 236"/>
                <a:gd name="T56" fmla="*/ 23 w 237"/>
                <a:gd name="T57" fmla="*/ 87 h 236"/>
                <a:gd name="T58" fmla="*/ 87 w 237"/>
                <a:gd name="T59" fmla="*/ 97 h 236"/>
                <a:gd name="T60" fmla="*/ 97 w 237"/>
                <a:gd name="T61" fmla="*/ 87 h 236"/>
                <a:gd name="T62" fmla="*/ 87 w 237"/>
                <a:gd name="T63" fmla="*/ 2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7" h="236">
                  <a:moveTo>
                    <a:pt x="140" y="87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7"/>
                    <a:pt x="145" y="23"/>
                    <a:pt x="151" y="23"/>
                  </a:cubicBezTo>
                  <a:cubicBezTo>
                    <a:pt x="157" y="23"/>
                    <a:pt x="161" y="27"/>
                    <a:pt x="161" y="33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22" y="0"/>
                    <a:pt x="229" y="0"/>
                    <a:pt x="233" y="4"/>
                  </a:cubicBezTo>
                  <a:cubicBezTo>
                    <a:pt x="237" y="9"/>
                    <a:pt x="237" y="15"/>
                    <a:pt x="233" y="20"/>
                  </a:cubicBezTo>
                  <a:cubicBezTo>
                    <a:pt x="176" y="76"/>
                    <a:pt x="176" y="76"/>
                    <a:pt x="176" y="76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10" y="76"/>
                    <a:pt x="215" y="81"/>
                    <a:pt x="215" y="87"/>
                  </a:cubicBezTo>
                  <a:cubicBezTo>
                    <a:pt x="215" y="93"/>
                    <a:pt x="210" y="97"/>
                    <a:pt x="204" y="97"/>
                  </a:cubicBezTo>
                  <a:cubicBezTo>
                    <a:pt x="151" y="97"/>
                    <a:pt x="151" y="97"/>
                    <a:pt x="151" y="97"/>
                  </a:cubicBezTo>
                  <a:cubicBezTo>
                    <a:pt x="149" y="97"/>
                    <a:pt x="148" y="97"/>
                    <a:pt x="147" y="97"/>
                  </a:cubicBezTo>
                  <a:cubicBezTo>
                    <a:pt x="143" y="95"/>
                    <a:pt x="140" y="91"/>
                    <a:pt x="140" y="87"/>
                  </a:cubicBezTo>
                  <a:close/>
                  <a:moveTo>
                    <a:pt x="97" y="147"/>
                  </a:moveTo>
                  <a:cubicBezTo>
                    <a:pt x="95" y="143"/>
                    <a:pt x="91" y="140"/>
                    <a:pt x="87" y="140"/>
                  </a:cubicBezTo>
                  <a:cubicBezTo>
                    <a:pt x="33" y="140"/>
                    <a:pt x="33" y="140"/>
                    <a:pt x="33" y="140"/>
                  </a:cubicBezTo>
                  <a:cubicBezTo>
                    <a:pt x="27" y="140"/>
                    <a:pt x="23" y="145"/>
                    <a:pt x="23" y="151"/>
                  </a:cubicBezTo>
                  <a:cubicBezTo>
                    <a:pt x="23" y="157"/>
                    <a:pt x="27" y="161"/>
                    <a:pt x="33" y="161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0" y="222"/>
                    <a:pt x="0" y="229"/>
                    <a:pt x="4" y="233"/>
                  </a:cubicBezTo>
                  <a:cubicBezTo>
                    <a:pt x="7" y="235"/>
                    <a:pt x="9" y="236"/>
                    <a:pt x="12" y="236"/>
                  </a:cubicBezTo>
                  <a:cubicBezTo>
                    <a:pt x="15" y="236"/>
                    <a:pt x="17" y="235"/>
                    <a:pt x="20" y="233"/>
                  </a:cubicBezTo>
                  <a:cubicBezTo>
                    <a:pt x="76" y="176"/>
                    <a:pt x="76" y="176"/>
                    <a:pt x="76" y="176"/>
                  </a:cubicBezTo>
                  <a:cubicBezTo>
                    <a:pt x="76" y="204"/>
                    <a:pt x="76" y="204"/>
                    <a:pt x="76" y="204"/>
                  </a:cubicBezTo>
                  <a:cubicBezTo>
                    <a:pt x="76" y="210"/>
                    <a:pt x="81" y="215"/>
                    <a:pt x="87" y="215"/>
                  </a:cubicBezTo>
                  <a:cubicBezTo>
                    <a:pt x="93" y="215"/>
                    <a:pt x="97" y="210"/>
                    <a:pt x="97" y="204"/>
                  </a:cubicBezTo>
                  <a:cubicBezTo>
                    <a:pt x="97" y="151"/>
                    <a:pt x="97" y="151"/>
                    <a:pt x="97" y="151"/>
                  </a:cubicBezTo>
                  <a:cubicBezTo>
                    <a:pt x="97" y="151"/>
                    <a:pt x="97" y="151"/>
                    <a:pt x="97" y="151"/>
                  </a:cubicBezTo>
                  <a:cubicBezTo>
                    <a:pt x="97" y="149"/>
                    <a:pt x="97" y="148"/>
                    <a:pt x="97" y="147"/>
                  </a:cubicBezTo>
                  <a:close/>
                  <a:moveTo>
                    <a:pt x="176" y="161"/>
                  </a:moveTo>
                  <a:cubicBezTo>
                    <a:pt x="204" y="161"/>
                    <a:pt x="204" y="161"/>
                    <a:pt x="204" y="161"/>
                  </a:cubicBezTo>
                  <a:cubicBezTo>
                    <a:pt x="210" y="161"/>
                    <a:pt x="215" y="157"/>
                    <a:pt x="215" y="151"/>
                  </a:cubicBezTo>
                  <a:cubicBezTo>
                    <a:pt x="215" y="145"/>
                    <a:pt x="210" y="140"/>
                    <a:pt x="204" y="140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46" y="140"/>
                    <a:pt x="142" y="143"/>
                    <a:pt x="141" y="147"/>
                  </a:cubicBezTo>
                  <a:cubicBezTo>
                    <a:pt x="140" y="148"/>
                    <a:pt x="140" y="149"/>
                    <a:pt x="140" y="151"/>
                  </a:cubicBezTo>
                  <a:cubicBezTo>
                    <a:pt x="140" y="151"/>
                    <a:pt x="140" y="151"/>
                    <a:pt x="140" y="151"/>
                  </a:cubicBezTo>
                  <a:cubicBezTo>
                    <a:pt x="140" y="204"/>
                    <a:pt x="140" y="204"/>
                    <a:pt x="140" y="204"/>
                  </a:cubicBezTo>
                  <a:cubicBezTo>
                    <a:pt x="140" y="210"/>
                    <a:pt x="145" y="215"/>
                    <a:pt x="151" y="215"/>
                  </a:cubicBezTo>
                  <a:cubicBezTo>
                    <a:pt x="157" y="215"/>
                    <a:pt x="161" y="210"/>
                    <a:pt x="161" y="204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218" y="233"/>
                    <a:pt x="218" y="233"/>
                    <a:pt x="218" y="233"/>
                  </a:cubicBezTo>
                  <a:cubicBezTo>
                    <a:pt x="220" y="235"/>
                    <a:pt x="223" y="236"/>
                    <a:pt x="225" y="236"/>
                  </a:cubicBezTo>
                  <a:cubicBezTo>
                    <a:pt x="228" y="236"/>
                    <a:pt x="231" y="235"/>
                    <a:pt x="233" y="233"/>
                  </a:cubicBezTo>
                  <a:cubicBezTo>
                    <a:pt x="237" y="229"/>
                    <a:pt x="237" y="222"/>
                    <a:pt x="233" y="218"/>
                  </a:cubicBezTo>
                  <a:lnTo>
                    <a:pt x="176" y="161"/>
                  </a:lnTo>
                  <a:close/>
                  <a:moveTo>
                    <a:pt x="87" y="23"/>
                  </a:moveTo>
                  <a:cubicBezTo>
                    <a:pt x="81" y="23"/>
                    <a:pt x="76" y="27"/>
                    <a:pt x="76" y="33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5" y="0"/>
                    <a:pt x="9" y="0"/>
                    <a:pt x="4" y="4"/>
                  </a:cubicBezTo>
                  <a:cubicBezTo>
                    <a:pt x="0" y="9"/>
                    <a:pt x="0" y="15"/>
                    <a:pt x="4" y="20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27" y="76"/>
                    <a:pt x="23" y="81"/>
                    <a:pt x="23" y="87"/>
                  </a:cubicBezTo>
                  <a:cubicBezTo>
                    <a:pt x="23" y="93"/>
                    <a:pt x="27" y="97"/>
                    <a:pt x="33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8" y="97"/>
                    <a:pt x="89" y="97"/>
                    <a:pt x="91" y="97"/>
                  </a:cubicBezTo>
                  <a:cubicBezTo>
                    <a:pt x="95" y="95"/>
                    <a:pt x="97" y="91"/>
                    <a:pt x="97" y="87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27"/>
                    <a:pt x="93" y="23"/>
                    <a:pt x="87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8" name="Freeform 210"/>
            <p:cNvSpPr>
              <a:spLocks noEditPoints="1"/>
            </p:cNvSpPr>
            <p:nvPr/>
          </p:nvSpPr>
          <p:spPr bwMode="auto">
            <a:xfrm>
              <a:off x="1818" y="119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9" name="Group 948"/>
          <p:cNvGrpSpPr>
            <a:grpSpLocks noChangeAspect="1"/>
          </p:cNvGrpSpPr>
          <p:nvPr/>
        </p:nvGrpSpPr>
        <p:grpSpPr bwMode="auto">
          <a:xfrm>
            <a:off x="8886159" y="4540474"/>
            <a:ext cx="369021" cy="369021"/>
            <a:chOff x="7353" y="3999"/>
            <a:chExt cx="340" cy="340"/>
          </a:xfrm>
          <a:solidFill>
            <a:schemeClr val="accent5"/>
          </a:solidFill>
        </p:grpSpPr>
        <p:sp>
          <p:nvSpPr>
            <p:cNvPr id="380" name="Freeform 949"/>
            <p:cNvSpPr>
              <a:spLocks/>
            </p:cNvSpPr>
            <p:nvPr/>
          </p:nvSpPr>
          <p:spPr bwMode="auto">
            <a:xfrm>
              <a:off x="7445" y="4148"/>
              <a:ext cx="99" cy="99"/>
            </a:xfrm>
            <a:custGeom>
              <a:avLst/>
              <a:gdLst>
                <a:gd name="T0" fmla="*/ 139 w 150"/>
                <a:gd name="T1" fmla="*/ 128 h 149"/>
                <a:gd name="T2" fmla="*/ 22 w 150"/>
                <a:gd name="T3" fmla="*/ 128 h 149"/>
                <a:gd name="T4" fmla="*/ 22 w 150"/>
                <a:gd name="T5" fmla="*/ 10 h 149"/>
                <a:gd name="T6" fmla="*/ 11 w 150"/>
                <a:gd name="T7" fmla="*/ 0 h 149"/>
                <a:gd name="T8" fmla="*/ 0 w 150"/>
                <a:gd name="T9" fmla="*/ 10 h 149"/>
                <a:gd name="T10" fmla="*/ 0 w 150"/>
                <a:gd name="T11" fmla="*/ 138 h 149"/>
                <a:gd name="T12" fmla="*/ 11 w 150"/>
                <a:gd name="T13" fmla="*/ 149 h 149"/>
                <a:gd name="T14" fmla="*/ 139 w 150"/>
                <a:gd name="T15" fmla="*/ 149 h 149"/>
                <a:gd name="T16" fmla="*/ 150 w 150"/>
                <a:gd name="T17" fmla="*/ 138 h 149"/>
                <a:gd name="T18" fmla="*/ 139 w 150"/>
                <a:gd name="T19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49">
                  <a:moveTo>
                    <a:pt x="139" y="128"/>
                  </a:moveTo>
                  <a:cubicBezTo>
                    <a:pt x="22" y="128"/>
                    <a:pt x="22" y="128"/>
                    <a:pt x="22" y="128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4"/>
                    <a:pt x="5" y="149"/>
                    <a:pt x="11" y="149"/>
                  </a:cubicBezTo>
                  <a:cubicBezTo>
                    <a:pt x="139" y="149"/>
                    <a:pt x="139" y="149"/>
                    <a:pt x="139" y="149"/>
                  </a:cubicBezTo>
                  <a:cubicBezTo>
                    <a:pt x="145" y="149"/>
                    <a:pt x="150" y="144"/>
                    <a:pt x="150" y="138"/>
                  </a:cubicBezTo>
                  <a:cubicBezTo>
                    <a:pt x="150" y="132"/>
                    <a:pt x="145" y="128"/>
                    <a:pt x="139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1" name="Freeform 950"/>
            <p:cNvSpPr>
              <a:spLocks/>
            </p:cNvSpPr>
            <p:nvPr/>
          </p:nvSpPr>
          <p:spPr bwMode="auto">
            <a:xfrm>
              <a:off x="7502" y="4091"/>
              <a:ext cx="99" cy="99"/>
            </a:xfrm>
            <a:custGeom>
              <a:avLst/>
              <a:gdLst>
                <a:gd name="T0" fmla="*/ 138 w 149"/>
                <a:gd name="T1" fmla="*/ 0 h 150"/>
                <a:gd name="T2" fmla="*/ 10 w 149"/>
                <a:gd name="T3" fmla="*/ 0 h 150"/>
                <a:gd name="T4" fmla="*/ 0 w 149"/>
                <a:gd name="T5" fmla="*/ 11 h 150"/>
                <a:gd name="T6" fmla="*/ 10 w 149"/>
                <a:gd name="T7" fmla="*/ 22 h 150"/>
                <a:gd name="T8" fmla="*/ 128 w 149"/>
                <a:gd name="T9" fmla="*/ 22 h 150"/>
                <a:gd name="T10" fmla="*/ 128 w 149"/>
                <a:gd name="T11" fmla="*/ 139 h 150"/>
                <a:gd name="T12" fmla="*/ 138 w 149"/>
                <a:gd name="T13" fmla="*/ 150 h 150"/>
                <a:gd name="T14" fmla="*/ 149 w 149"/>
                <a:gd name="T15" fmla="*/ 139 h 150"/>
                <a:gd name="T16" fmla="*/ 149 w 149"/>
                <a:gd name="T17" fmla="*/ 11 h 150"/>
                <a:gd name="T18" fmla="*/ 138 w 149"/>
                <a:gd name="T1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50">
                  <a:moveTo>
                    <a:pt x="13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8" y="145"/>
                    <a:pt x="132" y="150"/>
                    <a:pt x="138" y="150"/>
                  </a:cubicBezTo>
                  <a:cubicBezTo>
                    <a:pt x="144" y="150"/>
                    <a:pt x="149" y="145"/>
                    <a:pt x="149" y="139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4" y="0"/>
                    <a:pt x="1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2" name="Freeform 951"/>
            <p:cNvSpPr>
              <a:spLocks noEditPoints="1"/>
            </p:cNvSpPr>
            <p:nvPr/>
          </p:nvSpPr>
          <p:spPr bwMode="auto">
            <a:xfrm>
              <a:off x="7353" y="399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3" name="Freeform 955"/>
          <p:cNvSpPr>
            <a:spLocks noChangeAspect="1" noEditPoints="1"/>
          </p:cNvSpPr>
          <p:nvPr/>
        </p:nvSpPr>
        <p:spPr bwMode="auto">
          <a:xfrm>
            <a:off x="8388708" y="454047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77 w 512"/>
              <a:gd name="T11" fmla="*/ 373 h 512"/>
              <a:gd name="T12" fmla="*/ 149 w 512"/>
              <a:gd name="T13" fmla="*/ 373 h 512"/>
              <a:gd name="T14" fmla="*/ 138 w 512"/>
              <a:gd name="T15" fmla="*/ 362 h 512"/>
              <a:gd name="T16" fmla="*/ 138 w 512"/>
              <a:gd name="T17" fmla="*/ 234 h 512"/>
              <a:gd name="T18" fmla="*/ 149 w 512"/>
              <a:gd name="T19" fmla="*/ 224 h 512"/>
              <a:gd name="T20" fmla="*/ 160 w 512"/>
              <a:gd name="T21" fmla="*/ 234 h 512"/>
              <a:gd name="T22" fmla="*/ 160 w 512"/>
              <a:gd name="T23" fmla="*/ 352 h 512"/>
              <a:gd name="T24" fmla="*/ 277 w 512"/>
              <a:gd name="T25" fmla="*/ 352 h 512"/>
              <a:gd name="T26" fmla="*/ 288 w 512"/>
              <a:gd name="T27" fmla="*/ 362 h 512"/>
              <a:gd name="T28" fmla="*/ 277 w 512"/>
              <a:gd name="T29" fmla="*/ 373 h 512"/>
              <a:gd name="T30" fmla="*/ 373 w 512"/>
              <a:gd name="T31" fmla="*/ 277 h 512"/>
              <a:gd name="T32" fmla="*/ 362 w 512"/>
              <a:gd name="T33" fmla="*/ 288 h 512"/>
              <a:gd name="T34" fmla="*/ 352 w 512"/>
              <a:gd name="T35" fmla="*/ 277 h 512"/>
              <a:gd name="T36" fmla="*/ 352 w 512"/>
              <a:gd name="T37" fmla="*/ 160 h 512"/>
              <a:gd name="T38" fmla="*/ 234 w 512"/>
              <a:gd name="T39" fmla="*/ 160 h 512"/>
              <a:gd name="T40" fmla="*/ 224 w 512"/>
              <a:gd name="T41" fmla="*/ 149 h 512"/>
              <a:gd name="T42" fmla="*/ 234 w 512"/>
              <a:gd name="T43" fmla="*/ 138 h 512"/>
              <a:gd name="T44" fmla="*/ 362 w 512"/>
              <a:gd name="T45" fmla="*/ 138 h 512"/>
              <a:gd name="T46" fmla="*/ 373 w 512"/>
              <a:gd name="T47" fmla="*/ 149 h 512"/>
              <a:gd name="T48" fmla="*/ 373 w 512"/>
              <a:gd name="T4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77" y="373"/>
                </a:moveTo>
                <a:cubicBezTo>
                  <a:pt x="149" y="373"/>
                  <a:pt x="149" y="373"/>
                  <a:pt x="149" y="373"/>
                </a:cubicBezTo>
                <a:cubicBezTo>
                  <a:pt x="143" y="373"/>
                  <a:pt x="138" y="368"/>
                  <a:pt x="138" y="362"/>
                </a:cubicBezTo>
                <a:cubicBezTo>
                  <a:pt x="138" y="234"/>
                  <a:pt x="138" y="234"/>
                  <a:pt x="138" y="234"/>
                </a:cubicBezTo>
                <a:cubicBezTo>
                  <a:pt x="138" y="228"/>
                  <a:pt x="143" y="224"/>
                  <a:pt x="149" y="224"/>
                </a:cubicBezTo>
                <a:cubicBezTo>
                  <a:pt x="155" y="224"/>
                  <a:pt x="160" y="228"/>
                  <a:pt x="160" y="234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83" y="352"/>
                  <a:pt x="288" y="356"/>
                  <a:pt x="288" y="362"/>
                </a:cubicBezTo>
                <a:cubicBezTo>
                  <a:pt x="288" y="368"/>
                  <a:pt x="283" y="373"/>
                  <a:pt x="277" y="373"/>
                </a:cubicBezTo>
                <a:close/>
                <a:moveTo>
                  <a:pt x="373" y="277"/>
                </a:moveTo>
                <a:cubicBezTo>
                  <a:pt x="373" y="283"/>
                  <a:pt x="368" y="288"/>
                  <a:pt x="362" y="288"/>
                </a:cubicBezTo>
                <a:cubicBezTo>
                  <a:pt x="356" y="288"/>
                  <a:pt x="352" y="283"/>
                  <a:pt x="352" y="277"/>
                </a:cubicBezTo>
                <a:cubicBezTo>
                  <a:pt x="352" y="160"/>
                  <a:pt x="352" y="160"/>
                  <a:pt x="352" y="160"/>
                </a:cubicBezTo>
                <a:cubicBezTo>
                  <a:pt x="234" y="160"/>
                  <a:pt x="234" y="160"/>
                  <a:pt x="234" y="160"/>
                </a:cubicBezTo>
                <a:cubicBezTo>
                  <a:pt x="228" y="160"/>
                  <a:pt x="224" y="155"/>
                  <a:pt x="224" y="149"/>
                </a:cubicBezTo>
                <a:cubicBezTo>
                  <a:pt x="224" y="143"/>
                  <a:pt x="228" y="138"/>
                  <a:pt x="234" y="138"/>
                </a:cubicBezTo>
                <a:cubicBezTo>
                  <a:pt x="362" y="138"/>
                  <a:pt x="362" y="138"/>
                  <a:pt x="362" y="138"/>
                </a:cubicBezTo>
                <a:cubicBezTo>
                  <a:pt x="368" y="138"/>
                  <a:pt x="373" y="143"/>
                  <a:pt x="373" y="149"/>
                </a:cubicBezTo>
                <a:lnTo>
                  <a:pt x="373" y="27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4" name="Group 958"/>
          <p:cNvGrpSpPr>
            <a:grpSpLocks noChangeAspect="1"/>
          </p:cNvGrpSpPr>
          <p:nvPr/>
        </p:nvGrpSpPr>
        <p:grpSpPr bwMode="auto">
          <a:xfrm>
            <a:off x="7891257" y="4540474"/>
            <a:ext cx="369021" cy="369021"/>
            <a:chOff x="6627" y="3991"/>
            <a:chExt cx="340" cy="340"/>
          </a:xfrm>
          <a:solidFill>
            <a:schemeClr val="accent5"/>
          </a:solidFill>
        </p:grpSpPr>
        <p:sp>
          <p:nvSpPr>
            <p:cNvPr id="385" name="Freeform 959"/>
            <p:cNvSpPr>
              <a:spLocks/>
            </p:cNvSpPr>
            <p:nvPr/>
          </p:nvSpPr>
          <p:spPr bwMode="auto">
            <a:xfrm>
              <a:off x="6690" y="4111"/>
              <a:ext cx="214" cy="114"/>
            </a:xfrm>
            <a:custGeom>
              <a:avLst/>
              <a:gdLst>
                <a:gd name="T0" fmla="*/ 161 w 322"/>
                <a:gd name="T1" fmla="*/ 172 h 172"/>
                <a:gd name="T2" fmla="*/ 153 w 322"/>
                <a:gd name="T3" fmla="*/ 169 h 172"/>
                <a:gd name="T4" fmla="*/ 4 w 322"/>
                <a:gd name="T5" fmla="*/ 19 h 172"/>
                <a:gd name="T6" fmla="*/ 4 w 322"/>
                <a:gd name="T7" fmla="*/ 4 h 172"/>
                <a:gd name="T8" fmla="*/ 19 w 322"/>
                <a:gd name="T9" fmla="*/ 4 h 172"/>
                <a:gd name="T10" fmla="*/ 161 w 322"/>
                <a:gd name="T11" fmla="*/ 146 h 172"/>
                <a:gd name="T12" fmla="*/ 302 w 322"/>
                <a:gd name="T13" fmla="*/ 4 h 172"/>
                <a:gd name="T14" fmla="*/ 318 w 322"/>
                <a:gd name="T15" fmla="*/ 4 h 172"/>
                <a:gd name="T16" fmla="*/ 318 w 322"/>
                <a:gd name="T17" fmla="*/ 19 h 172"/>
                <a:gd name="T18" fmla="*/ 168 w 322"/>
                <a:gd name="T19" fmla="*/ 169 h 172"/>
                <a:gd name="T20" fmla="*/ 161 w 322"/>
                <a:gd name="T2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172">
                  <a:moveTo>
                    <a:pt x="161" y="172"/>
                  </a:moveTo>
                  <a:cubicBezTo>
                    <a:pt x="158" y="172"/>
                    <a:pt x="155" y="171"/>
                    <a:pt x="153" y="16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8" y="0"/>
                    <a:pt x="15" y="0"/>
                    <a:pt x="19" y="4"/>
                  </a:cubicBezTo>
                  <a:cubicBezTo>
                    <a:pt x="161" y="146"/>
                    <a:pt x="161" y="146"/>
                    <a:pt x="161" y="146"/>
                  </a:cubicBezTo>
                  <a:cubicBezTo>
                    <a:pt x="302" y="4"/>
                    <a:pt x="302" y="4"/>
                    <a:pt x="302" y="4"/>
                  </a:cubicBezTo>
                  <a:cubicBezTo>
                    <a:pt x="307" y="0"/>
                    <a:pt x="313" y="0"/>
                    <a:pt x="318" y="4"/>
                  </a:cubicBezTo>
                  <a:cubicBezTo>
                    <a:pt x="322" y="8"/>
                    <a:pt x="322" y="15"/>
                    <a:pt x="318" y="19"/>
                  </a:cubicBezTo>
                  <a:cubicBezTo>
                    <a:pt x="168" y="169"/>
                    <a:pt x="168" y="169"/>
                    <a:pt x="168" y="169"/>
                  </a:cubicBezTo>
                  <a:cubicBezTo>
                    <a:pt x="166" y="171"/>
                    <a:pt x="163" y="172"/>
                    <a:pt x="161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6" name="Freeform 960"/>
            <p:cNvSpPr>
              <a:spLocks noEditPoints="1"/>
            </p:cNvSpPr>
            <p:nvPr/>
          </p:nvSpPr>
          <p:spPr bwMode="auto">
            <a:xfrm>
              <a:off x="6627" y="39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7" name="Freeform 964"/>
          <p:cNvSpPr>
            <a:spLocks noChangeAspect="1" noEditPoints="1"/>
          </p:cNvSpPr>
          <p:nvPr/>
        </p:nvSpPr>
        <p:spPr bwMode="auto">
          <a:xfrm>
            <a:off x="7393806" y="454047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3 w 512"/>
              <a:gd name="T11" fmla="*/ 199 h 512"/>
              <a:gd name="T12" fmla="*/ 263 w 512"/>
              <a:gd name="T13" fmla="*/ 349 h 512"/>
              <a:gd name="T14" fmla="*/ 256 w 512"/>
              <a:gd name="T15" fmla="*/ 352 h 512"/>
              <a:gd name="T16" fmla="*/ 248 w 512"/>
              <a:gd name="T17" fmla="*/ 349 h 512"/>
              <a:gd name="T18" fmla="*/ 99 w 512"/>
              <a:gd name="T19" fmla="*/ 199 h 512"/>
              <a:gd name="T20" fmla="*/ 99 w 512"/>
              <a:gd name="T21" fmla="*/ 184 h 512"/>
              <a:gd name="T22" fmla="*/ 114 w 512"/>
              <a:gd name="T23" fmla="*/ 184 h 512"/>
              <a:gd name="T24" fmla="*/ 256 w 512"/>
              <a:gd name="T25" fmla="*/ 326 h 512"/>
              <a:gd name="T26" fmla="*/ 397 w 512"/>
              <a:gd name="T27" fmla="*/ 184 h 512"/>
              <a:gd name="T28" fmla="*/ 413 w 512"/>
              <a:gd name="T29" fmla="*/ 184 h 512"/>
              <a:gd name="T30" fmla="*/ 413 w 512"/>
              <a:gd name="T31" fmla="*/ 1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3" y="199"/>
                </a:moveTo>
                <a:cubicBezTo>
                  <a:pt x="263" y="349"/>
                  <a:pt x="263" y="349"/>
                  <a:pt x="263" y="349"/>
                </a:cubicBezTo>
                <a:cubicBezTo>
                  <a:pt x="261" y="351"/>
                  <a:pt x="258" y="352"/>
                  <a:pt x="256" y="352"/>
                </a:cubicBezTo>
                <a:cubicBezTo>
                  <a:pt x="253" y="352"/>
                  <a:pt x="250" y="351"/>
                  <a:pt x="248" y="349"/>
                </a:cubicBezTo>
                <a:cubicBezTo>
                  <a:pt x="99" y="199"/>
                  <a:pt x="99" y="199"/>
                  <a:pt x="99" y="199"/>
                </a:cubicBezTo>
                <a:cubicBezTo>
                  <a:pt x="95" y="195"/>
                  <a:pt x="95" y="188"/>
                  <a:pt x="99" y="184"/>
                </a:cubicBezTo>
                <a:cubicBezTo>
                  <a:pt x="103" y="180"/>
                  <a:pt x="110" y="180"/>
                  <a:pt x="114" y="184"/>
                </a:cubicBezTo>
                <a:cubicBezTo>
                  <a:pt x="256" y="326"/>
                  <a:pt x="256" y="326"/>
                  <a:pt x="256" y="326"/>
                </a:cubicBezTo>
                <a:cubicBezTo>
                  <a:pt x="397" y="184"/>
                  <a:pt x="397" y="184"/>
                  <a:pt x="397" y="184"/>
                </a:cubicBezTo>
                <a:cubicBezTo>
                  <a:pt x="402" y="180"/>
                  <a:pt x="408" y="180"/>
                  <a:pt x="413" y="184"/>
                </a:cubicBezTo>
                <a:cubicBezTo>
                  <a:pt x="417" y="188"/>
                  <a:pt x="417" y="195"/>
                  <a:pt x="413" y="1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8" name="Group 967"/>
          <p:cNvGrpSpPr>
            <a:grpSpLocks noChangeAspect="1"/>
          </p:cNvGrpSpPr>
          <p:nvPr/>
        </p:nvGrpSpPr>
        <p:grpSpPr bwMode="auto">
          <a:xfrm>
            <a:off x="6895270" y="4540474"/>
            <a:ext cx="370106" cy="369021"/>
            <a:chOff x="5832" y="3984"/>
            <a:chExt cx="341" cy="340"/>
          </a:xfrm>
          <a:solidFill>
            <a:schemeClr val="accent5"/>
          </a:solidFill>
        </p:grpSpPr>
        <p:sp>
          <p:nvSpPr>
            <p:cNvPr id="389" name="Freeform 968"/>
            <p:cNvSpPr>
              <a:spLocks/>
            </p:cNvSpPr>
            <p:nvPr/>
          </p:nvSpPr>
          <p:spPr bwMode="auto">
            <a:xfrm>
              <a:off x="5896" y="4161"/>
              <a:ext cx="99" cy="99"/>
            </a:xfrm>
            <a:custGeom>
              <a:avLst/>
              <a:gdLst>
                <a:gd name="T0" fmla="*/ 138 w 149"/>
                <a:gd name="T1" fmla="*/ 0 h 150"/>
                <a:gd name="T2" fmla="*/ 10 w 149"/>
                <a:gd name="T3" fmla="*/ 0 h 150"/>
                <a:gd name="T4" fmla="*/ 0 w 149"/>
                <a:gd name="T5" fmla="*/ 11 h 150"/>
                <a:gd name="T6" fmla="*/ 10 w 149"/>
                <a:gd name="T7" fmla="*/ 22 h 150"/>
                <a:gd name="T8" fmla="*/ 128 w 149"/>
                <a:gd name="T9" fmla="*/ 22 h 150"/>
                <a:gd name="T10" fmla="*/ 128 w 149"/>
                <a:gd name="T11" fmla="*/ 139 h 150"/>
                <a:gd name="T12" fmla="*/ 138 w 149"/>
                <a:gd name="T13" fmla="*/ 150 h 150"/>
                <a:gd name="T14" fmla="*/ 149 w 149"/>
                <a:gd name="T15" fmla="*/ 139 h 150"/>
                <a:gd name="T16" fmla="*/ 149 w 149"/>
                <a:gd name="T17" fmla="*/ 11 h 150"/>
                <a:gd name="T18" fmla="*/ 138 w 149"/>
                <a:gd name="T1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50">
                  <a:moveTo>
                    <a:pt x="13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8" y="145"/>
                    <a:pt x="132" y="150"/>
                    <a:pt x="138" y="150"/>
                  </a:cubicBezTo>
                  <a:cubicBezTo>
                    <a:pt x="144" y="150"/>
                    <a:pt x="149" y="145"/>
                    <a:pt x="149" y="139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4" y="0"/>
                    <a:pt x="1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0" name="Freeform 969"/>
            <p:cNvSpPr>
              <a:spLocks/>
            </p:cNvSpPr>
            <p:nvPr/>
          </p:nvSpPr>
          <p:spPr bwMode="auto">
            <a:xfrm>
              <a:off x="6009" y="4048"/>
              <a:ext cx="100" cy="99"/>
            </a:xfrm>
            <a:custGeom>
              <a:avLst/>
              <a:gdLst>
                <a:gd name="T0" fmla="*/ 139 w 150"/>
                <a:gd name="T1" fmla="*/ 128 h 149"/>
                <a:gd name="T2" fmla="*/ 22 w 150"/>
                <a:gd name="T3" fmla="*/ 128 h 149"/>
                <a:gd name="T4" fmla="*/ 22 w 150"/>
                <a:gd name="T5" fmla="*/ 10 h 149"/>
                <a:gd name="T6" fmla="*/ 11 w 150"/>
                <a:gd name="T7" fmla="*/ 0 h 149"/>
                <a:gd name="T8" fmla="*/ 0 w 150"/>
                <a:gd name="T9" fmla="*/ 10 h 149"/>
                <a:gd name="T10" fmla="*/ 0 w 150"/>
                <a:gd name="T11" fmla="*/ 138 h 149"/>
                <a:gd name="T12" fmla="*/ 11 w 150"/>
                <a:gd name="T13" fmla="*/ 149 h 149"/>
                <a:gd name="T14" fmla="*/ 139 w 150"/>
                <a:gd name="T15" fmla="*/ 149 h 149"/>
                <a:gd name="T16" fmla="*/ 150 w 150"/>
                <a:gd name="T17" fmla="*/ 138 h 149"/>
                <a:gd name="T18" fmla="*/ 139 w 150"/>
                <a:gd name="T19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49">
                  <a:moveTo>
                    <a:pt x="139" y="128"/>
                  </a:moveTo>
                  <a:cubicBezTo>
                    <a:pt x="22" y="128"/>
                    <a:pt x="22" y="128"/>
                    <a:pt x="22" y="128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4"/>
                    <a:pt x="5" y="149"/>
                    <a:pt x="11" y="149"/>
                  </a:cubicBezTo>
                  <a:cubicBezTo>
                    <a:pt x="139" y="149"/>
                    <a:pt x="139" y="149"/>
                    <a:pt x="139" y="149"/>
                  </a:cubicBezTo>
                  <a:cubicBezTo>
                    <a:pt x="145" y="149"/>
                    <a:pt x="150" y="144"/>
                    <a:pt x="150" y="138"/>
                  </a:cubicBezTo>
                  <a:cubicBezTo>
                    <a:pt x="150" y="132"/>
                    <a:pt x="145" y="128"/>
                    <a:pt x="139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1" name="Freeform 970"/>
            <p:cNvSpPr>
              <a:spLocks noEditPoints="1"/>
            </p:cNvSpPr>
            <p:nvPr/>
          </p:nvSpPr>
          <p:spPr bwMode="auto">
            <a:xfrm>
              <a:off x="5832" y="398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2" name="Freeform 974"/>
          <p:cNvSpPr>
            <a:spLocks noChangeAspect="1" noEditPoints="1"/>
          </p:cNvSpPr>
          <p:nvPr/>
        </p:nvSpPr>
        <p:spPr bwMode="auto">
          <a:xfrm>
            <a:off x="6397819" y="454047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45 w 512"/>
              <a:gd name="T11" fmla="*/ 405 h 512"/>
              <a:gd name="T12" fmla="*/ 234 w 512"/>
              <a:gd name="T13" fmla="*/ 416 h 512"/>
              <a:gd name="T14" fmla="*/ 224 w 512"/>
              <a:gd name="T15" fmla="*/ 405 h 512"/>
              <a:gd name="T16" fmla="*/ 224 w 512"/>
              <a:gd name="T17" fmla="*/ 288 h 512"/>
              <a:gd name="T18" fmla="*/ 106 w 512"/>
              <a:gd name="T19" fmla="*/ 288 h 512"/>
              <a:gd name="T20" fmla="*/ 96 w 512"/>
              <a:gd name="T21" fmla="*/ 277 h 512"/>
              <a:gd name="T22" fmla="*/ 106 w 512"/>
              <a:gd name="T23" fmla="*/ 266 h 512"/>
              <a:gd name="T24" fmla="*/ 234 w 512"/>
              <a:gd name="T25" fmla="*/ 266 h 512"/>
              <a:gd name="T26" fmla="*/ 245 w 512"/>
              <a:gd name="T27" fmla="*/ 277 h 512"/>
              <a:gd name="T28" fmla="*/ 245 w 512"/>
              <a:gd name="T29" fmla="*/ 405 h 512"/>
              <a:gd name="T30" fmla="*/ 405 w 512"/>
              <a:gd name="T31" fmla="*/ 245 h 512"/>
              <a:gd name="T32" fmla="*/ 277 w 512"/>
              <a:gd name="T33" fmla="*/ 245 h 512"/>
              <a:gd name="T34" fmla="*/ 266 w 512"/>
              <a:gd name="T35" fmla="*/ 234 h 512"/>
              <a:gd name="T36" fmla="*/ 266 w 512"/>
              <a:gd name="T37" fmla="*/ 106 h 512"/>
              <a:gd name="T38" fmla="*/ 277 w 512"/>
              <a:gd name="T39" fmla="*/ 96 h 512"/>
              <a:gd name="T40" fmla="*/ 288 w 512"/>
              <a:gd name="T41" fmla="*/ 106 h 512"/>
              <a:gd name="T42" fmla="*/ 288 w 512"/>
              <a:gd name="T43" fmla="*/ 224 h 512"/>
              <a:gd name="T44" fmla="*/ 405 w 512"/>
              <a:gd name="T45" fmla="*/ 224 h 512"/>
              <a:gd name="T46" fmla="*/ 416 w 512"/>
              <a:gd name="T47" fmla="*/ 234 h 512"/>
              <a:gd name="T48" fmla="*/ 405 w 512"/>
              <a:gd name="T49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45" y="405"/>
                </a:moveTo>
                <a:cubicBezTo>
                  <a:pt x="245" y="411"/>
                  <a:pt x="240" y="416"/>
                  <a:pt x="234" y="416"/>
                </a:cubicBezTo>
                <a:cubicBezTo>
                  <a:pt x="228" y="416"/>
                  <a:pt x="224" y="411"/>
                  <a:pt x="224" y="405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83"/>
                  <a:pt x="96" y="277"/>
                </a:cubicBezTo>
                <a:cubicBezTo>
                  <a:pt x="96" y="271"/>
                  <a:pt x="100" y="266"/>
                  <a:pt x="106" y="266"/>
                </a:cubicBezTo>
                <a:cubicBezTo>
                  <a:pt x="234" y="266"/>
                  <a:pt x="234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lnTo>
                  <a:pt x="245" y="405"/>
                </a:lnTo>
                <a:close/>
                <a:moveTo>
                  <a:pt x="405" y="245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71" y="245"/>
                  <a:pt x="266" y="240"/>
                  <a:pt x="266" y="234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71" y="96"/>
                  <a:pt x="277" y="96"/>
                </a:cubicBezTo>
                <a:cubicBezTo>
                  <a:pt x="283" y="96"/>
                  <a:pt x="288" y="100"/>
                  <a:pt x="288" y="106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28"/>
                  <a:pt x="416" y="234"/>
                </a:cubicBezTo>
                <a:cubicBezTo>
                  <a:pt x="416" y="240"/>
                  <a:pt x="411" y="245"/>
                  <a:pt x="405" y="24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5" name="Freeform 168"/>
          <p:cNvSpPr>
            <a:spLocks noChangeAspect="1" noEditPoints="1"/>
          </p:cNvSpPr>
          <p:nvPr/>
        </p:nvSpPr>
        <p:spPr bwMode="auto">
          <a:xfrm>
            <a:off x="438310" y="539821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21 w 512"/>
              <a:gd name="T11" fmla="*/ 263 h 512"/>
              <a:gd name="T12" fmla="*/ 178 w 512"/>
              <a:gd name="T13" fmla="*/ 306 h 512"/>
              <a:gd name="T14" fmla="*/ 170 w 512"/>
              <a:gd name="T15" fmla="*/ 309 h 512"/>
              <a:gd name="T16" fmla="*/ 163 w 512"/>
              <a:gd name="T17" fmla="*/ 306 h 512"/>
              <a:gd name="T18" fmla="*/ 163 w 512"/>
              <a:gd name="T19" fmla="*/ 291 h 512"/>
              <a:gd name="T20" fmla="*/ 187 w 512"/>
              <a:gd name="T21" fmla="*/ 266 h 512"/>
              <a:gd name="T22" fmla="*/ 106 w 512"/>
              <a:gd name="T23" fmla="*/ 266 h 512"/>
              <a:gd name="T24" fmla="*/ 96 w 512"/>
              <a:gd name="T25" fmla="*/ 256 h 512"/>
              <a:gd name="T26" fmla="*/ 106 w 512"/>
              <a:gd name="T27" fmla="*/ 245 h 512"/>
              <a:gd name="T28" fmla="*/ 187 w 512"/>
              <a:gd name="T29" fmla="*/ 245 h 512"/>
              <a:gd name="T30" fmla="*/ 163 w 512"/>
              <a:gd name="T31" fmla="*/ 221 h 512"/>
              <a:gd name="T32" fmla="*/ 163 w 512"/>
              <a:gd name="T33" fmla="*/ 205 h 512"/>
              <a:gd name="T34" fmla="*/ 178 w 512"/>
              <a:gd name="T35" fmla="*/ 205 h 512"/>
              <a:gd name="T36" fmla="*/ 221 w 512"/>
              <a:gd name="T37" fmla="*/ 248 h 512"/>
              <a:gd name="T38" fmla="*/ 221 w 512"/>
              <a:gd name="T39" fmla="*/ 263 h 512"/>
              <a:gd name="T40" fmla="*/ 405 w 512"/>
              <a:gd name="T41" fmla="*/ 266 h 512"/>
              <a:gd name="T42" fmla="*/ 324 w 512"/>
              <a:gd name="T43" fmla="*/ 266 h 512"/>
              <a:gd name="T44" fmla="*/ 349 w 512"/>
              <a:gd name="T45" fmla="*/ 291 h 512"/>
              <a:gd name="T46" fmla="*/ 349 w 512"/>
              <a:gd name="T47" fmla="*/ 306 h 512"/>
              <a:gd name="T48" fmla="*/ 341 w 512"/>
              <a:gd name="T49" fmla="*/ 309 h 512"/>
              <a:gd name="T50" fmla="*/ 333 w 512"/>
              <a:gd name="T51" fmla="*/ 306 h 512"/>
              <a:gd name="T52" fmla="*/ 291 w 512"/>
              <a:gd name="T53" fmla="*/ 263 h 512"/>
              <a:gd name="T54" fmla="*/ 291 w 512"/>
              <a:gd name="T55" fmla="*/ 248 h 512"/>
              <a:gd name="T56" fmla="*/ 333 w 512"/>
              <a:gd name="T57" fmla="*/ 205 h 512"/>
              <a:gd name="T58" fmla="*/ 349 w 512"/>
              <a:gd name="T59" fmla="*/ 205 h 512"/>
              <a:gd name="T60" fmla="*/ 349 w 512"/>
              <a:gd name="T61" fmla="*/ 221 h 512"/>
              <a:gd name="T62" fmla="*/ 324 w 512"/>
              <a:gd name="T63" fmla="*/ 245 h 512"/>
              <a:gd name="T64" fmla="*/ 405 w 512"/>
              <a:gd name="T65" fmla="*/ 245 h 512"/>
              <a:gd name="T66" fmla="*/ 416 w 512"/>
              <a:gd name="T67" fmla="*/ 256 h 512"/>
              <a:gd name="T68" fmla="*/ 405 w 512"/>
              <a:gd name="T69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1" y="263"/>
                </a:moveTo>
                <a:cubicBezTo>
                  <a:pt x="178" y="306"/>
                  <a:pt x="178" y="306"/>
                  <a:pt x="178" y="306"/>
                </a:cubicBezTo>
                <a:cubicBezTo>
                  <a:pt x="176" y="308"/>
                  <a:pt x="173" y="309"/>
                  <a:pt x="170" y="309"/>
                </a:cubicBezTo>
                <a:cubicBezTo>
                  <a:pt x="168" y="309"/>
                  <a:pt x="165" y="308"/>
                  <a:pt x="163" y="306"/>
                </a:cubicBezTo>
                <a:cubicBezTo>
                  <a:pt x="159" y="302"/>
                  <a:pt x="159" y="295"/>
                  <a:pt x="163" y="291"/>
                </a:cubicBezTo>
                <a:cubicBezTo>
                  <a:pt x="187" y="266"/>
                  <a:pt x="187" y="266"/>
                  <a:pt x="187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187" y="245"/>
                  <a:pt x="187" y="245"/>
                  <a:pt x="187" y="245"/>
                </a:cubicBezTo>
                <a:cubicBezTo>
                  <a:pt x="163" y="221"/>
                  <a:pt x="163" y="221"/>
                  <a:pt x="163" y="221"/>
                </a:cubicBezTo>
                <a:cubicBezTo>
                  <a:pt x="159" y="216"/>
                  <a:pt x="159" y="210"/>
                  <a:pt x="163" y="205"/>
                </a:cubicBezTo>
                <a:cubicBezTo>
                  <a:pt x="167" y="201"/>
                  <a:pt x="174" y="201"/>
                  <a:pt x="178" y="20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25" y="252"/>
                  <a:pt x="225" y="259"/>
                  <a:pt x="221" y="263"/>
                </a:cubicBezTo>
                <a:close/>
                <a:moveTo>
                  <a:pt x="405" y="266"/>
                </a:moveTo>
                <a:cubicBezTo>
                  <a:pt x="324" y="266"/>
                  <a:pt x="324" y="266"/>
                  <a:pt x="324" y="266"/>
                </a:cubicBezTo>
                <a:cubicBezTo>
                  <a:pt x="349" y="291"/>
                  <a:pt x="349" y="291"/>
                  <a:pt x="349" y="291"/>
                </a:cubicBezTo>
                <a:cubicBezTo>
                  <a:pt x="353" y="295"/>
                  <a:pt x="353" y="302"/>
                  <a:pt x="349" y="306"/>
                </a:cubicBezTo>
                <a:cubicBezTo>
                  <a:pt x="346" y="308"/>
                  <a:pt x="344" y="309"/>
                  <a:pt x="341" y="309"/>
                </a:cubicBezTo>
                <a:cubicBezTo>
                  <a:pt x="338" y="309"/>
                  <a:pt x="336" y="308"/>
                  <a:pt x="333" y="306"/>
                </a:cubicBezTo>
                <a:cubicBezTo>
                  <a:pt x="291" y="263"/>
                  <a:pt x="291" y="263"/>
                  <a:pt x="291" y="263"/>
                </a:cubicBezTo>
                <a:cubicBezTo>
                  <a:pt x="287" y="259"/>
                  <a:pt x="287" y="252"/>
                  <a:pt x="291" y="248"/>
                </a:cubicBezTo>
                <a:cubicBezTo>
                  <a:pt x="333" y="205"/>
                  <a:pt x="333" y="205"/>
                  <a:pt x="333" y="205"/>
                </a:cubicBezTo>
                <a:cubicBezTo>
                  <a:pt x="338" y="201"/>
                  <a:pt x="344" y="201"/>
                  <a:pt x="349" y="205"/>
                </a:cubicBezTo>
                <a:cubicBezTo>
                  <a:pt x="353" y="210"/>
                  <a:pt x="353" y="216"/>
                  <a:pt x="349" y="221"/>
                </a:cubicBezTo>
                <a:cubicBezTo>
                  <a:pt x="324" y="245"/>
                  <a:pt x="324" y="245"/>
                  <a:pt x="32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6" name="Group 171"/>
          <p:cNvGrpSpPr>
            <a:grpSpLocks noChangeAspect="1"/>
          </p:cNvGrpSpPr>
          <p:nvPr/>
        </p:nvGrpSpPr>
        <p:grpSpPr bwMode="auto">
          <a:xfrm>
            <a:off x="934728" y="5398214"/>
            <a:ext cx="367631" cy="367631"/>
            <a:chOff x="4146" y="1371"/>
            <a:chExt cx="340" cy="340"/>
          </a:xfrm>
          <a:solidFill>
            <a:schemeClr val="accent2"/>
          </a:solidFill>
        </p:grpSpPr>
        <p:sp>
          <p:nvSpPr>
            <p:cNvPr id="407" name="Freeform 172"/>
            <p:cNvSpPr>
              <a:spLocks noEditPoints="1"/>
            </p:cNvSpPr>
            <p:nvPr/>
          </p:nvSpPr>
          <p:spPr bwMode="auto">
            <a:xfrm>
              <a:off x="4146" y="13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8" name="Freeform 173"/>
            <p:cNvSpPr>
              <a:spLocks noEditPoints="1"/>
            </p:cNvSpPr>
            <p:nvPr/>
          </p:nvSpPr>
          <p:spPr bwMode="auto">
            <a:xfrm>
              <a:off x="4210" y="1504"/>
              <a:ext cx="212" cy="72"/>
            </a:xfrm>
            <a:custGeom>
              <a:avLst/>
              <a:gdLst>
                <a:gd name="T0" fmla="*/ 320 w 320"/>
                <a:gd name="T1" fmla="*/ 55 h 108"/>
                <a:gd name="T2" fmla="*/ 309 w 320"/>
                <a:gd name="T3" fmla="*/ 65 h 108"/>
                <a:gd name="T4" fmla="*/ 228 w 320"/>
                <a:gd name="T5" fmla="*/ 65 h 108"/>
                <a:gd name="T6" fmla="*/ 253 w 320"/>
                <a:gd name="T7" fmla="*/ 90 h 108"/>
                <a:gd name="T8" fmla="*/ 253 w 320"/>
                <a:gd name="T9" fmla="*/ 105 h 108"/>
                <a:gd name="T10" fmla="*/ 245 w 320"/>
                <a:gd name="T11" fmla="*/ 108 h 108"/>
                <a:gd name="T12" fmla="*/ 237 w 320"/>
                <a:gd name="T13" fmla="*/ 105 h 108"/>
                <a:gd name="T14" fmla="*/ 195 w 320"/>
                <a:gd name="T15" fmla="*/ 62 h 108"/>
                <a:gd name="T16" fmla="*/ 195 w 320"/>
                <a:gd name="T17" fmla="*/ 47 h 108"/>
                <a:gd name="T18" fmla="*/ 237 w 320"/>
                <a:gd name="T19" fmla="*/ 4 h 108"/>
                <a:gd name="T20" fmla="*/ 253 w 320"/>
                <a:gd name="T21" fmla="*/ 4 h 108"/>
                <a:gd name="T22" fmla="*/ 253 w 320"/>
                <a:gd name="T23" fmla="*/ 20 h 108"/>
                <a:gd name="T24" fmla="*/ 228 w 320"/>
                <a:gd name="T25" fmla="*/ 44 h 108"/>
                <a:gd name="T26" fmla="*/ 309 w 320"/>
                <a:gd name="T27" fmla="*/ 44 h 108"/>
                <a:gd name="T28" fmla="*/ 320 w 320"/>
                <a:gd name="T29" fmla="*/ 55 h 108"/>
                <a:gd name="T30" fmla="*/ 125 w 320"/>
                <a:gd name="T31" fmla="*/ 47 h 108"/>
                <a:gd name="T32" fmla="*/ 82 w 320"/>
                <a:gd name="T33" fmla="*/ 4 h 108"/>
                <a:gd name="T34" fmla="*/ 67 w 320"/>
                <a:gd name="T35" fmla="*/ 4 h 108"/>
                <a:gd name="T36" fmla="*/ 67 w 320"/>
                <a:gd name="T37" fmla="*/ 20 h 108"/>
                <a:gd name="T38" fmla="*/ 91 w 320"/>
                <a:gd name="T39" fmla="*/ 44 h 108"/>
                <a:gd name="T40" fmla="*/ 10 w 320"/>
                <a:gd name="T41" fmla="*/ 44 h 108"/>
                <a:gd name="T42" fmla="*/ 0 w 320"/>
                <a:gd name="T43" fmla="*/ 55 h 108"/>
                <a:gd name="T44" fmla="*/ 10 w 320"/>
                <a:gd name="T45" fmla="*/ 65 h 108"/>
                <a:gd name="T46" fmla="*/ 91 w 320"/>
                <a:gd name="T47" fmla="*/ 65 h 108"/>
                <a:gd name="T48" fmla="*/ 67 w 320"/>
                <a:gd name="T49" fmla="*/ 90 h 108"/>
                <a:gd name="T50" fmla="*/ 67 w 320"/>
                <a:gd name="T51" fmla="*/ 105 h 108"/>
                <a:gd name="T52" fmla="*/ 74 w 320"/>
                <a:gd name="T53" fmla="*/ 108 h 108"/>
                <a:gd name="T54" fmla="*/ 82 w 320"/>
                <a:gd name="T55" fmla="*/ 105 h 108"/>
                <a:gd name="T56" fmla="*/ 125 w 320"/>
                <a:gd name="T57" fmla="*/ 62 h 108"/>
                <a:gd name="T58" fmla="*/ 125 w 320"/>
                <a:gd name="T59" fmla="*/ 4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0" h="108">
                  <a:moveTo>
                    <a:pt x="320" y="55"/>
                  </a:moveTo>
                  <a:cubicBezTo>
                    <a:pt x="320" y="61"/>
                    <a:pt x="315" y="65"/>
                    <a:pt x="309" y="65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53" y="90"/>
                    <a:pt x="253" y="90"/>
                    <a:pt x="253" y="90"/>
                  </a:cubicBezTo>
                  <a:cubicBezTo>
                    <a:pt x="257" y="94"/>
                    <a:pt x="257" y="101"/>
                    <a:pt x="253" y="105"/>
                  </a:cubicBezTo>
                  <a:cubicBezTo>
                    <a:pt x="250" y="107"/>
                    <a:pt x="248" y="108"/>
                    <a:pt x="245" y="108"/>
                  </a:cubicBezTo>
                  <a:cubicBezTo>
                    <a:pt x="242" y="108"/>
                    <a:pt x="240" y="107"/>
                    <a:pt x="237" y="105"/>
                  </a:cubicBezTo>
                  <a:cubicBezTo>
                    <a:pt x="195" y="62"/>
                    <a:pt x="195" y="62"/>
                    <a:pt x="195" y="62"/>
                  </a:cubicBezTo>
                  <a:cubicBezTo>
                    <a:pt x="191" y="58"/>
                    <a:pt x="191" y="51"/>
                    <a:pt x="195" y="47"/>
                  </a:cubicBezTo>
                  <a:cubicBezTo>
                    <a:pt x="237" y="4"/>
                    <a:pt x="237" y="4"/>
                    <a:pt x="237" y="4"/>
                  </a:cubicBezTo>
                  <a:cubicBezTo>
                    <a:pt x="242" y="0"/>
                    <a:pt x="248" y="0"/>
                    <a:pt x="253" y="4"/>
                  </a:cubicBezTo>
                  <a:cubicBezTo>
                    <a:pt x="257" y="9"/>
                    <a:pt x="257" y="15"/>
                    <a:pt x="253" y="20"/>
                  </a:cubicBezTo>
                  <a:cubicBezTo>
                    <a:pt x="228" y="44"/>
                    <a:pt x="228" y="44"/>
                    <a:pt x="228" y="44"/>
                  </a:cubicBezTo>
                  <a:cubicBezTo>
                    <a:pt x="309" y="44"/>
                    <a:pt x="309" y="44"/>
                    <a:pt x="309" y="44"/>
                  </a:cubicBezTo>
                  <a:cubicBezTo>
                    <a:pt x="315" y="44"/>
                    <a:pt x="320" y="49"/>
                    <a:pt x="320" y="55"/>
                  </a:cubicBezTo>
                  <a:close/>
                  <a:moveTo>
                    <a:pt x="125" y="47"/>
                  </a:moveTo>
                  <a:cubicBezTo>
                    <a:pt x="82" y="4"/>
                    <a:pt x="82" y="4"/>
                    <a:pt x="82" y="4"/>
                  </a:cubicBezTo>
                  <a:cubicBezTo>
                    <a:pt x="78" y="0"/>
                    <a:pt x="71" y="0"/>
                    <a:pt x="67" y="4"/>
                  </a:cubicBezTo>
                  <a:cubicBezTo>
                    <a:pt x="63" y="9"/>
                    <a:pt x="63" y="15"/>
                    <a:pt x="67" y="20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4" y="44"/>
                    <a:pt x="0" y="49"/>
                    <a:pt x="0" y="55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67" y="90"/>
                    <a:pt x="67" y="90"/>
                    <a:pt x="67" y="90"/>
                  </a:cubicBezTo>
                  <a:cubicBezTo>
                    <a:pt x="63" y="94"/>
                    <a:pt x="63" y="101"/>
                    <a:pt x="67" y="105"/>
                  </a:cubicBezTo>
                  <a:cubicBezTo>
                    <a:pt x="69" y="107"/>
                    <a:pt x="72" y="108"/>
                    <a:pt x="74" y="108"/>
                  </a:cubicBezTo>
                  <a:cubicBezTo>
                    <a:pt x="77" y="108"/>
                    <a:pt x="80" y="107"/>
                    <a:pt x="82" y="105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9" y="58"/>
                    <a:pt x="129" y="51"/>
                    <a:pt x="125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9" name="Freeform 177"/>
          <p:cNvSpPr>
            <a:spLocks noChangeAspect="1" noEditPoints="1"/>
          </p:cNvSpPr>
          <p:nvPr/>
        </p:nvSpPr>
        <p:spPr bwMode="auto">
          <a:xfrm>
            <a:off x="1431146" y="539821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4 w 512"/>
              <a:gd name="T11" fmla="*/ 224 h 512"/>
              <a:gd name="T12" fmla="*/ 224 w 512"/>
              <a:gd name="T13" fmla="*/ 234 h 512"/>
              <a:gd name="T14" fmla="*/ 160 w 512"/>
              <a:gd name="T15" fmla="*/ 234 h 512"/>
              <a:gd name="T16" fmla="*/ 149 w 512"/>
              <a:gd name="T17" fmla="*/ 224 h 512"/>
              <a:gd name="T18" fmla="*/ 160 w 512"/>
              <a:gd name="T19" fmla="*/ 213 h 512"/>
              <a:gd name="T20" fmla="*/ 198 w 512"/>
              <a:gd name="T21" fmla="*/ 213 h 512"/>
              <a:gd name="T22" fmla="*/ 141 w 512"/>
              <a:gd name="T23" fmla="*/ 157 h 512"/>
              <a:gd name="T24" fmla="*/ 141 w 512"/>
              <a:gd name="T25" fmla="*/ 141 h 512"/>
              <a:gd name="T26" fmla="*/ 157 w 512"/>
              <a:gd name="T27" fmla="*/ 141 h 512"/>
              <a:gd name="T28" fmla="*/ 213 w 512"/>
              <a:gd name="T29" fmla="*/ 198 h 512"/>
              <a:gd name="T30" fmla="*/ 213 w 512"/>
              <a:gd name="T31" fmla="*/ 160 h 512"/>
              <a:gd name="T32" fmla="*/ 224 w 512"/>
              <a:gd name="T33" fmla="*/ 149 h 512"/>
              <a:gd name="T34" fmla="*/ 234 w 512"/>
              <a:gd name="T35" fmla="*/ 160 h 512"/>
              <a:gd name="T36" fmla="*/ 234 w 512"/>
              <a:gd name="T37" fmla="*/ 224 h 512"/>
              <a:gd name="T38" fmla="*/ 370 w 512"/>
              <a:gd name="T39" fmla="*/ 370 h 512"/>
              <a:gd name="T40" fmla="*/ 362 w 512"/>
              <a:gd name="T41" fmla="*/ 373 h 512"/>
              <a:gd name="T42" fmla="*/ 355 w 512"/>
              <a:gd name="T43" fmla="*/ 370 h 512"/>
              <a:gd name="T44" fmla="*/ 298 w 512"/>
              <a:gd name="T45" fmla="*/ 313 h 512"/>
              <a:gd name="T46" fmla="*/ 298 w 512"/>
              <a:gd name="T47" fmla="*/ 352 h 512"/>
              <a:gd name="T48" fmla="*/ 288 w 512"/>
              <a:gd name="T49" fmla="*/ 362 h 512"/>
              <a:gd name="T50" fmla="*/ 277 w 512"/>
              <a:gd name="T51" fmla="*/ 352 h 512"/>
              <a:gd name="T52" fmla="*/ 277 w 512"/>
              <a:gd name="T53" fmla="*/ 288 h 512"/>
              <a:gd name="T54" fmla="*/ 288 w 512"/>
              <a:gd name="T55" fmla="*/ 277 h 512"/>
              <a:gd name="T56" fmla="*/ 352 w 512"/>
              <a:gd name="T57" fmla="*/ 277 h 512"/>
              <a:gd name="T58" fmla="*/ 362 w 512"/>
              <a:gd name="T59" fmla="*/ 288 h 512"/>
              <a:gd name="T60" fmla="*/ 352 w 512"/>
              <a:gd name="T61" fmla="*/ 298 h 512"/>
              <a:gd name="T62" fmla="*/ 313 w 512"/>
              <a:gd name="T63" fmla="*/ 298 h 512"/>
              <a:gd name="T64" fmla="*/ 370 w 512"/>
              <a:gd name="T65" fmla="*/ 355 h 512"/>
              <a:gd name="T66" fmla="*/ 370 w 512"/>
              <a:gd name="T67" fmla="*/ 3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4" y="224"/>
                </a:moveTo>
                <a:cubicBezTo>
                  <a:pt x="234" y="230"/>
                  <a:pt x="230" y="234"/>
                  <a:pt x="224" y="234"/>
                </a:cubicBezTo>
                <a:cubicBezTo>
                  <a:pt x="160" y="234"/>
                  <a:pt x="160" y="234"/>
                  <a:pt x="160" y="234"/>
                </a:cubicBezTo>
                <a:cubicBezTo>
                  <a:pt x="154" y="234"/>
                  <a:pt x="149" y="230"/>
                  <a:pt x="149" y="224"/>
                </a:cubicBezTo>
                <a:cubicBezTo>
                  <a:pt x="149" y="218"/>
                  <a:pt x="154" y="213"/>
                  <a:pt x="160" y="213"/>
                </a:cubicBezTo>
                <a:cubicBezTo>
                  <a:pt x="198" y="213"/>
                  <a:pt x="198" y="213"/>
                  <a:pt x="198" y="213"/>
                </a:cubicBezTo>
                <a:cubicBezTo>
                  <a:pt x="141" y="157"/>
                  <a:pt x="141" y="157"/>
                  <a:pt x="141" y="157"/>
                </a:cubicBezTo>
                <a:cubicBezTo>
                  <a:pt x="137" y="152"/>
                  <a:pt x="137" y="146"/>
                  <a:pt x="141" y="141"/>
                </a:cubicBezTo>
                <a:cubicBezTo>
                  <a:pt x="146" y="137"/>
                  <a:pt x="152" y="137"/>
                  <a:pt x="157" y="141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13" y="154"/>
                  <a:pt x="218" y="149"/>
                  <a:pt x="224" y="149"/>
                </a:cubicBezTo>
                <a:cubicBezTo>
                  <a:pt x="230" y="149"/>
                  <a:pt x="234" y="154"/>
                  <a:pt x="234" y="160"/>
                </a:cubicBezTo>
                <a:lnTo>
                  <a:pt x="234" y="224"/>
                </a:lnTo>
                <a:close/>
                <a:moveTo>
                  <a:pt x="370" y="370"/>
                </a:moveTo>
                <a:cubicBezTo>
                  <a:pt x="368" y="372"/>
                  <a:pt x="365" y="373"/>
                  <a:pt x="362" y="373"/>
                </a:cubicBezTo>
                <a:cubicBezTo>
                  <a:pt x="360" y="373"/>
                  <a:pt x="357" y="372"/>
                  <a:pt x="355" y="370"/>
                </a:cubicBezTo>
                <a:cubicBezTo>
                  <a:pt x="298" y="313"/>
                  <a:pt x="298" y="313"/>
                  <a:pt x="298" y="313"/>
                </a:cubicBezTo>
                <a:cubicBezTo>
                  <a:pt x="298" y="352"/>
                  <a:pt x="298" y="352"/>
                  <a:pt x="298" y="352"/>
                </a:cubicBezTo>
                <a:cubicBezTo>
                  <a:pt x="298" y="358"/>
                  <a:pt x="294" y="362"/>
                  <a:pt x="288" y="362"/>
                </a:cubicBezTo>
                <a:cubicBezTo>
                  <a:pt x="282" y="362"/>
                  <a:pt x="277" y="358"/>
                  <a:pt x="277" y="352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2"/>
                  <a:pt x="282" y="277"/>
                  <a:pt x="288" y="277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8" y="277"/>
                  <a:pt x="362" y="282"/>
                  <a:pt x="362" y="288"/>
                </a:cubicBezTo>
                <a:cubicBezTo>
                  <a:pt x="362" y="294"/>
                  <a:pt x="358" y="298"/>
                  <a:pt x="352" y="298"/>
                </a:cubicBezTo>
                <a:cubicBezTo>
                  <a:pt x="313" y="298"/>
                  <a:pt x="313" y="298"/>
                  <a:pt x="313" y="298"/>
                </a:cubicBezTo>
                <a:cubicBezTo>
                  <a:pt x="370" y="355"/>
                  <a:pt x="370" y="355"/>
                  <a:pt x="370" y="355"/>
                </a:cubicBezTo>
                <a:cubicBezTo>
                  <a:pt x="374" y="359"/>
                  <a:pt x="374" y="366"/>
                  <a:pt x="370" y="37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0" name="Group 409"/>
          <p:cNvGrpSpPr>
            <a:grpSpLocks noChangeAspect="1"/>
          </p:cNvGrpSpPr>
          <p:nvPr/>
        </p:nvGrpSpPr>
        <p:grpSpPr bwMode="auto">
          <a:xfrm>
            <a:off x="1927564" y="5398214"/>
            <a:ext cx="367631" cy="367631"/>
            <a:chOff x="4629" y="1679"/>
            <a:chExt cx="340" cy="340"/>
          </a:xfrm>
          <a:solidFill>
            <a:schemeClr val="accent2"/>
          </a:solidFill>
        </p:grpSpPr>
        <p:sp>
          <p:nvSpPr>
            <p:cNvPr id="411" name="Freeform 181"/>
            <p:cNvSpPr>
              <a:spLocks noEditPoints="1"/>
            </p:cNvSpPr>
            <p:nvPr/>
          </p:nvSpPr>
          <p:spPr bwMode="auto">
            <a:xfrm>
              <a:off x="4629" y="16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2" name="Freeform 182"/>
            <p:cNvSpPr>
              <a:spLocks/>
            </p:cNvSpPr>
            <p:nvPr/>
          </p:nvSpPr>
          <p:spPr bwMode="auto">
            <a:xfrm>
              <a:off x="4813" y="1863"/>
              <a:ext cx="64" cy="64"/>
            </a:xfrm>
            <a:custGeom>
              <a:avLst/>
              <a:gdLst>
                <a:gd name="T0" fmla="*/ 93 w 97"/>
                <a:gd name="T1" fmla="*/ 78 h 96"/>
                <a:gd name="T2" fmla="*/ 36 w 97"/>
                <a:gd name="T3" fmla="*/ 21 h 96"/>
                <a:gd name="T4" fmla="*/ 75 w 97"/>
                <a:gd name="T5" fmla="*/ 21 h 96"/>
                <a:gd name="T6" fmla="*/ 85 w 97"/>
                <a:gd name="T7" fmla="*/ 11 h 96"/>
                <a:gd name="T8" fmla="*/ 75 w 97"/>
                <a:gd name="T9" fmla="*/ 0 h 96"/>
                <a:gd name="T10" fmla="*/ 11 w 97"/>
                <a:gd name="T11" fmla="*/ 0 h 96"/>
                <a:gd name="T12" fmla="*/ 0 w 97"/>
                <a:gd name="T13" fmla="*/ 11 h 96"/>
                <a:gd name="T14" fmla="*/ 0 w 97"/>
                <a:gd name="T15" fmla="*/ 75 h 96"/>
                <a:gd name="T16" fmla="*/ 11 w 97"/>
                <a:gd name="T17" fmla="*/ 85 h 96"/>
                <a:gd name="T18" fmla="*/ 21 w 97"/>
                <a:gd name="T19" fmla="*/ 75 h 96"/>
                <a:gd name="T20" fmla="*/ 21 w 97"/>
                <a:gd name="T21" fmla="*/ 36 h 96"/>
                <a:gd name="T22" fmla="*/ 78 w 97"/>
                <a:gd name="T23" fmla="*/ 93 h 96"/>
                <a:gd name="T24" fmla="*/ 85 w 97"/>
                <a:gd name="T25" fmla="*/ 96 h 96"/>
                <a:gd name="T26" fmla="*/ 93 w 97"/>
                <a:gd name="T27" fmla="*/ 93 h 96"/>
                <a:gd name="T28" fmla="*/ 93 w 97"/>
                <a:gd name="T29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96">
                  <a:moveTo>
                    <a:pt x="93" y="78"/>
                  </a:moveTo>
                  <a:cubicBezTo>
                    <a:pt x="36" y="21"/>
                    <a:pt x="36" y="21"/>
                    <a:pt x="36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81" y="21"/>
                    <a:pt x="85" y="17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1"/>
                    <a:pt x="5" y="85"/>
                    <a:pt x="11" y="85"/>
                  </a:cubicBezTo>
                  <a:cubicBezTo>
                    <a:pt x="17" y="85"/>
                    <a:pt x="21" y="81"/>
                    <a:pt x="21" y="75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80" y="95"/>
                    <a:pt x="83" y="96"/>
                    <a:pt x="85" y="96"/>
                  </a:cubicBezTo>
                  <a:cubicBezTo>
                    <a:pt x="88" y="96"/>
                    <a:pt x="91" y="95"/>
                    <a:pt x="93" y="93"/>
                  </a:cubicBezTo>
                  <a:cubicBezTo>
                    <a:pt x="97" y="89"/>
                    <a:pt x="97" y="82"/>
                    <a:pt x="93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Freeform 183"/>
            <p:cNvSpPr>
              <a:spLocks/>
            </p:cNvSpPr>
            <p:nvPr/>
          </p:nvSpPr>
          <p:spPr bwMode="auto">
            <a:xfrm>
              <a:off x="4720" y="1770"/>
              <a:ext cx="64" cy="64"/>
            </a:xfrm>
            <a:custGeom>
              <a:avLst/>
              <a:gdLst>
                <a:gd name="T0" fmla="*/ 87 w 97"/>
                <a:gd name="T1" fmla="*/ 12 h 97"/>
                <a:gd name="T2" fmla="*/ 76 w 97"/>
                <a:gd name="T3" fmla="*/ 23 h 97"/>
                <a:gd name="T4" fmla="*/ 76 w 97"/>
                <a:gd name="T5" fmla="*/ 61 h 97"/>
                <a:gd name="T6" fmla="*/ 20 w 97"/>
                <a:gd name="T7" fmla="*/ 4 h 97"/>
                <a:gd name="T8" fmla="*/ 4 w 97"/>
                <a:gd name="T9" fmla="*/ 4 h 97"/>
                <a:gd name="T10" fmla="*/ 4 w 97"/>
                <a:gd name="T11" fmla="*/ 20 h 97"/>
                <a:gd name="T12" fmla="*/ 61 w 97"/>
                <a:gd name="T13" fmla="*/ 76 h 97"/>
                <a:gd name="T14" fmla="*/ 23 w 97"/>
                <a:gd name="T15" fmla="*/ 76 h 97"/>
                <a:gd name="T16" fmla="*/ 12 w 97"/>
                <a:gd name="T17" fmla="*/ 87 h 97"/>
                <a:gd name="T18" fmla="*/ 23 w 97"/>
                <a:gd name="T19" fmla="*/ 97 h 97"/>
                <a:gd name="T20" fmla="*/ 87 w 97"/>
                <a:gd name="T21" fmla="*/ 97 h 97"/>
                <a:gd name="T22" fmla="*/ 97 w 97"/>
                <a:gd name="T23" fmla="*/ 87 h 97"/>
                <a:gd name="T24" fmla="*/ 97 w 97"/>
                <a:gd name="T25" fmla="*/ 23 h 97"/>
                <a:gd name="T26" fmla="*/ 87 w 97"/>
                <a:gd name="T27" fmla="*/ 1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97">
                  <a:moveTo>
                    <a:pt x="87" y="12"/>
                  </a:moveTo>
                  <a:cubicBezTo>
                    <a:pt x="81" y="12"/>
                    <a:pt x="76" y="17"/>
                    <a:pt x="76" y="23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5" y="0"/>
                    <a:pt x="9" y="0"/>
                    <a:pt x="4" y="4"/>
                  </a:cubicBezTo>
                  <a:cubicBezTo>
                    <a:pt x="0" y="9"/>
                    <a:pt x="0" y="15"/>
                    <a:pt x="4" y="20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17" y="76"/>
                    <a:pt x="12" y="81"/>
                    <a:pt x="12" y="87"/>
                  </a:cubicBezTo>
                  <a:cubicBezTo>
                    <a:pt x="12" y="93"/>
                    <a:pt x="17" y="97"/>
                    <a:pt x="23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93" y="97"/>
                    <a:pt x="97" y="93"/>
                    <a:pt x="97" y="87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17"/>
                    <a:pt x="93" y="12"/>
                    <a:pt x="8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4" name="Freeform 413"/>
          <p:cNvSpPr>
            <a:spLocks noChangeAspect="1" noEditPoints="1"/>
          </p:cNvSpPr>
          <p:nvPr/>
        </p:nvSpPr>
        <p:spPr bwMode="auto">
          <a:xfrm>
            <a:off x="2423982" y="5398214"/>
            <a:ext cx="368713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06 w 512"/>
              <a:gd name="T11" fmla="*/ 349 h 512"/>
              <a:gd name="T12" fmla="*/ 291 w 512"/>
              <a:gd name="T13" fmla="*/ 349 h 512"/>
              <a:gd name="T14" fmla="*/ 266 w 512"/>
              <a:gd name="T15" fmla="*/ 324 h 512"/>
              <a:gd name="T16" fmla="*/ 266 w 512"/>
              <a:gd name="T17" fmla="*/ 405 h 512"/>
              <a:gd name="T18" fmla="*/ 256 w 512"/>
              <a:gd name="T19" fmla="*/ 416 h 512"/>
              <a:gd name="T20" fmla="*/ 245 w 512"/>
              <a:gd name="T21" fmla="*/ 405 h 512"/>
              <a:gd name="T22" fmla="*/ 245 w 512"/>
              <a:gd name="T23" fmla="*/ 324 h 512"/>
              <a:gd name="T24" fmla="*/ 221 w 512"/>
              <a:gd name="T25" fmla="*/ 349 h 512"/>
              <a:gd name="T26" fmla="*/ 213 w 512"/>
              <a:gd name="T27" fmla="*/ 352 h 512"/>
              <a:gd name="T28" fmla="*/ 205 w 512"/>
              <a:gd name="T29" fmla="*/ 349 h 512"/>
              <a:gd name="T30" fmla="*/ 205 w 512"/>
              <a:gd name="T31" fmla="*/ 333 h 512"/>
              <a:gd name="T32" fmla="*/ 248 w 512"/>
              <a:gd name="T33" fmla="*/ 291 h 512"/>
              <a:gd name="T34" fmla="*/ 263 w 512"/>
              <a:gd name="T35" fmla="*/ 291 h 512"/>
              <a:gd name="T36" fmla="*/ 306 w 512"/>
              <a:gd name="T37" fmla="*/ 333 h 512"/>
              <a:gd name="T38" fmla="*/ 306 w 512"/>
              <a:gd name="T39" fmla="*/ 349 h 512"/>
              <a:gd name="T40" fmla="*/ 306 w 512"/>
              <a:gd name="T41" fmla="*/ 178 h 512"/>
              <a:gd name="T42" fmla="*/ 263 w 512"/>
              <a:gd name="T43" fmla="*/ 221 h 512"/>
              <a:gd name="T44" fmla="*/ 256 w 512"/>
              <a:gd name="T45" fmla="*/ 224 h 512"/>
              <a:gd name="T46" fmla="*/ 248 w 512"/>
              <a:gd name="T47" fmla="*/ 221 h 512"/>
              <a:gd name="T48" fmla="*/ 205 w 512"/>
              <a:gd name="T49" fmla="*/ 178 h 512"/>
              <a:gd name="T50" fmla="*/ 205 w 512"/>
              <a:gd name="T51" fmla="*/ 163 h 512"/>
              <a:gd name="T52" fmla="*/ 221 w 512"/>
              <a:gd name="T53" fmla="*/ 163 h 512"/>
              <a:gd name="T54" fmla="*/ 245 w 512"/>
              <a:gd name="T55" fmla="*/ 187 h 512"/>
              <a:gd name="T56" fmla="*/ 245 w 512"/>
              <a:gd name="T57" fmla="*/ 106 h 512"/>
              <a:gd name="T58" fmla="*/ 256 w 512"/>
              <a:gd name="T59" fmla="*/ 96 h 512"/>
              <a:gd name="T60" fmla="*/ 266 w 512"/>
              <a:gd name="T61" fmla="*/ 106 h 512"/>
              <a:gd name="T62" fmla="*/ 266 w 512"/>
              <a:gd name="T63" fmla="*/ 187 h 512"/>
              <a:gd name="T64" fmla="*/ 291 w 512"/>
              <a:gd name="T65" fmla="*/ 163 h 512"/>
              <a:gd name="T66" fmla="*/ 306 w 512"/>
              <a:gd name="T67" fmla="*/ 163 h 512"/>
              <a:gd name="T68" fmla="*/ 306 w 512"/>
              <a:gd name="T69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6" y="349"/>
                </a:moveTo>
                <a:cubicBezTo>
                  <a:pt x="302" y="353"/>
                  <a:pt x="295" y="353"/>
                  <a:pt x="291" y="349"/>
                </a:cubicBezTo>
                <a:cubicBezTo>
                  <a:pt x="266" y="324"/>
                  <a:pt x="266" y="324"/>
                  <a:pt x="266" y="324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324"/>
                  <a:pt x="245" y="324"/>
                  <a:pt x="245" y="324"/>
                </a:cubicBezTo>
                <a:cubicBezTo>
                  <a:pt x="221" y="349"/>
                  <a:pt x="221" y="349"/>
                  <a:pt x="221" y="349"/>
                </a:cubicBezTo>
                <a:cubicBezTo>
                  <a:pt x="218" y="351"/>
                  <a:pt x="216" y="352"/>
                  <a:pt x="213" y="352"/>
                </a:cubicBezTo>
                <a:cubicBezTo>
                  <a:pt x="210" y="352"/>
                  <a:pt x="208" y="351"/>
                  <a:pt x="205" y="349"/>
                </a:cubicBezTo>
                <a:cubicBezTo>
                  <a:pt x="201" y="344"/>
                  <a:pt x="201" y="338"/>
                  <a:pt x="205" y="333"/>
                </a:cubicBezTo>
                <a:cubicBezTo>
                  <a:pt x="248" y="291"/>
                  <a:pt x="248" y="291"/>
                  <a:pt x="248" y="291"/>
                </a:cubicBezTo>
                <a:cubicBezTo>
                  <a:pt x="252" y="287"/>
                  <a:pt x="259" y="287"/>
                  <a:pt x="263" y="291"/>
                </a:cubicBezTo>
                <a:cubicBezTo>
                  <a:pt x="306" y="333"/>
                  <a:pt x="306" y="333"/>
                  <a:pt x="306" y="333"/>
                </a:cubicBezTo>
                <a:cubicBezTo>
                  <a:pt x="310" y="338"/>
                  <a:pt x="310" y="344"/>
                  <a:pt x="306" y="349"/>
                </a:cubicBezTo>
                <a:close/>
                <a:moveTo>
                  <a:pt x="306" y="178"/>
                </a:moveTo>
                <a:cubicBezTo>
                  <a:pt x="263" y="221"/>
                  <a:pt x="263" y="221"/>
                  <a:pt x="263" y="221"/>
                </a:cubicBezTo>
                <a:cubicBezTo>
                  <a:pt x="261" y="223"/>
                  <a:pt x="258" y="224"/>
                  <a:pt x="256" y="224"/>
                </a:cubicBezTo>
                <a:cubicBezTo>
                  <a:pt x="253" y="224"/>
                  <a:pt x="250" y="223"/>
                  <a:pt x="248" y="221"/>
                </a:cubicBezTo>
                <a:cubicBezTo>
                  <a:pt x="205" y="178"/>
                  <a:pt x="205" y="178"/>
                  <a:pt x="205" y="178"/>
                </a:cubicBezTo>
                <a:cubicBezTo>
                  <a:pt x="201" y="174"/>
                  <a:pt x="201" y="167"/>
                  <a:pt x="205" y="163"/>
                </a:cubicBezTo>
                <a:cubicBezTo>
                  <a:pt x="210" y="159"/>
                  <a:pt x="216" y="159"/>
                  <a:pt x="221" y="163"/>
                </a:cubicBezTo>
                <a:cubicBezTo>
                  <a:pt x="245" y="187"/>
                  <a:pt x="245" y="187"/>
                  <a:pt x="245" y="187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50" y="96"/>
                  <a:pt x="256" y="96"/>
                </a:cubicBezTo>
                <a:cubicBezTo>
                  <a:pt x="262" y="96"/>
                  <a:pt x="266" y="100"/>
                  <a:pt x="266" y="106"/>
                </a:cubicBezTo>
                <a:cubicBezTo>
                  <a:pt x="266" y="187"/>
                  <a:pt x="266" y="187"/>
                  <a:pt x="266" y="187"/>
                </a:cubicBezTo>
                <a:cubicBezTo>
                  <a:pt x="291" y="163"/>
                  <a:pt x="291" y="163"/>
                  <a:pt x="291" y="163"/>
                </a:cubicBezTo>
                <a:cubicBezTo>
                  <a:pt x="295" y="159"/>
                  <a:pt x="302" y="159"/>
                  <a:pt x="306" y="163"/>
                </a:cubicBezTo>
                <a:cubicBezTo>
                  <a:pt x="310" y="167"/>
                  <a:pt x="310" y="174"/>
                  <a:pt x="306" y="1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5" name="Group 190"/>
          <p:cNvGrpSpPr>
            <a:grpSpLocks noChangeAspect="1"/>
          </p:cNvGrpSpPr>
          <p:nvPr/>
        </p:nvGrpSpPr>
        <p:grpSpPr bwMode="auto">
          <a:xfrm>
            <a:off x="2921482" y="5398214"/>
            <a:ext cx="367631" cy="367631"/>
            <a:chOff x="4898" y="1582"/>
            <a:chExt cx="340" cy="340"/>
          </a:xfrm>
          <a:solidFill>
            <a:schemeClr val="accent2"/>
          </a:solidFill>
        </p:grpSpPr>
        <p:sp>
          <p:nvSpPr>
            <p:cNvPr id="416" name="Freeform 191"/>
            <p:cNvSpPr>
              <a:spLocks noEditPoints="1"/>
            </p:cNvSpPr>
            <p:nvPr/>
          </p:nvSpPr>
          <p:spPr bwMode="auto">
            <a:xfrm>
              <a:off x="4898" y="158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7" name="Freeform 192"/>
            <p:cNvSpPr>
              <a:spLocks noEditPoints="1"/>
            </p:cNvSpPr>
            <p:nvPr/>
          </p:nvSpPr>
          <p:spPr bwMode="auto">
            <a:xfrm>
              <a:off x="5031" y="1646"/>
              <a:ext cx="73" cy="212"/>
            </a:xfrm>
            <a:custGeom>
              <a:avLst/>
              <a:gdLst>
                <a:gd name="T0" fmla="*/ 105 w 109"/>
                <a:gd name="T1" fmla="*/ 82 h 320"/>
                <a:gd name="T2" fmla="*/ 62 w 109"/>
                <a:gd name="T3" fmla="*/ 125 h 320"/>
                <a:gd name="T4" fmla="*/ 55 w 109"/>
                <a:gd name="T5" fmla="*/ 128 h 320"/>
                <a:gd name="T6" fmla="*/ 47 w 109"/>
                <a:gd name="T7" fmla="*/ 125 h 320"/>
                <a:gd name="T8" fmla="*/ 4 w 109"/>
                <a:gd name="T9" fmla="*/ 82 h 320"/>
                <a:gd name="T10" fmla="*/ 4 w 109"/>
                <a:gd name="T11" fmla="*/ 67 h 320"/>
                <a:gd name="T12" fmla="*/ 20 w 109"/>
                <a:gd name="T13" fmla="*/ 67 h 320"/>
                <a:gd name="T14" fmla="*/ 44 w 109"/>
                <a:gd name="T15" fmla="*/ 91 h 320"/>
                <a:gd name="T16" fmla="*/ 44 w 109"/>
                <a:gd name="T17" fmla="*/ 10 h 320"/>
                <a:gd name="T18" fmla="*/ 55 w 109"/>
                <a:gd name="T19" fmla="*/ 0 h 320"/>
                <a:gd name="T20" fmla="*/ 65 w 109"/>
                <a:gd name="T21" fmla="*/ 10 h 320"/>
                <a:gd name="T22" fmla="*/ 65 w 109"/>
                <a:gd name="T23" fmla="*/ 91 h 320"/>
                <a:gd name="T24" fmla="*/ 90 w 109"/>
                <a:gd name="T25" fmla="*/ 67 h 320"/>
                <a:gd name="T26" fmla="*/ 105 w 109"/>
                <a:gd name="T27" fmla="*/ 67 h 320"/>
                <a:gd name="T28" fmla="*/ 105 w 109"/>
                <a:gd name="T29" fmla="*/ 82 h 320"/>
                <a:gd name="T30" fmla="*/ 105 w 109"/>
                <a:gd name="T31" fmla="*/ 237 h 320"/>
                <a:gd name="T32" fmla="*/ 62 w 109"/>
                <a:gd name="T33" fmla="*/ 195 h 320"/>
                <a:gd name="T34" fmla="*/ 47 w 109"/>
                <a:gd name="T35" fmla="*/ 195 h 320"/>
                <a:gd name="T36" fmla="*/ 4 w 109"/>
                <a:gd name="T37" fmla="*/ 237 h 320"/>
                <a:gd name="T38" fmla="*/ 4 w 109"/>
                <a:gd name="T39" fmla="*/ 253 h 320"/>
                <a:gd name="T40" fmla="*/ 12 w 109"/>
                <a:gd name="T41" fmla="*/ 256 h 320"/>
                <a:gd name="T42" fmla="*/ 20 w 109"/>
                <a:gd name="T43" fmla="*/ 253 h 320"/>
                <a:gd name="T44" fmla="*/ 44 w 109"/>
                <a:gd name="T45" fmla="*/ 228 h 320"/>
                <a:gd name="T46" fmla="*/ 44 w 109"/>
                <a:gd name="T47" fmla="*/ 309 h 320"/>
                <a:gd name="T48" fmla="*/ 55 w 109"/>
                <a:gd name="T49" fmla="*/ 320 h 320"/>
                <a:gd name="T50" fmla="*/ 65 w 109"/>
                <a:gd name="T51" fmla="*/ 309 h 320"/>
                <a:gd name="T52" fmla="*/ 65 w 109"/>
                <a:gd name="T53" fmla="*/ 228 h 320"/>
                <a:gd name="T54" fmla="*/ 90 w 109"/>
                <a:gd name="T55" fmla="*/ 253 h 320"/>
                <a:gd name="T56" fmla="*/ 105 w 109"/>
                <a:gd name="T57" fmla="*/ 253 h 320"/>
                <a:gd name="T58" fmla="*/ 105 w 109"/>
                <a:gd name="T59" fmla="*/ 23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9" h="320">
                  <a:moveTo>
                    <a:pt x="105" y="82"/>
                  </a:moveTo>
                  <a:cubicBezTo>
                    <a:pt x="62" y="125"/>
                    <a:pt x="62" y="125"/>
                    <a:pt x="62" y="125"/>
                  </a:cubicBezTo>
                  <a:cubicBezTo>
                    <a:pt x="60" y="127"/>
                    <a:pt x="57" y="128"/>
                    <a:pt x="55" y="128"/>
                  </a:cubicBezTo>
                  <a:cubicBezTo>
                    <a:pt x="52" y="128"/>
                    <a:pt x="49" y="127"/>
                    <a:pt x="47" y="12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0" y="78"/>
                    <a:pt x="0" y="71"/>
                    <a:pt x="4" y="67"/>
                  </a:cubicBezTo>
                  <a:cubicBezTo>
                    <a:pt x="9" y="63"/>
                    <a:pt x="15" y="63"/>
                    <a:pt x="20" y="67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4"/>
                    <a:pt x="49" y="0"/>
                    <a:pt x="55" y="0"/>
                  </a:cubicBezTo>
                  <a:cubicBezTo>
                    <a:pt x="61" y="0"/>
                    <a:pt x="65" y="4"/>
                    <a:pt x="65" y="10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4" y="63"/>
                    <a:pt x="101" y="63"/>
                    <a:pt x="105" y="67"/>
                  </a:cubicBezTo>
                  <a:cubicBezTo>
                    <a:pt x="109" y="71"/>
                    <a:pt x="109" y="78"/>
                    <a:pt x="105" y="82"/>
                  </a:cubicBezTo>
                  <a:close/>
                  <a:moveTo>
                    <a:pt x="105" y="237"/>
                  </a:moveTo>
                  <a:cubicBezTo>
                    <a:pt x="62" y="195"/>
                    <a:pt x="62" y="195"/>
                    <a:pt x="62" y="195"/>
                  </a:cubicBezTo>
                  <a:cubicBezTo>
                    <a:pt x="58" y="191"/>
                    <a:pt x="51" y="191"/>
                    <a:pt x="47" y="195"/>
                  </a:cubicBezTo>
                  <a:cubicBezTo>
                    <a:pt x="4" y="237"/>
                    <a:pt x="4" y="237"/>
                    <a:pt x="4" y="237"/>
                  </a:cubicBezTo>
                  <a:cubicBezTo>
                    <a:pt x="0" y="242"/>
                    <a:pt x="0" y="248"/>
                    <a:pt x="4" y="253"/>
                  </a:cubicBezTo>
                  <a:cubicBezTo>
                    <a:pt x="7" y="255"/>
                    <a:pt x="9" y="256"/>
                    <a:pt x="12" y="256"/>
                  </a:cubicBezTo>
                  <a:cubicBezTo>
                    <a:pt x="15" y="256"/>
                    <a:pt x="17" y="255"/>
                    <a:pt x="20" y="253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44" y="309"/>
                    <a:pt x="44" y="309"/>
                    <a:pt x="44" y="309"/>
                  </a:cubicBezTo>
                  <a:cubicBezTo>
                    <a:pt x="44" y="315"/>
                    <a:pt x="49" y="320"/>
                    <a:pt x="55" y="320"/>
                  </a:cubicBezTo>
                  <a:cubicBezTo>
                    <a:pt x="61" y="320"/>
                    <a:pt x="65" y="315"/>
                    <a:pt x="65" y="309"/>
                  </a:cubicBezTo>
                  <a:cubicBezTo>
                    <a:pt x="65" y="228"/>
                    <a:pt x="65" y="228"/>
                    <a:pt x="65" y="228"/>
                  </a:cubicBezTo>
                  <a:cubicBezTo>
                    <a:pt x="90" y="253"/>
                    <a:pt x="90" y="253"/>
                    <a:pt x="90" y="253"/>
                  </a:cubicBezTo>
                  <a:cubicBezTo>
                    <a:pt x="94" y="257"/>
                    <a:pt x="101" y="257"/>
                    <a:pt x="105" y="253"/>
                  </a:cubicBezTo>
                  <a:cubicBezTo>
                    <a:pt x="109" y="248"/>
                    <a:pt x="109" y="242"/>
                    <a:pt x="105" y="2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15" name="Group 217"/>
          <p:cNvGrpSpPr>
            <a:grpSpLocks noChangeAspect="1"/>
          </p:cNvGrpSpPr>
          <p:nvPr/>
        </p:nvGrpSpPr>
        <p:grpSpPr bwMode="auto">
          <a:xfrm>
            <a:off x="9881722" y="4540470"/>
            <a:ext cx="369676" cy="369676"/>
            <a:chOff x="5807" y="746"/>
            <a:chExt cx="340" cy="340"/>
          </a:xfrm>
          <a:solidFill>
            <a:schemeClr val="accent3"/>
          </a:solidFill>
        </p:grpSpPr>
        <p:sp>
          <p:nvSpPr>
            <p:cNvPr id="216" name="Freeform 218"/>
            <p:cNvSpPr>
              <a:spLocks noEditPoints="1"/>
            </p:cNvSpPr>
            <p:nvPr/>
          </p:nvSpPr>
          <p:spPr bwMode="auto">
            <a:xfrm>
              <a:off x="5892" y="824"/>
              <a:ext cx="170" cy="184"/>
            </a:xfrm>
            <a:custGeom>
              <a:avLst/>
              <a:gdLst>
                <a:gd name="T0" fmla="*/ 256 w 256"/>
                <a:gd name="T1" fmla="*/ 138 h 277"/>
                <a:gd name="T2" fmla="*/ 128 w 256"/>
                <a:gd name="T3" fmla="*/ 266 h 277"/>
                <a:gd name="T4" fmla="*/ 53 w 256"/>
                <a:gd name="T5" fmla="*/ 242 h 277"/>
                <a:gd name="T6" fmla="*/ 53 w 256"/>
                <a:gd name="T7" fmla="*/ 266 h 277"/>
                <a:gd name="T8" fmla="*/ 43 w 256"/>
                <a:gd name="T9" fmla="*/ 277 h 277"/>
                <a:gd name="T10" fmla="*/ 32 w 256"/>
                <a:gd name="T11" fmla="*/ 266 h 277"/>
                <a:gd name="T12" fmla="*/ 32 w 256"/>
                <a:gd name="T13" fmla="*/ 213 h 277"/>
                <a:gd name="T14" fmla="*/ 43 w 256"/>
                <a:gd name="T15" fmla="*/ 202 h 277"/>
                <a:gd name="T16" fmla="*/ 96 w 256"/>
                <a:gd name="T17" fmla="*/ 202 h 277"/>
                <a:gd name="T18" fmla="*/ 107 w 256"/>
                <a:gd name="T19" fmla="*/ 213 h 277"/>
                <a:gd name="T20" fmla="*/ 96 w 256"/>
                <a:gd name="T21" fmla="*/ 224 h 277"/>
                <a:gd name="T22" fmla="*/ 64 w 256"/>
                <a:gd name="T23" fmla="*/ 224 h 277"/>
                <a:gd name="T24" fmla="*/ 128 w 256"/>
                <a:gd name="T25" fmla="*/ 245 h 277"/>
                <a:gd name="T26" fmla="*/ 235 w 256"/>
                <a:gd name="T27" fmla="*/ 138 h 277"/>
                <a:gd name="T28" fmla="*/ 245 w 256"/>
                <a:gd name="T29" fmla="*/ 128 h 277"/>
                <a:gd name="T30" fmla="*/ 256 w 256"/>
                <a:gd name="T31" fmla="*/ 138 h 277"/>
                <a:gd name="T32" fmla="*/ 128 w 256"/>
                <a:gd name="T33" fmla="*/ 32 h 277"/>
                <a:gd name="T34" fmla="*/ 192 w 256"/>
                <a:gd name="T35" fmla="*/ 53 h 277"/>
                <a:gd name="T36" fmla="*/ 160 w 256"/>
                <a:gd name="T37" fmla="*/ 53 h 277"/>
                <a:gd name="T38" fmla="*/ 149 w 256"/>
                <a:gd name="T39" fmla="*/ 64 h 277"/>
                <a:gd name="T40" fmla="*/ 160 w 256"/>
                <a:gd name="T41" fmla="*/ 74 h 277"/>
                <a:gd name="T42" fmla="*/ 213 w 256"/>
                <a:gd name="T43" fmla="*/ 74 h 277"/>
                <a:gd name="T44" fmla="*/ 224 w 256"/>
                <a:gd name="T45" fmla="*/ 64 h 277"/>
                <a:gd name="T46" fmla="*/ 224 w 256"/>
                <a:gd name="T47" fmla="*/ 10 h 277"/>
                <a:gd name="T48" fmla="*/ 213 w 256"/>
                <a:gd name="T49" fmla="*/ 0 h 277"/>
                <a:gd name="T50" fmla="*/ 203 w 256"/>
                <a:gd name="T51" fmla="*/ 10 h 277"/>
                <a:gd name="T52" fmla="*/ 203 w 256"/>
                <a:gd name="T53" fmla="*/ 35 h 277"/>
                <a:gd name="T54" fmla="*/ 128 w 256"/>
                <a:gd name="T55" fmla="*/ 10 h 277"/>
                <a:gd name="T56" fmla="*/ 0 w 256"/>
                <a:gd name="T57" fmla="*/ 138 h 277"/>
                <a:gd name="T58" fmla="*/ 11 w 256"/>
                <a:gd name="T59" fmla="*/ 149 h 277"/>
                <a:gd name="T60" fmla="*/ 21 w 256"/>
                <a:gd name="T61" fmla="*/ 138 h 277"/>
                <a:gd name="T62" fmla="*/ 128 w 256"/>
                <a:gd name="T63" fmla="*/ 3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6" h="277">
                  <a:moveTo>
                    <a:pt x="256" y="138"/>
                  </a:moveTo>
                  <a:cubicBezTo>
                    <a:pt x="256" y="209"/>
                    <a:pt x="199" y="266"/>
                    <a:pt x="128" y="266"/>
                  </a:cubicBezTo>
                  <a:cubicBezTo>
                    <a:pt x="101" y="266"/>
                    <a:pt x="75" y="258"/>
                    <a:pt x="53" y="242"/>
                  </a:cubicBezTo>
                  <a:cubicBezTo>
                    <a:pt x="53" y="266"/>
                    <a:pt x="53" y="266"/>
                    <a:pt x="53" y="266"/>
                  </a:cubicBezTo>
                  <a:cubicBezTo>
                    <a:pt x="53" y="272"/>
                    <a:pt x="49" y="277"/>
                    <a:pt x="43" y="277"/>
                  </a:cubicBezTo>
                  <a:cubicBezTo>
                    <a:pt x="37" y="277"/>
                    <a:pt x="32" y="272"/>
                    <a:pt x="32" y="266"/>
                  </a:cubicBezTo>
                  <a:cubicBezTo>
                    <a:pt x="32" y="213"/>
                    <a:pt x="32" y="213"/>
                    <a:pt x="32" y="213"/>
                  </a:cubicBezTo>
                  <a:cubicBezTo>
                    <a:pt x="32" y="207"/>
                    <a:pt x="37" y="202"/>
                    <a:pt x="43" y="202"/>
                  </a:cubicBezTo>
                  <a:cubicBezTo>
                    <a:pt x="96" y="202"/>
                    <a:pt x="96" y="202"/>
                    <a:pt x="96" y="202"/>
                  </a:cubicBezTo>
                  <a:cubicBezTo>
                    <a:pt x="102" y="202"/>
                    <a:pt x="107" y="207"/>
                    <a:pt x="107" y="213"/>
                  </a:cubicBezTo>
                  <a:cubicBezTo>
                    <a:pt x="107" y="219"/>
                    <a:pt x="102" y="224"/>
                    <a:pt x="96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82" y="237"/>
                    <a:pt x="105" y="245"/>
                    <a:pt x="128" y="245"/>
                  </a:cubicBezTo>
                  <a:cubicBezTo>
                    <a:pt x="187" y="245"/>
                    <a:pt x="235" y="197"/>
                    <a:pt x="235" y="138"/>
                  </a:cubicBezTo>
                  <a:cubicBezTo>
                    <a:pt x="235" y="132"/>
                    <a:pt x="239" y="128"/>
                    <a:pt x="245" y="128"/>
                  </a:cubicBezTo>
                  <a:cubicBezTo>
                    <a:pt x="251" y="128"/>
                    <a:pt x="256" y="132"/>
                    <a:pt x="256" y="138"/>
                  </a:cubicBezTo>
                  <a:close/>
                  <a:moveTo>
                    <a:pt x="128" y="32"/>
                  </a:moveTo>
                  <a:cubicBezTo>
                    <a:pt x="151" y="32"/>
                    <a:pt x="174" y="39"/>
                    <a:pt x="192" y="53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54" y="53"/>
                    <a:pt x="149" y="58"/>
                    <a:pt x="149" y="64"/>
                  </a:cubicBezTo>
                  <a:cubicBezTo>
                    <a:pt x="149" y="70"/>
                    <a:pt x="154" y="74"/>
                    <a:pt x="160" y="74"/>
                  </a:cubicBezTo>
                  <a:cubicBezTo>
                    <a:pt x="213" y="74"/>
                    <a:pt x="213" y="74"/>
                    <a:pt x="213" y="74"/>
                  </a:cubicBezTo>
                  <a:cubicBezTo>
                    <a:pt x="219" y="74"/>
                    <a:pt x="224" y="70"/>
                    <a:pt x="224" y="64"/>
                  </a:cubicBezTo>
                  <a:cubicBezTo>
                    <a:pt x="224" y="10"/>
                    <a:pt x="224" y="10"/>
                    <a:pt x="224" y="10"/>
                  </a:cubicBezTo>
                  <a:cubicBezTo>
                    <a:pt x="224" y="4"/>
                    <a:pt x="219" y="0"/>
                    <a:pt x="213" y="0"/>
                  </a:cubicBezTo>
                  <a:cubicBezTo>
                    <a:pt x="207" y="0"/>
                    <a:pt x="203" y="4"/>
                    <a:pt x="203" y="10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181" y="19"/>
                    <a:pt x="155" y="10"/>
                    <a:pt x="128" y="10"/>
                  </a:cubicBezTo>
                  <a:cubicBezTo>
                    <a:pt x="57" y="10"/>
                    <a:pt x="0" y="68"/>
                    <a:pt x="0" y="138"/>
                  </a:cubicBezTo>
                  <a:cubicBezTo>
                    <a:pt x="0" y="144"/>
                    <a:pt x="5" y="149"/>
                    <a:pt x="11" y="149"/>
                  </a:cubicBezTo>
                  <a:cubicBezTo>
                    <a:pt x="17" y="149"/>
                    <a:pt x="21" y="144"/>
                    <a:pt x="21" y="138"/>
                  </a:cubicBezTo>
                  <a:cubicBezTo>
                    <a:pt x="21" y="80"/>
                    <a:pt x="69" y="32"/>
                    <a:pt x="12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219"/>
            <p:cNvSpPr>
              <a:spLocks noEditPoints="1"/>
            </p:cNvSpPr>
            <p:nvPr/>
          </p:nvSpPr>
          <p:spPr bwMode="auto">
            <a:xfrm>
              <a:off x="5807" y="746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8" name="Freeform 223"/>
          <p:cNvSpPr>
            <a:spLocks noChangeAspect="1" noEditPoints="1"/>
          </p:cNvSpPr>
          <p:nvPr/>
        </p:nvSpPr>
        <p:spPr bwMode="auto">
          <a:xfrm>
            <a:off x="9383610" y="4540470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39 w 512"/>
              <a:gd name="T11" fmla="*/ 267 h 512"/>
              <a:gd name="T12" fmla="*/ 128 w 512"/>
              <a:gd name="T13" fmla="*/ 256 h 512"/>
              <a:gd name="T14" fmla="*/ 256 w 512"/>
              <a:gd name="T15" fmla="*/ 128 h 512"/>
              <a:gd name="T16" fmla="*/ 331 w 512"/>
              <a:gd name="T17" fmla="*/ 153 h 512"/>
              <a:gd name="T18" fmla="*/ 331 w 512"/>
              <a:gd name="T19" fmla="*/ 128 h 512"/>
              <a:gd name="T20" fmla="*/ 341 w 512"/>
              <a:gd name="T21" fmla="*/ 118 h 512"/>
              <a:gd name="T22" fmla="*/ 352 w 512"/>
              <a:gd name="T23" fmla="*/ 128 h 512"/>
              <a:gd name="T24" fmla="*/ 352 w 512"/>
              <a:gd name="T25" fmla="*/ 182 h 512"/>
              <a:gd name="T26" fmla="*/ 341 w 512"/>
              <a:gd name="T27" fmla="*/ 192 h 512"/>
              <a:gd name="T28" fmla="*/ 288 w 512"/>
              <a:gd name="T29" fmla="*/ 192 h 512"/>
              <a:gd name="T30" fmla="*/ 277 w 512"/>
              <a:gd name="T31" fmla="*/ 182 h 512"/>
              <a:gd name="T32" fmla="*/ 288 w 512"/>
              <a:gd name="T33" fmla="*/ 171 h 512"/>
              <a:gd name="T34" fmla="*/ 320 w 512"/>
              <a:gd name="T35" fmla="*/ 171 h 512"/>
              <a:gd name="T36" fmla="*/ 256 w 512"/>
              <a:gd name="T37" fmla="*/ 150 h 512"/>
              <a:gd name="T38" fmla="*/ 149 w 512"/>
              <a:gd name="T39" fmla="*/ 256 h 512"/>
              <a:gd name="T40" fmla="*/ 139 w 512"/>
              <a:gd name="T41" fmla="*/ 267 h 512"/>
              <a:gd name="T42" fmla="*/ 256 w 512"/>
              <a:gd name="T43" fmla="*/ 384 h 512"/>
              <a:gd name="T44" fmla="*/ 181 w 512"/>
              <a:gd name="T45" fmla="*/ 360 h 512"/>
              <a:gd name="T46" fmla="*/ 181 w 512"/>
              <a:gd name="T47" fmla="*/ 384 h 512"/>
              <a:gd name="T48" fmla="*/ 171 w 512"/>
              <a:gd name="T49" fmla="*/ 395 h 512"/>
              <a:gd name="T50" fmla="*/ 160 w 512"/>
              <a:gd name="T51" fmla="*/ 384 h 512"/>
              <a:gd name="T52" fmla="*/ 160 w 512"/>
              <a:gd name="T53" fmla="*/ 331 h 512"/>
              <a:gd name="T54" fmla="*/ 171 w 512"/>
              <a:gd name="T55" fmla="*/ 320 h 512"/>
              <a:gd name="T56" fmla="*/ 224 w 512"/>
              <a:gd name="T57" fmla="*/ 320 h 512"/>
              <a:gd name="T58" fmla="*/ 235 w 512"/>
              <a:gd name="T59" fmla="*/ 331 h 512"/>
              <a:gd name="T60" fmla="*/ 224 w 512"/>
              <a:gd name="T61" fmla="*/ 342 h 512"/>
              <a:gd name="T62" fmla="*/ 192 w 512"/>
              <a:gd name="T63" fmla="*/ 342 h 512"/>
              <a:gd name="T64" fmla="*/ 256 w 512"/>
              <a:gd name="T65" fmla="*/ 363 h 512"/>
              <a:gd name="T66" fmla="*/ 363 w 512"/>
              <a:gd name="T67" fmla="*/ 256 h 512"/>
              <a:gd name="T68" fmla="*/ 373 w 512"/>
              <a:gd name="T69" fmla="*/ 246 h 512"/>
              <a:gd name="T70" fmla="*/ 384 w 512"/>
              <a:gd name="T71" fmla="*/ 256 h 512"/>
              <a:gd name="T72" fmla="*/ 256 w 512"/>
              <a:gd name="T73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39" y="267"/>
                </a:moveTo>
                <a:cubicBezTo>
                  <a:pt x="133" y="267"/>
                  <a:pt x="128" y="262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283" y="128"/>
                  <a:pt x="309" y="137"/>
                  <a:pt x="331" y="153"/>
                </a:cubicBezTo>
                <a:cubicBezTo>
                  <a:pt x="331" y="128"/>
                  <a:pt x="331" y="128"/>
                  <a:pt x="331" y="128"/>
                </a:cubicBezTo>
                <a:cubicBezTo>
                  <a:pt x="331" y="122"/>
                  <a:pt x="335" y="118"/>
                  <a:pt x="341" y="118"/>
                </a:cubicBezTo>
                <a:cubicBezTo>
                  <a:pt x="347" y="118"/>
                  <a:pt x="352" y="122"/>
                  <a:pt x="352" y="128"/>
                </a:cubicBezTo>
                <a:cubicBezTo>
                  <a:pt x="352" y="182"/>
                  <a:pt x="352" y="182"/>
                  <a:pt x="352" y="182"/>
                </a:cubicBezTo>
                <a:cubicBezTo>
                  <a:pt x="352" y="188"/>
                  <a:pt x="347" y="192"/>
                  <a:pt x="341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2" y="192"/>
                  <a:pt x="277" y="188"/>
                  <a:pt x="277" y="182"/>
                </a:cubicBezTo>
                <a:cubicBezTo>
                  <a:pt x="277" y="176"/>
                  <a:pt x="282" y="171"/>
                  <a:pt x="288" y="171"/>
                </a:cubicBezTo>
                <a:cubicBezTo>
                  <a:pt x="320" y="171"/>
                  <a:pt x="320" y="171"/>
                  <a:pt x="320" y="171"/>
                </a:cubicBezTo>
                <a:cubicBezTo>
                  <a:pt x="302" y="157"/>
                  <a:pt x="279" y="150"/>
                  <a:pt x="256" y="150"/>
                </a:cubicBezTo>
                <a:cubicBezTo>
                  <a:pt x="197" y="150"/>
                  <a:pt x="149" y="198"/>
                  <a:pt x="149" y="256"/>
                </a:cubicBezTo>
                <a:cubicBezTo>
                  <a:pt x="149" y="262"/>
                  <a:pt x="145" y="267"/>
                  <a:pt x="139" y="267"/>
                </a:cubicBezTo>
                <a:close/>
                <a:moveTo>
                  <a:pt x="256" y="384"/>
                </a:moveTo>
                <a:cubicBezTo>
                  <a:pt x="229" y="384"/>
                  <a:pt x="203" y="376"/>
                  <a:pt x="181" y="360"/>
                </a:cubicBezTo>
                <a:cubicBezTo>
                  <a:pt x="181" y="384"/>
                  <a:pt x="181" y="384"/>
                  <a:pt x="181" y="384"/>
                </a:cubicBezTo>
                <a:cubicBezTo>
                  <a:pt x="181" y="390"/>
                  <a:pt x="177" y="395"/>
                  <a:pt x="171" y="395"/>
                </a:cubicBezTo>
                <a:cubicBezTo>
                  <a:pt x="165" y="395"/>
                  <a:pt x="160" y="390"/>
                  <a:pt x="160" y="384"/>
                </a:cubicBezTo>
                <a:cubicBezTo>
                  <a:pt x="160" y="331"/>
                  <a:pt x="160" y="331"/>
                  <a:pt x="160" y="331"/>
                </a:cubicBezTo>
                <a:cubicBezTo>
                  <a:pt x="160" y="325"/>
                  <a:pt x="165" y="320"/>
                  <a:pt x="171" y="320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30" y="320"/>
                  <a:pt x="235" y="325"/>
                  <a:pt x="235" y="331"/>
                </a:cubicBezTo>
                <a:cubicBezTo>
                  <a:pt x="235" y="337"/>
                  <a:pt x="230" y="342"/>
                  <a:pt x="224" y="342"/>
                </a:cubicBezTo>
                <a:cubicBezTo>
                  <a:pt x="192" y="342"/>
                  <a:pt x="192" y="342"/>
                  <a:pt x="192" y="342"/>
                </a:cubicBezTo>
                <a:cubicBezTo>
                  <a:pt x="210" y="355"/>
                  <a:pt x="233" y="363"/>
                  <a:pt x="256" y="363"/>
                </a:cubicBezTo>
                <a:cubicBezTo>
                  <a:pt x="315" y="363"/>
                  <a:pt x="363" y="315"/>
                  <a:pt x="363" y="256"/>
                </a:cubicBezTo>
                <a:cubicBezTo>
                  <a:pt x="363" y="250"/>
                  <a:pt x="367" y="246"/>
                  <a:pt x="373" y="246"/>
                </a:cubicBezTo>
                <a:cubicBezTo>
                  <a:pt x="379" y="246"/>
                  <a:pt x="384" y="250"/>
                  <a:pt x="384" y="256"/>
                </a:cubicBezTo>
                <a:cubicBezTo>
                  <a:pt x="384" y="327"/>
                  <a:pt x="327" y="384"/>
                  <a:pt x="256" y="38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3" name="Group 666"/>
          <p:cNvGrpSpPr>
            <a:grpSpLocks noChangeAspect="1"/>
          </p:cNvGrpSpPr>
          <p:nvPr/>
        </p:nvGrpSpPr>
        <p:grpSpPr bwMode="auto">
          <a:xfrm>
            <a:off x="5902463" y="5398214"/>
            <a:ext cx="369021" cy="369021"/>
            <a:chOff x="7340" y="2694"/>
            <a:chExt cx="340" cy="340"/>
          </a:xfrm>
          <a:solidFill>
            <a:schemeClr val="accent2"/>
          </a:solidFill>
        </p:grpSpPr>
        <p:sp>
          <p:nvSpPr>
            <p:cNvPr id="224" name="Freeform 667"/>
            <p:cNvSpPr>
              <a:spLocks/>
            </p:cNvSpPr>
            <p:nvPr/>
          </p:nvSpPr>
          <p:spPr bwMode="auto">
            <a:xfrm>
              <a:off x="7418" y="2779"/>
              <a:ext cx="177" cy="170"/>
            </a:xfrm>
            <a:custGeom>
              <a:avLst/>
              <a:gdLst>
                <a:gd name="T0" fmla="*/ 267 w 267"/>
                <a:gd name="T1" fmla="*/ 128 h 256"/>
                <a:gd name="T2" fmla="*/ 139 w 267"/>
                <a:gd name="T3" fmla="*/ 256 h 256"/>
                <a:gd name="T4" fmla="*/ 11 w 267"/>
                <a:gd name="T5" fmla="*/ 128 h 256"/>
                <a:gd name="T6" fmla="*/ 35 w 267"/>
                <a:gd name="T7" fmla="*/ 53 h 256"/>
                <a:gd name="T8" fmla="*/ 11 w 267"/>
                <a:gd name="T9" fmla="*/ 53 h 256"/>
                <a:gd name="T10" fmla="*/ 0 w 267"/>
                <a:gd name="T11" fmla="*/ 42 h 256"/>
                <a:gd name="T12" fmla="*/ 11 w 267"/>
                <a:gd name="T13" fmla="*/ 32 h 256"/>
                <a:gd name="T14" fmla="*/ 64 w 267"/>
                <a:gd name="T15" fmla="*/ 32 h 256"/>
                <a:gd name="T16" fmla="*/ 75 w 267"/>
                <a:gd name="T17" fmla="*/ 42 h 256"/>
                <a:gd name="T18" fmla="*/ 75 w 267"/>
                <a:gd name="T19" fmla="*/ 96 h 256"/>
                <a:gd name="T20" fmla="*/ 64 w 267"/>
                <a:gd name="T21" fmla="*/ 106 h 256"/>
                <a:gd name="T22" fmla="*/ 53 w 267"/>
                <a:gd name="T23" fmla="*/ 96 h 256"/>
                <a:gd name="T24" fmla="*/ 53 w 267"/>
                <a:gd name="T25" fmla="*/ 64 h 256"/>
                <a:gd name="T26" fmla="*/ 32 w 267"/>
                <a:gd name="T27" fmla="*/ 128 h 256"/>
                <a:gd name="T28" fmla="*/ 139 w 267"/>
                <a:gd name="T29" fmla="*/ 234 h 256"/>
                <a:gd name="T30" fmla="*/ 245 w 267"/>
                <a:gd name="T31" fmla="*/ 128 h 256"/>
                <a:gd name="T32" fmla="*/ 139 w 267"/>
                <a:gd name="T33" fmla="*/ 21 h 256"/>
                <a:gd name="T34" fmla="*/ 128 w 267"/>
                <a:gd name="T35" fmla="*/ 10 h 256"/>
                <a:gd name="T36" fmla="*/ 139 w 267"/>
                <a:gd name="T37" fmla="*/ 0 h 256"/>
                <a:gd name="T38" fmla="*/ 267 w 267"/>
                <a:gd name="T39" fmla="*/ 1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7" h="256">
                  <a:moveTo>
                    <a:pt x="267" y="128"/>
                  </a:moveTo>
                  <a:cubicBezTo>
                    <a:pt x="267" y="198"/>
                    <a:pt x="209" y="256"/>
                    <a:pt x="139" y="256"/>
                  </a:cubicBezTo>
                  <a:cubicBezTo>
                    <a:pt x="68" y="256"/>
                    <a:pt x="11" y="198"/>
                    <a:pt x="11" y="128"/>
                  </a:cubicBezTo>
                  <a:cubicBezTo>
                    <a:pt x="11" y="101"/>
                    <a:pt x="19" y="75"/>
                    <a:pt x="35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5" y="53"/>
                    <a:pt x="0" y="48"/>
                    <a:pt x="0" y="42"/>
                  </a:cubicBezTo>
                  <a:cubicBezTo>
                    <a:pt x="0" y="36"/>
                    <a:pt x="5" y="32"/>
                    <a:pt x="11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70" y="32"/>
                    <a:pt x="75" y="36"/>
                    <a:pt x="75" y="42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5" y="102"/>
                    <a:pt x="70" y="106"/>
                    <a:pt x="64" y="106"/>
                  </a:cubicBezTo>
                  <a:cubicBezTo>
                    <a:pt x="58" y="106"/>
                    <a:pt x="53" y="102"/>
                    <a:pt x="53" y="96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40" y="82"/>
                    <a:pt x="32" y="104"/>
                    <a:pt x="32" y="128"/>
                  </a:cubicBezTo>
                  <a:cubicBezTo>
                    <a:pt x="32" y="186"/>
                    <a:pt x="80" y="234"/>
                    <a:pt x="139" y="234"/>
                  </a:cubicBezTo>
                  <a:cubicBezTo>
                    <a:pt x="197" y="234"/>
                    <a:pt x="245" y="186"/>
                    <a:pt x="245" y="128"/>
                  </a:cubicBezTo>
                  <a:cubicBezTo>
                    <a:pt x="245" y="69"/>
                    <a:pt x="197" y="21"/>
                    <a:pt x="139" y="21"/>
                  </a:cubicBezTo>
                  <a:cubicBezTo>
                    <a:pt x="133" y="21"/>
                    <a:pt x="128" y="16"/>
                    <a:pt x="128" y="10"/>
                  </a:cubicBezTo>
                  <a:cubicBezTo>
                    <a:pt x="128" y="4"/>
                    <a:pt x="133" y="0"/>
                    <a:pt x="139" y="0"/>
                  </a:cubicBezTo>
                  <a:cubicBezTo>
                    <a:pt x="209" y="0"/>
                    <a:pt x="267" y="57"/>
                    <a:pt x="267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668"/>
            <p:cNvSpPr>
              <a:spLocks noEditPoints="1"/>
            </p:cNvSpPr>
            <p:nvPr/>
          </p:nvSpPr>
          <p:spPr bwMode="auto">
            <a:xfrm>
              <a:off x="7340" y="26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6" name="Freeform 672"/>
          <p:cNvSpPr>
            <a:spLocks noChangeAspect="1" noEditPoints="1"/>
          </p:cNvSpPr>
          <p:nvPr/>
        </p:nvSpPr>
        <p:spPr bwMode="auto">
          <a:xfrm>
            <a:off x="5404655" y="539821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84 h 512"/>
              <a:gd name="T12" fmla="*/ 128 w 512"/>
              <a:gd name="T13" fmla="*/ 256 h 512"/>
              <a:gd name="T14" fmla="*/ 152 w 512"/>
              <a:gd name="T15" fmla="*/ 181 h 512"/>
              <a:gd name="T16" fmla="*/ 128 w 512"/>
              <a:gd name="T17" fmla="*/ 181 h 512"/>
              <a:gd name="T18" fmla="*/ 117 w 512"/>
              <a:gd name="T19" fmla="*/ 170 h 512"/>
              <a:gd name="T20" fmla="*/ 128 w 512"/>
              <a:gd name="T21" fmla="*/ 160 h 512"/>
              <a:gd name="T22" fmla="*/ 181 w 512"/>
              <a:gd name="T23" fmla="*/ 160 h 512"/>
              <a:gd name="T24" fmla="*/ 192 w 512"/>
              <a:gd name="T25" fmla="*/ 170 h 512"/>
              <a:gd name="T26" fmla="*/ 192 w 512"/>
              <a:gd name="T27" fmla="*/ 224 h 512"/>
              <a:gd name="T28" fmla="*/ 181 w 512"/>
              <a:gd name="T29" fmla="*/ 234 h 512"/>
              <a:gd name="T30" fmla="*/ 170 w 512"/>
              <a:gd name="T31" fmla="*/ 224 h 512"/>
              <a:gd name="T32" fmla="*/ 170 w 512"/>
              <a:gd name="T33" fmla="*/ 192 h 512"/>
              <a:gd name="T34" fmla="*/ 149 w 512"/>
              <a:gd name="T35" fmla="*/ 256 h 512"/>
              <a:gd name="T36" fmla="*/ 256 w 512"/>
              <a:gd name="T37" fmla="*/ 362 h 512"/>
              <a:gd name="T38" fmla="*/ 362 w 512"/>
              <a:gd name="T39" fmla="*/ 256 h 512"/>
              <a:gd name="T40" fmla="*/ 256 w 512"/>
              <a:gd name="T41" fmla="*/ 149 h 512"/>
              <a:gd name="T42" fmla="*/ 245 w 512"/>
              <a:gd name="T43" fmla="*/ 138 h 512"/>
              <a:gd name="T44" fmla="*/ 256 w 512"/>
              <a:gd name="T45" fmla="*/ 128 h 512"/>
              <a:gd name="T46" fmla="*/ 384 w 512"/>
              <a:gd name="T47" fmla="*/ 256 h 512"/>
              <a:gd name="T48" fmla="*/ 256 w 512"/>
              <a:gd name="T49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84"/>
                </a:moveTo>
                <a:cubicBezTo>
                  <a:pt x="185" y="384"/>
                  <a:pt x="128" y="326"/>
                  <a:pt x="128" y="256"/>
                </a:cubicBezTo>
                <a:cubicBezTo>
                  <a:pt x="128" y="229"/>
                  <a:pt x="136" y="203"/>
                  <a:pt x="152" y="181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122" y="181"/>
                  <a:pt x="117" y="176"/>
                  <a:pt x="117" y="170"/>
                </a:cubicBezTo>
                <a:cubicBezTo>
                  <a:pt x="117" y="164"/>
                  <a:pt x="122" y="160"/>
                  <a:pt x="128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87" y="160"/>
                  <a:pt x="192" y="164"/>
                  <a:pt x="192" y="170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192" y="230"/>
                  <a:pt x="187" y="234"/>
                  <a:pt x="181" y="234"/>
                </a:cubicBezTo>
                <a:cubicBezTo>
                  <a:pt x="175" y="234"/>
                  <a:pt x="170" y="230"/>
                  <a:pt x="170" y="224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57" y="210"/>
                  <a:pt x="149" y="232"/>
                  <a:pt x="149" y="256"/>
                </a:cubicBezTo>
                <a:cubicBezTo>
                  <a:pt x="149" y="314"/>
                  <a:pt x="197" y="362"/>
                  <a:pt x="256" y="362"/>
                </a:cubicBezTo>
                <a:cubicBezTo>
                  <a:pt x="314" y="362"/>
                  <a:pt x="362" y="314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250" y="149"/>
                  <a:pt x="245" y="144"/>
                  <a:pt x="245" y="138"/>
                </a:cubicBezTo>
                <a:cubicBezTo>
                  <a:pt x="245" y="132"/>
                  <a:pt x="250" y="128"/>
                  <a:pt x="256" y="128"/>
                </a:cubicBezTo>
                <a:cubicBezTo>
                  <a:pt x="326" y="128"/>
                  <a:pt x="384" y="185"/>
                  <a:pt x="384" y="256"/>
                </a:cubicBezTo>
                <a:cubicBezTo>
                  <a:pt x="384" y="326"/>
                  <a:pt x="326" y="384"/>
                  <a:pt x="256" y="3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7" name="Group 724"/>
          <p:cNvGrpSpPr>
            <a:grpSpLocks noChangeAspect="1"/>
          </p:cNvGrpSpPr>
          <p:nvPr/>
        </p:nvGrpSpPr>
        <p:grpSpPr bwMode="auto">
          <a:xfrm>
            <a:off x="5900368" y="4540470"/>
            <a:ext cx="369021" cy="370106"/>
            <a:chOff x="2637" y="2702"/>
            <a:chExt cx="340" cy="341"/>
          </a:xfrm>
          <a:solidFill>
            <a:schemeClr val="accent2"/>
          </a:solidFill>
        </p:grpSpPr>
        <p:sp>
          <p:nvSpPr>
            <p:cNvPr id="228" name="Freeform 725"/>
            <p:cNvSpPr>
              <a:spLocks noEditPoints="1"/>
            </p:cNvSpPr>
            <p:nvPr/>
          </p:nvSpPr>
          <p:spPr bwMode="auto">
            <a:xfrm>
              <a:off x="2637" y="270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726"/>
            <p:cNvSpPr>
              <a:spLocks/>
            </p:cNvSpPr>
            <p:nvPr/>
          </p:nvSpPr>
          <p:spPr bwMode="auto">
            <a:xfrm>
              <a:off x="2700" y="2793"/>
              <a:ext cx="213" cy="129"/>
            </a:xfrm>
            <a:custGeom>
              <a:avLst/>
              <a:gdLst>
                <a:gd name="T0" fmla="*/ 246 w 321"/>
                <a:gd name="T1" fmla="*/ 44 h 193"/>
                <a:gd name="T2" fmla="*/ 37 w 321"/>
                <a:gd name="T3" fmla="*/ 44 h 193"/>
                <a:gd name="T4" fmla="*/ 62 w 321"/>
                <a:gd name="T5" fmla="*/ 20 h 193"/>
                <a:gd name="T6" fmla="*/ 62 w 321"/>
                <a:gd name="T7" fmla="*/ 4 h 193"/>
                <a:gd name="T8" fmla="*/ 46 w 321"/>
                <a:gd name="T9" fmla="*/ 4 h 193"/>
                <a:gd name="T10" fmla="*/ 4 w 321"/>
                <a:gd name="T11" fmla="*/ 47 h 193"/>
                <a:gd name="T12" fmla="*/ 4 w 321"/>
                <a:gd name="T13" fmla="*/ 62 h 193"/>
                <a:gd name="T14" fmla="*/ 46 w 321"/>
                <a:gd name="T15" fmla="*/ 105 h 193"/>
                <a:gd name="T16" fmla="*/ 54 w 321"/>
                <a:gd name="T17" fmla="*/ 108 h 193"/>
                <a:gd name="T18" fmla="*/ 62 w 321"/>
                <a:gd name="T19" fmla="*/ 105 h 193"/>
                <a:gd name="T20" fmla="*/ 62 w 321"/>
                <a:gd name="T21" fmla="*/ 90 h 193"/>
                <a:gd name="T22" fmla="*/ 37 w 321"/>
                <a:gd name="T23" fmla="*/ 65 h 193"/>
                <a:gd name="T24" fmla="*/ 246 w 321"/>
                <a:gd name="T25" fmla="*/ 65 h 193"/>
                <a:gd name="T26" fmla="*/ 299 w 321"/>
                <a:gd name="T27" fmla="*/ 119 h 193"/>
                <a:gd name="T28" fmla="*/ 246 w 321"/>
                <a:gd name="T29" fmla="*/ 172 h 193"/>
                <a:gd name="T30" fmla="*/ 33 w 321"/>
                <a:gd name="T31" fmla="*/ 172 h 193"/>
                <a:gd name="T32" fmla="*/ 22 w 321"/>
                <a:gd name="T33" fmla="*/ 183 h 193"/>
                <a:gd name="T34" fmla="*/ 33 w 321"/>
                <a:gd name="T35" fmla="*/ 193 h 193"/>
                <a:gd name="T36" fmla="*/ 246 w 321"/>
                <a:gd name="T37" fmla="*/ 193 h 193"/>
                <a:gd name="T38" fmla="*/ 321 w 321"/>
                <a:gd name="T39" fmla="*/ 119 h 193"/>
                <a:gd name="T40" fmla="*/ 246 w 321"/>
                <a:gd name="T41" fmla="*/ 4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1" h="193">
                  <a:moveTo>
                    <a:pt x="246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6" y="15"/>
                    <a:pt x="66" y="9"/>
                    <a:pt x="62" y="4"/>
                  </a:cubicBezTo>
                  <a:cubicBezTo>
                    <a:pt x="57" y="0"/>
                    <a:pt x="51" y="0"/>
                    <a:pt x="46" y="4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0" y="51"/>
                    <a:pt x="0" y="58"/>
                    <a:pt x="4" y="62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9" y="107"/>
                    <a:pt x="51" y="108"/>
                    <a:pt x="54" y="108"/>
                  </a:cubicBezTo>
                  <a:cubicBezTo>
                    <a:pt x="57" y="108"/>
                    <a:pt x="59" y="107"/>
                    <a:pt x="62" y="105"/>
                  </a:cubicBezTo>
                  <a:cubicBezTo>
                    <a:pt x="66" y="101"/>
                    <a:pt x="66" y="94"/>
                    <a:pt x="62" y="90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75" y="65"/>
                    <a:pt x="299" y="89"/>
                    <a:pt x="299" y="119"/>
                  </a:cubicBezTo>
                  <a:cubicBezTo>
                    <a:pt x="299" y="148"/>
                    <a:pt x="275" y="172"/>
                    <a:pt x="246" y="172"/>
                  </a:cubicBezTo>
                  <a:cubicBezTo>
                    <a:pt x="33" y="172"/>
                    <a:pt x="33" y="172"/>
                    <a:pt x="33" y="172"/>
                  </a:cubicBezTo>
                  <a:cubicBezTo>
                    <a:pt x="27" y="172"/>
                    <a:pt x="22" y="177"/>
                    <a:pt x="22" y="183"/>
                  </a:cubicBezTo>
                  <a:cubicBezTo>
                    <a:pt x="22" y="189"/>
                    <a:pt x="27" y="193"/>
                    <a:pt x="33" y="193"/>
                  </a:cubicBezTo>
                  <a:cubicBezTo>
                    <a:pt x="246" y="193"/>
                    <a:pt x="246" y="193"/>
                    <a:pt x="246" y="193"/>
                  </a:cubicBezTo>
                  <a:cubicBezTo>
                    <a:pt x="287" y="193"/>
                    <a:pt x="321" y="160"/>
                    <a:pt x="321" y="119"/>
                  </a:cubicBezTo>
                  <a:cubicBezTo>
                    <a:pt x="321" y="77"/>
                    <a:pt x="287" y="44"/>
                    <a:pt x="246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0" name="Freeform 730"/>
          <p:cNvSpPr>
            <a:spLocks noChangeAspect="1" noEditPoints="1"/>
          </p:cNvSpPr>
          <p:nvPr/>
        </p:nvSpPr>
        <p:spPr bwMode="auto">
          <a:xfrm>
            <a:off x="5402917" y="454047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1 w 512"/>
              <a:gd name="T11" fmla="*/ 330 h 512"/>
              <a:gd name="T12" fmla="*/ 128 w 512"/>
              <a:gd name="T13" fmla="*/ 330 h 512"/>
              <a:gd name="T14" fmla="*/ 117 w 512"/>
              <a:gd name="T15" fmla="*/ 320 h 512"/>
              <a:gd name="T16" fmla="*/ 128 w 512"/>
              <a:gd name="T17" fmla="*/ 309 h 512"/>
              <a:gd name="T18" fmla="*/ 341 w 512"/>
              <a:gd name="T19" fmla="*/ 309 h 512"/>
              <a:gd name="T20" fmla="*/ 394 w 512"/>
              <a:gd name="T21" fmla="*/ 256 h 512"/>
              <a:gd name="T22" fmla="*/ 341 w 512"/>
              <a:gd name="T23" fmla="*/ 202 h 512"/>
              <a:gd name="T24" fmla="*/ 132 w 512"/>
              <a:gd name="T25" fmla="*/ 202 h 512"/>
              <a:gd name="T26" fmla="*/ 157 w 512"/>
              <a:gd name="T27" fmla="*/ 227 h 512"/>
              <a:gd name="T28" fmla="*/ 157 w 512"/>
              <a:gd name="T29" fmla="*/ 242 h 512"/>
              <a:gd name="T30" fmla="*/ 149 w 512"/>
              <a:gd name="T31" fmla="*/ 245 h 512"/>
              <a:gd name="T32" fmla="*/ 141 w 512"/>
              <a:gd name="T33" fmla="*/ 242 h 512"/>
              <a:gd name="T34" fmla="*/ 99 w 512"/>
              <a:gd name="T35" fmla="*/ 199 h 512"/>
              <a:gd name="T36" fmla="*/ 99 w 512"/>
              <a:gd name="T37" fmla="*/ 184 h 512"/>
              <a:gd name="T38" fmla="*/ 141 w 512"/>
              <a:gd name="T39" fmla="*/ 141 h 512"/>
              <a:gd name="T40" fmla="*/ 157 w 512"/>
              <a:gd name="T41" fmla="*/ 141 h 512"/>
              <a:gd name="T42" fmla="*/ 157 w 512"/>
              <a:gd name="T43" fmla="*/ 157 h 512"/>
              <a:gd name="T44" fmla="*/ 132 w 512"/>
              <a:gd name="T45" fmla="*/ 181 h 512"/>
              <a:gd name="T46" fmla="*/ 341 w 512"/>
              <a:gd name="T47" fmla="*/ 181 h 512"/>
              <a:gd name="T48" fmla="*/ 416 w 512"/>
              <a:gd name="T49" fmla="*/ 256 h 512"/>
              <a:gd name="T50" fmla="*/ 341 w 512"/>
              <a:gd name="T51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1" y="330"/>
                </a:moveTo>
                <a:cubicBezTo>
                  <a:pt x="128" y="330"/>
                  <a:pt x="128" y="330"/>
                  <a:pt x="128" y="330"/>
                </a:cubicBezTo>
                <a:cubicBezTo>
                  <a:pt x="122" y="330"/>
                  <a:pt x="117" y="326"/>
                  <a:pt x="117" y="320"/>
                </a:cubicBezTo>
                <a:cubicBezTo>
                  <a:pt x="117" y="314"/>
                  <a:pt x="122" y="309"/>
                  <a:pt x="128" y="309"/>
                </a:cubicBezTo>
                <a:cubicBezTo>
                  <a:pt x="341" y="309"/>
                  <a:pt x="341" y="309"/>
                  <a:pt x="341" y="309"/>
                </a:cubicBezTo>
                <a:cubicBezTo>
                  <a:pt x="370" y="309"/>
                  <a:pt x="394" y="285"/>
                  <a:pt x="394" y="256"/>
                </a:cubicBezTo>
                <a:cubicBezTo>
                  <a:pt x="394" y="226"/>
                  <a:pt x="370" y="202"/>
                  <a:pt x="341" y="202"/>
                </a:cubicBezTo>
                <a:cubicBezTo>
                  <a:pt x="132" y="202"/>
                  <a:pt x="132" y="202"/>
                  <a:pt x="132" y="202"/>
                </a:cubicBezTo>
                <a:cubicBezTo>
                  <a:pt x="157" y="227"/>
                  <a:pt x="157" y="227"/>
                  <a:pt x="157" y="227"/>
                </a:cubicBezTo>
                <a:cubicBezTo>
                  <a:pt x="161" y="231"/>
                  <a:pt x="161" y="238"/>
                  <a:pt x="157" y="242"/>
                </a:cubicBezTo>
                <a:cubicBezTo>
                  <a:pt x="154" y="244"/>
                  <a:pt x="152" y="245"/>
                  <a:pt x="149" y="245"/>
                </a:cubicBezTo>
                <a:cubicBezTo>
                  <a:pt x="146" y="245"/>
                  <a:pt x="144" y="244"/>
                  <a:pt x="141" y="242"/>
                </a:cubicBezTo>
                <a:cubicBezTo>
                  <a:pt x="99" y="199"/>
                  <a:pt x="99" y="199"/>
                  <a:pt x="99" y="199"/>
                </a:cubicBezTo>
                <a:cubicBezTo>
                  <a:pt x="95" y="195"/>
                  <a:pt x="95" y="188"/>
                  <a:pt x="99" y="184"/>
                </a:cubicBezTo>
                <a:cubicBezTo>
                  <a:pt x="141" y="141"/>
                  <a:pt x="141" y="141"/>
                  <a:pt x="141" y="141"/>
                </a:cubicBezTo>
                <a:cubicBezTo>
                  <a:pt x="146" y="137"/>
                  <a:pt x="152" y="137"/>
                  <a:pt x="157" y="141"/>
                </a:cubicBezTo>
                <a:cubicBezTo>
                  <a:pt x="161" y="146"/>
                  <a:pt x="161" y="152"/>
                  <a:pt x="157" y="157"/>
                </a:cubicBezTo>
                <a:cubicBezTo>
                  <a:pt x="132" y="181"/>
                  <a:pt x="132" y="181"/>
                  <a:pt x="132" y="181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82" y="181"/>
                  <a:pt x="416" y="214"/>
                  <a:pt x="416" y="256"/>
                </a:cubicBezTo>
                <a:cubicBezTo>
                  <a:pt x="416" y="297"/>
                  <a:pt x="382" y="330"/>
                  <a:pt x="341" y="33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1" name="Freeform 734"/>
          <p:cNvSpPr>
            <a:spLocks noChangeAspect="1" noEditPoints="1"/>
          </p:cNvSpPr>
          <p:nvPr/>
        </p:nvSpPr>
        <p:spPr bwMode="auto">
          <a:xfrm>
            <a:off x="6898079" y="5395895"/>
            <a:ext cx="370106" cy="37010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93 w 512"/>
              <a:gd name="T21" fmla="*/ 112 h 512"/>
              <a:gd name="T22" fmla="*/ 276 w 512"/>
              <a:gd name="T23" fmla="*/ 129 h 512"/>
              <a:gd name="T24" fmla="*/ 346 w 512"/>
              <a:gd name="T25" fmla="*/ 165 h 512"/>
              <a:gd name="T26" fmla="*/ 346 w 512"/>
              <a:gd name="T27" fmla="*/ 346 h 512"/>
              <a:gd name="T28" fmla="*/ 165 w 512"/>
              <a:gd name="T29" fmla="*/ 346 h 512"/>
              <a:gd name="T30" fmla="*/ 165 w 512"/>
              <a:gd name="T31" fmla="*/ 165 h 512"/>
              <a:gd name="T32" fmla="*/ 180 w 512"/>
              <a:gd name="T33" fmla="*/ 165 h 512"/>
              <a:gd name="T34" fmla="*/ 180 w 512"/>
              <a:gd name="T35" fmla="*/ 180 h 512"/>
              <a:gd name="T36" fmla="*/ 180 w 512"/>
              <a:gd name="T37" fmla="*/ 331 h 512"/>
              <a:gd name="T38" fmla="*/ 331 w 512"/>
              <a:gd name="T39" fmla="*/ 331 h 512"/>
              <a:gd name="T40" fmla="*/ 331 w 512"/>
              <a:gd name="T41" fmla="*/ 180 h 512"/>
              <a:gd name="T42" fmla="*/ 271 w 512"/>
              <a:gd name="T43" fmla="*/ 150 h 512"/>
              <a:gd name="T44" fmla="*/ 293 w 512"/>
              <a:gd name="T45" fmla="*/ 173 h 512"/>
              <a:gd name="T46" fmla="*/ 293 w 512"/>
              <a:gd name="T47" fmla="*/ 188 h 512"/>
              <a:gd name="T48" fmla="*/ 278 w 512"/>
              <a:gd name="T49" fmla="*/ 188 h 512"/>
              <a:gd name="T50" fmla="*/ 241 w 512"/>
              <a:gd name="T51" fmla="*/ 150 h 512"/>
              <a:gd name="T52" fmla="*/ 241 w 512"/>
              <a:gd name="T53" fmla="*/ 135 h 512"/>
              <a:gd name="T54" fmla="*/ 278 w 512"/>
              <a:gd name="T55" fmla="*/ 97 h 512"/>
              <a:gd name="T56" fmla="*/ 293 w 512"/>
              <a:gd name="T57" fmla="*/ 97 h 512"/>
              <a:gd name="T58" fmla="*/ 293 w 512"/>
              <a:gd name="T59" fmla="*/ 1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3" y="112"/>
                </a:moveTo>
                <a:cubicBezTo>
                  <a:pt x="276" y="129"/>
                  <a:pt x="276" y="129"/>
                  <a:pt x="276" y="129"/>
                </a:cubicBezTo>
                <a:cubicBezTo>
                  <a:pt x="302" y="134"/>
                  <a:pt x="327" y="146"/>
                  <a:pt x="346" y="165"/>
                </a:cubicBezTo>
                <a:cubicBezTo>
                  <a:pt x="396" y="215"/>
                  <a:pt x="396" y="296"/>
                  <a:pt x="346" y="346"/>
                </a:cubicBezTo>
                <a:cubicBezTo>
                  <a:pt x="296" y="396"/>
                  <a:pt x="215" y="396"/>
                  <a:pt x="165" y="346"/>
                </a:cubicBezTo>
                <a:cubicBezTo>
                  <a:pt x="115" y="296"/>
                  <a:pt x="115" y="215"/>
                  <a:pt x="165" y="165"/>
                </a:cubicBezTo>
                <a:cubicBezTo>
                  <a:pt x="169" y="161"/>
                  <a:pt x="176" y="161"/>
                  <a:pt x="180" y="165"/>
                </a:cubicBezTo>
                <a:cubicBezTo>
                  <a:pt x="184" y="169"/>
                  <a:pt x="184" y="176"/>
                  <a:pt x="180" y="180"/>
                </a:cubicBezTo>
                <a:cubicBezTo>
                  <a:pt x="139" y="222"/>
                  <a:pt x="139" y="290"/>
                  <a:pt x="180" y="331"/>
                </a:cubicBezTo>
                <a:cubicBezTo>
                  <a:pt x="222" y="373"/>
                  <a:pt x="290" y="373"/>
                  <a:pt x="331" y="331"/>
                </a:cubicBezTo>
                <a:cubicBezTo>
                  <a:pt x="373" y="290"/>
                  <a:pt x="373" y="222"/>
                  <a:pt x="331" y="180"/>
                </a:cubicBezTo>
                <a:cubicBezTo>
                  <a:pt x="315" y="164"/>
                  <a:pt x="291" y="156"/>
                  <a:pt x="271" y="150"/>
                </a:cubicBezTo>
                <a:cubicBezTo>
                  <a:pt x="293" y="173"/>
                  <a:pt x="293" y="173"/>
                  <a:pt x="293" y="173"/>
                </a:cubicBezTo>
                <a:cubicBezTo>
                  <a:pt x="298" y="177"/>
                  <a:pt x="298" y="184"/>
                  <a:pt x="293" y="188"/>
                </a:cubicBezTo>
                <a:cubicBezTo>
                  <a:pt x="289" y="192"/>
                  <a:pt x="282" y="192"/>
                  <a:pt x="278" y="188"/>
                </a:cubicBezTo>
                <a:cubicBezTo>
                  <a:pt x="241" y="150"/>
                  <a:pt x="241" y="150"/>
                  <a:pt x="241" y="150"/>
                </a:cubicBezTo>
                <a:cubicBezTo>
                  <a:pt x="236" y="146"/>
                  <a:pt x="236" y="139"/>
                  <a:pt x="241" y="135"/>
                </a:cubicBezTo>
                <a:cubicBezTo>
                  <a:pt x="278" y="97"/>
                  <a:pt x="278" y="97"/>
                  <a:pt x="278" y="97"/>
                </a:cubicBezTo>
                <a:cubicBezTo>
                  <a:pt x="282" y="93"/>
                  <a:pt x="289" y="93"/>
                  <a:pt x="293" y="97"/>
                </a:cubicBezTo>
                <a:cubicBezTo>
                  <a:pt x="298" y="101"/>
                  <a:pt x="298" y="108"/>
                  <a:pt x="293" y="11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2" name="Freeform 738"/>
          <p:cNvSpPr>
            <a:spLocks noChangeAspect="1" noEditPoints="1"/>
          </p:cNvSpPr>
          <p:nvPr/>
        </p:nvSpPr>
        <p:spPr bwMode="auto">
          <a:xfrm>
            <a:off x="6400271" y="5398211"/>
            <a:ext cx="369021" cy="37010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6 w 512"/>
              <a:gd name="T11" fmla="*/ 346 h 512"/>
              <a:gd name="T12" fmla="*/ 165 w 512"/>
              <a:gd name="T13" fmla="*/ 346 h 512"/>
              <a:gd name="T14" fmla="*/ 165 w 512"/>
              <a:gd name="T15" fmla="*/ 165 h 512"/>
              <a:gd name="T16" fmla="*/ 180 w 512"/>
              <a:gd name="T17" fmla="*/ 165 h 512"/>
              <a:gd name="T18" fmla="*/ 180 w 512"/>
              <a:gd name="T19" fmla="*/ 180 h 512"/>
              <a:gd name="T20" fmla="*/ 180 w 512"/>
              <a:gd name="T21" fmla="*/ 331 h 512"/>
              <a:gd name="T22" fmla="*/ 331 w 512"/>
              <a:gd name="T23" fmla="*/ 331 h 512"/>
              <a:gd name="T24" fmla="*/ 331 w 512"/>
              <a:gd name="T25" fmla="*/ 180 h 512"/>
              <a:gd name="T26" fmla="*/ 271 w 512"/>
              <a:gd name="T27" fmla="*/ 150 h 512"/>
              <a:gd name="T28" fmla="*/ 293 w 512"/>
              <a:gd name="T29" fmla="*/ 173 h 512"/>
              <a:gd name="T30" fmla="*/ 293 w 512"/>
              <a:gd name="T31" fmla="*/ 188 h 512"/>
              <a:gd name="T32" fmla="*/ 278 w 512"/>
              <a:gd name="T33" fmla="*/ 188 h 512"/>
              <a:gd name="T34" fmla="*/ 241 w 512"/>
              <a:gd name="T35" fmla="*/ 150 h 512"/>
              <a:gd name="T36" fmla="*/ 241 w 512"/>
              <a:gd name="T37" fmla="*/ 135 h 512"/>
              <a:gd name="T38" fmla="*/ 278 w 512"/>
              <a:gd name="T39" fmla="*/ 97 h 512"/>
              <a:gd name="T40" fmla="*/ 293 w 512"/>
              <a:gd name="T41" fmla="*/ 97 h 512"/>
              <a:gd name="T42" fmla="*/ 293 w 512"/>
              <a:gd name="T43" fmla="*/ 112 h 512"/>
              <a:gd name="T44" fmla="*/ 276 w 512"/>
              <a:gd name="T45" fmla="*/ 129 h 512"/>
              <a:gd name="T46" fmla="*/ 346 w 512"/>
              <a:gd name="T47" fmla="*/ 165 h 512"/>
              <a:gd name="T48" fmla="*/ 346 w 512"/>
              <a:gd name="T49" fmla="*/ 3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6" y="346"/>
                </a:moveTo>
                <a:cubicBezTo>
                  <a:pt x="296" y="396"/>
                  <a:pt x="215" y="396"/>
                  <a:pt x="165" y="346"/>
                </a:cubicBezTo>
                <a:cubicBezTo>
                  <a:pt x="115" y="296"/>
                  <a:pt x="115" y="215"/>
                  <a:pt x="165" y="165"/>
                </a:cubicBezTo>
                <a:cubicBezTo>
                  <a:pt x="169" y="161"/>
                  <a:pt x="176" y="161"/>
                  <a:pt x="180" y="165"/>
                </a:cubicBezTo>
                <a:cubicBezTo>
                  <a:pt x="184" y="169"/>
                  <a:pt x="184" y="176"/>
                  <a:pt x="180" y="180"/>
                </a:cubicBezTo>
                <a:cubicBezTo>
                  <a:pt x="139" y="222"/>
                  <a:pt x="139" y="290"/>
                  <a:pt x="180" y="331"/>
                </a:cubicBezTo>
                <a:cubicBezTo>
                  <a:pt x="222" y="373"/>
                  <a:pt x="290" y="373"/>
                  <a:pt x="331" y="331"/>
                </a:cubicBezTo>
                <a:cubicBezTo>
                  <a:pt x="373" y="290"/>
                  <a:pt x="373" y="222"/>
                  <a:pt x="331" y="180"/>
                </a:cubicBezTo>
                <a:cubicBezTo>
                  <a:pt x="315" y="164"/>
                  <a:pt x="291" y="156"/>
                  <a:pt x="271" y="150"/>
                </a:cubicBezTo>
                <a:cubicBezTo>
                  <a:pt x="293" y="173"/>
                  <a:pt x="293" y="173"/>
                  <a:pt x="293" y="173"/>
                </a:cubicBezTo>
                <a:cubicBezTo>
                  <a:pt x="298" y="177"/>
                  <a:pt x="298" y="184"/>
                  <a:pt x="293" y="188"/>
                </a:cubicBezTo>
                <a:cubicBezTo>
                  <a:pt x="289" y="192"/>
                  <a:pt x="282" y="192"/>
                  <a:pt x="278" y="188"/>
                </a:cubicBezTo>
                <a:cubicBezTo>
                  <a:pt x="241" y="150"/>
                  <a:pt x="241" y="150"/>
                  <a:pt x="241" y="150"/>
                </a:cubicBezTo>
                <a:cubicBezTo>
                  <a:pt x="236" y="146"/>
                  <a:pt x="236" y="139"/>
                  <a:pt x="241" y="135"/>
                </a:cubicBezTo>
                <a:cubicBezTo>
                  <a:pt x="278" y="97"/>
                  <a:pt x="278" y="97"/>
                  <a:pt x="278" y="97"/>
                </a:cubicBezTo>
                <a:cubicBezTo>
                  <a:pt x="282" y="93"/>
                  <a:pt x="289" y="93"/>
                  <a:pt x="293" y="97"/>
                </a:cubicBezTo>
                <a:cubicBezTo>
                  <a:pt x="298" y="101"/>
                  <a:pt x="298" y="108"/>
                  <a:pt x="293" y="112"/>
                </a:cubicBezTo>
                <a:cubicBezTo>
                  <a:pt x="276" y="129"/>
                  <a:pt x="276" y="129"/>
                  <a:pt x="276" y="129"/>
                </a:cubicBezTo>
                <a:cubicBezTo>
                  <a:pt x="302" y="134"/>
                  <a:pt x="327" y="146"/>
                  <a:pt x="346" y="165"/>
                </a:cubicBezTo>
                <a:cubicBezTo>
                  <a:pt x="396" y="215"/>
                  <a:pt x="396" y="296"/>
                  <a:pt x="346" y="3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3" name="Freeform 374"/>
          <p:cNvSpPr>
            <a:spLocks noChangeAspect="1" noEditPoints="1"/>
          </p:cNvSpPr>
          <p:nvPr/>
        </p:nvSpPr>
        <p:spPr bwMode="auto">
          <a:xfrm>
            <a:off x="4426889" y="3722464"/>
            <a:ext cx="367041" cy="3681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13 w 512"/>
              <a:gd name="T11" fmla="*/ 266 h 512"/>
              <a:gd name="T12" fmla="*/ 132 w 512"/>
              <a:gd name="T13" fmla="*/ 266 h 512"/>
              <a:gd name="T14" fmla="*/ 157 w 512"/>
              <a:gd name="T15" fmla="*/ 291 h 512"/>
              <a:gd name="T16" fmla="*/ 157 w 512"/>
              <a:gd name="T17" fmla="*/ 306 h 512"/>
              <a:gd name="T18" fmla="*/ 149 w 512"/>
              <a:gd name="T19" fmla="*/ 309 h 512"/>
              <a:gd name="T20" fmla="*/ 141 w 512"/>
              <a:gd name="T21" fmla="*/ 306 h 512"/>
              <a:gd name="T22" fmla="*/ 104 w 512"/>
              <a:gd name="T23" fmla="*/ 269 h 512"/>
              <a:gd name="T24" fmla="*/ 99 w 512"/>
              <a:gd name="T25" fmla="*/ 263 h 512"/>
              <a:gd name="T26" fmla="*/ 99 w 512"/>
              <a:gd name="T27" fmla="*/ 248 h 512"/>
              <a:gd name="T28" fmla="*/ 141 w 512"/>
              <a:gd name="T29" fmla="*/ 205 h 512"/>
              <a:gd name="T30" fmla="*/ 157 w 512"/>
              <a:gd name="T31" fmla="*/ 205 h 512"/>
              <a:gd name="T32" fmla="*/ 157 w 512"/>
              <a:gd name="T33" fmla="*/ 221 h 512"/>
              <a:gd name="T34" fmla="*/ 132 w 512"/>
              <a:gd name="T35" fmla="*/ 245 h 512"/>
              <a:gd name="T36" fmla="*/ 213 w 512"/>
              <a:gd name="T37" fmla="*/ 245 h 512"/>
              <a:gd name="T38" fmla="*/ 224 w 512"/>
              <a:gd name="T39" fmla="*/ 256 h 512"/>
              <a:gd name="T40" fmla="*/ 213 w 512"/>
              <a:gd name="T41" fmla="*/ 266 h 512"/>
              <a:gd name="T42" fmla="*/ 413 w 512"/>
              <a:gd name="T43" fmla="*/ 263 h 512"/>
              <a:gd name="T44" fmla="*/ 370 w 512"/>
              <a:gd name="T45" fmla="*/ 306 h 512"/>
              <a:gd name="T46" fmla="*/ 362 w 512"/>
              <a:gd name="T47" fmla="*/ 309 h 512"/>
              <a:gd name="T48" fmla="*/ 355 w 512"/>
              <a:gd name="T49" fmla="*/ 306 h 512"/>
              <a:gd name="T50" fmla="*/ 355 w 512"/>
              <a:gd name="T51" fmla="*/ 291 h 512"/>
              <a:gd name="T52" fmla="*/ 379 w 512"/>
              <a:gd name="T53" fmla="*/ 266 h 512"/>
              <a:gd name="T54" fmla="*/ 298 w 512"/>
              <a:gd name="T55" fmla="*/ 266 h 512"/>
              <a:gd name="T56" fmla="*/ 288 w 512"/>
              <a:gd name="T57" fmla="*/ 256 h 512"/>
              <a:gd name="T58" fmla="*/ 298 w 512"/>
              <a:gd name="T59" fmla="*/ 245 h 512"/>
              <a:gd name="T60" fmla="*/ 379 w 512"/>
              <a:gd name="T61" fmla="*/ 245 h 512"/>
              <a:gd name="T62" fmla="*/ 355 w 512"/>
              <a:gd name="T63" fmla="*/ 221 h 512"/>
              <a:gd name="T64" fmla="*/ 355 w 512"/>
              <a:gd name="T65" fmla="*/ 205 h 512"/>
              <a:gd name="T66" fmla="*/ 370 w 512"/>
              <a:gd name="T67" fmla="*/ 205 h 512"/>
              <a:gd name="T68" fmla="*/ 413 w 512"/>
              <a:gd name="T69" fmla="*/ 248 h 512"/>
              <a:gd name="T70" fmla="*/ 413 w 512"/>
              <a:gd name="T71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13" y="266"/>
                </a:moveTo>
                <a:cubicBezTo>
                  <a:pt x="132" y="266"/>
                  <a:pt x="132" y="266"/>
                  <a:pt x="132" y="266"/>
                </a:cubicBezTo>
                <a:cubicBezTo>
                  <a:pt x="157" y="291"/>
                  <a:pt x="157" y="291"/>
                  <a:pt x="157" y="291"/>
                </a:cubicBezTo>
                <a:cubicBezTo>
                  <a:pt x="161" y="295"/>
                  <a:pt x="161" y="302"/>
                  <a:pt x="157" y="306"/>
                </a:cubicBezTo>
                <a:cubicBezTo>
                  <a:pt x="154" y="308"/>
                  <a:pt x="152" y="309"/>
                  <a:pt x="149" y="309"/>
                </a:cubicBezTo>
                <a:cubicBezTo>
                  <a:pt x="146" y="309"/>
                  <a:pt x="144" y="308"/>
                  <a:pt x="141" y="306"/>
                </a:cubicBezTo>
                <a:cubicBezTo>
                  <a:pt x="104" y="269"/>
                  <a:pt x="104" y="269"/>
                  <a:pt x="104" y="269"/>
                </a:cubicBezTo>
                <a:cubicBezTo>
                  <a:pt x="99" y="263"/>
                  <a:pt x="99" y="263"/>
                  <a:pt x="99" y="263"/>
                </a:cubicBezTo>
                <a:cubicBezTo>
                  <a:pt x="95" y="259"/>
                  <a:pt x="95" y="252"/>
                  <a:pt x="99" y="248"/>
                </a:cubicBezTo>
                <a:cubicBezTo>
                  <a:pt x="141" y="205"/>
                  <a:pt x="141" y="205"/>
                  <a:pt x="141" y="205"/>
                </a:cubicBezTo>
                <a:cubicBezTo>
                  <a:pt x="146" y="201"/>
                  <a:pt x="152" y="201"/>
                  <a:pt x="157" y="205"/>
                </a:cubicBezTo>
                <a:cubicBezTo>
                  <a:pt x="161" y="210"/>
                  <a:pt x="161" y="216"/>
                  <a:pt x="157" y="221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9" y="245"/>
                  <a:pt x="224" y="250"/>
                  <a:pt x="224" y="256"/>
                </a:cubicBezTo>
                <a:cubicBezTo>
                  <a:pt x="224" y="262"/>
                  <a:pt x="219" y="266"/>
                  <a:pt x="213" y="266"/>
                </a:cubicBezTo>
                <a:close/>
                <a:moveTo>
                  <a:pt x="413" y="263"/>
                </a:moveTo>
                <a:cubicBezTo>
                  <a:pt x="370" y="306"/>
                  <a:pt x="370" y="306"/>
                  <a:pt x="370" y="306"/>
                </a:cubicBezTo>
                <a:cubicBezTo>
                  <a:pt x="368" y="308"/>
                  <a:pt x="365" y="309"/>
                  <a:pt x="362" y="309"/>
                </a:cubicBezTo>
                <a:cubicBezTo>
                  <a:pt x="360" y="309"/>
                  <a:pt x="357" y="308"/>
                  <a:pt x="355" y="306"/>
                </a:cubicBezTo>
                <a:cubicBezTo>
                  <a:pt x="351" y="302"/>
                  <a:pt x="351" y="295"/>
                  <a:pt x="355" y="291"/>
                </a:cubicBezTo>
                <a:cubicBezTo>
                  <a:pt x="379" y="266"/>
                  <a:pt x="379" y="266"/>
                  <a:pt x="379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2" y="266"/>
                  <a:pt x="288" y="262"/>
                  <a:pt x="288" y="256"/>
                </a:cubicBezTo>
                <a:cubicBezTo>
                  <a:pt x="288" y="250"/>
                  <a:pt x="292" y="245"/>
                  <a:pt x="298" y="245"/>
                </a:cubicBezTo>
                <a:cubicBezTo>
                  <a:pt x="379" y="245"/>
                  <a:pt x="379" y="245"/>
                  <a:pt x="379" y="245"/>
                </a:cubicBezTo>
                <a:cubicBezTo>
                  <a:pt x="355" y="221"/>
                  <a:pt x="355" y="221"/>
                  <a:pt x="355" y="221"/>
                </a:cubicBezTo>
                <a:cubicBezTo>
                  <a:pt x="351" y="216"/>
                  <a:pt x="351" y="210"/>
                  <a:pt x="355" y="205"/>
                </a:cubicBezTo>
                <a:cubicBezTo>
                  <a:pt x="359" y="201"/>
                  <a:pt x="366" y="201"/>
                  <a:pt x="370" y="205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34" name="Group 377"/>
          <p:cNvGrpSpPr>
            <a:grpSpLocks noChangeAspect="1"/>
          </p:cNvGrpSpPr>
          <p:nvPr/>
        </p:nvGrpSpPr>
        <p:grpSpPr bwMode="auto">
          <a:xfrm>
            <a:off x="4922827" y="3723547"/>
            <a:ext cx="368121" cy="367041"/>
            <a:chOff x="7130" y="1796"/>
            <a:chExt cx="341" cy="340"/>
          </a:xfrm>
          <a:solidFill>
            <a:schemeClr val="accent4"/>
          </a:solidFill>
        </p:grpSpPr>
        <p:sp>
          <p:nvSpPr>
            <p:cNvPr id="235" name="Freeform 234"/>
            <p:cNvSpPr>
              <a:spLocks noEditPoints="1"/>
            </p:cNvSpPr>
            <p:nvPr/>
          </p:nvSpPr>
          <p:spPr bwMode="auto">
            <a:xfrm>
              <a:off x="7130" y="1796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Freeform 235"/>
            <p:cNvSpPr>
              <a:spLocks noEditPoints="1"/>
            </p:cNvSpPr>
            <p:nvPr/>
          </p:nvSpPr>
          <p:spPr bwMode="auto">
            <a:xfrm>
              <a:off x="7193" y="1929"/>
              <a:ext cx="215" cy="72"/>
            </a:xfrm>
            <a:custGeom>
              <a:avLst/>
              <a:gdLst>
                <a:gd name="T0" fmla="*/ 318 w 322"/>
                <a:gd name="T1" fmla="*/ 62 h 108"/>
                <a:gd name="T2" fmla="*/ 275 w 322"/>
                <a:gd name="T3" fmla="*/ 105 h 108"/>
                <a:gd name="T4" fmla="*/ 267 w 322"/>
                <a:gd name="T5" fmla="*/ 108 h 108"/>
                <a:gd name="T6" fmla="*/ 260 w 322"/>
                <a:gd name="T7" fmla="*/ 105 h 108"/>
                <a:gd name="T8" fmla="*/ 260 w 322"/>
                <a:gd name="T9" fmla="*/ 90 h 108"/>
                <a:gd name="T10" fmla="*/ 284 w 322"/>
                <a:gd name="T11" fmla="*/ 65 h 108"/>
                <a:gd name="T12" fmla="*/ 203 w 322"/>
                <a:gd name="T13" fmla="*/ 65 h 108"/>
                <a:gd name="T14" fmla="*/ 193 w 322"/>
                <a:gd name="T15" fmla="*/ 55 h 108"/>
                <a:gd name="T16" fmla="*/ 203 w 322"/>
                <a:gd name="T17" fmla="*/ 44 h 108"/>
                <a:gd name="T18" fmla="*/ 284 w 322"/>
                <a:gd name="T19" fmla="*/ 44 h 108"/>
                <a:gd name="T20" fmla="*/ 260 w 322"/>
                <a:gd name="T21" fmla="*/ 20 h 108"/>
                <a:gd name="T22" fmla="*/ 260 w 322"/>
                <a:gd name="T23" fmla="*/ 4 h 108"/>
                <a:gd name="T24" fmla="*/ 275 w 322"/>
                <a:gd name="T25" fmla="*/ 4 h 108"/>
                <a:gd name="T26" fmla="*/ 318 w 322"/>
                <a:gd name="T27" fmla="*/ 47 h 108"/>
                <a:gd name="T28" fmla="*/ 318 w 322"/>
                <a:gd name="T29" fmla="*/ 62 h 108"/>
                <a:gd name="T30" fmla="*/ 118 w 322"/>
                <a:gd name="T31" fmla="*/ 44 h 108"/>
                <a:gd name="T32" fmla="*/ 37 w 322"/>
                <a:gd name="T33" fmla="*/ 44 h 108"/>
                <a:gd name="T34" fmla="*/ 62 w 322"/>
                <a:gd name="T35" fmla="*/ 20 h 108"/>
                <a:gd name="T36" fmla="*/ 62 w 322"/>
                <a:gd name="T37" fmla="*/ 4 h 108"/>
                <a:gd name="T38" fmla="*/ 46 w 322"/>
                <a:gd name="T39" fmla="*/ 4 h 108"/>
                <a:gd name="T40" fmla="*/ 4 w 322"/>
                <a:gd name="T41" fmla="*/ 47 h 108"/>
                <a:gd name="T42" fmla="*/ 4 w 322"/>
                <a:gd name="T43" fmla="*/ 62 h 108"/>
                <a:gd name="T44" fmla="*/ 9 w 322"/>
                <a:gd name="T45" fmla="*/ 68 h 108"/>
                <a:gd name="T46" fmla="*/ 46 w 322"/>
                <a:gd name="T47" fmla="*/ 105 h 108"/>
                <a:gd name="T48" fmla="*/ 54 w 322"/>
                <a:gd name="T49" fmla="*/ 108 h 108"/>
                <a:gd name="T50" fmla="*/ 62 w 322"/>
                <a:gd name="T51" fmla="*/ 105 h 108"/>
                <a:gd name="T52" fmla="*/ 62 w 322"/>
                <a:gd name="T53" fmla="*/ 90 h 108"/>
                <a:gd name="T54" fmla="*/ 37 w 322"/>
                <a:gd name="T55" fmla="*/ 65 h 108"/>
                <a:gd name="T56" fmla="*/ 118 w 322"/>
                <a:gd name="T57" fmla="*/ 65 h 108"/>
                <a:gd name="T58" fmla="*/ 129 w 322"/>
                <a:gd name="T59" fmla="*/ 55 h 108"/>
                <a:gd name="T60" fmla="*/ 118 w 322"/>
                <a:gd name="T61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2" h="108">
                  <a:moveTo>
                    <a:pt x="318" y="62"/>
                  </a:moveTo>
                  <a:cubicBezTo>
                    <a:pt x="275" y="105"/>
                    <a:pt x="275" y="105"/>
                    <a:pt x="275" y="105"/>
                  </a:cubicBezTo>
                  <a:cubicBezTo>
                    <a:pt x="273" y="107"/>
                    <a:pt x="270" y="108"/>
                    <a:pt x="267" y="108"/>
                  </a:cubicBezTo>
                  <a:cubicBezTo>
                    <a:pt x="265" y="108"/>
                    <a:pt x="262" y="107"/>
                    <a:pt x="260" y="105"/>
                  </a:cubicBezTo>
                  <a:cubicBezTo>
                    <a:pt x="256" y="101"/>
                    <a:pt x="256" y="94"/>
                    <a:pt x="260" y="90"/>
                  </a:cubicBezTo>
                  <a:cubicBezTo>
                    <a:pt x="284" y="65"/>
                    <a:pt x="284" y="65"/>
                    <a:pt x="284" y="65"/>
                  </a:cubicBezTo>
                  <a:cubicBezTo>
                    <a:pt x="203" y="65"/>
                    <a:pt x="203" y="65"/>
                    <a:pt x="203" y="65"/>
                  </a:cubicBezTo>
                  <a:cubicBezTo>
                    <a:pt x="197" y="65"/>
                    <a:pt x="193" y="61"/>
                    <a:pt x="193" y="55"/>
                  </a:cubicBezTo>
                  <a:cubicBezTo>
                    <a:pt x="193" y="49"/>
                    <a:pt x="197" y="44"/>
                    <a:pt x="203" y="44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60" y="20"/>
                    <a:pt x="260" y="20"/>
                    <a:pt x="260" y="20"/>
                  </a:cubicBezTo>
                  <a:cubicBezTo>
                    <a:pt x="256" y="15"/>
                    <a:pt x="256" y="9"/>
                    <a:pt x="260" y="4"/>
                  </a:cubicBezTo>
                  <a:cubicBezTo>
                    <a:pt x="264" y="0"/>
                    <a:pt x="271" y="0"/>
                    <a:pt x="275" y="4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22" y="51"/>
                    <a:pt x="322" y="58"/>
                    <a:pt x="318" y="62"/>
                  </a:cubicBezTo>
                  <a:close/>
                  <a:moveTo>
                    <a:pt x="118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6" y="15"/>
                    <a:pt x="66" y="9"/>
                    <a:pt x="62" y="4"/>
                  </a:cubicBezTo>
                  <a:cubicBezTo>
                    <a:pt x="57" y="0"/>
                    <a:pt x="51" y="0"/>
                    <a:pt x="46" y="4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0" y="51"/>
                    <a:pt x="0" y="58"/>
                    <a:pt x="4" y="62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9" y="107"/>
                    <a:pt x="51" y="108"/>
                    <a:pt x="54" y="108"/>
                  </a:cubicBezTo>
                  <a:cubicBezTo>
                    <a:pt x="57" y="108"/>
                    <a:pt x="59" y="107"/>
                    <a:pt x="62" y="105"/>
                  </a:cubicBezTo>
                  <a:cubicBezTo>
                    <a:pt x="66" y="101"/>
                    <a:pt x="66" y="94"/>
                    <a:pt x="62" y="90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24" y="65"/>
                    <a:pt x="129" y="61"/>
                    <a:pt x="129" y="55"/>
                  </a:cubicBezTo>
                  <a:cubicBezTo>
                    <a:pt x="129" y="49"/>
                    <a:pt x="124" y="44"/>
                    <a:pt x="11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7" name="TextBox 236"/>
          <p:cNvSpPr txBox="1"/>
          <p:nvPr/>
        </p:nvSpPr>
        <p:spPr>
          <a:xfrm>
            <a:off x="4469763" y="41393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crease 1</a:t>
            </a:r>
          </a:p>
        </p:txBody>
      </p:sp>
      <p:sp>
        <p:nvSpPr>
          <p:cNvPr id="238" name="Freeform 822"/>
          <p:cNvSpPr>
            <a:spLocks noChangeAspect="1" noEditPoints="1"/>
          </p:cNvSpPr>
          <p:nvPr/>
        </p:nvSpPr>
        <p:spPr bwMode="auto">
          <a:xfrm>
            <a:off x="3414676" y="454047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60 w 512"/>
              <a:gd name="T11" fmla="*/ 408 h 512"/>
              <a:gd name="T12" fmla="*/ 352 w 512"/>
              <a:gd name="T13" fmla="*/ 413 h 512"/>
              <a:gd name="T14" fmla="*/ 346 w 512"/>
              <a:gd name="T15" fmla="*/ 411 h 512"/>
              <a:gd name="T16" fmla="*/ 310 w 512"/>
              <a:gd name="T17" fmla="*/ 380 h 512"/>
              <a:gd name="T18" fmla="*/ 260 w 512"/>
              <a:gd name="T19" fmla="*/ 302 h 512"/>
              <a:gd name="T20" fmla="*/ 256 w 512"/>
              <a:gd name="T21" fmla="*/ 288 h 512"/>
              <a:gd name="T22" fmla="*/ 199 w 512"/>
              <a:gd name="T23" fmla="*/ 383 h 512"/>
              <a:gd name="T24" fmla="*/ 166 w 512"/>
              <a:gd name="T25" fmla="*/ 411 h 512"/>
              <a:gd name="T26" fmla="*/ 160 w 512"/>
              <a:gd name="T27" fmla="*/ 413 h 512"/>
              <a:gd name="T28" fmla="*/ 151 w 512"/>
              <a:gd name="T29" fmla="*/ 408 h 512"/>
              <a:gd name="T30" fmla="*/ 154 w 512"/>
              <a:gd name="T31" fmla="*/ 393 h 512"/>
              <a:gd name="T32" fmla="*/ 184 w 512"/>
              <a:gd name="T33" fmla="*/ 368 h 512"/>
              <a:gd name="T34" fmla="*/ 245 w 512"/>
              <a:gd name="T35" fmla="*/ 218 h 512"/>
              <a:gd name="T36" fmla="*/ 245 w 512"/>
              <a:gd name="T37" fmla="*/ 132 h 512"/>
              <a:gd name="T38" fmla="*/ 178 w 512"/>
              <a:gd name="T39" fmla="*/ 199 h 512"/>
              <a:gd name="T40" fmla="*/ 170 w 512"/>
              <a:gd name="T41" fmla="*/ 202 h 512"/>
              <a:gd name="T42" fmla="*/ 163 w 512"/>
              <a:gd name="T43" fmla="*/ 199 h 512"/>
              <a:gd name="T44" fmla="*/ 163 w 512"/>
              <a:gd name="T45" fmla="*/ 184 h 512"/>
              <a:gd name="T46" fmla="*/ 248 w 512"/>
              <a:gd name="T47" fmla="*/ 99 h 512"/>
              <a:gd name="T48" fmla="*/ 252 w 512"/>
              <a:gd name="T49" fmla="*/ 96 h 512"/>
              <a:gd name="T50" fmla="*/ 260 w 512"/>
              <a:gd name="T51" fmla="*/ 96 h 512"/>
              <a:gd name="T52" fmla="*/ 263 w 512"/>
              <a:gd name="T53" fmla="*/ 99 h 512"/>
              <a:gd name="T54" fmla="*/ 349 w 512"/>
              <a:gd name="T55" fmla="*/ 184 h 512"/>
              <a:gd name="T56" fmla="*/ 349 w 512"/>
              <a:gd name="T57" fmla="*/ 199 h 512"/>
              <a:gd name="T58" fmla="*/ 341 w 512"/>
              <a:gd name="T59" fmla="*/ 202 h 512"/>
              <a:gd name="T60" fmla="*/ 333 w 512"/>
              <a:gd name="T61" fmla="*/ 199 h 512"/>
              <a:gd name="T62" fmla="*/ 266 w 512"/>
              <a:gd name="T63" fmla="*/ 132 h 512"/>
              <a:gd name="T64" fmla="*/ 266 w 512"/>
              <a:gd name="T65" fmla="*/ 218 h 512"/>
              <a:gd name="T66" fmla="*/ 280 w 512"/>
              <a:gd name="T67" fmla="*/ 294 h 512"/>
              <a:gd name="T68" fmla="*/ 325 w 512"/>
              <a:gd name="T69" fmla="*/ 366 h 512"/>
              <a:gd name="T70" fmla="*/ 358 w 512"/>
              <a:gd name="T71" fmla="*/ 393 h 512"/>
              <a:gd name="T72" fmla="*/ 360 w 512"/>
              <a:gd name="T73" fmla="*/ 40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0" y="408"/>
                </a:moveTo>
                <a:cubicBezTo>
                  <a:pt x="358" y="411"/>
                  <a:pt x="355" y="413"/>
                  <a:pt x="352" y="413"/>
                </a:cubicBezTo>
                <a:cubicBezTo>
                  <a:pt x="350" y="413"/>
                  <a:pt x="347" y="412"/>
                  <a:pt x="346" y="411"/>
                </a:cubicBezTo>
                <a:cubicBezTo>
                  <a:pt x="333" y="402"/>
                  <a:pt x="321" y="392"/>
                  <a:pt x="310" y="380"/>
                </a:cubicBezTo>
                <a:cubicBezTo>
                  <a:pt x="288" y="358"/>
                  <a:pt x="272" y="331"/>
                  <a:pt x="260" y="302"/>
                </a:cubicBezTo>
                <a:cubicBezTo>
                  <a:pt x="259" y="297"/>
                  <a:pt x="257" y="293"/>
                  <a:pt x="256" y="288"/>
                </a:cubicBezTo>
                <a:cubicBezTo>
                  <a:pt x="245" y="323"/>
                  <a:pt x="226" y="356"/>
                  <a:pt x="199" y="383"/>
                </a:cubicBezTo>
                <a:cubicBezTo>
                  <a:pt x="189" y="393"/>
                  <a:pt x="178" y="403"/>
                  <a:pt x="166" y="411"/>
                </a:cubicBezTo>
                <a:cubicBezTo>
                  <a:pt x="164" y="412"/>
                  <a:pt x="162" y="413"/>
                  <a:pt x="160" y="413"/>
                </a:cubicBezTo>
                <a:cubicBezTo>
                  <a:pt x="156" y="413"/>
                  <a:pt x="153" y="411"/>
                  <a:pt x="151" y="408"/>
                </a:cubicBezTo>
                <a:cubicBezTo>
                  <a:pt x="148" y="403"/>
                  <a:pt x="149" y="397"/>
                  <a:pt x="154" y="393"/>
                </a:cubicBezTo>
                <a:cubicBezTo>
                  <a:pt x="164" y="386"/>
                  <a:pt x="175" y="377"/>
                  <a:pt x="184" y="368"/>
                </a:cubicBezTo>
                <a:cubicBezTo>
                  <a:pt x="223" y="328"/>
                  <a:pt x="245" y="275"/>
                  <a:pt x="245" y="218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178" y="199"/>
                  <a:pt x="178" y="199"/>
                  <a:pt x="178" y="199"/>
                </a:cubicBezTo>
                <a:cubicBezTo>
                  <a:pt x="176" y="201"/>
                  <a:pt x="173" y="202"/>
                  <a:pt x="170" y="202"/>
                </a:cubicBezTo>
                <a:cubicBezTo>
                  <a:pt x="168" y="202"/>
                  <a:pt x="165" y="201"/>
                  <a:pt x="163" y="199"/>
                </a:cubicBezTo>
                <a:cubicBezTo>
                  <a:pt x="159" y="195"/>
                  <a:pt x="159" y="188"/>
                  <a:pt x="163" y="184"/>
                </a:cubicBez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49" y="184"/>
                  <a:pt x="349" y="184"/>
                  <a:pt x="349" y="184"/>
                </a:cubicBezTo>
                <a:cubicBezTo>
                  <a:pt x="353" y="188"/>
                  <a:pt x="353" y="195"/>
                  <a:pt x="349" y="199"/>
                </a:cubicBezTo>
                <a:cubicBezTo>
                  <a:pt x="346" y="201"/>
                  <a:pt x="344" y="202"/>
                  <a:pt x="341" y="202"/>
                </a:cubicBezTo>
                <a:cubicBezTo>
                  <a:pt x="338" y="202"/>
                  <a:pt x="336" y="201"/>
                  <a:pt x="333" y="199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218"/>
                  <a:pt x="266" y="218"/>
                  <a:pt x="266" y="218"/>
                </a:cubicBezTo>
                <a:cubicBezTo>
                  <a:pt x="266" y="245"/>
                  <a:pt x="271" y="270"/>
                  <a:pt x="280" y="294"/>
                </a:cubicBezTo>
                <a:cubicBezTo>
                  <a:pt x="290" y="321"/>
                  <a:pt x="306" y="345"/>
                  <a:pt x="325" y="366"/>
                </a:cubicBezTo>
                <a:cubicBezTo>
                  <a:pt x="335" y="376"/>
                  <a:pt x="346" y="385"/>
                  <a:pt x="358" y="393"/>
                </a:cubicBezTo>
                <a:cubicBezTo>
                  <a:pt x="363" y="397"/>
                  <a:pt x="364" y="403"/>
                  <a:pt x="360" y="40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39" name="Group 825"/>
          <p:cNvGrpSpPr>
            <a:grpSpLocks noChangeAspect="1"/>
          </p:cNvGrpSpPr>
          <p:nvPr/>
        </p:nvGrpSpPr>
        <p:grpSpPr bwMode="auto">
          <a:xfrm>
            <a:off x="3910147" y="4540474"/>
            <a:ext cx="367041" cy="367041"/>
            <a:chOff x="5231" y="3496"/>
            <a:chExt cx="340" cy="340"/>
          </a:xfrm>
          <a:solidFill>
            <a:schemeClr val="accent3"/>
          </a:solidFill>
        </p:grpSpPr>
        <p:sp>
          <p:nvSpPr>
            <p:cNvPr id="240" name="Freeform 826"/>
            <p:cNvSpPr>
              <a:spLocks noEditPoints="1"/>
            </p:cNvSpPr>
            <p:nvPr/>
          </p:nvSpPr>
          <p:spPr bwMode="auto">
            <a:xfrm>
              <a:off x="5231" y="34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Freeform 827"/>
            <p:cNvSpPr>
              <a:spLocks/>
            </p:cNvSpPr>
            <p:nvPr/>
          </p:nvSpPr>
          <p:spPr bwMode="auto">
            <a:xfrm>
              <a:off x="5329" y="3559"/>
              <a:ext cx="144" cy="211"/>
            </a:xfrm>
            <a:custGeom>
              <a:avLst/>
              <a:gdLst>
                <a:gd name="T0" fmla="*/ 212 w 216"/>
                <a:gd name="T1" fmla="*/ 313 h 318"/>
                <a:gd name="T2" fmla="*/ 204 w 216"/>
                <a:gd name="T3" fmla="*/ 318 h 318"/>
                <a:gd name="T4" fmla="*/ 198 w 216"/>
                <a:gd name="T5" fmla="*/ 316 h 318"/>
                <a:gd name="T6" fmla="*/ 162 w 216"/>
                <a:gd name="T7" fmla="*/ 285 h 318"/>
                <a:gd name="T8" fmla="*/ 112 w 216"/>
                <a:gd name="T9" fmla="*/ 207 h 318"/>
                <a:gd name="T10" fmla="*/ 108 w 216"/>
                <a:gd name="T11" fmla="*/ 193 h 318"/>
                <a:gd name="T12" fmla="*/ 51 w 216"/>
                <a:gd name="T13" fmla="*/ 288 h 318"/>
                <a:gd name="T14" fmla="*/ 18 w 216"/>
                <a:gd name="T15" fmla="*/ 316 h 318"/>
                <a:gd name="T16" fmla="*/ 12 w 216"/>
                <a:gd name="T17" fmla="*/ 318 h 318"/>
                <a:gd name="T18" fmla="*/ 3 w 216"/>
                <a:gd name="T19" fmla="*/ 313 h 318"/>
                <a:gd name="T20" fmla="*/ 6 w 216"/>
                <a:gd name="T21" fmla="*/ 298 h 318"/>
                <a:gd name="T22" fmla="*/ 36 w 216"/>
                <a:gd name="T23" fmla="*/ 273 h 318"/>
                <a:gd name="T24" fmla="*/ 97 w 216"/>
                <a:gd name="T25" fmla="*/ 123 h 318"/>
                <a:gd name="T26" fmla="*/ 97 w 216"/>
                <a:gd name="T27" fmla="*/ 37 h 318"/>
                <a:gd name="T28" fmla="*/ 30 w 216"/>
                <a:gd name="T29" fmla="*/ 104 h 318"/>
                <a:gd name="T30" fmla="*/ 22 w 216"/>
                <a:gd name="T31" fmla="*/ 107 h 318"/>
                <a:gd name="T32" fmla="*/ 15 w 216"/>
                <a:gd name="T33" fmla="*/ 104 h 318"/>
                <a:gd name="T34" fmla="*/ 15 w 216"/>
                <a:gd name="T35" fmla="*/ 89 h 318"/>
                <a:gd name="T36" fmla="*/ 100 w 216"/>
                <a:gd name="T37" fmla="*/ 4 h 318"/>
                <a:gd name="T38" fmla="*/ 104 w 216"/>
                <a:gd name="T39" fmla="*/ 1 h 318"/>
                <a:gd name="T40" fmla="*/ 112 w 216"/>
                <a:gd name="T41" fmla="*/ 1 h 318"/>
                <a:gd name="T42" fmla="*/ 115 w 216"/>
                <a:gd name="T43" fmla="*/ 4 h 318"/>
                <a:gd name="T44" fmla="*/ 201 w 216"/>
                <a:gd name="T45" fmla="*/ 89 h 318"/>
                <a:gd name="T46" fmla="*/ 201 w 216"/>
                <a:gd name="T47" fmla="*/ 104 h 318"/>
                <a:gd name="T48" fmla="*/ 193 w 216"/>
                <a:gd name="T49" fmla="*/ 107 h 318"/>
                <a:gd name="T50" fmla="*/ 185 w 216"/>
                <a:gd name="T51" fmla="*/ 104 h 318"/>
                <a:gd name="T52" fmla="*/ 118 w 216"/>
                <a:gd name="T53" fmla="*/ 37 h 318"/>
                <a:gd name="T54" fmla="*/ 118 w 216"/>
                <a:gd name="T55" fmla="*/ 123 h 318"/>
                <a:gd name="T56" fmla="*/ 132 w 216"/>
                <a:gd name="T57" fmla="*/ 199 h 318"/>
                <a:gd name="T58" fmla="*/ 177 w 216"/>
                <a:gd name="T59" fmla="*/ 271 h 318"/>
                <a:gd name="T60" fmla="*/ 210 w 216"/>
                <a:gd name="T61" fmla="*/ 298 h 318"/>
                <a:gd name="T62" fmla="*/ 212 w 216"/>
                <a:gd name="T63" fmla="*/ 313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318">
                  <a:moveTo>
                    <a:pt x="212" y="313"/>
                  </a:moveTo>
                  <a:cubicBezTo>
                    <a:pt x="210" y="316"/>
                    <a:pt x="207" y="318"/>
                    <a:pt x="204" y="318"/>
                  </a:cubicBezTo>
                  <a:cubicBezTo>
                    <a:pt x="202" y="318"/>
                    <a:pt x="199" y="317"/>
                    <a:pt x="198" y="316"/>
                  </a:cubicBezTo>
                  <a:cubicBezTo>
                    <a:pt x="185" y="307"/>
                    <a:pt x="173" y="297"/>
                    <a:pt x="162" y="285"/>
                  </a:cubicBezTo>
                  <a:cubicBezTo>
                    <a:pt x="140" y="263"/>
                    <a:pt x="124" y="236"/>
                    <a:pt x="112" y="207"/>
                  </a:cubicBezTo>
                  <a:cubicBezTo>
                    <a:pt x="111" y="202"/>
                    <a:pt x="109" y="198"/>
                    <a:pt x="108" y="193"/>
                  </a:cubicBezTo>
                  <a:cubicBezTo>
                    <a:pt x="97" y="228"/>
                    <a:pt x="78" y="261"/>
                    <a:pt x="51" y="288"/>
                  </a:cubicBezTo>
                  <a:cubicBezTo>
                    <a:pt x="41" y="298"/>
                    <a:pt x="30" y="308"/>
                    <a:pt x="18" y="316"/>
                  </a:cubicBezTo>
                  <a:cubicBezTo>
                    <a:pt x="16" y="317"/>
                    <a:pt x="14" y="318"/>
                    <a:pt x="12" y="318"/>
                  </a:cubicBezTo>
                  <a:cubicBezTo>
                    <a:pt x="8" y="318"/>
                    <a:pt x="5" y="316"/>
                    <a:pt x="3" y="313"/>
                  </a:cubicBezTo>
                  <a:cubicBezTo>
                    <a:pt x="0" y="308"/>
                    <a:pt x="1" y="302"/>
                    <a:pt x="6" y="298"/>
                  </a:cubicBezTo>
                  <a:cubicBezTo>
                    <a:pt x="16" y="291"/>
                    <a:pt x="27" y="282"/>
                    <a:pt x="36" y="273"/>
                  </a:cubicBezTo>
                  <a:cubicBezTo>
                    <a:pt x="75" y="233"/>
                    <a:pt x="97" y="180"/>
                    <a:pt x="97" y="123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28" y="106"/>
                    <a:pt x="25" y="107"/>
                    <a:pt x="22" y="107"/>
                  </a:cubicBezTo>
                  <a:cubicBezTo>
                    <a:pt x="20" y="107"/>
                    <a:pt x="17" y="106"/>
                    <a:pt x="15" y="104"/>
                  </a:cubicBezTo>
                  <a:cubicBezTo>
                    <a:pt x="11" y="100"/>
                    <a:pt x="11" y="93"/>
                    <a:pt x="15" y="89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3"/>
                    <a:pt x="102" y="2"/>
                    <a:pt x="104" y="1"/>
                  </a:cubicBezTo>
                  <a:cubicBezTo>
                    <a:pt x="106" y="0"/>
                    <a:pt x="109" y="0"/>
                    <a:pt x="112" y="1"/>
                  </a:cubicBezTo>
                  <a:cubicBezTo>
                    <a:pt x="113" y="2"/>
                    <a:pt x="114" y="3"/>
                    <a:pt x="115" y="4"/>
                  </a:cubicBezTo>
                  <a:cubicBezTo>
                    <a:pt x="201" y="89"/>
                    <a:pt x="201" y="89"/>
                    <a:pt x="201" y="89"/>
                  </a:cubicBezTo>
                  <a:cubicBezTo>
                    <a:pt x="205" y="93"/>
                    <a:pt x="205" y="100"/>
                    <a:pt x="201" y="104"/>
                  </a:cubicBezTo>
                  <a:cubicBezTo>
                    <a:pt x="198" y="106"/>
                    <a:pt x="196" y="107"/>
                    <a:pt x="193" y="107"/>
                  </a:cubicBezTo>
                  <a:cubicBezTo>
                    <a:pt x="190" y="107"/>
                    <a:pt x="188" y="106"/>
                    <a:pt x="185" y="104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123"/>
                    <a:pt x="118" y="123"/>
                    <a:pt x="118" y="123"/>
                  </a:cubicBezTo>
                  <a:cubicBezTo>
                    <a:pt x="118" y="150"/>
                    <a:pt x="123" y="175"/>
                    <a:pt x="132" y="199"/>
                  </a:cubicBezTo>
                  <a:cubicBezTo>
                    <a:pt x="142" y="226"/>
                    <a:pt x="158" y="250"/>
                    <a:pt x="177" y="271"/>
                  </a:cubicBezTo>
                  <a:cubicBezTo>
                    <a:pt x="187" y="281"/>
                    <a:pt x="198" y="290"/>
                    <a:pt x="210" y="298"/>
                  </a:cubicBezTo>
                  <a:cubicBezTo>
                    <a:pt x="215" y="302"/>
                    <a:pt x="216" y="308"/>
                    <a:pt x="212" y="3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2" name="TextBox 241"/>
          <p:cNvSpPr txBox="1"/>
          <p:nvPr/>
        </p:nvSpPr>
        <p:spPr>
          <a:xfrm>
            <a:off x="3391567" y="49762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erge</a:t>
            </a:r>
          </a:p>
        </p:txBody>
      </p:sp>
      <p:grpSp>
        <p:nvGrpSpPr>
          <p:cNvPr id="243" name="Group 208"/>
          <p:cNvGrpSpPr>
            <a:grpSpLocks noChangeAspect="1"/>
          </p:cNvGrpSpPr>
          <p:nvPr/>
        </p:nvGrpSpPr>
        <p:grpSpPr bwMode="auto">
          <a:xfrm>
            <a:off x="4903724" y="4540470"/>
            <a:ext cx="370763" cy="369676"/>
            <a:chOff x="6586" y="729"/>
            <a:chExt cx="341" cy="340"/>
          </a:xfrm>
          <a:solidFill>
            <a:schemeClr val="accent3"/>
          </a:solidFill>
        </p:grpSpPr>
        <p:sp>
          <p:nvSpPr>
            <p:cNvPr id="244" name="Freeform 209"/>
            <p:cNvSpPr>
              <a:spLocks/>
            </p:cNvSpPr>
            <p:nvPr/>
          </p:nvSpPr>
          <p:spPr bwMode="auto">
            <a:xfrm>
              <a:off x="6671" y="792"/>
              <a:ext cx="171" cy="213"/>
            </a:xfrm>
            <a:custGeom>
              <a:avLst/>
              <a:gdLst>
                <a:gd name="T0" fmla="*/ 254 w 258"/>
                <a:gd name="T1" fmla="*/ 62 h 321"/>
                <a:gd name="T2" fmla="*/ 246 w 258"/>
                <a:gd name="T3" fmla="*/ 65 h 321"/>
                <a:gd name="T4" fmla="*/ 238 w 258"/>
                <a:gd name="T5" fmla="*/ 62 h 321"/>
                <a:gd name="T6" fmla="*/ 214 w 258"/>
                <a:gd name="T7" fmla="*/ 37 h 321"/>
                <a:gd name="T8" fmla="*/ 214 w 258"/>
                <a:gd name="T9" fmla="*/ 107 h 321"/>
                <a:gd name="T10" fmla="*/ 153 w 258"/>
                <a:gd name="T11" fmla="*/ 207 h 321"/>
                <a:gd name="T12" fmla="*/ 148 w 258"/>
                <a:gd name="T13" fmla="*/ 211 h 321"/>
                <a:gd name="T14" fmla="*/ 139 w 258"/>
                <a:gd name="T15" fmla="*/ 225 h 321"/>
                <a:gd name="T16" fmla="*/ 139 w 258"/>
                <a:gd name="T17" fmla="*/ 225 h 321"/>
                <a:gd name="T18" fmla="*/ 139 w 258"/>
                <a:gd name="T19" fmla="*/ 310 h 321"/>
                <a:gd name="T20" fmla="*/ 129 w 258"/>
                <a:gd name="T21" fmla="*/ 321 h 321"/>
                <a:gd name="T22" fmla="*/ 118 w 258"/>
                <a:gd name="T23" fmla="*/ 310 h 321"/>
                <a:gd name="T24" fmla="*/ 118 w 258"/>
                <a:gd name="T25" fmla="*/ 225 h 321"/>
                <a:gd name="T26" fmla="*/ 118 w 258"/>
                <a:gd name="T27" fmla="*/ 224 h 321"/>
                <a:gd name="T28" fmla="*/ 109 w 258"/>
                <a:gd name="T29" fmla="*/ 211 h 321"/>
                <a:gd name="T30" fmla="*/ 104 w 258"/>
                <a:gd name="T31" fmla="*/ 207 h 321"/>
                <a:gd name="T32" fmla="*/ 43 w 258"/>
                <a:gd name="T33" fmla="*/ 107 h 321"/>
                <a:gd name="T34" fmla="*/ 43 w 258"/>
                <a:gd name="T35" fmla="*/ 37 h 321"/>
                <a:gd name="T36" fmla="*/ 19 w 258"/>
                <a:gd name="T37" fmla="*/ 62 h 321"/>
                <a:gd name="T38" fmla="*/ 11 w 258"/>
                <a:gd name="T39" fmla="*/ 65 h 321"/>
                <a:gd name="T40" fmla="*/ 4 w 258"/>
                <a:gd name="T41" fmla="*/ 62 h 321"/>
                <a:gd name="T42" fmla="*/ 4 w 258"/>
                <a:gd name="T43" fmla="*/ 46 h 321"/>
                <a:gd name="T44" fmla="*/ 46 w 258"/>
                <a:gd name="T45" fmla="*/ 4 h 321"/>
                <a:gd name="T46" fmla="*/ 50 w 258"/>
                <a:gd name="T47" fmla="*/ 1 h 321"/>
                <a:gd name="T48" fmla="*/ 58 w 258"/>
                <a:gd name="T49" fmla="*/ 1 h 321"/>
                <a:gd name="T50" fmla="*/ 62 w 258"/>
                <a:gd name="T51" fmla="*/ 4 h 321"/>
                <a:gd name="T52" fmla="*/ 104 w 258"/>
                <a:gd name="T53" fmla="*/ 46 h 321"/>
                <a:gd name="T54" fmla="*/ 104 w 258"/>
                <a:gd name="T55" fmla="*/ 62 h 321"/>
                <a:gd name="T56" fmla="*/ 97 w 258"/>
                <a:gd name="T57" fmla="*/ 65 h 321"/>
                <a:gd name="T58" fmla="*/ 89 w 258"/>
                <a:gd name="T59" fmla="*/ 62 h 321"/>
                <a:gd name="T60" fmla="*/ 65 w 258"/>
                <a:gd name="T61" fmla="*/ 37 h 321"/>
                <a:gd name="T62" fmla="*/ 65 w 258"/>
                <a:gd name="T63" fmla="*/ 107 h 321"/>
                <a:gd name="T64" fmla="*/ 118 w 258"/>
                <a:gd name="T65" fmla="*/ 191 h 321"/>
                <a:gd name="T66" fmla="*/ 124 w 258"/>
                <a:gd name="T67" fmla="*/ 195 h 321"/>
                <a:gd name="T68" fmla="*/ 129 w 258"/>
                <a:gd name="T69" fmla="*/ 200 h 321"/>
                <a:gd name="T70" fmla="*/ 134 w 258"/>
                <a:gd name="T71" fmla="*/ 195 h 321"/>
                <a:gd name="T72" fmla="*/ 139 w 258"/>
                <a:gd name="T73" fmla="*/ 191 h 321"/>
                <a:gd name="T74" fmla="*/ 193 w 258"/>
                <a:gd name="T75" fmla="*/ 107 h 321"/>
                <a:gd name="T76" fmla="*/ 193 w 258"/>
                <a:gd name="T77" fmla="*/ 37 h 321"/>
                <a:gd name="T78" fmla="*/ 168 w 258"/>
                <a:gd name="T79" fmla="*/ 62 h 321"/>
                <a:gd name="T80" fmla="*/ 161 w 258"/>
                <a:gd name="T81" fmla="*/ 65 h 321"/>
                <a:gd name="T82" fmla="*/ 153 w 258"/>
                <a:gd name="T83" fmla="*/ 62 h 321"/>
                <a:gd name="T84" fmla="*/ 153 w 258"/>
                <a:gd name="T85" fmla="*/ 46 h 321"/>
                <a:gd name="T86" fmla="*/ 196 w 258"/>
                <a:gd name="T87" fmla="*/ 4 h 321"/>
                <a:gd name="T88" fmla="*/ 199 w 258"/>
                <a:gd name="T89" fmla="*/ 1 h 321"/>
                <a:gd name="T90" fmla="*/ 207 w 258"/>
                <a:gd name="T91" fmla="*/ 1 h 321"/>
                <a:gd name="T92" fmla="*/ 211 w 258"/>
                <a:gd name="T93" fmla="*/ 4 h 321"/>
                <a:gd name="T94" fmla="*/ 254 w 258"/>
                <a:gd name="T95" fmla="*/ 46 h 321"/>
                <a:gd name="T96" fmla="*/ 254 w 258"/>
                <a:gd name="T97" fmla="*/ 6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8" h="321">
                  <a:moveTo>
                    <a:pt x="254" y="62"/>
                  </a:moveTo>
                  <a:cubicBezTo>
                    <a:pt x="251" y="64"/>
                    <a:pt x="249" y="65"/>
                    <a:pt x="246" y="65"/>
                  </a:cubicBezTo>
                  <a:cubicBezTo>
                    <a:pt x="243" y="65"/>
                    <a:pt x="241" y="64"/>
                    <a:pt x="238" y="62"/>
                  </a:cubicBezTo>
                  <a:cubicBezTo>
                    <a:pt x="214" y="37"/>
                    <a:pt x="214" y="37"/>
                    <a:pt x="214" y="37"/>
                  </a:cubicBezTo>
                  <a:cubicBezTo>
                    <a:pt x="214" y="107"/>
                    <a:pt x="214" y="107"/>
                    <a:pt x="214" y="107"/>
                  </a:cubicBezTo>
                  <a:cubicBezTo>
                    <a:pt x="214" y="153"/>
                    <a:pt x="176" y="187"/>
                    <a:pt x="153" y="207"/>
                  </a:cubicBezTo>
                  <a:cubicBezTo>
                    <a:pt x="148" y="211"/>
                    <a:pt x="148" y="211"/>
                    <a:pt x="148" y="211"/>
                  </a:cubicBezTo>
                  <a:cubicBezTo>
                    <a:pt x="139" y="219"/>
                    <a:pt x="139" y="223"/>
                    <a:pt x="139" y="225"/>
                  </a:cubicBezTo>
                  <a:cubicBezTo>
                    <a:pt x="139" y="225"/>
                    <a:pt x="139" y="225"/>
                    <a:pt x="139" y="225"/>
                  </a:cubicBezTo>
                  <a:cubicBezTo>
                    <a:pt x="139" y="310"/>
                    <a:pt x="139" y="310"/>
                    <a:pt x="139" y="310"/>
                  </a:cubicBezTo>
                  <a:cubicBezTo>
                    <a:pt x="139" y="316"/>
                    <a:pt x="135" y="321"/>
                    <a:pt x="129" y="321"/>
                  </a:cubicBezTo>
                  <a:cubicBezTo>
                    <a:pt x="123" y="321"/>
                    <a:pt x="118" y="316"/>
                    <a:pt x="118" y="310"/>
                  </a:cubicBezTo>
                  <a:cubicBezTo>
                    <a:pt x="118" y="225"/>
                    <a:pt x="118" y="225"/>
                    <a:pt x="118" y="225"/>
                  </a:cubicBezTo>
                  <a:cubicBezTo>
                    <a:pt x="118" y="224"/>
                    <a:pt x="118" y="224"/>
                    <a:pt x="118" y="224"/>
                  </a:cubicBezTo>
                  <a:cubicBezTo>
                    <a:pt x="118" y="223"/>
                    <a:pt x="118" y="219"/>
                    <a:pt x="109" y="211"/>
                  </a:cubicBezTo>
                  <a:cubicBezTo>
                    <a:pt x="104" y="207"/>
                    <a:pt x="104" y="207"/>
                    <a:pt x="104" y="207"/>
                  </a:cubicBezTo>
                  <a:cubicBezTo>
                    <a:pt x="81" y="187"/>
                    <a:pt x="43" y="153"/>
                    <a:pt x="43" y="10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7" y="64"/>
                    <a:pt x="14" y="65"/>
                    <a:pt x="11" y="65"/>
                  </a:cubicBezTo>
                  <a:cubicBezTo>
                    <a:pt x="9" y="65"/>
                    <a:pt x="6" y="64"/>
                    <a:pt x="4" y="62"/>
                  </a:cubicBezTo>
                  <a:cubicBezTo>
                    <a:pt x="0" y="57"/>
                    <a:pt x="0" y="51"/>
                    <a:pt x="4" y="4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3"/>
                    <a:pt x="49" y="2"/>
                    <a:pt x="50" y="1"/>
                  </a:cubicBezTo>
                  <a:cubicBezTo>
                    <a:pt x="53" y="0"/>
                    <a:pt x="55" y="0"/>
                    <a:pt x="58" y="1"/>
                  </a:cubicBezTo>
                  <a:cubicBezTo>
                    <a:pt x="59" y="2"/>
                    <a:pt x="61" y="3"/>
                    <a:pt x="62" y="4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8" y="51"/>
                    <a:pt x="108" y="57"/>
                    <a:pt x="104" y="62"/>
                  </a:cubicBezTo>
                  <a:cubicBezTo>
                    <a:pt x="102" y="64"/>
                    <a:pt x="99" y="65"/>
                    <a:pt x="97" y="65"/>
                  </a:cubicBezTo>
                  <a:cubicBezTo>
                    <a:pt x="94" y="65"/>
                    <a:pt x="91" y="64"/>
                    <a:pt x="89" y="62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43"/>
                    <a:pt x="97" y="172"/>
                    <a:pt x="118" y="191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125" y="197"/>
                    <a:pt x="127" y="199"/>
                    <a:pt x="129" y="200"/>
                  </a:cubicBezTo>
                  <a:cubicBezTo>
                    <a:pt x="130" y="199"/>
                    <a:pt x="132" y="197"/>
                    <a:pt x="134" y="195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60" y="172"/>
                    <a:pt x="193" y="143"/>
                    <a:pt x="193" y="107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68" y="62"/>
                    <a:pt x="168" y="62"/>
                    <a:pt x="168" y="62"/>
                  </a:cubicBezTo>
                  <a:cubicBezTo>
                    <a:pt x="166" y="64"/>
                    <a:pt x="163" y="65"/>
                    <a:pt x="161" y="65"/>
                  </a:cubicBezTo>
                  <a:cubicBezTo>
                    <a:pt x="158" y="65"/>
                    <a:pt x="155" y="64"/>
                    <a:pt x="153" y="62"/>
                  </a:cubicBezTo>
                  <a:cubicBezTo>
                    <a:pt x="149" y="57"/>
                    <a:pt x="149" y="51"/>
                    <a:pt x="153" y="46"/>
                  </a:cubicBezTo>
                  <a:cubicBezTo>
                    <a:pt x="196" y="4"/>
                    <a:pt x="196" y="4"/>
                    <a:pt x="196" y="4"/>
                  </a:cubicBezTo>
                  <a:cubicBezTo>
                    <a:pt x="197" y="3"/>
                    <a:pt x="198" y="2"/>
                    <a:pt x="199" y="1"/>
                  </a:cubicBezTo>
                  <a:cubicBezTo>
                    <a:pt x="202" y="0"/>
                    <a:pt x="205" y="0"/>
                    <a:pt x="207" y="1"/>
                  </a:cubicBezTo>
                  <a:cubicBezTo>
                    <a:pt x="209" y="2"/>
                    <a:pt x="210" y="3"/>
                    <a:pt x="211" y="4"/>
                  </a:cubicBezTo>
                  <a:cubicBezTo>
                    <a:pt x="254" y="46"/>
                    <a:pt x="254" y="46"/>
                    <a:pt x="254" y="46"/>
                  </a:cubicBezTo>
                  <a:cubicBezTo>
                    <a:pt x="258" y="51"/>
                    <a:pt x="258" y="57"/>
                    <a:pt x="254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210"/>
            <p:cNvSpPr>
              <a:spLocks noEditPoints="1"/>
            </p:cNvSpPr>
            <p:nvPr/>
          </p:nvSpPr>
          <p:spPr bwMode="auto">
            <a:xfrm>
              <a:off x="6586" y="72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6" name="Freeform 214"/>
          <p:cNvSpPr>
            <a:spLocks noChangeAspect="1" noEditPoints="1"/>
          </p:cNvSpPr>
          <p:nvPr/>
        </p:nvSpPr>
        <p:spPr bwMode="auto">
          <a:xfrm>
            <a:off x="4405618" y="4540470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1 w 512"/>
              <a:gd name="T11" fmla="*/ 157 h 512"/>
              <a:gd name="T12" fmla="*/ 373 w 512"/>
              <a:gd name="T13" fmla="*/ 160 h 512"/>
              <a:gd name="T14" fmla="*/ 365 w 512"/>
              <a:gd name="T15" fmla="*/ 157 h 512"/>
              <a:gd name="T16" fmla="*/ 341 w 512"/>
              <a:gd name="T17" fmla="*/ 132 h 512"/>
              <a:gd name="T18" fmla="*/ 341 w 512"/>
              <a:gd name="T19" fmla="*/ 202 h 512"/>
              <a:gd name="T20" fmla="*/ 280 w 512"/>
              <a:gd name="T21" fmla="*/ 302 h 512"/>
              <a:gd name="T22" fmla="*/ 275 w 512"/>
              <a:gd name="T23" fmla="*/ 306 h 512"/>
              <a:gd name="T24" fmla="*/ 266 w 512"/>
              <a:gd name="T25" fmla="*/ 320 h 512"/>
              <a:gd name="T26" fmla="*/ 266 w 512"/>
              <a:gd name="T27" fmla="*/ 320 h 512"/>
              <a:gd name="T28" fmla="*/ 266 w 512"/>
              <a:gd name="T29" fmla="*/ 405 h 512"/>
              <a:gd name="T30" fmla="*/ 256 w 512"/>
              <a:gd name="T31" fmla="*/ 416 h 512"/>
              <a:gd name="T32" fmla="*/ 245 w 512"/>
              <a:gd name="T33" fmla="*/ 405 h 512"/>
              <a:gd name="T34" fmla="*/ 245 w 512"/>
              <a:gd name="T35" fmla="*/ 320 h 512"/>
              <a:gd name="T36" fmla="*/ 245 w 512"/>
              <a:gd name="T37" fmla="*/ 319 h 512"/>
              <a:gd name="T38" fmla="*/ 236 w 512"/>
              <a:gd name="T39" fmla="*/ 306 h 512"/>
              <a:gd name="T40" fmla="*/ 231 w 512"/>
              <a:gd name="T41" fmla="*/ 302 h 512"/>
              <a:gd name="T42" fmla="*/ 170 w 512"/>
              <a:gd name="T43" fmla="*/ 202 h 512"/>
              <a:gd name="T44" fmla="*/ 170 w 512"/>
              <a:gd name="T45" fmla="*/ 132 h 512"/>
              <a:gd name="T46" fmla="*/ 146 w 512"/>
              <a:gd name="T47" fmla="*/ 157 h 512"/>
              <a:gd name="T48" fmla="*/ 138 w 512"/>
              <a:gd name="T49" fmla="*/ 160 h 512"/>
              <a:gd name="T50" fmla="*/ 131 w 512"/>
              <a:gd name="T51" fmla="*/ 157 h 512"/>
              <a:gd name="T52" fmla="*/ 131 w 512"/>
              <a:gd name="T53" fmla="*/ 141 h 512"/>
              <a:gd name="T54" fmla="*/ 173 w 512"/>
              <a:gd name="T55" fmla="*/ 99 h 512"/>
              <a:gd name="T56" fmla="*/ 177 w 512"/>
              <a:gd name="T57" fmla="*/ 96 h 512"/>
              <a:gd name="T58" fmla="*/ 185 w 512"/>
              <a:gd name="T59" fmla="*/ 96 h 512"/>
              <a:gd name="T60" fmla="*/ 189 w 512"/>
              <a:gd name="T61" fmla="*/ 99 h 512"/>
              <a:gd name="T62" fmla="*/ 231 w 512"/>
              <a:gd name="T63" fmla="*/ 141 h 512"/>
              <a:gd name="T64" fmla="*/ 231 w 512"/>
              <a:gd name="T65" fmla="*/ 157 h 512"/>
              <a:gd name="T66" fmla="*/ 224 w 512"/>
              <a:gd name="T67" fmla="*/ 160 h 512"/>
              <a:gd name="T68" fmla="*/ 216 w 512"/>
              <a:gd name="T69" fmla="*/ 157 h 512"/>
              <a:gd name="T70" fmla="*/ 192 w 512"/>
              <a:gd name="T71" fmla="*/ 132 h 512"/>
              <a:gd name="T72" fmla="*/ 192 w 512"/>
              <a:gd name="T73" fmla="*/ 202 h 512"/>
              <a:gd name="T74" fmla="*/ 245 w 512"/>
              <a:gd name="T75" fmla="*/ 286 h 512"/>
              <a:gd name="T76" fmla="*/ 251 w 512"/>
              <a:gd name="T77" fmla="*/ 290 h 512"/>
              <a:gd name="T78" fmla="*/ 256 w 512"/>
              <a:gd name="T79" fmla="*/ 295 h 512"/>
              <a:gd name="T80" fmla="*/ 261 w 512"/>
              <a:gd name="T81" fmla="*/ 290 h 512"/>
              <a:gd name="T82" fmla="*/ 266 w 512"/>
              <a:gd name="T83" fmla="*/ 286 h 512"/>
              <a:gd name="T84" fmla="*/ 320 w 512"/>
              <a:gd name="T85" fmla="*/ 202 h 512"/>
              <a:gd name="T86" fmla="*/ 320 w 512"/>
              <a:gd name="T87" fmla="*/ 132 h 512"/>
              <a:gd name="T88" fmla="*/ 295 w 512"/>
              <a:gd name="T89" fmla="*/ 157 h 512"/>
              <a:gd name="T90" fmla="*/ 288 w 512"/>
              <a:gd name="T91" fmla="*/ 160 h 512"/>
              <a:gd name="T92" fmla="*/ 280 w 512"/>
              <a:gd name="T93" fmla="*/ 157 h 512"/>
              <a:gd name="T94" fmla="*/ 280 w 512"/>
              <a:gd name="T95" fmla="*/ 141 h 512"/>
              <a:gd name="T96" fmla="*/ 323 w 512"/>
              <a:gd name="T97" fmla="*/ 99 h 512"/>
              <a:gd name="T98" fmla="*/ 326 w 512"/>
              <a:gd name="T99" fmla="*/ 96 h 512"/>
              <a:gd name="T100" fmla="*/ 334 w 512"/>
              <a:gd name="T101" fmla="*/ 96 h 512"/>
              <a:gd name="T102" fmla="*/ 338 w 512"/>
              <a:gd name="T103" fmla="*/ 99 h 512"/>
              <a:gd name="T104" fmla="*/ 381 w 512"/>
              <a:gd name="T105" fmla="*/ 141 h 512"/>
              <a:gd name="T106" fmla="*/ 381 w 512"/>
              <a:gd name="T107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157"/>
                </a:moveTo>
                <a:cubicBezTo>
                  <a:pt x="378" y="159"/>
                  <a:pt x="376" y="160"/>
                  <a:pt x="373" y="160"/>
                </a:cubicBezTo>
                <a:cubicBezTo>
                  <a:pt x="370" y="160"/>
                  <a:pt x="368" y="159"/>
                  <a:pt x="365" y="157"/>
                </a:cubicBezTo>
                <a:cubicBezTo>
                  <a:pt x="341" y="132"/>
                  <a:pt x="341" y="132"/>
                  <a:pt x="341" y="132"/>
                </a:cubicBezTo>
                <a:cubicBezTo>
                  <a:pt x="341" y="202"/>
                  <a:pt x="341" y="202"/>
                  <a:pt x="341" y="202"/>
                </a:cubicBezTo>
                <a:cubicBezTo>
                  <a:pt x="341" y="248"/>
                  <a:pt x="303" y="282"/>
                  <a:pt x="280" y="302"/>
                </a:cubicBezTo>
                <a:cubicBezTo>
                  <a:pt x="275" y="306"/>
                  <a:pt x="275" y="306"/>
                  <a:pt x="275" y="306"/>
                </a:cubicBezTo>
                <a:cubicBezTo>
                  <a:pt x="266" y="314"/>
                  <a:pt x="266" y="318"/>
                  <a:pt x="266" y="320"/>
                </a:cubicBezTo>
                <a:cubicBezTo>
                  <a:pt x="266" y="320"/>
                  <a:pt x="266" y="320"/>
                  <a:pt x="266" y="320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19"/>
                  <a:pt x="245" y="319"/>
                  <a:pt x="245" y="319"/>
                </a:cubicBezTo>
                <a:cubicBezTo>
                  <a:pt x="245" y="318"/>
                  <a:pt x="245" y="314"/>
                  <a:pt x="236" y="306"/>
                </a:cubicBezTo>
                <a:cubicBezTo>
                  <a:pt x="231" y="302"/>
                  <a:pt x="231" y="302"/>
                  <a:pt x="231" y="302"/>
                </a:cubicBezTo>
                <a:cubicBezTo>
                  <a:pt x="208" y="282"/>
                  <a:pt x="170" y="248"/>
                  <a:pt x="170" y="202"/>
                </a:cubicBezTo>
                <a:cubicBezTo>
                  <a:pt x="170" y="132"/>
                  <a:pt x="170" y="132"/>
                  <a:pt x="170" y="132"/>
                </a:cubicBezTo>
                <a:cubicBezTo>
                  <a:pt x="146" y="157"/>
                  <a:pt x="146" y="157"/>
                  <a:pt x="146" y="157"/>
                </a:cubicBezTo>
                <a:cubicBezTo>
                  <a:pt x="144" y="159"/>
                  <a:pt x="141" y="160"/>
                  <a:pt x="138" y="160"/>
                </a:cubicBezTo>
                <a:cubicBezTo>
                  <a:pt x="136" y="160"/>
                  <a:pt x="133" y="159"/>
                  <a:pt x="131" y="157"/>
                </a:cubicBezTo>
                <a:cubicBezTo>
                  <a:pt x="127" y="152"/>
                  <a:pt x="127" y="146"/>
                  <a:pt x="131" y="141"/>
                </a:cubicBezTo>
                <a:cubicBezTo>
                  <a:pt x="173" y="99"/>
                  <a:pt x="173" y="99"/>
                  <a:pt x="173" y="99"/>
                </a:cubicBezTo>
                <a:cubicBezTo>
                  <a:pt x="174" y="98"/>
                  <a:pt x="176" y="97"/>
                  <a:pt x="177" y="96"/>
                </a:cubicBezTo>
                <a:cubicBezTo>
                  <a:pt x="180" y="95"/>
                  <a:pt x="182" y="95"/>
                  <a:pt x="185" y="96"/>
                </a:cubicBezTo>
                <a:cubicBezTo>
                  <a:pt x="186" y="97"/>
                  <a:pt x="188" y="98"/>
                  <a:pt x="189" y="99"/>
                </a:cubicBezTo>
                <a:cubicBezTo>
                  <a:pt x="231" y="141"/>
                  <a:pt x="231" y="141"/>
                  <a:pt x="231" y="141"/>
                </a:cubicBezTo>
                <a:cubicBezTo>
                  <a:pt x="235" y="146"/>
                  <a:pt x="235" y="152"/>
                  <a:pt x="231" y="157"/>
                </a:cubicBezTo>
                <a:cubicBezTo>
                  <a:pt x="229" y="159"/>
                  <a:pt x="226" y="160"/>
                  <a:pt x="224" y="160"/>
                </a:cubicBezTo>
                <a:cubicBezTo>
                  <a:pt x="221" y="160"/>
                  <a:pt x="218" y="159"/>
                  <a:pt x="216" y="157"/>
                </a:cubicBezTo>
                <a:cubicBezTo>
                  <a:pt x="192" y="132"/>
                  <a:pt x="192" y="132"/>
                  <a:pt x="192" y="132"/>
                </a:cubicBezTo>
                <a:cubicBezTo>
                  <a:pt x="192" y="202"/>
                  <a:pt x="192" y="202"/>
                  <a:pt x="192" y="202"/>
                </a:cubicBezTo>
                <a:cubicBezTo>
                  <a:pt x="192" y="238"/>
                  <a:pt x="224" y="267"/>
                  <a:pt x="245" y="286"/>
                </a:cubicBezTo>
                <a:cubicBezTo>
                  <a:pt x="251" y="290"/>
                  <a:pt x="251" y="290"/>
                  <a:pt x="251" y="290"/>
                </a:cubicBezTo>
                <a:cubicBezTo>
                  <a:pt x="252" y="292"/>
                  <a:pt x="254" y="294"/>
                  <a:pt x="256" y="295"/>
                </a:cubicBezTo>
                <a:cubicBezTo>
                  <a:pt x="257" y="294"/>
                  <a:pt x="259" y="292"/>
                  <a:pt x="261" y="290"/>
                </a:cubicBezTo>
                <a:cubicBezTo>
                  <a:pt x="266" y="286"/>
                  <a:pt x="266" y="286"/>
                  <a:pt x="266" y="286"/>
                </a:cubicBezTo>
                <a:cubicBezTo>
                  <a:pt x="287" y="267"/>
                  <a:pt x="320" y="238"/>
                  <a:pt x="320" y="202"/>
                </a:cubicBezTo>
                <a:cubicBezTo>
                  <a:pt x="320" y="132"/>
                  <a:pt x="320" y="132"/>
                  <a:pt x="320" y="132"/>
                </a:cubicBezTo>
                <a:cubicBezTo>
                  <a:pt x="295" y="157"/>
                  <a:pt x="295" y="157"/>
                  <a:pt x="295" y="157"/>
                </a:cubicBezTo>
                <a:cubicBezTo>
                  <a:pt x="293" y="159"/>
                  <a:pt x="290" y="160"/>
                  <a:pt x="288" y="160"/>
                </a:cubicBezTo>
                <a:cubicBezTo>
                  <a:pt x="285" y="160"/>
                  <a:pt x="282" y="159"/>
                  <a:pt x="280" y="157"/>
                </a:cubicBezTo>
                <a:cubicBezTo>
                  <a:pt x="276" y="152"/>
                  <a:pt x="276" y="146"/>
                  <a:pt x="280" y="141"/>
                </a:cubicBezTo>
                <a:cubicBezTo>
                  <a:pt x="323" y="99"/>
                  <a:pt x="323" y="99"/>
                  <a:pt x="323" y="99"/>
                </a:cubicBezTo>
                <a:cubicBezTo>
                  <a:pt x="324" y="98"/>
                  <a:pt x="325" y="97"/>
                  <a:pt x="326" y="96"/>
                </a:cubicBezTo>
                <a:cubicBezTo>
                  <a:pt x="329" y="95"/>
                  <a:pt x="332" y="95"/>
                  <a:pt x="334" y="96"/>
                </a:cubicBezTo>
                <a:cubicBezTo>
                  <a:pt x="336" y="97"/>
                  <a:pt x="337" y="98"/>
                  <a:pt x="338" y="99"/>
                </a:cubicBezTo>
                <a:cubicBezTo>
                  <a:pt x="381" y="141"/>
                  <a:pt x="381" y="141"/>
                  <a:pt x="381" y="141"/>
                </a:cubicBezTo>
                <a:cubicBezTo>
                  <a:pt x="385" y="146"/>
                  <a:pt x="385" y="152"/>
                  <a:pt x="381" y="1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7" name="TextBox 246"/>
          <p:cNvSpPr txBox="1"/>
          <p:nvPr/>
        </p:nvSpPr>
        <p:spPr>
          <a:xfrm>
            <a:off x="4380786" y="49762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li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908744" y="2042612"/>
            <a:ext cx="355601" cy="355601"/>
            <a:chOff x="6574441" y="2042612"/>
            <a:chExt cx="355601" cy="355601"/>
          </a:xfrm>
        </p:grpSpPr>
        <p:sp>
          <p:nvSpPr>
            <p:cNvPr id="280" name="Freeform 179"/>
            <p:cNvSpPr>
              <a:spLocks/>
            </p:cNvSpPr>
            <p:nvPr/>
          </p:nvSpPr>
          <p:spPr bwMode="auto">
            <a:xfrm>
              <a:off x="6655637" y="2140242"/>
              <a:ext cx="206663" cy="172713"/>
            </a:xfrm>
            <a:custGeom>
              <a:avLst/>
              <a:gdLst>
                <a:gd name="T0" fmla="*/ 285 w 288"/>
                <a:gd name="T1" fmla="*/ 125 h 235"/>
                <a:gd name="T2" fmla="*/ 253 w 288"/>
                <a:gd name="T3" fmla="*/ 157 h 235"/>
                <a:gd name="T4" fmla="*/ 245 w 288"/>
                <a:gd name="T5" fmla="*/ 160 h 235"/>
                <a:gd name="T6" fmla="*/ 238 w 288"/>
                <a:gd name="T7" fmla="*/ 157 h 235"/>
                <a:gd name="T8" fmla="*/ 238 w 288"/>
                <a:gd name="T9" fmla="*/ 142 h 235"/>
                <a:gd name="T10" fmla="*/ 252 w 288"/>
                <a:gd name="T11" fmla="*/ 128 h 235"/>
                <a:gd name="T12" fmla="*/ 224 w 288"/>
                <a:gd name="T13" fmla="*/ 128 h 235"/>
                <a:gd name="T14" fmla="*/ 192 w 288"/>
                <a:gd name="T15" fmla="*/ 96 h 235"/>
                <a:gd name="T16" fmla="*/ 192 w 288"/>
                <a:gd name="T17" fmla="*/ 32 h 235"/>
                <a:gd name="T18" fmla="*/ 181 w 288"/>
                <a:gd name="T19" fmla="*/ 22 h 235"/>
                <a:gd name="T20" fmla="*/ 171 w 288"/>
                <a:gd name="T21" fmla="*/ 32 h 235"/>
                <a:gd name="T22" fmla="*/ 171 w 288"/>
                <a:gd name="T23" fmla="*/ 203 h 235"/>
                <a:gd name="T24" fmla="*/ 139 w 288"/>
                <a:gd name="T25" fmla="*/ 235 h 235"/>
                <a:gd name="T26" fmla="*/ 107 w 288"/>
                <a:gd name="T27" fmla="*/ 203 h 235"/>
                <a:gd name="T28" fmla="*/ 107 w 288"/>
                <a:gd name="T29" fmla="*/ 118 h 235"/>
                <a:gd name="T30" fmla="*/ 107 w 288"/>
                <a:gd name="T31" fmla="*/ 32 h 235"/>
                <a:gd name="T32" fmla="*/ 96 w 288"/>
                <a:gd name="T33" fmla="*/ 22 h 235"/>
                <a:gd name="T34" fmla="*/ 85 w 288"/>
                <a:gd name="T35" fmla="*/ 32 h 235"/>
                <a:gd name="T36" fmla="*/ 85 w 288"/>
                <a:gd name="T37" fmla="*/ 203 h 235"/>
                <a:gd name="T38" fmla="*/ 53 w 288"/>
                <a:gd name="T39" fmla="*/ 235 h 235"/>
                <a:gd name="T40" fmla="*/ 21 w 288"/>
                <a:gd name="T41" fmla="*/ 203 h 235"/>
                <a:gd name="T42" fmla="*/ 21 w 288"/>
                <a:gd name="T43" fmla="*/ 139 h 235"/>
                <a:gd name="T44" fmla="*/ 11 w 288"/>
                <a:gd name="T45" fmla="*/ 128 h 235"/>
                <a:gd name="T46" fmla="*/ 0 w 288"/>
                <a:gd name="T47" fmla="*/ 118 h 235"/>
                <a:gd name="T48" fmla="*/ 11 w 288"/>
                <a:gd name="T49" fmla="*/ 107 h 235"/>
                <a:gd name="T50" fmla="*/ 43 w 288"/>
                <a:gd name="T51" fmla="*/ 139 h 235"/>
                <a:gd name="T52" fmla="*/ 43 w 288"/>
                <a:gd name="T53" fmla="*/ 203 h 235"/>
                <a:gd name="T54" fmla="*/ 53 w 288"/>
                <a:gd name="T55" fmla="*/ 214 h 235"/>
                <a:gd name="T56" fmla="*/ 64 w 288"/>
                <a:gd name="T57" fmla="*/ 203 h 235"/>
                <a:gd name="T58" fmla="*/ 64 w 288"/>
                <a:gd name="T59" fmla="*/ 32 h 235"/>
                <a:gd name="T60" fmla="*/ 96 w 288"/>
                <a:gd name="T61" fmla="*/ 0 h 235"/>
                <a:gd name="T62" fmla="*/ 128 w 288"/>
                <a:gd name="T63" fmla="*/ 32 h 235"/>
                <a:gd name="T64" fmla="*/ 128 w 288"/>
                <a:gd name="T65" fmla="*/ 118 h 235"/>
                <a:gd name="T66" fmla="*/ 128 w 288"/>
                <a:gd name="T67" fmla="*/ 203 h 235"/>
                <a:gd name="T68" fmla="*/ 139 w 288"/>
                <a:gd name="T69" fmla="*/ 214 h 235"/>
                <a:gd name="T70" fmla="*/ 149 w 288"/>
                <a:gd name="T71" fmla="*/ 203 h 235"/>
                <a:gd name="T72" fmla="*/ 149 w 288"/>
                <a:gd name="T73" fmla="*/ 32 h 235"/>
                <a:gd name="T74" fmla="*/ 181 w 288"/>
                <a:gd name="T75" fmla="*/ 0 h 235"/>
                <a:gd name="T76" fmla="*/ 213 w 288"/>
                <a:gd name="T77" fmla="*/ 32 h 235"/>
                <a:gd name="T78" fmla="*/ 213 w 288"/>
                <a:gd name="T79" fmla="*/ 96 h 235"/>
                <a:gd name="T80" fmla="*/ 224 w 288"/>
                <a:gd name="T81" fmla="*/ 107 h 235"/>
                <a:gd name="T82" fmla="*/ 252 w 288"/>
                <a:gd name="T83" fmla="*/ 107 h 235"/>
                <a:gd name="T84" fmla="*/ 238 w 288"/>
                <a:gd name="T85" fmla="*/ 93 h 235"/>
                <a:gd name="T86" fmla="*/ 238 w 288"/>
                <a:gd name="T87" fmla="*/ 78 h 235"/>
                <a:gd name="T88" fmla="*/ 253 w 288"/>
                <a:gd name="T89" fmla="*/ 78 h 235"/>
                <a:gd name="T90" fmla="*/ 285 w 288"/>
                <a:gd name="T91" fmla="*/ 110 h 235"/>
                <a:gd name="T92" fmla="*/ 287 w 288"/>
                <a:gd name="T93" fmla="*/ 114 h 235"/>
                <a:gd name="T94" fmla="*/ 287 w 288"/>
                <a:gd name="T95" fmla="*/ 122 h 235"/>
                <a:gd name="T96" fmla="*/ 285 w 288"/>
                <a:gd name="T97" fmla="*/ 12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8" h="235">
                  <a:moveTo>
                    <a:pt x="285" y="125"/>
                  </a:moveTo>
                  <a:cubicBezTo>
                    <a:pt x="253" y="157"/>
                    <a:pt x="253" y="157"/>
                    <a:pt x="253" y="157"/>
                  </a:cubicBezTo>
                  <a:cubicBezTo>
                    <a:pt x="251" y="159"/>
                    <a:pt x="248" y="160"/>
                    <a:pt x="245" y="160"/>
                  </a:cubicBezTo>
                  <a:cubicBezTo>
                    <a:pt x="243" y="160"/>
                    <a:pt x="240" y="159"/>
                    <a:pt x="238" y="157"/>
                  </a:cubicBezTo>
                  <a:cubicBezTo>
                    <a:pt x="234" y="153"/>
                    <a:pt x="234" y="146"/>
                    <a:pt x="238" y="142"/>
                  </a:cubicBezTo>
                  <a:cubicBezTo>
                    <a:pt x="252" y="128"/>
                    <a:pt x="252" y="128"/>
                    <a:pt x="252" y="128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06" y="128"/>
                    <a:pt x="192" y="114"/>
                    <a:pt x="192" y="96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26"/>
                    <a:pt x="187" y="22"/>
                    <a:pt x="181" y="22"/>
                  </a:cubicBezTo>
                  <a:cubicBezTo>
                    <a:pt x="175" y="22"/>
                    <a:pt x="171" y="26"/>
                    <a:pt x="171" y="32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221"/>
                    <a:pt x="156" y="235"/>
                    <a:pt x="139" y="235"/>
                  </a:cubicBezTo>
                  <a:cubicBezTo>
                    <a:pt x="121" y="235"/>
                    <a:pt x="107" y="221"/>
                    <a:pt x="107" y="203"/>
                  </a:cubicBezTo>
                  <a:cubicBezTo>
                    <a:pt x="107" y="118"/>
                    <a:pt x="107" y="118"/>
                    <a:pt x="107" y="11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7" y="26"/>
                    <a:pt x="102" y="22"/>
                    <a:pt x="96" y="22"/>
                  </a:cubicBezTo>
                  <a:cubicBezTo>
                    <a:pt x="90" y="22"/>
                    <a:pt x="85" y="26"/>
                    <a:pt x="85" y="32"/>
                  </a:cubicBezTo>
                  <a:cubicBezTo>
                    <a:pt x="85" y="203"/>
                    <a:pt x="85" y="203"/>
                    <a:pt x="85" y="203"/>
                  </a:cubicBezTo>
                  <a:cubicBezTo>
                    <a:pt x="85" y="221"/>
                    <a:pt x="71" y="235"/>
                    <a:pt x="53" y="235"/>
                  </a:cubicBezTo>
                  <a:cubicBezTo>
                    <a:pt x="36" y="235"/>
                    <a:pt x="21" y="221"/>
                    <a:pt x="21" y="203"/>
                  </a:cubicBezTo>
                  <a:cubicBezTo>
                    <a:pt x="21" y="139"/>
                    <a:pt x="21" y="139"/>
                    <a:pt x="21" y="139"/>
                  </a:cubicBezTo>
                  <a:cubicBezTo>
                    <a:pt x="21" y="133"/>
                    <a:pt x="17" y="128"/>
                    <a:pt x="11" y="128"/>
                  </a:cubicBezTo>
                  <a:cubicBezTo>
                    <a:pt x="5" y="128"/>
                    <a:pt x="0" y="124"/>
                    <a:pt x="0" y="118"/>
                  </a:cubicBezTo>
                  <a:cubicBezTo>
                    <a:pt x="0" y="112"/>
                    <a:pt x="5" y="107"/>
                    <a:pt x="11" y="107"/>
                  </a:cubicBezTo>
                  <a:cubicBezTo>
                    <a:pt x="28" y="107"/>
                    <a:pt x="43" y="121"/>
                    <a:pt x="43" y="139"/>
                  </a:cubicBezTo>
                  <a:cubicBezTo>
                    <a:pt x="43" y="203"/>
                    <a:pt x="43" y="203"/>
                    <a:pt x="43" y="203"/>
                  </a:cubicBezTo>
                  <a:cubicBezTo>
                    <a:pt x="43" y="209"/>
                    <a:pt x="47" y="214"/>
                    <a:pt x="53" y="214"/>
                  </a:cubicBezTo>
                  <a:cubicBezTo>
                    <a:pt x="59" y="214"/>
                    <a:pt x="64" y="209"/>
                    <a:pt x="64" y="203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15"/>
                    <a:pt x="78" y="0"/>
                    <a:pt x="96" y="0"/>
                  </a:cubicBezTo>
                  <a:cubicBezTo>
                    <a:pt x="114" y="0"/>
                    <a:pt x="128" y="15"/>
                    <a:pt x="128" y="32"/>
                  </a:cubicBezTo>
                  <a:cubicBezTo>
                    <a:pt x="128" y="118"/>
                    <a:pt x="128" y="118"/>
                    <a:pt x="128" y="118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8" y="209"/>
                    <a:pt x="133" y="214"/>
                    <a:pt x="139" y="214"/>
                  </a:cubicBezTo>
                  <a:cubicBezTo>
                    <a:pt x="145" y="214"/>
                    <a:pt x="149" y="209"/>
                    <a:pt x="149" y="203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15"/>
                    <a:pt x="164" y="0"/>
                    <a:pt x="181" y="0"/>
                  </a:cubicBezTo>
                  <a:cubicBezTo>
                    <a:pt x="199" y="0"/>
                    <a:pt x="213" y="15"/>
                    <a:pt x="213" y="32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2"/>
                    <a:pt x="218" y="107"/>
                    <a:pt x="224" y="107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38" y="93"/>
                    <a:pt x="238" y="93"/>
                    <a:pt x="238" y="93"/>
                  </a:cubicBezTo>
                  <a:cubicBezTo>
                    <a:pt x="234" y="89"/>
                    <a:pt x="234" y="82"/>
                    <a:pt x="238" y="78"/>
                  </a:cubicBezTo>
                  <a:cubicBezTo>
                    <a:pt x="242" y="74"/>
                    <a:pt x="249" y="74"/>
                    <a:pt x="253" y="78"/>
                  </a:cubicBezTo>
                  <a:cubicBezTo>
                    <a:pt x="285" y="110"/>
                    <a:pt x="285" y="110"/>
                    <a:pt x="285" y="110"/>
                  </a:cubicBezTo>
                  <a:cubicBezTo>
                    <a:pt x="286" y="111"/>
                    <a:pt x="287" y="112"/>
                    <a:pt x="287" y="114"/>
                  </a:cubicBezTo>
                  <a:cubicBezTo>
                    <a:pt x="288" y="116"/>
                    <a:pt x="288" y="119"/>
                    <a:pt x="287" y="122"/>
                  </a:cubicBezTo>
                  <a:cubicBezTo>
                    <a:pt x="287" y="123"/>
                    <a:pt x="286" y="124"/>
                    <a:pt x="285" y="12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6574441" y="2042612"/>
              <a:ext cx="355601" cy="355601"/>
            </a:xfrm>
            <a:prstGeom prst="ellipse">
              <a:avLst/>
            </a:prstGeom>
            <a:noFill/>
            <a:ln w="190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26348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Life science/Healthca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38837" y="2460820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by bottle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26362" y="246082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by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28704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by stroller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27038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eaker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27871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nd Aid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5426205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st aid kit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7424539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ll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6425372" y="246082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st aid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425585" y="331147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est tube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1428106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est tubes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3426798" y="331147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kull &amp; bones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4426144" y="331147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ethoscope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427452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mbulance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5425490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yringe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8423528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NA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7424182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croscope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6424836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ll bottle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38837" y="416273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heelchair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9422871" y="246082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art rate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1439494" y="4162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cifier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2451793" y="4162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ar of life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3464092" y="4162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ospital 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9422871" y="331147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ain</a:t>
            </a:r>
          </a:p>
        </p:txBody>
      </p:sp>
      <p:sp>
        <p:nvSpPr>
          <p:cNvPr id="682" name="TextBox 681"/>
          <p:cNvSpPr txBox="1"/>
          <p:nvPr/>
        </p:nvSpPr>
        <p:spPr>
          <a:xfrm>
            <a:off x="8423706" y="2460824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oken heart</a:t>
            </a:r>
          </a:p>
        </p:txBody>
      </p:sp>
      <p:sp>
        <p:nvSpPr>
          <p:cNvPr id="256" name="Freeform 255"/>
          <p:cNvSpPr>
            <a:spLocks noChangeAspect="1" noEditPoints="1"/>
          </p:cNvSpPr>
          <p:nvPr/>
        </p:nvSpPr>
        <p:spPr bwMode="auto">
          <a:xfrm>
            <a:off x="422156" y="2041526"/>
            <a:ext cx="369064" cy="367982"/>
          </a:xfrm>
          <a:custGeom>
            <a:avLst/>
            <a:gdLst>
              <a:gd name="T0" fmla="*/ 192 w 512"/>
              <a:gd name="T1" fmla="*/ 202 h 512"/>
              <a:gd name="T2" fmla="*/ 320 w 512"/>
              <a:gd name="T3" fmla="*/ 202 h 512"/>
              <a:gd name="T4" fmla="*/ 320 w 512"/>
              <a:gd name="T5" fmla="*/ 224 h 512"/>
              <a:gd name="T6" fmla="*/ 192 w 512"/>
              <a:gd name="T7" fmla="*/ 224 h 512"/>
              <a:gd name="T8" fmla="*/ 192 w 512"/>
              <a:gd name="T9" fmla="*/ 202 h 512"/>
              <a:gd name="T10" fmla="*/ 273 w 512"/>
              <a:gd name="T11" fmla="*/ 153 h 512"/>
              <a:gd name="T12" fmla="*/ 266 w 512"/>
              <a:gd name="T13" fmla="*/ 143 h 512"/>
              <a:gd name="T14" fmla="*/ 266 w 512"/>
              <a:gd name="T15" fmla="*/ 128 h 512"/>
              <a:gd name="T16" fmla="*/ 256 w 512"/>
              <a:gd name="T17" fmla="*/ 117 h 512"/>
              <a:gd name="T18" fmla="*/ 245 w 512"/>
              <a:gd name="T19" fmla="*/ 128 h 512"/>
              <a:gd name="T20" fmla="*/ 245 w 512"/>
              <a:gd name="T21" fmla="*/ 143 h 512"/>
              <a:gd name="T22" fmla="*/ 239 w 512"/>
              <a:gd name="T23" fmla="*/ 153 h 512"/>
              <a:gd name="T24" fmla="*/ 214 w 512"/>
              <a:gd name="T25" fmla="*/ 181 h 512"/>
              <a:gd name="T26" fmla="*/ 297 w 512"/>
              <a:gd name="T27" fmla="*/ 181 h 512"/>
              <a:gd name="T28" fmla="*/ 273 w 512"/>
              <a:gd name="T29" fmla="*/ 153 h 512"/>
              <a:gd name="T30" fmla="*/ 213 w 512"/>
              <a:gd name="T31" fmla="*/ 394 h 512"/>
              <a:gd name="T32" fmla="*/ 298 w 512"/>
              <a:gd name="T33" fmla="*/ 394 h 512"/>
              <a:gd name="T34" fmla="*/ 298 w 512"/>
              <a:gd name="T35" fmla="*/ 373 h 512"/>
              <a:gd name="T36" fmla="*/ 266 w 512"/>
              <a:gd name="T37" fmla="*/ 373 h 512"/>
              <a:gd name="T38" fmla="*/ 256 w 512"/>
              <a:gd name="T39" fmla="*/ 362 h 512"/>
              <a:gd name="T40" fmla="*/ 266 w 512"/>
              <a:gd name="T41" fmla="*/ 352 h 512"/>
              <a:gd name="T42" fmla="*/ 298 w 512"/>
              <a:gd name="T43" fmla="*/ 352 h 512"/>
              <a:gd name="T44" fmla="*/ 298 w 512"/>
              <a:gd name="T45" fmla="*/ 330 h 512"/>
              <a:gd name="T46" fmla="*/ 266 w 512"/>
              <a:gd name="T47" fmla="*/ 330 h 512"/>
              <a:gd name="T48" fmla="*/ 256 w 512"/>
              <a:gd name="T49" fmla="*/ 320 h 512"/>
              <a:gd name="T50" fmla="*/ 266 w 512"/>
              <a:gd name="T51" fmla="*/ 309 h 512"/>
              <a:gd name="T52" fmla="*/ 298 w 512"/>
              <a:gd name="T53" fmla="*/ 309 h 512"/>
              <a:gd name="T54" fmla="*/ 298 w 512"/>
              <a:gd name="T55" fmla="*/ 288 h 512"/>
              <a:gd name="T56" fmla="*/ 266 w 512"/>
              <a:gd name="T57" fmla="*/ 288 h 512"/>
              <a:gd name="T58" fmla="*/ 256 w 512"/>
              <a:gd name="T59" fmla="*/ 277 h 512"/>
              <a:gd name="T60" fmla="*/ 266 w 512"/>
              <a:gd name="T61" fmla="*/ 266 h 512"/>
              <a:gd name="T62" fmla="*/ 298 w 512"/>
              <a:gd name="T63" fmla="*/ 266 h 512"/>
              <a:gd name="T64" fmla="*/ 298 w 512"/>
              <a:gd name="T65" fmla="*/ 245 h 512"/>
              <a:gd name="T66" fmla="*/ 213 w 512"/>
              <a:gd name="T67" fmla="*/ 245 h 512"/>
              <a:gd name="T68" fmla="*/ 213 w 512"/>
              <a:gd name="T69" fmla="*/ 394 h 512"/>
              <a:gd name="T70" fmla="*/ 512 w 512"/>
              <a:gd name="T71" fmla="*/ 256 h 512"/>
              <a:gd name="T72" fmla="*/ 256 w 512"/>
              <a:gd name="T73" fmla="*/ 512 h 512"/>
              <a:gd name="T74" fmla="*/ 0 w 512"/>
              <a:gd name="T75" fmla="*/ 256 h 512"/>
              <a:gd name="T76" fmla="*/ 256 w 512"/>
              <a:gd name="T77" fmla="*/ 0 h 512"/>
              <a:gd name="T78" fmla="*/ 512 w 512"/>
              <a:gd name="T79" fmla="*/ 256 h 512"/>
              <a:gd name="T80" fmla="*/ 341 w 512"/>
              <a:gd name="T81" fmla="*/ 192 h 512"/>
              <a:gd name="T82" fmla="*/ 330 w 512"/>
              <a:gd name="T83" fmla="*/ 181 h 512"/>
              <a:gd name="T84" fmla="*/ 319 w 512"/>
              <a:gd name="T85" fmla="*/ 181 h 512"/>
              <a:gd name="T86" fmla="*/ 288 w 512"/>
              <a:gd name="T87" fmla="*/ 136 h 512"/>
              <a:gd name="T88" fmla="*/ 288 w 512"/>
              <a:gd name="T89" fmla="*/ 128 h 512"/>
              <a:gd name="T90" fmla="*/ 256 w 512"/>
              <a:gd name="T91" fmla="*/ 96 h 512"/>
              <a:gd name="T92" fmla="*/ 224 w 512"/>
              <a:gd name="T93" fmla="*/ 128 h 512"/>
              <a:gd name="T94" fmla="*/ 224 w 512"/>
              <a:gd name="T95" fmla="*/ 136 h 512"/>
              <a:gd name="T96" fmla="*/ 193 w 512"/>
              <a:gd name="T97" fmla="*/ 181 h 512"/>
              <a:gd name="T98" fmla="*/ 181 w 512"/>
              <a:gd name="T99" fmla="*/ 181 h 512"/>
              <a:gd name="T100" fmla="*/ 170 w 512"/>
              <a:gd name="T101" fmla="*/ 192 h 512"/>
              <a:gd name="T102" fmla="*/ 170 w 512"/>
              <a:gd name="T103" fmla="*/ 234 h 512"/>
              <a:gd name="T104" fmla="*/ 181 w 512"/>
              <a:gd name="T105" fmla="*/ 245 h 512"/>
              <a:gd name="T106" fmla="*/ 192 w 512"/>
              <a:gd name="T107" fmla="*/ 245 h 512"/>
              <a:gd name="T108" fmla="*/ 192 w 512"/>
              <a:gd name="T109" fmla="*/ 405 h 512"/>
              <a:gd name="T110" fmla="*/ 202 w 512"/>
              <a:gd name="T111" fmla="*/ 416 h 512"/>
              <a:gd name="T112" fmla="*/ 309 w 512"/>
              <a:gd name="T113" fmla="*/ 416 h 512"/>
              <a:gd name="T114" fmla="*/ 320 w 512"/>
              <a:gd name="T115" fmla="*/ 405 h 512"/>
              <a:gd name="T116" fmla="*/ 320 w 512"/>
              <a:gd name="T117" fmla="*/ 245 h 512"/>
              <a:gd name="T118" fmla="*/ 330 w 512"/>
              <a:gd name="T119" fmla="*/ 245 h 512"/>
              <a:gd name="T120" fmla="*/ 341 w 512"/>
              <a:gd name="T121" fmla="*/ 234 h 512"/>
              <a:gd name="T122" fmla="*/ 341 w 512"/>
              <a:gd name="T123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192" y="202"/>
                </a:moveTo>
                <a:cubicBezTo>
                  <a:pt x="320" y="202"/>
                  <a:pt x="320" y="202"/>
                  <a:pt x="320" y="202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192" y="224"/>
                  <a:pt x="192" y="224"/>
                  <a:pt x="192" y="224"/>
                </a:cubicBezTo>
                <a:lnTo>
                  <a:pt x="192" y="202"/>
                </a:lnTo>
                <a:close/>
                <a:moveTo>
                  <a:pt x="273" y="153"/>
                </a:moveTo>
                <a:cubicBezTo>
                  <a:pt x="269" y="151"/>
                  <a:pt x="266" y="147"/>
                  <a:pt x="266" y="143"/>
                </a:cubicBezTo>
                <a:cubicBezTo>
                  <a:pt x="266" y="128"/>
                  <a:pt x="266" y="128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43"/>
                  <a:pt x="245" y="143"/>
                  <a:pt x="245" y="143"/>
                </a:cubicBezTo>
                <a:cubicBezTo>
                  <a:pt x="245" y="147"/>
                  <a:pt x="242" y="151"/>
                  <a:pt x="239" y="153"/>
                </a:cubicBezTo>
                <a:cubicBezTo>
                  <a:pt x="226" y="158"/>
                  <a:pt x="218" y="169"/>
                  <a:pt x="214" y="181"/>
                </a:cubicBezTo>
                <a:cubicBezTo>
                  <a:pt x="297" y="181"/>
                  <a:pt x="297" y="181"/>
                  <a:pt x="297" y="181"/>
                </a:cubicBezTo>
                <a:cubicBezTo>
                  <a:pt x="294" y="169"/>
                  <a:pt x="285" y="158"/>
                  <a:pt x="273" y="153"/>
                </a:cubicBezTo>
                <a:close/>
                <a:moveTo>
                  <a:pt x="213" y="394"/>
                </a:moveTo>
                <a:cubicBezTo>
                  <a:pt x="298" y="394"/>
                  <a:pt x="298" y="394"/>
                  <a:pt x="298" y="394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60" y="373"/>
                  <a:pt x="256" y="368"/>
                  <a:pt x="256" y="362"/>
                </a:cubicBezTo>
                <a:cubicBezTo>
                  <a:pt x="256" y="356"/>
                  <a:pt x="260" y="352"/>
                  <a:pt x="266" y="352"/>
                </a:cubicBezTo>
                <a:cubicBezTo>
                  <a:pt x="298" y="352"/>
                  <a:pt x="298" y="352"/>
                  <a:pt x="298" y="352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0" y="330"/>
                  <a:pt x="256" y="326"/>
                  <a:pt x="256" y="320"/>
                </a:cubicBezTo>
                <a:cubicBezTo>
                  <a:pt x="256" y="314"/>
                  <a:pt x="260" y="309"/>
                  <a:pt x="266" y="309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98" y="288"/>
                  <a:pt x="298" y="288"/>
                  <a:pt x="298" y="288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0" y="288"/>
                  <a:pt x="256" y="283"/>
                  <a:pt x="256" y="277"/>
                </a:cubicBezTo>
                <a:cubicBezTo>
                  <a:pt x="256" y="271"/>
                  <a:pt x="260" y="266"/>
                  <a:pt x="266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13" y="245"/>
                  <a:pt x="213" y="245"/>
                  <a:pt x="213" y="245"/>
                </a:cubicBezTo>
                <a:lnTo>
                  <a:pt x="213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192"/>
                </a:moveTo>
                <a:cubicBezTo>
                  <a:pt x="341" y="186"/>
                  <a:pt x="336" y="181"/>
                  <a:pt x="330" y="181"/>
                </a:cubicBezTo>
                <a:cubicBezTo>
                  <a:pt x="319" y="181"/>
                  <a:pt x="319" y="181"/>
                  <a:pt x="319" y="181"/>
                </a:cubicBezTo>
                <a:cubicBezTo>
                  <a:pt x="315" y="162"/>
                  <a:pt x="304" y="146"/>
                  <a:pt x="288" y="136"/>
                </a:cubicBezTo>
                <a:cubicBezTo>
                  <a:pt x="288" y="128"/>
                  <a:pt x="288" y="128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36"/>
                  <a:pt x="224" y="136"/>
                  <a:pt x="224" y="136"/>
                </a:cubicBezTo>
                <a:cubicBezTo>
                  <a:pt x="207" y="146"/>
                  <a:pt x="196" y="162"/>
                  <a:pt x="193" y="181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175" y="181"/>
                  <a:pt x="170" y="186"/>
                  <a:pt x="170" y="192"/>
                </a:cubicBezTo>
                <a:cubicBezTo>
                  <a:pt x="170" y="234"/>
                  <a:pt x="170" y="234"/>
                  <a:pt x="170" y="234"/>
                </a:cubicBezTo>
                <a:cubicBezTo>
                  <a:pt x="170" y="240"/>
                  <a:pt x="175" y="245"/>
                  <a:pt x="181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405"/>
                  <a:pt x="192" y="405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245"/>
                  <a:pt x="320" y="245"/>
                  <a:pt x="320" y="245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36" y="245"/>
                  <a:pt x="341" y="240"/>
                  <a:pt x="341" y="234"/>
                </a:cubicBezTo>
                <a:lnTo>
                  <a:pt x="341" y="1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313"/>
          <p:cNvGrpSpPr>
            <a:grpSpLocks noChangeAspect="1"/>
          </p:cNvGrpSpPr>
          <p:nvPr/>
        </p:nvGrpSpPr>
        <p:grpSpPr bwMode="auto">
          <a:xfrm>
            <a:off x="921896" y="2041527"/>
            <a:ext cx="367982" cy="369064"/>
            <a:chOff x="3467" y="1890"/>
            <a:chExt cx="340" cy="341"/>
          </a:xfrm>
          <a:solidFill>
            <a:schemeClr val="accent4"/>
          </a:solidFill>
        </p:grpSpPr>
        <p:sp>
          <p:nvSpPr>
            <p:cNvPr id="258" name="Freeform 314"/>
            <p:cNvSpPr>
              <a:spLocks noEditPoints="1"/>
            </p:cNvSpPr>
            <p:nvPr/>
          </p:nvSpPr>
          <p:spPr bwMode="auto">
            <a:xfrm>
              <a:off x="3467" y="189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1 w 512"/>
                <a:gd name="T3" fmla="*/ 256 h 512"/>
                <a:gd name="T4" fmla="*/ 256 w 512"/>
                <a:gd name="T5" fmla="*/ 491 h 512"/>
                <a:gd name="T6" fmla="*/ 22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315"/>
            <p:cNvSpPr>
              <a:spLocks noEditPoints="1"/>
            </p:cNvSpPr>
            <p:nvPr/>
          </p:nvSpPr>
          <p:spPr bwMode="auto">
            <a:xfrm>
              <a:off x="3581" y="1954"/>
              <a:ext cx="113" cy="214"/>
            </a:xfrm>
            <a:custGeom>
              <a:avLst/>
              <a:gdLst>
                <a:gd name="T0" fmla="*/ 160 w 171"/>
                <a:gd name="T1" fmla="*/ 86 h 321"/>
                <a:gd name="T2" fmla="*/ 148 w 171"/>
                <a:gd name="T3" fmla="*/ 86 h 321"/>
                <a:gd name="T4" fmla="*/ 117 w 171"/>
                <a:gd name="T5" fmla="*/ 41 h 321"/>
                <a:gd name="T6" fmla="*/ 117 w 171"/>
                <a:gd name="T7" fmla="*/ 32 h 321"/>
                <a:gd name="T8" fmla="*/ 85 w 171"/>
                <a:gd name="T9" fmla="*/ 0 h 321"/>
                <a:gd name="T10" fmla="*/ 53 w 171"/>
                <a:gd name="T11" fmla="*/ 32 h 321"/>
                <a:gd name="T12" fmla="*/ 53 w 171"/>
                <a:gd name="T13" fmla="*/ 41 h 321"/>
                <a:gd name="T14" fmla="*/ 22 w 171"/>
                <a:gd name="T15" fmla="*/ 86 h 321"/>
                <a:gd name="T16" fmla="*/ 11 w 171"/>
                <a:gd name="T17" fmla="*/ 86 h 321"/>
                <a:gd name="T18" fmla="*/ 0 w 171"/>
                <a:gd name="T19" fmla="*/ 96 h 321"/>
                <a:gd name="T20" fmla="*/ 0 w 171"/>
                <a:gd name="T21" fmla="*/ 139 h 321"/>
                <a:gd name="T22" fmla="*/ 11 w 171"/>
                <a:gd name="T23" fmla="*/ 150 h 321"/>
                <a:gd name="T24" fmla="*/ 21 w 171"/>
                <a:gd name="T25" fmla="*/ 150 h 321"/>
                <a:gd name="T26" fmla="*/ 21 w 171"/>
                <a:gd name="T27" fmla="*/ 309 h 321"/>
                <a:gd name="T28" fmla="*/ 32 w 171"/>
                <a:gd name="T29" fmla="*/ 321 h 321"/>
                <a:gd name="T30" fmla="*/ 139 w 171"/>
                <a:gd name="T31" fmla="*/ 321 h 321"/>
                <a:gd name="T32" fmla="*/ 149 w 171"/>
                <a:gd name="T33" fmla="*/ 309 h 321"/>
                <a:gd name="T34" fmla="*/ 149 w 171"/>
                <a:gd name="T35" fmla="*/ 150 h 321"/>
                <a:gd name="T36" fmla="*/ 160 w 171"/>
                <a:gd name="T37" fmla="*/ 150 h 321"/>
                <a:gd name="T38" fmla="*/ 171 w 171"/>
                <a:gd name="T39" fmla="*/ 139 h 321"/>
                <a:gd name="T40" fmla="*/ 171 w 171"/>
                <a:gd name="T41" fmla="*/ 96 h 321"/>
                <a:gd name="T42" fmla="*/ 160 w 171"/>
                <a:gd name="T43" fmla="*/ 86 h 321"/>
                <a:gd name="T44" fmla="*/ 68 w 171"/>
                <a:gd name="T45" fmla="*/ 57 h 321"/>
                <a:gd name="T46" fmla="*/ 75 w 171"/>
                <a:gd name="T47" fmla="*/ 47 h 321"/>
                <a:gd name="T48" fmla="*/ 75 w 171"/>
                <a:gd name="T49" fmla="*/ 32 h 321"/>
                <a:gd name="T50" fmla="*/ 85 w 171"/>
                <a:gd name="T51" fmla="*/ 21 h 321"/>
                <a:gd name="T52" fmla="*/ 96 w 171"/>
                <a:gd name="T53" fmla="*/ 32 h 321"/>
                <a:gd name="T54" fmla="*/ 96 w 171"/>
                <a:gd name="T55" fmla="*/ 47 h 321"/>
                <a:gd name="T56" fmla="*/ 102 w 171"/>
                <a:gd name="T57" fmla="*/ 57 h 321"/>
                <a:gd name="T58" fmla="*/ 127 w 171"/>
                <a:gd name="T59" fmla="*/ 86 h 321"/>
                <a:gd name="T60" fmla="*/ 44 w 171"/>
                <a:gd name="T61" fmla="*/ 86 h 321"/>
                <a:gd name="T62" fmla="*/ 68 w 171"/>
                <a:gd name="T63" fmla="*/ 57 h 321"/>
                <a:gd name="T64" fmla="*/ 128 w 171"/>
                <a:gd name="T65" fmla="*/ 171 h 321"/>
                <a:gd name="T66" fmla="*/ 96 w 171"/>
                <a:gd name="T67" fmla="*/ 171 h 321"/>
                <a:gd name="T68" fmla="*/ 85 w 171"/>
                <a:gd name="T69" fmla="*/ 182 h 321"/>
                <a:gd name="T70" fmla="*/ 96 w 171"/>
                <a:gd name="T71" fmla="*/ 193 h 321"/>
                <a:gd name="T72" fmla="*/ 128 w 171"/>
                <a:gd name="T73" fmla="*/ 193 h 321"/>
                <a:gd name="T74" fmla="*/ 128 w 171"/>
                <a:gd name="T75" fmla="*/ 214 h 321"/>
                <a:gd name="T76" fmla="*/ 96 w 171"/>
                <a:gd name="T77" fmla="*/ 214 h 321"/>
                <a:gd name="T78" fmla="*/ 85 w 171"/>
                <a:gd name="T79" fmla="*/ 225 h 321"/>
                <a:gd name="T80" fmla="*/ 96 w 171"/>
                <a:gd name="T81" fmla="*/ 235 h 321"/>
                <a:gd name="T82" fmla="*/ 128 w 171"/>
                <a:gd name="T83" fmla="*/ 235 h 321"/>
                <a:gd name="T84" fmla="*/ 128 w 171"/>
                <a:gd name="T85" fmla="*/ 257 h 321"/>
                <a:gd name="T86" fmla="*/ 96 w 171"/>
                <a:gd name="T87" fmla="*/ 257 h 321"/>
                <a:gd name="T88" fmla="*/ 85 w 171"/>
                <a:gd name="T89" fmla="*/ 267 h 321"/>
                <a:gd name="T90" fmla="*/ 96 w 171"/>
                <a:gd name="T91" fmla="*/ 278 h 321"/>
                <a:gd name="T92" fmla="*/ 128 w 171"/>
                <a:gd name="T93" fmla="*/ 278 h 321"/>
                <a:gd name="T94" fmla="*/ 128 w 171"/>
                <a:gd name="T95" fmla="*/ 299 h 321"/>
                <a:gd name="T96" fmla="*/ 43 w 171"/>
                <a:gd name="T97" fmla="*/ 299 h 321"/>
                <a:gd name="T98" fmla="*/ 43 w 171"/>
                <a:gd name="T99" fmla="*/ 150 h 321"/>
                <a:gd name="T100" fmla="*/ 128 w 171"/>
                <a:gd name="T101" fmla="*/ 150 h 321"/>
                <a:gd name="T102" fmla="*/ 128 w 171"/>
                <a:gd name="T103" fmla="*/ 171 h 321"/>
                <a:gd name="T104" fmla="*/ 149 w 171"/>
                <a:gd name="T105" fmla="*/ 129 h 321"/>
                <a:gd name="T106" fmla="*/ 21 w 171"/>
                <a:gd name="T107" fmla="*/ 129 h 321"/>
                <a:gd name="T108" fmla="*/ 21 w 171"/>
                <a:gd name="T109" fmla="*/ 107 h 321"/>
                <a:gd name="T110" fmla="*/ 149 w 171"/>
                <a:gd name="T111" fmla="*/ 107 h 321"/>
                <a:gd name="T112" fmla="*/ 149 w 171"/>
                <a:gd name="T113" fmla="*/ 129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1" h="321">
                  <a:moveTo>
                    <a:pt x="160" y="86"/>
                  </a:moveTo>
                  <a:cubicBezTo>
                    <a:pt x="148" y="86"/>
                    <a:pt x="148" y="86"/>
                    <a:pt x="148" y="86"/>
                  </a:cubicBezTo>
                  <a:cubicBezTo>
                    <a:pt x="145" y="66"/>
                    <a:pt x="134" y="50"/>
                    <a:pt x="117" y="41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14"/>
                    <a:pt x="103" y="0"/>
                    <a:pt x="85" y="0"/>
                  </a:cubicBezTo>
                  <a:cubicBezTo>
                    <a:pt x="68" y="0"/>
                    <a:pt x="53" y="14"/>
                    <a:pt x="53" y="32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37" y="50"/>
                    <a:pt x="26" y="66"/>
                    <a:pt x="22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5" y="86"/>
                    <a:pt x="0" y="90"/>
                    <a:pt x="0" y="9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5"/>
                    <a:pt x="5" y="150"/>
                    <a:pt x="11" y="150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26" y="321"/>
                    <a:pt x="32" y="321"/>
                  </a:cubicBezTo>
                  <a:cubicBezTo>
                    <a:pt x="139" y="321"/>
                    <a:pt x="139" y="321"/>
                    <a:pt x="139" y="321"/>
                  </a:cubicBezTo>
                  <a:cubicBezTo>
                    <a:pt x="145" y="321"/>
                    <a:pt x="149" y="315"/>
                    <a:pt x="149" y="309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60" y="150"/>
                    <a:pt x="160" y="150"/>
                    <a:pt x="160" y="150"/>
                  </a:cubicBezTo>
                  <a:cubicBezTo>
                    <a:pt x="166" y="150"/>
                    <a:pt x="171" y="145"/>
                    <a:pt x="171" y="139"/>
                  </a:cubicBezTo>
                  <a:cubicBezTo>
                    <a:pt x="171" y="96"/>
                    <a:pt x="171" y="96"/>
                    <a:pt x="171" y="96"/>
                  </a:cubicBezTo>
                  <a:cubicBezTo>
                    <a:pt x="171" y="90"/>
                    <a:pt x="166" y="86"/>
                    <a:pt x="160" y="86"/>
                  </a:cubicBezTo>
                  <a:close/>
                  <a:moveTo>
                    <a:pt x="68" y="57"/>
                  </a:moveTo>
                  <a:cubicBezTo>
                    <a:pt x="72" y="56"/>
                    <a:pt x="75" y="51"/>
                    <a:pt x="75" y="47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26"/>
                    <a:pt x="79" y="21"/>
                    <a:pt x="85" y="21"/>
                  </a:cubicBezTo>
                  <a:cubicBezTo>
                    <a:pt x="91" y="21"/>
                    <a:pt x="96" y="26"/>
                    <a:pt x="96" y="32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51"/>
                    <a:pt x="99" y="56"/>
                    <a:pt x="102" y="57"/>
                  </a:cubicBezTo>
                  <a:cubicBezTo>
                    <a:pt x="115" y="63"/>
                    <a:pt x="123" y="73"/>
                    <a:pt x="127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7" y="73"/>
                    <a:pt x="56" y="63"/>
                    <a:pt x="68" y="57"/>
                  </a:cubicBezTo>
                  <a:close/>
                  <a:moveTo>
                    <a:pt x="128" y="171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90" y="171"/>
                    <a:pt x="85" y="176"/>
                    <a:pt x="85" y="182"/>
                  </a:cubicBezTo>
                  <a:cubicBezTo>
                    <a:pt x="85" y="188"/>
                    <a:pt x="90" y="193"/>
                    <a:pt x="96" y="193"/>
                  </a:cubicBezTo>
                  <a:cubicBezTo>
                    <a:pt x="128" y="193"/>
                    <a:pt x="128" y="193"/>
                    <a:pt x="128" y="193"/>
                  </a:cubicBezTo>
                  <a:cubicBezTo>
                    <a:pt x="128" y="214"/>
                    <a:pt x="128" y="214"/>
                    <a:pt x="128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90" y="214"/>
                    <a:pt x="85" y="219"/>
                    <a:pt x="85" y="225"/>
                  </a:cubicBezTo>
                  <a:cubicBezTo>
                    <a:pt x="85" y="231"/>
                    <a:pt x="90" y="235"/>
                    <a:pt x="96" y="235"/>
                  </a:cubicBezTo>
                  <a:cubicBezTo>
                    <a:pt x="128" y="235"/>
                    <a:pt x="128" y="235"/>
                    <a:pt x="128" y="235"/>
                  </a:cubicBezTo>
                  <a:cubicBezTo>
                    <a:pt x="128" y="257"/>
                    <a:pt x="128" y="257"/>
                    <a:pt x="128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0" y="257"/>
                    <a:pt x="85" y="261"/>
                    <a:pt x="85" y="267"/>
                  </a:cubicBezTo>
                  <a:cubicBezTo>
                    <a:pt x="85" y="273"/>
                    <a:pt x="90" y="278"/>
                    <a:pt x="96" y="278"/>
                  </a:cubicBezTo>
                  <a:cubicBezTo>
                    <a:pt x="128" y="278"/>
                    <a:pt x="128" y="278"/>
                    <a:pt x="128" y="278"/>
                  </a:cubicBezTo>
                  <a:cubicBezTo>
                    <a:pt x="128" y="299"/>
                    <a:pt x="128" y="299"/>
                    <a:pt x="128" y="299"/>
                  </a:cubicBezTo>
                  <a:cubicBezTo>
                    <a:pt x="43" y="299"/>
                    <a:pt x="43" y="299"/>
                    <a:pt x="43" y="299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71"/>
                  </a:lnTo>
                  <a:close/>
                  <a:moveTo>
                    <a:pt x="149" y="129"/>
                  </a:moveTo>
                  <a:cubicBezTo>
                    <a:pt x="21" y="129"/>
                    <a:pt x="21" y="129"/>
                    <a:pt x="21" y="129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149" y="107"/>
                    <a:pt x="149" y="107"/>
                    <a:pt x="149" y="107"/>
                  </a:cubicBezTo>
                  <a:lnTo>
                    <a:pt x="149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319"/>
          <p:cNvSpPr>
            <a:spLocks noChangeAspect="1" noEditPoints="1"/>
          </p:cNvSpPr>
          <p:nvPr/>
        </p:nvSpPr>
        <p:spPr bwMode="auto">
          <a:xfrm>
            <a:off x="1420554" y="2041526"/>
            <a:ext cx="367982" cy="367982"/>
          </a:xfrm>
          <a:custGeom>
            <a:avLst/>
            <a:gdLst>
              <a:gd name="T0" fmla="*/ 288 w 512"/>
              <a:gd name="T1" fmla="*/ 266 h 512"/>
              <a:gd name="T2" fmla="*/ 224 w 512"/>
              <a:gd name="T3" fmla="*/ 234 h 512"/>
              <a:gd name="T4" fmla="*/ 288 w 512"/>
              <a:gd name="T5" fmla="*/ 234 h 512"/>
              <a:gd name="T6" fmla="*/ 249 w 512"/>
              <a:gd name="T7" fmla="*/ 320 h 512"/>
              <a:gd name="T8" fmla="*/ 288 w 512"/>
              <a:gd name="T9" fmla="*/ 294 h 512"/>
              <a:gd name="T10" fmla="*/ 224 w 512"/>
              <a:gd name="T11" fmla="*/ 288 h 512"/>
              <a:gd name="T12" fmla="*/ 256 w 512"/>
              <a:gd name="T13" fmla="*/ 160 h 512"/>
              <a:gd name="T14" fmla="*/ 256 w 512"/>
              <a:gd name="T15" fmla="*/ 117 h 512"/>
              <a:gd name="T16" fmla="*/ 256 w 512"/>
              <a:gd name="T17" fmla="*/ 160 h 512"/>
              <a:gd name="T18" fmla="*/ 256 w 512"/>
              <a:gd name="T19" fmla="*/ 512 h 512"/>
              <a:gd name="T20" fmla="*/ 256 w 512"/>
              <a:gd name="T21" fmla="*/ 0 h 512"/>
              <a:gd name="T22" fmla="*/ 213 w 512"/>
              <a:gd name="T23" fmla="*/ 138 h 512"/>
              <a:gd name="T24" fmla="*/ 298 w 512"/>
              <a:gd name="T25" fmla="*/ 138 h 512"/>
              <a:gd name="T26" fmla="*/ 213 w 512"/>
              <a:gd name="T27" fmla="*/ 138 h 512"/>
              <a:gd name="T28" fmla="*/ 305 w 512"/>
              <a:gd name="T29" fmla="*/ 215 h 512"/>
              <a:gd name="T30" fmla="*/ 256 w 512"/>
              <a:gd name="T31" fmla="*/ 192 h 512"/>
              <a:gd name="T32" fmla="*/ 206 w 512"/>
              <a:gd name="T33" fmla="*/ 215 h 512"/>
              <a:gd name="T34" fmla="*/ 151 w 512"/>
              <a:gd name="T35" fmla="*/ 273 h 512"/>
              <a:gd name="T36" fmla="*/ 166 w 512"/>
              <a:gd name="T37" fmla="*/ 275 h 512"/>
              <a:gd name="T38" fmla="*/ 202 w 512"/>
              <a:gd name="T39" fmla="*/ 277 h 512"/>
              <a:gd name="T40" fmla="*/ 205 w 512"/>
              <a:gd name="T41" fmla="*/ 306 h 512"/>
              <a:gd name="T42" fmla="*/ 193 w 512"/>
              <a:gd name="T43" fmla="*/ 346 h 512"/>
              <a:gd name="T44" fmla="*/ 192 w 512"/>
              <a:gd name="T45" fmla="*/ 354 h 512"/>
              <a:gd name="T46" fmla="*/ 203 w 512"/>
              <a:gd name="T47" fmla="*/ 407 h 512"/>
              <a:gd name="T48" fmla="*/ 215 w 512"/>
              <a:gd name="T49" fmla="*/ 415 h 512"/>
              <a:gd name="T50" fmla="*/ 214 w 512"/>
              <a:gd name="T51" fmla="*/ 354 h 512"/>
              <a:gd name="T52" fmla="*/ 237 w 512"/>
              <a:gd name="T53" fmla="*/ 338 h 512"/>
              <a:gd name="T54" fmla="*/ 266 w 512"/>
              <a:gd name="T55" fmla="*/ 341 h 512"/>
              <a:gd name="T56" fmla="*/ 282 w 512"/>
              <a:gd name="T57" fmla="*/ 330 h 512"/>
              <a:gd name="T58" fmla="*/ 288 w 512"/>
              <a:gd name="T59" fmla="*/ 403 h 512"/>
              <a:gd name="T60" fmla="*/ 298 w 512"/>
              <a:gd name="T61" fmla="*/ 416 h 512"/>
              <a:gd name="T62" fmla="*/ 319 w 512"/>
              <a:gd name="T63" fmla="*/ 354 h 512"/>
              <a:gd name="T64" fmla="*/ 319 w 512"/>
              <a:gd name="T65" fmla="*/ 350 h 512"/>
              <a:gd name="T66" fmla="*/ 297 w 512"/>
              <a:gd name="T67" fmla="*/ 315 h 512"/>
              <a:gd name="T68" fmla="*/ 309 w 512"/>
              <a:gd name="T69" fmla="*/ 298 h 512"/>
              <a:gd name="T70" fmla="*/ 309 w 512"/>
              <a:gd name="T71" fmla="*/ 246 h 512"/>
              <a:gd name="T72" fmla="*/ 352 w 512"/>
              <a:gd name="T73" fmla="*/ 277 h 512"/>
              <a:gd name="T74" fmla="*/ 358 w 512"/>
              <a:gd name="T75" fmla="*/ 25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88" y="234"/>
                </a:moveTo>
                <a:cubicBezTo>
                  <a:pt x="288" y="266"/>
                  <a:pt x="288" y="266"/>
                  <a:pt x="288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24" y="228"/>
                  <a:pt x="227" y="213"/>
                  <a:pt x="256" y="213"/>
                </a:cubicBezTo>
                <a:cubicBezTo>
                  <a:pt x="285" y="213"/>
                  <a:pt x="288" y="228"/>
                  <a:pt x="288" y="234"/>
                </a:cubicBezTo>
                <a:close/>
                <a:moveTo>
                  <a:pt x="224" y="294"/>
                </a:moveTo>
                <a:cubicBezTo>
                  <a:pt x="249" y="320"/>
                  <a:pt x="249" y="320"/>
                  <a:pt x="249" y="320"/>
                </a:cubicBezTo>
                <a:cubicBezTo>
                  <a:pt x="262" y="320"/>
                  <a:pt x="262" y="320"/>
                  <a:pt x="262" y="320"/>
                </a:cubicBezTo>
                <a:cubicBezTo>
                  <a:pt x="288" y="294"/>
                  <a:pt x="288" y="294"/>
                  <a:pt x="288" y="294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24" y="288"/>
                  <a:pt x="224" y="288"/>
                  <a:pt x="224" y="288"/>
                </a:cubicBezTo>
                <a:lnTo>
                  <a:pt x="224" y="294"/>
                </a:lnTo>
                <a:close/>
                <a:moveTo>
                  <a:pt x="256" y="160"/>
                </a:moveTo>
                <a:cubicBezTo>
                  <a:pt x="267" y="160"/>
                  <a:pt x="277" y="150"/>
                  <a:pt x="277" y="138"/>
                </a:cubicBezTo>
                <a:cubicBezTo>
                  <a:pt x="277" y="127"/>
                  <a:pt x="267" y="117"/>
                  <a:pt x="256" y="117"/>
                </a:cubicBezTo>
                <a:cubicBezTo>
                  <a:pt x="244" y="117"/>
                  <a:pt x="234" y="127"/>
                  <a:pt x="234" y="138"/>
                </a:cubicBezTo>
                <a:cubicBezTo>
                  <a:pt x="234" y="150"/>
                  <a:pt x="244" y="160"/>
                  <a:pt x="256" y="16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13" y="138"/>
                </a:moveTo>
                <a:cubicBezTo>
                  <a:pt x="213" y="162"/>
                  <a:pt x="232" y="181"/>
                  <a:pt x="256" y="181"/>
                </a:cubicBezTo>
                <a:cubicBezTo>
                  <a:pt x="279" y="181"/>
                  <a:pt x="298" y="162"/>
                  <a:pt x="298" y="138"/>
                </a:cubicBez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lose/>
                <a:moveTo>
                  <a:pt x="358" y="258"/>
                </a:moveTo>
                <a:cubicBezTo>
                  <a:pt x="305" y="215"/>
                  <a:pt x="305" y="215"/>
                  <a:pt x="305" y="215"/>
                </a:cubicBezTo>
                <a:cubicBezTo>
                  <a:pt x="305" y="215"/>
                  <a:pt x="304" y="215"/>
                  <a:pt x="304" y="215"/>
                </a:cubicBezTo>
                <a:cubicBezTo>
                  <a:pt x="297" y="202"/>
                  <a:pt x="282" y="192"/>
                  <a:pt x="256" y="192"/>
                </a:cubicBezTo>
                <a:cubicBezTo>
                  <a:pt x="229" y="192"/>
                  <a:pt x="215" y="202"/>
                  <a:pt x="208" y="215"/>
                </a:cubicBezTo>
                <a:cubicBezTo>
                  <a:pt x="207" y="215"/>
                  <a:pt x="207" y="215"/>
                  <a:pt x="206" y="215"/>
                </a:cubicBezTo>
                <a:cubicBezTo>
                  <a:pt x="153" y="258"/>
                  <a:pt x="153" y="258"/>
                  <a:pt x="153" y="258"/>
                </a:cubicBezTo>
                <a:cubicBezTo>
                  <a:pt x="148" y="262"/>
                  <a:pt x="148" y="268"/>
                  <a:pt x="151" y="273"/>
                </a:cubicBezTo>
                <a:cubicBezTo>
                  <a:pt x="153" y="276"/>
                  <a:pt x="157" y="277"/>
                  <a:pt x="160" y="277"/>
                </a:cubicBezTo>
                <a:cubicBezTo>
                  <a:pt x="162" y="277"/>
                  <a:pt x="164" y="276"/>
                  <a:pt x="166" y="275"/>
                </a:cubicBezTo>
                <a:cubicBezTo>
                  <a:pt x="202" y="246"/>
                  <a:pt x="202" y="246"/>
                  <a:pt x="202" y="246"/>
                </a:cubicBezTo>
                <a:cubicBezTo>
                  <a:pt x="202" y="277"/>
                  <a:pt x="202" y="277"/>
                  <a:pt x="202" y="277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2" y="301"/>
                  <a:pt x="203" y="304"/>
                  <a:pt x="205" y="306"/>
                </a:cubicBezTo>
                <a:cubicBezTo>
                  <a:pt x="214" y="315"/>
                  <a:pt x="214" y="315"/>
                  <a:pt x="214" y="315"/>
                </a:cubicBezTo>
                <a:cubicBezTo>
                  <a:pt x="193" y="346"/>
                  <a:pt x="193" y="346"/>
                  <a:pt x="193" y="346"/>
                </a:cubicBezTo>
                <a:cubicBezTo>
                  <a:pt x="193" y="347"/>
                  <a:pt x="192" y="348"/>
                  <a:pt x="192" y="350"/>
                </a:cubicBezTo>
                <a:cubicBezTo>
                  <a:pt x="192" y="351"/>
                  <a:pt x="192" y="352"/>
                  <a:pt x="192" y="354"/>
                </a:cubicBezTo>
                <a:cubicBezTo>
                  <a:pt x="192" y="354"/>
                  <a:pt x="192" y="354"/>
                  <a:pt x="192" y="354"/>
                </a:cubicBezTo>
                <a:cubicBezTo>
                  <a:pt x="203" y="407"/>
                  <a:pt x="203" y="407"/>
                  <a:pt x="203" y="407"/>
                </a:cubicBezTo>
                <a:cubicBezTo>
                  <a:pt x="204" y="412"/>
                  <a:pt x="208" y="416"/>
                  <a:pt x="213" y="416"/>
                </a:cubicBezTo>
                <a:cubicBezTo>
                  <a:pt x="214" y="416"/>
                  <a:pt x="214" y="416"/>
                  <a:pt x="215" y="415"/>
                </a:cubicBezTo>
                <a:cubicBezTo>
                  <a:pt x="221" y="414"/>
                  <a:pt x="225" y="409"/>
                  <a:pt x="223" y="403"/>
                </a:cubicBezTo>
                <a:cubicBezTo>
                  <a:pt x="214" y="354"/>
                  <a:pt x="214" y="354"/>
                  <a:pt x="214" y="354"/>
                </a:cubicBezTo>
                <a:cubicBezTo>
                  <a:pt x="230" y="330"/>
                  <a:pt x="230" y="330"/>
                  <a:pt x="230" y="330"/>
                </a:cubicBezTo>
                <a:cubicBezTo>
                  <a:pt x="237" y="338"/>
                  <a:pt x="237" y="338"/>
                  <a:pt x="237" y="338"/>
                </a:cubicBezTo>
                <a:cubicBezTo>
                  <a:pt x="239" y="340"/>
                  <a:pt x="242" y="341"/>
                  <a:pt x="245" y="341"/>
                </a:cubicBezTo>
                <a:cubicBezTo>
                  <a:pt x="266" y="341"/>
                  <a:pt x="266" y="341"/>
                  <a:pt x="266" y="341"/>
                </a:cubicBezTo>
                <a:cubicBezTo>
                  <a:pt x="269" y="341"/>
                  <a:pt x="272" y="340"/>
                  <a:pt x="274" y="338"/>
                </a:cubicBezTo>
                <a:cubicBezTo>
                  <a:pt x="282" y="330"/>
                  <a:pt x="282" y="330"/>
                  <a:pt x="282" y="330"/>
                </a:cubicBezTo>
                <a:cubicBezTo>
                  <a:pt x="298" y="354"/>
                  <a:pt x="298" y="354"/>
                  <a:pt x="298" y="354"/>
                </a:cubicBezTo>
                <a:cubicBezTo>
                  <a:pt x="288" y="403"/>
                  <a:pt x="288" y="403"/>
                  <a:pt x="288" y="403"/>
                </a:cubicBezTo>
                <a:cubicBezTo>
                  <a:pt x="287" y="409"/>
                  <a:pt x="290" y="414"/>
                  <a:pt x="296" y="415"/>
                </a:cubicBezTo>
                <a:cubicBezTo>
                  <a:pt x="297" y="416"/>
                  <a:pt x="298" y="416"/>
                  <a:pt x="298" y="416"/>
                </a:cubicBezTo>
                <a:cubicBezTo>
                  <a:pt x="303" y="416"/>
                  <a:pt x="308" y="412"/>
                  <a:pt x="309" y="407"/>
                </a:cubicBezTo>
                <a:cubicBezTo>
                  <a:pt x="319" y="354"/>
                  <a:pt x="319" y="354"/>
                  <a:pt x="319" y="354"/>
                </a:cubicBezTo>
                <a:cubicBezTo>
                  <a:pt x="319" y="354"/>
                  <a:pt x="319" y="354"/>
                  <a:pt x="319" y="354"/>
                </a:cubicBezTo>
                <a:cubicBezTo>
                  <a:pt x="320" y="352"/>
                  <a:pt x="320" y="351"/>
                  <a:pt x="319" y="350"/>
                </a:cubicBezTo>
                <a:cubicBezTo>
                  <a:pt x="319" y="348"/>
                  <a:pt x="319" y="347"/>
                  <a:pt x="318" y="346"/>
                </a:cubicBezTo>
                <a:cubicBezTo>
                  <a:pt x="297" y="315"/>
                  <a:pt x="297" y="315"/>
                  <a:pt x="297" y="315"/>
                </a:cubicBezTo>
                <a:cubicBezTo>
                  <a:pt x="306" y="306"/>
                  <a:pt x="306" y="306"/>
                  <a:pt x="306" y="306"/>
                </a:cubicBezTo>
                <a:cubicBezTo>
                  <a:pt x="308" y="304"/>
                  <a:pt x="309" y="301"/>
                  <a:pt x="309" y="29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46"/>
                  <a:pt x="309" y="246"/>
                  <a:pt x="309" y="246"/>
                </a:cubicBezTo>
                <a:cubicBezTo>
                  <a:pt x="345" y="275"/>
                  <a:pt x="345" y="275"/>
                  <a:pt x="345" y="275"/>
                </a:cubicBezTo>
                <a:cubicBezTo>
                  <a:pt x="347" y="276"/>
                  <a:pt x="349" y="277"/>
                  <a:pt x="352" y="277"/>
                </a:cubicBezTo>
                <a:cubicBezTo>
                  <a:pt x="355" y="277"/>
                  <a:pt x="358" y="276"/>
                  <a:pt x="360" y="273"/>
                </a:cubicBezTo>
                <a:cubicBezTo>
                  <a:pt x="364" y="268"/>
                  <a:pt x="363" y="262"/>
                  <a:pt x="358" y="25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322"/>
          <p:cNvGrpSpPr>
            <a:grpSpLocks noChangeAspect="1"/>
          </p:cNvGrpSpPr>
          <p:nvPr/>
        </p:nvGrpSpPr>
        <p:grpSpPr bwMode="auto">
          <a:xfrm>
            <a:off x="1919212" y="2041526"/>
            <a:ext cx="367982" cy="367982"/>
            <a:chOff x="2874" y="2143"/>
            <a:chExt cx="340" cy="340"/>
          </a:xfrm>
          <a:solidFill>
            <a:schemeClr val="accent4"/>
          </a:solidFill>
        </p:grpSpPr>
        <p:sp>
          <p:nvSpPr>
            <p:cNvPr id="262" name="Freeform 323"/>
            <p:cNvSpPr>
              <a:spLocks noEditPoints="1"/>
            </p:cNvSpPr>
            <p:nvPr/>
          </p:nvSpPr>
          <p:spPr bwMode="auto">
            <a:xfrm>
              <a:off x="2874" y="214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1 w 512"/>
                <a:gd name="T3" fmla="*/ 256 h 512"/>
                <a:gd name="T4" fmla="*/ 256 w 512"/>
                <a:gd name="T5" fmla="*/ 491 h 512"/>
                <a:gd name="T6" fmla="*/ 22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324"/>
            <p:cNvSpPr>
              <a:spLocks noEditPoints="1"/>
            </p:cNvSpPr>
            <p:nvPr/>
          </p:nvSpPr>
          <p:spPr bwMode="auto">
            <a:xfrm>
              <a:off x="3016" y="2207"/>
              <a:ext cx="57" cy="56"/>
            </a:xfrm>
            <a:custGeom>
              <a:avLst/>
              <a:gdLst>
                <a:gd name="T0" fmla="*/ 42 w 85"/>
                <a:gd name="T1" fmla="*/ 85 h 85"/>
                <a:gd name="T2" fmla="*/ 85 w 85"/>
                <a:gd name="T3" fmla="*/ 43 h 85"/>
                <a:gd name="T4" fmla="*/ 42 w 85"/>
                <a:gd name="T5" fmla="*/ 0 h 85"/>
                <a:gd name="T6" fmla="*/ 0 w 85"/>
                <a:gd name="T7" fmla="*/ 43 h 85"/>
                <a:gd name="T8" fmla="*/ 42 w 85"/>
                <a:gd name="T9" fmla="*/ 85 h 85"/>
                <a:gd name="T10" fmla="*/ 42 w 85"/>
                <a:gd name="T11" fmla="*/ 21 h 85"/>
                <a:gd name="T12" fmla="*/ 64 w 85"/>
                <a:gd name="T13" fmla="*/ 43 h 85"/>
                <a:gd name="T14" fmla="*/ 42 w 85"/>
                <a:gd name="T15" fmla="*/ 64 h 85"/>
                <a:gd name="T16" fmla="*/ 21 w 85"/>
                <a:gd name="T17" fmla="*/ 43 h 85"/>
                <a:gd name="T18" fmla="*/ 42 w 85"/>
                <a:gd name="T19" fmla="*/ 2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cubicBezTo>
                    <a:pt x="66" y="85"/>
                    <a:pt x="85" y="66"/>
                    <a:pt x="85" y="43"/>
                  </a:cubicBezTo>
                  <a:cubicBezTo>
                    <a:pt x="85" y="19"/>
                    <a:pt x="66" y="0"/>
                    <a:pt x="42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19" y="85"/>
                    <a:pt x="42" y="85"/>
                  </a:cubicBezTo>
                  <a:close/>
                  <a:moveTo>
                    <a:pt x="42" y="21"/>
                  </a:moveTo>
                  <a:cubicBezTo>
                    <a:pt x="54" y="21"/>
                    <a:pt x="64" y="31"/>
                    <a:pt x="64" y="43"/>
                  </a:cubicBezTo>
                  <a:cubicBezTo>
                    <a:pt x="64" y="54"/>
                    <a:pt x="54" y="64"/>
                    <a:pt x="42" y="64"/>
                  </a:cubicBezTo>
                  <a:cubicBezTo>
                    <a:pt x="31" y="64"/>
                    <a:pt x="21" y="54"/>
                    <a:pt x="21" y="43"/>
                  </a:cubicBezTo>
                  <a:cubicBezTo>
                    <a:pt x="21" y="31"/>
                    <a:pt x="31" y="21"/>
                    <a:pt x="4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325"/>
            <p:cNvSpPr>
              <a:spLocks noEditPoints="1"/>
            </p:cNvSpPr>
            <p:nvPr/>
          </p:nvSpPr>
          <p:spPr bwMode="auto">
            <a:xfrm>
              <a:off x="2972" y="2271"/>
              <a:ext cx="144" cy="148"/>
            </a:xfrm>
            <a:custGeom>
              <a:avLst/>
              <a:gdLst>
                <a:gd name="T0" fmla="*/ 211 w 216"/>
                <a:gd name="T1" fmla="*/ 66 h 224"/>
                <a:gd name="T2" fmla="*/ 158 w 216"/>
                <a:gd name="T3" fmla="*/ 24 h 224"/>
                <a:gd name="T4" fmla="*/ 156 w 216"/>
                <a:gd name="T5" fmla="*/ 23 h 224"/>
                <a:gd name="T6" fmla="*/ 108 w 216"/>
                <a:gd name="T7" fmla="*/ 0 h 224"/>
                <a:gd name="T8" fmla="*/ 60 w 216"/>
                <a:gd name="T9" fmla="*/ 23 h 224"/>
                <a:gd name="T10" fmla="*/ 59 w 216"/>
                <a:gd name="T11" fmla="*/ 24 h 224"/>
                <a:gd name="T12" fmla="*/ 6 w 216"/>
                <a:gd name="T13" fmla="*/ 66 h 224"/>
                <a:gd name="T14" fmla="*/ 4 w 216"/>
                <a:gd name="T15" fmla="*/ 81 h 224"/>
                <a:gd name="T16" fmla="*/ 12 w 216"/>
                <a:gd name="T17" fmla="*/ 85 h 224"/>
                <a:gd name="T18" fmla="*/ 19 w 216"/>
                <a:gd name="T19" fmla="*/ 83 h 224"/>
                <a:gd name="T20" fmla="*/ 55 w 216"/>
                <a:gd name="T21" fmla="*/ 54 h 224"/>
                <a:gd name="T22" fmla="*/ 55 w 216"/>
                <a:gd name="T23" fmla="*/ 85 h 224"/>
                <a:gd name="T24" fmla="*/ 55 w 216"/>
                <a:gd name="T25" fmla="*/ 107 h 224"/>
                <a:gd name="T26" fmla="*/ 58 w 216"/>
                <a:gd name="T27" fmla="*/ 114 h 224"/>
                <a:gd name="T28" fmla="*/ 67 w 216"/>
                <a:gd name="T29" fmla="*/ 123 h 224"/>
                <a:gd name="T30" fmla="*/ 46 w 216"/>
                <a:gd name="T31" fmla="*/ 154 h 224"/>
                <a:gd name="T32" fmla="*/ 45 w 216"/>
                <a:gd name="T33" fmla="*/ 158 h 224"/>
                <a:gd name="T34" fmla="*/ 45 w 216"/>
                <a:gd name="T35" fmla="*/ 162 h 224"/>
                <a:gd name="T36" fmla="*/ 45 w 216"/>
                <a:gd name="T37" fmla="*/ 162 h 224"/>
                <a:gd name="T38" fmla="*/ 55 w 216"/>
                <a:gd name="T39" fmla="*/ 215 h 224"/>
                <a:gd name="T40" fmla="*/ 66 w 216"/>
                <a:gd name="T41" fmla="*/ 224 h 224"/>
                <a:gd name="T42" fmla="*/ 68 w 216"/>
                <a:gd name="T43" fmla="*/ 224 h 224"/>
                <a:gd name="T44" fmla="*/ 76 w 216"/>
                <a:gd name="T45" fmla="*/ 211 h 224"/>
                <a:gd name="T46" fmla="*/ 66 w 216"/>
                <a:gd name="T47" fmla="*/ 162 h 224"/>
                <a:gd name="T48" fmla="*/ 82 w 216"/>
                <a:gd name="T49" fmla="*/ 138 h 224"/>
                <a:gd name="T50" fmla="*/ 90 w 216"/>
                <a:gd name="T51" fmla="*/ 147 h 224"/>
                <a:gd name="T52" fmla="*/ 98 w 216"/>
                <a:gd name="T53" fmla="*/ 150 h 224"/>
                <a:gd name="T54" fmla="*/ 119 w 216"/>
                <a:gd name="T55" fmla="*/ 150 h 224"/>
                <a:gd name="T56" fmla="*/ 127 w 216"/>
                <a:gd name="T57" fmla="*/ 147 h 224"/>
                <a:gd name="T58" fmla="*/ 134 w 216"/>
                <a:gd name="T59" fmla="*/ 139 h 224"/>
                <a:gd name="T60" fmla="*/ 150 w 216"/>
                <a:gd name="T61" fmla="*/ 162 h 224"/>
                <a:gd name="T62" fmla="*/ 141 w 216"/>
                <a:gd name="T63" fmla="*/ 211 h 224"/>
                <a:gd name="T64" fmla="*/ 149 w 216"/>
                <a:gd name="T65" fmla="*/ 224 h 224"/>
                <a:gd name="T66" fmla="*/ 151 w 216"/>
                <a:gd name="T67" fmla="*/ 224 h 224"/>
                <a:gd name="T68" fmla="*/ 161 w 216"/>
                <a:gd name="T69" fmla="*/ 215 h 224"/>
                <a:gd name="T70" fmla="*/ 172 w 216"/>
                <a:gd name="T71" fmla="*/ 162 h 224"/>
                <a:gd name="T72" fmla="*/ 172 w 216"/>
                <a:gd name="T73" fmla="*/ 162 h 224"/>
                <a:gd name="T74" fmla="*/ 172 w 216"/>
                <a:gd name="T75" fmla="*/ 158 h 224"/>
                <a:gd name="T76" fmla="*/ 171 w 216"/>
                <a:gd name="T77" fmla="*/ 154 h 224"/>
                <a:gd name="T78" fmla="*/ 150 w 216"/>
                <a:gd name="T79" fmla="*/ 123 h 224"/>
                <a:gd name="T80" fmla="*/ 159 w 216"/>
                <a:gd name="T81" fmla="*/ 114 h 224"/>
                <a:gd name="T82" fmla="*/ 162 w 216"/>
                <a:gd name="T83" fmla="*/ 107 h 224"/>
                <a:gd name="T84" fmla="*/ 162 w 216"/>
                <a:gd name="T85" fmla="*/ 85 h 224"/>
                <a:gd name="T86" fmla="*/ 162 w 216"/>
                <a:gd name="T87" fmla="*/ 54 h 224"/>
                <a:gd name="T88" fmla="*/ 198 w 216"/>
                <a:gd name="T89" fmla="*/ 83 h 224"/>
                <a:gd name="T90" fmla="*/ 204 w 216"/>
                <a:gd name="T91" fmla="*/ 85 h 224"/>
                <a:gd name="T92" fmla="*/ 213 w 216"/>
                <a:gd name="T93" fmla="*/ 81 h 224"/>
                <a:gd name="T94" fmla="*/ 211 w 216"/>
                <a:gd name="T95" fmla="*/ 66 h 224"/>
                <a:gd name="T96" fmla="*/ 76 w 216"/>
                <a:gd name="T97" fmla="*/ 43 h 224"/>
                <a:gd name="T98" fmla="*/ 108 w 216"/>
                <a:gd name="T99" fmla="*/ 21 h 224"/>
                <a:gd name="T100" fmla="*/ 140 w 216"/>
                <a:gd name="T101" fmla="*/ 43 h 224"/>
                <a:gd name="T102" fmla="*/ 140 w 216"/>
                <a:gd name="T103" fmla="*/ 75 h 224"/>
                <a:gd name="T104" fmla="*/ 76 w 216"/>
                <a:gd name="T105" fmla="*/ 75 h 224"/>
                <a:gd name="T106" fmla="*/ 76 w 216"/>
                <a:gd name="T107" fmla="*/ 43 h 224"/>
                <a:gd name="T108" fmla="*/ 115 w 216"/>
                <a:gd name="T109" fmla="*/ 129 h 224"/>
                <a:gd name="T110" fmla="*/ 102 w 216"/>
                <a:gd name="T111" fmla="*/ 129 h 224"/>
                <a:gd name="T112" fmla="*/ 76 w 216"/>
                <a:gd name="T113" fmla="*/ 102 h 224"/>
                <a:gd name="T114" fmla="*/ 76 w 216"/>
                <a:gd name="T115" fmla="*/ 97 h 224"/>
                <a:gd name="T116" fmla="*/ 140 w 216"/>
                <a:gd name="T117" fmla="*/ 97 h 224"/>
                <a:gd name="T118" fmla="*/ 140 w 216"/>
                <a:gd name="T119" fmla="*/ 102 h 224"/>
                <a:gd name="T120" fmla="*/ 115 w 216"/>
                <a:gd name="T121" fmla="*/ 12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6" h="224">
                  <a:moveTo>
                    <a:pt x="211" y="66"/>
                  </a:moveTo>
                  <a:cubicBezTo>
                    <a:pt x="158" y="24"/>
                    <a:pt x="158" y="24"/>
                    <a:pt x="158" y="24"/>
                  </a:cubicBezTo>
                  <a:cubicBezTo>
                    <a:pt x="157" y="23"/>
                    <a:pt x="157" y="23"/>
                    <a:pt x="156" y="23"/>
                  </a:cubicBezTo>
                  <a:cubicBezTo>
                    <a:pt x="149" y="10"/>
                    <a:pt x="135" y="0"/>
                    <a:pt x="108" y="0"/>
                  </a:cubicBezTo>
                  <a:cubicBezTo>
                    <a:pt x="82" y="0"/>
                    <a:pt x="67" y="10"/>
                    <a:pt x="60" y="23"/>
                  </a:cubicBezTo>
                  <a:cubicBezTo>
                    <a:pt x="60" y="23"/>
                    <a:pt x="59" y="23"/>
                    <a:pt x="59" y="24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" y="70"/>
                    <a:pt x="0" y="77"/>
                    <a:pt x="4" y="81"/>
                  </a:cubicBezTo>
                  <a:cubicBezTo>
                    <a:pt x="6" y="84"/>
                    <a:pt x="9" y="85"/>
                    <a:pt x="12" y="85"/>
                  </a:cubicBezTo>
                  <a:cubicBezTo>
                    <a:pt x="15" y="85"/>
                    <a:pt x="17" y="85"/>
                    <a:pt x="19" y="83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10"/>
                    <a:pt x="56" y="112"/>
                    <a:pt x="58" y="114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5" y="155"/>
                    <a:pt x="45" y="157"/>
                    <a:pt x="45" y="158"/>
                  </a:cubicBezTo>
                  <a:cubicBezTo>
                    <a:pt x="44" y="159"/>
                    <a:pt x="44" y="161"/>
                    <a:pt x="45" y="162"/>
                  </a:cubicBezTo>
                  <a:cubicBezTo>
                    <a:pt x="45" y="162"/>
                    <a:pt x="45" y="162"/>
                    <a:pt x="45" y="162"/>
                  </a:cubicBezTo>
                  <a:cubicBezTo>
                    <a:pt x="55" y="215"/>
                    <a:pt x="55" y="215"/>
                    <a:pt x="55" y="215"/>
                  </a:cubicBezTo>
                  <a:cubicBezTo>
                    <a:pt x="56" y="221"/>
                    <a:pt x="61" y="224"/>
                    <a:pt x="66" y="224"/>
                  </a:cubicBezTo>
                  <a:cubicBezTo>
                    <a:pt x="66" y="224"/>
                    <a:pt x="67" y="224"/>
                    <a:pt x="68" y="224"/>
                  </a:cubicBezTo>
                  <a:cubicBezTo>
                    <a:pt x="74" y="223"/>
                    <a:pt x="77" y="217"/>
                    <a:pt x="76" y="211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82" y="138"/>
                    <a:pt x="82" y="138"/>
                    <a:pt x="82" y="138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9"/>
                    <a:pt x="95" y="150"/>
                    <a:pt x="98" y="150"/>
                  </a:cubicBezTo>
                  <a:cubicBezTo>
                    <a:pt x="119" y="150"/>
                    <a:pt x="119" y="150"/>
                    <a:pt x="119" y="150"/>
                  </a:cubicBezTo>
                  <a:cubicBezTo>
                    <a:pt x="122" y="150"/>
                    <a:pt x="125" y="149"/>
                    <a:pt x="127" y="147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1" y="211"/>
                    <a:pt x="141" y="211"/>
                    <a:pt x="141" y="211"/>
                  </a:cubicBezTo>
                  <a:cubicBezTo>
                    <a:pt x="139" y="217"/>
                    <a:pt x="143" y="223"/>
                    <a:pt x="149" y="224"/>
                  </a:cubicBezTo>
                  <a:cubicBezTo>
                    <a:pt x="150" y="224"/>
                    <a:pt x="150" y="224"/>
                    <a:pt x="151" y="224"/>
                  </a:cubicBezTo>
                  <a:cubicBezTo>
                    <a:pt x="156" y="224"/>
                    <a:pt x="160" y="221"/>
                    <a:pt x="161" y="215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72" y="161"/>
                    <a:pt x="172" y="159"/>
                    <a:pt x="172" y="158"/>
                  </a:cubicBezTo>
                  <a:cubicBezTo>
                    <a:pt x="172" y="157"/>
                    <a:pt x="171" y="155"/>
                    <a:pt x="171" y="154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59" y="114"/>
                    <a:pt x="159" y="114"/>
                    <a:pt x="159" y="114"/>
                  </a:cubicBezTo>
                  <a:cubicBezTo>
                    <a:pt x="161" y="112"/>
                    <a:pt x="162" y="110"/>
                    <a:pt x="162" y="107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98" y="83"/>
                    <a:pt x="198" y="83"/>
                    <a:pt x="198" y="83"/>
                  </a:cubicBezTo>
                  <a:cubicBezTo>
                    <a:pt x="200" y="85"/>
                    <a:pt x="202" y="85"/>
                    <a:pt x="204" y="85"/>
                  </a:cubicBezTo>
                  <a:cubicBezTo>
                    <a:pt x="207" y="85"/>
                    <a:pt x="211" y="84"/>
                    <a:pt x="213" y="81"/>
                  </a:cubicBezTo>
                  <a:cubicBezTo>
                    <a:pt x="216" y="77"/>
                    <a:pt x="216" y="70"/>
                    <a:pt x="211" y="66"/>
                  </a:cubicBezTo>
                  <a:close/>
                  <a:moveTo>
                    <a:pt x="76" y="43"/>
                  </a:moveTo>
                  <a:cubicBezTo>
                    <a:pt x="76" y="36"/>
                    <a:pt x="79" y="21"/>
                    <a:pt x="108" y="21"/>
                  </a:cubicBezTo>
                  <a:cubicBezTo>
                    <a:pt x="137" y="21"/>
                    <a:pt x="140" y="36"/>
                    <a:pt x="140" y="43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76" y="75"/>
                    <a:pt x="76" y="75"/>
                    <a:pt x="76" y="75"/>
                  </a:cubicBezTo>
                  <a:lnTo>
                    <a:pt x="76" y="43"/>
                  </a:lnTo>
                  <a:close/>
                  <a:moveTo>
                    <a:pt x="115" y="129"/>
                  </a:moveTo>
                  <a:cubicBezTo>
                    <a:pt x="102" y="129"/>
                    <a:pt x="102" y="129"/>
                    <a:pt x="102" y="12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140" y="97"/>
                    <a:pt x="140" y="97"/>
                    <a:pt x="140" y="97"/>
                  </a:cubicBezTo>
                  <a:cubicBezTo>
                    <a:pt x="140" y="102"/>
                    <a:pt x="140" y="102"/>
                    <a:pt x="140" y="102"/>
                  </a:cubicBezTo>
                  <a:lnTo>
                    <a:pt x="115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5" name="Freeform 329"/>
          <p:cNvSpPr>
            <a:spLocks noChangeAspect="1" noEditPoints="1"/>
          </p:cNvSpPr>
          <p:nvPr/>
        </p:nvSpPr>
        <p:spPr bwMode="auto">
          <a:xfrm>
            <a:off x="2417870" y="2041526"/>
            <a:ext cx="367982" cy="367982"/>
          </a:xfrm>
          <a:custGeom>
            <a:avLst/>
            <a:gdLst>
              <a:gd name="T0" fmla="*/ 320 w 512"/>
              <a:gd name="T1" fmla="*/ 384 h 512"/>
              <a:gd name="T2" fmla="*/ 310 w 512"/>
              <a:gd name="T3" fmla="*/ 395 h 512"/>
              <a:gd name="T4" fmla="*/ 299 w 512"/>
              <a:gd name="T5" fmla="*/ 384 h 512"/>
              <a:gd name="T6" fmla="*/ 310 w 512"/>
              <a:gd name="T7" fmla="*/ 373 h 512"/>
              <a:gd name="T8" fmla="*/ 320 w 512"/>
              <a:gd name="T9" fmla="*/ 384 h 512"/>
              <a:gd name="T10" fmla="*/ 256 w 512"/>
              <a:gd name="T11" fmla="*/ 321 h 512"/>
              <a:gd name="T12" fmla="*/ 352 w 512"/>
              <a:gd name="T13" fmla="*/ 235 h 512"/>
              <a:gd name="T14" fmla="*/ 161 w 512"/>
              <a:gd name="T15" fmla="*/ 235 h 512"/>
              <a:gd name="T16" fmla="*/ 256 w 512"/>
              <a:gd name="T17" fmla="*/ 321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35 w 512"/>
              <a:gd name="T29" fmla="*/ 384 h 512"/>
              <a:gd name="T30" fmla="*/ 203 w 512"/>
              <a:gd name="T31" fmla="*/ 352 h 512"/>
              <a:gd name="T32" fmla="*/ 171 w 512"/>
              <a:gd name="T33" fmla="*/ 384 h 512"/>
              <a:gd name="T34" fmla="*/ 203 w 512"/>
              <a:gd name="T35" fmla="*/ 416 h 512"/>
              <a:gd name="T36" fmla="*/ 235 w 512"/>
              <a:gd name="T37" fmla="*/ 384 h 512"/>
              <a:gd name="T38" fmla="*/ 342 w 512"/>
              <a:gd name="T39" fmla="*/ 384 h 512"/>
              <a:gd name="T40" fmla="*/ 310 w 512"/>
              <a:gd name="T41" fmla="*/ 352 h 512"/>
              <a:gd name="T42" fmla="*/ 278 w 512"/>
              <a:gd name="T43" fmla="*/ 384 h 512"/>
              <a:gd name="T44" fmla="*/ 310 w 512"/>
              <a:gd name="T45" fmla="*/ 416 h 512"/>
              <a:gd name="T46" fmla="*/ 342 w 512"/>
              <a:gd name="T47" fmla="*/ 384 h 512"/>
              <a:gd name="T48" fmla="*/ 374 w 512"/>
              <a:gd name="T49" fmla="*/ 224 h 512"/>
              <a:gd name="T50" fmla="*/ 256 w 512"/>
              <a:gd name="T51" fmla="*/ 107 h 512"/>
              <a:gd name="T52" fmla="*/ 246 w 512"/>
              <a:gd name="T53" fmla="*/ 117 h 512"/>
              <a:gd name="T54" fmla="*/ 246 w 512"/>
              <a:gd name="T55" fmla="*/ 214 h 512"/>
              <a:gd name="T56" fmla="*/ 159 w 512"/>
              <a:gd name="T57" fmla="*/ 214 h 512"/>
              <a:gd name="T58" fmla="*/ 107 w 512"/>
              <a:gd name="T59" fmla="*/ 171 h 512"/>
              <a:gd name="T60" fmla="*/ 96 w 512"/>
              <a:gd name="T61" fmla="*/ 182 h 512"/>
              <a:gd name="T62" fmla="*/ 107 w 512"/>
              <a:gd name="T63" fmla="*/ 192 h 512"/>
              <a:gd name="T64" fmla="*/ 139 w 512"/>
              <a:gd name="T65" fmla="*/ 224 h 512"/>
              <a:gd name="T66" fmla="*/ 256 w 512"/>
              <a:gd name="T67" fmla="*/ 341 h 512"/>
              <a:gd name="T68" fmla="*/ 374 w 512"/>
              <a:gd name="T69" fmla="*/ 224 h 512"/>
              <a:gd name="T70" fmla="*/ 203 w 512"/>
              <a:gd name="T71" fmla="*/ 373 h 512"/>
              <a:gd name="T72" fmla="*/ 192 w 512"/>
              <a:gd name="T73" fmla="*/ 384 h 512"/>
              <a:gd name="T74" fmla="*/ 203 w 512"/>
              <a:gd name="T75" fmla="*/ 395 h 512"/>
              <a:gd name="T76" fmla="*/ 214 w 512"/>
              <a:gd name="T77" fmla="*/ 384 h 512"/>
              <a:gd name="T78" fmla="*/ 203 w 512"/>
              <a:gd name="T79" fmla="*/ 373 h 512"/>
              <a:gd name="T80" fmla="*/ 267 w 512"/>
              <a:gd name="T81" fmla="*/ 129 h 512"/>
              <a:gd name="T82" fmla="*/ 267 w 512"/>
              <a:gd name="T83" fmla="*/ 214 h 512"/>
              <a:gd name="T84" fmla="*/ 352 w 512"/>
              <a:gd name="T85" fmla="*/ 214 h 512"/>
              <a:gd name="T86" fmla="*/ 267 w 512"/>
              <a:gd name="T87" fmla="*/ 12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20" y="384"/>
                </a:moveTo>
                <a:cubicBezTo>
                  <a:pt x="320" y="390"/>
                  <a:pt x="316" y="395"/>
                  <a:pt x="310" y="395"/>
                </a:cubicBezTo>
                <a:cubicBezTo>
                  <a:pt x="304" y="395"/>
                  <a:pt x="299" y="390"/>
                  <a:pt x="299" y="384"/>
                </a:cubicBezTo>
                <a:cubicBezTo>
                  <a:pt x="299" y="378"/>
                  <a:pt x="304" y="373"/>
                  <a:pt x="310" y="373"/>
                </a:cubicBezTo>
                <a:cubicBezTo>
                  <a:pt x="316" y="373"/>
                  <a:pt x="320" y="378"/>
                  <a:pt x="320" y="384"/>
                </a:cubicBezTo>
                <a:close/>
                <a:moveTo>
                  <a:pt x="256" y="321"/>
                </a:moveTo>
                <a:cubicBezTo>
                  <a:pt x="306" y="321"/>
                  <a:pt x="346" y="282"/>
                  <a:pt x="352" y="235"/>
                </a:cubicBezTo>
                <a:cubicBezTo>
                  <a:pt x="161" y="235"/>
                  <a:pt x="161" y="235"/>
                  <a:pt x="161" y="235"/>
                </a:cubicBezTo>
                <a:cubicBezTo>
                  <a:pt x="166" y="282"/>
                  <a:pt x="207" y="321"/>
                  <a:pt x="256" y="321"/>
                </a:cubicBezTo>
                <a:close/>
                <a:moveTo>
                  <a:pt x="512" y="256"/>
                </a:moveTo>
                <a:cubicBezTo>
                  <a:pt x="512" y="397"/>
                  <a:pt x="398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8" y="0"/>
                  <a:pt x="512" y="115"/>
                  <a:pt x="512" y="256"/>
                </a:cubicBezTo>
                <a:close/>
                <a:moveTo>
                  <a:pt x="235" y="384"/>
                </a:moveTo>
                <a:cubicBezTo>
                  <a:pt x="235" y="366"/>
                  <a:pt x="221" y="352"/>
                  <a:pt x="203" y="352"/>
                </a:cubicBezTo>
                <a:cubicBezTo>
                  <a:pt x="185" y="352"/>
                  <a:pt x="171" y="366"/>
                  <a:pt x="171" y="384"/>
                </a:cubicBezTo>
                <a:cubicBezTo>
                  <a:pt x="171" y="402"/>
                  <a:pt x="185" y="416"/>
                  <a:pt x="203" y="416"/>
                </a:cubicBezTo>
                <a:cubicBezTo>
                  <a:pt x="221" y="416"/>
                  <a:pt x="235" y="402"/>
                  <a:pt x="235" y="384"/>
                </a:cubicBezTo>
                <a:close/>
                <a:moveTo>
                  <a:pt x="342" y="384"/>
                </a:moveTo>
                <a:cubicBezTo>
                  <a:pt x="342" y="366"/>
                  <a:pt x="327" y="352"/>
                  <a:pt x="310" y="352"/>
                </a:cubicBezTo>
                <a:cubicBezTo>
                  <a:pt x="292" y="352"/>
                  <a:pt x="278" y="366"/>
                  <a:pt x="278" y="384"/>
                </a:cubicBezTo>
                <a:cubicBezTo>
                  <a:pt x="278" y="402"/>
                  <a:pt x="292" y="416"/>
                  <a:pt x="310" y="416"/>
                </a:cubicBezTo>
                <a:cubicBezTo>
                  <a:pt x="327" y="416"/>
                  <a:pt x="342" y="402"/>
                  <a:pt x="342" y="384"/>
                </a:cubicBezTo>
                <a:close/>
                <a:moveTo>
                  <a:pt x="374" y="224"/>
                </a:moveTo>
                <a:cubicBezTo>
                  <a:pt x="374" y="159"/>
                  <a:pt x="321" y="107"/>
                  <a:pt x="256" y="107"/>
                </a:cubicBezTo>
                <a:cubicBezTo>
                  <a:pt x="250" y="107"/>
                  <a:pt x="246" y="111"/>
                  <a:pt x="246" y="117"/>
                </a:cubicBezTo>
                <a:cubicBezTo>
                  <a:pt x="246" y="214"/>
                  <a:pt x="246" y="214"/>
                  <a:pt x="246" y="214"/>
                </a:cubicBezTo>
                <a:cubicBezTo>
                  <a:pt x="159" y="214"/>
                  <a:pt x="159" y="214"/>
                  <a:pt x="159" y="214"/>
                </a:cubicBezTo>
                <a:cubicBezTo>
                  <a:pt x="154" y="189"/>
                  <a:pt x="133" y="171"/>
                  <a:pt x="107" y="171"/>
                </a:cubicBezTo>
                <a:cubicBezTo>
                  <a:pt x="101" y="171"/>
                  <a:pt x="96" y="176"/>
                  <a:pt x="96" y="182"/>
                </a:cubicBezTo>
                <a:cubicBezTo>
                  <a:pt x="96" y="187"/>
                  <a:pt x="101" y="192"/>
                  <a:pt x="107" y="192"/>
                </a:cubicBezTo>
                <a:cubicBezTo>
                  <a:pt x="125" y="192"/>
                  <a:pt x="139" y="206"/>
                  <a:pt x="139" y="224"/>
                </a:cubicBezTo>
                <a:cubicBezTo>
                  <a:pt x="139" y="289"/>
                  <a:pt x="192" y="341"/>
                  <a:pt x="256" y="341"/>
                </a:cubicBezTo>
                <a:cubicBezTo>
                  <a:pt x="321" y="341"/>
                  <a:pt x="374" y="289"/>
                  <a:pt x="374" y="224"/>
                </a:cubicBezTo>
                <a:close/>
                <a:moveTo>
                  <a:pt x="203" y="373"/>
                </a:moveTo>
                <a:cubicBezTo>
                  <a:pt x="197" y="373"/>
                  <a:pt x="192" y="378"/>
                  <a:pt x="192" y="384"/>
                </a:cubicBezTo>
                <a:cubicBezTo>
                  <a:pt x="192" y="390"/>
                  <a:pt x="197" y="395"/>
                  <a:pt x="203" y="395"/>
                </a:cubicBezTo>
                <a:cubicBezTo>
                  <a:pt x="209" y="395"/>
                  <a:pt x="214" y="390"/>
                  <a:pt x="214" y="384"/>
                </a:cubicBezTo>
                <a:cubicBezTo>
                  <a:pt x="214" y="378"/>
                  <a:pt x="209" y="373"/>
                  <a:pt x="203" y="373"/>
                </a:cubicBezTo>
                <a:close/>
                <a:moveTo>
                  <a:pt x="267" y="129"/>
                </a:moveTo>
                <a:cubicBezTo>
                  <a:pt x="267" y="214"/>
                  <a:pt x="267" y="214"/>
                  <a:pt x="267" y="214"/>
                </a:cubicBezTo>
                <a:cubicBezTo>
                  <a:pt x="352" y="214"/>
                  <a:pt x="352" y="214"/>
                  <a:pt x="352" y="214"/>
                </a:cubicBezTo>
                <a:cubicBezTo>
                  <a:pt x="347" y="169"/>
                  <a:pt x="311" y="134"/>
                  <a:pt x="267" y="12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6" name="Group 332"/>
          <p:cNvGrpSpPr>
            <a:grpSpLocks noChangeAspect="1"/>
          </p:cNvGrpSpPr>
          <p:nvPr/>
        </p:nvGrpSpPr>
        <p:grpSpPr bwMode="auto">
          <a:xfrm>
            <a:off x="2916528" y="2041526"/>
            <a:ext cx="369064" cy="367982"/>
            <a:chOff x="2904" y="2134"/>
            <a:chExt cx="341" cy="340"/>
          </a:xfrm>
          <a:solidFill>
            <a:schemeClr val="accent4"/>
          </a:solidFill>
        </p:grpSpPr>
        <p:sp>
          <p:nvSpPr>
            <p:cNvPr id="267" name="Freeform 333"/>
            <p:cNvSpPr>
              <a:spLocks noEditPoints="1"/>
            </p:cNvSpPr>
            <p:nvPr/>
          </p:nvSpPr>
          <p:spPr bwMode="auto">
            <a:xfrm>
              <a:off x="2904" y="2134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1 h 512"/>
                <a:gd name="T12" fmla="*/ 22 w 512"/>
                <a:gd name="T13" fmla="*/ 256 h 512"/>
                <a:gd name="T14" fmla="*/ 256 w 512"/>
                <a:gd name="T15" fmla="*/ 21 h 512"/>
                <a:gd name="T16" fmla="*/ 491 w 512"/>
                <a:gd name="T17" fmla="*/ 256 h 512"/>
                <a:gd name="T18" fmla="*/ 256 w 512"/>
                <a:gd name="T19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  <a:moveTo>
                    <a:pt x="256" y="491"/>
                  </a:move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334"/>
            <p:cNvSpPr>
              <a:spLocks noEditPoints="1"/>
            </p:cNvSpPr>
            <p:nvPr/>
          </p:nvSpPr>
          <p:spPr bwMode="auto">
            <a:xfrm>
              <a:off x="2968" y="2205"/>
              <a:ext cx="185" cy="205"/>
            </a:xfrm>
            <a:custGeom>
              <a:avLst/>
              <a:gdLst>
                <a:gd name="T0" fmla="*/ 278 w 278"/>
                <a:gd name="T1" fmla="*/ 117 h 309"/>
                <a:gd name="T2" fmla="*/ 160 w 278"/>
                <a:gd name="T3" fmla="*/ 0 h 309"/>
                <a:gd name="T4" fmla="*/ 150 w 278"/>
                <a:gd name="T5" fmla="*/ 10 h 309"/>
                <a:gd name="T6" fmla="*/ 150 w 278"/>
                <a:gd name="T7" fmla="*/ 107 h 309"/>
                <a:gd name="T8" fmla="*/ 63 w 278"/>
                <a:gd name="T9" fmla="*/ 107 h 309"/>
                <a:gd name="T10" fmla="*/ 11 w 278"/>
                <a:gd name="T11" fmla="*/ 64 h 309"/>
                <a:gd name="T12" fmla="*/ 0 w 278"/>
                <a:gd name="T13" fmla="*/ 75 h 309"/>
                <a:gd name="T14" fmla="*/ 11 w 278"/>
                <a:gd name="T15" fmla="*/ 85 h 309"/>
                <a:gd name="T16" fmla="*/ 43 w 278"/>
                <a:gd name="T17" fmla="*/ 117 h 309"/>
                <a:gd name="T18" fmla="*/ 160 w 278"/>
                <a:gd name="T19" fmla="*/ 234 h 309"/>
                <a:gd name="T20" fmla="*/ 278 w 278"/>
                <a:gd name="T21" fmla="*/ 117 h 309"/>
                <a:gd name="T22" fmla="*/ 171 w 278"/>
                <a:gd name="T23" fmla="*/ 22 h 309"/>
                <a:gd name="T24" fmla="*/ 256 w 278"/>
                <a:gd name="T25" fmla="*/ 107 h 309"/>
                <a:gd name="T26" fmla="*/ 171 w 278"/>
                <a:gd name="T27" fmla="*/ 107 h 309"/>
                <a:gd name="T28" fmla="*/ 171 w 278"/>
                <a:gd name="T29" fmla="*/ 22 h 309"/>
                <a:gd name="T30" fmla="*/ 160 w 278"/>
                <a:gd name="T31" fmla="*/ 214 h 309"/>
                <a:gd name="T32" fmla="*/ 65 w 278"/>
                <a:gd name="T33" fmla="*/ 128 h 309"/>
                <a:gd name="T34" fmla="*/ 256 w 278"/>
                <a:gd name="T35" fmla="*/ 128 h 309"/>
                <a:gd name="T36" fmla="*/ 160 w 278"/>
                <a:gd name="T37" fmla="*/ 214 h 309"/>
                <a:gd name="T38" fmla="*/ 214 w 278"/>
                <a:gd name="T39" fmla="*/ 245 h 309"/>
                <a:gd name="T40" fmla="*/ 182 w 278"/>
                <a:gd name="T41" fmla="*/ 277 h 309"/>
                <a:gd name="T42" fmla="*/ 214 w 278"/>
                <a:gd name="T43" fmla="*/ 309 h 309"/>
                <a:gd name="T44" fmla="*/ 246 w 278"/>
                <a:gd name="T45" fmla="*/ 277 h 309"/>
                <a:gd name="T46" fmla="*/ 214 w 278"/>
                <a:gd name="T47" fmla="*/ 245 h 309"/>
                <a:gd name="T48" fmla="*/ 214 w 278"/>
                <a:gd name="T49" fmla="*/ 288 h 309"/>
                <a:gd name="T50" fmla="*/ 203 w 278"/>
                <a:gd name="T51" fmla="*/ 277 h 309"/>
                <a:gd name="T52" fmla="*/ 214 w 278"/>
                <a:gd name="T53" fmla="*/ 266 h 309"/>
                <a:gd name="T54" fmla="*/ 224 w 278"/>
                <a:gd name="T55" fmla="*/ 277 h 309"/>
                <a:gd name="T56" fmla="*/ 214 w 278"/>
                <a:gd name="T57" fmla="*/ 288 h 309"/>
                <a:gd name="T58" fmla="*/ 107 w 278"/>
                <a:gd name="T59" fmla="*/ 245 h 309"/>
                <a:gd name="T60" fmla="*/ 75 w 278"/>
                <a:gd name="T61" fmla="*/ 277 h 309"/>
                <a:gd name="T62" fmla="*/ 107 w 278"/>
                <a:gd name="T63" fmla="*/ 309 h 309"/>
                <a:gd name="T64" fmla="*/ 139 w 278"/>
                <a:gd name="T65" fmla="*/ 277 h 309"/>
                <a:gd name="T66" fmla="*/ 107 w 278"/>
                <a:gd name="T67" fmla="*/ 245 h 309"/>
                <a:gd name="T68" fmla="*/ 107 w 278"/>
                <a:gd name="T69" fmla="*/ 288 h 309"/>
                <a:gd name="T70" fmla="*/ 96 w 278"/>
                <a:gd name="T71" fmla="*/ 277 h 309"/>
                <a:gd name="T72" fmla="*/ 107 w 278"/>
                <a:gd name="T73" fmla="*/ 266 h 309"/>
                <a:gd name="T74" fmla="*/ 118 w 278"/>
                <a:gd name="T75" fmla="*/ 277 h 309"/>
                <a:gd name="T76" fmla="*/ 107 w 278"/>
                <a:gd name="T77" fmla="*/ 28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8" h="309">
                  <a:moveTo>
                    <a:pt x="278" y="117"/>
                  </a:moveTo>
                  <a:cubicBezTo>
                    <a:pt x="278" y="52"/>
                    <a:pt x="225" y="0"/>
                    <a:pt x="160" y="0"/>
                  </a:cubicBezTo>
                  <a:cubicBezTo>
                    <a:pt x="154" y="0"/>
                    <a:pt x="150" y="4"/>
                    <a:pt x="150" y="10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58" y="82"/>
                    <a:pt x="37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80"/>
                    <a:pt x="5" y="85"/>
                    <a:pt x="11" y="85"/>
                  </a:cubicBezTo>
                  <a:cubicBezTo>
                    <a:pt x="29" y="85"/>
                    <a:pt x="43" y="99"/>
                    <a:pt x="43" y="117"/>
                  </a:cubicBezTo>
                  <a:cubicBezTo>
                    <a:pt x="43" y="182"/>
                    <a:pt x="96" y="234"/>
                    <a:pt x="160" y="234"/>
                  </a:cubicBezTo>
                  <a:cubicBezTo>
                    <a:pt x="225" y="234"/>
                    <a:pt x="278" y="182"/>
                    <a:pt x="278" y="117"/>
                  </a:cubicBezTo>
                  <a:close/>
                  <a:moveTo>
                    <a:pt x="171" y="22"/>
                  </a:moveTo>
                  <a:cubicBezTo>
                    <a:pt x="215" y="27"/>
                    <a:pt x="251" y="62"/>
                    <a:pt x="256" y="107"/>
                  </a:cubicBezTo>
                  <a:cubicBezTo>
                    <a:pt x="171" y="107"/>
                    <a:pt x="171" y="107"/>
                    <a:pt x="171" y="107"/>
                  </a:cubicBezTo>
                  <a:lnTo>
                    <a:pt x="171" y="22"/>
                  </a:lnTo>
                  <a:close/>
                  <a:moveTo>
                    <a:pt x="160" y="214"/>
                  </a:moveTo>
                  <a:cubicBezTo>
                    <a:pt x="111" y="214"/>
                    <a:pt x="70" y="175"/>
                    <a:pt x="65" y="128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0" y="175"/>
                    <a:pt x="210" y="214"/>
                    <a:pt x="160" y="214"/>
                  </a:cubicBezTo>
                  <a:close/>
                  <a:moveTo>
                    <a:pt x="214" y="245"/>
                  </a:moveTo>
                  <a:cubicBezTo>
                    <a:pt x="196" y="245"/>
                    <a:pt x="182" y="259"/>
                    <a:pt x="182" y="277"/>
                  </a:cubicBezTo>
                  <a:cubicBezTo>
                    <a:pt x="182" y="295"/>
                    <a:pt x="196" y="309"/>
                    <a:pt x="214" y="309"/>
                  </a:cubicBezTo>
                  <a:cubicBezTo>
                    <a:pt x="231" y="309"/>
                    <a:pt x="246" y="295"/>
                    <a:pt x="246" y="277"/>
                  </a:cubicBezTo>
                  <a:cubicBezTo>
                    <a:pt x="246" y="259"/>
                    <a:pt x="231" y="245"/>
                    <a:pt x="214" y="245"/>
                  </a:cubicBezTo>
                  <a:close/>
                  <a:moveTo>
                    <a:pt x="214" y="288"/>
                  </a:moveTo>
                  <a:cubicBezTo>
                    <a:pt x="208" y="288"/>
                    <a:pt x="203" y="283"/>
                    <a:pt x="203" y="277"/>
                  </a:cubicBezTo>
                  <a:cubicBezTo>
                    <a:pt x="203" y="271"/>
                    <a:pt x="208" y="266"/>
                    <a:pt x="214" y="266"/>
                  </a:cubicBezTo>
                  <a:cubicBezTo>
                    <a:pt x="220" y="266"/>
                    <a:pt x="224" y="271"/>
                    <a:pt x="224" y="277"/>
                  </a:cubicBezTo>
                  <a:cubicBezTo>
                    <a:pt x="224" y="283"/>
                    <a:pt x="220" y="288"/>
                    <a:pt x="214" y="288"/>
                  </a:cubicBezTo>
                  <a:close/>
                  <a:moveTo>
                    <a:pt x="107" y="245"/>
                  </a:moveTo>
                  <a:cubicBezTo>
                    <a:pt x="89" y="245"/>
                    <a:pt x="75" y="259"/>
                    <a:pt x="75" y="277"/>
                  </a:cubicBezTo>
                  <a:cubicBezTo>
                    <a:pt x="75" y="295"/>
                    <a:pt x="89" y="309"/>
                    <a:pt x="107" y="309"/>
                  </a:cubicBezTo>
                  <a:cubicBezTo>
                    <a:pt x="125" y="309"/>
                    <a:pt x="139" y="295"/>
                    <a:pt x="139" y="277"/>
                  </a:cubicBezTo>
                  <a:cubicBezTo>
                    <a:pt x="139" y="259"/>
                    <a:pt x="125" y="245"/>
                    <a:pt x="107" y="245"/>
                  </a:cubicBezTo>
                  <a:close/>
                  <a:moveTo>
                    <a:pt x="107" y="288"/>
                  </a:moveTo>
                  <a:cubicBezTo>
                    <a:pt x="101" y="288"/>
                    <a:pt x="96" y="283"/>
                    <a:pt x="96" y="277"/>
                  </a:cubicBezTo>
                  <a:cubicBezTo>
                    <a:pt x="96" y="271"/>
                    <a:pt x="101" y="266"/>
                    <a:pt x="107" y="266"/>
                  </a:cubicBezTo>
                  <a:cubicBezTo>
                    <a:pt x="113" y="266"/>
                    <a:pt x="118" y="271"/>
                    <a:pt x="118" y="277"/>
                  </a:cubicBezTo>
                  <a:cubicBezTo>
                    <a:pt x="118" y="283"/>
                    <a:pt x="113" y="288"/>
                    <a:pt x="107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9" name="Freeform 355"/>
          <p:cNvSpPr>
            <a:spLocks noChangeAspect="1" noEditPoints="1"/>
          </p:cNvSpPr>
          <p:nvPr/>
        </p:nvSpPr>
        <p:spPr bwMode="auto">
          <a:xfrm>
            <a:off x="3416268" y="2041526"/>
            <a:ext cx="367982" cy="367982"/>
          </a:xfrm>
          <a:custGeom>
            <a:avLst/>
            <a:gdLst>
              <a:gd name="T0" fmla="*/ 390 w 512"/>
              <a:gd name="T1" fmla="*/ 315 h 512"/>
              <a:gd name="T2" fmla="*/ 390 w 512"/>
              <a:gd name="T3" fmla="*/ 330 h 512"/>
              <a:gd name="T4" fmla="*/ 330 w 512"/>
              <a:gd name="T5" fmla="*/ 390 h 512"/>
              <a:gd name="T6" fmla="*/ 315 w 512"/>
              <a:gd name="T7" fmla="*/ 390 h 512"/>
              <a:gd name="T8" fmla="*/ 271 w 512"/>
              <a:gd name="T9" fmla="*/ 346 h 512"/>
              <a:gd name="T10" fmla="*/ 346 w 512"/>
              <a:gd name="T11" fmla="*/ 271 h 512"/>
              <a:gd name="T12" fmla="*/ 390 w 512"/>
              <a:gd name="T13" fmla="*/ 315 h 512"/>
              <a:gd name="T14" fmla="*/ 331 w 512"/>
              <a:gd name="T15" fmla="*/ 256 h 512"/>
              <a:gd name="T16" fmla="*/ 256 w 512"/>
              <a:gd name="T17" fmla="*/ 331 h 512"/>
              <a:gd name="T18" fmla="*/ 180 w 512"/>
              <a:gd name="T19" fmla="*/ 256 h 512"/>
              <a:gd name="T20" fmla="*/ 256 w 512"/>
              <a:gd name="T21" fmla="*/ 180 h 512"/>
              <a:gd name="T22" fmla="*/ 331 w 512"/>
              <a:gd name="T23" fmla="*/ 256 h 512"/>
              <a:gd name="T24" fmla="*/ 233 w 512"/>
              <a:gd name="T25" fmla="*/ 248 h 512"/>
              <a:gd name="T26" fmla="*/ 218 w 512"/>
              <a:gd name="T27" fmla="*/ 248 h 512"/>
              <a:gd name="T28" fmla="*/ 218 w 512"/>
              <a:gd name="T29" fmla="*/ 263 h 512"/>
              <a:gd name="T30" fmla="*/ 233 w 512"/>
              <a:gd name="T31" fmla="*/ 263 h 512"/>
              <a:gd name="T32" fmla="*/ 233 w 512"/>
              <a:gd name="T33" fmla="*/ 248 h 512"/>
              <a:gd name="T34" fmla="*/ 263 w 512"/>
              <a:gd name="T35" fmla="*/ 278 h 512"/>
              <a:gd name="T36" fmla="*/ 248 w 512"/>
              <a:gd name="T37" fmla="*/ 278 h 512"/>
              <a:gd name="T38" fmla="*/ 248 w 512"/>
              <a:gd name="T39" fmla="*/ 293 h 512"/>
              <a:gd name="T40" fmla="*/ 263 w 512"/>
              <a:gd name="T41" fmla="*/ 293 h 512"/>
              <a:gd name="T42" fmla="*/ 263 w 512"/>
              <a:gd name="T43" fmla="*/ 278 h 512"/>
              <a:gd name="T44" fmla="*/ 263 w 512"/>
              <a:gd name="T45" fmla="*/ 218 h 512"/>
              <a:gd name="T46" fmla="*/ 248 w 512"/>
              <a:gd name="T47" fmla="*/ 218 h 512"/>
              <a:gd name="T48" fmla="*/ 248 w 512"/>
              <a:gd name="T49" fmla="*/ 233 h 512"/>
              <a:gd name="T50" fmla="*/ 263 w 512"/>
              <a:gd name="T51" fmla="*/ 233 h 512"/>
              <a:gd name="T52" fmla="*/ 263 w 512"/>
              <a:gd name="T53" fmla="*/ 218 h 512"/>
              <a:gd name="T54" fmla="*/ 293 w 512"/>
              <a:gd name="T55" fmla="*/ 263 h 512"/>
              <a:gd name="T56" fmla="*/ 293 w 512"/>
              <a:gd name="T57" fmla="*/ 248 h 512"/>
              <a:gd name="T58" fmla="*/ 278 w 512"/>
              <a:gd name="T59" fmla="*/ 248 h 512"/>
              <a:gd name="T60" fmla="*/ 278 w 512"/>
              <a:gd name="T61" fmla="*/ 263 h 512"/>
              <a:gd name="T62" fmla="*/ 293 w 512"/>
              <a:gd name="T63" fmla="*/ 263 h 512"/>
              <a:gd name="T64" fmla="*/ 512 w 512"/>
              <a:gd name="T65" fmla="*/ 256 h 512"/>
              <a:gd name="T66" fmla="*/ 256 w 512"/>
              <a:gd name="T67" fmla="*/ 512 h 512"/>
              <a:gd name="T68" fmla="*/ 0 w 512"/>
              <a:gd name="T69" fmla="*/ 256 h 512"/>
              <a:gd name="T70" fmla="*/ 256 w 512"/>
              <a:gd name="T71" fmla="*/ 0 h 512"/>
              <a:gd name="T72" fmla="*/ 512 w 512"/>
              <a:gd name="T73" fmla="*/ 256 h 512"/>
              <a:gd name="T74" fmla="*/ 405 w 512"/>
              <a:gd name="T75" fmla="*/ 300 h 512"/>
              <a:gd name="T76" fmla="*/ 212 w 512"/>
              <a:gd name="T77" fmla="*/ 106 h 512"/>
              <a:gd name="T78" fmla="*/ 166 w 512"/>
              <a:gd name="T79" fmla="*/ 106 h 512"/>
              <a:gd name="T80" fmla="*/ 106 w 512"/>
              <a:gd name="T81" fmla="*/ 166 h 512"/>
              <a:gd name="T82" fmla="*/ 106 w 512"/>
              <a:gd name="T83" fmla="*/ 212 h 512"/>
              <a:gd name="T84" fmla="*/ 300 w 512"/>
              <a:gd name="T85" fmla="*/ 405 h 512"/>
              <a:gd name="T86" fmla="*/ 322 w 512"/>
              <a:gd name="T87" fmla="*/ 415 h 512"/>
              <a:gd name="T88" fmla="*/ 345 w 512"/>
              <a:gd name="T89" fmla="*/ 405 h 512"/>
              <a:gd name="T90" fmla="*/ 405 w 512"/>
              <a:gd name="T91" fmla="*/ 345 h 512"/>
              <a:gd name="T92" fmla="*/ 405 w 512"/>
              <a:gd name="T93" fmla="*/ 345 h 512"/>
              <a:gd name="T94" fmla="*/ 405 w 512"/>
              <a:gd name="T95" fmla="*/ 300 h 512"/>
              <a:gd name="T96" fmla="*/ 196 w 512"/>
              <a:gd name="T97" fmla="*/ 121 h 512"/>
              <a:gd name="T98" fmla="*/ 189 w 512"/>
              <a:gd name="T99" fmla="*/ 118 h 512"/>
              <a:gd name="T100" fmla="*/ 181 w 512"/>
              <a:gd name="T101" fmla="*/ 121 h 512"/>
              <a:gd name="T102" fmla="*/ 121 w 512"/>
              <a:gd name="T103" fmla="*/ 181 h 512"/>
              <a:gd name="T104" fmla="*/ 121 w 512"/>
              <a:gd name="T105" fmla="*/ 196 h 512"/>
              <a:gd name="T106" fmla="*/ 165 w 512"/>
              <a:gd name="T107" fmla="*/ 241 h 512"/>
              <a:gd name="T108" fmla="*/ 241 w 512"/>
              <a:gd name="T109" fmla="*/ 165 h 512"/>
              <a:gd name="T110" fmla="*/ 196 w 512"/>
              <a:gd name="T111" fmla="*/ 1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90" y="315"/>
                </a:moveTo>
                <a:cubicBezTo>
                  <a:pt x="394" y="319"/>
                  <a:pt x="394" y="326"/>
                  <a:pt x="390" y="330"/>
                </a:cubicBezTo>
                <a:cubicBezTo>
                  <a:pt x="330" y="390"/>
                  <a:pt x="330" y="390"/>
                  <a:pt x="330" y="390"/>
                </a:cubicBezTo>
                <a:cubicBezTo>
                  <a:pt x="326" y="394"/>
                  <a:pt x="319" y="394"/>
                  <a:pt x="315" y="390"/>
                </a:cubicBezTo>
                <a:cubicBezTo>
                  <a:pt x="271" y="346"/>
                  <a:pt x="271" y="346"/>
                  <a:pt x="271" y="346"/>
                </a:cubicBezTo>
                <a:cubicBezTo>
                  <a:pt x="346" y="271"/>
                  <a:pt x="346" y="271"/>
                  <a:pt x="346" y="271"/>
                </a:cubicBezTo>
                <a:lnTo>
                  <a:pt x="390" y="315"/>
                </a:lnTo>
                <a:close/>
                <a:moveTo>
                  <a:pt x="331" y="256"/>
                </a:moveTo>
                <a:cubicBezTo>
                  <a:pt x="256" y="331"/>
                  <a:pt x="256" y="331"/>
                  <a:pt x="256" y="331"/>
                </a:cubicBezTo>
                <a:cubicBezTo>
                  <a:pt x="180" y="256"/>
                  <a:pt x="180" y="256"/>
                  <a:pt x="180" y="256"/>
                </a:cubicBezTo>
                <a:cubicBezTo>
                  <a:pt x="256" y="180"/>
                  <a:pt x="256" y="180"/>
                  <a:pt x="256" y="180"/>
                </a:cubicBezTo>
                <a:lnTo>
                  <a:pt x="331" y="256"/>
                </a:lnTo>
                <a:close/>
                <a:moveTo>
                  <a:pt x="233" y="248"/>
                </a:moveTo>
                <a:cubicBezTo>
                  <a:pt x="229" y="244"/>
                  <a:pt x="222" y="244"/>
                  <a:pt x="218" y="248"/>
                </a:cubicBezTo>
                <a:cubicBezTo>
                  <a:pt x="214" y="252"/>
                  <a:pt x="214" y="259"/>
                  <a:pt x="218" y="263"/>
                </a:cubicBezTo>
                <a:cubicBezTo>
                  <a:pt x="222" y="267"/>
                  <a:pt x="229" y="267"/>
                  <a:pt x="233" y="263"/>
                </a:cubicBezTo>
                <a:cubicBezTo>
                  <a:pt x="237" y="259"/>
                  <a:pt x="237" y="252"/>
                  <a:pt x="233" y="248"/>
                </a:cubicBezTo>
                <a:close/>
                <a:moveTo>
                  <a:pt x="263" y="278"/>
                </a:moveTo>
                <a:cubicBezTo>
                  <a:pt x="259" y="274"/>
                  <a:pt x="252" y="274"/>
                  <a:pt x="248" y="278"/>
                </a:cubicBezTo>
                <a:cubicBezTo>
                  <a:pt x="244" y="282"/>
                  <a:pt x="244" y="289"/>
                  <a:pt x="248" y="293"/>
                </a:cubicBezTo>
                <a:cubicBezTo>
                  <a:pt x="252" y="298"/>
                  <a:pt x="259" y="298"/>
                  <a:pt x="263" y="293"/>
                </a:cubicBezTo>
                <a:cubicBezTo>
                  <a:pt x="267" y="289"/>
                  <a:pt x="267" y="282"/>
                  <a:pt x="263" y="278"/>
                </a:cubicBezTo>
                <a:close/>
                <a:moveTo>
                  <a:pt x="263" y="218"/>
                </a:moveTo>
                <a:cubicBezTo>
                  <a:pt x="259" y="214"/>
                  <a:pt x="252" y="214"/>
                  <a:pt x="248" y="218"/>
                </a:cubicBezTo>
                <a:cubicBezTo>
                  <a:pt x="244" y="222"/>
                  <a:pt x="244" y="229"/>
                  <a:pt x="248" y="233"/>
                </a:cubicBezTo>
                <a:cubicBezTo>
                  <a:pt x="252" y="237"/>
                  <a:pt x="259" y="237"/>
                  <a:pt x="263" y="233"/>
                </a:cubicBezTo>
                <a:cubicBezTo>
                  <a:pt x="267" y="229"/>
                  <a:pt x="267" y="222"/>
                  <a:pt x="263" y="218"/>
                </a:cubicBezTo>
                <a:close/>
                <a:moveTo>
                  <a:pt x="293" y="263"/>
                </a:moveTo>
                <a:cubicBezTo>
                  <a:pt x="298" y="259"/>
                  <a:pt x="298" y="252"/>
                  <a:pt x="293" y="248"/>
                </a:cubicBezTo>
                <a:cubicBezTo>
                  <a:pt x="289" y="244"/>
                  <a:pt x="282" y="244"/>
                  <a:pt x="278" y="248"/>
                </a:cubicBezTo>
                <a:cubicBezTo>
                  <a:pt x="274" y="252"/>
                  <a:pt x="274" y="259"/>
                  <a:pt x="278" y="263"/>
                </a:cubicBezTo>
                <a:cubicBezTo>
                  <a:pt x="282" y="267"/>
                  <a:pt x="289" y="267"/>
                  <a:pt x="293" y="26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300"/>
                </a:moveTo>
                <a:cubicBezTo>
                  <a:pt x="212" y="106"/>
                  <a:pt x="212" y="106"/>
                  <a:pt x="212" y="106"/>
                </a:cubicBezTo>
                <a:cubicBezTo>
                  <a:pt x="199" y="94"/>
                  <a:pt x="178" y="94"/>
                  <a:pt x="166" y="106"/>
                </a:cubicBezTo>
                <a:cubicBezTo>
                  <a:pt x="106" y="166"/>
                  <a:pt x="106" y="166"/>
                  <a:pt x="106" y="166"/>
                </a:cubicBezTo>
                <a:cubicBezTo>
                  <a:pt x="93" y="179"/>
                  <a:pt x="93" y="199"/>
                  <a:pt x="106" y="212"/>
                </a:cubicBezTo>
                <a:cubicBezTo>
                  <a:pt x="300" y="405"/>
                  <a:pt x="300" y="405"/>
                  <a:pt x="300" y="405"/>
                </a:cubicBezTo>
                <a:cubicBezTo>
                  <a:pt x="306" y="411"/>
                  <a:pt x="314" y="415"/>
                  <a:pt x="322" y="415"/>
                </a:cubicBezTo>
                <a:cubicBezTo>
                  <a:pt x="331" y="415"/>
                  <a:pt x="339" y="411"/>
                  <a:pt x="345" y="405"/>
                </a:cubicBezTo>
                <a:cubicBezTo>
                  <a:pt x="405" y="345"/>
                  <a:pt x="405" y="345"/>
                  <a:pt x="405" y="345"/>
                </a:cubicBezTo>
                <a:cubicBezTo>
                  <a:pt x="405" y="345"/>
                  <a:pt x="405" y="345"/>
                  <a:pt x="405" y="345"/>
                </a:cubicBezTo>
                <a:cubicBezTo>
                  <a:pt x="418" y="333"/>
                  <a:pt x="418" y="312"/>
                  <a:pt x="405" y="300"/>
                </a:cubicBezTo>
                <a:close/>
                <a:moveTo>
                  <a:pt x="196" y="121"/>
                </a:moveTo>
                <a:cubicBezTo>
                  <a:pt x="194" y="119"/>
                  <a:pt x="192" y="118"/>
                  <a:pt x="189" y="118"/>
                </a:cubicBezTo>
                <a:cubicBezTo>
                  <a:pt x="186" y="118"/>
                  <a:pt x="183" y="119"/>
                  <a:pt x="181" y="121"/>
                </a:cubicBezTo>
                <a:cubicBezTo>
                  <a:pt x="121" y="181"/>
                  <a:pt x="121" y="181"/>
                  <a:pt x="121" y="181"/>
                </a:cubicBezTo>
                <a:cubicBezTo>
                  <a:pt x="117" y="186"/>
                  <a:pt x="117" y="192"/>
                  <a:pt x="121" y="196"/>
                </a:cubicBezTo>
                <a:cubicBezTo>
                  <a:pt x="165" y="241"/>
                  <a:pt x="165" y="241"/>
                  <a:pt x="165" y="241"/>
                </a:cubicBezTo>
                <a:cubicBezTo>
                  <a:pt x="241" y="165"/>
                  <a:pt x="241" y="165"/>
                  <a:pt x="241" y="165"/>
                </a:cubicBezTo>
                <a:lnTo>
                  <a:pt x="196" y="12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0" name="Group 358"/>
          <p:cNvGrpSpPr>
            <a:grpSpLocks noChangeAspect="1"/>
          </p:cNvGrpSpPr>
          <p:nvPr/>
        </p:nvGrpSpPr>
        <p:grpSpPr bwMode="auto">
          <a:xfrm>
            <a:off x="3914926" y="2041526"/>
            <a:ext cx="369064" cy="367982"/>
            <a:chOff x="3312" y="2186"/>
            <a:chExt cx="341" cy="340"/>
          </a:xfrm>
          <a:solidFill>
            <a:schemeClr val="accent4"/>
          </a:solidFill>
        </p:grpSpPr>
        <p:sp>
          <p:nvSpPr>
            <p:cNvPr id="271" name="Freeform 359"/>
            <p:cNvSpPr>
              <a:spLocks noEditPoints="1"/>
            </p:cNvSpPr>
            <p:nvPr/>
          </p:nvSpPr>
          <p:spPr bwMode="auto">
            <a:xfrm>
              <a:off x="3374" y="2248"/>
              <a:ext cx="216" cy="214"/>
            </a:xfrm>
            <a:custGeom>
              <a:avLst/>
              <a:gdLst>
                <a:gd name="T0" fmla="*/ 312 w 325"/>
                <a:gd name="T1" fmla="*/ 206 h 321"/>
                <a:gd name="T2" fmla="*/ 119 w 325"/>
                <a:gd name="T3" fmla="*/ 12 h 321"/>
                <a:gd name="T4" fmla="*/ 73 w 325"/>
                <a:gd name="T5" fmla="*/ 12 h 321"/>
                <a:gd name="T6" fmla="*/ 13 w 325"/>
                <a:gd name="T7" fmla="*/ 72 h 321"/>
                <a:gd name="T8" fmla="*/ 13 w 325"/>
                <a:gd name="T9" fmla="*/ 118 h 321"/>
                <a:gd name="T10" fmla="*/ 207 w 325"/>
                <a:gd name="T11" fmla="*/ 311 h 321"/>
                <a:gd name="T12" fmla="*/ 229 w 325"/>
                <a:gd name="T13" fmla="*/ 321 h 321"/>
                <a:gd name="T14" fmla="*/ 252 w 325"/>
                <a:gd name="T15" fmla="*/ 311 h 321"/>
                <a:gd name="T16" fmla="*/ 312 w 325"/>
                <a:gd name="T17" fmla="*/ 251 h 321"/>
                <a:gd name="T18" fmla="*/ 312 w 325"/>
                <a:gd name="T19" fmla="*/ 251 h 321"/>
                <a:gd name="T20" fmla="*/ 312 w 325"/>
                <a:gd name="T21" fmla="*/ 206 h 321"/>
                <a:gd name="T22" fmla="*/ 238 w 325"/>
                <a:gd name="T23" fmla="*/ 162 h 321"/>
                <a:gd name="T24" fmla="*/ 163 w 325"/>
                <a:gd name="T25" fmla="*/ 237 h 321"/>
                <a:gd name="T26" fmla="*/ 87 w 325"/>
                <a:gd name="T27" fmla="*/ 162 h 321"/>
                <a:gd name="T28" fmla="*/ 163 w 325"/>
                <a:gd name="T29" fmla="*/ 86 h 321"/>
                <a:gd name="T30" fmla="*/ 238 w 325"/>
                <a:gd name="T31" fmla="*/ 162 h 321"/>
                <a:gd name="T32" fmla="*/ 28 w 325"/>
                <a:gd name="T33" fmla="*/ 87 h 321"/>
                <a:gd name="T34" fmla="*/ 88 w 325"/>
                <a:gd name="T35" fmla="*/ 27 h 321"/>
                <a:gd name="T36" fmla="*/ 96 w 325"/>
                <a:gd name="T37" fmla="*/ 24 h 321"/>
                <a:gd name="T38" fmla="*/ 103 w 325"/>
                <a:gd name="T39" fmla="*/ 27 h 321"/>
                <a:gd name="T40" fmla="*/ 148 w 325"/>
                <a:gd name="T41" fmla="*/ 71 h 321"/>
                <a:gd name="T42" fmla="*/ 72 w 325"/>
                <a:gd name="T43" fmla="*/ 147 h 321"/>
                <a:gd name="T44" fmla="*/ 28 w 325"/>
                <a:gd name="T45" fmla="*/ 102 h 321"/>
                <a:gd name="T46" fmla="*/ 28 w 325"/>
                <a:gd name="T47" fmla="*/ 87 h 321"/>
                <a:gd name="T48" fmla="*/ 297 w 325"/>
                <a:gd name="T49" fmla="*/ 236 h 321"/>
                <a:gd name="T50" fmla="*/ 237 w 325"/>
                <a:gd name="T51" fmla="*/ 296 h 321"/>
                <a:gd name="T52" fmla="*/ 222 w 325"/>
                <a:gd name="T53" fmla="*/ 296 h 321"/>
                <a:gd name="T54" fmla="*/ 178 w 325"/>
                <a:gd name="T55" fmla="*/ 252 h 321"/>
                <a:gd name="T56" fmla="*/ 253 w 325"/>
                <a:gd name="T57" fmla="*/ 177 h 321"/>
                <a:gd name="T58" fmla="*/ 297 w 325"/>
                <a:gd name="T59" fmla="*/ 221 h 321"/>
                <a:gd name="T60" fmla="*/ 297 w 325"/>
                <a:gd name="T61" fmla="*/ 236 h 321"/>
                <a:gd name="T62" fmla="*/ 140 w 325"/>
                <a:gd name="T63" fmla="*/ 154 h 321"/>
                <a:gd name="T64" fmla="*/ 140 w 325"/>
                <a:gd name="T65" fmla="*/ 169 h 321"/>
                <a:gd name="T66" fmla="*/ 125 w 325"/>
                <a:gd name="T67" fmla="*/ 169 h 321"/>
                <a:gd name="T68" fmla="*/ 125 w 325"/>
                <a:gd name="T69" fmla="*/ 154 h 321"/>
                <a:gd name="T70" fmla="*/ 140 w 325"/>
                <a:gd name="T71" fmla="*/ 154 h 321"/>
                <a:gd name="T72" fmla="*/ 170 w 325"/>
                <a:gd name="T73" fmla="*/ 124 h 321"/>
                <a:gd name="T74" fmla="*/ 170 w 325"/>
                <a:gd name="T75" fmla="*/ 139 h 321"/>
                <a:gd name="T76" fmla="*/ 155 w 325"/>
                <a:gd name="T77" fmla="*/ 139 h 321"/>
                <a:gd name="T78" fmla="*/ 155 w 325"/>
                <a:gd name="T79" fmla="*/ 124 h 321"/>
                <a:gd name="T80" fmla="*/ 170 w 325"/>
                <a:gd name="T81" fmla="*/ 124 h 321"/>
                <a:gd name="T82" fmla="*/ 170 w 325"/>
                <a:gd name="T83" fmla="*/ 184 h 321"/>
                <a:gd name="T84" fmla="*/ 170 w 325"/>
                <a:gd name="T85" fmla="*/ 199 h 321"/>
                <a:gd name="T86" fmla="*/ 155 w 325"/>
                <a:gd name="T87" fmla="*/ 199 h 321"/>
                <a:gd name="T88" fmla="*/ 155 w 325"/>
                <a:gd name="T89" fmla="*/ 184 h 321"/>
                <a:gd name="T90" fmla="*/ 170 w 325"/>
                <a:gd name="T91" fmla="*/ 184 h 321"/>
                <a:gd name="T92" fmla="*/ 185 w 325"/>
                <a:gd name="T93" fmla="*/ 169 h 321"/>
                <a:gd name="T94" fmla="*/ 185 w 325"/>
                <a:gd name="T95" fmla="*/ 154 h 321"/>
                <a:gd name="T96" fmla="*/ 200 w 325"/>
                <a:gd name="T97" fmla="*/ 154 h 321"/>
                <a:gd name="T98" fmla="*/ 200 w 325"/>
                <a:gd name="T99" fmla="*/ 169 h 321"/>
                <a:gd name="T100" fmla="*/ 185 w 325"/>
                <a:gd name="T101" fmla="*/ 169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321">
                  <a:moveTo>
                    <a:pt x="312" y="206"/>
                  </a:moveTo>
                  <a:cubicBezTo>
                    <a:pt x="119" y="12"/>
                    <a:pt x="119" y="12"/>
                    <a:pt x="119" y="12"/>
                  </a:cubicBezTo>
                  <a:cubicBezTo>
                    <a:pt x="106" y="0"/>
                    <a:pt x="85" y="0"/>
                    <a:pt x="73" y="1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0" y="85"/>
                    <a:pt x="0" y="105"/>
                    <a:pt x="13" y="118"/>
                  </a:cubicBezTo>
                  <a:cubicBezTo>
                    <a:pt x="207" y="311"/>
                    <a:pt x="207" y="311"/>
                    <a:pt x="207" y="311"/>
                  </a:cubicBezTo>
                  <a:cubicBezTo>
                    <a:pt x="213" y="317"/>
                    <a:pt x="221" y="321"/>
                    <a:pt x="229" y="321"/>
                  </a:cubicBezTo>
                  <a:cubicBezTo>
                    <a:pt x="238" y="321"/>
                    <a:pt x="246" y="317"/>
                    <a:pt x="252" y="311"/>
                  </a:cubicBezTo>
                  <a:cubicBezTo>
                    <a:pt x="312" y="251"/>
                    <a:pt x="312" y="251"/>
                    <a:pt x="312" y="251"/>
                  </a:cubicBezTo>
                  <a:cubicBezTo>
                    <a:pt x="312" y="251"/>
                    <a:pt x="312" y="251"/>
                    <a:pt x="312" y="251"/>
                  </a:cubicBezTo>
                  <a:cubicBezTo>
                    <a:pt x="325" y="239"/>
                    <a:pt x="325" y="218"/>
                    <a:pt x="312" y="206"/>
                  </a:cubicBezTo>
                  <a:close/>
                  <a:moveTo>
                    <a:pt x="238" y="162"/>
                  </a:moveTo>
                  <a:cubicBezTo>
                    <a:pt x="163" y="237"/>
                    <a:pt x="163" y="237"/>
                    <a:pt x="163" y="237"/>
                  </a:cubicBezTo>
                  <a:cubicBezTo>
                    <a:pt x="87" y="162"/>
                    <a:pt x="87" y="162"/>
                    <a:pt x="87" y="162"/>
                  </a:cubicBezTo>
                  <a:cubicBezTo>
                    <a:pt x="163" y="86"/>
                    <a:pt x="163" y="86"/>
                    <a:pt x="163" y="86"/>
                  </a:cubicBezTo>
                  <a:lnTo>
                    <a:pt x="238" y="162"/>
                  </a:lnTo>
                  <a:close/>
                  <a:moveTo>
                    <a:pt x="28" y="87"/>
                  </a:moveTo>
                  <a:cubicBezTo>
                    <a:pt x="88" y="27"/>
                    <a:pt x="88" y="27"/>
                    <a:pt x="88" y="27"/>
                  </a:cubicBezTo>
                  <a:cubicBezTo>
                    <a:pt x="90" y="25"/>
                    <a:pt x="93" y="24"/>
                    <a:pt x="96" y="24"/>
                  </a:cubicBezTo>
                  <a:cubicBezTo>
                    <a:pt x="99" y="24"/>
                    <a:pt x="101" y="25"/>
                    <a:pt x="103" y="27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72" y="147"/>
                    <a:pt x="72" y="147"/>
                    <a:pt x="72" y="147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4" y="98"/>
                    <a:pt x="24" y="92"/>
                    <a:pt x="28" y="87"/>
                  </a:cubicBezTo>
                  <a:close/>
                  <a:moveTo>
                    <a:pt x="297" y="236"/>
                  </a:moveTo>
                  <a:cubicBezTo>
                    <a:pt x="237" y="296"/>
                    <a:pt x="237" y="296"/>
                    <a:pt x="237" y="296"/>
                  </a:cubicBezTo>
                  <a:cubicBezTo>
                    <a:pt x="233" y="300"/>
                    <a:pt x="226" y="300"/>
                    <a:pt x="222" y="296"/>
                  </a:cubicBezTo>
                  <a:cubicBezTo>
                    <a:pt x="178" y="252"/>
                    <a:pt x="178" y="252"/>
                    <a:pt x="178" y="252"/>
                  </a:cubicBezTo>
                  <a:cubicBezTo>
                    <a:pt x="253" y="177"/>
                    <a:pt x="253" y="177"/>
                    <a:pt x="253" y="177"/>
                  </a:cubicBezTo>
                  <a:cubicBezTo>
                    <a:pt x="297" y="221"/>
                    <a:pt x="297" y="221"/>
                    <a:pt x="297" y="221"/>
                  </a:cubicBezTo>
                  <a:cubicBezTo>
                    <a:pt x="301" y="225"/>
                    <a:pt x="301" y="232"/>
                    <a:pt x="297" y="236"/>
                  </a:cubicBezTo>
                  <a:close/>
                  <a:moveTo>
                    <a:pt x="140" y="154"/>
                  </a:moveTo>
                  <a:cubicBezTo>
                    <a:pt x="144" y="158"/>
                    <a:pt x="144" y="165"/>
                    <a:pt x="140" y="169"/>
                  </a:cubicBezTo>
                  <a:cubicBezTo>
                    <a:pt x="136" y="173"/>
                    <a:pt x="129" y="173"/>
                    <a:pt x="125" y="169"/>
                  </a:cubicBezTo>
                  <a:cubicBezTo>
                    <a:pt x="121" y="165"/>
                    <a:pt x="121" y="158"/>
                    <a:pt x="125" y="154"/>
                  </a:cubicBezTo>
                  <a:cubicBezTo>
                    <a:pt x="129" y="150"/>
                    <a:pt x="136" y="150"/>
                    <a:pt x="140" y="154"/>
                  </a:cubicBezTo>
                  <a:close/>
                  <a:moveTo>
                    <a:pt x="170" y="124"/>
                  </a:moveTo>
                  <a:cubicBezTo>
                    <a:pt x="174" y="128"/>
                    <a:pt x="174" y="135"/>
                    <a:pt x="170" y="139"/>
                  </a:cubicBezTo>
                  <a:cubicBezTo>
                    <a:pt x="166" y="143"/>
                    <a:pt x="159" y="143"/>
                    <a:pt x="155" y="139"/>
                  </a:cubicBezTo>
                  <a:cubicBezTo>
                    <a:pt x="151" y="135"/>
                    <a:pt x="151" y="128"/>
                    <a:pt x="155" y="124"/>
                  </a:cubicBezTo>
                  <a:cubicBezTo>
                    <a:pt x="159" y="120"/>
                    <a:pt x="166" y="120"/>
                    <a:pt x="170" y="124"/>
                  </a:cubicBezTo>
                  <a:close/>
                  <a:moveTo>
                    <a:pt x="170" y="184"/>
                  </a:moveTo>
                  <a:cubicBezTo>
                    <a:pt x="174" y="188"/>
                    <a:pt x="174" y="195"/>
                    <a:pt x="170" y="199"/>
                  </a:cubicBezTo>
                  <a:cubicBezTo>
                    <a:pt x="166" y="204"/>
                    <a:pt x="159" y="204"/>
                    <a:pt x="155" y="199"/>
                  </a:cubicBezTo>
                  <a:cubicBezTo>
                    <a:pt x="151" y="195"/>
                    <a:pt x="151" y="188"/>
                    <a:pt x="155" y="184"/>
                  </a:cubicBezTo>
                  <a:cubicBezTo>
                    <a:pt x="159" y="180"/>
                    <a:pt x="166" y="180"/>
                    <a:pt x="170" y="184"/>
                  </a:cubicBezTo>
                  <a:close/>
                  <a:moveTo>
                    <a:pt x="185" y="169"/>
                  </a:moveTo>
                  <a:cubicBezTo>
                    <a:pt x="181" y="165"/>
                    <a:pt x="181" y="158"/>
                    <a:pt x="185" y="154"/>
                  </a:cubicBezTo>
                  <a:cubicBezTo>
                    <a:pt x="189" y="150"/>
                    <a:pt x="196" y="150"/>
                    <a:pt x="200" y="154"/>
                  </a:cubicBezTo>
                  <a:cubicBezTo>
                    <a:pt x="205" y="158"/>
                    <a:pt x="205" y="165"/>
                    <a:pt x="200" y="169"/>
                  </a:cubicBezTo>
                  <a:cubicBezTo>
                    <a:pt x="196" y="173"/>
                    <a:pt x="189" y="173"/>
                    <a:pt x="185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360"/>
            <p:cNvSpPr>
              <a:spLocks noEditPoints="1"/>
            </p:cNvSpPr>
            <p:nvPr/>
          </p:nvSpPr>
          <p:spPr bwMode="auto">
            <a:xfrm>
              <a:off x="3312" y="2186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3" name="Freeform 453"/>
          <p:cNvSpPr>
            <a:spLocks noChangeAspect="1" noEditPoints="1"/>
          </p:cNvSpPr>
          <p:nvPr/>
        </p:nvSpPr>
        <p:spPr bwMode="auto">
          <a:xfrm>
            <a:off x="4414666" y="2041526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1 w 512"/>
              <a:gd name="T11" fmla="*/ 411 h 512"/>
              <a:gd name="T12" fmla="*/ 362 w 512"/>
              <a:gd name="T13" fmla="*/ 416 h 512"/>
              <a:gd name="T14" fmla="*/ 149 w 512"/>
              <a:gd name="T15" fmla="*/ 416 h 512"/>
              <a:gd name="T16" fmla="*/ 140 w 512"/>
              <a:gd name="T17" fmla="*/ 411 h 512"/>
              <a:gd name="T18" fmla="*/ 139 w 512"/>
              <a:gd name="T19" fmla="*/ 400 h 512"/>
              <a:gd name="T20" fmla="*/ 224 w 512"/>
              <a:gd name="T21" fmla="*/ 221 h 512"/>
              <a:gd name="T22" fmla="*/ 224 w 512"/>
              <a:gd name="T23" fmla="*/ 117 h 512"/>
              <a:gd name="T24" fmla="*/ 213 w 512"/>
              <a:gd name="T25" fmla="*/ 106 h 512"/>
              <a:gd name="T26" fmla="*/ 224 w 512"/>
              <a:gd name="T27" fmla="*/ 96 h 512"/>
              <a:gd name="T28" fmla="*/ 288 w 512"/>
              <a:gd name="T29" fmla="*/ 96 h 512"/>
              <a:gd name="T30" fmla="*/ 298 w 512"/>
              <a:gd name="T31" fmla="*/ 106 h 512"/>
              <a:gd name="T32" fmla="*/ 288 w 512"/>
              <a:gd name="T33" fmla="*/ 117 h 512"/>
              <a:gd name="T34" fmla="*/ 288 w 512"/>
              <a:gd name="T35" fmla="*/ 221 h 512"/>
              <a:gd name="T36" fmla="*/ 372 w 512"/>
              <a:gd name="T37" fmla="*/ 400 h 512"/>
              <a:gd name="T38" fmla="*/ 371 w 512"/>
              <a:gd name="T39" fmla="*/ 411 h 512"/>
              <a:gd name="T40" fmla="*/ 315 w 512"/>
              <a:gd name="T41" fmla="*/ 330 h 512"/>
              <a:gd name="T42" fmla="*/ 346 w 512"/>
              <a:gd name="T43" fmla="*/ 394 h 512"/>
              <a:gd name="T44" fmla="*/ 166 w 512"/>
              <a:gd name="T45" fmla="*/ 394 h 512"/>
              <a:gd name="T46" fmla="*/ 196 w 512"/>
              <a:gd name="T47" fmla="*/ 330 h 512"/>
              <a:gd name="T48" fmla="*/ 315 w 512"/>
              <a:gd name="T49" fmla="*/ 330 h 512"/>
              <a:gd name="T50" fmla="*/ 305 w 512"/>
              <a:gd name="T51" fmla="*/ 309 h 512"/>
              <a:gd name="T52" fmla="*/ 206 w 512"/>
              <a:gd name="T53" fmla="*/ 309 h 512"/>
              <a:gd name="T54" fmla="*/ 244 w 512"/>
              <a:gd name="T55" fmla="*/ 228 h 512"/>
              <a:gd name="T56" fmla="*/ 245 w 512"/>
              <a:gd name="T57" fmla="*/ 224 h 512"/>
              <a:gd name="T58" fmla="*/ 245 w 512"/>
              <a:gd name="T59" fmla="*/ 117 h 512"/>
              <a:gd name="T60" fmla="*/ 266 w 512"/>
              <a:gd name="T61" fmla="*/ 117 h 512"/>
              <a:gd name="T62" fmla="*/ 266 w 512"/>
              <a:gd name="T63" fmla="*/ 224 h 512"/>
              <a:gd name="T64" fmla="*/ 267 w 512"/>
              <a:gd name="T65" fmla="*/ 228 h 512"/>
              <a:gd name="T66" fmla="*/ 305 w 512"/>
              <a:gd name="T67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1" y="411"/>
                </a:moveTo>
                <a:cubicBezTo>
                  <a:pt x="369" y="414"/>
                  <a:pt x="366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5" y="416"/>
                  <a:pt x="142" y="414"/>
                  <a:pt x="140" y="411"/>
                </a:cubicBezTo>
                <a:cubicBezTo>
                  <a:pt x="138" y="408"/>
                  <a:pt x="138" y="404"/>
                  <a:pt x="139" y="400"/>
                </a:cubicBezTo>
                <a:cubicBezTo>
                  <a:pt x="224" y="221"/>
                  <a:pt x="224" y="221"/>
                  <a:pt x="224" y="221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94" y="96"/>
                  <a:pt x="298" y="100"/>
                  <a:pt x="298" y="106"/>
                </a:cubicBezTo>
                <a:cubicBezTo>
                  <a:pt x="298" y="112"/>
                  <a:pt x="294" y="117"/>
                  <a:pt x="288" y="117"/>
                </a:cubicBezTo>
                <a:cubicBezTo>
                  <a:pt x="288" y="221"/>
                  <a:pt x="288" y="221"/>
                  <a:pt x="288" y="221"/>
                </a:cubicBezTo>
                <a:cubicBezTo>
                  <a:pt x="372" y="400"/>
                  <a:pt x="372" y="400"/>
                  <a:pt x="372" y="400"/>
                </a:cubicBezTo>
                <a:cubicBezTo>
                  <a:pt x="374" y="404"/>
                  <a:pt x="373" y="408"/>
                  <a:pt x="371" y="411"/>
                </a:cubicBezTo>
                <a:close/>
                <a:moveTo>
                  <a:pt x="315" y="330"/>
                </a:moveTo>
                <a:cubicBezTo>
                  <a:pt x="346" y="394"/>
                  <a:pt x="346" y="394"/>
                  <a:pt x="346" y="394"/>
                </a:cubicBezTo>
                <a:cubicBezTo>
                  <a:pt x="166" y="394"/>
                  <a:pt x="166" y="394"/>
                  <a:pt x="166" y="394"/>
                </a:cubicBezTo>
                <a:cubicBezTo>
                  <a:pt x="196" y="330"/>
                  <a:pt x="196" y="330"/>
                  <a:pt x="196" y="330"/>
                </a:cubicBezTo>
                <a:lnTo>
                  <a:pt x="315" y="330"/>
                </a:lnTo>
                <a:close/>
                <a:moveTo>
                  <a:pt x="305" y="309"/>
                </a:moveTo>
                <a:cubicBezTo>
                  <a:pt x="206" y="309"/>
                  <a:pt x="206" y="309"/>
                  <a:pt x="206" y="309"/>
                </a:cubicBezTo>
                <a:cubicBezTo>
                  <a:pt x="244" y="228"/>
                  <a:pt x="244" y="228"/>
                  <a:pt x="244" y="228"/>
                </a:cubicBezTo>
                <a:cubicBezTo>
                  <a:pt x="245" y="227"/>
                  <a:pt x="245" y="225"/>
                  <a:pt x="245" y="224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224"/>
                  <a:pt x="266" y="224"/>
                  <a:pt x="266" y="224"/>
                </a:cubicBezTo>
                <a:cubicBezTo>
                  <a:pt x="266" y="225"/>
                  <a:pt x="267" y="227"/>
                  <a:pt x="267" y="228"/>
                </a:cubicBezTo>
                <a:lnTo>
                  <a:pt x="305" y="30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4" name="Group 456"/>
          <p:cNvGrpSpPr>
            <a:grpSpLocks noChangeAspect="1"/>
          </p:cNvGrpSpPr>
          <p:nvPr/>
        </p:nvGrpSpPr>
        <p:grpSpPr bwMode="auto">
          <a:xfrm>
            <a:off x="4913324" y="2041526"/>
            <a:ext cx="367982" cy="367982"/>
            <a:chOff x="3735" y="2737"/>
            <a:chExt cx="340" cy="340"/>
          </a:xfrm>
          <a:solidFill>
            <a:schemeClr val="accent5"/>
          </a:solidFill>
        </p:grpSpPr>
        <p:sp>
          <p:nvSpPr>
            <p:cNvPr id="275" name="Freeform 457"/>
            <p:cNvSpPr>
              <a:spLocks noEditPoints="1"/>
            </p:cNvSpPr>
            <p:nvPr/>
          </p:nvSpPr>
          <p:spPr bwMode="auto">
            <a:xfrm>
              <a:off x="3827" y="2801"/>
              <a:ext cx="156" cy="212"/>
            </a:xfrm>
            <a:custGeom>
              <a:avLst/>
              <a:gdLst>
                <a:gd name="T0" fmla="*/ 234 w 236"/>
                <a:gd name="T1" fmla="*/ 304 h 320"/>
                <a:gd name="T2" fmla="*/ 150 w 236"/>
                <a:gd name="T3" fmla="*/ 125 h 320"/>
                <a:gd name="T4" fmla="*/ 150 w 236"/>
                <a:gd name="T5" fmla="*/ 21 h 320"/>
                <a:gd name="T6" fmla="*/ 160 w 236"/>
                <a:gd name="T7" fmla="*/ 10 h 320"/>
                <a:gd name="T8" fmla="*/ 150 w 236"/>
                <a:gd name="T9" fmla="*/ 0 h 320"/>
                <a:gd name="T10" fmla="*/ 86 w 236"/>
                <a:gd name="T11" fmla="*/ 0 h 320"/>
                <a:gd name="T12" fmla="*/ 75 w 236"/>
                <a:gd name="T13" fmla="*/ 10 h 320"/>
                <a:gd name="T14" fmla="*/ 86 w 236"/>
                <a:gd name="T15" fmla="*/ 21 h 320"/>
                <a:gd name="T16" fmla="*/ 86 w 236"/>
                <a:gd name="T17" fmla="*/ 125 h 320"/>
                <a:gd name="T18" fmla="*/ 1 w 236"/>
                <a:gd name="T19" fmla="*/ 304 h 320"/>
                <a:gd name="T20" fmla="*/ 2 w 236"/>
                <a:gd name="T21" fmla="*/ 315 h 320"/>
                <a:gd name="T22" fmla="*/ 11 w 236"/>
                <a:gd name="T23" fmla="*/ 320 h 320"/>
                <a:gd name="T24" fmla="*/ 224 w 236"/>
                <a:gd name="T25" fmla="*/ 320 h 320"/>
                <a:gd name="T26" fmla="*/ 233 w 236"/>
                <a:gd name="T27" fmla="*/ 315 h 320"/>
                <a:gd name="T28" fmla="*/ 234 w 236"/>
                <a:gd name="T29" fmla="*/ 304 h 320"/>
                <a:gd name="T30" fmla="*/ 106 w 236"/>
                <a:gd name="T31" fmla="*/ 132 h 320"/>
                <a:gd name="T32" fmla="*/ 107 w 236"/>
                <a:gd name="T33" fmla="*/ 128 h 320"/>
                <a:gd name="T34" fmla="*/ 107 w 236"/>
                <a:gd name="T35" fmla="*/ 21 h 320"/>
                <a:gd name="T36" fmla="*/ 128 w 236"/>
                <a:gd name="T37" fmla="*/ 21 h 320"/>
                <a:gd name="T38" fmla="*/ 128 w 236"/>
                <a:gd name="T39" fmla="*/ 128 h 320"/>
                <a:gd name="T40" fmla="*/ 129 w 236"/>
                <a:gd name="T41" fmla="*/ 132 h 320"/>
                <a:gd name="T42" fmla="*/ 167 w 236"/>
                <a:gd name="T43" fmla="*/ 213 h 320"/>
                <a:gd name="T44" fmla="*/ 68 w 236"/>
                <a:gd name="T45" fmla="*/ 213 h 320"/>
                <a:gd name="T46" fmla="*/ 106 w 236"/>
                <a:gd name="T47" fmla="*/ 132 h 320"/>
                <a:gd name="T48" fmla="*/ 28 w 236"/>
                <a:gd name="T49" fmla="*/ 298 h 320"/>
                <a:gd name="T50" fmla="*/ 58 w 236"/>
                <a:gd name="T51" fmla="*/ 234 h 320"/>
                <a:gd name="T52" fmla="*/ 177 w 236"/>
                <a:gd name="T53" fmla="*/ 234 h 320"/>
                <a:gd name="T54" fmla="*/ 208 w 236"/>
                <a:gd name="T55" fmla="*/ 298 h 320"/>
                <a:gd name="T56" fmla="*/ 28 w 236"/>
                <a:gd name="T57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" h="320">
                  <a:moveTo>
                    <a:pt x="234" y="304"/>
                  </a:moveTo>
                  <a:cubicBezTo>
                    <a:pt x="150" y="125"/>
                    <a:pt x="150" y="125"/>
                    <a:pt x="150" y="125"/>
                  </a:cubicBezTo>
                  <a:cubicBezTo>
                    <a:pt x="150" y="21"/>
                    <a:pt x="150" y="21"/>
                    <a:pt x="150" y="21"/>
                  </a:cubicBezTo>
                  <a:cubicBezTo>
                    <a:pt x="156" y="21"/>
                    <a:pt x="160" y="16"/>
                    <a:pt x="160" y="10"/>
                  </a:cubicBezTo>
                  <a:cubicBezTo>
                    <a:pt x="160" y="4"/>
                    <a:pt x="156" y="0"/>
                    <a:pt x="150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0" y="0"/>
                    <a:pt x="75" y="4"/>
                    <a:pt x="75" y="10"/>
                  </a:cubicBezTo>
                  <a:cubicBezTo>
                    <a:pt x="75" y="16"/>
                    <a:pt x="80" y="21"/>
                    <a:pt x="86" y="21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0" y="308"/>
                    <a:pt x="0" y="312"/>
                    <a:pt x="2" y="315"/>
                  </a:cubicBezTo>
                  <a:cubicBezTo>
                    <a:pt x="4" y="318"/>
                    <a:pt x="7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28" y="320"/>
                    <a:pt x="231" y="318"/>
                    <a:pt x="233" y="315"/>
                  </a:cubicBezTo>
                  <a:cubicBezTo>
                    <a:pt x="235" y="312"/>
                    <a:pt x="236" y="308"/>
                    <a:pt x="234" y="304"/>
                  </a:cubicBezTo>
                  <a:close/>
                  <a:moveTo>
                    <a:pt x="106" y="132"/>
                  </a:moveTo>
                  <a:cubicBezTo>
                    <a:pt x="107" y="131"/>
                    <a:pt x="107" y="129"/>
                    <a:pt x="107" y="128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29"/>
                    <a:pt x="129" y="131"/>
                    <a:pt x="129" y="132"/>
                  </a:cubicBezTo>
                  <a:cubicBezTo>
                    <a:pt x="167" y="213"/>
                    <a:pt x="167" y="213"/>
                    <a:pt x="167" y="213"/>
                  </a:cubicBezTo>
                  <a:cubicBezTo>
                    <a:pt x="68" y="213"/>
                    <a:pt x="68" y="213"/>
                    <a:pt x="68" y="213"/>
                  </a:cubicBezTo>
                  <a:lnTo>
                    <a:pt x="106" y="132"/>
                  </a:lnTo>
                  <a:close/>
                  <a:moveTo>
                    <a:pt x="28" y="298"/>
                  </a:moveTo>
                  <a:cubicBezTo>
                    <a:pt x="58" y="234"/>
                    <a:pt x="58" y="234"/>
                    <a:pt x="58" y="234"/>
                  </a:cubicBezTo>
                  <a:cubicBezTo>
                    <a:pt x="177" y="234"/>
                    <a:pt x="177" y="234"/>
                    <a:pt x="177" y="234"/>
                  </a:cubicBezTo>
                  <a:cubicBezTo>
                    <a:pt x="208" y="298"/>
                    <a:pt x="208" y="298"/>
                    <a:pt x="208" y="298"/>
                  </a:cubicBezTo>
                  <a:lnTo>
                    <a:pt x="28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458"/>
            <p:cNvSpPr>
              <a:spLocks noEditPoints="1"/>
            </p:cNvSpPr>
            <p:nvPr/>
          </p:nvSpPr>
          <p:spPr bwMode="auto">
            <a:xfrm>
              <a:off x="3735" y="27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1" name="Freeform 828"/>
          <p:cNvSpPr>
            <a:spLocks noChangeAspect="1" noEditPoints="1"/>
          </p:cNvSpPr>
          <p:nvPr/>
        </p:nvSpPr>
        <p:spPr bwMode="auto">
          <a:xfrm>
            <a:off x="5411982" y="2041530"/>
            <a:ext cx="367631" cy="367631"/>
          </a:xfrm>
          <a:custGeom>
            <a:avLst/>
            <a:gdLst>
              <a:gd name="T0" fmla="*/ 394 w 512"/>
              <a:gd name="T1" fmla="*/ 352 h 512"/>
              <a:gd name="T2" fmla="*/ 117 w 512"/>
              <a:gd name="T3" fmla="*/ 160 h 512"/>
              <a:gd name="T4" fmla="*/ 181 w 512"/>
              <a:gd name="T5" fmla="*/ 234 h 512"/>
              <a:gd name="T6" fmla="*/ 224 w 512"/>
              <a:gd name="T7" fmla="*/ 224 h 512"/>
              <a:gd name="T8" fmla="*/ 234 w 512"/>
              <a:gd name="T9" fmla="*/ 181 h 512"/>
              <a:gd name="T10" fmla="*/ 288 w 512"/>
              <a:gd name="T11" fmla="*/ 192 h 512"/>
              <a:gd name="T12" fmla="*/ 320 w 512"/>
              <a:gd name="T13" fmla="*/ 224 h 512"/>
              <a:gd name="T14" fmla="*/ 330 w 512"/>
              <a:gd name="T15" fmla="*/ 277 h 512"/>
              <a:gd name="T16" fmla="*/ 288 w 512"/>
              <a:gd name="T17" fmla="*/ 288 h 512"/>
              <a:gd name="T18" fmla="*/ 277 w 512"/>
              <a:gd name="T19" fmla="*/ 330 h 512"/>
              <a:gd name="T20" fmla="*/ 224 w 512"/>
              <a:gd name="T21" fmla="*/ 320 h 512"/>
              <a:gd name="T22" fmla="*/ 192 w 512"/>
              <a:gd name="T23" fmla="*/ 288 h 512"/>
              <a:gd name="T24" fmla="*/ 181 w 512"/>
              <a:gd name="T25" fmla="*/ 234 h 512"/>
              <a:gd name="T26" fmla="*/ 224 w 512"/>
              <a:gd name="T27" fmla="*/ 138 h 512"/>
              <a:gd name="T28" fmla="*/ 288 w 512"/>
              <a:gd name="T29" fmla="*/ 117 h 512"/>
              <a:gd name="T30" fmla="*/ 256 w 512"/>
              <a:gd name="T31" fmla="*/ 0 h 512"/>
              <a:gd name="T32" fmla="*/ 256 w 512"/>
              <a:gd name="T33" fmla="*/ 512 h 512"/>
              <a:gd name="T34" fmla="*/ 256 w 512"/>
              <a:gd name="T35" fmla="*/ 0 h 512"/>
              <a:gd name="T36" fmla="*/ 405 w 512"/>
              <a:gd name="T37" fmla="*/ 373 h 512"/>
              <a:gd name="T38" fmla="*/ 96 w 512"/>
              <a:gd name="T39" fmla="*/ 362 h 512"/>
              <a:gd name="T40" fmla="*/ 106 w 512"/>
              <a:gd name="T41" fmla="*/ 138 h 512"/>
              <a:gd name="T42" fmla="*/ 202 w 512"/>
              <a:gd name="T43" fmla="*/ 106 h 512"/>
              <a:gd name="T44" fmla="*/ 298 w 512"/>
              <a:gd name="T45" fmla="*/ 96 h 512"/>
              <a:gd name="T46" fmla="*/ 309 w 512"/>
              <a:gd name="T47" fmla="*/ 138 h 512"/>
              <a:gd name="T48" fmla="*/ 416 w 512"/>
              <a:gd name="T49" fmla="*/ 149 h 512"/>
              <a:gd name="T50" fmla="*/ 234 w 512"/>
              <a:gd name="T51" fmla="*/ 266 h 512"/>
              <a:gd name="T52" fmla="*/ 202 w 512"/>
              <a:gd name="T53" fmla="*/ 245 h 512"/>
              <a:gd name="T54" fmla="*/ 245 w 512"/>
              <a:gd name="T55" fmla="*/ 234 h 512"/>
              <a:gd name="T56" fmla="*/ 266 w 512"/>
              <a:gd name="T57" fmla="*/ 202 h 512"/>
              <a:gd name="T58" fmla="*/ 277 w 512"/>
              <a:gd name="T59" fmla="*/ 245 h 512"/>
              <a:gd name="T60" fmla="*/ 309 w 512"/>
              <a:gd name="T61" fmla="*/ 266 h 512"/>
              <a:gd name="T62" fmla="*/ 266 w 512"/>
              <a:gd name="T63" fmla="*/ 277 h 512"/>
              <a:gd name="T64" fmla="*/ 245 w 512"/>
              <a:gd name="T65" fmla="*/ 309 h 512"/>
              <a:gd name="T66" fmla="*/ 234 w 512"/>
              <a:gd name="T67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17" y="352"/>
                </a:moveTo>
                <a:cubicBezTo>
                  <a:pt x="394" y="352"/>
                  <a:pt x="394" y="352"/>
                  <a:pt x="394" y="352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52"/>
                </a:lnTo>
                <a:close/>
                <a:moveTo>
                  <a:pt x="181" y="234"/>
                </a:moveTo>
                <a:cubicBezTo>
                  <a:pt x="181" y="228"/>
                  <a:pt x="186" y="224"/>
                  <a:pt x="192" y="224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86"/>
                  <a:pt x="228" y="181"/>
                  <a:pt x="234" y="181"/>
                </a:cubicBezTo>
                <a:cubicBezTo>
                  <a:pt x="277" y="181"/>
                  <a:pt x="277" y="181"/>
                  <a:pt x="277" y="181"/>
                </a:cubicBezTo>
                <a:cubicBezTo>
                  <a:pt x="283" y="181"/>
                  <a:pt x="288" y="186"/>
                  <a:pt x="288" y="192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26" y="224"/>
                  <a:pt x="330" y="228"/>
                  <a:pt x="330" y="234"/>
                </a:cubicBezTo>
                <a:cubicBezTo>
                  <a:pt x="330" y="277"/>
                  <a:pt x="330" y="277"/>
                  <a:pt x="330" y="277"/>
                </a:cubicBezTo>
                <a:cubicBezTo>
                  <a:pt x="330" y="283"/>
                  <a:pt x="326" y="288"/>
                  <a:pt x="320" y="288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192" y="288"/>
                  <a:pt x="192" y="288"/>
                  <a:pt x="192" y="288"/>
                </a:cubicBezTo>
                <a:cubicBezTo>
                  <a:pt x="186" y="288"/>
                  <a:pt x="181" y="283"/>
                  <a:pt x="181" y="277"/>
                </a:cubicBezTo>
                <a:lnTo>
                  <a:pt x="181" y="234"/>
                </a:lnTo>
                <a:close/>
                <a:moveTo>
                  <a:pt x="288" y="138"/>
                </a:moveTo>
                <a:cubicBezTo>
                  <a:pt x="224" y="138"/>
                  <a:pt x="224" y="138"/>
                  <a:pt x="224" y="138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88" y="117"/>
                  <a:pt x="288" y="117"/>
                  <a:pt x="288" y="117"/>
                </a:cubicBezTo>
                <a:lnTo>
                  <a:pt x="288" y="138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06"/>
                  <a:pt x="202" y="106"/>
                  <a:pt x="202" y="106"/>
                </a:cubicBezTo>
                <a:cubicBezTo>
                  <a:pt x="202" y="100"/>
                  <a:pt x="207" y="96"/>
                  <a:pt x="213" y="96"/>
                </a:cubicBezTo>
                <a:cubicBezTo>
                  <a:pt x="298" y="96"/>
                  <a:pt x="298" y="96"/>
                  <a:pt x="298" y="96"/>
                </a:cubicBezTo>
                <a:cubicBezTo>
                  <a:pt x="304" y="96"/>
                  <a:pt x="309" y="100"/>
                  <a:pt x="309" y="106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62"/>
                </a:lnTo>
                <a:close/>
                <a:moveTo>
                  <a:pt x="234" y="266"/>
                </a:moveTo>
                <a:cubicBezTo>
                  <a:pt x="202" y="266"/>
                  <a:pt x="202" y="266"/>
                  <a:pt x="202" y="266"/>
                </a:cubicBezTo>
                <a:cubicBezTo>
                  <a:pt x="202" y="245"/>
                  <a:pt x="202" y="245"/>
                  <a:pt x="202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40" y="245"/>
                  <a:pt x="245" y="240"/>
                  <a:pt x="245" y="234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66" y="234"/>
                  <a:pt x="266" y="234"/>
                  <a:pt x="266" y="234"/>
                </a:cubicBezTo>
                <a:cubicBezTo>
                  <a:pt x="266" y="240"/>
                  <a:pt x="271" y="245"/>
                  <a:pt x="277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66"/>
                  <a:pt x="309" y="266"/>
                  <a:pt x="309" y="266"/>
                </a:cubicBezTo>
                <a:cubicBezTo>
                  <a:pt x="277" y="266"/>
                  <a:pt x="277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45" y="271"/>
                  <a:pt x="240" y="266"/>
                  <a:pt x="234" y="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2" name="Group 831"/>
          <p:cNvGrpSpPr>
            <a:grpSpLocks noChangeAspect="1"/>
          </p:cNvGrpSpPr>
          <p:nvPr/>
        </p:nvGrpSpPr>
        <p:grpSpPr bwMode="auto">
          <a:xfrm>
            <a:off x="5910289" y="2041530"/>
            <a:ext cx="367631" cy="367631"/>
            <a:chOff x="3500" y="3210"/>
            <a:chExt cx="340" cy="340"/>
          </a:xfrm>
          <a:solidFill>
            <a:schemeClr val="accent3"/>
          </a:solidFill>
        </p:grpSpPr>
        <p:sp>
          <p:nvSpPr>
            <p:cNvPr id="283" name="Freeform 832"/>
            <p:cNvSpPr>
              <a:spLocks noEditPoints="1"/>
            </p:cNvSpPr>
            <p:nvPr/>
          </p:nvSpPr>
          <p:spPr bwMode="auto">
            <a:xfrm>
              <a:off x="3564" y="3274"/>
              <a:ext cx="212" cy="184"/>
            </a:xfrm>
            <a:custGeom>
              <a:avLst/>
              <a:gdLst>
                <a:gd name="T0" fmla="*/ 309 w 320"/>
                <a:gd name="T1" fmla="*/ 42 h 277"/>
                <a:gd name="T2" fmla="*/ 213 w 320"/>
                <a:gd name="T3" fmla="*/ 42 h 277"/>
                <a:gd name="T4" fmla="*/ 213 w 320"/>
                <a:gd name="T5" fmla="*/ 10 h 277"/>
                <a:gd name="T6" fmla="*/ 202 w 320"/>
                <a:gd name="T7" fmla="*/ 0 h 277"/>
                <a:gd name="T8" fmla="*/ 117 w 320"/>
                <a:gd name="T9" fmla="*/ 0 h 277"/>
                <a:gd name="T10" fmla="*/ 106 w 320"/>
                <a:gd name="T11" fmla="*/ 10 h 277"/>
                <a:gd name="T12" fmla="*/ 106 w 320"/>
                <a:gd name="T13" fmla="*/ 42 h 277"/>
                <a:gd name="T14" fmla="*/ 10 w 320"/>
                <a:gd name="T15" fmla="*/ 42 h 277"/>
                <a:gd name="T16" fmla="*/ 0 w 320"/>
                <a:gd name="T17" fmla="*/ 53 h 277"/>
                <a:gd name="T18" fmla="*/ 0 w 320"/>
                <a:gd name="T19" fmla="*/ 266 h 277"/>
                <a:gd name="T20" fmla="*/ 10 w 320"/>
                <a:gd name="T21" fmla="*/ 277 h 277"/>
                <a:gd name="T22" fmla="*/ 309 w 320"/>
                <a:gd name="T23" fmla="*/ 277 h 277"/>
                <a:gd name="T24" fmla="*/ 320 w 320"/>
                <a:gd name="T25" fmla="*/ 266 h 277"/>
                <a:gd name="T26" fmla="*/ 320 w 320"/>
                <a:gd name="T27" fmla="*/ 53 h 277"/>
                <a:gd name="T28" fmla="*/ 309 w 320"/>
                <a:gd name="T29" fmla="*/ 42 h 277"/>
                <a:gd name="T30" fmla="*/ 128 w 320"/>
                <a:gd name="T31" fmla="*/ 21 h 277"/>
                <a:gd name="T32" fmla="*/ 192 w 320"/>
                <a:gd name="T33" fmla="*/ 21 h 277"/>
                <a:gd name="T34" fmla="*/ 192 w 320"/>
                <a:gd name="T35" fmla="*/ 42 h 277"/>
                <a:gd name="T36" fmla="*/ 128 w 320"/>
                <a:gd name="T37" fmla="*/ 42 h 277"/>
                <a:gd name="T38" fmla="*/ 128 w 320"/>
                <a:gd name="T39" fmla="*/ 21 h 277"/>
                <a:gd name="T40" fmla="*/ 298 w 320"/>
                <a:gd name="T41" fmla="*/ 256 h 277"/>
                <a:gd name="T42" fmla="*/ 21 w 320"/>
                <a:gd name="T43" fmla="*/ 256 h 277"/>
                <a:gd name="T44" fmla="*/ 21 w 320"/>
                <a:gd name="T45" fmla="*/ 64 h 277"/>
                <a:gd name="T46" fmla="*/ 298 w 320"/>
                <a:gd name="T47" fmla="*/ 64 h 277"/>
                <a:gd name="T48" fmla="*/ 298 w 320"/>
                <a:gd name="T49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7">
                  <a:moveTo>
                    <a:pt x="309" y="42"/>
                  </a:moveTo>
                  <a:cubicBezTo>
                    <a:pt x="213" y="42"/>
                    <a:pt x="213" y="42"/>
                    <a:pt x="213" y="42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8" y="0"/>
                    <a:pt x="202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1" y="0"/>
                    <a:pt x="106" y="4"/>
                    <a:pt x="106" y="1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4" y="42"/>
                    <a:pt x="0" y="47"/>
                    <a:pt x="0" y="53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309" y="277"/>
                    <a:pt x="309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20" y="47"/>
                    <a:pt x="315" y="42"/>
                    <a:pt x="309" y="42"/>
                  </a:cubicBezTo>
                  <a:close/>
                  <a:moveTo>
                    <a:pt x="128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28" y="42"/>
                    <a:pt x="128" y="42"/>
                    <a:pt x="128" y="42"/>
                  </a:cubicBezTo>
                  <a:lnTo>
                    <a:pt x="128" y="21"/>
                  </a:lnTo>
                  <a:close/>
                  <a:moveTo>
                    <a:pt x="298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833"/>
            <p:cNvSpPr>
              <a:spLocks noEditPoints="1"/>
            </p:cNvSpPr>
            <p:nvPr/>
          </p:nvSpPr>
          <p:spPr bwMode="auto">
            <a:xfrm>
              <a:off x="3620" y="3330"/>
              <a:ext cx="99" cy="99"/>
            </a:xfrm>
            <a:custGeom>
              <a:avLst/>
              <a:gdLst>
                <a:gd name="T0" fmla="*/ 107 w 149"/>
                <a:gd name="T1" fmla="*/ 11 h 149"/>
                <a:gd name="T2" fmla="*/ 96 w 149"/>
                <a:gd name="T3" fmla="*/ 0 h 149"/>
                <a:gd name="T4" fmla="*/ 53 w 149"/>
                <a:gd name="T5" fmla="*/ 0 h 149"/>
                <a:gd name="T6" fmla="*/ 43 w 149"/>
                <a:gd name="T7" fmla="*/ 11 h 149"/>
                <a:gd name="T8" fmla="*/ 43 w 149"/>
                <a:gd name="T9" fmla="*/ 43 h 149"/>
                <a:gd name="T10" fmla="*/ 11 w 149"/>
                <a:gd name="T11" fmla="*/ 43 h 149"/>
                <a:gd name="T12" fmla="*/ 0 w 149"/>
                <a:gd name="T13" fmla="*/ 53 h 149"/>
                <a:gd name="T14" fmla="*/ 0 w 149"/>
                <a:gd name="T15" fmla="*/ 96 h 149"/>
                <a:gd name="T16" fmla="*/ 11 w 149"/>
                <a:gd name="T17" fmla="*/ 107 h 149"/>
                <a:gd name="T18" fmla="*/ 43 w 149"/>
                <a:gd name="T19" fmla="*/ 107 h 149"/>
                <a:gd name="T20" fmla="*/ 43 w 149"/>
                <a:gd name="T21" fmla="*/ 139 h 149"/>
                <a:gd name="T22" fmla="*/ 53 w 149"/>
                <a:gd name="T23" fmla="*/ 149 h 149"/>
                <a:gd name="T24" fmla="*/ 96 w 149"/>
                <a:gd name="T25" fmla="*/ 149 h 149"/>
                <a:gd name="T26" fmla="*/ 107 w 149"/>
                <a:gd name="T27" fmla="*/ 139 h 149"/>
                <a:gd name="T28" fmla="*/ 107 w 149"/>
                <a:gd name="T29" fmla="*/ 107 h 149"/>
                <a:gd name="T30" fmla="*/ 139 w 149"/>
                <a:gd name="T31" fmla="*/ 107 h 149"/>
                <a:gd name="T32" fmla="*/ 149 w 149"/>
                <a:gd name="T33" fmla="*/ 96 h 149"/>
                <a:gd name="T34" fmla="*/ 149 w 149"/>
                <a:gd name="T35" fmla="*/ 53 h 149"/>
                <a:gd name="T36" fmla="*/ 139 w 149"/>
                <a:gd name="T37" fmla="*/ 43 h 149"/>
                <a:gd name="T38" fmla="*/ 107 w 149"/>
                <a:gd name="T39" fmla="*/ 43 h 149"/>
                <a:gd name="T40" fmla="*/ 107 w 149"/>
                <a:gd name="T41" fmla="*/ 11 h 149"/>
                <a:gd name="T42" fmla="*/ 128 w 149"/>
                <a:gd name="T43" fmla="*/ 64 h 149"/>
                <a:gd name="T44" fmla="*/ 128 w 149"/>
                <a:gd name="T45" fmla="*/ 85 h 149"/>
                <a:gd name="T46" fmla="*/ 96 w 149"/>
                <a:gd name="T47" fmla="*/ 85 h 149"/>
                <a:gd name="T48" fmla="*/ 85 w 149"/>
                <a:gd name="T49" fmla="*/ 96 h 149"/>
                <a:gd name="T50" fmla="*/ 85 w 149"/>
                <a:gd name="T51" fmla="*/ 128 h 149"/>
                <a:gd name="T52" fmla="*/ 64 w 149"/>
                <a:gd name="T53" fmla="*/ 128 h 149"/>
                <a:gd name="T54" fmla="*/ 64 w 149"/>
                <a:gd name="T55" fmla="*/ 96 h 149"/>
                <a:gd name="T56" fmla="*/ 53 w 149"/>
                <a:gd name="T57" fmla="*/ 85 h 149"/>
                <a:gd name="T58" fmla="*/ 21 w 149"/>
                <a:gd name="T59" fmla="*/ 85 h 149"/>
                <a:gd name="T60" fmla="*/ 21 w 149"/>
                <a:gd name="T61" fmla="*/ 64 h 149"/>
                <a:gd name="T62" fmla="*/ 53 w 149"/>
                <a:gd name="T63" fmla="*/ 64 h 149"/>
                <a:gd name="T64" fmla="*/ 64 w 149"/>
                <a:gd name="T65" fmla="*/ 53 h 149"/>
                <a:gd name="T66" fmla="*/ 64 w 149"/>
                <a:gd name="T67" fmla="*/ 21 h 149"/>
                <a:gd name="T68" fmla="*/ 85 w 149"/>
                <a:gd name="T69" fmla="*/ 21 h 149"/>
                <a:gd name="T70" fmla="*/ 85 w 149"/>
                <a:gd name="T71" fmla="*/ 53 h 149"/>
                <a:gd name="T72" fmla="*/ 96 w 149"/>
                <a:gd name="T73" fmla="*/ 64 h 149"/>
                <a:gd name="T74" fmla="*/ 128 w 149"/>
                <a:gd name="T75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149">
                  <a:moveTo>
                    <a:pt x="107" y="11"/>
                  </a:moveTo>
                  <a:cubicBezTo>
                    <a:pt x="107" y="5"/>
                    <a:pt x="102" y="0"/>
                    <a:pt x="9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7" y="0"/>
                    <a:pt x="43" y="5"/>
                    <a:pt x="43" y="1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47"/>
                    <a:pt x="0" y="5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43" y="145"/>
                    <a:pt x="47" y="149"/>
                    <a:pt x="53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102" y="149"/>
                    <a:pt x="107" y="145"/>
                    <a:pt x="107" y="139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7"/>
                    <a:pt x="149" y="102"/>
                    <a:pt x="149" y="96"/>
                  </a:cubicBezTo>
                  <a:cubicBezTo>
                    <a:pt x="149" y="53"/>
                    <a:pt x="149" y="53"/>
                    <a:pt x="149" y="53"/>
                  </a:cubicBezTo>
                  <a:cubicBezTo>
                    <a:pt x="149" y="47"/>
                    <a:pt x="145" y="43"/>
                    <a:pt x="139" y="43"/>
                  </a:cubicBezTo>
                  <a:cubicBezTo>
                    <a:pt x="107" y="43"/>
                    <a:pt x="107" y="43"/>
                    <a:pt x="107" y="43"/>
                  </a:cubicBezTo>
                  <a:lnTo>
                    <a:pt x="107" y="11"/>
                  </a:lnTo>
                  <a:close/>
                  <a:moveTo>
                    <a:pt x="128" y="64"/>
                  </a:moveTo>
                  <a:cubicBezTo>
                    <a:pt x="128" y="85"/>
                    <a:pt x="128" y="85"/>
                    <a:pt x="128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0" y="85"/>
                    <a:pt x="85" y="90"/>
                    <a:pt x="85" y="96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0"/>
                    <a:pt x="59" y="85"/>
                    <a:pt x="53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9"/>
                    <a:pt x="90" y="64"/>
                    <a:pt x="96" y="64"/>
                  </a:cubicBezTo>
                  <a:lnTo>
                    <a:pt x="1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834"/>
            <p:cNvSpPr>
              <a:spLocks noEditPoints="1"/>
            </p:cNvSpPr>
            <p:nvPr/>
          </p:nvSpPr>
          <p:spPr bwMode="auto">
            <a:xfrm>
              <a:off x="3500" y="32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6" name="Freeform 838"/>
          <p:cNvSpPr>
            <a:spLocks noChangeAspect="1" noEditPoints="1"/>
          </p:cNvSpPr>
          <p:nvPr/>
        </p:nvSpPr>
        <p:spPr bwMode="auto">
          <a:xfrm>
            <a:off x="6408596" y="2041530"/>
            <a:ext cx="367631" cy="367631"/>
          </a:xfrm>
          <a:custGeom>
            <a:avLst/>
            <a:gdLst>
              <a:gd name="T0" fmla="*/ 309 w 512"/>
              <a:gd name="T1" fmla="*/ 213 h 512"/>
              <a:gd name="T2" fmla="*/ 394 w 512"/>
              <a:gd name="T3" fmla="*/ 213 h 512"/>
              <a:gd name="T4" fmla="*/ 394 w 512"/>
              <a:gd name="T5" fmla="*/ 298 h 512"/>
              <a:gd name="T6" fmla="*/ 309 w 512"/>
              <a:gd name="T7" fmla="*/ 298 h 512"/>
              <a:gd name="T8" fmla="*/ 298 w 512"/>
              <a:gd name="T9" fmla="*/ 309 h 512"/>
              <a:gd name="T10" fmla="*/ 298 w 512"/>
              <a:gd name="T11" fmla="*/ 394 h 512"/>
              <a:gd name="T12" fmla="*/ 213 w 512"/>
              <a:gd name="T13" fmla="*/ 394 h 512"/>
              <a:gd name="T14" fmla="*/ 213 w 512"/>
              <a:gd name="T15" fmla="*/ 309 h 512"/>
              <a:gd name="T16" fmla="*/ 202 w 512"/>
              <a:gd name="T17" fmla="*/ 298 h 512"/>
              <a:gd name="T18" fmla="*/ 117 w 512"/>
              <a:gd name="T19" fmla="*/ 298 h 512"/>
              <a:gd name="T20" fmla="*/ 117 w 512"/>
              <a:gd name="T21" fmla="*/ 213 h 512"/>
              <a:gd name="T22" fmla="*/ 202 w 512"/>
              <a:gd name="T23" fmla="*/ 213 h 512"/>
              <a:gd name="T24" fmla="*/ 213 w 512"/>
              <a:gd name="T25" fmla="*/ 202 h 512"/>
              <a:gd name="T26" fmla="*/ 213 w 512"/>
              <a:gd name="T27" fmla="*/ 117 h 512"/>
              <a:gd name="T28" fmla="*/ 298 w 512"/>
              <a:gd name="T29" fmla="*/ 117 h 512"/>
              <a:gd name="T30" fmla="*/ 298 w 512"/>
              <a:gd name="T31" fmla="*/ 202 h 512"/>
              <a:gd name="T32" fmla="*/ 309 w 512"/>
              <a:gd name="T33" fmla="*/ 213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6 w 512"/>
              <a:gd name="T45" fmla="*/ 202 h 512"/>
              <a:gd name="T46" fmla="*/ 405 w 512"/>
              <a:gd name="T47" fmla="*/ 192 h 512"/>
              <a:gd name="T48" fmla="*/ 320 w 512"/>
              <a:gd name="T49" fmla="*/ 192 h 512"/>
              <a:gd name="T50" fmla="*/ 320 w 512"/>
              <a:gd name="T51" fmla="*/ 106 h 512"/>
              <a:gd name="T52" fmla="*/ 309 w 512"/>
              <a:gd name="T53" fmla="*/ 96 h 512"/>
              <a:gd name="T54" fmla="*/ 202 w 512"/>
              <a:gd name="T55" fmla="*/ 96 h 512"/>
              <a:gd name="T56" fmla="*/ 192 w 512"/>
              <a:gd name="T57" fmla="*/ 106 h 512"/>
              <a:gd name="T58" fmla="*/ 192 w 512"/>
              <a:gd name="T59" fmla="*/ 192 h 512"/>
              <a:gd name="T60" fmla="*/ 106 w 512"/>
              <a:gd name="T61" fmla="*/ 192 h 512"/>
              <a:gd name="T62" fmla="*/ 96 w 512"/>
              <a:gd name="T63" fmla="*/ 202 h 512"/>
              <a:gd name="T64" fmla="*/ 96 w 512"/>
              <a:gd name="T65" fmla="*/ 309 h 512"/>
              <a:gd name="T66" fmla="*/ 106 w 512"/>
              <a:gd name="T67" fmla="*/ 320 h 512"/>
              <a:gd name="T68" fmla="*/ 192 w 512"/>
              <a:gd name="T69" fmla="*/ 320 h 512"/>
              <a:gd name="T70" fmla="*/ 192 w 512"/>
              <a:gd name="T71" fmla="*/ 405 h 512"/>
              <a:gd name="T72" fmla="*/ 202 w 512"/>
              <a:gd name="T73" fmla="*/ 416 h 512"/>
              <a:gd name="T74" fmla="*/ 309 w 512"/>
              <a:gd name="T75" fmla="*/ 416 h 512"/>
              <a:gd name="T76" fmla="*/ 320 w 512"/>
              <a:gd name="T77" fmla="*/ 405 h 512"/>
              <a:gd name="T78" fmla="*/ 320 w 512"/>
              <a:gd name="T79" fmla="*/ 320 h 512"/>
              <a:gd name="T80" fmla="*/ 405 w 512"/>
              <a:gd name="T81" fmla="*/ 320 h 512"/>
              <a:gd name="T82" fmla="*/ 416 w 512"/>
              <a:gd name="T83" fmla="*/ 309 h 512"/>
              <a:gd name="T84" fmla="*/ 416 w 512"/>
              <a:gd name="T8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309" y="213"/>
                </a:moveTo>
                <a:cubicBezTo>
                  <a:pt x="394" y="213"/>
                  <a:pt x="394" y="213"/>
                  <a:pt x="394" y="213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03" y="298"/>
                  <a:pt x="298" y="303"/>
                  <a:pt x="298" y="309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13" y="303"/>
                  <a:pt x="208" y="298"/>
                  <a:pt x="202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8" y="213"/>
                  <a:pt x="213" y="208"/>
                  <a:pt x="213" y="202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298" y="208"/>
                  <a:pt x="303" y="213"/>
                  <a:pt x="309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02"/>
                </a:moveTo>
                <a:cubicBezTo>
                  <a:pt x="416" y="196"/>
                  <a:pt x="411" y="192"/>
                  <a:pt x="405" y="192"/>
                </a:cubicBezTo>
                <a:cubicBezTo>
                  <a:pt x="320" y="192"/>
                  <a:pt x="320" y="192"/>
                  <a:pt x="320" y="192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20" y="100"/>
                  <a:pt x="315" y="96"/>
                  <a:pt x="309" y="96"/>
                </a:cubicBezTo>
                <a:cubicBezTo>
                  <a:pt x="202" y="96"/>
                  <a:pt x="202" y="96"/>
                  <a:pt x="202" y="96"/>
                </a:cubicBezTo>
                <a:cubicBezTo>
                  <a:pt x="196" y="96"/>
                  <a:pt x="192" y="100"/>
                  <a:pt x="192" y="106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06" y="192"/>
                  <a:pt x="106" y="192"/>
                  <a:pt x="106" y="192"/>
                </a:cubicBezTo>
                <a:cubicBezTo>
                  <a:pt x="100" y="192"/>
                  <a:pt x="96" y="196"/>
                  <a:pt x="96" y="202"/>
                </a:cubicBezTo>
                <a:cubicBezTo>
                  <a:pt x="96" y="309"/>
                  <a:pt x="96" y="309"/>
                  <a:pt x="96" y="309"/>
                </a:cubicBezTo>
                <a:cubicBezTo>
                  <a:pt x="96" y="315"/>
                  <a:pt x="100" y="320"/>
                  <a:pt x="106" y="320"/>
                </a:cubicBezTo>
                <a:cubicBezTo>
                  <a:pt x="192" y="320"/>
                  <a:pt x="192" y="320"/>
                  <a:pt x="192" y="320"/>
                </a:cubicBezTo>
                <a:cubicBezTo>
                  <a:pt x="192" y="405"/>
                  <a:pt x="192" y="405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20"/>
                  <a:pt x="320" y="320"/>
                  <a:pt x="320" y="32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15"/>
                  <a:pt x="416" y="309"/>
                </a:cubicBezTo>
                <a:lnTo>
                  <a:pt x="416" y="20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7" name="Group 841"/>
          <p:cNvGrpSpPr>
            <a:grpSpLocks noChangeAspect="1"/>
          </p:cNvGrpSpPr>
          <p:nvPr/>
        </p:nvGrpSpPr>
        <p:grpSpPr bwMode="auto">
          <a:xfrm>
            <a:off x="6906903" y="2041530"/>
            <a:ext cx="367631" cy="367631"/>
            <a:chOff x="4235" y="3197"/>
            <a:chExt cx="340" cy="340"/>
          </a:xfrm>
          <a:solidFill>
            <a:schemeClr val="accent3"/>
          </a:solidFill>
        </p:grpSpPr>
        <p:sp>
          <p:nvSpPr>
            <p:cNvPr id="288" name="Freeform 842"/>
            <p:cNvSpPr>
              <a:spLocks noEditPoints="1"/>
            </p:cNvSpPr>
            <p:nvPr/>
          </p:nvSpPr>
          <p:spPr bwMode="auto">
            <a:xfrm>
              <a:off x="4299" y="3261"/>
              <a:ext cx="212" cy="212"/>
            </a:xfrm>
            <a:custGeom>
              <a:avLst/>
              <a:gdLst>
                <a:gd name="T0" fmla="*/ 213 w 320"/>
                <a:gd name="T1" fmla="*/ 320 h 320"/>
                <a:gd name="T2" fmla="*/ 106 w 320"/>
                <a:gd name="T3" fmla="*/ 320 h 320"/>
                <a:gd name="T4" fmla="*/ 96 w 320"/>
                <a:gd name="T5" fmla="*/ 309 h 320"/>
                <a:gd name="T6" fmla="*/ 96 w 320"/>
                <a:gd name="T7" fmla="*/ 224 h 320"/>
                <a:gd name="T8" fmla="*/ 10 w 320"/>
                <a:gd name="T9" fmla="*/ 224 h 320"/>
                <a:gd name="T10" fmla="*/ 0 w 320"/>
                <a:gd name="T11" fmla="*/ 213 h 320"/>
                <a:gd name="T12" fmla="*/ 0 w 320"/>
                <a:gd name="T13" fmla="*/ 106 h 320"/>
                <a:gd name="T14" fmla="*/ 10 w 320"/>
                <a:gd name="T15" fmla="*/ 96 h 320"/>
                <a:gd name="T16" fmla="*/ 96 w 320"/>
                <a:gd name="T17" fmla="*/ 96 h 320"/>
                <a:gd name="T18" fmla="*/ 96 w 320"/>
                <a:gd name="T19" fmla="*/ 10 h 320"/>
                <a:gd name="T20" fmla="*/ 106 w 320"/>
                <a:gd name="T21" fmla="*/ 0 h 320"/>
                <a:gd name="T22" fmla="*/ 213 w 320"/>
                <a:gd name="T23" fmla="*/ 0 h 320"/>
                <a:gd name="T24" fmla="*/ 224 w 320"/>
                <a:gd name="T25" fmla="*/ 10 h 320"/>
                <a:gd name="T26" fmla="*/ 224 w 320"/>
                <a:gd name="T27" fmla="*/ 96 h 320"/>
                <a:gd name="T28" fmla="*/ 309 w 320"/>
                <a:gd name="T29" fmla="*/ 96 h 320"/>
                <a:gd name="T30" fmla="*/ 320 w 320"/>
                <a:gd name="T31" fmla="*/ 106 h 320"/>
                <a:gd name="T32" fmla="*/ 320 w 320"/>
                <a:gd name="T33" fmla="*/ 213 h 320"/>
                <a:gd name="T34" fmla="*/ 309 w 320"/>
                <a:gd name="T35" fmla="*/ 224 h 320"/>
                <a:gd name="T36" fmla="*/ 224 w 320"/>
                <a:gd name="T37" fmla="*/ 224 h 320"/>
                <a:gd name="T38" fmla="*/ 224 w 320"/>
                <a:gd name="T39" fmla="*/ 309 h 320"/>
                <a:gd name="T40" fmla="*/ 213 w 320"/>
                <a:gd name="T41" fmla="*/ 320 h 320"/>
                <a:gd name="T42" fmla="*/ 117 w 320"/>
                <a:gd name="T43" fmla="*/ 298 h 320"/>
                <a:gd name="T44" fmla="*/ 202 w 320"/>
                <a:gd name="T45" fmla="*/ 298 h 320"/>
                <a:gd name="T46" fmla="*/ 202 w 320"/>
                <a:gd name="T47" fmla="*/ 213 h 320"/>
                <a:gd name="T48" fmla="*/ 213 w 320"/>
                <a:gd name="T49" fmla="*/ 202 h 320"/>
                <a:gd name="T50" fmla="*/ 298 w 320"/>
                <a:gd name="T51" fmla="*/ 202 h 320"/>
                <a:gd name="T52" fmla="*/ 298 w 320"/>
                <a:gd name="T53" fmla="*/ 117 h 320"/>
                <a:gd name="T54" fmla="*/ 213 w 320"/>
                <a:gd name="T55" fmla="*/ 117 h 320"/>
                <a:gd name="T56" fmla="*/ 202 w 320"/>
                <a:gd name="T57" fmla="*/ 106 h 320"/>
                <a:gd name="T58" fmla="*/ 202 w 320"/>
                <a:gd name="T59" fmla="*/ 21 h 320"/>
                <a:gd name="T60" fmla="*/ 117 w 320"/>
                <a:gd name="T61" fmla="*/ 21 h 320"/>
                <a:gd name="T62" fmla="*/ 117 w 320"/>
                <a:gd name="T63" fmla="*/ 106 h 320"/>
                <a:gd name="T64" fmla="*/ 106 w 320"/>
                <a:gd name="T65" fmla="*/ 117 h 320"/>
                <a:gd name="T66" fmla="*/ 21 w 320"/>
                <a:gd name="T67" fmla="*/ 117 h 320"/>
                <a:gd name="T68" fmla="*/ 21 w 320"/>
                <a:gd name="T69" fmla="*/ 202 h 320"/>
                <a:gd name="T70" fmla="*/ 106 w 320"/>
                <a:gd name="T71" fmla="*/ 202 h 320"/>
                <a:gd name="T72" fmla="*/ 117 w 320"/>
                <a:gd name="T73" fmla="*/ 213 h 320"/>
                <a:gd name="T74" fmla="*/ 117 w 320"/>
                <a:gd name="T75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320">
                  <a:moveTo>
                    <a:pt x="213" y="320"/>
                  </a:moveTo>
                  <a:cubicBezTo>
                    <a:pt x="106" y="320"/>
                    <a:pt x="106" y="320"/>
                    <a:pt x="106" y="320"/>
                  </a:cubicBezTo>
                  <a:cubicBezTo>
                    <a:pt x="100" y="320"/>
                    <a:pt x="96" y="315"/>
                    <a:pt x="96" y="309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10" y="224"/>
                    <a:pt x="10" y="224"/>
                    <a:pt x="10" y="224"/>
                  </a:cubicBezTo>
                  <a:cubicBezTo>
                    <a:pt x="4" y="224"/>
                    <a:pt x="0" y="219"/>
                    <a:pt x="0" y="213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0"/>
                    <a:pt x="4" y="96"/>
                    <a:pt x="10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100" y="0"/>
                    <a:pt x="10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9" y="0"/>
                    <a:pt x="224" y="4"/>
                    <a:pt x="224" y="10"/>
                  </a:cubicBezTo>
                  <a:cubicBezTo>
                    <a:pt x="224" y="96"/>
                    <a:pt x="224" y="96"/>
                    <a:pt x="224" y="96"/>
                  </a:cubicBezTo>
                  <a:cubicBezTo>
                    <a:pt x="309" y="96"/>
                    <a:pt x="309" y="96"/>
                    <a:pt x="309" y="96"/>
                  </a:cubicBezTo>
                  <a:cubicBezTo>
                    <a:pt x="315" y="96"/>
                    <a:pt x="320" y="100"/>
                    <a:pt x="320" y="106"/>
                  </a:cubicBezTo>
                  <a:cubicBezTo>
                    <a:pt x="320" y="213"/>
                    <a:pt x="320" y="213"/>
                    <a:pt x="320" y="213"/>
                  </a:cubicBezTo>
                  <a:cubicBezTo>
                    <a:pt x="320" y="219"/>
                    <a:pt x="315" y="224"/>
                    <a:pt x="309" y="224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24" y="309"/>
                    <a:pt x="224" y="309"/>
                    <a:pt x="224" y="309"/>
                  </a:cubicBezTo>
                  <a:cubicBezTo>
                    <a:pt x="224" y="315"/>
                    <a:pt x="219" y="320"/>
                    <a:pt x="213" y="320"/>
                  </a:cubicBezTo>
                  <a:close/>
                  <a:moveTo>
                    <a:pt x="117" y="298"/>
                  </a:moveTo>
                  <a:cubicBezTo>
                    <a:pt x="202" y="298"/>
                    <a:pt x="202" y="298"/>
                    <a:pt x="202" y="298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207"/>
                    <a:pt x="207" y="202"/>
                    <a:pt x="213" y="202"/>
                  </a:cubicBezTo>
                  <a:cubicBezTo>
                    <a:pt x="298" y="202"/>
                    <a:pt x="298" y="202"/>
                    <a:pt x="298" y="202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13" y="117"/>
                    <a:pt x="213" y="117"/>
                    <a:pt x="213" y="117"/>
                  </a:cubicBezTo>
                  <a:cubicBezTo>
                    <a:pt x="207" y="117"/>
                    <a:pt x="202" y="112"/>
                    <a:pt x="202" y="106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106"/>
                    <a:pt x="117" y="106"/>
                    <a:pt x="117" y="106"/>
                  </a:cubicBezTo>
                  <a:cubicBezTo>
                    <a:pt x="117" y="112"/>
                    <a:pt x="112" y="117"/>
                    <a:pt x="106" y="117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1" y="202"/>
                    <a:pt x="21" y="202"/>
                    <a:pt x="21" y="202"/>
                  </a:cubicBezTo>
                  <a:cubicBezTo>
                    <a:pt x="106" y="202"/>
                    <a:pt x="106" y="202"/>
                    <a:pt x="106" y="202"/>
                  </a:cubicBezTo>
                  <a:cubicBezTo>
                    <a:pt x="112" y="202"/>
                    <a:pt x="117" y="207"/>
                    <a:pt x="117" y="213"/>
                  </a:cubicBezTo>
                  <a:lnTo>
                    <a:pt x="117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843"/>
            <p:cNvSpPr>
              <a:spLocks noEditPoints="1"/>
            </p:cNvSpPr>
            <p:nvPr/>
          </p:nvSpPr>
          <p:spPr bwMode="auto">
            <a:xfrm>
              <a:off x="4235" y="3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0" name="Group 327"/>
          <p:cNvGrpSpPr>
            <a:grpSpLocks noChangeAspect="1"/>
          </p:cNvGrpSpPr>
          <p:nvPr/>
        </p:nvGrpSpPr>
        <p:grpSpPr bwMode="auto">
          <a:xfrm>
            <a:off x="7904907" y="2041530"/>
            <a:ext cx="369021" cy="369021"/>
            <a:chOff x="5029" y="1186"/>
            <a:chExt cx="340" cy="340"/>
          </a:xfrm>
          <a:solidFill>
            <a:schemeClr val="accent4"/>
          </a:solidFill>
        </p:grpSpPr>
        <p:sp>
          <p:nvSpPr>
            <p:cNvPr id="291" name="Freeform 328"/>
            <p:cNvSpPr>
              <a:spLocks noEditPoints="1"/>
            </p:cNvSpPr>
            <p:nvPr/>
          </p:nvSpPr>
          <p:spPr bwMode="auto">
            <a:xfrm>
              <a:off x="5109" y="1266"/>
              <a:ext cx="180" cy="180"/>
            </a:xfrm>
            <a:custGeom>
              <a:avLst/>
              <a:gdLst>
                <a:gd name="T0" fmla="*/ 248 w 270"/>
                <a:gd name="T1" fmla="*/ 142 h 270"/>
                <a:gd name="T2" fmla="*/ 187 w 270"/>
                <a:gd name="T3" fmla="*/ 82 h 270"/>
                <a:gd name="T4" fmla="*/ 127 w 270"/>
                <a:gd name="T5" fmla="*/ 22 h 270"/>
                <a:gd name="T6" fmla="*/ 74 w 270"/>
                <a:gd name="T7" fmla="*/ 0 h 270"/>
                <a:gd name="T8" fmla="*/ 22 w 270"/>
                <a:gd name="T9" fmla="*/ 22 h 270"/>
                <a:gd name="T10" fmla="*/ 0 w 270"/>
                <a:gd name="T11" fmla="*/ 74 h 270"/>
                <a:gd name="T12" fmla="*/ 22 w 270"/>
                <a:gd name="T13" fmla="*/ 127 h 270"/>
                <a:gd name="T14" fmla="*/ 82 w 270"/>
                <a:gd name="T15" fmla="*/ 187 h 270"/>
                <a:gd name="T16" fmla="*/ 142 w 270"/>
                <a:gd name="T17" fmla="*/ 248 h 270"/>
                <a:gd name="T18" fmla="*/ 195 w 270"/>
                <a:gd name="T19" fmla="*/ 270 h 270"/>
                <a:gd name="T20" fmla="*/ 248 w 270"/>
                <a:gd name="T21" fmla="*/ 248 h 270"/>
                <a:gd name="T22" fmla="*/ 270 w 270"/>
                <a:gd name="T23" fmla="*/ 195 h 270"/>
                <a:gd name="T24" fmla="*/ 248 w 270"/>
                <a:gd name="T25" fmla="*/ 142 h 270"/>
                <a:gd name="T26" fmla="*/ 240 w 270"/>
                <a:gd name="T27" fmla="*/ 167 h 270"/>
                <a:gd name="T28" fmla="*/ 118 w 270"/>
                <a:gd name="T29" fmla="*/ 167 h 270"/>
                <a:gd name="T30" fmla="*/ 139 w 270"/>
                <a:gd name="T31" fmla="*/ 145 h 270"/>
                <a:gd name="T32" fmla="*/ 220 w 270"/>
                <a:gd name="T33" fmla="*/ 145 h 270"/>
                <a:gd name="T34" fmla="*/ 220 w 270"/>
                <a:gd name="T35" fmla="*/ 145 h 270"/>
                <a:gd name="T36" fmla="*/ 233 w 270"/>
                <a:gd name="T37" fmla="*/ 157 h 270"/>
                <a:gd name="T38" fmla="*/ 240 w 270"/>
                <a:gd name="T39" fmla="*/ 167 h 270"/>
                <a:gd name="T40" fmla="*/ 248 w 270"/>
                <a:gd name="T41" fmla="*/ 195 h 270"/>
                <a:gd name="T42" fmla="*/ 246 w 270"/>
                <a:gd name="T43" fmla="*/ 209 h 270"/>
                <a:gd name="T44" fmla="*/ 135 w 270"/>
                <a:gd name="T45" fmla="*/ 209 h 270"/>
                <a:gd name="T46" fmla="*/ 135 w 270"/>
                <a:gd name="T47" fmla="*/ 210 h 270"/>
                <a:gd name="T48" fmla="*/ 113 w 270"/>
                <a:gd name="T49" fmla="*/ 188 h 270"/>
                <a:gd name="T50" fmla="*/ 248 w 270"/>
                <a:gd name="T51" fmla="*/ 188 h 270"/>
                <a:gd name="T52" fmla="*/ 248 w 270"/>
                <a:gd name="T53" fmla="*/ 195 h 270"/>
                <a:gd name="T54" fmla="*/ 180 w 270"/>
                <a:gd name="T55" fmla="*/ 105 h 270"/>
                <a:gd name="T56" fmla="*/ 199 w 270"/>
                <a:gd name="T57" fmla="*/ 124 h 270"/>
                <a:gd name="T58" fmla="*/ 160 w 270"/>
                <a:gd name="T59" fmla="*/ 124 h 270"/>
                <a:gd name="T60" fmla="*/ 180 w 270"/>
                <a:gd name="T61" fmla="*/ 105 h 270"/>
                <a:gd name="T62" fmla="*/ 21 w 270"/>
                <a:gd name="T63" fmla="*/ 74 h 270"/>
                <a:gd name="T64" fmla="*/ 37 w 270"/>
                <a:gd name="T65" fmla="*/ 37 h 270"/>
                <a:gd name="T66" fmla="*/ 74 w 270"/>
                <a:gd name="T67" fmla="*/ 21 h 270"/>
                <a:gd name="T68" fmla="*/ 112 w 270"/>
                <a:gd name="T69" fmla="*/ 37 h 270"/>
                <a:gd name="T70" fmla="*/ 165 w 270"/>
                <a:gd name="T71" fmla="*/ 89 h 270"/>
                <a:gd name="T72" fmla="*/ 89 w 270"/>
                <a:gd name="T73" fmla="*/ 165 h 270"/>
                <a:gd name="T74" fmla="*/ 37 w 270"/>
                <a:gd name="T75" fmla="*/ 112 h 270"/>
                <a:gd name="T76" fmla="*/ 21 w 270"/>
                <a:gd name="T77" fmla="*/ 74 h 270"/>
                <a:gd name="T78" fmla="*/ 195 w 270"/>
                <a:gd name="T79" fmla="*/ 248 h 270"/>
                <a:gd name="T80" fmla="*/ 157 w 270"/>
                <a:gd name="T81" fmla="*/ 233 h 270"/>
                <a:gd name="T82" fmla="*/ 155 w 270"/>
                <a:gd name="T83" fmla="*/ 231 h 270"/>
                <a:gd name="T84" fmla="*/ 234 w 270"/>
                <a:gd name="T85" fmla="*/ 231 h 270"/>
                <a:gd name="T86" fmla="*/ 233 w 270"/>
                <a:gd name="T87" fmla="*/ 233 h 270"/>
                <a:gd name="T88" fmla="*/ 195 w 270"/>
                <a:gd name="T89" fmla="*/ 248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0" h="270">
                  <a:moveTo>
                    <a:pt x="248" y="142"/>
                  </a:moveTo>
                  <a:cubicBezTo>
                    <a:pt x="187" y="82"/>
                    <a:pt x="187" y="82"/>
                    <a:pt x="187" y="82"/>
                  </a:cubicBezTo>
                  <a:cubicBezTo>
                    <a:pt x="127" y="22"/>
                    <a:pt x="127" y="22"/>
                    <a:pt x="127" y="22"/>
                  </a:cubicBezTo>
                  <a:cubicBezTo>
                    <a:pt x="113" y="7"/>
                    <a:pt x="94" y="0"/>
                    <a:pt x="74" y="0"/>
                  </a:cubicBezTo>
                  <a:cubicBezTo>
                    <a:pt x="54" y="0"/>
                    <a:pt x="36" y="7"/>
                    <a:pt x="22" y="22"/>
                  </a:cubicBezTo>
                  <a:cubicBezTo>
                    <a:pt x="7" y="36"/>
                    <a:pt x="0" y="54"/>
                    <a:pt x="0" y="74"/>
                  </a:cubicBezTo>
                  <a:cubicBezTo>
                    <a:pt x="0" y="94"/>
                    <a:pt x="7" y="113"/>
                    <a:pt x="22" y="12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56" y="262"/>
                    <a:pt x="175" y="270"/>
                    <a:pt x="195" y="270"/>
                  </a:cubicBezTo>
                  <a:cubicBezTo>
                    <a:pt x="215" y="270"/>
                    <a:pt x="234" y="262"/>
                    <a:pt x="248" y="248"/>
                  </a:cubicBezTo>
                  <a:cubicBezTo>
                    <a:pt x="262" y="234"/>
                    <a:pt x="270" y="215"/>
                    <a:pt x="270" y="195"/>
                  </a:cubicBezTo>
                  <a:cubicBezTo>
                    <a:pt x="270" y="175"/>
                    <a:pt x="262" y="156"/>
                    <a:pt x="248" y="142"/>
                  </a:cubicBezTo>
                  <a:close/>
                  <a:moveTo>
                    <a:pt x="240" y="167"/>
                  </a:moveTo>
                  <a:cubicBezTo>
                    <a:pt x="118" y="167"/>
                    <a:pt x="118" y="167"/>
                    <a:pt x="118" y="167"/>
                  </a:cubicBezTo>
                  <a:cubicBezTo>
                    <a:pt x="139" y="145"/>
                    <a:pt x="139" y="145"/>
                    <a:pt x="139" y="145"/>
                  </a:cubicBezTo>
                  <a:cubicBezTo>
                    <a:pt x="220" y="145"/>
                    <a:pt x="220" y="145"/>
                    <a:pt x="220" y="145"/>
                  </a:cubicBezTo>
                  <a:cubicBezTo>
                    <a:pt x="220" y="145"/>
                    <a:pt x="220" y="145"/>
                    <a:pt x="220" y="145"/>
                  </a:cubicBezTo>
                  <a:cubicBezTo>
                    <a:pt x="233" y="157"/>
                    <a:pt x="233" y="157"/>
                    <a:pt x="233" y="157"/>
                  </a:cubicBezTo>
                  <a:cubicBezTo>
                    <a:pt x="236" y="160"/>
                    <a:pt x="238" y="163"/>
                    <a:pt x="240" y="167"/>
                  </a:cubicBezTo>
                  <a:close/>
                  <a:moveTo>
                    <a:pt x="248" y="195"/>
                  </a:moveTo>
                  <a:cubicBezTo>
                    <a:pt x="248" y="200"/>
                    <a:pt x="247" y="205"/>
                    <a:pt x="246" y="209"/>
                  </a:cubicBezTo>
                  <a:cubicBezTo>
                    <a:pt x="135" y="209"/>
                    <a:pt x="135" y="209"/>
                    <a:pt x="135" y="209"/>
                  </a:cubicBezTo>
                  <a:cubicBezTo>
                    <a:pt x="135" y="210"/>
                    <a:pt x="135" y="210"/>
                    <a:pt x="135" y="210"/>
                  </a:cubicBezTo>
                  <a:cubicBezTo>
                    <a:pt x="113" y="188"/>
                    <a:pt x="113" y="188"/>
                    <a:pt x="113" y="188"/>
                  </a:cubicBezTo>
                  <a:cubicBezTo>
                    <a:pt x="248" y="188"/>
                    <a:pt x="248" y="188"/>
                    <a:pt x="248" y="188"/>
                  </a:cubicBezTo>
                  <a:cubicBezTo>
                    <a:pt x="248" y="190"/>
                    <a:pt x="248" y="193"/>
                    <a:pt x="248" y="195"/>
                  </a:cubicBezTo>
                  <a:close/>
                  <a:moveTo>
                    <a:pt x="180" y="105"/>
                  </a:moveTo>
                  <a:cubicBezTo>
                    <a:pt x="199" y="124"/>
                    <a:pt x="199" y="124"/>
                    <a:pt x="199" y="124"/>
                  </a:cubicBezTo>
                  <a:cubicBezTo>
                    <a:pt x="160" y="124"/>
                    <a:pt x="160" y="124"/>
                    <a:pt x="160" y="124"/>
                  </a:cubicBezTo>
                  <a:lnTo>
                    <a:pt x="180" y="105"/>
                  </a:lnTo>
                  <a:close/>
                  <a:moveTo>
                    <a:pt x="21" y="74"/>
                  </a:moveTo>
                  <a:cubicBezTo>
                    <a:pt x="21" y="60"/>
                    <a:pt x="27" y="47"/>
                    <a:pt x="37" y="37"/>
                  </a:cubicBezTo>
                  <a:cubicBezTo>
                    <a:pt x="47" y="27"/>
                    <a:pt x="60" y="21"/>
                    <a:pt x="74" y="21"/>
                  </a:cubicBezTo>
                  <a:cubicBezTo>
                    <a:pt x="89" y="21"/>
                    <a:pt x="102" y="27"/>
                    <a:pt x="112" y="37"/>
                  </a:cubicBezTo>
                  <a:cubicBezTo>
                    <a:pt x="165" y="89"/>
                    <a:pt x="165" y="89"/>
                    <a:pt x="165" y="89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27" y="102"/>
                    <a:pt x="21" y="89"/>
                    <a:pt x="21" y="74"/>
                  </a:cubicBezTo>
                  <a:close/>
                  <a:moveTo>
                    <a:pt x="195" y="248"/>
                  </a:moveTo>
                  <a:cubicBezTo>
                    <a:pt x="181" y="248"/>
                    <a:pt x="167" y="243"/>
                    <a:pt x="157" y="233"/>
                  </a:cubicBezTo>
                  <a:cubicBezTo>
                    <a:pt x="155" y="231"/>
                    <a:pt x="155" y="231"/>
                    <a:pt x="155" y="231"/>
                  </a:cubicBezTo>
                  <a:cubicBezTo>
                    <a:pt x="234" y="231"/>
                    <a:pt x="234" y="231"/>
                    <a:pt x="234" y="231"/>
                  </a:cubicBezTo>
                  <a:cubicBezTo>
                    <a:pt x="234" y="231"/>
                    <a:pt x="233" y="232"/>
                    <a:pt x="233" y="233"/>
                  </a:cubicBezTo>
                  <a:cubicBezTo>
                    <a:pt x="223" y="243"/>
                    <a:pt x="209" y="248"/>
                    <a:pt x="195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329"/>
            <p:cNvSpPr>
              <a:spLocks noEditPoints="1"/>
            </p:cNvSpPr>
            <p:nvPr/>
          </p:nvSpPr>
          <p:spPr bwMode="auto">
            <a:xfrm>
              <a:off x="5029" y="11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3" name="Freeform 333"/>
          <p:cNvSpPr>
            <a:spLocks noChangeAspect="1" noEditPoints="1"/>
          </p:cNvSpPr>
          <p:nvPr/>
        </p:nvSpPr>
        <p:spPr bwMode="auto">
          <a:xfrm>
            <a:off x="7405210" y="2041530"/>
            <a:ext cx="369021" cy="369021"/>
          </a:xfrm>
          <a:custGeom>
            <a:avLst/>
            <a:gdLst>
              <a:gd name="T0" fmla="*/ 276 w 512"/>
              <a:gd name="T1" fmla="*/ 352 h 512"/>
              <a:gd name="T2" fmla="*/ 355 w 512"/>
              <a:gd name="T3" fmla="*/ 352 h 512"/>
              <a:gd name="T4" fmla="*/ 354 w 512"/>
              <a:gd name="T5" fmla="*/ 354 h 512"/>
              <a:gd name="T6" fmla="*/ 316 w 512"/>
              <a:gd name="T7" fmla="*/ 369 h 512"/>
              <a:gd name="T8" fmla="*/ 278 w 512"/>
              <a:gd name="T9" fmla="*/ 354 h 512"/>
              <a:gd name="T10" fmla="*/ 276 w 512"/>
              <a:gd name="T11" fmla="*/ 352 h 512"/>
              <a:gd name="T12" fmla="*/ 233 w 512"/>
              <a:gd name="T13" fmla="*/ 158 h 512"/>
              <a:gd name="T14" fmla="*/ 195 w 512"/>
              <a:gd name="T15" fmla="*/ 142 h 512"/>
              <a:gd name="T16" fmla="*/ 158 w 512"/>
              <a:gd name="T17" fmla="*/ 158 h 512"/>
              <a:gd name="T18" fmla="*/ 142 w 512"/>
              <a:gd name="T19" fmla="*/ 195 h 512"/>
              <a:gd name="T20" fmla="*/ 158 w 512"/>
              <a:gd name="T21" fmla="*/ 233 h 512"/>
              <a:gd name="T22" fmla="*/ 210 w 512"/>
              <a:gd name="T23" fmla="*/ 286 h 512"/>
              <a:gd name="T24" fmla="*/ 286 w 512"/>
              <a:gd name="T25" fmla="*/ 210 h 512"/>
              <a:gd name="T26" fmla="*/ 233 w 512"/>
              <a:gd name="T27" fmla="*/ 158 h 512"/>
              <a:gd name="T28" fmla="*/ 320 w 512"/>
              <a:gd name="T29" fmla="*/ 245 h 512"/>
              <a:gd name="T30" fmla="*/ 301 w 512"/>
              <a:gd name="T31" fmla="*/ 226 h 512"/>
              <a:gd name="T32" fmla="*/ 281 w 512"/>
              <a:gd name="T33" fmla="*/ 245 h 512"/>
              <a:gd name="T34" fmla="*/ 320 w 512"/>
              <a:gd name="T35" fmla="*/ 245 h 512"/>
              <a:gd name="T36" fmla="*/ 234 w 512"/>
              <a:gd name="T37" fmla="*/ 309 h 512"/>
              <a:gd name="T38" fmla="*/ 256 w 512"/>
              <a:gd name="T39" fmla="*/ 331 h 512"/>
              <a:gd name="T40" fmla="*/ 256 w 512"/>
              <a:gd name="T41" fmla="*/ 330 h 512"/>
              <a:gd name="T42" fmla="*/ 367 w 512"/>
              <a:gd name="T43" fmla="*/ 330 h 512"/>
              <a:gd name="T44" fmla="*/ 369 w 512"/>
              <a:gd name="T45" fmla="*/ 316 h 512"/>
              <a:gd name="T46" fmla="*/ 369 w 512"/>
              <a:gd name="T47" fmla="*/ 309 h 512"/>
              <a:gd name="T48" fmla="*/ 234 w 512"/>
              <a:gd name="T49" fmla="*/ 309 h 512"/>
              <a:gd name="T50" fmla="*/ 239 w 512"/>
              <a:gd name="T51" fmla="*/ 288 h 512"/>
              <a:gd name="T52" fmla="*/ 361 w 512"/>
              <a:gd name="T53" fmla="*/ 288 h 512"/>
              <a:gd name="T54" fmla="*/ 354 w 512"/>
              <a:gd name="T55" fmla="*/ 278 h 512"/>
              <a:gd name="T56" fmla="*/ 341 w 512"/>
              <a:gd name="T57" fmla="*/ 266 h 512"/>
              <a:gd name="T58" fmla="*/ 341 w 512"/>
              <a:gd name="T59" fmla="*/ 266 h 512"/>
              <a:gd name="T60" fmla="*/ 260 w 512"/>
              <a:gd name="T61" fmla="*/ 266 h 512"/>
              <a:gd name="T62" fmla="*/ 239 w 512"/>
              <a:gd name="T63" fmla="*/ 288 h 512"/>
              <a:gd name="T64" fmla="*/ 512 w 512"/>
              <a:gd name="T65" fmla="*/ 256 h 512"/>
              <a:gd name="T66" fmla="*/ 256 w 512"/>
              <a:gd name="T67" fmla="*/ 512 h 512"/>
              <a:gd name="T68" fmla="*/ 0 w 512"/>
              <a:gd name="T69" fmla="*/ 256 h 512"/>
              <a:gd name="T70" fmla="*/ 256 w 512"/>
              <a:gd name="T71" fmla="*/ 0 h 512"/>
              <a:gd name="T72" fmla="*/ 512 w 512"/>
              <a:gd name="T73" fmla="*/ 256 h 512"/>
              <a:gd name="T74" fmla="*/ 391 w 512"/>
              <a:gd name="T75" fmla="*/ 316 h 512"/>
              <a:gd name="T76" fmla="*/ 369 w 512"/>
              <a:gd name="T77" fmla="*/ 263 h 512"/>
              <a:gd name="T78" fmla="*/ 308 w 512"/>
              <a:gd name="T79" fmla="*/ 203 h 512"/>
              <a:gd name="T80" fmla="*/ 248 w 512"/>
              <a:gd name="T81" fmla="*/ 143 h 512"/>
              <a:gd name="T82" fmla="*/ 195 w 512"/>
              <a:gd name="T83" fmla="*/ 121 h 512"/>
              <a:gd name="T84" fmla="*/ 143 w 512"/>
              <a:gd name="T85" fmla="*/ 143 h 512"/>
              <a:gd name="T86" fmla="*/ 121 w 512"/>
              <a:gd name="T87" fmla="*/ 195 h 512"/>
              <a:gd name="T88" fmla="*/ 143 w 512"/>
              <a:gd name="T89" fmla="*/ 248 h 512"/>
              <a:gd name="T90" fmla="*/ 203 w 512"/>
              <a:gd name="T91" fmla="*/ 308 h 512"/>
              <a:gd name="T92" fmla="*/ 263 w 512"/>
              <a:gd name="T93" fmla="*/ 369 h 512"/>
              <a:gd name="T94" fmla="*/ 316 w 512"/>
              <a:gd name="T95" fmla="*/ 391 h 512"/>
              <a:gd name="T96" fmla="*/ 369 w 512"/>
              <a:gd name="T97" fmla="*/ 369 h 512"/>
              <a:gd name="T98" fmla="*/ 391 w 512"/>
              <a:gd name="T99" fmla="*/ 3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76" y="352"/>
                </a:moveTo>
                <a:cubicBezTo>
                  <a:pt x="355" y="352"/>
                  <a:pt x="355" y="352"/>
                  <a:pt x="355" y="352"/>
                </a:cubicBezTo>
                <a:cubicBezTo>
                  <a:pt x="355" y="352"/>
                  <a:pt x="354" y="353"/>
                  <a:pt x="354" y="354"/>
                </a:cubicBezTo>
                <a:cubicBezTo>
                  <a:pt x="344" y="364"/>
                  <a:pt x="330" y="369"/>
                  <a:pt x="316" y="369"/>
                </a:cubicBezTo>
                <a:cubicBezTo>
                  <a:pt x="302" y="369"/>
                  <a:pt x="288" y="364"/>
                  <a:pt x="278" y="354"/>
                </a:cubicBezTo>
                <a:lnTo>
                  <a:pt x="276" y="352"/>
                </a:lnTo>
                <a:close/>
                <a:moveTo>
                  <a:pt x="233" y="158"/>
                </a:moveTo>
                <a:cubicBezTo>
                  <a:pt x="223" y="148"/>
                  <a:pt x="210" y="142"/>
                  <a:pt x="195" y="142"/>
                </a:cubicBezTo>
                <a:cubicBezTo>
                  <a:pt x="181" y="142"/>
                  <a:pt x="168" y="148"/>
                  <a:pt x="158" y="158"/>
                </a:cubicBezTo>
                <a:cubicBezTo>
                  <a:pt x="148" y="168"/>
                  <a:pt x="142" y="181"/>
                  <a:pt x="142" y="195"/>
                </a:cubicBezTo>
                <a:cubicBezTo>
                  <a:pt x="142" y="210"/>
                  <a:pt x="148" y="223"/>
                  <a:pt x="158" y="233"/>
                </a:cubicBezTo>
                <a:cubicBezTo>
                  <a:pt x="210" y="286"/>
                  <a:pt x="210" y="286"/>
                  <a:pt x="210" y="286"/>
                </a:cubicBezTo>
                <a:cubicBezTo>
                  <a:pt x="286" y="210"/>
                  <a:pt x="286" y="210"/>
                  <a:pt x="286" y="210"/>
                </a:cubicBezTo>
                <a:lnTo>
                  <a:pt x="233" y="158"/>
                </a:lnTo>
                <a:close/>
                <a:moveTo>
                  <a:pt x="320" y="245"/>
                </a:moveTo>
                <a:cubicBezTo>
                  <a:pt x="301" y="226"/>
                  <a:pt x="301" y="226"/>
                  <a:pt x="301" y="226"/>
                </a:cubicBezTo>
                <a:cubicBezTo>
                  <a:pt x="281" y="245"/>
                  <a:pt x="281" y="245"/>
                  <a:pt x="281" y="245"/>
                </a:cubicBezTo>
                <a:lnTo>
                  <a:pt x="320" y="245"/>
                </a:lnTo>
                <a:close/>
                <a:moveTo>
                  <a:pt x="234" y="309"/>
                </a:moveTo>
                <a:cubicBezTo>
                  <a:pt x="256" y="331"/>
                  <a:pt x="256" y="331"/>
                  <a:pt x="256" y="331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367" y="330"/>
                  <a:pt x="367" y="330"/>
                  <a:pt x="367" y="330"/>
                </a:cubicBezTo>
                <a:cubicBezTo>
                  <a:pt x="368" y="326"/>
                  <a:pt x="369" y="321"/>
                  <a:pt x="369" y="316"/>
                </a:cubicBezTo>
                <a:cubicBezTo>
                  <a:pt x="369" y="314"/>
                  <a:pt x="369" y="311"/>
                  <a:pt x="369" y="309"/>
                </a:cubicBezTo>
                <a:lnTo>
                  <a:pt x="234" y="309"/>
                </a:lnTo>
                <a:close/>
                <a:moveTo>
                  <a:pt x="239" y="288"/>
                </a:moveTo>
                <a:cubicBezTo>
                  <a:pt x="361" y="288"/>
                  <a:pt x="361" y="288"/>
                  <a:pt x="361" y="288"/>
                </a:cubicBezTo>
                <a:cubicBezTo>
                  <a:pt x="359" y="284"/>
                  <a:pt x="357" y="281"/>
                  <a:pt x="354" y="278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260" y="266"/>
                  <a:pt x="260" y="266"/>
                  <a:pt x="260" y="266"/>
                </a:cubicBezTo>
                <a:lnTo>
                  <a:pt x="239" y="28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1" y="316"/>
                </a:moveTo>
                <a:cubicBezTo>
                  <a:pt x="391" y="296"/>
                  <a:pt x="383" y="277"/>
                  <a:pt x="369" y="263"/>
                </a:cubicBezTo>
                <a:cubicBezTo>
                  <a:pt x="308" y="203"/>
                  <a:pt x="308" y="203"/>
                  <a:pt x="308" y="203"/>
                </a:cubicBezTo>
                <a:cubicBezTo>
                  <a:pt x="248" y="143"/>
                  <a:pt x="248" y="143"/>
                  <a:pt x="248" y="143"/>
                </a:cubicBezTo>
                <a:cubicBezTo>
                  <a:pt x="234" y="128"/>
                  <a:pt x="215" y="121"/>
                  <a:pt x="195" y="121"/>
                </a:cubicBezTo>
                <a:cubicBezTo>
                  <a:pt x="175" y="121"/>
                  <a:pt x="157" y="128"/>
                  <a:pt x="143" y="143"/>
                </a:cubicBezTo>
                <a:cubicBezTo>
                  <a:pt x="128" y="157"/>
                  <a:pt x="121" y="175"/>
                  <a:pt x="121" y="195"/>
                </a:cubicBezTo>
                <a:cubicBezTo>
                  <a:pt x="121" y="215"/>
                  <a:pt x="128" y="234"/>
                  <a:pt x="143" y="248"/>
                </a:cubicBezTo>
                <a:cubicBezTo>
                  <a:pt x="203" y="308"/>
                  <a:pt x="203" y="308"/>
                  <a:pt x="203" y="308"/>
                </a:cubicBezTo>
                <a:cubicBezTo>
                  <a:pt x="263" y="369"/>
                  <a:pt x="263" y="369"/>
                  <a:pt x="263" y="369"/>
                </a:cubicBezTo>
                <a:cubicBezTo>
                  <a:pt x="277" y="383"/>
                  <a:pt x="296" y="391"/>
                  <a:pt x="316" y="391"/>
                </a:cubicBezTo>
                <a:cubicBezTo>
                  <a:pt x="336" y="391"/>
                  <a:pt x="355" y="383"/>
                  <a:pt x="369" y="369"/>
                </a:cubicBezTo>
                <a:cubicBezTo>
                  <a:pt x="383" y="355"/>
                  <a:pt x="391" y="336"/>
                  <a:pt x="391" y="3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4" name="Freeform 687"/>
          <p:cNvSpPr>
            <a:spLocks noChangeAspect="1" noEditPoints="1"/>
          </p:cNvSpPr>
          <p:nvPr/>
        </p:nvSpPr>
        <p:spPr bwMode="auto">
          <a:xfrm>
            <a:off x="8404604" y="2041526"/>
            <a:ext cx="369064" cy="367982"/>
          </a:xfrm>
          <a:custGeom>
            <a:avLst/>
            <a:gdLst>
              <a:gd name="T0" fmla="*/ 377 w 512"/>
              <a:gd name="T1" fmla="*/ 172 h 512"/>
              <a:gd name="T2" fmla="*/ 377 w 512"/>
              <a:gd name="T3" fmla="*/ 262 h 512"/>
              <a:gd name="T4" fmla="*/ 255 w 512"/>
              <a:gd name="T5" fmla="*/ 390 h 512"/>
              <a:gd name="T6" fmla="*/ 133 w 512"/>
              <a:gd name="T7" fmla="*/ 262 h 512"/>
              <a:gd name="T8" fmla="*/ 133 w 512"/>
              <a:gd name="T9" fmla="*/ 172 h 512"/>
              <a:gd name="T10" fmla="*/ 176 w 512"/>
              <a:gd name="T11" fmla="*/ 154 h 512"/>
              <a:gd name="T12" fmla="*/ 212 w 512"/>
              <a:gd name="T13" fmla="*/ 167 h 512"/>
              <a:gd name="T14" fmla="*/ 184 w 512"/>
              <a:gd name="T15" fmla="*/ 195 h 512"/>
              <a:gd name="T16" fmla="*/ 181 w 512"/>
              <a:gd name="T17" fmla="*/ 202 h 512"/>
              <a:gd name="T18" fmla="*/ 184 w 512"/>
              <a:gd name="T19" fmla="*/ 210 h 512"/>
              <a:gd name="T20" fmla="*/ 225 w 512"/>
              <a:gd name="T21" fmla="*/ 250 h 512"/>
              <a:gd name="T22" fmla="*/ 211 w 512"/>
              <a:gd name="T23" fmla="*/ 264 h 512"/>
              <a:gd name="T24" fmla="*/ 211 w 512"/>
              <a:gd name="T25" fmla="*/ 279 h 512"/>
              <a:gd name="T26" fmla="*/ 259 w 512"/>
              <a:gd name="T27" fmla="*/ 327 h 512"/>
              <a:gd name="T28" fmla="*/ 272 w 512"/>
              <a:gd name="T29" fmla="*/ 329 h 512"/>
              <a:gd name="T30" fmla="*/ 277 w 512"/>
              <a:gd name="T31" fmla="*/ 317 h 512"/>
              <a:gd name="T32" fmla="*/ 267 w 512"/>
              <a:gd name="T33" fmla="*/ 280 h 512"/>
              <a:gd name="T34" fmla="*/ 295 w 512"/>
              <a:gd name="T35" fmla="*/ 253 h 512"/>
              <a:gd name="T36" fmla="*/ 295 w 512"/>
              <a:gd name="T37" fmla="*/ 237 h 512"/>
              <a:gd name="T38" fmla="*/ 271 w 512"/>
              <a:gd name="T39" fmla="*/ 213 h 512"/>
              <a:gd name="T40" fmla="*/ 306 w 512"/>
              <a:gd name="T41" fmla="*/ 178 h 512"/>
              <a:gd name="T42" fmla="*/ 306 w 512"/>
              <a:gd name="T43" fmla="*/ 163 h 512"/>
              <a:gd name="T44" fmla="*/ 305 w 512"/>
              <a:gd name="T45" fmla="*/ 162 h 512"/>
              <a:gd name="T46" fmla="*/ 377 w 512"/>
              <a:gd name="T47" fmla="*/ 172 h 512"/>
              <a:gd name="T48" fmla="*/ 512 w 512"/>
              <a:gd name="T49" fmla="*/ 256 h 512"/>
              <a:gd name="T50" fmla="*/ 256 w 512"/>
              <a:gd name="T51" fmla="*/ 512 h 512"/>
              <a:gd name="T52" fmla="*/ 0 w 512"/>
              <a:gd name="T53" fmla="*/ 256 h 512"/>
              <a:gd name="T54" fmla="*/ 256 w 512"/>
              <a:gd name="T55" fmla="*/ 0 h 512"/>
              <a:gd name="T56" fmla="*/ 512 w 512"/>
              <a:gd name="T57" fmla="*/ 256 h 512"/>
              <a:gd name="T58" fmla="*/ 392 w 512"/>
              <a:gd name="T59" fmla="*/ 157 h 512"/>
              <a:gd name="T60" fmla="*/ 281 w 512"/>
              <a:gd name="T61" fmla="*/ 152 h 512"/>
              <a:gd name="T62" fmla="*/ 278 w 512"/>
              <a:gd name="T63" fmla="*/ 160 h 512"/>
              <a:gd name="T64" fmla="*/ 281 w 512"/>
              <a:gd name="T65" fmla="*/ 168 h 512"/>
              <a:gd name="T66" fmla="*/ 283 w 512"/>
              <a:gd name="T67" fmla="*/ 170 h 512"/>
              <a:gd name="T68" fmla="*/ 248 w 512"/>
              <a:gd name="T69" fmla="*/ 205 h 512"/>
              <a:gd name="T70" fmla="*/ 248 w 512"/>
              <a:gd name="T71" fmla="*/ 221 h 512"/>
              <a:gd name="T72" fmla="*/ 273 w 512"/>
              <a:gd name="T73" fmla="*/ 245 h 512"/>
              <a:gd name="T74" fmla="*/ 248 w 512"/>
              <a:gd name="T75" fmla="*/ 269 h 512"/>
              <a:gd name="T76" fmla="*/ 245 w 512"/>
              <a:gd name="T77" fmla="*/ 280 h 512"/>
              <a:gd name="T78" fmla="*/ 247 w 512"/>
              <a:gd name="T79" fmla="*/ 285 h 512"/>
              <a:gd name="T80" fmla="*/ 233 w 512"/>
              <a:gd name="T81" fmla="*/ 272 h 512"/>
              <a:gd name="T82" fmla="*/ 247 w 512"/>
              <a:gd name="T83" fmla="*/ 258 h 512"/>
              <a:gd name="T84" fmla="*/ 247 w 512"/>
              <a:gd name="T85" fmla="*/ 243 h 512"/>
              <a:gd name="T86" fmla="*/ 207 w 512"/>
              <a:gd name="T87" fmla="*/ 202 h 512"/>
              <a:gd name="T88" fmla="*/ 235 w 512"/>
              <a:gd name="T89" fmla="*/ 174 h 512"/>
              <a:gd name="T90" fmla="*/ 235 w 512"/>
              <a:gd name="T91" fmla="*/ 159 h 512"/>
              <a:gd name="T92" fmla="*/ 234 w 512"/>
              <a:gd name="T93" fmla="*/ 157 h 512"/>
              <a:gd name="T94" fmla="*/ 176 w 512"/>
              <a:gd name="T95" fmla="*/ 132 h 512"/>
              <a:gd name="T96" fmla="*/ 118 w 512"/>
              <a:gd name="T97" fmla="*/ 157 h 512"/>
              <a:gd name="T98" fmla="*/ 118 w 512"/>
              <a:gd name="T99" fmla="*/ 277 h 512"/>
              <a:gd name="T100" fmla="*/ 246 w 512"/>
              <a:gd name="T101" fmla="*/ 412 h 512"/>
              <a:gd name="T102" fmla="*/ 254 w 512"/>
              <a:gd name="T103" fmla="*/ 416 h 512"/>
              <a:gd name="T104" fmla="*/ 256 w 512"/>
              <a:gd name="T105" fmla="*/ 416 h 512"/>
              <a:gd name="T106" fmla="*/ 263 w 512"/>
              <a:gd name="T107" fmla="*/ 412 h 512"/>
              <a:gd name="T108" fmla="*/ 392 w 512"/>
              <a:gd name="T109" fmla="*/ 277 h 512"/>
              <a:gd name="T110" fmla="*/ 392 w 512"/>
              <a:gd name="T111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77" y="172"/>
                </a:moveTo>
                <a:cubicBezTo>
                  <a:pt x="400" y="197"/>
                  <a:pt x="400" y="237"/>
                  <a:pt x="377" y="262"/>
                </a:cubicBezTo>
                <a:cubicBezTo>
                  <a:pt x="255" y="390"/>
                  <a:pt x="255" y="390"/>
                  <a:pt x="255" y="390"/>
                </a:cubicBezTo>
                <a:cubicBezTo>
                  <a:pt x="133" y="262"/>
                  <a:pt x="133" y="262"/>
                  <a:pt x="133" y="262"/>
                </a:cubicBezTo>
                <a:cubicBezTo>
                  <a:pt x="109" y="237"/>
                  <a:pt x="109" y="197"/>
                  <a:pt x="133" y="172"/>
                </a:cubicBezTo>
                <a:cubicBezTo>
                  <a:pt x="145" y="160"/>
                  <a:pt x="160" y="154"/>
                  <a:pt x="176" y="154"/>
                </a:cubicBezTo>
                <a:cubicBezTo>
                  <a:pt x="189" y="154"/>
                  <a:pt x="202" y="158"/>
                  <a:pt x="212" y="167"/>
                </a:cubicBezTo>
                <a:cubicBezTo>
                  <a:pt x="184" y="195"/>
                  <a:pt x="184" y="195"/>
                  <a:pt x="184" y="195"/>
                </a:cubicBezTo>
                <a:cubicBezTo>
                  <a:pt x="182" y="197"/>
                  <a:pt x="181" y="199"/>
                  <a:pt x="181" y="202"/>
                </a:cubicBezTo>
                <a:cubicBezTo>
                  <a:pt x="181" y="205"/>
                  <a:pt x="182" y="208"/>
                  <a:pt x="184" y="210"/>
                </a:cubicBezTo>
                <a:cubicBezTo>
                  <a:pt x="225" y="250"/>
                  <a:pt x="225" y="250"/>
                  <a:pt x="225" y="250"/>
                </a:cubicBezTo>
                <a:cubicBezTo>
                  <a:pt x="211" y="264"/>
                  <a:pt x="211" y="264"/>
                  <a:pt x="211" y="264"/>
                </a:cubicBezTo>
                <a:cubicBezTo>
                  <a:pt x="207" y="268"/>
                  <a:pt x="207" y="275"/>
                  <a:pt x="211" y="279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62" y="331"/>
                  <a:pt x="267" y="331"/>
                  <a:pt x="272" y="329"/>
                </a:cubicBezTo>
                <a:cubicBezTo>
                  <a:pt x="276" y="327"/>
                  <a:pt x="278" y="322"/>
                  <a:pt x="277" y="317"/>
                </a:cubicBezTo>
                <a:cubicBezTo>
                  <a:pt x="267" y="280"/>
                  <a:pt x="267" y="280"/>
                  <a:pt x="267" y="280"/>
                </a:cubicBezTo>
                <a:cubicBezTo>
                  <a:pt x="295" y="253"/>
                  <a:pt x="295" y="253"/>
                  <a:pt x="295" y="253"/>
                </a:cubicBezTo>
                <a:cubicBezTo>
                  <a:pt x="299" y="248"/>
                  <a:pt x="299" y="242"/>
                  <a:pt x="295" y="237"/>
                </a:cubicBezTo>
                <a:cubicBezTo>
                  <a:pt x="271" y="213"/>
                  <a:pt x="271" y="213"/>
                  <a:pt x="271" y="213"/>
                </a:cubicBezTo>
                <a:cubicBezTo>
                  <a:pt x="306" y="178"/>
                  <a:pt x="306" y="178"/>
                  <a:pt x="306" y="178"/>
                </a:cubicBezTo>
                <a:cubicBezTo>
                  <a:pt x="310" y="174"/>
                  <a:pt x="310" y="167"/>
                  <a:pt x="306" y="163"/>
                </a:cubicBezTo>
                <a:cubicBezTo>
                  <a:pt x="305" y="162"/>
                  <a:pt x="305" y="162"/>
                  <a:pt x="305" y="162"/>
                </a:cubicBezTo>
                <a:cubicBezTo>
                  <a:pt x="328" y="148"/>
                  <a:pt x="357" y="152"/>
                  <a:pt x="377" y="17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2" y="157"/>
                </a:moveTo>
                <a:cubicBezTo>
                  <a:pt x="362" y="126"/>
                  <a:pt x="314" y="124"/>
                  <a:pt x="281" y="152"/>
                </a:cubicBezTo>
                <a:cubicBezTo>
                  <a:pt x="279" y="154"/>
                  <a:pt x="278" y="157"/>
                  <a:pt x="278" y="160"/>
                </a:cubicBezTo>
                <a:cubicBezTo>
                  <a:pt x="278" y="163"/>
                  <a:pt x="279" y="166"/>
                  <a:pt x="281" y="168"/>
                </a:cubicBezTo>
                <a:cubicBezTo>
                  <a:pt x="283" y="170"/>
                  <a:pt x="283" y="170"/>
                  <a:pt x="283" y="170"/>
                </a:cubicBezTo>
                <a:cubicBezTo>
                  <a:pt x="248" y="205"/>
                  <a:pt x="248" y="205"/>
                  <a:pt x="248" y="205"/>
                </a:cubicBezTo>
                <a:cubicBezTo>
                  <a:pt x="244" y="210"/>
                  <a:pt x="244" y="216"/>
                  <a:pt x="248" y="221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69"/>
                  <a:pt x="248" y="269"/>
                  <a:pt x="248" y="269"/>
                </a:cubicBezTo>
                <a:cubicBezTo>
                  <a:pt x="245" y="272"/>
                  <a:pt x="244" y="276"/>
                  <a:pt x="245" y="280"/>
                </a:cubicBezTo>
                <a:cubicBezTo>
                  <a:pt x="247" y="285"/>
                  <a:pt x="247" y="285"/>
                  <a:pt x="247" y="285"/>
                </a:cubicBezTo>
                <a:cubicBezTo>
                  <a:pt x="233" y="272"/>
                  <a:pt x="233" y="272"/>
                  <a:pt x="233" y="272"/>
                </a:cubicBezTo>
                <a:cubicBezTo>
                  <a:pt x="247" y="258"/>
                  <a:pt x="247" y="258"/>
                  <a:pt x="247" y="258"/>
                </a:cubicBezTo>
                <a:cubicBezTo>
                  <a:pt x="251" y="254"/>
                  <a:pt x="251" y="247"/>
                  <a:pt x="247" y="243"/>
                </a:cubicBezTo>
                <a:cubicBezTo>
                  <a:pt x="207" y="202"/>
                  <a:pt x="207" y="202"/>
                  <a:pt x="207" y="202"/>
                </a:cubicBezTo>
                <a:cubicBezTo>
                  <a:pt x="235" y="174"/>
                  <a:pt x="235" y="174"/>
                  <a:pt x="235" y="174"/>
                </a:cubicBezTo>
                <a:cubicBezTo>
                  <a:pt x="239" y="170"/>
                  <a:pt x="239" y="163"/>
                  <a:pt x="235" y="159"/>
                </a:cubicBezTo>
                <a:cubicBezTo>
                  <a:pt x="234" y="157"/>
                  <a:pt x="234" y="157"/>
                  <a:pt x="234" y="157"/>
                </a:cubicBezTo>
                <a:cubicBezTo>
                  <a:pt x="218" y="141"/>
                  <a:pt x="198" y="132"/>
                  <a:pt x="176" y="132"/>
                </a:cubicBezTo>
                <a:cubicBezTo>
                  <a:pt x="154" y="132"/>
                  <a:pt x="133" y="141"/>
                  <a:pt x="118" y="157"/>
                </a:cubicBezTo>
                <a:cubicBezTo>
                  <a:pt x="86" y="190"/>
                  <a:pt x="86" y="244"/>
                  <a:pt x="118" y="277"/>
                </a:cubicBezTo>
                <a:cubicBezTo>
                  <a:pt x="246" y="412"/>
                  <a:pt x="246" y="412"/>
                  <a:pt x="246" y="412"/>
                </a:cubicBezTo>
                <a:cubicBezTo>
                  <a:pt x="248" y="414"/>
                  <a:pt x="251" y="416"/>
                  <a:pt x="254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9" y="416"/>
                  <a:pt x="261" y="414"/>
                  <a:pt x="263" y="412"/>
                </a:cubicBezTo>
                <a:cubicBezTo>
                  <a:pt x="392" y="277"/>
                  <a:pt x="392" y="277"/>
                  <a:pt x="392" y="277"/>
                </a:cubicBezTo>
                <a:cubicBezTo>
                  <a:pt x="424" y="244"/>
                  <a:pt x="424" y="190"/>
                  <a:pt x="392" y="15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5" name="Group 690"/>
          <p:cNvGrpSpPr>
            <a:grpSpLocks noChangeAspect="1"/>
          </p:cNvGrpSpPr>
          <p:nvPr/>
        </p:nvGrpSpPr>
        <p:grpSpPr bwMode="auto">
          <a:xfrm>
            <a:off x="8904344" y="2041526"/>
            <a:ext cx="367982" cy="367982"/>
            <a:chOff x="3494" y="2985"/>
            <a:chExt cx="340" cy="340"/>
          </a:xfrm>
          <a:solidFill>
            <a:schemeClr val="accent2"/>
          </a:solidFill>
        </p:grpSpPr>
        <p:sp>
          <p:nvSpPr>
            <p:cNvPr id="296" name="Freeform 691"/>
            <p:cNvSpPr>
              <a:spLocks noEditPoints="1"/>
            </p:cNvSpPr>
            <p:nvPr/>
          </p:nvSpPr>
          <p:spPr bwMode="auto">
            <a:xfrm>
              <a:off x="3494" y="29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692"/>
            <p:cNvSpPr>
              <a:spLocks noEditPoints="1"/>
            </p:cNvSpPr>
            <p:nvPr/>
          </p:nvSpPr>
          <p:spPr bwMode="auto">
            <a:xfrm>
              <a:off x="3551" y="3067"/>
              <a:ext cx="225" cy="194"/>
            </a:xfrm>
            <a:custGeom>
              <a:avLst/>
              <a:gdLst>
                <a:gd name="T0" fmla="*/ 170 w 338"/>
                <a:gd name="T1" fmla="*/ 292 h 292"/>
                <a:gd name="T2" fmla="*/ 168 w 338"/>
                <a:gd name="T3" fmla="*/ 292 h 292"/>
                <a:gd name="T4" fmla="*/ 160 w 338"/>
                <a:gd name="T5" fmla="*/ 288 h 292"/>
                <a:gd name="T6" fmla="*/ 32 w 338"/>
                <a:gd name="T7" fmla="*/ 153 h 292"/>
                <a:gd name="T8" fmla="*/ 32 w 338"/>
                <a:gd name="T9" fmla="*/ 33 h 292"/>
                <a:gd name="T10" fmla="*/ 90 w 338"/>
                <a:gd name="T11" fmla="*/ 8 h 292"/>
                <a:gd name="T12" fmla="*/ 148 w 338"/>
                <a:gd name="T13" fmla="*/ 33 h 292"/>
                <a:gd name="T14" fmla="*/ 149 w 338"/>
                <a:gd name="T15" fmla="*/ 35 h 292"/>
                <a:gd name="T16" fmla="*/ 149 w 338"/>
                <a:gd name="T17" fmla="*/ 50 h 292"/>
                <a:gd name="T18" fmla="*/ 121 w 338"/>
                <a:gd name="T19" fmla="*/ 78 h 292"/>
                <a:gd name="T20" fmla="*/ 161 w 338"/>
                <a:gd name="T21" fmla="*/ 119 h 292"/>
                <a:gd name="T22" fmla="*/ 161 w 338"/>
                <a:gd name="T23" fmla="*/ 134 h 292"/>
                <a:gd name="T24" fmla="*/ 147 w 338"/>
                <a:gd name="T25" fmla="*/ 148 h 292"/>
                <a:gd name="T26" fmla="*/ 161 w 338"/>
                <a:gd name="T27" fmla="*/ 161 h 292"/>
                <a:gd name="T28" fmla="*/ 159 w 338"/>
                <a:gd name="T29" fmla="*/ 156 h 292"/>
                <a:gd name="T30" fmla="*/ 162 w 338"/>
                <a:gd name="T31" fmla="*/ 145 h 292"/>
                <a:gd name="T32" fmla="*/ 187 w 338"/>
                <a:gd name="T33" fmla="*/ 121 h 292"/>
                <a:gd name="T34" fmla="*/ 162 w 338"/>
                <a:gd name="T35" fmla="*/ 97 h 292"/>
                <a:gd name="T36" fmla="*/ 162 w 338"/>
                <a:gd name="T37" fmla="*/ 81 h 292"/>
                <a:gd name="T38" fmla="*/ 197 w 338"/>
                <a:gd name="T39" fmla="*/ 46 h 292"/>
                <a:gd name="T40" fmla="*/ 195 w 338"/>
                <a:gd name="T41" fmla="*/ 44 h 292"/>
                <a:gd name="T42" fmla="*/ 192 w 338"/>
                <a:gd name="T43" fmla="*/ 36 h 292"/>
                <a:gd name="T44" fmla="*/ 195 w 338"/>
                <a:gd name="T45" fmla="*/ 28 h 292"/>
                <a:gd name="T46" fmla="*/ 306 w 338"/>
                <a:gd name="T47" fmla="*/ 33 h 292"/>
                <a:gd name="T48" fmla="*/ 306 w 338"/>
                <a:gd name="T49" fmla="*/ 33 h 292"/>
                <a:gd name="T50" fmla="*/ 306 w 338"/>
                <a:gd name="T51" fmla="*/ 153 h 292"/>
                <a:gd name="T52" fmla="*/ 177 w 338"/>
                <a:gd name="T53" fmla="*/ 288 h 292"/>
                <a:gd name="T54" fmla="*/ 170 w 338"/>
                <a:gd name="T55" fmla="*/ 292 h 292"/>
                <a:gd name="T56" fmla="*/ 90 w 338"/>
                <a:gd name="T57" fmla="*/ 30 h 292"/>
                <a:gd name="T58" fmla="*/ 47 w 338"/>
                <a:gd name="T59" fmla="*/ 48 h 292"/>
                <a:gd name="T60" fmla="*/ 47 w 338"/>
                <a:gd name="T61" fmla="*/ 138 h 292"/>
                <a:gd name="T62" fmla="*/ 169 w 338"/>
                <a:gd name="T63" fmla="*/ 266 h 292"/>
                <a:gd name="T64" fmla="*/ 291 w 338"/>
                <a:gd name="T65" fmla="*/ 138 h 292"/>
                <a:gd name="T66" fmla="*/ 291 w 338"/>
                <a:gd name="T67" fmla="*/ 48 h 292"/>
                <a:gd name="T68" fmla="*/ 291 w 338"/>
                <a:gd name="T69" fmla="*/ 48 h 292"/>
                <a:gd name="T70" fmla="*/ 219 w 338"/>
                <a:gd name="T71" fmla="*/ 38 h 292"/>
                <a:gd name="T72" fmla="*/ 220 w 338"/>
                <a:gd name="T73" fmla="*/ 39 h 292"/>
                <a:gd name="T74" fmla="*/ 220 w 338"/>
                <a:gd name="T75" fmla="*/ 54 h 292"/>
                <a:gd name="T76" fmla="*/ 185 w 338"/>
                <a:gd name="T77" fmla="*/ 89 h 292"/>
                <a:gd name="T78" fmla="*/ 209 w 338"/>
                <a:gd name="T79" fmla="*/ 113 h 292"/>
                <a:gd name="T80" fmla="*/ 209 w 338"/>
                <a:gd name="T81" fmla="*/ 129 h 292"/>
                <a:gd name="T82" fmla="*/ 181 w 338"/>
                <a:gd name="T83" fmla="*/ 156 h 292"/>
                <a:gd name="T84" fmla="*/ 191 w 338"/>
                <a:gd name="T85" fmla="*/ 193 h 292"/>
                <a:gd name="T86" fmla="*/ 186 w 338"/>
                <a:gd name="T87" fmla="*/ 205 h 292"/>
                <a:gd name="T88" fmla="*/ 173 w 338"/>
                <a:gd name="T89" fmla="*/ 203 h 292"/>
                <a:gd name="T90" fmla="*/ 125 w 338"/>
                <a:gd name="T91" fmla="*/ 155 h 292"/>
                <a:gd name="T92" fmla="*/ 125 w 338"/>
                <a:gd name="T93" fmla="*/ 140 h 292"/>
                <a:gd name="T94" fmla="*/ 139 w 338"/>
                <a:gd name="T95" fmla="*/ 126 h 292"/>
                <a:gd name="T96" fmla="*/ 98 w 338"/>
                <a:gd name="T97" fmla="*/ 86 h 292"/>
                <a:gd name="T98" fmla="*/ 95 w 338"/>
                <a:gd name="T99" fmla="*/ 78 h 292"/>
                <a:gd name="T100" fmla="*/ 98 w 338"/>
                <a:gd name="T101" fmla="*/ 71 h 292"/>
                <a:gd name="T102" fmla="*/ 126 w 338"/>
                <a:gd name="T103" fmla="*/ 43 h 292"/>
                <a:gd name="T104" fmla="*/ 90 w 338"/>
                <a:gd name="T105" fmla="*/ 3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8" h="292">
                  <a:moveTo>
                    <a:pt x="170" y="292"/>
                  </a:moveTo>
                  <a:cubicBezTo>
                    <a:pt x="168" y="292"/>
                    <a:pt x="168" y="292"/>
                    <a:pt x="168" y="292"/>
                  </a:cubicBezTo>
                  <a:cubicBezTo>
                    <a:pt x="165" y="292"/>
                    <a:pt x="162" y="290"/>
                    <a:pt x="160" y="288"/>
                  </a:cubicBezTo>
                  <a:cubicBezTo>
                    <a:pt x="32" y="153"/>
                    <a:pt x="32" y="153"/>
                    <a:pt x="32" y="153"/>
                  </a:cubicBezTo>
                  <a:cubicBezTo>
                    <a:pt x="0" y="120"/>
                    <a:pt x="0" y="66"/>
                    <a:pt x="32" y="33"/>
                  </a:cubicBezTo>
                  <a:cubicBezTo>
                    <a:pt x="47" y="17"/>
                    <a:pt x="68" y="8"/>
                    <a:pt x="90" y="8"/>
                  </a:cubicBezTo>
                  <a:cubicBezTo>
                    <a:pt x="112" y="8"/>
                    <a:pt x="132" y="17"/>
                    <a:pt x="148" y="33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53" y="39"/>
                    <a:pt x="153" y="46"/>
                    <a:pt x="149" y="50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5" y="123"/>
                    <a:pt x="165" y="130"/>
                    <a:pt x="161" y="134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61" y="161"/>
                    <a:pt x="161" y="161"/>
                    <a:pt x="161" y="161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58" y="152"/>
                    <a:pt x="159" y="148"/>
                    <a:pt x="162" y="145"/>
                  </a:cubicBezTo>
                  <a:cubicBezTo>
                    <a:pt x="187" y="121"/>
                    <a:pt x="187" y="121"/>
                    <a:pt x="187" y="121"/>
                  </a:cubicBezTo>
                  <a:cubicBezTo>
                    <a:pt x="162" y="97"/>
                    <a:pt x="162" y="97"/>
                    <a:pt x="162" y="97"/>
                  </a:cubicBezTo>
                  <a:cubicBezTo>
                    <a:pt x="158" y="92"/>
                    <a:pt x="158" y="86"/>
                    <a:pt x="162" y="81"/>
                  </a:cubicBezTo>
                  <a:cubicBezTo>
                    <a:pt x="197" y="46"/>
                    <a:pt x="197" y="46"/>
                    <a:pt x="197" y="46"/>
                  </a:cubicBezTo>
                  <a:cubicBezTo>
                    <a:pt x="195" y="44"/>
                    <a:pt x="195" y="44"/>
                    <a:pt x="195" y="44"/>
                  </a:cubicBezTo>
                  <a:cubicBezTo>
                    <a:pt x="193" y="42"/>
                    <a:pt x="192" y="39"/>
                    <a:pt x="192" y="36"/>
                  </a:cubicBezTo>
                  <a:cubicBezTo>
                    <a:pt x="192" y="33"/>
                    <a:pt x="193" y="30"/>
                    <a:pt x="195" y="28"/>
                  </a:cubicBezTo>
                  <a:cubicBezTo>
                    <a:pt x="228" y="0"/>
                    <a:pt x="276" y="2"/>
                    <a:pt x="306" y="33"/>
                  </a:cubicBezTo>
                  <a:cubicBezTo>
                    <a:pt x="306" y="33"/>
                    <a:pt x="306" y="33"/>
                    <a:pt x="306" y="33"/>
                  </a:cubicBezTo>
                  <a:cubicBezTo>
                    <a:pt x="338" y="66"/>
                    <a:pt x="338" y="120"/>
                    <a:pt x="306" y="153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175" y="290"/>
                    <a:pt x="173" y="292"/>
                    <a:pt x="170" y="292"/>
                  </a:cubicBezTo>
                  <a:close/>
                  <a:moveTo>
                    <a:pt x="90" y="30"/>
                  </a:moveTo>
                  <a:cubicBezTo>
                    <a:pt x="74" y="30"/>
                    <a:pt x="59" y="36"/>
                    <a:pt x="47" y="48"/>
                  </a:cubicBezTo>
                  <a:cubicBezTo>
                    <a:pt x="23" y="73"/>
                    <a:pt x="23" y="113"/>
                    <a:pt x="47" y="138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291" y="138"/>
                    <a:pt x="291" y="138"/>
                    <a:pt x="291" y="138"/>
                  </a:cubicBezTo>
                  <a:cubicBezTo>
                    <a:pt x="314" y="113"/>
                    <a:pt x="314" y="73"/>
                    <a:pt x="291" y="48"/>
                  </a:cubicBezTo>
                  <a:cubicBezTo>
                    <a:pt x="291" y="48"/>
                    <a:pt x="291" y="48"/>
                    <a:pt x="291" y="48"/>
                  </a:cubicBezTo>
                  <a:cubicBezTo>
                    <a:pt x="271" y="28"/>
                    <a:pt x="242" y="24"/>
                    <a:pt x="219" y="38"/>
                  </a:cubicBezTo>
                  <a:cubicBezTo>
                    <a:pt x="220" y="39"/>
                    <a:pt x="220" y="39"/>
                    <a:pt x="220" y="39"/>
                  </a:cubicBezTo>
                  <a:cubicBezTo>
                    <a:pt x="224" y="43"/>
                    <a:pt x="224" y="50"/>
                    <a:pt x="220" y="54"/>
                  </a:cubicBezTo>
                  <a:cubicBezTo>
                    <a:pt x="185" y="89"/>
                    <a:pt x="185" y="89"/>
                    <a:pt x="185" y="89"/>
                  </a:cubicBezTo>
                  <a:cubicBezTo>
                    <a:pt x="209" y="113"/>
                    <a:pt x="209" y="113"/>
                    <a:pt x="209" y="113"/>
                  </a:cubicBezTo>
                  <a:cubicBezTo>
                    <a:pt x="213" y="118"/>
                    <a:pt x="213" y="124"/>
                    <a:pt x="209" y="129"/>
                  </a:cubicBezTo>
                  <a:cubicBezTo>
                    <a:pt x="181" y="156"/>
                    <a:pt x="181" y="156"/>
                    <a:pt x="181" y="156"/>
                  </a:cubicBezTo>
                  <a:cubicBezTo>
                    <a:pt x="191" y="193"/>
                    <a:pt x="191" y="193"/>
                    <a:pt x="191" y="193"/>
                  </a:cubicBezTo>
                  <a:cubicBezTo>
                    <a:pt x="192" y="198"/>
                    <a:pt x="190" y="203"/>
                    <a:pt x="186" y="205"/>
                  </a:cubicBezTo>
                  <a:cubicBezTo>
                    <a:pt x="181" y="207"/>
                    <a:pt x="176" y="207"/>
                    <a:pt x="173" y="203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21" y="151"/>
                    <a:pt x="121" y="144"/>
                    <a:pt x="125" y="140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98" y="86"/>
                    <a:pt x="98" y="86"/>
                    <a:pt x="98" y="86"/>
                  </a:cubicBezTo>
                  <a:cubicBezTo>
                    <a:pt x="96" y="84"/>
                    <a:pt x="95" y="81"/>
                    <a:pt x="95" y="78"/>
                  </a:cubicBezTo>
                  <a:cubicBezTo>
                    <a:pt x="95" y="75"/>
                    <a:pt x="96" y="73"/>
                    <a:pt x="98" y="71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16" y="34"/>
                    <a:pt x="103" y="30"/>
                    <a:pt x="9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8" name="Group 396"/>
          <p:cNvGrpSpPr>
            <a:grpSpLocks noChangeAspect="1"/>
          </p:cNvGrpSpPr>
          <p:nvPr/>
        </p:nvGrpSpPr>
        <p:grpSpPr bwMode="auto">
          <a:xfrm>
            <a:off x="1914035" y="2916610"/>
            <a:ext cx="369676" cy="369676"/>
            <a:chOff x="6602" y="1516"/>
            <a:chExt cx="340" cy="340"/>
          </a:xfrm>
          <a:solidFill>
            <a:schemeClr val="accent5"/>
          </a:solidFill>
        </p:grpSpPr>
        <p:sp>
          <p:nvSpPr>
            <p:cNvPr id="299" name="Freeform 397"/>
            <p:cNvSpPr>
              <a:spLocks noEditPoints="1"/>
            </p:cNvSpPr>
            <p:nvPr/>
          </p:nvSpPr>
          <p:spPr bwMode="auto">
            <a:xfrm>
              <a:off x="6602" y="151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398"/>
            <p:cNvSpPr>
              <a:spLocks noEditPoints="1"/>
            </p:cNvSpPr>
            <p:nvPr/>
          </p:nvSpPr>
          <p:spPr bwMode="auto">
            <a:xfrm>
              <a:off x="6663" y="1579"/>
              <a:ext cx="216" cy="213"/>
            </a:xfrm>
            <a:custGeom>
              <a:avLst/>
              <a:gdLst>
                <a:gd name="T0" fmla="*/ 205 w 325"/>
                <a:gd name="T1" fmla="*/ 79 h 321"/>
                <a:gd name="T2" fmla="*/ 212 w 325"/>
                <a:gd name="T3" fmla="*/ 82 h 321"/>
                <a:gd name="T4" fmla="*/ 220 w 325"/>
                <a:gd name="T5" fmla="*/ 79 h 321"/>
                <a:gd name="T6" fmla="*/ 220 w 325"/>
                <a:gd name="T7" fmla="*/ 64 h 321"/>
                <a:gd name="T8" fmla="*/ 159 w 325"/>
                <a:gd name="T9" fmla="*/ 4 h 321"/>
                <a:gd name="T10" fmla="*/ 144 w 325"/>
                <a:gd name="T11" fmla="*/ 4 h 321"/>
                <a:gd name="T12" fmla="*/ 144 w 325"/>
                <a:gd name="T13" fmla="*/ 19 h 321"/>
                <a:gd name="T14" fmla="*/ 16 w 325"/>
                <a:gd name="T15" fmla="*/ 147 h 321"/>
                <a:gd name="T16" fmla="*/ 16 w 325"/>
                <a:gd name="T17" fmla="*/ 207 h 321"/>
                <a:gd name="T18" fmla="*/ 46 w 325"/>
                <a:gd name="T19" fmla="*/ 220 h 321"/>
                <a:gd name="T20" fmla="*/ 76 w 325"/>
                <a:gd name="T21" fmla="*/ 207 h 321"/>
                <a:gd name="T22" fmla="*/ 205 w 325"/>
                <a:gd name="T23" fmla="*/ 79 h 321"/>
                <a:gd name="T24" fmla="*/ 61 w 325"/>
                <a:gd name="T25" fmla="*/ 192 h 321"/>
                <a:gd name="T26" fmla="*/ 31 w 325"/>
                <a:gd name="T27" fmla="*/ 192 h 321"/>
                <a:gd name="T28" fmla="*/ 25 w 325"/>
                <a:gd name="T29" fmla="*/ 177 h 321"/>
                <a:gd name="T30" fmla="*/ 31 w 325"/>
                <a:gd name="T31" fmla="*/ 162 h 321"/>
                <a:gd name="T32" fmla="*/ 86 w 325"/>
                <a:gd name="T33" fmla="*/ 107 h 321"/>
                <a:gd name="T34" fmla="*/ 146 w 325"/>
                <a:gd name="T35" fmla="*/ 107 h 321"/>
                <a:gd name="T36" fmla="*/ 61 w 325"/>
                <a:gd name="T37" fmla="*/ 192 h 321"/>
                <a:gd name="T38" fmla="*/ 168 w 325"/>
                <a:gd name="T39" fmla="*/ 86 h 321"/>
                <a:gd name="T40" fmla="*/ 107 w 325"/>
                <a:gd name="T41" fmla="*/ 86 h 321"/>
                <a:gd name="T42" fmla="*/ 159 w 325"/>
                <a:gd name="T43" fmla="*/ 34 h 321"/>
                <a:gd name="T44" fmla="*/ 190 w 325"/>
                <a:gd name="T45" fmla="*/ 64 h 321"/>
                <a:gd name="T46" fmla="*/ 168 w 325"/>
                <a:gd name="T47" fmla="*/ 86 h 321"/>
                <a:gd name="T48" fmla="*/ 321 w 325"/>
                <a:gd name="T49" fmla="*/ 165 h 321"/>
                <a:gd name="T50" fmla="*/ 260 w 325"/>
                <a:gd name="T51" fmla="*/ 105 h 321"/>
                <a:gd name="T52" fmla="*/ 245 w 325"/>
                <a:gd name="T53" fmla="*/ 105 h 321"/>
                <a:gd name="T54" fmla="*/ 245 w 325"/>
                <a:gd name="T55" fmla="*/ 120 h 321"/>
                <a:gd name="T56" fmla="*/ 245 w 325"/>
                <a:gd name="T57" fmla="*/ 120 h 321"/>
                <a:gd name="T58" fmla="*/ 117 w 325"/>
                <a:gd name="T59" fmla="*/ 248 h 321"/>
                <a:gd name="T60" fmla="*/ 104 w 325"/>
                <a:gd name="T61" fmla="*/ 278 h 321"/>
                <a:gd name="T62" fmla="*/ 117 w 325"/>
                <a:gd name="T63" fmla="*/ 308 h 321"/>
                <a:gd name="T64" fmla="*/ 147 w 325"/>
                <a:gd name="T65" fmla="*/ 321 h 321"/>
                <a:gd name="T66" fmla="*/ 177 w 325"/>
                <a:gd name="T67" fmla="*/ 308 h 321"/>
                <a:gd name="T68" fmla="*/ 305 w 325"/>
                <a:gd name="T69" fmla="*/ 180 h 321"/>
                <a:gd name="T70" fmla="*/ 305 w 325"/>
                <a:gd name="T71" fmla="*/ 180 h 321"/>
                <a:gd name="T72" fmla="*/ 313 w 325"/>
                <a:gd name="T73" fmla="*/ 183 h 321"/>
                <a:gd name="T74" fmla="*/ 321 w 325"/>
                <a:gd name="T75" fmla="*/ 180 h 321"/>
                <a:gd name="T76" fmla="*/ 321 w 325"/>
                <a:gd name="T77" fmla="*/ 165 h 321"/>
                <a:gd name="T78" fmla="*/ 162 w 325"/>
                <a:gd name="T79" fmla="*/ 293 h 321"/>
                <a:gd name="T80" fmla="*/ 132 w 325"/>
                <a:gd name="T81" fmla="*/ 293 h 321"/>
                <a:gd name="T82" fmla="*/ 126 w 325"/>
                <a:gd name="T83" fmla="*/ 278 h 321"/>
                <a:gd name="T84" fmla="*/ 129 w 325"/>
                <a:gd name="T85" fmla="*/ 267 h 321"/>
                <a:gd name="T86" fmla="*/ 188 w 325"/>
                <a:gd name="T87" fmla="*/ 267 h 321"/>
                <a:gd name="T88" fmla="*/ 162 w 325"/>
                <a:gd name="T89" fmla="*/ 293 h 321"/>
                <a:gd name="T90" fmla="*/ 209 w 325"/>
                <a:gd name="T91" fmla="*/ 246 h 321"/>
                <a:gd name="T92" fmla="*/ 149 w 325"/>
                <a:gd name="T93" fmla="*/ 246 h 321"/>
                <a:gd name="T94" fmla="*/ 260 w 325"/>
                <a:gd name="T95" fmla="*/ 135 h 321"/>
                <a:gd name="T96" fmla="*/ 290 w 325"/>
                <a:gd name="T97" fmla="*/ 165 h 321"/>
                <a:gd name="T98" fmla="*/ 209 w 325"/>
                <a:gd name="T99" fmla="*/ 24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5" h="321">
                  <a:moveTo>
                    <a:pt x="205" y="79"/>
                  </a:moveTo>
                  <a:cubicBezTo>
                    <a:pt x="207" y="81"/>
                    <a:pt x="210" y="82"/>
                    <a:pt x="212" y="82"/>
                  </a:cubicBezTo>
                  <a:cubicBezTo>
                    <a:pt x="215" y="82"/>
                    <a:pt x="218" y="81"/>
                    <a:pt x="220" y="79"/>
                  </a:cubicBezTo>
                  <a:cubicBezTo>
                    <a:pt x="224" y="75"/>
                    <a:pt x="224" y="68"/>
                    <a:pt x="220" y="64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5" y="0"/>
                    <a:pt x="149" y="0"/>
                    <a:pt x="144" y="4"/>
                  </a:cubicBezTo>
                  <a:cubicBezTo>
                    <a:pt x="140" y="8"/>
                    <a:pt x="140" y="15"/>
                    <a:pt x="144" y="19"/>
                  </a:cubicBezTo>
                  <a:cubicBezTo>
                    <a:pt x="16" y="147"/>
                    <a:pt x="16" y="147"/>
                    <a:pt x="16" y="147"/>
                  </a:cubicBezTo>
                  <a:cubicBezTo>
                    <a:pt x="0" y="164"/>
                    <a:pt x="0" y="191"/>
                    <a:pt x="16" y="207"/>
                  </a:cubicBezTo>
                  <a:cubicBezTo>
                    <a:pt x="24" y="216"/>
                    <a:pt x="35" y="220"/>
                    <a:pt x="46" y="220"/>
                  </a:cubicBezTo>
                  <a:cubicBezTo>
                    <a:pt x="58" y="220"/>
                    <a:pt x="68" y="216"/>
                    <a:pt x="76" y="207"/>
                  </a:cubicBezTo>
                  <a:cubicBezTo>
                    <a:pt x="205" y="79"/>
                    <a:pt x="205" y="79"/>
                    <a:pt x="205" y="79"/>
                  </a:cubicBezTo>
                  <a:close/>
                  <a:moveTo>
                    <a:pt x="61" y="192"/>
                  </a:moveTo>
                  <a:cubicBezTo>
                    <a:pt x="53" y="200"/>
                    <a:pt x="39" y="200"/>
                    <a:pt x="31" y="192"/>
                  </a:cubicBezTo>
                  <a:cubicBezTo>
                    <a:pt x="27" y="188"/>
                    <a:pt x="25" y="183"/>
                    <a:pt x="25" y="177"/>
                  </a:cubicBezTo>
                  <a:cubicBezTo>
                    <a:pt x="25" y="172"/>
                    <a:pt x="27" y="166"/>
                    <a:pt x="31" y="162"/>
                  </a:cubicBezTo>
                  <a:cubicBezTo>
                    <a:pt x="86" y="107"/>
                    <a:pt x="86" y="107"/>
                    <a:pt x="86" y="107"/>
                  </a:cubicBezTo>
                  <a:cubicBezTo>
                    <a:pt x="146" y="107"/>
                    <a:pt x="146" y="107"/>
                    <a:pt x="146" y="107"/>
                  </a:cubicBezTo>
                  <a:lnTo>
                    <a:pt x="61" y="192"/>
                  </a:lnTo>
                  <a:close/>
                  <a:moveTo>
                    <a:pt x="168" y="86"/>
                  </a:moveTo>
                  <a:cubicBezTo>
                    <a:pt x="107" y="86"/>
                    <a:pt x="107" y="86"/>
                    <a:pt x="107" y="86"/>
                  </a:cubicBezTo>
                  <a:cubicBezTo>
                    <a:pt x="159" y="34"/>
                    <a:pt x="159" y="34"/>
                    <a:pt x="159" y="34"/>
                  </a:cubicBezTo>
                  <a:cubicBezTo>
                    <a:pt x="190" y="64"/>
                    <a:pt x="190" y="64"/>
                    <a:pt x="190" y="64"/>
                  </a:cubicBezTo>
                  <a:lnTo>
                    <a:pt x="168" y="86"/>
                  </a:lnTo>
                  <a:close/>
                  <a:moveTo>
                    <a:pt x="321" y="165"/>
                  </a:moveTo>
                  <a:cubicBezTo>
                    <a:pt x="260" y="105"/>
                    <a:pt x="260" y="105"/>
                    <a:pt x="260" y="105"/>
                  </a:cubicBezTo>
                  <a:cubicBezTo>
                    <a:pt x="256" y="100"/>
                    <a:pt x="249" y="100"/>
                    <a:pt x="245" y="105"/>
                  </a:cubicBezTo>
                  <a:cubicBezTo>
                    <a:pt x="241" y="109"/>
                    <a:pt x="241" y="115"/>
                    <a:pt x="245" y="120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117" y="248"/>
                    <a:pt x="117" y="248"/>
                    <a:pt x="117" y="248"/>
                  </a:cubicBezTo>
                  <a:cubicBezTo>
                    <a:pt x="109" y="256"/>
                    <a:pt x="104" y="267"/>
                    <a:pt x="104" y="278"/>
                  </a:cubicBezTo>
                  <a:cubicBezTo>
                    <a:pt x="104" y="289"/>
                    <a:pt x="109" y="300"/>
                    <a:pt x="117" y="308"/>
                  </a:cubicBezTo>
                  <a:cubicBezTo>
                    <a:pt x="125" y="316"/>
                    <a:pt x="136" y="321"/>
                    <a:pt x="147" y="321"/>
                  </a:cubicBezTo>
                  <a:cubicBezTo>
                    <a:pt x="158" y="321"/>
                    <a:pt x="169" y="316"/>
                    <a:pt x="177" y="308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8" y="182"/>
                    <a:pt x="310" y="183"/>
                    <a:pt x="313" y="183"/>
                  </a:cubicBezTo>
                  <a:cubicBezTo>
                    <a:pt x="316" y="183"/>
                    <a:pt x="318" y="182"/>
                    <a:pt x="321" y="180"/>
                  </a:cubicBezTo>
                  <a:cubicBezTo>
                    <a:pt x="325" y="176"/>
                    <a:pt x="325" y="169"/>
                    <a:pt x="321" y="165"/>
                  </a:cubicBezTo>
                  <a:close/>
                  <a:moveTo>
                    <a:pt x="162" y="293"/>
                  </a:moveTo>
                  <a:cubicBezTo>
                    <a:pt x="154" y="301"/>
                    <a:pt x="140" y="301"/>
                    <a:pt x="132" y="293"/>
                  </a:cubicBezTo>
                  <a:cubicBezTo>
                    <a:pt x="128" y="289"/>
                    <a:pt x="126" y="284"/>
                    <a:pt x="126" y="278"/>
                  </a:cubicBezTo>
                  <a:cubicBezTo>
                    <a:pt x="126" y="274"/>
                    <a:pt x="127" y="271"/>
                    <a:pt x="129" y="267"/>
                  </a:cubicBezTo>
                  <a:cubicBezTo>
                    <a:pt x="188" y="267"/>
                    <a:pt x="188" y="267"/>
                    <a:pt x="188" y="267"/>
                  </a:cubicBezTo>
                  <a:lnTo>
                    <a:pt x="162" y="293"/>
                  </a:lnTo>
                  <a:close/>
                  <a:moveTo>
                    <a:pt x="209" y="246"/>
                  </a:moveTo>
                  <a:cubicBezTo>
                    <a:pt x="149" y="246"/>
                    <a:pt x="149" y="246"/>
                    <a:pt x="149" y="246"/>
                  </a:cubicBezTo>
                  <a:cubicBezTo>
                    <a:pt x="260" y="135"/>
                    <a:pt x="260" y="135"/>
                    <a:pt x="260" y="135"/>
                  </a:cubicBezTo>
                  <a:cubicBezTo>
                    <a:pt x="290" y="165"/>
                    <a:pt x="290" y="165"/>
                    <a:pt x="290" y="165"/>
                  </a:cubicBezTo>
                  <a:lnTo>
                    <a:pt x="20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1" name="Freeform 402"/>
          <p:cNvSpPr>
            <a:spLocks noChangeAspect="1" noEditPoints="1"/>
          </p:cNvSpPr>
          <p:nvPr/>
        </p:nvSpPr>
        <p:spPr bwMode="auto">
          <a:xfrm>
            <a:off x="1414783" y="2916610"/>
            <a:ext cx="369676" cy="369676"/>
          </a:xfrm>
          <a:custGeom>
            <a:avLst/>
            <a:gdLst>
              <a:gd name="T0" fmla="*/ 221 w 512"/>
              <a:gd name="T1" fmla="*/ 362 h 512"/>
              <a:gd name="T2" fmla="*/ 280 w 512"/>
              <a:gd name="T3" fmla="*/ 362 h 512"/>
              <a:gd name="T4" fmla="*/ 254 w 512"/>
              <a:gd name="T5" fmla="*/ 388 h 512"/>
              <a:gd name="T6" fmla="*/ 224 w 512"/>
              <a:gd name="T7" fmla="*/ 388 h 512"/>
              <a:gd name="T8" fmla="*/ 218 w 512"/>
              <a:gd name="T9" fmla="*/ 373 h 512"/>
              <a:gd name="T10" fmla="*/ 221 w 512"/>
              <a:gd name="T11" fmla="*/ 362 h 512"/>
              <a:gd name="T12" fmla="*/ 199 w 512"/>
              <a:gd name="T13" fmla="*/ 181 h 512"/>
              <a:gd name="T14" fmla="*/ 260 w 512"/>
              <a:gd name="T15" fmla="*/ 181 h 512"/>
              <a:gd name="T16" fmla="*/ 282 w 512"/>
              <a:gd name="T17" fmla="*/ 159 h 512"/>
              <a:gd name="T18" fmla="*/ 251 w 512"/>
              <a:gd name="T19" fmla="*/ 129 h 512"/>
              <a:gd name="T20" fmla="*/ 199 w 512"/>
              <a:gd name="T21" fmla="*/ 181 h 512"/>
              <a:gd name="T22" fmla="*/ 123 w 512"/>
              <a:gd name="T23" fmla="*/ 257 h 512"/>
              <a:gd name="T24" fmla="*/ 117 w 512"/>
              <a:gd name="T25" fmla="*/ 272 h 512"/>
              <a:gd name="T26" fmla="*/ 123 w 512"/>
              <a:gd name="T27" fmla="*/ 287 h 512"/>
              <a:gd name="T28" fmla="*/ 153 w 512"/>
              <a:gd name="T29" fmla="*/ 287 h 512"/>
              <a:gd name="T30" fmla="*/ 238 w 512"/>
              <a:gd name="T31" fmla="*/ 202 h 512"/>
              <a:gd name="T32" fmla="*/ 178 w 512"/>
              <a:gd name="T33" fmla="*/ 202 h 512"/>
              <a:gd name="T34" fmla="*/ 123 w 512"/>
              <a:gd name="T35" fmla="*/ 257 h 512"/>
              <a:gd name="T36" fmla="*/ 241 w 512"/>
              <a:gd name="T37" fmla="*/ 341 h 512"/>
              <a:gd name="T38" fmla="*/ 301 w 512"/>
              <a:gd name="T39" fmla="*/ 341 h 512"/>
              <a:gd name="T40" fmla="*/ 382 w 512"/>
              <a:gd name="T41" fmla="*/ 260 h 512"/>
              <a:gd name="T42" fmla="*/ 352 w 512"/>
              <a:gd name="T43" fmla="*/ 230 h 512"/>
              <a:gd name="T44" fmla="*/ 241 w 512"/>
              <a:gd name="T45" fmla="*/ 341 h 512"/>
              <a:gd name="T46" fmla="*/ 512 w 512"/>
              <a:gd name="T47" fmla="*/ 256 h 512"/>
              <a:gd name="T48" fmla="*/ 256 w 512"/>
              <a:gd name="T49" fmla="*/ 512 h 512"/>
              <a:gd name="T50" fmla="*/ 0 w 512"/>
              <a:gd name="T51" fmla="*/ 256 h 512"/>
              <a:gd name="T52" fmla="*/ 256 w 512"/>
              <a:gd name="T53" fmla="*/ 0 h 512"/>
              <a:gd name="T54" fmla="*/ 512 w 512"/>
              <a:gd name="T55" fmla="*/ 256 h 512"/>
              <a:gd name="T56" fmla="*/ 168 w 512"/>
              <a:gd name="T57" fmla="*/ 302 h 512"/>
              <a:gd name="T58" fmla="*/ 297 w 512"/>
              <a:gd name="T59" fmla="*/ 174 h 512"/>
              <a:gd name="T60" fmla="*/ 304 w 512"/>
              <a:gd name="T61" fmla="*/ 177 h 512"/>
              <a:gd name="T62" fmla="*/ 312 w 512"/>
              <a:gd name="T63" fmla="*/ 174 h 512"/>
              <a:gd name="T64" fmla="*/ 312 w 512"/>
              <a:gd name="T65" fmla="*/ 159 h 512"/>
              <a:gd name="T66" fmla="*/ 251 w 512"/>
              <a:gd name="T67" fmla="*/ 99 h 512"/>
              <a:gd name="T68" fmla="*/ 236 w 512"/>
              <a:gd name="T69" fmla="*/ 99 h 512"/>
              <a:gd name="T70" fmla="*/ 236 w 512"/>
              <a:gd name="T71" fmla="*/ 114 h 512"/>
              <a:gd name="T72" fmla="*/ 108 w 512"/>
              <a:gd name="T73" fmla="*/ 242 h 512"/>
              <a:gd name="T74" fmla="*/ 108 w 512"/>
              <a:gd name="T75" fmla="*/ 302 h 512"/>
              <a:gd name="T76" fmla="*/ 138 w 512"/>
              <a:gd name="T77" fmla="*/ 315 h 512"/>
              <a:gd name="T78" fmla="*/ 168 w 512"/>
              <a:gd name="T79" fmla="*/ 302 h 512"/>
              <a:gd name="T80" fmla="*/ 413 w 512"/>
              <a:gd name="T81" fmla="*/ 260 h 512"/>
              <a:gd name="T82" fmla="*/ 352 w 512"/>
              <a:gd name="T83" fmla="*/ 200 h 512"/>
              <a:gd name="T84" fmla="*/ 337 w 512"/>
              <a:gd name="T85" fmla="*/ 200 h 512"/>
              <a:gd name="T86" fmla="*/ 337 w 512"/>
              <a:gd name="T87" fmla="*/ 215 h 512"/>
              <a:gd name="T88" fmla="*/ 209 w 512"/>
              <a:gd name="T89" fmla="*/ 343 h 512"/>
              <a:gd name="T90" fmla="*/ 196 w 512"/>
              <a:gd name="T91" fmla="*/ 373 h 512"/>
              <a:gd name="T92" fmla="*/ 209 w 512"/>
              <a:gd name="T93" fmla="*/ 403 h 512"/>
              <a:gd name="T94" fmla="*/ 239 w 512"/>
              <a:gd name="T95" fmla="*/ 416 h 512"/>
              <a:gd name="T96" fmla="*/ 269 w 512"/>
              <a:gd name="T97" fmla="*/ 403 h 512"/>
              <a:gd name="T98" fmla="*/ 397 w 512"/>
              <a:gd name="T99" fmla="*/ 275 h 512"/>
              <a:gd name="T100" fmla="*/ 405 w 512"/>
              <a:gd name="T101" fmla="*/ 278 h 512"/>
              <a:gd name="T102" fmla="*/ 413 w 512"/>
              <a:gd name="T103" fmla="*/ 275 h 512"/>
              <a:gd name="T104" fmla="*/ 413 w 512"/>
              <a:gd name="T105" fmla="*/ 2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1" y="362"/>
                </a:moveTo>
                <a:cubicBezTo>
                  <a:pt x="280" y="362"/>
                  <a:pt x="280" y="362"/>
                  <a:pt x="280" y="362"/>
                </a:cubicBezTo>
                <a:cubicBezTo>
                  <a:pt x="254" y="388"/>
                  <a:pt x="254" y="388"/>
                  <a:pt x="254" y="388"/>
                </a:cubicBezTo>
                <a:cubicBezTo>
                  <a:pt x="246" y="396"/>
                  <a:pt x="232" y="396"/>
                  <a:pt x="224" y="388"/>
                </a:cubicBezTo>
                <a:cubicBezTo>
                  <a:pt x="220" y="384"/>
                  <a:pt x="218" y="379"/>
                  <a:pt x="218" y="373"/>
                </a:cubicBezTo>
                <a:cubicBezTo>
                  <a:pt x="218" y="369"/>
                  <a:pt x="219" y="366"/>
                  <a:pt x="221" y="362"/>
                </a:cubicBezTo>
                <a:close/>
                <a:moveTo>
                  <a:pt x="199" y="181"/>
                </a:moveTo>
                <a:cubicBezTo>
                  <a:pt x="260" y="181"/>
                  <a:pt x="260" y="181"/>
                  <a:pt x="260" y="181"/>
                </a:cubicBezTo>
                <a:cubicBezTo>
                  <a:pt x="282" y="159"/>
                  <a:pt x="282" y="159"/>
                  <a:pt x="282" y="159"/>
                </a:cubicBezTo>
                <a:cubicBezTo>
                  <a:pt x="251" y="129"/>
                  <a:pt x="251" y="129"/>
                  <a:pt x="251" y="129"/>
                </a:cubicBezTo>
                <a:lnTo>
                  <a:pt x="199" y="181"/>
                </a:lnTo>
                <a:close/>
                <a:moveTo>
                  <a:pt x="123" y="257"/>
                </a:moveTo>
                <a:cubicBezTo>
                  <a:pt x="119" y="261"/>
                  <a:pt x="117" y="267"/>
                  <a:pt x="117" y="272"/>
                </a:cubicBezTo>
                <a:cubicBezTo>
                  <a:pt x="117" y="278"/>
                  <a:pt x="119" y="283"/>
                  <a:pt x="123" y="287"/>
                </a:cubicBezTo>
                <a:cubicBezTo>
                  <a:pt x="131" y="295"/>
                  <a:pt x="145" y="295"/>
                  <a:pt x="153" y="287"/>
                </a:cubicBezTo>
                <a:cubicBezTo>
                  <a:pt x="238" y="202"/>
                  <a:pt x="238" y="202"/>
                  <a:pt x="238" y="202"/>
                </a:cubicBezTo>
                <a:cubicBezTo>
                  <a:pt x="178" y="202"/>
                  <a:pt x="178" y="202"/>
                  <a:pt x="178" y="202"/>
                </a:cubicBezTo>
                <a:lnTo>
                  <a:pt x="123" y="257"/>
                </a:lnTo>
                <a:close/>
                <a:moveTo>
                  <a:pt x="241" y="341"/>
                </a:moveTo>
                <a:cubicBezTo>
                  <a:pt x="301" y="341"/>
                  <a:pt x="301" y="341"/>
                  <a:pt x="301" y="341"/>
                </a:cubicBezTo>
                <a:cubicBezTo>
                  <a:pt x="382" y="260"/>
                  <a:pt x="382" y="260"/>
                  <a:pt x="382" y="260"/>
                </a:cubicBezTo>
                <a:cubicBezTo>
                  <a:pt x="352" y="230"/>
                  <a:pt x="352" y="230"/>
                  <a:pt x="352" y="230"/>
                </a:cubicBezTo>
                <a:lnTo>
                  <a:pt x="241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8" y="302"/>
                </a:moveTo>
                <a:cubicBezTo>
                  <a:pt x="297" y="174"/>
                  <a:pt x="297" y="174"/>
                  <a:pt x="297" y="174"/>
                </a:cubicBezTo>
                <a:cubicBezTo>
                  <a:pt x="299" y="176"/>
                  <a:pt x="302" y="177"/>
                  <a:pt x="304" y="177"/>
                </a:cubicBezTo>
                <a:cubicBezTo>
                  <a:pt x="307" y="177"/>
                  <a:pt x="310" y="176"/>
                  <a:pt x="312" y="174"/>
                </a:cubicBezTo>
                <a:cubicBezTo>
                  <a:pt x="316" y="170"/>
                  <a:pt x="316" y="163"/>
                  <a:pt x="312" y="159"/>
                </a:cubicBezTo>
                <a:cubicBezTo>
                  <a:pt x="251" y="99"/>
                  <a:pt x="251" y="99"/>
                  <a:pt x="251" y="99"/>
                </a:cubicBezTo>
                <a:cubicBezTo>
                  <a:pt x="247" y="95"/>
                  <a:pt x="241" y="95"/>
                  <a:pt x="236" y="99"/>
                </a:cubicBezTo>
                <a:cubicBezTo>
                  <a:pt x="232" y="103"/>
                  <a:pt x="232" y="110"/>
                  <a:pt x="236" y="114"/>
                </a:cubicBezTo>
                <a:cubicBezTo>
                  <a:pt x="108" y="242"/>
                  <a:pt x="108" y="242"/>
                  <a:pt x="108" y="242"/>
                </a:cubicBezTo>
                <a:cubicBezTo>
                  <a:pt x="92" y="259"/>
                  <a:pt x="92" y="286"/>
                  <a:pt x="108" y="302"/>
                </a:cubicBezTo>
                <a:cubicBezTo>
                  <a:pt x="116" y="311"/>
                  <a:pt x="127" y="315"/>
                  <a:pt x="138" y="315"/>
                </a:cubicBezTo>
                <a:cubicBezTo>
                  <a:pt x="150" y="315"/>
                  <a:pt x="160" y="311"/>
                  <a:pt x="168" y="302"/>
                </a:cubicBezTo>
                <a:close/>
                <a:moveTo>
                  <a:pt x="413" y="260"/>
                </a:moveTo>
                <a:cubicBezTo>
                  <a:pt x="352" y="200"/>
                  <a:pt x="352" y="200"/>
                  <a:pt x="352" y="200"/>
                </a:cubicBezTo>
                <a:cubicBezTo>
                  <a:pt x="348" y="195"/>
                  <a:pt x="341" y="195"/>
                  <a:pt x="337" y="200"/>
                </a:cubicBezTo>
                <a:cubicBezTo>
                  <a:pt x="333" y="204"/>
                  <a:pt x="333" y="210"/>
                  <a:pt x="337" y="215"/>
                </a:cubicBezTo>
                <a:cubicBezTo>
                  <a:pt x="209" y="343"/>
                  <a:pt x="209" y="343"/>
                  <a:pt x="209" y="343"/>
                </a:cubicBezTo>
                <a:cubicBezTo>
                  <a:pt x="201" y="351"/>
                  <a:pt x="196" y="362"/>
                  <a:pt x="196" y="373"/>
                </a:cubicBezTo>
                <a:cubicBezTo>
                  <a:pt x="196" y="384"/>
                  <a:pt x="201" y="395"/>
                  <a:pt x="209" y="403"/>
                </a:cubicBezTo>
                <a:cubicBezTo>
                  <a:pt x="217" y="411"/>
                  <a:pt x="228" y="416"/>
                  <a:pt x="239" y="416"/>
                </a:cubicBezTo>
                <a:cubicBezTo>
                  <a:pt x="250" y="416"/>
                  <a:pt x="261" y="411"/>
                  <a:pt x="269" y="403"/>
                </a:cubicBezTo>
                <a:cubicBezTo>
                  <a:pt x="397" y="275"/>
                  <a:pt x="397" y="275"/>
                  <a:pt x="397" y="275"/>
                </a:cubicBezTo>
                <a:cubicBezTo>
                  <a:pt x="400" y="277"/>
                  <a:pt x="402" y="278"/>
                  <a:pt x="405" y="278"/>
                </a:cubicBezTo>
                <a:cubicBezTo>
                  <a:pt x="408" y="278"/>
                  <a:pt x="410" y="277"/>
                  <a:pt x="413" y="275"/>
                </a:cubicBezTo>
                <a:cubicBezTo>
                  <a:pt x="417" y="271"/>
                  <a:pt x="417" y="264"/>
                  <a:pt x="413" y="2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2" name="Group 405"/>
          <p:cNvGrpSpPr>
            <a:grpSpLocks noChangeAspect="1"/>
          </p:cNvGrpSpPr>
          <p:nvPr/>
        </p:nvGrpSpPr>
        <p:grpSpPr bwMode="auto">
          <a:xfrm>
            <a:off x="915531" y="2916610"/>
            <a:ext cx="369676" cy="369676"/>
            <a:chOff x="5822" y="1511"/>
            <a:chExt cx="340" cy="340"/>
          </a:xfrm>
          <a:solidFill>
            <a:schemeClr val="accent5"/>
          </a:solidFill>
        </p:grpSpPr>
        <p:sp>
          <p:nvSpPr>
            <p:cNvPr id="303" name="Freeform 406"/>
            <p:cNvSpPr>
              <a:spLocks noEditPoints="1"/>
            </p:cNvSpPr>
            <p:nvPr/>
          </p:nvSpPr>
          <p:spPr bwMode="auto">
            <a:xfrm>
              <a:off x="5822" y="151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407"/>
            <p:cNvSpPr>
              <a:spLocks noEditPoints="1"/>
            </p:cNvSpPr>
            <p:nvPr/>
          </p:nvSpPr>
          <p:spPr bwMode="auto">
            <a:xfrm>
              <a:off x="5908" y="1586"/>
              <a:ext cx="189" cy="185"/>
            </a:xfrm>
            <a:custGeom>
              <a:avLst/>
              <a:gdLst>
                <a:gd name="T0" fmla="*/ 281 w 285"/>
                <a:gd name="T1" fmla="*/ 110 h 279"/>
                <a:gd name="T2" fmla="*/ 266 w 285"/>
                <a:gd name="T3" fmla="*/ 95 h 279"/>
                <a:gd name="T4" fmla="*/ 266 w 285"/>
                <a:gd name="T5" fmla="*/ 95 h 279"/>
                <a:gd name="T6" fmla="*/ 266 w 285"/>
                <a:gd name="T7" fmla="*/ 95 h 279"/>
                <a:gd name="T8" fmla="*/ 176 w 285"/>
                <a:gd name="T9" fmla="*/ 4 h 279"/>
                <a:gd name="T10" fmla="*/ 161 w 285"/>
                <a:gd name="T11" fmla="*/ 4 h 279"/>
                <a:gd name="T12" fmla="*/ 161 w 285"/>
                <a:gd name="T13" fmla="*/ 19 h 279"/>
                <a:gd name="T14" fmla="*/ 168 w 285"/>
                <a:gd name="T15" fmla="*/ 27 h 279"/>
                <a:gd name="T16" fmla="*/ 25 w 285"/>
                <a:gd name="T17" fmla="*/ 170 h 279"/>
                <a:gd name="T18" fmla="*/ 25 w 285"/>
                <a:gd name="T19" fmla="*/ 260 h 279"/>
                <a:gd name="T20" fmla="*/ 70 w 285"/>
                <a:gd name="T21" fmla="*/ 279 h 279"/>
                <a:gd name="T22" fmla="*/ 115 w 285"/>
                <a:gd name="T23" fmla="*/ 260 h 279"/>
                <a:gd name="T24" fmla="*/ 259 w 285"/>
                <a:gd name="T25" fmla="*/ 117 h 279"/>
                <a:gd name="T26" fmla="*/ 266 w 285"/>
                <a:gd name="T27" fmla="*/ 125 h 279"/>
                <a:gd name="T28" fmla="*/ 274 w 285"/>
                <a:gd name="T29" fmla="*/ 128 h 279"/>
                <a:gd name="T30" fmla="*/ 281 w 285"/>
                <a:gd name="T31" fmla="*/ 125 h 279"/>
                <a:gd name="T32" fmla="*/ 281 w 285"/>
                <a:gd name="T33" fmla="*/ 110 h 279"/>
                <a:gd name="T34" fmla="*/ 100 w 285"/>
                <a:gd name="T35" fmla="*/ 245 h 279"/>
                <a:gd name="T36" fmla="*/ 40 w 285"/>
                <a:gd name="T37" fmla="*/ 245 h 279"/>
                <a:gd name="T38" fmla="*/ 40 w 285"/>
                <a:gd name="T39" fmla="*/ 185 h 279"/>
                <a:gd name="T40" fmla="*/ 82 w 285"/>
                <a:gd name="T41" fmla="*/ 143 h 279"/>
                <a:gd name="T42" fmla="*/ 203 w 285"/>
                <a:gd name="T43" fmla="*/ 143 h 279"/>
                <a:gd name="T44" fmla="*/ 100 w 285"/>
                <a:gd name="T45" fmla="*/ 245 h 279"/>
                <a:gd name="T46" fmla="*/ 104 w 285"/>
                <a:gd name="T47" fmla="*/ 121 h 279"/>
                <a:gd name="T48" fmla="*/ 183 w 285"/>
                <a:gd name="T49" fmla="*/ 42 h 279"/>
                <a:gd name="T50" fmla="*/ 244 w 285"/>
                <a:gd name="T51" fmla="*/ 102 h 279"/>
                <a:gd name="T52" fmla="*/ 224 w 285"/>
                <a:gd name="T53" fmla="*/ 121 h 279"/>
                <a:gd name="T54" fmla="*/ 104 w 285"/>
                <a:gd name="T55" fmla="*/ 12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5" h="279">
                  <a:moveTo>
                    <a:pt x="281" y="110"/>
                  </a:moveTo>
                  <a:cubicBezTo>
                    <a:pt x="266" y="95"/>
                    <a:pt x="266" y="95"/>
                    <a:pt x="266" y="95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2" y="0"/>
                    <a:pt x="165" y="0"/>
                    <a:pt x="161" y="4"/>
                  </a:cubicBezTo>
                  <a:cubicBezTo>
                    <a:pt x="156" y="8"/>
                    <a:pt x="156" y="15"/>
                    <a:pt x="161" y="19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0" y="195"/>
                    <a:pt x="0" y="236"/>
                    <a:pt x="25" y="260"/>
                  </a:cubicBezTo>
                  <a:cubicBezTo>
                    <a:pt x="37" y="273"/>
                    <a:pt x="54" y="279"/>
                    <a:pt x="70" y="279"/>
                  </a:cubicBezTo>
                  <a:cubicBezTo>
                    <a:pt x="86" y="279"/>
                    <a:pt x="103" y="273"/>
                    <a:pt x="115" y="260"/>
                  </a:cubicBezTo>
                  <a:cubicBezTo>
                    <a:pt x="259" y="117"/>
                    <a:pt x="259" y="117"/>
                    <a:pt x="259" y="117"/>
                  </a:cubicBezTo>
                  <a:cubicBezTo>
                    <a:pt x="266" y="125"/>
                    <a:pt x="266" y="125"/>
                    <a:pt x="266" y="125"/>
                  </a:cubicBezTo>
                  <a:cubicBezTo>
                    <a:pt x="268" y="127"/>
                    <a:pt x="271" y="128"/>
                    <a:pt x="274" y="128"/>
                  </a:cubicBezTo>
                  <a:cubicBezTo>
                    <a:pt x="276" y="128"/>
                    <a:pt x="279" y="127"/>
                    <a:pt x="281" y="125"/>
                  </a:cubicBezTo>
                  <a:cubicBezTo>
                    <a:pt x="285" y="121"/>
                    <a:pt x="285" y="114"/>
                    <a:pt x="281" y="110"/>
                  </a:cubicBezTo>
                  <a:close/>
                  <a:moveTo>
                    <a:pt x="100" y="245"/>
                  </a:moveTo>
                  <a:cubicBezTo>
                    <a:pt x="84" y="262"/>
                    <a:pt x="57" y="262"/>
                    <a:pt x="40" y="245"/>
                  </a:cubicBezTo>
                  <a:cubicBezTo>
                    <a:pt x="23" y="229"/>
                    <a:pt x="23" y="202"/>
                    <a:pt x="40" y="185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203" y="143"/>
                    <a:pt x="203" y="143"/>
                    <a:pt x="203" y="143"/>
                  </a:cubicBezTo>
                  <a:lnTo>
                    <a:pt x="100" y="245"/>
                  </a:lnTo>
                  <a:close/>
                  <a:moveTo>
                    <a:pt x="104" y="121"/>
                  </a:moveTo>
                  <a:cubicBezTo>
                    <a:pt x="183" y="42"/>
                    <a:pt x="183" y="42"/>
                    <a:pt x="183" y="42"/>
                  </a:cubicBezTo>
                  <a:cubicBezTo>
                    <a:pt x="244" y="102"/>
                    <a:pt x="244" y="102"/>
                    <a:pt x="244" y="102"/>
                  </a:cubicBezTo>
                  <a:cubicBezTo>
                    <a:pt x="224" y="121"/>
                    <a:pt x="224" y="121"/>
                    <a:pt x="224" y="121"/>
                  </a:cubicBezTo>
                  <a:lnTo>
                    <a:pt x="104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411"/>
          <p:cNvSpPr>
            <a:spLocks noChangeAspect="1" noEditPoints="1"/>
          </p:cNvSpPr>
          <p:nvPr/>
        </p:nvSpPr>
        <p:spPr bwMode="auto">
          <a:xfrm>
            <a:off x="416279" y="2916610"/>
            <a:ext cx="369676" cy="369676"/>
          </a:xfrm>
          <a:custGeom>
            <a:avLst/>
            <a:gdLst>
              <a:gd name="T0" fmla="*/ 211 w 512"/>
              <a:gd name="T1" fmla="*/ 256 h 512"/>
              <a:gd name="T2" fmla="*/ 332 w 512"/>
              <a:gd name="T3" fmla="*/ 256 h 512"/>
              <a:gd name="T4" fmla="*/ 229 w 512"/>
              <a:gd name="T5" fmla="*/ 358 h 512"/>
              <a:gd name="T6" fmla="*/ 169 w 512"/>
              <a:gd name="T7" fmla="*/ 358 h 512"/>
              <a:gd name="T8" fmla="*/ 169 w 512"/>
              <a:gd name="T9" fmla="*/ 298 h 512"/>
              <a:gd name="T10" fmla="*/ 211 w 512"/>
              <a:gd name="T11" fmla="*/ 256 h 512"/>
              <a:gd name="T12" fmla="*/ 233 w 512"/>
              <a:gd name="T13" fmla="*/ 234 h 512"/>
              <a:gd name="T14" fmla="*/ 353 w 512"/>
              <a:gd name="T15" fmla="*/ 234 h 512"/>
              <a:gd name="T16" fmla="*/ 373 w 512"/>
              <a:gd name="T17" fmla="*/ 215 h 512"/>
              <a:gd name="T18" fmla="*/ 312 w 512"/>
              <a:gd name="T19" fmla="*/ 155 h 512"/>
              <a:gd name="T20" fmla="*/ 233 w 512"/>
              <a:gd name="T21" fmla="*/ 234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10 w 512"/>
              <a:gd name="T33" fmla="*/ 223 h 512"/>
              <a:gd name="T34" fmla="*/ 395 w 512"/>
              <a:gd name="T35" fmla="*/ 208 h 512"/>
              <a:gd name="T36" fmla="*/ 395 w 512"/>
              <a:gd name="T37" fmla="*/ 208 h 512"/>
              <a:gd name="T38" fmla="*/ 395 w 512"/>
              <a:gd name="T39" fmla="*/ 208 h 512"/>
              <a:gd name="T40" fmla="*/ 305 w 512"/>
              <a:gd name="T41" fmla="*/ 117 h 512"/>
              <a:gd name="T42" fmla="*/ 290 w 512"/>
              <a:gd name="T43" fmla="*/ 117 h 512"/>
              <a:gd name="T44" fmla="*/ 290 w 512"/>
              <a:gd name="T45" fmla="*/ 132 h 512"/>
              <a:gd name="T46" fmla="*/ 297 w 512"/>
              <a:gd name="T47" fmla="*/ 140 h 512"/>
              <a:gd name="T48" fmla="*/ 154 w 512"/>
              <a:gd name="T49" fmla="*/ 283 h 512"/>
              <a:gd name="T50" fmla="*/ 154 w 512"/>
              <a:gd name="T51" fmla="*/ 373 h 512"/>
              <a:gd name="T52" fmla="*/ 199 w 512"/>
              <a:gd name="T53" fmla="*/ 392 h 512"/>
              <a:gd name="T54" fmla="*/ 244 w 512"/>
              <a:gd name="T55" fmla="*/ 373 h 512"/>
              <a:gd name="T56" fmla="*/ 388 w 512"/>
              <a:gd name="T57" fmla="*/ 230 h 512"/>
              <a:gd name="T58" fmla="*/ 395 w 512"/>
              <a:gd name="T59" fmla="*/ 238 h 512"/>
              <a:gd name="T60" fmla="*/ 403 w 512"/>
              <a:gd name="T61" fmla="*/ 241 h 512"/>
              <a:gd name="T62" fmla="*/ 410 w 512"/>
              <a:gd name="T63" fmla="*/ 238 h 512"/>
              <a:gd name="T64" fmla="*/ 410 w 512"/>
              <a:gd name="T65" fmla="*/ 22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11" y="256"/>
                </a:moveTo>
                <a:cubicBezTo>
                  <a:pt x="332" y="256"/>
                  <a:pt x="332" y="256"/>
                  <a:pt x="332" y="256"/>
                </a:cubicBezTo>
                <a:cubicBezTo>
                  <a:pt x="229" y="358"/>
                  <a:pt x="229" y="358"/>
                  <a:pt x="229" y="358"/>
                </a:cubicBezTo>
                <a:cubicBezTo>
                  <a:pt x="213" y="375"/>
                  <a:pt x="186" y="375"/>
                  <a:pt x="169" y="358"/>
                </a:cubicBezTo>
                <a:cubicBezTo>
                  <a:pt x="152" y="342"/>
                  <a:pt x="152" y="315"/>
                  <a:pt x="169" y="298"/>
                </a:cubicBezTo>
                <a:lnTo>
                  <a:pt x="211" y="256"/>
                </a:lnTo>
                <a:close/>
                <a:moveTo>
                  <a:pt x="233" y="234"/>
                </a:moveTo>
                <a:cubicBezTo>
                  <a:pt x="353" y="234"/>
                  <a:pt x="353" y="234"/>
                  <a:pt x="353" y="234"/>
                </a:cubicBezTo>
                <a:cubicBezTo>
                  <a:pt x="373" y="215"/>
                  <a:pt x="373" y="215"/>
                  <a:pt x="373" y="215"/>
                </a:cubicBezTo>
                <a:cubicBezTo>
                  <a:pt x="312" y="155"/>
                  <a:pt x="312" y="155"/>
                  <a:pt x="312" y="155"/>
                </a:cubicBezTo>
                <a:lnTo>
                  <a:pt x="233" y="23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0" y="223"/>
                </a:moveTo>
                <a:cubicBezTo>
                  <a:pt x="395" y="208"/>
                  <a:pt x="395" y="208"/>
                  <a:pt x="395" y="208"/>
                </a:cubicBezTo>
                <a:cubicBezTo>
                  <a:pt x="395" y="208"/>
                  <a:pt x="395" y="208"/>
                  <a:pt x="395" y="208"/>
                </a:cubicBezTo>
                <a:cubicBezTo>
                  <a:pt x="395" y="208"/>
                  <a:pt x="395" y="208"/>
                  <a:pt x="395" y="208"/>
                </a:cubicBezTo>
                <a:cubicBezTo>
                  <a:pt x="305" y="117"/>
                  <a:pt x="305" y="117"/>
                  <a:pt x="305" y="117"/>
                </a:cubicBezTo>
                <a:cubicBezTo>
                  <a:pt x="301" y="113"/>
                  <a:pt x="294" y="113"/>
                  <a:pt x="290" y="117"/>
                </a:cubicBezTo>
                <a:cubicBezTo>
                  <a:pt x="285" y="121"/>
                  <a:pt x="285" y="128"/>
                  <a:pt x="290" y="132"/>
                </a:cubicBezTo>
                <a:cubicBezTo>
                  <a:pt x="297" y="140"/>
                  <a:pt x="297" y="140"/>
                  <a:pt x="297" y="140"/>
                </a:cubicBezTo>
                <a:cubicBezTo>
                  <a:pt x="154" y="283"/>
                  <a:pt x="154" y="283"/>
                  <a:pt x="154" y="283"/>
                </a:cubicBezTo>
                <a:cubicBezTo>
                  <a:pt x="129" y="308"/>
                  <a:pt x="129" y="349"/>
                  <a:pt x="154" y="373"/>
                </a:cubicBezTo>
                <a:cubicBezTo>
                  <a:pt x="166" y="386"/>
                  <a:pt x="183" y="392"/>
                  <a:pt x="199" y="392"/>
                </a:cubicBezTo>
                <a:cubicBezTo>
                  <a:pt x="215" y="392"/>
                  <a:pt x="232" y="386"/>
                  <a:pt x="244" y="373"/>
                </a:cubicBezTo>
                <a:cubicBezTo>
                  <a:pt x="388" y="230"/>
                  <a:pt x="388" y="230"/>
                  <a:pt x="388" y="230"/>
                </a:cubicBezTo>
                <a:cubicBezTo>
                  <a:pt x="395" y="238"/>
                  <a:pt x="395" y="238"/>
                  <a:pt x="395" y="238"/>
                </a:cubicBezTo>
                <a:cubicBezTo>
                  <a:pt x="397" y="240"/>
                  <a:pt x="400" y="241"/>
                  <a:pt x="403" y="241"/>
                </a:cubicBezTo>
                <a:cubicBezTo>
                  <a:pt x="405" y="241"/>
                  <a:pt x="408" y="240"/>
                  <a:pt x="410" y="238"/>
                </a:cubicBezTo>
                <a:cubicBezTo>
                  <a:pt x="414" y="234"/>
                  <a:pt x="414" y="227"/>
                  <a:pt x="410" y="22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9" name="Freeform 46"/>
          <p:cNvSpPr>
            <a:spLocks noChangeAspect="1" noEditPoints="1"/>
          </p:cNvSpPr>
          <p:nvPr/>
        </p:nvSpPr>
        <p:spPr bwMode="auto">
          <a:xfrm>
            <a:off x="2413287" y="2916610"/>
            <a:ext cx="368254" cy="368152"/>
          </a:xfrm>
          <a:custGeom>
            <a:avLst/>
            <a:gdLst>
              <a:gd name="T0" fmla="*/ 130 w 512"/>
              <a:gd name="T1" fmla="*/ 330 h 512"/>
              <a:gd name="T2" fmla="*/ 190 w 512"/>
              <a:gd name="T3" fmla="*/ 330 h 512"/>
              <a:gd name="T4" fmla="*/ 309 w 512"/>
              <a:gd name="T5" fmla="*/ 181 h 512"/>
              <a:gd name="T6" fmla="*/ 117 w 512"/>
              <a:gd name="T7" fmla="*/ 330 h 512"/>
              <a:gd name="T8" fmla="*/ 202 w 512"/>
              <a:gd name="T9" fmla="*/ 234 h 512"/>
              <a:gd name="T10" fmla="*/ 213 w 512"/>
              <a:gd name="T11" fmla="*/ 202 h 512"/>
              <a:gd name="T12" fmla="*/ 224 w 512"/>
              <a:gd name="T13" fmla="*/ 234 h 512"/>
              <a:gd name="T14" fmla="*/ 256 w 512"/>
              <a:gd name="T15" fmla="*/ 245 h 512"/>
              <a:gd name="T16" fmla="*/ 224 w 512"/>
              <a:gd name="T17" fmla="*/ 256 h 512"/>
              <a:gd name="T18" fmla="*/ 213 w 512"/>
              <a:gd name="T19" fmla="*/ 288 h 512"/>
              <a:gd name="T20" fmla="*/ 202 w 512"/>
              <a:gd name="T21" fmla="*/ 256 h 512"/>
              <a:gd name="T22" fmla="*/ 170 w 512"/>
              <a:gd name="T23" fmla="*/ 245 h 512"/>
              <a:gd name="T24" fmla="*/ 288 w 512"/>
              <a:gd name="T25" fmla="*/ 160 h 512"/>
              <a:gd name="T26" fmla="*/ 277 w 512"/>
              <a:gd name="T27" fmla="*/ 149 h 512"/>
              <a:gd name="T28" fmla="*/ 256 w 512"/>
              <a:gd name="T29" fmla="*/ 0 h 512"/>
              <a:gd name="T30" fmla="*/ 256 w 512"/>
              <a:gd name="T31" fmla="*/ 512 h 512"/>
              <a:gd name="T32" fmla="*/ 256 w 512"/>
              <a:gd name="T33" fmla="*/ 0 h 512"/>
              <a:gd name="T34" fmla="*/ 405 w 512"/>
              <a:gd name="T35" fmla="*/ 352 h 512"/>
              <a:gd name="T36" fmla="*/ 341 w 512"/>
              <a:gd name="T37" fmla="*/ 373 h 512"/>
              <a:gd name="T38" fmla="*/ 190 w 512"/>
              <a:gd name="T39" fmla="*/ 352 h 512"/>
              <a:gd name="T40" fmla="*/ 130 w 512"/>
              <a:gd name="T41" fmla="*/ 352 h 512"/>
              <a:gd name="T42" fmla="*/ 96 w 512"/>
              <a:gd name="T43" fmla="*/ 341 h 512"/>
              <a:gd name="T44" fmla="*/ 106 w 512"/>
              <a:gd name="T45" fmla="*/ 160 h 512"/>
              <a:gd name="T46" fmla="*/ 277 w 512"/>
              <a:gd name="T47" fmla="*/ 128 h 512"/>
              <a:gd name="T48" fmla="*/ 320 w 512"/>
              <a:gd name="T49" fmla="*/ 160 h 512"/>
              <a:gd name="T50" fmla="*/ 330 w 512"/>
              <a:gd name="T51" fmla="*/ 224 h 512"/>
              <a:gd name="T52" fmla="*/ 416 w 512"/>
              <a:gd name="T53" fmla="*/ 256 h 512"/>
              <a:gd name="T54" fmla="*/ 352 w 512"/>
              <a:gd name="T55" fmla="*/ 341 h 512"/>
              <a:gd name="T56" fmla="*/ 330 w 512"/>
              <a:gd name="T57" fmla="*/ 341 h 512"/>
              <a:gd name="T58" fmla="*/ 352 w 512"/>
              <a:gd name="T59" fmla="*/ 341 h 512"/>
              <a:gd name="T60" fmla="*/ 394 w 512"/>
              <a:gd name="T61" fmla="*/ 330 h 512"/>
              <a:gd name="T62" fmla="*/ 341 w 512"/>
              <a:gd name="T63" fmla="*/ 309 h 512"/>
              <a:gd name="T64" fmla="*/ 330 w 512"/>
              <a:gd name="T65" fmla="*/ 245 h 512"/>
              <a:gd name="T66" fmla="*/ 394 w 512"/>
              <a:gd name="T67" fmla="*/ 256 h 512"/>
              <a:gd name="T68" fmla="*/ 160 w 512"/>
              <a:gd name="T69" fmla="*/ 352 h 512"/>
              <a:gd name="T70" fmla="*/ 160 w 512"/>
              <a:gd name="T71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30" y="330"/>
                  <a:pt x="130" y="330"/>
                  <a:pt x="130" y="330"/>
                </a:cubicBezTo>
                <a:cubicBezTo>
                  <a:pt x="134" y="318"/>
                  <a:pt x="146" y="309"/>
                  <a:pt x="160" y="309"/>
                </a:cubicBezTo>
                <a:cubicBezTo>
                  <a:pt x="174" y="309"/>
                  <a:pt x="185" y="318"/>
                  <a:pt x="190" y="330"/>
                </a:cubicBezTo>
                <a:cubicBezTo>
                  <a:pt x="309" y="330"/>
                  <a:pt x="309" y="330"/>
                  <a:pt x="309" y="330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117" y="181"/>
                  <a:pt x="117" y="181"/>
                  <a:pt x="117" y="181"/>
                </a:cubicBezTo>
                <a:lnTo>
                  <a:pt x="117" y="330"/>
                </a:lnTo>
                <a:close/>
                <a:moveTo>
                  <a:pt x="181" y="234"/>
                </a:moveTo>
                <a:cubicBezTo>
                  <a:pt x="202" y="234"/>
                  <a:pt x="202" y="234"/>
                  <a:pt x="202" y="234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07"/>
                  <a:pt x="207" y="202"/>
                  <a:pt x="213" y="202"/>
                </a:cubicBezTo>
                <a:cubicBezTo>
                  <a:pt x="219" y="202"/>
                  <a:pt x="224" y="207"/>
                  <a:pt x="224" y="213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45" y="234"/>
                  <a:pt x="245" y="234"/>
                  <a:pt x="245" y="234"/>
                </a:cubicBezTo>
                <a:cubicBezTo>
                  <a:pt x="251" y="234"/>
                  <a:pt x="256" y="239"/>
                  <a:pt x="256" y="245"/>
                </a:cubicBezTo>
                <a:cubicBezTo>
                  <a:pt x="256" y="251"/>
                  <a:pt x="251" y="256"/>
                  <a:pt x="245" y="256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283"/>
                  <a:pt x="219" y="288"/>
                  <a:pt x="213" y="288"/>
                </a:cubicBezTo>
                <a:cubicBezTo>
                  <a:pt x="207" y="288"/>
                  <a:pt x="202" y="283"/>
                  <a:pt x="202" y="277"/>
                </a:cubicBezTo>
                <a:cubicBezTo>
                  <a:pt x="202" y="256"/>
                  <a:pt x="202" y="256"/>
                  <a:pt x="202" y="256"/>
                </a:cubicBezTo>
                <a:cubicBezTo>
                  <a:pt x="181" y="256"/>
                  <a:pt x="181" y="256"/>
                  <a:pt x="181" y="256"/>
                </a:cubicBezTo>
                <a:cubicBezTo>
                  <a:pt x="175" y="256"/>
                  <a:pt x="170" y="251"/>
                  <a:pt x="170" y="245"/>
                </a:cubicBezTo>
                <a:cubicBezTo>
                  <a:pt x="170" y="239"/>
                  <a:pt x="175" y="234"/>
                  <a:pt x="181" y="234"/>
                </a:cubicBezTo>
                <a:close/>
                <a:moveTo>
                  <a:pt x="28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154"/>
                  <a:pt x="271" y="149"/>
                  <a:pt x="277" y="149"/>
                </a:cubicBezTo>
                <a:cubicBezTo>
                  <a:pt x="283" y="149"/>
                  <a:pt x="288" y="154"/>
                  <a:pt x="288" y="160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371" y="352"/>
                  <a:pt x="371" y="352"/>
                  <a:pt x="371" y="352"/>
                </a:cubicBezTo>
                <a:cubicBezTo>
                  <a:pt x="367" y="364"/>
                  <a:pt x="355" y="373"/>
                  <a:pt x="341" y="373"/>
                </a:cubicBezTo>
                <a:cubicBezTo>
                  <a:pt x="327" y="373"/>
                  <a:pt x="315" y="364"/>
                  <a:pt x="311" y="352"/>
                </a:cubicBezTo>
                <a:cubicBezTo>
                  <a:pt x="190" y="352"/>
                  <a:pt x="190" y="352"/>
                  <a:pt x="190" y="352"/>
                </a:cubicBezTo>
                <a:cubicBezTo>
                  <a:pt x="185" y="364"/>
                  <a:pt x="174" y="373"/>
                  <a:pt x="160" y="373"/>
                </a:cubicBezTo>
                <a:cubicBezTo>
                  <a:pt x="146" y="373"/>
                  <a:pt x="134" y="364"/>
                  <a:pt x="130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4"/>
                  <a:pt x="100" y="160"/>
                  <a:pt x="106" y="160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45" y="142"/>
                  <a:pt x="259" y="128"/>
                  <a:pt x="277" y="128"/>
                </a:cubicBezTo>
                <a:cubicBezTo>
                  <a:pt x="295" y="128"/>
                  <a:pt x="309" y="142"/>
                  <a:pt x="309" y="16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326" y="160"/>
                  <a:pt x="330" y="164"/>
                  <a:pt x="330" y="170"/>
                </a:cubicBezTo>
                <a:cubicBezTo>
                  <a:pt x="330" y="224"/>
                  <a:pt x="330" y="224"/>
                  <a:pt x="330" y="224"/>
                </a:cubicBezTo>
                <a:cubicBezTo>
                  <a:pt x="384" y="224"/>
                  <a:pt x="384" y="224"/>
                  <a:pt x="384" y="224"/>
                </a:cubicBezTo>
                <a:cubicBezTo>
                  <a:pt x="401" y="224"/>
                  <a:pt x="416" y="238"/>
                  <a:pt x="416" y="256"/>
                </a:cubicBezTo>
                <a:lnTo>
                  <a:pt x="416" y="341"/>
                </a:lnTo>
                <a:close/>
                <a:moveTo>
                  <a:pt x="352" y="341"/>
                </a:moveTo>
                <a:cubicBezTo>
                  <a:pt x="352" y="347"/>
                  <a:pt x="347" y="352"/>
                  <a:pt x="341" y="352"/>
                </a:cubicBezTo>
                <a:cubicBezTo>
                  <a:pt x="335" y="352"/>
                  <a:pt x="330" y="347"/>
                  <a:pt x="330" y="341"/>
                </a:cubicBezTo>
                <a:cubicBezTo>
                  <a:pt x="330" y="335"/>
                  <a:pt x="335" y="330"/>
                  <a:pt x="341" y="330"/>
                </a:cubicBezTo>
                <a:cubicBezTo>
                  <a:pt x="347" y="330"/>
                  <a:pt x="352" y="335"/>
                  <a:pt x="352" y="341"/>
                </a:cubicBezTo>
                <a:close/>
                <a:moveTo>
                  <a:pt x="394" y="256"/>
                </a:moveTo>
                <a:cubicBezTo>
                  <a:pt x="394" y="330"/>
                  <a:pt x="394" y="330"/>
                  <a:pt x="394" y="330"/>
                </a:cubicBezTo>
                <a:cubicBezTo>
                  <a:pt x="371" y="330"/>
                  <a:pt x="371" y="330"/>
                  <a:pt x="371" y="330"/>
                </a:cubicBezTo>
                <a:cubicBezTo>
                  <a:pt x="367" y="318"/>
                  <a:pt x="355" y="309"/>
                  <a:pt x="341" y="309"/>
                </a:cubicBezTo>
                <a:cubicBezTo>
                  <a:pt x="337" y="309"/>
                  <a:pt x="334" y="310"/>
                  <a:pt x="330" y="311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90" y="245"/>
                  <a:pt x="394" y="250"/>
                  <a:pt x="394" y="256"/>
                </a:cubicBezTo>
                <a:close/>
                <a:moveTo>
                  <a:pt x="170" y="341"/>
                </a:moveTo>
                <a:cubicBezTo>
                  <a:pt x="170" y="347"/>
                  <a:pt x="166" y="352"/>
                  <a:pt x="160" y="352"/>
                </a:cubicBezTo>
                <a:cubicBezTo>
                  <a:pt x="154" y="352"/>
                  <a:pt x="149" y="347"/>
                  <a:pt x="149" y="341"/>
                </a:cubicBezTo>
                <a:cubicBezTo>
                  <a:pt x="149" y="335"/>
                  <a:pt x="154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90" name="Group 49"/>
          <p:cNvGrpSpPr>
            <a:grpSpLocks noChangeAspect="1"/>
          </p:cNvGrpSpPr>
          <p:nvPr/>
        </p:nvGrpSpPr>
        <p:grpSpPr bwMode="auto">
          <a:xfrm>
            <a:off x="2911117" y="2916610"/>
            <a:ext cx="368051" cy="368152"/>
            <a:chOff x="411" y="619"/>
            <a:chExt cx="3635" cy="3636"/>
          </a:xfrm>
          <a:solidFill>
            <a:schemeClr val="accent1"/>
          </a:solidFill>
        </p:grpSpPr>
        <p:sp>
          <p:nvSpPr>
            <p:cNvPr id="191" name="Freeform 50"/>
            <p:cNvSpPr>
              <a:spLocks noEditPoints="1"/>
            </p:cNvSpPr>
            <p:nvPr/>
          </p:nvSpPr>
          <p:spPr bwMode="auto">
            <a:xfrm>
              <a:off x="411" y="619"/>
              <a:ext cx="3635" cy="3636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51"/>
            <p:cNvSpPr>
              <a:spLocks noEditPoints="1"/>
            </p:cNvSpPr>
            <p:nvPr/>
          </p:nvSpPr>
          <p:spPr bwMode="auto">
            <a:xfrm>
              <a:off x="1092" y="1528"/>
              <a:ext cx="2272" cy="1740"/>
            </a:xfrm>
            <a:custGeom>
              <a:avLst/>
              <a:gdLst>
                <a:gd name="T0" fmla="*/ 234 w 320"/>
                <a:gd name="T1" fmla="*/ 96 h 245"/>
                <a:gd name="T2" fmla="*/ 224 w 320"/>
                <a:gd name="T3" fmla="*/ 32 h 245"/>
                <a:gd name="T4" fmla="*/ 181 w 320"/>
                <a:gd name="T5" fmla="*/ 0 h 245"/>
                <a:gd name="T6" fmla="*/ 10 w 320"/>
                <a:gd name="T7" fmla="*/ 32 h 245"/>
                <a:gd name="T8" fmla="*/ 0 w 320"/>
                <a:gd name="T9" fmla="*/ 213 h 245"/>
                <a:gd name="T10" fmla="*/ 34 w 320"/>
                <a:gd name="T11" fmla="*/ 224 h 245"/>
                <a:gd name="T12" fmla="*/ 94 w 320"/>
                <a:gd name="T13" fmla="*/ 224 h 245"/>
                <a:gd name="T14" fmla="*/ 245 w 320"/>
                <a:gd name="T15" fmla="*/ 245 h 245"/>
                <a:gd name="T16" fmla="*/ 309 w 320"/>
                <a:gd name="T17" fmla="*/ 224 h 245"/>
                <a:gd name="T18" fmla="*/ 320 w 320"/>
                <a:gd name="T19" fmla="*/ 128 h 245"/>
                <a:gd name="T20" fmla="*/ 181 w 320"/>
                <a:gd name="T21" fmla="*/ 21 h 245"/>
                <a:gd name="T22" fmla="*/ 170 w 320"/>
                <a:gd name="T23" fmla="*/ 32 h 245"/>
                <a:gd name="T24" fmla="*/ 21 w 320"/>
                <a:gd name="T25" fmla="*/ 53 h 245"/>
                <a:gd name="T26" fmla="*/ 213 w 320"/>
                <a:gd name="T27" fmla="*/ 202 h 245"/>
                <a:gd name="T28" fmla="*/ 64 w 320"/>
                <a:gd name="T29" fmla="*/ 181 h 245"/>
                <a:gd name="T30" fmla="*/ 21 w 320"/>
                <a:gd name="T31" fmla="*/ 202 h 245"/>
                <a:gd name="T32" fmla="*/ 64 w 320"/>
                <a:gd name="T33" fmla="*/ 224 h 245"/>
                <a:gd name="T34" fmla="*/ 64 w 320"/>
                <a:gd name="T35" fmla="*/ 202 h 245"/>
                <a:gd name="T36" fmla="*/ 64 w 320"/>
                <a:gd name="T37" fmla="*/ 224 h 245"/>
                <a:gd name="T38" fmla="*/ 234 w 320"/>
                <a:gd name="T39" fmla="*/ 213 h 245"/>
                <a:gd name="T40" fmla="*/ 256 w 320"/>
                <a:gd name="T41" fmla="*/ 213 h 245"/>
                <a:gd name="T42" fmla="*/ 298 w 320"/>
                <a:gd name="T43" fmla="*/ 202 h 245"/>
                <a:gd name="T44" fmla="*/ 245 w 320"/>
                <a:gd name="T45" fmla="*/ 181 h 245"/>
                <a:gd name="T46" fmla="*/ 234 w 320"/>
                <a:gd name="T47" fmla="*/ 117 h 245"/>
                <a:gd name="T48" fmla="*/ 298 w 320"/>
                <a:gd name="T49" fmla="*/ 128 h 245"/>
                <a:gd name="T50" fmla="*/ 74 w 320"/>
                <a:gd name="T51" fmla="*/ 117 h 245"/>
                <a:gd name="T52" fmla="*/ 106 w 320"/>
                <a:gd name="T53" fmla="*/ 106 h 245"/>
                <a:gd name="T54" fmla="*/ 117 w 320"/>
                <a:gd name="T55" fmla="*/ 74 h 245"/>
                <a:gd name="T56" fmla="*/ 128 w 320"/>
                <a:gd name="T57" fmla="*/ 106 h 245"/>
                <a:gd name="T58" fmla="*/ 160 w 320"/>
                <a:gd name="T59" fmla="*/ 117 h 245"/>
                <a:gd name="T60" fmla="*/ 128 w 320"/>
                <a:gd name="T61" fmla="*/ 128 h 245"/>
                <a:gd name="T62" fmla="*/ 117 w 320"/>
                <a:gd name="T63" fmla="*/ 160 h 245"/>
                <a:gd name="T64" fmla="*/ 106 w 320"/>
                <a:gd name="T65" fmla="*/ 128 h 245"/>
                <a:gd name="T66" fmla="*/ 74 w 320"/>
                <a:gd name="T67" fmla="*/ 117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45">
                  <a:moveTo>
                    <a:pt x="288" y="96"/>
                  </a:moveTo>
                  <a:cubicBezTo>
                    <a:pt x="234" y="96"/>
                    <a:pt x="234" y="96"/>
                    <a:pt x="234" y="96"/>
                  </a:cubicBezTo>
                  <a:cubicBezTo>
                    <a:pt x="234" y="42"/>
                    <a:pt x="234" y="42"/>
                    <a:pt x="234" y="42"/>
                  </a:cubicBezTo>
                  <a:cubicBezTo>
                    <a:pt x="234" y="36"/>
                    <a:pt x="230" y="32"/>
                    <a:pt x="224" y="32"/>
                  </a:cubicBezTo>
                  <a:cubicBezTo>
                    <a:pt x="213" y="32"/>
                    <a:pt x="213" y="32"/>
                    <a:pt x="213" y="32"/>
                  </a:cubicBezTo>
                  <a:cubicBezTo>
                    <a:pt x="213" y="14"/>
                    <a:pt x="199" y="0"/>
                    <a:pt x="181" y="0"/>
                  </a:cubicBezTo>
                  <a:cubicBezTo>
                    <a:pt x="163" y="0"/>
                    <a:pt x="149" y="14"/>
                    <a:pt x="149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36"/>
                    <a:pt x="0" y="42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9"/>
                    <a:pt x="4" y="224"/>
                    <a:pt x="10" y="224"/>
                  </a:cubicBezTo>
                  <a:cubicBezTo>
                    <a:pt x="34" y="224"/>
                    <a:pt x="34" y="224"/>
                    <a:pt x="34" y="224"/>
                  </a:cubicBezTo>
                  <a:cubicBezTo>
                    <a:pt x="38" y="236"/>
                    <a:pt x="50" y="245"/>
                    <a:pt x="64" y="245"/>
                  </a:cubicBezTo>
                  <a:cubicBezTo>
                    <a:pt x="78" y="245"/>
                    <a:pt x="89" y="236"/>
                    <a:pt x="94" y="224"/>
                  </a:cubicBezTo>
                  <a:cubicBezTo>
                    <a:pt x="215" y="224"/>
                    <a:pt x="215" y="224"/>
                    <a:pt x="215" y="224"/>
                  </a:cubicBezTo>
                  <a:cubicBezTo>
                    <a:pt x="219" y="236"/>
                    <a:pt x="231" y="245"/>
                    <a:pt x="245" y="245"/>
                  </a:cubicBezTo>
                  <a:cubicBezTo>
                    <a:pt x="259" y="245"/>
                    <a:pt x="271" y="236"/>
                    <a:pt x="275" y="224"/>
                  </a:cubicBezTo>
                  <a:cubicBezTo>
                    <a:pt x="309" y="224"/>
                    <a:pt x="309" y="224"/>
                    <a:pt x="309" y="224"/>
                  </a:cubicBezTo>
                  <a:cubicBezTo>
                    <a:pt x="315" y="224"/>
                    <a:pt x="320" y="219"/>
                    <a:pt x="320" y="213"/>
                  </a:cubicBezTo>
                  <a:cubicBezTo>
                    <a:pt x="320" y="128"/>
                    <a:pt x="320" y="128"/>
                    <a:pt x="320" y="128"/>
                  </a:cubicBezTo>
                  <a:cubicBezTo>
                    <a:pt x="320" y="110"/>
                    <a:pt x="305" y="96"/>
                    <a:pt x="288" y="96"/>
                  </a:cubicBezTo>
                  <a:close/>
                  <a:moveTo>
                    <a:pt x="181" y="21"/>
                  </a:moveTo>
                  <a:cubicBezTo>
                    <a:pt x="187" y="21"/>
                    <a:pt x="192" y="26"/>
                    <a:pt x="192" y="32"/>
                  </a:cubicBezTo>
                  <a:cubicBezTo>
                    <a:pt x="170" y="32"/>
                    <a:pt x="170" y="32"/>
                    <a:pt x="170" y="32"/>
                  </a:cubicBezTo>
                  <a:cubicBezTo>
                    <a:pt x="170" y="26"/>
                    <a:pt x="175" y="21"/>
                    <a:pt x="181" y="21"/>
                  </a:cubicBezTo>
                  <a:close/>
                  <a:moveTo>
                    <a:pt x="21" y="53"/>
                  </a:moveTo>
                  <a:cubicBezTo>
                    <a:pt x="213" y="53"/>
                    <a:pt x="213" y="53"/>
                    <a:pt x="213" y="53"/>
                  </a:cubicBezTo>
                  <a:cubicBezTo>
                    <a:pt x="213" y="202"/>
                    <a:pt x="213" y="202"/>
                    <a:pt x="213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89" y="190"/>
                    <a:pt x="78" y="181"/>
                    <a:pt x="64" y="181"/>
                  </a:cubicBezTo>
                  <a:cubicBezTo>
                    <a:pt x="50" y="181"/>
                    <a:pt x="38" y="190"/>
                    <a:pt x="34" y="202"/>
                  </a:cubicBezTo>
                  <a:cubicBezTo>
                    <a:pt x="21" y="202"/>
                    <a:pt x="21" y="202"/>
                    <a:pt x="21" y="202"/>
                  </a:cubicBezTo>
                  <a:lnTo>
                    <a:pt x="21" y="53"/>
                  </a:lnTo>
                  <a:close/>
                  <a:moveTo>
                    <a:pt x="64" y="224"/>
                  </a:moveTo>
                  <a:cubicBezTo>
                    <a:pt x="58" y="224"/>
                    <a:pt x="53" y="219"/>
                    <a:pt x="53" y="213"/>
                  </a:cubicBezTo>
                  <a:cubicBezTo>
                    <a:pt x="53" y="207"/>
                    <a:pt x="58" y="202"/>
                    <a:pt x="64" y="202"/>
                  </a:cubicBezTo>
                  <a:cubicBezTo>
                    <a:pt x="70" y="202"/>
                    <a:pt x="74" y="207"/>
                    <a:pt x="74" y="213"/>
                  </a:cubicBezTo>
                  <a:cubicBezTo>
                    <a:pt x="74" y="219"/>
                    <a:pt x="70" y="224"/>
                    <a:pt x="64" y="224"/>
                  </a:cubicBezTo>
                  <a:close/>
                  <a:moveTo>
                    <a:pt x="245" y="224"/>
                  </a:moveTo>
                  <a:cubicBezTo>
                    <a:pt x="239" y="224"/>
                    <a:pt x="234" y="219"/>
                    <a:pt x="234" y="213"/>
                  </a:cubicBezTo>
                  <a:cubicBezTo>
                    <a:pt x="234" y="207"/>
                    <a:pt x="239" y="202"/>
                    <a:pt x="245" y="202"/>
                  </a:cubicBezTo>
                  <a:cubicBezTo>
                    <a:pt x="251" y="202"/>
                    <a:pt x="256" y="207"/>
                    <a:pt x="256" y="213"/>
                  </a:cubicBezTo>
                  <a:cubicBezTo>
                    <a:pt x="256" y="219"/>
                    <a:pt x="251" y="224"/>
                    <a:pt x="245" y="224"/>
                  </a:cubicBezTo>
                  <a:close/>
                  <a:moveTo>
                    <a:pt x="298" y="202"/>
                  </a:moveTo>
                  <a:cubicBezTo>
                    <a:pt x="275" y="202"/>
                    <a:pt x="275" y="202"/>
                    <a:pt x="275" y="202"/>
                  </a:cubicBezTo>
                  <a:cubicBezTo>
                    <a:pt x="271" y="190"/>
                    <a:pt x="259" y="181"/>
                    <a:pt x="245" y="181"/>
                  </a:cubicBezTo>
                  <a:cubicBezTo>
                    <a:pt x="241" y="181"/>
                    <a:pt x="238" y="182"/>
                    <a:pt x="234" y="183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94" y="117"/>
                    <a:pt x="298" y="122"/>
                    <a:pt x="298" y="128"/>
                  </a:cubicBezTo>
                  <a:lnTo>
                    <a:pt x="298" y="202"/>
                  </a:lnTo>
                  <a:close/>
                  <a:moveTo>
                    <a:pt x="74" y="117"/>
                  </a:moveTo>
                  <a:cubicBezTo>
                    <a:pt x="74" y="111"/>
                    <a:pt x="79" y="106"/>
                    <a:pt x="85" y="106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06" y="79"/>
                    <a:pt x="111" y="74"/>
                    <a:pt x="117" y="74"/>
                  </a:cubicBezTo>
                  <a:cubicBezTo>
                    <a:pt x="123" y="74"/>
                    <a:pt x="128" y="79"/>
                    <a:pt x="128" y="85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55" y="106"/>
                    <a:pt x="160" y="111"/>
                    <a:pt x="160" y="117"/>
                  </a:cubicBezTo>
                  <a:cubicBezTo>
                    <a:pt x="160" y="123"/>
                    <a:pt x="155" y="128"/>
                    <a:pt x="14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55"/>
                    <a:pt x="123" y="160"/>
                    <a:pt x="117" y="160"/>
                  </a:cubicBezTo>
                  <a:cubicBezTo>
                    <a:pt x="111" y="160"/>
                    <a:pt x="106" y="155"/>
                    <a:pt x="106" y="149"/>
                  </a:cubicBezTo>
                  <a:cubicBezTo>
                    <a:pt x="106" y="128"/>
                    <a:pt x="106" y="128"/>
                    <a:pt x="106" y="128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79" y="128"/>
                    <a:pt x="74" y="123"/>
                    <a:pt x="74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3" name="Freeform 15"/>
          <p:cNvSpPr>
            <a:spLocks noChangeAspect="1" noEditPoints="1"/>
          </p:cNvSpPr>
          <p:nvPr/>
        </p:nvSpPr>
        <p:spPr bwMode="auto">
          <a:xfrm>
            <a:off x="3408744" y="2916610"/>
            <a:ext cx="369676" cy="369676"/>
          </a:xfrm>
          <a:custGeom>
            <a:avLst/>
            <a:gdLst>
              <a:gd name="T0" fmla="*/ 213 w 512"/>
              <a:gd name="T1" fmla="*/ 258 h 512"/>
              <a:gd name="T2" fmla="*/ 298 w 512"/>
              <a:gd name="T3" fmla="*/ 288 h 512"/>
              <a:gd name="T4" fmla="*/ 303 w 512"/>
              <a:gd name="T5" fmla="*/ 250 h 512"/>
              <a:gd name="T6" fmla="*/ 256 w 512"/>
              <a:gd name="T7" fmla="*/ 117 h 512"/>
              <a:gd name="T8" fmla="*/ 209 w 512"/>
              <a:gd name="T9" fmla="*/ 250 h 512"/>
              <a:gd name="T10" fmla="*/ 280 w 512"/>
              <a:gd name="T11" fmla="*/ 195 h 512"/>
              <a:gd name="T12" fmla="*/ 295 w 512"/>
              <a:gd name="T13" fmla="*/ 195 h 512"/>
              <a:gd name="T14" fmla="*/ 298 w 512"/>
              <a:gd name="T15" fmla="*/ 202 h 512"/>
              <a:gd name="T16" fmla="*/ 292 w 512"/>
              <a:gd name="T17" fmla="*/ 212 h 512"/>
              <a:gd name="T18" fmla="*/ 280 w 512"/>
              <a:gd name="T19" fmla="*/ 210 h 512"/>
              <a:gd name="T20" fmla="*/ 277 w 512"/>
              <a:gd name="T21" fmla="*/ 202 h 512"/>
              <a:gd name="T22" fmla="*/ 214 w 512"/>
              <a:gd name="T23" fmla="*/ 198 h 512"/>
              <a:gd name="T24" fmla="*/ 228 w 512"/>
              <a:gd name="T25" fmla="*/ 193 h 512"/>
              <a:gd name="T26" fmla="*/ 233 w 512"/>
              <a:gd name="T27" fmla="*/ 198 h 512"/>
              <a:gd name="T28" fmla="*/ 233 w 512"/>
              <a:gd name="T29" fmla="*/ 206 h 512"/>
              <a:gd name="T30" fmla="*/ 228 w 512"/>
              <a:gd name="T31" fmla="*/ 212 h 512"/>
              <a:gd name="T32" fmla="*/ 220 w 512"/>
              <a:gd name="T33" fmla="*/ 212 h 512"/>
              <a:gd name="T34" fmla="*/ 214 w 512"/>
              <a:gd name="T35" fmla="*/ 206 h 512"/>
              <a:gd name="T36" fmla="*/ 214 w 512"/>
              <a:gd name="T37" fmla="*/ 198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320 w 512"/>
              <a:gd name="T45" fmla="*/ 263 h 512"/>
              <a:gd name="T46" fmla="*/ 309 w 512"/>
              <a:gd name="T47" fmla="*/ 309 h 512"/>
              <a:gd name="T48" fmla="*/ 195 w 512"/>
              <a:gd name="T49" fmla="*/ 306 h 512"/>
              <a:gd name="T50" fmla="*/ 192 w 512"/>
              <a:gd name="T51" fmla="*/ 263 h 512"/>
              <a:gd name="T52" fmla="*/ 256 w 512"/>
              <a:gd name="T53" fmla="*/ 96 h 512"/>
              <a:gd name="T54" fmla="*/ 372 w 512"/>
              <a:gd name="T55" fmla="*/ 409 h 512"/>
              <a:gd name="T56" fmla="*/ 359 w 512"/>
              <a:gd name="T57" fmla="*/ 415 h 512"/>
              <a:gd name="T58" fmla="*/ 153 w 512"/>
              <a:gd name="T59" fmla="*/ 415 h 512"/>
              <a:gd name="T60" fmla="*/ 139 w 512"/>
              <a:gd name="T61" fmla="*/ 409 h 512"/>
              <a:gd name="T62" fmla="*/ 223 w 512"/>
              <a:gd name="T63" fmla="*/ 368 h 512"/>
              <a:gd name="T64" fmla="*/ 139 w 512"/>
              <a:gd name="T65" fmla="*/ 327 h 512"/>
              <a:gd name="T66" fmla="*/ 256 w 512"/>
              <a:gd name="T67" fmla="*/ 356 h 512"/>
              <a:gd name="T68" fmla="*/ 372 w 512"/>
              <a:gd name="T69" fmla="*/ 327 h 512"/>
              <a:gd name="T70" fmla="*/ 288 w 512"/>
              <a:gd name="T71" fmla="*/ 3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09" y="250"/>
                </a:moveTo>
                <a:cubicBezTo>
                  <a:pt x="212" y="252"/>
                  <a:pt x="213" y="255"/>
                  <a:pt x="213" y="258"/>
                </a:cubicBezTo>
                <a:cubicBezTo>
                  <a:pt x="213" y="288"/>
                  <a:pt x="213" y="288"/>
                  <a:pt x="213" y="288"/>
                </a:cubicBezTo>
                <a:cubicBezTo>
                  <a:pt x="298" y="288"/>
                  <a:pt x="298" y="288"/>
                  <a:pt x="298" y="288"/>
                </a:cubicBezTo>
                <a:cubicBezTo>
                  <a:pt x="298" y="258"/>
                  <a:pt x="298" y="258"/>
                  <a:pt x="298" y="258"/>
                </a:cubicBezTo>
                <a:cubicBezTo>
                  <a:pt x="298" y="255"/>
                  <a:pt x="300" y="252"/>
                  <a:pt x="303" y="250"/>
                </a:cubicBezTo>
                <a:cubicBezTo>
                  <a:pt x="321" y="237"/>
                  <a:pt x="330" y="216"/>
                  <a:pt x="330" y="192"/>
                </a:cubicBezTo>
                <a:cubicBezTo>
                  <a:pt x="330" y="150"/>
                  <a:pt x="297" y="117"/>
                  <a:pt x="256" y="117"/>
                </a:cubicBezTo>
                <a:cubicBezTo>
                  <a:pt x="214" y="117"/>
                  <a:pt x="181" y="150"/>
                  <a:pt x="181" y="192"/>
                </a:cubicBezTo>
                <a:cubicBezTo>
                  <a:pt x="181" y="214"/>
                  <a:pt x="191" y="236"/>
                  <a:pt x="209" y="250"/>
                </a:cubicBezTo>
                <a:close/>
                <a:moveTo>
                  <a:pt x="278" y="198"/>
                </a:moveTo>
                <a:cubicBezTo>
                  <a:pt x="278" y="197"/>
                  <a:pt x="279" y="196"/>
                  <a:pt x="280" y="195"/>
                </a:cubicBezTo>
                <a:cubicBezTo>
                  <a:pt x="281" y="194"/>
                  <a:pt x="282" y="193"/>
                  <a:pt x="284" y="193"/>
                </a:cubicBezTo>
                <a:cubicBezTo>
                  <a:pt x="287" y="191"/>
                  <a:pt x="292" y="192"/>
                  <a:pt x="295" y="195"/>
                </a:cubicBezTo>
                <a:cubicBezTo>
                  <a:pt x="296" y="196"/>
                  <a:pt x="297" y="197"/>
                  <a:pt x="297" y="198"/>
                </a:cubicBezTo>
                <a:cubicBezTo>
                  <a:pt x="298" y="200"/>
                  <a:pt x="298" y="201"/>
                  <a:pt x="298" y="202"/>
                </a:cubicBezTo>
                <a:cubicBezTo>
                  <a:pt x="298" y="205"/>
                  <a:pt x="297" y="208"/>
                  <a:pt x="295" y="210"/>
                </a:cubicBezTo>
                <a:cubicBezTo>
                  <a:pt x="294" y="211"/>
                  <a:pt x="293" y="212"/>
                  <a:pt x="292" y="212"/>
                </a:cubicBezTo>
                <a:cubicBezTo>
                  <a:pt x="290" y="213"/>
                  <a:pt x="289" y="213"/>
                  <a:pt x="288" y="213"/>
                </a:cubicBezTo>
                <a:cubicBezTo>
                  <a:pt x="285" y="213"/>
                  <a:pt x="282" y="212"/>
                  <a:pt x="280" y="210"/>
                </a:cubicBezTo>
                <a:cubicBezTo>
                  <a:pt x="279" y="209"/>
                  <a:pt x="278" y="208"/>
                  <a:pt x="278" y="206"/>
                </a:cubicBezTo>
                <a:cubicBezTo>
                  <a:pt x="277" y="205"/>
                  <a:pt x="277" y="204"/>
                  <a:pt x="277" y="202"/>
                </a:cubicBezTo>
                <a:cubicBezTo>
                  <a:pt x="277" y="201"/>
                  <a:pt x="277" y="200"/>
                  <a:pt x="278" y="198"/>
                </a:cubicBezTo>
                <a:close/>
                <a:moveTo>
                  <a:pt x="214" y="198"/>
                </a:moveTo>
                <a:cubicBezTo>
                  <a:pt x="214" y="197"/>
                  <a:pt x="215" y="196"/>
                  <a:pt x="216" y="195"/>
                </a:cubicBezTo>
                <a:cubicBezTo>
                  <a:pt x="219" y="192"/>
                  <a:pt x="224" y="191"/>
                  <a:pt x="228" y="193"/>
                </a:cubicBezTo>
                <a:cubicBezTo>
                  <a:pt x="229" y="193"/>
                  <a:pt x="230" y="194"/>
                  <a:pt x="231" y="195"/>
                </a:cubicBezTo>
                <a:cubicBezTo>
                  <a:pt x="232" y="196"/>
                  <a:pt x="233" y="197"/>
                  <a:pt x="233" y="198"/>
                </a:cubicBezTo>
                <a:cubicBezTo>
                  <a:pt x="234" y="200"/>
                  <a:pt x="234" y="201"/>
                  <a:pt x="234" y="202"/>
                </a:cubicBezTo>
                <a:cubicBezTo>
                  <a:pt x="234" y="204"/>
                  <a:pt x="234" y="205"/>
                  <a:pt x="233" y="206"/>
                </a:cubicBezTo>
                <a:cubicBezTo>
                  <a:pt x="233" y="208"/>
                  <a:pt x="232" y="209"/>
                  <a:pt x="231" y="210"/>
                </a:cubicBezTo>
                <a:cubicBezTo>
                  <a:pt x="230" y="211"/>
                  <a:pt x="229" y="212"/>
                  <a:pt x="228" y="212"/>
                </a:cubicBezTo>
                <a:cubicBezTo>
                  <a:pt x="226" y="213"/>
                  <a:pt x="225" y="213"/>
                  <a:pt x="224" y="213"/>
                </a:cubicBezTo>
                <a:cubicBezTo>
                  <a:pt x="222" y="213"/>
                  <a:pt x="221" y="213"/>
                  <a:pt x="220" y="212"/>
                </a:cubicBezTo>
                <a:cubicBezTo>
                  <a:pt x="218" y="212"/>
                  <a:pt x="217" y="211"/>
                  <a:pt x="216" y="210"/>
                </a:cubicBezTo>
                <a:cubicBezTo>
                  <a:pt x="215" y="209"/>
                  <a:pt x="214" y="208"/>
                  <a:pt x="214" y="206"/>
                </a:cubicBezTo>
                <a:cubicBezTo>
                  <a:pt x="213" y="205"/>
                  <a:pt x="213" y="204"/>
                  <a:pt x="213" y="202"/>
                </a:cubicBezTo>
                <a:cubicBezTo>
                  <a:pt x="213" y="201"/>
                  <a:pt x="213" y="200"/>
                  <a:pt x="214" y="198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96"/>
                </a:moveTo>
                <a:cubicBezTo>
                  <a:pt x="309" y="96"/>
                  <a:pt x="352" y="139"/>
                  <a:pt x="352" y="192"/>
                </a:cubicBezTo>
                <a:cubicBezTo>
                  <a:pt x="352" y="221"/>
                  <a:pt x="340" y="246"/>
                  <a:pt x="320" y="263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304"/>
                  <a:pt x="315" y="309"/>
                  <a:pt x="309" y="309"/>
                </a:cubicBezTo>
                <a:cubicBezTo>
                  <a:pt x="202" y="309"/>
                  <a:pt x="202" y="309"/>
                  <a:pt x="202" y="309"/>
                </a:cubicBezTo>
                <a:cubicBezTo>
                  <a:pt x="199" y="309"/>
                  <a:pt x="197" y="308"/>
                  <a:pt x="195" y="306"/>
                </a:cubicBezTo>
                <a:cubicBezTo>
                  <a:pt x="193" y="304"/>
                  <a:pt x="192" y="301"/>
                  <a:pt x="192" y="298"/>
                </a:cubicBezTo>
                <a:cubicBezTo>
                  <a:pt x="192" y="263"/>
                  <a:pt x="192" y="263"/>
                  <a:pt x="192" y="263"/>
                </a:cubicBezTo>
                <a:cubicBezTo>
                  <a:pt x="171" y="245"/>
                  <a:pt x="160" y="219"/>
                  <a:pt x="160" y="192"/>
                </a:cubicBezTo>
                <a:cubicBezTo>
                  <a:pt x="160" y="139"/>
                  <a:pt x="203" y="96"/>
                  <a:pt x="256" y="96"/>
                </a:cubicBezTo>
                <a:close/>
                <a:moveTo>
                  <a:pt x="366" y="395"/>
                </a:moveTo>
                <a:cubicBezTo>
                  <a:pt x="371" y="397"/>
                  <a:pt x="374" y="403"/>
                  <a:pt x="372" y="409"/>
                </a:cubicBezTo>
                <a:cubicBezTo>
                  <a:pt x="371" y="413"/>
                  <a:pt x="367" y="416"/>
                  <a:pt x="362" y="416"/>
                </a:cubicBezTo>
                <a:cubicBezTo>
                  <a:pt x="361" y="416"/>
                  <a:pt x="360" y="415"/>
                  <a:pt x="359" y="415"/>
                </a:cubicBezTo>
                <a:cubicBezTo>
                  <a:pt x="256" y="379"/>
                  <a:pt x="256" y="379"/>
                  <a:pt x="256" y="379"/>
                </a:cubicBezTo>
                <a:cubicBezTo>
                  <a:pt x="153" y="415"/>
                  <a:pt x="153" y="415"/>
                  <a:pt x="153" y="415"/>
                </a:cubicBezTo>
                <a:cubicBezTo>
                  <a:pt x="151" y="415"/>
                  <a:pt x="150" y="416"/>
                  <a:pt x="149" y="416"/>
                </a:cubicBezTo>
                <a:cubicBezTo>
                  <a:pt x="145" y="416"/>
                  <a:pt x="140" y="413"/>
                  <a:pt x="139" y="409"/>
                </a:cubicBezTo>
                <a:cubicBezTo>
                  <a:pt x="137" y="403"/>
                  <a:pt x="140" y="397"/>
                  <a:pt x="145" y="395"/>
                </a:cubicBezTo>
                <a:cubicBezTo>
                  <a:pt x="223" y="368"/>
                  <a:pt x="223" y="368"/>
                  <a:pt x="223" y="368"/>
                </a:cubicBezTo>
                <a:cubicBezTo>
                  <a:pt x="145" y="340"/>
                  <a:pt x="145" y="340"/>
                  <a:pt x="145" y="340"/>
                </a:cubicBezTo>
                <a:cubicBezTo>
                  <a:pt x="140" y="338"/>
                  <a:pt x="137" y="332"/>
                  <a:pt x="139" y="327"/>
                </a:cubicBezTo>
                <a:cubicBezTo>
                  <a:pt x="141" y="321"/>
                  <a:pt x="147" y="318"/>
                  <a:pt x="153" y="320"/>
                </a:cubicBezTo>
                <a:cubicBezTo>
                  <a:pt x="256" y="356"/>
                  <a:pt x="256" y="356"/>
                  <a:pt x="256" y="356"/>
                </a:cubicBezTo>
                <a:cubicBezTo>
                  <a:pt x="359" y="320"/>
                  <a:pt x="359" y="320"/>
                  <a:pt x="359" y="320"/>
                </a:cubicBezTo>
                <a:cubicBezTo>
                  <a:pt x="364" y="318"/>
                  <a:pt x="370" y="321"/>
                  <a:pt x="372" y="327"/>
                </a:cubicBezTo>
                <a:cubicBezTo>
                  <a:pt x="374" y="332"/>
                  <a:pt x="371" y="338"/>
                  <a:pt x="366" y="340"/>
                </a:cubicBezTo>
                <a:cubicBezTo>
                  <a:pt x="288" y="368"/>
                  <a:pt x="288" y="368"/>
                  <a:pt x="288" y="368"/>
                </a:cubicBezTo>
                <a:lnTo>
                  <a:pt x="366" y="39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94" name="Group 4"/>
          <p:cNvGrpSpPr>
            <a:grpSpLocks noChangeAspect="1"/>
          </p:cNvGrpSpPr>
          <p:nvPr/>
        </p:nvGrpSpPr>
        <p:grpSpPr bwMode="auto">
          <a:xfrm>
            <a:off x="3907996" y="2916610"/>
            <a:ext cx="370800" cy="370800"/>
            <a:chOff x="5368" y="850"/>
            <a:chExt cx="254" cy="254"/>
          </a:xfrm>
          <a:solidFill>
            <a:schemeClr val="accent1"/>
          </a:solidFill>
        </p:grpSpPr>
        <p:sp>
          <p:nvSpPr>
            <p:cNvPr id="195" name="Line 5"/>
            <p:cNvSpPr>
              <a:spLocks noChangeShapeType="1"/>
            </p:cNvSpPr>
            <p:nvPr/>
          </p:nvSpPr>
          <p:spPr bwMode="auto">
            <a:xfrm>
              <a:off x="5495" y="855"/>
              <a:ext cx="0" cy="0"/>
            </a:xfrm>
            <a:prstGeom prst="line">
              <a:avLst/>
            </a:prstGeom>
            <a:grpFill/>
            <a:ln w="1587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6"/>
            <p:cNvSpPr>
              <a:spLocks noEditPoints="1"/>
            </p:cNvSpPr>
            <p:nvPr/>
          </p:nvSpPr>
          <p:spPr bwMode="auto">
            <a:xfrm>
              <a:off x="5447" y="898"/>
              <a:ext cx="96" cy="105"/>
            </a:xfrm>
            <a:custGeom>
              <a:avLst/>
              <a:gdLst>
                <a:gd name="T0" fmla="*/ 149 w 192"/>
                <a:gd name="T1" fmla="*/ 213 h 213"/>
                <a:gd name="T2" fmla="*/ 42 w 192"/>
                <a:gd name="T3" fmla="*/ 213 h 213"/>
                <a:gd name="T4" fmla="*/ 35 w 192"/>
                <a:gd name="T5" fmla="*/ 210 h 213"/>
                <a:gd name="T6" fmla="*/ 32 w 192"/>
                <a:gd name="T7" fmla="*/ 202 h 213"/>
                <a:gd name="T8" fmla="*/ 32 w 192"/>
                <a:gd name="T9" fmla="*/ 167 h 213"/>
                <a:gd name="T10" fmla="*/ 0 w 192"/>
                <a:gd name="T11" fmla="*/ 96 h 213"/>
                <a:gd name="T12" fmla="*/ 96 w 192"/>
                <a:gd name="T13" fmla="*/ 0 h 213"/>
                <a:gd name="T14" fmla="*/ 192 w 192"/>
                <a:gd name="T15" fmla="*/ 96 h 213"/>
                <a:gd name="T16" fmla="*/ 160 w 192"/>
                <a:gd name="T17" fmla="*/ 167 h 213"/>
                <a:gd name="T18" fmla="*/ 160 w 192"/>
                <a:gd name="T19" fmla="*/ 202 h 213"/>
                <a:gd name="T20" fmla="*/ 149 w 192"/>
                <a:gd name="T21" fmla="*/ 213 h 213"/>
                <a:gd name="T22" fmla="*/ 53 w 192"/>
                <a:gd name="T23" fmla="*/ 192 h 213"/>
                <a:gd name="T24" fmla="*/ 138 w 192"/>
                <a:gd name="T25" fmla="*/ 192 h 213"/>
                <a:gd name="T26" fmla="*/ 138 w 192"/>
                <a:gd name="T27" fmla="*/ 162 h 213"/>
                <a:gd name="T28" fmla="*/ 143 w 192"/>
                <a:gd name="T29" fmla="*/ 154 h 213"/>
                <a:gd name="T30" fmla="*/ 170 w 192"/>
                <a:gd name="T31" fmla="*/ 96 h 213"/>
                <a:gd name="T32" fmla="*/ 96 w 192"/>
                <a:gd name="T33" fmla="*/ 21 h 213"/>
                <a:gd name="T34" fmla="*/ 21 w 192"/>
                <a:gd name="T35" fmla="*/ 96 h 213"/>
                <a:gd name="T36" fmla="*/ 49 w 192"/>
                <a:gd name="T37" fmla="*/ 154 h 213"/>
                <a:gd name="T38" fmla="*/ 53 w 192"/>
                <a:gd name="T39" fmla="*/ 162 h 213"/>
                <a:gd name="T40" fmla="*/ 53 w 192"/>
                <a:gd name="T41" fmla="*/ 19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13">
                  <a:moveTo>
                    <a:pt x="149" y="213"/>
                  </a:moveTo>
                  <a:cubicBezTo>
                    <a:pt x="42" y="213"/>
                    <a:pt x="42" y="213"/>
                    <a:pt x="42" y="213"/>
                  </a:cubicBezTo>
                  <a:cubicBezTo>
                    <a:pt x="40" y="213"/>
                    <a:pt x="37" y="212"/>
                    <a:pt x="35" y="210"/>
                  </a:cubicBezTo>
                  <a:cubicBezTo>
                    <a:pt x="33" y="208"/>
                    <a:pt x="32" y="205"/>
                    <a:pt x="32" y="202"/>
                  </a:cubicBezTo>
                  <a:cubicBezTo>
                    <a:pt x="32" y="167"/>
                    <a:pt x="32" y="167"/>
                    <a:pt x="32" y="167"/>
                  </a:cubicBezTo>
                  <a:cubicBezTo>
                    <a:pt x="11" y="149"/>
                    <a:pt x="0" y="123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25"/>
                    <a:pt x="180" y="150"/>
                    <a:pt x="160" y="167"/>
                  </a:cubicBezTo>
                  <a:cubicBezTo>
                    <a:pt x="160" y="202"/>
                    <a:pt x="160" y="202"/>
                    <a:pt x="160" y="202"/>
                  </a:cubicBezTo>
                  <a:cubicBezTo>
                    <a:pt x="160" y="208"/>
                    <a:pt x="155" y="213"/>
                    <a:pt x="149" y="213"/>
                  </a:cubicBezTo>
                  <a:close/>
                  <a:moveTo>
                    <a:pt x="53" y="192"/>
                  </a:moveTo>
                  <a:cubicBezTo>
                    <a:pt x="138" y="192"/>
                    <a:pt x="138" y="192"/>
                    <a:pt x="138" y="192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159"/>
                    <a:pt x="140" y="156"/>
                    <a:pt x="143" y="154"/>
                  </a:cubicBezTo>
                  <a:cubicBezTo>
                    <a:pt x="161" y="141"/>
                    <a:pt x="170" y="120"/>
                    <a:pt x="170" y="96"/>
                  </a:cubicBezTo>
                  <a:cubicBezTo>
                    <a:pt x="170" y="54"/>
                    <a:pt x="137" y="21"/>
                    <a:pt x="96" y="21"/>
                  </a:cubicBezTo>
                  <a:cubicBezTo>
                    <a:pt x="54" y="21"/>
                    <a:pt x="21" y="54"/>
                    <a:pt x="21" y="96"/>
                  </a:cubicBezTo>
                  <a:cubicBezTo>
                    <a:pt x="21" y="118"/>
                    <a:pt x="31" y="140"/>
                    <a:pt x="49" y="154"/>
                  </a:cubicBezTo>
                  <a:cubicBezTo>
                    <a:pt x="52" y="156"/>
                    <a:pt x="53" y="159"/>
                    <a:pt x="53" y="162"/>
                  </a:cubicBezTo>
                  <a:lnTo>
                    <a:pt x="53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7"/>
            <p:cNvSpPr>
              <a:spLocks/>
            </p:cNvSpPr>
            <p:nvPr/>
          </p:nvSpPr>
          <p:spPr bwMode="auto">
            <a:xfrm>
              <a:off x="5436" y="1008"/>
              <a:ext cx="118" cy="48"/>
            </a:xfrm>
            <a:custGeom>
              <a:avLst/>
              <a:gdLst>
                <a:gd name="T0" fmla="*/ 229 w 237"/>
                <a:gd name="T1" fmla="*/ 77 h 98"/>
                <a:gd name="T2" fmla="*/ 151 w 237"/>
                <a:gd name="T3" fmla="*/ 50 h 98"/>
                <a:gd name="T4" fmla="*/ 229 w 237"/>
                <a:gd name="T5" fmla="*/ 22 h 98"/>
                <a:gd name="T6" fmla="*/ 235 w 237"/>
                <a:gd name="T7" fmla="*/ 9 h 98"/>
                <a:gd name="T8" fmla="*/ 222 w 237"/>
                <a:gd name="T9" fmla="*/ 2 h 98"/>
                <a:gd name="T10" fmla="*/ 119 w 237"/>
                <a:gd name="T11" fmla="*/ 38 h 98"/>
                <a:gd name="T12" fmla="*/ 16 w 237"/>
                <a:gd name="T13" fmla="*/ 2 h 98"/>
                <a:gd name="T14" fmla="*/ 2 w 237"/>
                <a:gd name="T15" fmla="*/ 9 h 98"/>
                <a:gd name="T16" fmla="*/ 8 w 237"/>
                <a:gd name="T17" fmla="*/ 22 h 98"/>
                <a:gd name="T18" fmla="*/ 86 w 237"/>
                <a:gd name="T19" fmla="*/ 50 h 98"/>
                <a:gd name="T20" fmla="*/ 8 w 237"/>
                <a:gd name="T21" fmla="*/ 77 h 98"/>
                <a:gd name="T22" fmla="*/ 2 w 237"/>
                <a:gd name="T23" fmla="*/ 91 h 98"/>
                <a:gd name="T24" fmla="*/ 12 w 237"/>
                <a:gd name="T25" fmla="*/ 98 h 98"/>
                <a:gd name="T26" fmla="*/ 16 w 237"/>
                <a:gd name="T27" fmla="*/ 97 h 98"/>
                <a:gd name="T28" fmla="*/ 119 w 237"/>
                <a:gd name="T29" fmla="*/ 61 h 98"/>
                <a:gd name="T30" fmla="*/ 222 w 237"/>
                <a:gd name="T31" fmla="*/ 97 h 98"/>
                <a:gd name="T32" fmla="*/ 225 w 237"/>
                <a:gd name="T33" fmla="*/ 98 h 98"/>
                <a:gd name="T34" fmla="*/ 235 w 237"/>
                <a:gd name="T35" fmla="*/ 91 h 98"/>
                <a:gd name="T36" fmla="*/ 229 w 237"/>
                <a:gd name="T37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7" h="98">
                  <a:moveTo>
                    <a:pt x="229" y="77"/>
                  </a:moveTo>
                  <a:cubicBezTo>
                    <a:pt x="151" y="50"/>
                    <a:pt x="151" y="50"/>
                    <a:pt x="151" y="50"/>
                  </a:cubicBezTo>
                  <a:cubicBezTo>
                    <a:pt x="229" y="22"/>
                    <a:pt x="229" y="22"/>
                    <a:pt x="229" y="22"/>
                  </a:cubicBezTo>
                  <a:cubicBezTo>
                    <a:pt x="234" y="20"/>
                    <a:pt x="237" y="14"/>
                    <a:pt x="235" y="9"/>
                  </a:cubicBezTo>
                  <a:cubicBezTo>
                    <a:pt x="233" y="3"/>
                    <a:pt x="227" y="0"/>
                    <a:pt x="222" y="2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0" y="0"/>
                    <a:pt x="4" y="3"/>
                    <a:pt x="2" y="9"/>
                  </a:cubicBezTo>
                  <a:cubicBezTo>
                    <a:pt x="0" y="14"/>
                    <a:pt x="3" y="20"/>
                    <a:pt x="8" y="22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3" y="79"/>
                    <a:pt x="0" y="85"/>
                    <a:pt x="2" y="91"/>
                  </a:cubicBezTo>
                  <a:cubicBezTo>
                    <a:pt x="3" y="95"/>
                    <a:pt x="8" y="98"/>
                    <a:pt x="12" y="98"/>
                  </a:cubicBezTo>
                  <a:cubicBezTo>
                    <a:pt x="13" y="98"/>
                    <a:pt x="14" y="97"/>
                    <a:pt x="16" y="97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222" y="97"/>
                    <a:pt x="222" y="97"/>
                    <a:pt x="222" y="97"/>
                  </a:cubicBezTo>
                  <a:cubicBezTo>
                    <a:pt x="223" y="97"/>
                    <a:pt x="224" y="98"/>
                    <a:pt x="225" y="98"/>
                  </a:cubicBezTo>
                  <a:cubicBezTo>
                    <a:pt x="230" y="98"/>
                    <a:pt x="234" y="95"/>
                    <a:pt x="235" y="91"/>
                  </a:cubicBezTo>
                  <a:cubicBezTo>
                    <a:pt x="237" y="85"/>
                    <a:pt x="234" y="79"/>
                    <a:pt x="229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8"/>
            <p:cNvSpPr>
              <a:spLocks/>
            </p:cNvSpPr>
            <p:nvPr/>
          </p:nvSpPr>
          <p:spPr bwMode="auto">
            <a:xfrm>
              <a:off x="5474" y="945"/>
              <a:ext cx="10" cy="11"/>
            </a:xfrm>
            <a:custGeom>
              <a:avLst/>
              <a:gdLst>
                <a:gd name="T0" fmla="*/ 11 w 21"/>
                <a:gd name="T1" fmla="*/ 21 h 21"/>
                <a:gd name="T2" fmla="*/ 3 w 21"/>
                <a:gd name="T3" fmla="*/ 18 h 21"/>
                <a:gd name="T4" fmla="*/ 0 w 21"/>
                <a:gd name="T5" fmla="*/ 10 h 21"/>
                <a:gd name="T6" fmla="*/ 3 w 21"/>
                <a:gd name="T7" fmla="*/ 3 h 21"/>
                <a:gd name="T8" fmla="*/ 11 w 21"/>
                <a:gd name="T9" fmla="*/ 0 h 21"/>
                <a:gd name="T10" fmla="*/ 18 w 21"/>
                <a:gd name="T11" fmla="*/ 3 h 21"/>
                <a:gd name="T12" fmla="*/ 21 w 21"/>
                <a:gd name="T13" fmla="*/ 10 h 21"/>
                <a:gd name="T14" fmla="*/ 18 w 21"/>
                <a:gd name="T15" fmla="*/ 18 h 21"/>
                <a:gd name="T16" fmla="*/ 11 w 21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3" y="0"/>
                    <a:pt x="16" y="1"/>
                    <a:pt x="18" y="3"/>
                  </a:cubicBezTo>
                  <a:cubicBezTo>
                    <a:pt x="20" y="5"/>
                    <a:pt x="21" y="8"/>
                    <a:pt x="21" y="10"/>
                  </a:cubicBezTo>
                  <a:cubicBezTo>
                    <a:pt x="21" y="13"/>
                    <a:pt x="20" y="16"/>
                    <a:pt x="18" y="18"/>
                  </a:cubicBezTo>
                  <a:cubicBezTo>
                    <a:pt x="16" y="20"/>
                    <a:pt x="13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9"/>
            <p:cNvSpPr>
              <a:spLocks/>
            </p:cNvSpPr>
            <p:nvPr/>
          </p:nvSpPr>
          <p:spPr bwMode="auto">
            <a:xfrm>
              <a:off x="5505" y="945"/>
              <a:ext cx="11" cy="11"/>
            </a:xfrm>
            <a:custGeom>
              <a:avLst/>
              <a:gdLst>
                <a:gd name="T0" fmla="*/ 11 w 21"/>
                <a:gd name="T1" fmla="*/ 21 h 21"/>
                <a:gd name="T2" fmla="*/ 3 w 21"/>
                <a:gd name="T3" fmla="*/ 18 h 21"/>
                <a:gd name="T4" fmla="*/ 0 w 21"/>
                <a:gd name="T5" fmla="*/ 10 h 21"/>
                <a:gd name="T6" fmla="*/ 3 w 21"/>
                <a:gd name="T7" fmla="*/ 3 h 21"/>
                <a:gd name="T8" fmla="*/ 11 w 21"/>
                <a:gd name="T9" fmla="*/ 0 h 21"/>
                <a:gd name="T10" fmla="*/ 18 w 21"/>
                <a:gd name="T11" fmla="*/ 3 h 21"/>
                <a:gd name="T12" fmla="*/ 21 w 21"/>
                <a:gd name="T13" fmla="*/ 10 h 21"/>
                <a:gd name="T14" fmla="*/ 18 w 21"/>
                <a:gd name="T15" fmla="*/ 18 h 21"/>
                <a:gd name="T16" fmla="*/ 11 w 21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3" y="0"/>
                    <a:pt x="16" y="1"/>
                    <a:pt x="18" y="3"/>
                  </a:cubicBezTo>
                  <a:cubicBezTo>
                    <a:pt x="20" y="5"/>
                    <a:pt x="21" y="8"/>
                    <a:pt x="21" y="10"/>
                  </a:cubicBezTo>
                  <a:cubicBezTo>
                    <a:pt x="21" y="13"/>
                    <a:pt x="20" y="16"/>
                    <a:pt x="18" y="18"/>
                  </a:cubicBezTo>
                  <a:cubicBezTo>
                    <a:pt x="16" y="20"/>
                    <a:pt x="13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10"/>
            <p:cNvSpPr>
              <a:spLocks noEditPoints="1"/>
            </p:cNvSpPr>
            <p:nvPr/>
          </p:nvSpPr>
          <p:spPr bwMode="auto">
            <a:xfrm>
              <a:off x="5368" y="850"/>
              <a:ext cx="254" cy="254"/>
            </a:xfrm>
            <a:custGeom>
              <a:avLst/>
              <a:gdLst>
                <a:gd name="T0" fmla="*/ 256 w 512"/>
                <a:gd name="T1" fmla="*/ 21 h 512"/>
                <a:gd name="T2" fmla="*/ 422 w 512"/>
                <a:gd name="T3" fmla="*/ 90 h 512"/>
                <a:gd name="T4" fmla="*/ 490 w 512"/>
                <a:gd name="T5" fmla="*/ 256 h 512"/>
                <a:gd name="T6" fmla="*/ 422 w 512"/>
                <a:gd name="T7" fmla="*/ 422 h 512"/>
                <a:gd name="T8" fmla="*/ 256 w 512"/>
                <a:gd name="T9" fmla="*/ 490 h 512"/>
                <a:gd name="T10" fmla="*/ 90 w 512"/>
                <a:gd name="T11" fmla="*/ 422 h 512"/>
                <a:gd name="T12" fmla="*/ 21 w 512"/>
                <a:gd name="T13" fmla="*/ 256 h 512"/>
                <a:gd name="T14" fmla="*/ 90 w 512"/>
                <a:gd name="T15" fmla="*/ 90 h 512"/>
                <a:gd name="T16" fmla="*/ 256 w 512"/>
                <a:gd name="T17" fmla="*/ 21 h 512"/>
                <a:gd name="T18" fmla="*/ 256 w 512"/>
                <a:gd name="T19" fmla="*/ 0 h 512"/>
                <a:gd name="T20" fmla="*/ 0 w 512"/>
                <a:gd name="T21" fmla="*/ 256 h 512"/>
                <a:gd name="T22" fmla="*/ 256 w 512"/>
                <a:gd name="T23" fmla="*/ 512 h 512"/>
                <a:gd name="T24" fmla="*/ 512 w 512"/>
                <a:gd name="T25" fmla="*/ 256 h 512"/>
                <a:gd name="T26" fmla="*/ 256 w 51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18" y="21"/>
                    <a:pt x="377" y="45"/>
                    <a:pt x="422" y="90"/>
                  </a:cubicBezTo>
                  <a:cubicBezTo>
                    <a:pt x="466" y="134"/>
                    <a:pt x="490" y="193"/>
                    <a:pt x="490" y="256"/>
                  </a:cubicBezTo>
                  <a:cubicBezTo>
                    <a:pt x="490" y="318"/>
                    <a:pt x="466" y="377"/>
                    <a:pt x="422" y="422"/>
                  </a:cubicBezTo>
                  <a:cubicBezTo>
                    <a:pt x="377" y="466"/>
                    <a:pt x="318" y="490"/>
                    <a:pt x="256" y="490"/>
                  </a:cubicBezTo>
                  <a:cubicBezTo>
                    <a:pt x="193" y="490"/>
                    <a:pt x="134" y="466"/>
                    <a:pt x="90" y="422"/>
                  </a:cubicBezTo>
                  <a:cubicBezTo>
                    <a:pt x="45" y="377"/>
                    <a:pt x="21" y="318"/>
                    <a:pt x="21" y="256"/>
                  </a:cubicBezTo>
                  <a:cubicBezTo>
                    <a:pt x="21" y="193"/>
                    <a:pt x="45" y="134"/>
                    <a:pt x="90" y="90"/>
                  </a:cubicBezTo>
                  <a:cubicBezTo>
                    <a:pt x="134" y="45"/>
                    <a:pt x="193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1" name="Group 351"/>
          <p:cNvGrpSpPr>
            <a:grpSpLocks noChangeAspect="1"/>
          </p:cNvGrpSpPr>
          <p:nvPr/>
        </p:nvGrpSpPr>
        <p:grpSpPr bwMode="auto">
          <a:xfrm>
            <a:off x="4907624" y="2916614"/>
            <a:ext cx="369676" cy="370763"/>
            <a:chOff x="2717" y="1172"/>
            <a:chExt cx="340" cy="341"/>
          </a:xfrm>
          <a:solidFill>
            <a:schemeClr val="accent4"/>
          </a:solidFill>
        </p:grpSpPr>
        <p:sp>
          <p:nvSpPr>
            <p:cNvPr id="202" name="Freeform 352"/>
            <p:cNvSpPr>
              <a:spLocks noEditPoints="1"/>
            </p:cNvSpPr>
            <p:nvPr/>
          </p:nvSpPr>
          <p:spPr bwMode="auto">
            <a:xfrm>
              <a:off x="2781" y="1264"/>
              <a:ext cx="212" cy="185"/>
            </a:xfrm>
            <a:custGeom>
              <a:avLst/>
              <a:gdLst>
                <a:gd name="T0" fmla="*/ 298 w 320"/>
                <a:gd name="T1" fmla="*/ 152 h 278"/>
                <a:gd name="T2" fmla="*/ 298 w 320"/>
                <a:gd name="T3" fmla="*/ 107 h 278"/>
                <a:gd name="T4" fmla="*/ 245 w 320"/>
                <a:gd name="T5" fmla="*/ 54 h 278"/>
                <a:gd name="T6" fmla="*/ 192 w 320"/>
                <a:gd name="T7" fmla="*/ 107 h 278"/>
                <a:gd name="T8" fmla="*/ 192 w 320"/>
                <a:gd name="T9" fmla="*/ 203 h 278"/>
                <a:gd name="T10" fmla="*/ 138 w 320"/>
                <a:gd name="T11" fmla="*/ 256 h 278"/>
                <a:gd name="T12" fmla="*/ 85 w 320"/>
                <a:gd name="T13" fmla="*/ 203 h 278"/>
                <a:gd name="T14" fmla="*/ 85 w 320"/>
                <a:gd name="T15" fmla="*/ 149 h 278"/>
                <a:gd name="T16" fmla="*/ 149 w 320"/>
                <a:gd name="T17" fmla="*/ 86 h 278"/>
                <a:gd name="T18" fmla="*/ 149 w 320"/>
                <a:gd name="T19" fmla="*/ 11 h 278"/>
                <a:gd name="T20" fmla="*/ 138 w 320"/>
                <a:gd name="T21" fmla="*/ 0 h 278"/>
                <a:gd name="T22" fmla="*/ 117 w 320"/>
                <a:gd name="T23" fmla="*/ 0 h 278"/>
                <a:gd name="T24" fmla="*/ 106 w 320"/>
                <a:gd name="T25" fmla="*/ 11 h 278"/>
                <a:gd name="T26" fmla="*/ 117 w 320"/>
                <a:gd name="T27" fmla="*/ 22 h 278"/>
                <a:gd name="T28" fmla="*/ 128 w 320"/>
                <a:gd name="T29" fmla="*/ 22 h 278"/>
                <a:gd name="T30" fmla="*/ 128 w 320"/>
                <a:gd name="T31" fmla="*/ 86 h 278"/>
                <a:gd name="T32" fmla="*/ 74 w 320"/>
                <a:gd name="T33" fmla="*/ 128 h 278"/>
                <a:gd name="T34" fmla="*/ 21 w 320"/>
                <a:gd name="T35" fmla="*/ 86 h 278"/>
                <a:gd name="T36" fmla="*/ 21 w 320"/>
                <a:gd name="T37" fmla="*/ 22 h 278"/>
                <a:gd name="T38" fmla="*/ 32 w 320"/>
                <a:gd name="T39" fmla="*/ 22 h 278"/>
                <a:gd name="T40" fmla="*/ 42 w 320"/>
                <a:gd name="T41" fmla="*/ 11 h 278"/>
                <a:gd name="T42" fmla="*/ 32 w 320"/>
                <a:gd name="T43" fmla="*/ 0 h 278"/>
                <a:gd name="T44" fmla="*/ 10 w 320"/>
                <a:gd name="T45" fmla="*/ 0 h 278"/>
                <a:gd name="T46" fmla="*/ 0 w 320"/>
                <a:gd name="T47" fmla="*/ 11 h 278"/>
                <a:gd name="T48" fmla="*/ 0 w 320"/>
                <a:gd name="T49" fmla="*/ 86 h 278"/>
                <a:gd name="T50" fmla="*/ 64 w 320"/>
                <a:gd name="T51" fmla="*/ 149 h 278"/>
                <a:gd name="T52" fmla="*/ 64 w 320"/>
                <a:gd name="T53" fmla="*/ 203 h 278"/>
                <a:gd name="T54" fmla="*/ 138 w 320"/>
                <a:gd name="T55" fmla="*/ 278 h 278"/>
                <a:gd name="T56" fmla="*/ 213 w 320"/>
                <a:gd name="T57" fmla="*/ 203 h 278"/>
                <a:gd name="T58" fmla="*/ 213 w 320"/>
                <a:gd name="T59" fmla="*/ 107 h 278"/>
                <a:gd name="T60" fmla="*/ 245 w 320"/>
                <a:gd name="T61" fmla="*/ 75 h 278"/>
                <a:gd name="T62" fmla="*/ 277 w 320"/>
                <a:gd name="T63" fmla="*/ 107 h 278"/>
                <a:gd name="T64" fmla="*/ 277 w 320"/>
                <a:gd name="T65" fmla="*/ 152 h 278"/>
                <a:gd name="T66" fmla="*/ 256 w 320"/>
                <a:gd name="T67" fmla="*/ 182 h 278"/>
                <a:gd name="T68" fmla="*/ 288 w 320"/>
                <a:gd name="T69" fmla="*/ 214 h 278"/>
                <a:gd name="T70" fmla="*/ 320 w 320"/>
                <a:gd name="T71" fmla="*/ 182 h 278"/>
                <a:gd name="T72" fmla="*/ 298 w 320"/>
                <a:gd name="T73" fmla="*/ 152 h 278"/>
                <a:gd name="T74" fmla="*/ 288 w 320"/>
                <a:gd name="T75" fmla="*/ 192 h 278"/>
                <a:gd name="T76" fmla="*/ 277 w 320"/>
                <a:gd name="T77" fmla="*/ 182 h 278"/>
                <a:gd name="T78" fmla="*/ 288 w 320"/>
                <a:gd name="T79" fmla="*/ 171 h 278"/>
                <a:gd name="T80" fmla="*/ 298 w 320"/>
                <a:gd name="T81" fmla="*/ 182 h 278"/>
                <a:gd name="T82" fmla="*/ 288 w 320"/>
                <a:gd name="T83" fmla="*/ 19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" h="278">
                  <a:moveTo>
                    <a:pt x="298" y="152"/>
                  </a:moveTo>
                  <a:cubicBezTo>
                    <a:pt x="298" y="107"/>
                    <a:pt x="298" y="107"/>
                    <a:pt x="298" y="107"/>
                  </a:cubicBezTo>
                  <a:cubicBezTo>
                    <a:pt x="298" y="78"/>
                    <a:pt x="274" y="54"/>
                    <a:pt x="245" y="54"/>
                  </a:cubicBezTo>
                  <a:cubicBezTo>
                    <a:pt x="216" y="54"/>
                    <a:pt x="192" y="78"/>
                    <a:pt x="192" y="107"/>
                  </a:cubicBezTo>
                  <a:cubicBezTo>
                    <a:pt x="192" y="203"/>
                    <a:pt x="192" y="203"/>
                    <a:pt x="192" y="203"/>
                  </a:cubicBezTo>
                  <a:cubicBezTo>
                    <a:pt x="192" y="232"/>
                    <a:pt x="168" y="256"/>
                    <a:pt x="138" y="256"/>
                  </a:cubicBezTo>
                  <a:cubicBezTo>
                    <a:pt x="109" y="256"/>
                    <a:pt x="85" y="232"/>
                    <a:pt x="85" y="203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117" y="144"/>
                    <a:pt x="149" y="118"/>
                    <a:pt x="149" y="86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4" y="0"/>
                    <a:pt x="138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1" y="0"/>
                    <a:pt x="106" y="5"/>
                    <a:pt x="106" y="11"/>
                  </a:cubicBezTo>
                  <a:cubicBezTo>
                    <a:pt x="106" y="17"/>
                    <a:pt x="111" y="22"/>
                    <a:pt x="117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28" y="109"/>
                    <a:pt x="98" y="128"/>
                    <a:pt x="74" y="128"/>
                  </a:cubicBezTo>
                  <a:cubicBezTo>
                    <a:pt x="50" y="128"/>
                    <a:pt x="21" y="109"/>
                    <a:pt x="21" y="86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2"/>
                    <a:pt x="42" y="17"/>
                    <a:pt x="42" y="11"/>
                  </a:cubicBezTo>
                  <a:cubicBezTo>
                    <a:pt x="42" y="5"/>
                    <a:pt x="38" y="0"/>
                    <a:pt x="3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118"/>
                    <a:pt x="32" y="144"/>
                    <a:pt x="64" y="149"/>
                  </a:cubicBezTo>
                  <a:cubicBezTo>
                    <a:pt x="64" y="203"/>
                    <a:pt x="64" y="203"/>
                    <a:pt x="64" y="203"/>
                  </a:cubicBezTo>
                  <a:cubicBezTo>
                    <a:pt x="64" y="244"/>
                    <a:pt x="97" y="278"/>
                    <a:pt x="138" y="278"/>
                  </a:cubicBezTo>
                  <a:cubicBezTo>
                    <a:pt x="180" y="278"/>
                    <a:pt x="213" y="244"/>
                    <a:pt x="213" y="203"/>
                  </a:cubicBezTo>
                  <a:cubicBezTo>
                    <a:pt x="213" y="107"/>
                    <a:pt x="213" y="107"/>
                    <a:pt x="213" y="107"/>
                  </a:cubicBezTo>
                  <a:cubicBezTo>
                    <a:pt x="213" y="89"/>
                    <a:pt x="227" y="75"/>
                    <a:pt x="245" y="75"/>
                  </a:cubicBezTo>
                  <a:cubicBezTo>
                    <a:pt x="263" y="75"/>
                    <a:pt x="277" y="89"/>
                    <a:pt x="277" y="107"/>
                  </a:cubicBezTo>
                  <a:cubicBezTo>
                    <a:pt x="277" y="152"/>
                    <a:pt x="277" y="152"/>
                    <a:pt x="277" y="152"/>
                  </a:cubicBezTo>
                  <a:cubicBezTo>
                    <a:pt x="265" y="156"/>
                    <a:pt x="256" y="168"/>
                    <a:pt x="256" y="182"/>
                  </a:cubicBezTo>
                  <a:cubicBezTo>
                    <a:pt x="256" y="199"/>
                    <a:pt x="270" y="214"/>
                    <a:pt x="288" y="214"/>
                  </a:cubicBezTo>
                  <a:cubicBezTo>
                    <a:pt x="305" y="214"/>
                    <a:pt x="320" y="199"/>
                    <a:pt x="320" y="182"/>
                  </a:cubicBezTo>
                  <a:cubicBezTo>
                    <a:pt x="320" y="168"/>
                    <a:pt x="311" y="156"/>
                    <a:pt x="298" y="152"/>
                  </a:cubicBezTo>
                  <a:close/>
                  <a:moveTo>
                    <a:pt x="288" y="192"/>
                  </a:moveTo>
                  <a:cubicBezTo>
                    <a:pt x="282" y="192"/>
                    <a:pt x="277" y="188"/>
                    <a:pt x="277" y="182"/>
                  </a:cubicBezTo>
                  <a:cubicBezTo>
                    <a:pt x="277" y="176"/>
                    <a:pt x="282" y="171"/>
                    <a:pt x="288" y="171"/>
                  </a:cubicBezTo>
                  <a:cubicBezTo>
                    <a:pt x="294" y="171"/>
                    <a:pt x="298" y="176"/>
                    <a:pt x="298" y="182"/>
                  </a:cubicBezTo>
                  <a:cubicBezTo>
                    <a:pt x="298" y="188"/>
                    <a:pt x="294" y="192"/>
                    <a:pt x="288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353"/>
            <p:cNvSpPr>
              <a:spLocks noEditPoints="1"/>
            </p:cNvSpPr>
            <p:nvPr/>
          </p:nvSpPr>
          <p:spPr bwMode="auto">
            <a:xfrm>
              <a:off x="2717" y="117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4" name="Freeform 357"/>
          <p:cNvSpPr>
            <a:spLocks noChangeAspect="1" noEditPoints="1"/>
          </p:cNvSpPr>
          <p:nvPr/>
        </p:nvSpPr>
        <p:spPr bwMode="auto">
          <a:xfrm>
            <a:off x="4408372" y="2916614"/>
            <a:ext cx="369676" cy="370763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52 h 512"/>
              <a:gd name="T12" fmla="*/ 352 w 512"/>
              <a:gd name="T13" fmla="*/ 320 h 512"/>
              <a:gd name="T14" fmla="*/ 373 w 512"/>
              <a:gd name="T15" fmla="*/ 290 h 512"/>
              <a:gd name="T16" fmla="*/ 373 w 512"/>
              <a:gd name="T17" fmla="*/ 245 h 512"/>
              <a:gd name="T18" fmla="*/ 341 w 512"/>
              <a:gd name="T19" fmla="*/ 213 h 512"/>
              <a:gd name="T20" fmla="*/ 309 w 512"/>
              <a:gd name="T21" fmla="*/ 245 h 512"/>
              <a:gd name="T22" fmla="*/ 309 w 512"/>
              <a:gd name="T23" fmla="*/ 341 h 512"/>
              <a:gd name="T24" fmla="*/ 234 w 512"/>
              <a:gd name="T25" fmla="*/ 416 h 512"/>
              <a:gd name="T26" fmla="*/ 160 w 512"/>
              <a:gd name="T27" fmla="*/ 341 h 512"/>
              <a:gd name="T28" fmla="*/ 160 w 512"/>
              <a:gd name="T29" fmla="*/ 287 h 512"/>
              <a:gd name="T30" fmla="*/ 96 w 512"/>
              <a:gd name="T31" fmla="*/ 224 h 512"/>
              <a:gd name="T32" fmla="*/ 96 w 512"/>
              <a:gd name="T33" fmla="*/ 149 h 512"/>
              <a:gd name="T34" fmla="*/ 106 w 512"/>
              <a:gd name="T35" fmla="*/ 138 h 512"/>
              <a:gd name="T36" fmla="*/ 128 w 512"/>
              <a:gd name="T37" fmla="*/ 138 h 512"/>
              <a:gd name="T38" fmla="*/ 138 w 512"/>
              <a:gd name="T39" fmla="*/ 149 h 512"/>
              <a:gd name="T40" fmla="*/ 128 w 512"/>
              <a:gd name="T41" fmla="*/ 160 h 512"/>
              <a:gd name="T42" fmla="*/ 117 w 512"/>
              <a:gd name="T43" fmla="*/ 160 h 512"/>
              <a:gd name="T44" fmla="*/ 117 w 512"/>
              <a:gd name="T45" fmla="*/ 224 h 512"/>
              <a:gd name="T46" fmla="*/ 170 w 512"/>
              <a:gd name="T47" fmla="*/ 266 h 512"/>
              <a:gd name="T48" fmla="*/ 224 w 512"/>
              <a:gd name="T49" fmla="*/ 224 h 512"/>
              <a:gd name="T50" fmla="*/ 224 w 512"/>
              <a:gd name="T51" fmla="*/ 160 h 512"/>
              <a:gd name="T52" fmla="*/ 213 w 512"/>
              <a:gd name="T53" fmla="*/ 160 h 512"/>
              <a:gd name="T54" fmla="*/ 202 w 512"/>
              <a:gd name="T55" fmla="*/ 149 h 512"/>
              <a:gd name="T56" fmla="*/ 213 w 512"/>
              <a:gd name="T57" fmla="*/ 138 h 512"/>
              <a:gd name="T58" fmla="*/ 234 w 512"/>
              <a:gd name="T59" fmla="*/ 138 h 512"/>
              <a:gd name="T60" fmla="*/ 245 w 512"/>
              <a:gd name="T61" fmla="*/ 149 h 512"/>
              <a:gd name="T62" fmla="*/ 245 w 512"/>
              <a:gd name="T63" fmla="*/ 224 h 512"/>
              <a:gd name="T64" fmla="*/ 181 w 512"/>
              <a:gd name="T65" fmla="*/ 287 h 512"/>
              <a:gd name="T66" fmla="*/ 181 w 512"/>
              <a:gd name="T67" fmla="*/ 341 h 512"/>
              <a:gd name="T68" fmla="*/ 234 w 512"/>
              <a:gd name="T69" fmla="*/ 394 h 512"/>
              <a:gd name="T70" fmla="*/ 288 w 512"/>
              <a:gd name="T71" fmla="*/ 341 h 512"/>
              <a:gd name="T72" fmla="*/ 288 w 512"/>
              <a:gd name="T73" fmla="*/ 245 h 512"/>
              <a:gd name="T74" fmla="*/ 341 w 512"/>
              <a:gd name="T75" fmla="*/ 192 h 512"/>
              <a:gd name="T76" fmla="*/ 394 w 512"/>
              <a:gd name="T77" fmla="*/ 245 h 512"/>
              <a:gd name="T78" fmla="*/ 394 w 512"/>
              <a:gd name="T79" fmla="*/ 290 h 512"/>
              <a:gd name="T80" fmla="*/ 416 w 512"/>
              <a:gd name="T81" fmla="*/ 320 h 512"/>
              <a:gd name="T82" fmla="*/ 384 w 512"/>
              <a:gd name="T83" fmla="*/ 352 h 512"/>
              <a:gd name="T84" fmla="*/ 394 w 512"/>
              <a:gd name="T85" fmla="*/ 320 h 512"/>
              <a:gd name="T86" fmla="*/ 384 w 512"/>
              <a:gd name="T87" fmla="*/ 330 h 512"/>
              <a:gd name="T88" fmla="*/ 373 w 512"/>
              <a:gd name="T89" fmla="*/ 320 h 512"/>
              <a:gd name="T90" fmla="*/ 384 w 512"/>
              <a:gd name="T91" fmla="*/ 309 h 512"/>
              <a:gd name="T92" fmla="*/ 394 w 512"/>
              <a:gd name="T93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52"/>
                </a:moveTo>
                <a:cubicBezTo>
                  <a:pt x="366" y="352"/>
                  <a:pt x="352" y="337"/>
                  <a:pt x="352" y="320"/>
                </a:cubicBezTo>
                <a:cubicBezTo>
                  <a:pt x="352" y="306"/>
                  <a:pt x="361" y="294"/>
                  <a:pt x="373" y="290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73" y="227"/>
                  <a:pt x="359" y="213"/>
                  <a:pt x="341" y="213"/>
                </a:cubicBezTo>
                <a:cubicBezTo>
                  <a:pt x="323" y="213"/>
                  <a:pt x="309" y="227"/>
                  <a:pt x="309" y="245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82"/>
                  <a:pt x="276" y="416"/>
                  <a:pt x="234" y="416"/>
                </a:cubicBezTo>
                <a:cubicBezTo>
                  <a:pt x="193" y="416"/>
                  <a:pt x="160" y="382"/>
                  <a:pt x="160" y="341"/>
                </a:cubicBezTo>
                <a:cubicBezTo>
                  <a:pt x="160" y="287"/>
                  <a:pt x="160" y="287"/>
                  <a:pt x="160" y="287"/>
                </a:cubicBezTo>
                <a:cubicBezTo>
                  <a:pt x="128" y="282"/>
                  <a:pt x="96" y="256"/>
                  <a:pt x="96" y="224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34" y="138"/>
                  <a:pt x="138" y="143"/>
                  <a:pt x="138" y="149"/>
                </a:cubicBezTo>
                <a:cubicBezTo>
                  <a:pt x="138" y="155"/>
                  <a:pt x="134" y="160"/>
                  <a:pt x="128" y="160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47"/>
                  <a:pt x="146" y="266"/>
                  <a:pt x="170" y="266"/>
                </a:cubicBezTo>
                <a:cubicBezTo>
                  <a:pt x="194" y="266"/>
                  <a:pt x="224" y="247"/>
                  <a:pt x="224" y="224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07" y="160"/>
                  <a:pt x="202" y="155"/>
                  <a:pt x="202" y="149"/>
                </a:cubicBezTo>
                <a:cubicBezTo>
                  <a:pt x="202" y="143"/>
                  <a:pt x="207" y="138"/>
                  <a:pt x="213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56"/>
                  <a:pt x="213" y="282"/>
                  <a:pt x="181" y="287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1" y="370"/>
                  <a:pt x="205" y="394"/>
                  <a:pt x="234" y="394"/>
                </a:cubicBezTo>
                <a:cubicBezTo>
                  <a:pt x="264" y="394"/>
                  <a:pt x="288" y="370"/>
                  <a:pt x="288" y="341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16"/>
                  <a:pt x="312" y="192"/>
                  <a:pt x="341" y="192"/>
                </a:cubicBezTo>
                <a:cubicBezTo>
                  <a:pt x="370" y="192"/>
                  <a:pt x="394" y="216"/>
                  <a:pt x="394" y="245"/>
                </a:cubicBezTo>
                <a:cubicBezTo>
                  <a:pt x="394" y="290"/>
                  <a:pt x="394" y="290"/>
                  <a:pt x="394" y="290"/>
                </a:cubicBezTo>
                <a:cubicBezTo>
                  <a:pt x="407" y="294"/>
                  <a:pt x="416" y="306"/>
                  <a:pt x="416" y="320"/>
                </a:cubicBezTo>
                <a:cubicBezTo>
                  <a:pt x="416" y="337"/>
                  <a:pt x="401" y="352"/>
                  <a:pt x="384" y="352"/>
                </a:cubicBezTo>
                <a:close/>
                <a:moveTo>
                  <a:pt x="394" y="320"/>
                </a:moveTo>
                <a:cubicBezTo>
                  <a:pt x="394" y="326"/>
                  <a:pt x="390" y="330"/>
                  <a:pt x="384" y="330"/>
                </a:cubicBezTo>
                <a:cubicBezTo>
                  <a:pt x="378" y="330"/>
                  <a:pt x="373" y="326"/>
                  <a:pt x="373" y="320"/>
                </a:cubicBezTo>
                <a:cubicBezTo>
                  <a:pt x="373" y="314"/>
                  <a:pt x="378" y="309"/>
                  <a:pt x="384" y="309"/>
                </a:cubicBezTo>
                <a:cubicBezTo>
                  <a:pt x="390" y="309"/>
                  <a:pt x="394" y="314"/>
                  <a:pt x="394" y="3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05" name="Group 468"/>
          <p:cNvGrpSpPr>
            <a:grpSpLocks noChangeAspect="1"/>
          </p:cNvGrpSpPr>
          <p:nvPr/>
        </p:nvGrpSpPr>
        <p:grpSpPr bwMode="auto">
          <a:xfrm>
            <a:off x="5906128" y="2916610"/>
            <a:ext cx="369676" cy="369676"/>
            <a:chOff x="1146" y="1573"/>
            <a:chExt cx="340" cy="340"/>
          </a:xfrm>
          <a:solidFill>
            <a:schemeClr val="accent5"/>
          </a:solidFill>
        </p:grpSpPr>
        <p:sp>
          <p:nvSpPr>
            <p:cNvPr id="206" name="Freeform 469"/>
            <p:cNvSpPr>
              <a:spLocks noEditPoints="1"/>
            </p:cNvSpPr>
            <p:nvPr/>
          </p:nvSpPr>
          <p:spPr bwMode="auto">
            <a:xfrm>
              <a:off x="1146" y="157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470"/>
            <p:cNvSpPr>
              <a:spLocks noEditPoints="1"/>
            </p:cNvSpPr>
            <p:nvPr/>
          </p:nvSpPr>
          <p:spPr bwMode="auto">
            <a:xfrm>
              <a:off x="1216" y="1643"/>
              <a:ext cx="185" cy="184"/>
            </a:xfrm>
            <a:custGeom>
              <a:avLst/>
              <a:gdLst>
                <a:gd name="T0" fmla="*/ 215 w 279"/>
                <a:gd name="T1" fmla="*/ 200 h 278"/>
                <a:gd name="T2" fmla="*/ 226 w 279"/>
                <a:gd name="T3" fmla="*/ 185 h 278"/>
                <a:gd name="T4" fmla="*/ 215 w 279"/>
                <a:gd name="T5" fmla="*/ 170 h 278"/>
                <a:gd name="T6" fmla="*/ 226 w 279"/>
                <a:gd name="T7" fmla="*/ 155 h 278"/>
                <a:gd name="T8" fmla="*/ 102 w 279"/>
                <a:gd name="T9" fmla="*/ 27 h 278"/>
                <a:gd name="T10" fmla="*/ 65 w 279"/>
                <a:gd name="T11" fmla="*/ 49 h 278"/>
                <a:gd name="T12" fmla="*/ 65 w 279"/>
                <a:gd name="T13" fmla="*/ 19 h 278"/>
                <a:gd name="T14" fmla="*/ 49 w 279"/>
                <a:gd name="T15" fmla="*/ 4 h 278"/>
                <a:gd name="T16" fmla="*/ 4 w 279"/>
                <a:gd name="T17" fmla="*/ 65 h 278"/>
                <a:gd name="T18" fmla="*/ 19 w 279"/>
                <a:gd name="T19" fmla="*/ 65 h 278"/>
                <a:gd name="T20" fmla="*/ 49 w 279"/>
                <a:gd name="T21" fmla="*/ 65 h 278"/>
                <a:gd name="T22" fmla="*/ 25 w 279"/>
                <a:gd name="T23" fmla="*/ 91 h 278"/>
                <a:gd name="T24" fmla="*/ 27 w 279"/>
                <a:gd name="T25" fmla="*/ 102 h 278"/>
                <a:gd name="T26" fmla="*/ 163 w 279"/>
                <a:gd name="T27" fmla="*/ 223 h 278"/>
                <a:gd name="T28" fmla="*/ 178 w 279"/>
                <a:gd name="T29" fmla="*/ 223 h 278"/>
                <a:gd name="T30" fmla="*/ 193 w 279"/>
                <a:gd name="T31" fmla="*/ 223 h 278"/>
                <a:gd name="T32" fmla="*/ 259 w 279"/>
                <a:gd name="T33" fmla="*/ 274 h 278"/>
                <a:gd name="T34" fmla="*/ 274 w 279"/>
                <a:gd name="T35" fmla="*/ 274 h 278"/>
                <a:gd name="T36" fmla="*/ 178 w 279"/>
                <a:gd name="T37" fmla="*/ 193 h 278"/>
                <a:gd name="T38" fmla="*/ 155 w 279"/>
                <a:gd name="T39" fmla="*/ 200 h 278"/>
                <a:gd name="T40" fmla="*/ 95 w 279"/>
                <a:gd name="T41" fmla="*/ 49 h 278"/>
                <a:gd name="T42" fmla="*/ 95 w 279"/>
                <a:gd name="T43" fmla="*/ 80 h 278"/>
                <a:gd name="T44" fmla="*/ 102 w 279"/>
                <a:gd name="T45" fmla="*/ 98 h 278"/>
                <a:gd name="T46" fmla="*/ 125 w 279"/>
                <a:gd name="T47" fmla="*/ 80 h 278"/>
                <a:gd name="T48" fmla="*/ 125 w 279"/>
                <a:gd name="T49" fmla="*/ 110 h 278"/>
                <a:gd name="T50" fmla="*/ 132 w 279"/>
                <a:gd name="T51" fmla="*/ 128 h 278"/>
                <a:gd name="T52" fmla="*/ 155 w 279"/>
                <a:gd name="T53" fmla="*/ 110 h 278"/>
                <a:gd name="T54" fmla="*/ 155 w 279"/>
                <a:gd name="T55" fmla="*/ 140 h 278"/>
                <a:gd name="T56" fmla="*/ 163 w 279"/>
                <a:gd name="T57" fmla="*/ 158 h 278"/>
                <a:gd name="T58" fmla="*/ 185 w 279"/>
                <a:gd name="T59" fmla="*/ 140 h 278"/>
                <a:gd name="T60" fmla="*/ 193 w 279"/>
                <a:gd name="T61" fmla="*/ 163 h 278"/>
                <a:gd name="T62" fmla="*/ 193 w 279"/>
                <a:gd name="T63" fmla="*/ 178 h 278"/>
                <a:gd name="T64" fmla="*/ 185 w 279"/>
                <a:gd name="T65" fmla="*/ 20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78">
                  <a:moveTo>
                    <a:pt x="274" y="259"/>
                  </a:moveTo>
                  <a:cubicBezTo>
                    <a:pt x="215" y="200"/>
                    <a:pt x="215" y="200"/>
                    <a:pt x="215" y="200"/>
                  </a:cubicBezTo>
                  <a:cubicBezTo>
                    <a:pt x="223" y="193"/>
                    <a:pt x="223" y="193"/>
                    <a:pt x="223" y="193"/>
                  </a:cubicBezTo>
                  <a:cubicBezTo>
                    <a:pt x="225" y="191"/>
                    <a:pt x="226" y="188"/>
                    <a:pt x="226" y="185"/>
                  </a:cubicBezTo>
                  <a:cubicBezTo>
                    <a:pt x="226" y="182"/>
                    <a:pt x="225" y="180"/>
                    <a:pt x="223" y="178"/>
                  </a:cubicBezTo>
                  <a:cubicBezTo>
                    <a:pt x="215" y="170"/>
                    <a:pt x="215" y="170"/>
                    <a:pt x="215" y="170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5" y="161"/>
                    <a:pt x="226" y="158"/>
                    <a:pt x="226" y="155"/>
                  </a:cubicBezTo>
                  <a:cubicBezTo>
                    <a:pt x="226" y="152"/>
                    <a:pt x="225" y="150"/>
                    <a:pt x="223" y="148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98" y="23"/>
                    <a:pt x="91" y="23"/>
                    <a:pt x="87" y="27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9" y="15"/>
                    <a:pt x="69" y="8"/>
                    <a:pt x="65" y="4"/>
                  </a:cubicBezTo>
                  <a:cubicBezTo>
                    <a:pt x="60" y="0"/>
                    <a:pt x="54" y="0"/>
                    <a:pt x="49" y="4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0" y="54"/>
                    <a:pt x="0" y="60"/>
                    <a:pt x="4" y="65"/>
                  </a:cubicBezTo>
                  <a:cubicBezTo>
                    <a:pt x="6" y="67"/>
                    <a:pt x="9" y="68"/>
                    <a:pt x="12" y="68"/>
                  </a:cubicBezTo>
                  <a:cubicBezTo>
                    <a:pt x="15" y="68"/>
                    <a:pt x="17" y="67"/>
                    <a:pt x="19" y="65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6" y="88"/>
                    <a:pt x="25" y="89"/>
                    <a:pt x="25" y="91"/>
                  </a:cubicBezTo>
                  <a:cubicBezTo>
                    <a:pt x="23" y="93"/>
                    <a:pt x="23" y="96"/>
                    <a:pt x="25" y="99"/>
                  </a:cubicBezTo>
                  <a:cubicBezTo>
                    <a:pt x="25" y="100"/>
                    <a:pt x="26" y="101"/>
                    <a:pt x="27" y="102"/>
                  </a:cubicBezTo>
                  <a:cubicBezTo>
                    <a:pt x="148" y="223"/>
                    <a:pt x="148" y="223"/>
                    <a:pt x="148" y="223"/>
                  </a:cubicBezTo>
                  <a:cubicBezTo>
                    <a:pt x="152" y="227"/>
                    <a:pt x="158" y="227"/>
                    <a:pt x="163" y="223"/>
                  </a:cubicBezTo>
                  <a:cubicBezTo>
                    <a:pt x="170" y="215"/>
                    <a:pt x="170" y="215"/>
                    <a:pt x="170" y="215"/>
                  </a:cubicBezTo>
                  <a:cubicBezTo>
                    <a:pt x="178" y="223"/>
                    <a:pt x="178" y="223"/>
                    <a:pt x="178" y="223"/>
                  </a:cubicBezTo>
                  <a:cubicBezTo>
                    <a:pt x="180" y="225"/>
                    <a:pt x="182" y="226"/>
                    <a:pt x="185" y="226"/>
                  </a:cubicBezTo>
                  <a:cubicBezTo>
                    <a:pt x="188" y="226"/>
                    <a:pt x="191" y="225"/>
                    <a:pt x="193" y="223"/>
                  </a:cubicBezTo>
                  <a:cubicBezTo>
                    <a:pt x="200" y="215"/>
                    <a:pt x="200" y="215"/>
                    <a:pt x="200" y="215"/>
                  </a:cubicBezTo>
                  <a:cubicBezTo>
                    <a:pt x="259" y="274"/>
                    <a:pt x="259" y="274"/>
                    <a:pt x="259" y="274"/>
                  </a:cubicBezTo>
                  <a:cubicBezTo>
                    <a:pt x="261" y="277"/>
                    <a:pt x="264" y="278"/>
                    <a:pt x="267" y="278"/>
                  </a:cubicBezTo>
                  <a:cubicBezTo>
                    <a:pt x="270" y="278"/>
                    <a:pt x="272" y="277"/>
                    <a:pt x="274" y="274"/>
                  </a:cubicBezTo>
                  <a:cubicBezTo>
                    <a:pt x="279" y="270"/>
                    <a:pt x="279" y="264"/>
                    <a:pt x="274" y="259"/>
                  </a:cubicBezTo>
                  <a:close/>
                  <a:moveTo>
                    <a:pt x="178" y="193"/>
                  </a:moveTo>
                  <a:cubicBezTo>
                    <a:pt x="174" y="189"/>
                    <a:pt x="167" y="189"/>
                    <a:pt x="163" y="193"/>
                  </a:cubicBezTo>
                  <a:cubicBezTo>
                    <a:pt x="155" y="200"/>
                    <a:pt x="155" y="200"/>
                    <a:pt x="155" y="200"/>
                  </a:cubicBezTo>
                  <a:cubicBezTo>
                    <a:pt x="49" y="95"/>
                    <a:pt x="49" y="95"/>
                    <a:pt x="49" y="95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1" y="84"/>
                    <a:pt x="91" y="91"/>
                    <a:pt x="95" y="95"/>
                  </a:cubicBezTo>
                  <a:cubicBezTo>
                    <a:pt x="97" y="97"/>
                    <a:pt x="100" y="98"/>
                    <a:pt x="102" y="98"/>
                  </a:cubicBezTo>
                  <a:cubicBezTo>
                    <a:pt x="105" y="98"/>
                    <a:pt x="108" y="97"/>
                    <a:pt x="110" y="95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1" y="114"/>
                    <a:pt x="121" y="121"/>
                    <a:pt x="125" y="125"/>
                  </a:cubicBezTo>
                  <a:cubicBezTo>
                    <a:pt x="127" y="127"/>
                    <a:pt x="130" y="128"/>
                    <a:pt x="132" y="128"/>
                  </a:cubicBezTo>
                  <a:cubicBezTo>
                    <a:pt x="135" y="128"/>
                    <a:pt x="138" y="127"/>
                    <a:pt x="140" y="125"/>
                  </a:cubicBezTo>
                  <a:cubicBezTo>
                    <a:pt x="155" y="110"/>
                    <a:pt x="155" y="110"/>
                    <a:pt x="155" y="110"/>
                  </a:cubicBezTo>
                  <a:cubicBezTo>
                    <a:pt x="170" y="125"/>
                    <a:pt x="170" y="125"/>
                    <a:pt x="170" y="125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151" y="144"/>
                    <a:pt x="151" y="151"/>
                    <a:pt x="155" y="155"/>
                  </a:cubicBezTo>
                  <a:cubicBezTo>
                    <a:pt x="157" y="157"/>
                    <a:pt x="160" y="158"/>
                    <a:pt x="163" y="158"/>
                  </a:cubicBezTo>
                  <a:cubicBezTo>
                    <a:pt x="165" y="158"/>
                    <a:pt x="168" y="157"/>
                    <a:pt x="170" y="155"/>
                  </a:cubicBezTo>
                  <a:cubicBezTo>
                    <a:pt x="185" y="140"/>
                    <a:pt x="185" y="140"/>
                    <a:pt x="185" y="140"/>
                  </a:cubicBezTo>
                  <a:cubicBezTo>
                    <a:pt x="200" y="155"/>
                    <a:pt x="200" y="155"/>
                    <a:pt x="200" y="155"/>
                  </a:cubicBezTo>
                  <a:cubicBezTo>
                    <a:pt x="193" y="163"/>
                    <a:pt x="193" y="163"/>
                    <a:pt x="193" y="163"/>
                  </a:cubicBezTo>
                  <a:cubicBezTo>
                    <a:pt x="191" y="165"/>
                    <a:pt x="190" y="167"/>
                    <a:pt x="190" y="170"/>
                  </a:cubicBezTo>
                  <a:cubicBezTo>
                    <a:pt x="190" y="173"/>
                    <a:pt x="191" y="176"/>
                    <a:pt x="193" y="178"/>
                  </a:cubicBezTo>
                  <a:cubicBezTo>
                    <a:pt x="200" y="185"/>
                    <a:pt x="200" y="185"/>
                    <a:pt x="200" y="185"/>
                  </a:cubicBezTo>
                  <a:cubicBezTo>
                    <a:pt x="185" y="200"/>
                    <a:pt x="185" y="200"/>
                    <a:pt x="185" y="200"/>
                  </a:cubicBezTo>
                  <a:lnTo>
                    <a:pt x="178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8" name="Freeform 474"/>
          <p:cNvSpPr>
            <a:spLocks noChangeAspect="1" noEditPoints="1"/>
          </p:cNvSpPr>
          <p:nvPr/>
        </p:nvSpPr>
        <p:spPr bwMode="auto">
          <a:xfrm>
            <a:off x="5406876" y="2916610"/>
            <a:ext cx="369676" cy="369676"/>
          </a:xfrm>
          <a:custGeom>
            <a:avLst/>
            <a:gdLst>
              <a:gd name="T0" fmla="*/ 305 w 512"/>
              <a:gd name="T1" fmla="*/ 290 h 512"/>
              <a:gd name="T2" fmla="*/ 283 w 512"/>
              <a:gd name="T3" fmla="*/ 298 h 512"/>
              <a:gd name="T4" fmla="*/ 260 w 512"/>
              <a:gd name="T5" fmla="*/ 305 h 512"/>
              <a:gd name="T6" fmla="*/ 200 w 512"/>
              <a:gd name="T7" fmla="*/ 154 h 512"/>
              <a:gd name="T8" fmla="*/ 200 w 512"/>
              <a:gd name="T9" fmla="*/ 185 h 512"/>
              <a:gd name="T10" fmla="*/ 207 w 512"/>
              <a:gd name="T11" fmla="*/ 203 h 512"/>
              <a:gd name="T12" fmla="*/ 230 w 512"/>
              <a:gd name="T13" fmla="*/ 185 h 512"/>
              <a:gd name="T14" fmla="*/ 230 w 512"/>
              <a:gd name="T15" fmla="*/ 215 h 512"/>
              <a:gd name="T16" fmla="*/ 237 w 512"/>
              <a:gd name="T17" fmla="*/ 233 h 512"/>
              <a:gd name="T18" fmla="*/ 260 w 512"/>
              <a:gd name="T19" fmla="*/ 215 h 512"/>
              <a:gd name="T20" fmla="*/ 260 w 512"/>
              <a:gd name="T21" fmla="*/ 245 h 512"/>
              <a:gd name="T22" fmla="*/ 268 w 512"/>
              <a:gd name="T23" fmla="*/ 263 h 512"/>
              <a:gd name="T24" fmla="*/ 290 w 512"/>
              <a:gd name="T25" fmla="*/ 245 h 512"/>
              <a:gd name="T26" fmla="*/ 298 w 512"/>
              <a:gd name="T27" fmla="*/ 268 h 512"/>
              <a:gd name="T28" fmla="*/ 298 w 512"/>
              <a:gd name="T29" fmla="*/ 283 h 512"/>
              <a:gd name="T30" fmla="*/ 256 w 512"/>
              <a:gd name="T31" fmla="*/ 512 h 512"/>
              <a:gd name="T32" fmla="*/ 256 w 512"/>
              <a:gd name="T33" fmla="*/ 0 h 512"/>
              <a:gd name="T34" fmla="*/ 379 w 512"/>
              <a:gd name="T35" fmla="*/ 364 h 512"/>
              <a:gd name="T36" fmla="*/ 328 w 512"/>
              <a:gd name="T37" fmla="*/ 298 h 512"/>
              <a:gd name="T38" fmla="*/ 328 w 512"/>
              <a:gd name="T39" fmla="*/ 283 h 512"/>
              <a:gd name="T40" fmla="*/ 328 w 512"/>
              <a:gd name="T41" fmla="*/ 268 h 512"/>
              <a:gd name="T42" fmla="*/ 328 w 512"/>
              <a:gd name="T43" fmla="*/ 253 h 512"/>
              <a:gd name="T44" fmla="*/ 192 w 512"/>
              <a:gd name="T45" fmla="*/ 132 h 512"/>
              <a:gd name="T46" fmla="*/ 154 w 512"/>
              <a:gd name="T47" fmla="*/ 139 h 512"/>
              <a:gd name="T48" fmla="*/ 170 w 512"/>
              <a:gd name="T49" fmla="*/ 109 h 512"/>
              <a:gd name="T50" fmla="*/ 109 w 512"/>
              <a:gd name="T51" fmla="*/ 154 h 512"/>
              <a:gd name="T52" fmla="*/ 117 w 512"/>
              <a:gd name="T53" fmla="*/ 173 h 512"/>
              <a:gd name="T54" fmla="*/ 139 w 512"/>
              <a:gd name="T55" fmla="*/ 154 h 512"/>
              <a:gd name="T56" fmla="*/ 132 w 512"/>
              <a:gd name="T57" fmla="*/ 192 h 512"/>
              <a:gd name="T58" fmla="*/ 130 w 512"/>
              <a:gd name="T59" fmla="*/ 204 h 512"/>
              <a:gd name="T60" fmla="*/ 253 w 512"/>
              <a:gd name="T61" fmla="*/ 328 h 512"/>
              <a:gd name="T62" fmla="*/ 275 w 512"/>
              <a:gd name="T63" fmla="*/ 320 h 512"/>
              <a:gd name="T64" fmla="*/ 290 w 512"/>
              <a:gd name="T65" fmla="*/ 331 h 512"/>
              <a:gd name="T66" fmla="*/ 305 w 512"/>
              <a:gd name="T67" fmla="*/ 320 h 512"/>
              <a:gd name="T68" fmla="*/ 372 w 512"/>
              <a:gd name="T69" fmla="*/ 383 h 512"/>
              <a:gd name="T70" fmla="*/ 379 w 512"/>
              <a:gd name="T71" fmla="*/ 36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98" y="283"/>
                </a:moveTo>
                <a:cubicBezTo>
                  <a:pt x="305" y="290"/>
                  <a:pt x="305" y="290"/>
                  <a:pt x="305" y="290"/>
                </a:cubicBezTo>
                <a:cubicBezTo>
                  <a:pt x="290" y="305"/>
                  <a:pt x="290" y="305"/>
                  <a:pt x="290" y="305"/>
                </a:cubicBezTo>
                <a:cubicBezTo>
                  <a:pt x="283" y="298"/>
                  <a:pt x="283" y="298"/>
                  <a:pt x="283" y="298"/>
                </a:cubicBezTo>
                <a:cubicBezTo>
                  <a:pt x="279" y="294"/>
                  <a:pt x="272" y="294"/>
                  <a:pt x="268" y="298"/>
                </a:cubicBezTo>
                <a:cubicBezTo>
                  <a:pt x="260" y="305"/>
                  <a:pt x="260" y="305"/>
                  <a:pt x="260" y="305"/>
                </a:cubicBezTo>
                <a:cubicBezTo>
                  <a:pt x="154" y="200"/>
                  <a:pt x="154" y="200"/>
                  <a:pt x="154" y="200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215" y="170"/>
                  <a:pt x="215" y="170"/>
                  <a:pt x="215" y="170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6" y="189"/>
                  <a:pt x="196" y="196"/>
                  <a:pt x="200" y="200"/>
                </a:cubicBezTo>
                <a:cubicBezTo>
                  <a:pt x="202" y="202"/>
                  <a:pt x="205" y="203"/>
                  <a:pt x="207" y="203"/>
                </a:cubicBezTo>
                <a:cubicBezTo>
                  <a:pt x="210" y="203"/>
                  <a:pt x="213" y="202"/>
                  <a:pt x="215" y="200"/>
                </a:cubicBezTo>
                <a:cubicBezTo>
                  <a:pt x="230" y="185"/>
                  <a:pt x="230" y="185"/>
                  <a:pt x="230" y="185"/>
                </a:cubicBezTo>
                <a:cubicBezTo>
                  <a:pt x="245" y="200"/>
                  <a:pt x="245" y="200"/>
                  <a:pt x="245" y="200"/>
                </a:cubicBezTo>
                <a:cubicBezTo>
                  <a:pt x="230" y="215"/>
                  <a:pt x="230" y="215"/>
                  <a:pt x="230" y="215"/>
                </a:cubicBezTo>
                <a:cubicBezTo>
                  <a:pt x="226" y="219"/>
                  <a:pt x="226" y="226"/>
                  <a:pt x="230" y="230"/>
                </a:cubicBezTo>
                <a:cubicBezTo>
                  <a:pt x="232" y="232"/>
                  <a:pt x="235" y="233"/>
                  <a:pt x="237" y="233"/>
                </a:cubicBezTo>
                <a:cubicBezTo>
                  <a:pt x="240" y="233"/>
                  <a:pt x="243" y="232"/>
                  <a:pt x="245" y="230"/>
                </a:cubicBezTo>
                <a:cubicBezTo>
                  <a:pt x="260" y="215"/>
                  <a:pt x="260" y="215"/>
                  <a:pt x="260" y="215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60" y="245"/>
                  <a:pt x="260" y="245"/>
                  <a:pt x="260" y="245"/>
                </a:cubicBezTo>
                <a:cubicBezTo>
                  <a:pt x="256" y="249"/>
                  <a:pt x="256" y="256"/>
                  <a:pt x="260" y="260"/>
                </a:cubicBezTo>
                <a:cubicBezTo>
                  <a:pt x="262" y="262"/>
                  <a:pt x="265" y="263"/>
                  <a:pt x="268" y="263"/>
                </a:cubicBezTo>
                <a:cubicBezTo>
                  <a:pt x="270" y="263"/>
                  <a:pt x="273" y="262"/>
                  <a:pt x="275" y="260"/>
                </a:cubicBezTo>
                <a:cubicBezTo>
                  <a:pt x="290" y="245"/>
                  <a:pt x="290" y="245"/>
                  <a:pt x="290" y="245"/>
                </a:cubicBezTo>
                <a:cubicBezTo>
                  <a:pt x="305" y="260"/>
                  <a:pt x="305" y="260"/>
                  <a:pt x="305" y="260"/>
                </a:cubicBezTo>
                <a:cubicBezTo>
                  <a:pt x="298" y="268"/>
                  <a:pt x="298" y="268"/>
                  <a:pt x="298" y="268"/>
                </a:cubicBezTo>
                <a:cubicBezTo>
                  <a:pt x="296" y="270"/>
                  <a:pt x="295" y="272"/>
                  <a:pt x="295" y="275"/>
                </a:cubicBezTo>
                <a:cubicBezTo>
                  <a:pt x="295" y="278"/>
                  <a:pt x="296" y="281"/>
                  <a:pt x="298" y="28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9" y="364"/>
                </a:moveTo>
                <a:cubicBezTo>
                  <a:pt x="320" y="305"/>
                  <a:pt x="320" y="305"/>
                  <a:pt x="320" y="305"/>
                </a:cubicBezTo>
                <a:cubicBezTo>
                  <a:pt x="328" y="298"/>
                  <a:pt x="328" y="298"/>
                  <a:pt x="328" y="298"/>
                </a:cubicBezTo>
                <a:cubicBezTo>
                  <a:pt x="330" y="296"/>
                  <a:pt x="331" y="293"/>
                  <a:pt x="331" y="290"/>
                </a:cubicBezTo>
                <a:cubicBezTo>
                  <a:pt x="331" y="287"/>
                  <a:pt x="330" y="285"/>
                  <a:pt x="328" y="283"/>
                </a:cubicBezTo>
                <a:cubicBezTo>
                  <a:pt x="320" y="275"/>
                  <a:pt x="320" y="275"/>
                  <a:pt x="320" y="275"/>
                </a:cubicBezTo>
                <a:cubicBezTo>
                  <a:pt x="328" y="268"/>
                  <a:pt x="328" y="268"/>
                  <a:pt x="328" y="268"/>
                </a:cubicBezTo>
                <a:cubicBezTo>
                  <a:pt x="330" y="266"/>
                  <a:pt x="331" y="263"/>
                  <a:pt x="331" y="260"/>
                </a:cubicBezTo>
                <a:cubicBezTo>
                  <a:pt x="331" y="257"/>
                  <a:pt x="330" y="255"/>
                  <a:pt x="328" y="253"/>
                </a:cubicBezTo>
                <a:cubicBezTo>
                  <a:pt x="207" y="132"/>
                  <a:pt x="207" y="132"/>
                  <a:pt x="207" y="132"/>
                </a:cubicBezTo>
                <a:cubicBezTo>
                  <a:pt x="203" y="128"/>
                  <a:pt x="196" y="128"/>
                  <a:pt x="192" y="132"/>
                </a:cubicBezTo>
                <a:cubicBezTo>
                  <a:pt x="170" y="154"/>
                  <a:pt x="170" y="154"/>
                  <a:pt x="170" y="154"/>
                </a:cubicBezTo>
                <a:cubicBezTo>
                  <a:pt x="154" y="139"/>
                  <a:pt x="154" y="139"/>
                  <a:pt x="154" y="139"/>
                </a:cubicBezTo>
                <a:cubicBezTo>
                  <a:pt x="170" y="124"/>
                  <a:pt x="170" y="124"/>
                  <a:pt x="170" y="124"/>
                </a:cubicBezTo>
                <a:cubicBezTo>
                  <a:pt x="174" y="120"/>
                  <a:pt x="174" y="113"/>
                  <a:pt x="170" y="109"/>
                </a:cubicBezTo>
                <a:cubicBezTo>
                  <a:pt x="165" y="105"/>
                  <a:pt x="159" y="105"/>
                  <a:pt x="154" y="109"/>
                </a:cubicBezTo>
                <a:cubicBezTo>
                  <a:pt x="109" y="154"/>
                  <a:pt x="109" y="154"/>
                  <a:pt x="109" y="154"/>
                </a:cubicBezTo>
                <a:cubicBezTo>
                  <a:pt x="105" y="159"/>
                  <a:pt x="105" y="165"/>
                  <a:pt x="109" y="170"/>
                </a:cubicBezTo>
                <a:cubicBezTo>
                  <a:pt x="111" y="172"/>
                  <a:pt x="114" y="173"/>
                  <a:pt x="117" y="173"/>
                </a:cubicBezTo>
                <a:cubicBezTo>
                  <a:pt x="120" y="173"/>
                  <a:pt x="122" y="172"/>
                  <a:pt x="124" y="170"/>
                </a:cubicBezTo>
                <a:cubicBezTo>
                  <a:pt x="139" y="154"/>
                  <a:pt x="139" y="154"/>
                  <a:pt x="139" y="154"/>
                </a:cubicBezTo>
                <a:cubicBezTo>
                  <a:pt x="154" y="170"/>
                  <a:pt x="154" y="170"/>
                  <a:pt x="154" y="170"/>
                </a:cubicBezTo>
                <a:cubicBezTo>
                  <a:pt x="132" y="192"/>
                  <a:pt x="132" y="192"/>
                  <a:pt x="132" y="192"/>
                </a:cubicBezTo>
                <a:cubicBezTo>
                  <a:pt x="131" y="193"/>
                  <a:pt x="130" y="194"/>
                  <a:pt x="130" y="196"/>
                </a:cubicBezTo>
                <a:cubicBezTo>
                  <a:pt x="128" y="198"/>
                  <a:pt x="128" y="201"/>
                  <a:pt x="130" y="204"/>
                </a:cubicBezTo>
                <a:cubicBezTo>
                  <a:pt x="130" y="205"/>
                  <a:pt x="131" y="206"/>
                  <a:pt x="132" y="207"/>
                </a:cubicBezTo>
                <a:cubicBezTo>
                  <a:pt x="253" y="328"/>
                  <a:pt x="253" y="328"/>
                  <a:pt x="253" y="328"/>
                </a:cubicBezTo>
                <a:cubicBezTo>
                  <a:pt x="257" y="332"/>
                  <a:pt x="263" y="332"/>
                  <a:pt x="268" y="328"/>
                </a:cubicBezTo>
                <a:cubicBezTo>
                  <a:pt x="275" y="320"/>
                  <a:pt x="275" y="320"/>
                  <a:pt x="275" y="320"/>
                </a:cubicBezTo>
                <a:cubicBezTo>
                  <a:pt x="283" y="328"/>
                  <a:pt x="283" y="328"/>
                  <a:pt x="283" y="328"/>
                </a:cubicBezTo>
                <a:cubicBezTo>
                  <a:pt x="285" y="330"/>
                  <a:pt x="287" y="331"/>
                  <a:pt x="290" y="331"/>
                </a:cubicBezTo>
                <a:cubicBezTo>
                  <a:pt x="293" y="331"/>
                  <a:pt x="296" y="330"/>
                  <a:pt x="298" y="328"/>
                </a:cubicBezTo>
                <a:cubicBezTo>
                  <a:pt x="305" y="320"/>
                  <a:pt x="305" y="320"/>
                  <a:pt x="305" y="320"/>
                </a:cubicBezTo>
                <a:cubicBezTo>
                  <a:pt x="364" y="379"/>
                  <a:pt x="364" y="379"/>
                  <a:pt x="364" y="379"/>
                </a:cubicBezTo>
                <a:cubicBezTo>
                  <a:pt x="366" y="382"/>
                  <a:pt x="369" y="383"/>
                  <a:pt x="372" y="383"/>
                </a:cubicBezTo>
                <a:cubicBezTo>
                  <a:pt x="375" y="383"/>
                  <a:pt x="377" y="382"/>
                  <a:pt x="379" y="379"/>
                </a:cubicBezTo>
                <a:cubicBezTo>
                  <a:pt x="384" y="375"/>
                  <a:pt x="384" y="369"/>
                  <a:pt x="379" y="36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09" name="Group 336"/>
          <p:cNvGrpSpPr>
            <a:grpSpLocks noChangeAspect="1"/>
          </p:cNvGrpSpPr>
          <p:nvPr/>
        </p:nvGrpSpPr>
        <p:grpSpPr bwMode="auto">
          <a:xfrm>
            <a:off x="6903977" y="2916614"/>
            <a:ext cx="370106" cy="369021"/>
            <a:chOff x="4262" y="1204"/>
            <a:chExt cx="341" cy="340"/>
          </a:xfrm>
          <a:solidFill>
            <a:schemeClr val="accent4"/>
          </a:solidFill>
        </p:grpSpPr>
        <p:sp>
          <p:nvSpPr>
            <p:cNvPr id="210" name="Freeform 337"/>
            <p:cNvSpPr>
              <a:spLocks noEditPoints="1"/>
            </p:cNvSpPr>
            <p:nvPr/>
          </p:nvSpPr>
          <p:spPr bwMode="auto">
            <a:xfrm>
              <a:off x="4262" y="120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Freeform 338"/>
            <p:cNvSpPr>
              <a:spLocks noEditPoints="1"/>
            </p:cNvSpPr>
            <p:nvPr/>
          </p:nvSpPr>
          <p:spPr bwMode="auto">
            <a:xfrm>
              <a:off x="4354" y="1268"/>
              <a:ext cx="156" cy="212"/>
            </a:xfrm>
            <a:custGeom>
              <a:avLst/>
              <a:gdLst>
                <a:gd name="T0" fmla="*/ 182 w 235"/>
                <a:gd name="T1" fmla="*/ 85 h 320"/>
                <a:gd name="T2" fmla="*/ 203 w 235"/>
                <a:gd name="T3" fmla="*/ 64 h 320"/>
                <a:gd name="T4" fmla="*/ 214 w 235"/>
                <a:gd name="T5" fmla="*/ 32 h 320"/>
                <a:gd name="T6" fmla="*/ 43 w 235"/>
                <a:gd name="T7" fmla="*/ 0 h 320"/>
                <a:gd name="T8" fmla="*/ 22 w 235"/>
                <a:gd name="T9" fmla="*/ 53 h 320"/>
                <a:gd name="T10" fmla="*/ 54 w 235"/>
                <a:gd name="T11" fmla="*/ 64 h 320"/>
                <a:gd name="T12" fmla="*/ 32 w 235"/>
                <a:gd name="T13" fmla="*/ 85 h 320"/>
                <a:gd name="T14" fmla="*/ 0 w 235"/>
                <a:gd name="T15" fmla="*/ 288 h 320"/>
                <a:gd name="T16" fmla="*/ 203 w 235"/>
                <a:gd name="T17" fmla="*/ 320 h 320"/>
                <a:gd name="T18" fmla="*/ 235 w 235"/>
                <a:gd name="T19" fmla="*/ 117 h 320"/>
                <a:gd name="T20" fmla="*/ 191 w 235"/>
                <a:gd name="T21" fmla="*/ 21 h 320"/>
                <a:gd name="T22" fmla="*/ 192 w 235"/>
                <a:gd name="T23" fmla="*/ 42 h 320"/>
                <a:gd name="T24" fmla="*/ 171 w 235"/>
                <a:gd name="T25" fmla="*/ 21 h 320"/>
                <a:gd name="T26" fmla="*/ 150 w 235"/>
                <a:gd name="T27" fmla="*/ 21 h 320"/>
                <a:gd name="T28" fmla="*/ 128 w 235"/>
                <a:gd name="T29" fmla="*/ 42 h 320"/>
                <a:gd name="T30" fmla="*/ 150 w 235"/>
                <a:gd name="T31" fmla="*/ 21 h 320"/>
                <a:gd name="T32" fmla="*/ 107 w 235"/>
                <a:gd name="T33" fmla="*/ 42 h 320"/>
                <a:gd name="T34" fmla="*/ 86 w 235"/>
                <a:gd name="T35" fmla="*/ 21 h 320"/>
                <a:gd name="T36" fmla="*/ 43 w 235"/>
                <a:gd name="T37" fmla="*/ 42 h 320"/>
                <a:gd name="T38" fmla="*/ 44 w 235"/>
                <a:gd name="T39" fmla="*/ 21 h 320"/>
                <a:gd name="T40" fmla="*/ 64 w 235"/>
                <a:gd name="T41" fmla="*/ 42 h 320"/>
                <a:gd name="T42" fmla="*/ 75 w 235"/>
                <a:gd name="T43" fmla="*/ 64 h 320"/>
                <a:gd name="T44" fmla="*/ 160 w 235"/>
                <a:gd name="T45" fmla="*/ 85 h 320"/>
                <a:gd name="T46" fmla="*/ 75 w 235"/>
                <a:gd name="T47" fmla="*/ 64 h 320"/>
                <a:gd name="T48" fmla="*/ 203 w 235"/>
                <a:gd name="T49" fmla="*/ 298 h 320"/>
                <a:gd name="T50" fmla="*/ 22 w 235"/>
                <a:gd name="T51" fmla="*/ 288 h 320"/>
                <a:gd name="T52" fmla="*/ 32 w 235"/>
                <a:gd name="T53" fmla="*/ 106 h 320"/>
                <a:gd name="T54" fmla="*/ 214 w 235"/>
                <a:gd name="T55" fmla="*/ 117 h 320"/>
                <a:gd name="T56" fmla="*/ 182 w 235"/>
                <a:gd name="T57" fmla="*/ 202 h 320"/>
                <a:gd name="T58" fmla="*/ 128 w 235"/>
                <a:gd name="T59" fmla="*/ 213 h 320"/>
                <a:gd name="T60" fmla="*/ 118 w 235"/>
                <a:gd name="T61" fmla="*/ 266 h 320"/>
                <a:gd name="T62" fmla="*/ 107 w 235"/>
                <a:gd name="T63" fmla="*/ 213 h 320"/>
                <a:gd name="T64" fmla="*/ 54 w 235"/>
                <a:gd name="T65" fmla="*/ 202 h 320"/>
                <a:gd name="T66" fmla="*/ 107 w 235"/>
                <a:gd name="T67" fmla="*/ 192 h 320"/>
                <a:gd name="T68" fmla="*/ 118 w 235"/>
                <a:gd name="T69" fmla="*/ 138 h 320"/>
                <a:gd name="T70" fmla="*/ 128 w 235"/>
                <a:gd name="T71" fmla="*/ 192 h 320"/>
                <a:gd name="T72" fmla="*/ 182 w 235"/>
                <a:gd name="T73" fmla="*/ 20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5" h="320">
                  <a:moveTo>
                    <a:pt x="203" y="85"/>
                  </a:moveTo>
                  <a:cubicBezTo>
                    <a:pt x="182" y="85"/>
                    <a:pt x="182" y="85"/>
                    <a:pt x="182" y="85"/>
                  </a:cubicBezTo>
                  <a:cubicBezTo>
                    <a:pt x="182" y="64"/>
                    <a:pt x="182" y="64"/>
                    <a:pt x="182" y="64"/>
                  </a:cubicBezTo>
                  <a:cubicBezTo>
                    <a:pt x="203" y="64"/>
                    <a:pt x="203" y="64"/>
                    <a:pt x="203" y="64"/>
                  </a:cubicBezTo>
                  <a:cubicBezTo>
                    <a:pt x="209" y="64"/>
                    <a:pt x="214" y="59"/>
                    <a:pt x="214" y="53"/>
                  </a:cubicBezTo>
                  <a:cubicBezTo>
                    <a:pt x="214" y="32"/>
                    <a:pt x="214" y="32"/>
                    <a:pt x="214" y="32"/>
                  </a:cubicBezTo>
                  <a:cubicBezTo>
                    <a:pt x="214" y="10"/>
                    <a:pt x="206" y="0"/>
                    <a:pt x="19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9" y="0"/>
                    <a:pt x="22" y="10"/>
                    <a:pt x="22" y="32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9"/>
                    <a:pt x="26" y="64"/>
                    <a:pt x="32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15" y="85"/>
                    <a:pt x="0" y="99"/>
                    <a:pt x="0" y="117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305"/>
                    <a:pt x="15" y="320"/>
                    <a:pt x="32" y="320"/>
                  </a:cubicBezTo>
                  <a:cubicBezTo>
                    <a:pt x="203" y="320"/>
                    <a:pt x="203" y="320"/>
                    <a:pt x="203" y="320"/>
                  </a:cubicBezTo>
                  <a:cubicBezTo>
                    <a:pt x="221" y="320"/>
                    <a:pt x="235" y="305"/>
                    <a:pt x="235" y="288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5" y="99"/>
                    <a:pt x="221" y="85"/>
                    <a:pt x="203" y="85"/>
                  </a:cubicBezTo>
                  <a:close/>
                  <a:moveTo>
                    <a:pt x="191" y="21"/>
                  </a:moveTo>
                  <a:cubicBezTo>
                    <a:pt x="192" y="22"/>
                    <a:pt x="192" y="25"/>
                    <a:pt x="192" y="3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21"/>
                    <a:pt x="171" y="21"/>
                    <a:pt x="171" y="21"/>
                  </a:cubicBezTo>
                  <a:lnTo>
                    <a:pt x="191" y="21"/>
                  </a:lnTo>
                  <a:close/>
                  <a:moveTo>
                    <a:pt x="150" y="21"/>
                  </a:moveTo>
                  <a:cubicBezTo>
                    <a:pt x="150" y="42"/>
                    <a:pt x="150" y="42"/>
                    <a:pt x="150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21"/>
                    <a:pt x="128" y="21"/>
                    <a:pt x="128" y="21"/>
                  </a:cubicBezTo>
                  <a:lnTo>
                    <a:pt x="150" y="21"/>
                  </a:lnTo>
                  <a:close/>
                  <a:moveTo>
                    <a:pt x="107" y="21"/>
                  </a:moveTo>
                  <a:cubicBezTo>
                    <a:pt x="107" y="42"/>
                    <a:pt x="107" y="42"/>
                    <a:pt x="107" y="42"/>
                  </a:cubicBezTo>
                  <a:cubicBezTo>
                    <a:pt x="86" y="42"/>
                    <a:pt x="86" y="42"/>
                    <a:pt x="86" y="42"/>
                  </a:cubicBezTo>
                  <a:cubicBezTo>
                    <a:pt x="86" y="21"/>
                    <a:pt x="86" y="21"/>
                    <a:pt x="86" y="21"/>
                  </a:cubicBezTo>
                  <a:lnTo>
                    <a:pt x="107" y="21"/>
                  </a:lnTo>
                  <a:close/>
                  <a:moveTo>
                    <a:pt x="43" y="4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25"/>
                    <a:pt x="44" y="22"/>
                    <a:pt x="4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42"/>
                    <a:pt x="64" y="42"/>
                    <a:pt x="64" y="42"/>
                  </a:cubicBezTo>
                  <a:lnTo>
                    <a:pt x="43" y="42"/>
                  </a:lnTo>
                  <a:close/>
                  <a:moveTo>
                    <a:pt x="75" y="64"/>
                  </a:moveTo>
                  <a:cubicBezTo>
                    <a:pt x="160" y="64"/>
                    <a:pt x="160" y="64"/>
                    <a:pt x="160" y="64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75" y="85"/>
                    <a:pt x="75" y="85"/>
                    <a:pt x="75" y="85"/>
                  </a:cubicBezTo>
                  <a:lnTo>
                    <a:pt x="75" y="64"/>
                  </a:lnTo>
                  <a:close/>
                  <a:moveTo>
                    <a:pt x="214" y="288"/>
                  </a:moveTo>
                  <a:cubicBezTo>
                    <a:pt x="214" y="294"/>
                    <a:pt x="209" y="298"/>
                    <a:pt x="203" y="298"/>
                  </a:cubicBezTo>
                  <a:cubicBezTo>
                    <a:pt x="32" y="298"/>
                    <a:pt x="32" y="298"/>
                    <a:pt x="32" y="298"/>
                  </a:cubicBezTo>
                  <a:cubicBezTo>
                    <a:pt x="26" y="298"/>
                    <a:pt x="22" y="294"/>
                    <a:pt x="22" y="288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22" y="111"/>
                    <a:pt x="26" y="106"/>
                    <a:pt x="32" y="106"/>
                  </a:cubicBezTo>
                  <a:cubicBezTo>
                    <a:pt x="203" y="106"/>
                    <a:pt x="203" y="106"/>
                    <a:pt x="203" y="106"/>
                  </a:cubicBezTo>
                  <a:cubicBezTo>
                    <a:pt x="209" y="106"/>
                    <a:pt x="214" y="111"/>
                    <a:pt x="214" y="117"/>
                  </a:cubicBezTo>
                  <a:lnTo>
                    <a:pt x="214" y="288"/>
                  </a:lnTo>
                  <a:close/>
                  <a:moveTo>
                    <a:pt x="182" y="202"/>
                  </a:moveTo>
                  <a:cubicBezTo>
                    <a:pt x="182" y="208"/>
                    <a:pt x="177" y="213"/>
                    <a:pt x="171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28" y="262"/>
                    <a:pt x="124" y="266"/>
                    <a:pt x="118" y="266"/>
                  </a:cubicBezTo>
                  <a:cubicBezTo>
                    <a:pt x="112" y="266"/>
                    <a:pt x="107" y="262"/>
                    <a:pt x="107" y="256"/>
                  </a:cubicBezTo>
                  <a:cubicBezTo>
                    <a:pt x="107" y="213"/>
                    <a:pt x="107" y="213"/>
                    <a:pt x="107" y="213"/>
                  </a:cubicBezTo>
                  <a:cubicBezTo>
                    <a:pt x="64" y="213"/>
                    <a:pt x="64" y="213"/>
                    <a:pt x="64" y="213"/>
                  </a:cubicBezTo>
                  <a:cubicBezTo>
                    <a:pt x="58" y="213"/>
                    <a:pt x="54" y="208"/>
                    <a:pt x="54" y="202"/>
                  </a:cubicBezTo>
                  <a:cubicBezTo>
                    <a:pt x="54" y="196"/>
                    <a:pt x="58" y="192"/>
                    <a:pt x="64" y="192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7" y="143"/>
                    <a:pt x="112" y="138"/>
                    <a:pt x="118" y="138"/>
                  </a:cubicBezTo>
                  <a:cubicBezTo>
                    <a:pt x="124" y="138"/>
                    <a:pt x="128" y="143"/>
                    <a:pt x="128" y="149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71" y="192"/>
                    <a:pt x="171" y="192"/>
                    <a:pt x="171" y="192"/>
                  </a:cubicBezTo>
                  <a:cubicBezTo>
                    <a:pt x="177" y="192"/>
                    <a:pt x="182" y="196"/>
                    <a:pt x="182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2" name="Freeform 342"/>
          <p:cNvSpPr>
            <a:spLocks noChangeAspect="1" noEditPoints="1"/>
          </p:cNvSpPr>
          <p:nvPr/>
        </p:nvSpPr>
        <p:spPr bwMode="auto">
          <a:xfrm>
            <a:off x="6405380" y="2916614"/>
            <a:ext cx="369021" cy="369021"/>
          </a:xfrm>
          <a:custGeom>
            <a:avLst/>
            <a:gdLst>
              <a:gd name="T0" fmla="*/ 213 w 512"/>
              <a:gd name="T1" fmla="*/ 181 h 512"/>
              <a:gd name="T2" fmla="*/ 298 w 512"/>
              <a:gd name="T3" fmla="*/ 160 h 512"/>
              <a:gd name="T4" fmla="*/ 245 w 512"/>
              <a:gd name="T5" fmla="*/ 117 h 512"/>
              <a:gd name="T6" fmla="*/ 224 w 512"/>
              <a:gd name="T7" fmla="*/ 138 h 512"/>
              <a:gd name="T8" fmla="*/ 245 w 512"/>
              <a:gd name="T9" fmla="*/ 117 h 512"/>
              <a:gd name="T10" fmla="*/ 329 w 512"/>
              <a:gd name="T11" fmla="*/ 117 h 512"/>
              <a:gd name="T12" fmla="*/ 309 w 512"/>
              <a:gd name="T13" fmla="*/ 138 h 512"/>
              <a:gd name="T14" fmla="*/ 330 w 512"/>
              <a:gd name="T15" fmla="*/ 128 h 512"/>
              <a:gd name="T16" fmla="*/ 266 w 512"/>
              <a:gd name="T17" fmla="*/ 117 h 512"/>
              <a:gd name="T18" fmla="*/ 288 w 512"/>
              <a:gd name="T19" fmla="*/ 138 h 512"/>
              <a:gd name="T20" fmla="*/ 352 w 512"/>
              <a:gd name="T21" fmla="*/ 213 h 512"/>
              <a:gd name="T22" fmla="*/ 341 w 512"/>
              <a:gd name="T23" fmla="*/ 394 h 512"/>
              <a:gd name="T24" fmla="*/ 160 w 512"/>
              <a:gd name="T25" fmla="*/ 384 h 512"/>
              <a:gd name="T26" fmla="*/ 170 w 512"/>
              <a:gd name="T27" fmla="*/ 202 h 512"/>
              <a:gd name="T28" fmla="*/ 352 w 512"/>
              <a:gd name="T29" fmla="*/ 213 h 512"/>
              <a:gd name="T30" fmla="*/ 309 w 512"/>
              <a:gd name="T31" fmla="*/ 288 h 512"/>
              <a:gd name="T32" fmla="*/ 266 w 512"/>
              <a:gd name="T33" fmla="*/ 245 h 512"/>
              <a:gd name="T34" fmla="*/ 245 w 512"/>
              <a:gd name="T35" fmla="*/ 245 h 512"/>
              <a:gd name="T36" fmla="*/ 202 w 512"/>
              <a:gd name="T37" fmla="*/ 288 h 512"/>
              <a:gd name="T38" fmla="*/ 202 w 512"/>
              <a:gd name="T39" fmla="*/ 309 h 512"/>
              <a:gd name="T40" fmla="*/ 245 w 512"/>
              <a:gd name="T41" fmla="*/ 352 h 512"/>
              <a:gd name="T42" fmla="*/ 266 w 512"/>
              <a:gd name="T43" fmla="*/ 352 h 512"/>
              <a:gd name="T44" fmla="*/ 309 w 512"/>
              <a:gd name="T45" fmla="*/ 309 h 512"/>
              <a:gd name="T46" fmla="*/ 512 w 512"/>
              <a:gd name="T47" fmla="*/ 256 h 512"/>
              <a:gd name="T48" fmla="*/ 0 w 512"/>
              <a:gd name="T49" fmla="*/ 256 h 512"/>
              <a:gd name="T50" fmla="*/ 512 w 512"/>
              <a:gd name="T51" fmla="*/ 256 h 512"/>
              <a:gd name="T52" fmla="*/ 341 w 512"/>
              <a:gd name="T53" fmla="*/ 181 h 512"/>
              <a:gd name="T54" fmla="*/ 320 w 512"/>
              <a:gd name="T55" fmla="*/ 160 h 512"/>
              <a:gd name="T56" fmla="*/ 352 w 512"/>
              <a:gd name="T57" fmla="*/ 149 h 512"/>
              <a:gd name="T58" fmla="*/ 330 w 512"/>
              <a:gd name="T59" fmla="*/ 96 h 512"/>
              <a:gd name="T60" fmla="*/ 160 w 512"/>
              <a:gd name="T61" fmla="*/ 128 h 512"/>
              <a:gd name="T62" fmla="*/ 170 w 512"/>
              <a:gd name="T63" fmla="*/ 160 h 512"/>
              <a:gd name="T64" fmla="*/ 192 w 512"/>
              <a:gd name="T65" fmla="*/ 181 h 512"/>
              <a:gd name="T66" fmla="*/ 138 w 512"/>
              <a:gd name="T67" fmla="*/ 213 h 512"/>
              <a:gd name="T68" fmla="*/ 170 w 512"/>
              <a:gd name="T69" fmla="*/ 416 h 512"/>
              <a:gd name="T70" fmla="*/ 373 w 512"/>
              <a:gd name="T71" fmla="*/ 384 h 512"/>
              <a:gd name="T72" fmla="*/ 202 w 512"/>
              <a:gd name="T73" fmla="*/ 117 h 512"/>
              <a:gd name="T74" fmla="*/ 181 w 512"/>
              <a:gd name="T75" fmla="*/ 128 h 512"/>
              <a:gd name="T76" fmla="*/ 202 w 512"/>
              <a:gd name="T77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98" y="181"/>
                </a:moveTo>
                <a:cubicBezTo>
                  <a:pt x="213" y="181"/>
                  <a:pt x="213" y="181"/>
                  <a:pt x="213" y="181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98" y="160"/>
                  <a:pt x="298" y="160"/>
                  <a:pt x="298" y="160"/>
                </a:cubicBezTo>
                <a:lnTo>
                  <a:pt x="298" y="181"/>
                </a:lnTo>
                <a:close/>
                <a:moveTo>
                  <a:pt x="245" y="117"/>
                </a:moveTo>
                <a:cubicBezTo>
                  <a:pt x="224" y="117"/>
                  <a:pt x="224" y="117"/>
                  <a:pt x="224" y="117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45" y="138"/>
                  <a:pt x="245" y="138"/>
                  <a:pt x="245" y="138"/>
                </a:cubicBezTo>
                <a:lnTo>
                  <a:pt x="245" y="117"/>
                </a:lnTo>
                <a:close/>
                <a:moveTo>
                  <a:pt x="330" y="128"/>
                </a:moveTo>
                <a:cubicBezTo>
                  <a:pt x="330" y="121"/>
                  <a:pt x="330" y="118"/>
                  <a:pt x="329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128"/>
                </a:lnTo>
                <a:close/>
                <a:moveTo>
                  <a:pt x="288" y="117"/>
                </a:moveTo>
                <a:cubicBezTo>
                  <a:pt x="266" y="117"/>
                  <a:pt x="266" y="117"/>
                  <a:pt x="266" y="117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88" y="138"/>
                  <a:pt x="288" y="138"/>
                  <a:pt x="288" y="138"/>
                </a:cubicBezTo>
                <a:lnTo>
                  <a:pt x="288" y="117"/>
                </a:lnTo>
                <a:close/>
                <a:moveTo>
                  <a:pt x="352" y="213"/>
                </a:moveTo>
                <a:cubicBezTo>
                  <a:pt x="352" y="384"/>
                  <a:pt x="352" y="384"/>
                  <a:pt x="352" y="384"/>
                </a:cubicBezTo>
                <a:cubicBezTo>
                  <a:pt x="352" y="390"/>
                  <a:pt x="347" y="394"/>
                  <a:pt x="341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213"/>
                  <a:pt x="160" y="213"/>
                  <a:pt x="160" y="213"/>
                </a:cubicBezTo>
                <a:cubicBezTo>
                  <a:pt x="160" y="207"/>
                  <a:pt x="164" y="202"/>
                  <a:pt x="170" y="202"/>
                </a:cubicBezTo>
                <a:cubicBezTo>
                  <a:pt x="341" y="202"/>
                  <a:pt x="341" y="202"/>
                  <a:pt x="341" y="202"/>
                </a:cubicBezTo>
                <a:cubicBezTo>
                  <a:pt x="347" y="202"/>
                  <a:pt x="352" y="207"/>
                  <a:pt x="352" y="213"/>
                </a:cubicBezTo>
                <a:close/>
                <a:moveTo>
                  <a:pt x="320" y="298"/>
                </a:moveTo>
                <a:cubicBezTo>
                  <a:pt x="320" y="292"/>
                  <a:pt x="315" y="288"/>
                  <a:pt x="309" y="288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239"/>
                  <a:pt x="262" y="234"/>
                  <a:pt x="256" y="234"/>
                </a:cubicBezTo>
                <a:cubicBezTo>
                  <a:pt x="250" y="234"/>
                  <a:pt x="245" y="239"/>
                  <a:pt x="245" y="245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02" y="288"/>
                  <a:pt x="202" y="288"/>
                  <a:pt x="202" y="288"/>
                </a:cubicBezTo>
                <a:cubicBezTo>
                  <a:pt x="196" y="288"/>
                  <a:pt x="192" y="292"/>
                  <a:pt x="192" y="298"/>
                </a:cubicBezTo>
                <a:cubicBezTo>
                  <a:pt x="192" y="304"/>
                  <a:pt x="196" y="309"/>
                  <a:pt x="202" y="309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358"/>
                  <a:pt x="250" y="362"/>
                  <a:pt x="256" y="362"/>
                </a:cubicBezTo>
                <a:cubicBezTo>
                  <a:pt x="262" y="362"/>
                  <a:pt x="266" y="358"/>
                  <a:pt x="266" y="352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5" y="309"/>
                  <a:pt x="320" y="304"/>
                  <a:pt x="320" y="29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195"/>
                  <a:pt x="359" y="181"/>
                  <a:pt x="341" y="181"/>
                </a:cubicBezTo>
                <a:cubicBezTo>
                  <a:pt x="320" y="181"/>
                  <a:pt x="320" y="181"/>
                  <a:pt x="320" y="181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7" y="160"/>
                  <a:pt x="352" y="155"/>
                  <a:pt x="352" y="149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52" y="106"/>
                  <a:pt x="344" y="96"/>
                  <a:pt x="330" y="96"/>
                </a:cubicBezTo>
                <a:cubicBezTo>
                  <a:pt x="181" y="96"/>
                  <a:pt x="181" y="96"/>
                  <a:pt x="181" y="96"/>
                </a:cubicBezTo>
                <a:cubicBezTo>
                  <a:pt x="167" y="96"/>
                  <a:pt x="160" y="106"/>
                  <a:pt x="160" y="128"/>
                </a:cubicBezTo>
                <a:cubicBezTo>
                  <a:pt x="160" y="149"/>
                  <a:pt x="160" y="149"/>
                  <a:pt x="160" y="149"/>
                </a:cubicBezTo>
                <a:cubicBezTo>
                  <a:pt x="160" y="155"/>
                  <a:pt x="164" y="160"/>
                  <a:pt x="170" y="160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192" y="181"/>
                  <a:pt x="192" y="181"/>
                  <a:pt x="192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53" y="181"/>
                  <a:pt x="138" y="195"/>
                  <a:pt x="138" y="213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8" y="401"/>
                  <a:pt x="153" y="416"/>
                  <a:pt x="170" y="416"/>
                </a:cubicBezTo>
                <a:cubicBezTo>
                  <a:pt x="341" y="416"/>
                  <a:pt x="341" y="416"/>
                  <a:pt x="341" y="416"/>
                </a:cubicBezTo>
                <a:cubicBezTo>
                  <a:pt x="359" y="416"/>
                  <a:pt x="373" y="401"/>
                  <a:pt x="373" y="384"/>
                </a:cubicBezTo>
                <a:lnTo>
                  <a:pt x="373" y="213"/>
                </a:lnTo>
                <a:close/>
                <a:moveTo>
                  <a:pt x="202" y="117"/>
                </a:moveTo>
                <a:cubicBezTo>
                  <a:pt x="182" y="117"/>
                  <a:pt x="182" y="117"/>
                  <a:pt x="182" y="117"/>
                </a:cubicBezTo>
                <a:cubicBezTo>
                  <a:pt x="182" y="118"/>
                  <a:pt x="181" y="121"/>
                  <a:pt x="181" y="12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202" y="138"/>
                  <a:pt x="202" y="138"/>
                  <a:pt x="202" y="138"/>
                </a:cubicBezTo>
                <a:lnTo>
                  <a:pt x="202" y="11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3" name="Freeform 869"/>
          <p:cNvSpPr>
            <a:spLocks noChangeAspect="1" noEditPoints="1"/>
          </p:cNvSpPr>
          <p:nvPr/>
        </p:nvSpPr>
        <p:spPr bwMode="auto">
          <a:xfrm>
            <a:off x="7403659" y="2916614"/>
            <a:ext cx="367041" cy="367041"/>
          </a:xfrm>
          <a:custGeom>
            <a:avLst/>
            <a:gdLst>
              <a:gd name="T0" fmla="*/ 305 w 512"/>
              <a:gd name="T1" fmla="*/ 145 h 512"/>
              <a:gd name="T2" fmla="*/ 207 w 512"/>
              <a:gd name="T3" fmla="*/ 198 h 512"/>
              <a:gd name="T4" fmla="*/ 512 w 512"/>
              <a:gd name="T5" fmla="*/ 256 h 512"/>
              <a:gd name="T6" fmla="*/ 0 w 512"/>
              <a:gd name="T7" fmla="*/ 256 h 512"/>
              <a:gd name="T8" fmla="*/ 512 w 512"/>
              <a:gd name="T9" fmla="*/ 256 h 512"/>
              <a:gd name="T10" fmla="*/ 245 w 512"/>
              <a:gd name="T11" fmla="*/ 288 h 512"/>
              <a:gd name="T12" fmla="*/ 245 w 512"/>
              <a:gd name="T13" fmla="*/ 267 h 512"/>
              <a:gd name="T14" fmla="*/ 128 w 512"/>
              <a:gd name="T15" fmla="*/ 278 h 512"/>
              <a:gd name="T16" fmla="*/ 373 w 512"/>
              <a:gd name="T17" fmla="*/ 262 h 512"/>
              <a:gd name="T18" fmla="*/ 328 w 512"/>
              <a:gd name="T19" fmla="*/ 152 h 512"/>
              <a:gd name="T20" fmla="*/ 320 w 512"/>
              <a:gd name="T21" fmla="*/ 130 h 512"/>
              <a:gd name="T22" fmla="*/ 328 w 512"/>
              <a:gd name="T23" fmla="*/ 107 h 512"/>
              <a:gd name="T24" fmla="*/ 305 w 512"/>
              <a:gd name="T25" fmla="*/ 99 h 512"/>
              <a:gd name="T26" fmla="*/ 290 w 512"/>
              <a:gd name="T27" fmla="*/ 99 h 512"/>
              <a:gd name="T28" fmla="*/ 184 w 512"/>
              <a:gd name="T29" fmla="*/ 190 h 512"/>
              <a:gd name="T30" fmla="*/ 222 w 512"/>
              <a:gd name="T31" fmla="*/ 243 h 512"/>
              <a:gd name="T32" fmla="*/ 229 w 512"/>
              <a:gd name="T33" fmla="*/ 246 h 512"/>
              <a:gd name="T34" fmla="*/ 266 w 512"/>
              <a:gd name="T35" fmla="*/ 214 h 512"/>
              <a:gd name="T36" fmla="*/ 256 w 512"/>
              <a:gd name="T37" fmla="*/ 299 h 512"/>
              <a:gd name="T38" fmla="*/ 256 w 512"/>
              <a:gd name="T39" fmla="*/ 320 h 512"/>
              <a:gd name="T40" fmla="*/ 283 w 512"/>
              <a:gd name="T41" fmla="*/ 197 h 512"/>
              <a:gd name="T42" fmla="*/ 302 w 512"/>
              <a:gd name="T43" fmla="*/ 181 h 512"/>
              <a:gd name="T44" fmla="*/ 276 w 512"/>
              <a:gd name="T45" fmla="*/ 352 h 512"/>
              <a:gd name="T46" fmla="*/ 273 w 512"/>
              <a:gd name="T47" fmla="*/ 373 h 512"/>
              <a:gd name="T48" fmla="*/ 217 w 512"/>
              <a:gd name="T49" fmla="*/ 395 h 512"/>
              <a:gd name="T50" fmla="*/ 235 w 512"/>
              <a:gd name="T51" fmla="*/ 372 h 512"/>
              <a:gd name="T52" fmla="*/ 169 w 512"/>
              <a:gd name="T53" fmla="*/ 306 h 512"/>
              <a:gd name="T54" fmla="*/ 149 w 512"/>
              <a:gd name="T55" fmla="*/ 314 h 512"/>
              <a:gd name="T56" fmla="*/ 192 w 512"/>
              <a:gd name="T57" fmla="*/ 404 h 512"/>
              <a:gd name="T58" fmla="*/ 203 w 512"/>
              <a:gd name="T59" fmla="*/ 416 h 512"/>
              <a:gd name="T60" fmla="*/ 318 w 512"/>
              <a:gd name="T61" fmla="*/ 412 h 512"/>
              <a:gd name="T62" fmla="*/ 301 w 512"/>
              <a:gd name="T63" fmla="*/ 3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82" y="122"/>
                </a:moveTo>
                <a:cubicBezTo>
                  <a:pt x="305" y="145"/>
                  <a:pt x="305" y="145"/>
                  <a:pt x="305" y="145"/>
                </a:cubicBezTo>
                <a:cubicBezTo>
                  <a:pt x="229" y="221"/>
                  <a:pt x="229" y="221"/>
                  <a:pt x="229" y="221"/>
                </a:cubicBezTo>
                <a:cubicBezTo>
                  <a:pt x="207" y="198"/>
                  <a:pt x="207" y="198"/>
                  <a:pt x="207" y="198"/>
                </a:cubicBezTo>
                <a:lnTo>
                  <a:pt x="282" y="122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139" y="288"/>
                </a:moveTo>
                <a:cubicBezTo>
                  <a:pt x="245" y="288"/>
                  <a:pt x="245" y="288"/>
                  <a:pt x="245" y="288"/>
                </a:cubicBezTo>
                <a:cubicBezTo>
                  <a:pt x="251" y="288"/>
                  <a:pt x="256" y="284"/>
                  <a:pt x="256" y="278"/>
                </a:cubicBezTo>
                <a:cubicBezTo>
                  <a:pt x="256" y="272"/>
                  <a:pt x="251" y="267"/>
                  <a:pt x="245" y="267"/>
                </a:cubicBezTo>
                <a:cubicBezTo>
                  <a:pt x="139" y="267"/>
                  <a:pt x="139" y="267"/>
                  <a:pt x="139" y="267"/>
                </a:cubicBezTo>
                <a:cubicBezTo>
                  <a:pt x="133" y="267"/>
                  <a:pt x="128" y="272"/>
                  <a:pt x="128" y="278"/>
                </a:cubicBezTo>
                <a:cubicBezTo>
                  <a:pt x="128" y="284"/>
                  <a:pt x="133" y="288"/>
                  <a:pt x="139" y="288"/>
                </a:cubicBezTo>
                <a:close/>
                <a:moveTo>
                  <a:pt x="373" y="262"/>
                </a:moveTo>
                <a:cubicBezTo>
                  <a:pt x="373" y="221"/>
                  <a:pt x="352" y="184"/>
                  <a:pt x="316" y="164"/>
                </a:cubicBezTo>
                <a:cubicBezTo>
                  <a:pt x="328" y="152"/>
                  <a:pt x="328" y="152"/>
                  <a:pt x="328" y="152"/>
                </a:cubicBezTo>
                <a:cubicBezTo>
                  <a:pt x="332" y="148"/>
                  <a:pt x="332" y="141"/>
                  <a:pt x="328" y="137"/>
                </a:cubicBezTo>
                <a:cubicBezTo>
                  <a:pt x="320" y="130"/>
                  <a:pt x="320" y="130"/>
                  <a:pt x="320" y="130"/>
                </a:cubicBezTo>
                <a:cubicBezTo>
                  <a:pt x="328" y="122"/>
                  <a:pt x="328" y="122"/>
                  <a:pt x="328" y="122"/>
                </a:cubicBezTo>
                <a:cubicBezTo>
                  <a:pt x="332" y="118"/>
                  <a:pt x="332" y="111"/>
                  <a:pt x="328" y="107"/>
                </a:cubicBezTo>
                <a:cubicBezTo>
                  <a:pt x="320" y="99"/>
                  <a:pt x="320" y="99"/>
                  <a:pt x="320" y="99"/>
                </a:cubicBezTo>
                <a:cubicBezTo>
                  <a:pt x="316" y="95"/>
                  <a:pt x="309" y="95"/>
                  <a:pt x="305" y="99"/>
                </a:cubicBezTo>
                <a:cubicBezTo>
                  <a:pt x="297" y="107"/>
                  <a:pt x="297" y="107"/>
                  <a:pt x="297" y="107"/>
                </a:cubicBezTo>
                <a:cubicBezTo>
                  <a:pt x="290" y="99"/>
                  <a:pt x="290" y="99"/>
                  <a:pt x="290" y="99"/>
                </a:cubicBezTo>
                <a:cubicBezTo>
                  <a:pt x="286" y="95"/>
                  <a:pt x="279" y="95"/>
                  <a:pt x="275" y="99"/>
                </a:cubicBezTo>
                <a:cubicBezTo>
                  <a:pt x="184" y="190"/>
                  <a:pt x="184" y="190"/>
                  <a:pt x="184" y="190"/>
                </a:cubicBezTo>
                <a:cubicBezTo>
                  <a:pt x="180" y="194"/>
                  <a:pt x="180" y="201"/>
                  <a:pt x="184" y="205"/>
                </a:cubicBezTo>
                <a:cubicBezTo>
                  <a:pt x="222" y="243"/>
                  <a:pt x="222" y="243"/>
                  <a:pt x="222" y="243"/>
                </a:cubicBezTo>
                <a:cubicBezTo>
                  <a:pt x="224" y="245"/>
                  <a:pt x="226" y="246"/>
                  <a:pt x="229" y="246"/>
                </a:cubicBezTo>
                <a:cubicBezTo>
                  <a:pt x="229" y="246"/>
                  <a:pt x="229" y="246"/>
                  <a:pt x="229" y="246"/>
                </a:cubicBezTo>
                <a:cubicBezTo>
                  <a:pt x="232" y="246"/>
                  <a:pt x="235" y="245"/>
                  <a:pt x="237" y="243"/>
                </a:cubicBezTo>
                <a:cubicBezTo>
                  <a:pt x="266" y="214"/>
                  <a:pt x="266" y="214"/>
                  <a:pt x="266" y="214"/>
                </a:cubicBezTo>
                <a:cubicBezTo>
                  <a:pt x="286" y="219"/>
                  <a:pt x="299" y="236"/>
                  <a:pt x="299" y="256"/>
                </a:cubicBezTo>
                <a:cubicBezTo>
                  <a:pt x="299" y="281"/>
                  <a:pt x="281" y="299"/>
                  <a:pt x="256" y="299"/>
                </a:cubicBezTo>
                <a:cubicBezTo>
                  <a:pt x="250" y="299"/>
                  <a:pt x="245" y="304"/>
                  <a:pt x="245" y="310"/>
                </a:cubicBezTo>
                <a:cubicBezTo>
                  <a:pt x="245" y="316"/>
                  <a:pt x="250" y="320"/>
                  <a:pt x="256" y="320"/>
                </a:cubicBezTo>
                <a:cubicBezTo>
                  <a:pt x="292" y="320"/>
                  <a:pt x="320" y="293"/>
                  <a:pt x="320" y="256"/>
                </a:cubicBezTo>
                <a:cubicBezTo>
                  <a:pt x="320" y="230"/>
                  <a:pt x="305" y="208"/>
                  <a:pt x="283" y="197"/>
                </a:cubicBezTo>
                <a:cubicBezTo>
                  <a:pt x="300" y="180"/>
                  <a:pt x="300" y="180"/>
                  <a:pt x="300" y="180"/>
                </a:cubicBezTo>
                <a:cubicBezTo>
                  <a:pt x="301" y="180"/>
                  <a:pt x="302" y="181"/>
                  <a:pt x="302" y="181"/>
                </a:cubicBezTo>
                <a:cubicBezTo>
                  <a:pt x="333" y="196"/>
                  <a:pt x="352" y="227"/>
                  <a:pt x="352" y="262"/>
                </a:cubicBezTo>
                <a:cubicBezTo>
                  <a:pt x="352" y="307"/>
                  <a:pt x="319" y="346"/>
                  <a:pt x="276" y="352"/>
                </a:cubicBezTo>
                <a:cubicBezTo>
                  <a:pt x="271" y="353"/>
                  <a:pt x="268" y="357"/>
                  <a:pt x="267" y="361"/>
                </a:cubicBezTo>
                <a:cubicBezTo>
                  <a:pt x="266" y="366"/>
                  <a:pt x="268" y="370"/>
                  <a:pt x="273" y="373"/>
                </a:cubicBezTo>
                <a:cubicBezTo>
                  <a:pt x="281" y="377"/>
                  <a:pt x="289" y="386"/>
                  <a:pt x="294" y="395"/>
                </a:cubicBezTo>
                <a:cubicBezTo>
                  <a:pt x="217" y="395"/>
                  <a:pt x="217" y="395"/>
                  <a:pt x="217" y="395"/>
                </a:cubicBezTo>
                <a:cubicBezTo>
                  <a:pt x="220" y="390"/>
                  <a:pt x="224" y="386"/>
                  <a:pt x="229" y="383"/>
                </a:cubicBezTo>
                <a:cubicBezTo>
                  <a:pt x="233" y="381"/>
                  <a:pt x="235" y="376"/>
                  <a:pt x="235" y="372"/>
                </a:cubicBezTo>
                <a:cubicBezTo>
                  <a:pt x="234" y="368"/>
                  <a:pt x="231" y="364"/>
                  <a:pt x="227" y="363"/>
                </a:cubicBezTo>
                <a:cubicBezTo>
                  <a:pt x="202" y="357"/>
                  <a:pt x="181" y="336"/>
                  <a:pt x="169" y="306"/>
                </a:cubicBezTo>
                <a:cubicBezTo>
                  <a:pt x="167" y="301"/>
                  <a:pt x="161" y="298"/>
                  <a:pt x="155" y="300"/>
                </a:cubicBezTo>
                <a:cubicBezTo>
                  <a:pt x="150" y="302"/>
                  <a:pt x="147" y="308"/>
                  <a:pt x="149" y="314"/>
                </a:cubicBezTo>
                <a:cubicBezTo>
                  <a:pt x="161" y="343"/>
                  <a:pt x="180" y="366"/>
                  <a:pt x="203" y="377"/>
                </a:cubicBezTo>
                <a:cubicBezTo>
                  <a:pt x="198" y="384"/>
                  <a:pt x="194" y="393"/>
                  <a:pt x="192" y="404"/>
                </a:cubicBezTo>
                <a:cubicBezTo>
                  <a:pt x="192" y="407"/>
                  <a:pt x="192" y="410"/>
                  <a:pt x="194" y="412"/>
                </a:cubicBezTo>
                <a:cubicBezTo>
                  <a:pt x="196" y="415"/>
                  <a:pt x="199" y="416"/>
                  <a:pt x="203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3" y="416"/>
                  <a:pt x="316" y="415"/>
                  <a:pt x="318" y="412"/>
                </a:cubicBezTo>
                <a:cubicBezTo>
                  <a:pt x="320" y="410"/>
                  <a:pt x="320" y="407"/>
                  <a:pt x="320" y="404"/>
                </a:cubicBezTo>
                <a:cubicBezTo>
                  <a:pt x="317" y="391"/>
                  <a:pt x="310" y="378"/>
                  <a:pt x="301" y="368"/>
                </a:cubicBezTo>
                <a:cubicBezTo>
                  <a:pt x="343" y="352"/>
                  <a:pt x="373" y="309"/>
                  <a:pt x="373" y="2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14" name="Group 872"/>
          <p:cNvGrpSpPr>
            <a:grpSpLocks noChangeAspect="1"/>
          </p:cNvGrpSpPr>
          <p:nvPr/>
        </p:nvGrpSpPr>
        <p:grpSpPr bwMode="auto">
          <a:xfrm>
            <a:off x="7900276" y="2916614"/>
            <a:ext cx="367041" cy="367041"/>
            <a:chOff x="3132" y="3822"/>
            <a:chExt cx="340" cy="340"/>
          </a:xfrm>
          <a:solidFill>
            <a:schemeClr val="accent4"/>
          </a:solidFill>
        </p:grpSpPr>
        <p:sp>
          <p:nvSpPr>
            <p:cNvPr id="215" name="Freeform 873"/>
            <p:cNvSpPr>
              <a:spLocks noEditPoints="1"/>
            </p:cNvSpPr>
            <p:nvPr/>
          </p:nvSpPr>
          <p:spPr bwMode="auto">
            <a:xfrm>
              <a:off x="3132" y="3822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Freeform 874"/>
            <p:cNvSpPr>
              <a:spLocks/>
            </p:cNvSpPr>
            <p:nvPr/>
          </p:nvSpPr>
          <p:spPr bwMode="auto">
            <a:xfrm>
              <a:off x="3217" y="3999"/>
              <a:ext cx="85" cy="14"/>
            </a:xfrm>
            <a:custGeom>
              <a:avLst/>
              <a:gdLst>
                <a:gd name="T0" fmla="*/ 128 w 128"/>
                <a:gd name="T1" fmla="*/ 11 h 21"/>
                <a:gd name="T2" fmla="*/ 117 w 128"/>
                <a:gd name="T3" fmla="*/ 0 h 21"/>
                <a:gd name="T4" fmla="*/ 11 w 128"/>
                <a:gd name="T5" fmla="*/ 0 h 21"/>
                <a:gd name="T6" fmla="*/ 0 w 128"/>
                <a:gd name="T7" fmla="*/ 11 h 21"/>
                <a:gd name="T8" fmla="*/ 11 w 128"/>
                <a:gd name="T9" fmla="*/ 21 h 21"/>
                <a:gd name="T10" fmla="*/ 117 w 128"/>
                <a:gd name="T11" fmla="*/ 21 h 21"/>
                <a:gd name="T12" fmla="*/ 128 w 128"/>
                <a:gd name="T13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28" y="11"/>
                  </a:moveTo>
                  <a:cubicBezTo>
                    <a:pt x="128" y="5"/>
                    <a:pt x="123" y="0"/>
                    <a:pt x="11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875"/>
            <p:cNvSpPr>
              <a:spLocks noEditPoints="1"/>
            </p:cNvSpPr>
            <p:nvPr/>
          </p:nvSpPr>
          <p:spPr bwMode="auto">
            <a:xfrm>
              <a:off x="3230" y="3885"/>
              <a:ext cx="150" cy="213"/>
            </a:xfrm>
            <a:custGeom>
              <a:avLst/>
              <a:gdLst>
                <a:gd name="T0" fmla="*/ 226 w 226"/>
                <a:gd name="T1" fmla="*/ 167 h 321"/>
                <a:gd name="T2" fmla="*/ 169 w 226"/>
                <a:gd name="T3" fmla="*/ 69 h 321"/>
                <a:gd name="T4" fmla="*/ 181 w 226"/>
                <a:gd name="T5" fmla="*/ 57 h 321"/>
                <a:gd name="T6" fmla="*/ 181 w 226"/>
                <a:gd name="T7" fmla="*/ 42 h 321"/>
                <a:gd name="T8" fmla="*/ 173 w 226"/>
                <a:gd name="T9" fmla="*/ 35 h 321"/>
                <a:gd name="T10" fmla="*/ 181 w 226"/>
                <a:gd name="T11" fmla="*/ 27 h 321"/>
                <a:gd name="T12" fmla="*/ 181 w 226"/>
                <a:gd name="T13" fmla="*/ 12 h 321"/>
                <a:gd name="T14" fmla="*/ 173 w 226"/>
                <a:gd name="T15" fmla="*/ 4 h 321"/>
                <a:gd name="T16" fmla="*/ 158 w 226"/>
                <a:gd name="T17" fmla="*/ 4 h 321"/>
                <a:gd name="T18" fmla="*/ 150 w 226"/>
                <a:gd name="T19" fmla="*/ 12 h 321"/>
                <a:gd name="T20" fmla="*/ 143 w 226"/>
                <a:gd name="T21" fmla="*/ 4 h 321"/>
                <a:gd name="T22" fmla="*/ 128 w 226"/>
                <a:gd name="T23" fmla="*/ 4 h 321"/>
                <a:gd name="T24" fmla="*/ 37 w 226"/>
                <a:gd name="T25" fmla="*/ 95 h 321"/>
                <a:gd name="T26" fmla="*/ 37 w 226"/>
                <a:gd name="T27" fmla="*/ 110 h 321"/>
                <a:gd name="T28" fmla="*/ 75 w 226"/>
                <a:gd name="T29" fmla="*/ 148 h 321"/>
                <a:gd name="T30" fmla="*/ 82 w 226"/>
                <a:gd name="T31" fmla="*/ 151 h 321"/>
                <a:gd name="T32" fmla="*/ 82 w 226"/>
                <a:gd name="T33" fmla="*/ 151 h 321"/>
                <a:gd name="T34" fmla="*/ 90 w 226"/>
                <a:gd name="T35" fmla="*/ 148 h 321"/>
                <a:gd name="T36" fmla="*/ 119 w 226"/>
                <a:gd name="T37" fmla="*/ 119 h 321"/>
                <a:gd name="T38" fmla="*/ 152 w 226"/>
                <a:gd name="T39" fmla="*/ 161 h 321"/>
                <a:gd name="T40" fmla="*/ 109 w 226"/>
                <a:gd name="T41" fmla="*/ 204 h 321"/>
                <a:gd name="T42" fmla="*/ 98 w 226"/>
                <a:gd name="T43" fmla="*/ 215 h 321"/>
                <a:gd name="T44" fmla="*/ 109 w 226"/>
                <a:gd name="T45" fmla="*/ 225 h 321"/>
                <a:gd name="T46" fmla="*/ 173 w 226"/>
                <a:gd name="T47" fmla="*/ 161 h 321"/>
                <a:gd name="T48" fmla="*/ 136 w 226"/>
                <a:gd name="T49" fmla="*/ 102 h 321"/>
                <a:gd name="T50" fmla="*/ 153 w 226"/>
                <a:gd name="T51" fmla="*/ 85 h 321"/>
                <a:gd name="T52" fmla="*/ 155 w 226"/>
                <a:gd name="T53" fmla="*/ 86 h 321"/>
                <a:gd name="T54" fmla="*/ 205 w 226"/>
                <a:gd name="T55" fmla="*/ 167 h 321"/>
                <a:gd name="T56" fmla="*/ 129 w 226"/>
                <a:gd name="T57" fmla="*/ 257 h 321"/>
                <a:gd name="T58" fmla="*/ 120 w 226"/>
                <a:gd name="T59" fmla="*/ 266 h 321"/>
                <a:gd name="T60" fmla="*/ 126 w 226"/>
                <a:gd name="T61" fmla="*/ 278 h 321"/>
                <a:gd name="T62" fmla="*/ 147 w 226"/>
                <a:gd name="T63" fmla="*/ 300 h 321"/>
                <a:gd name="T64" fmla="*/ 70 w 226"/>
                <a:gd name="T65" fmla="*/ 300 h 321"/>
                <a:gd name="T66" fmla="*/ 82 w 226"/>
                <a:gd name="T67" fmla="*/ 288 h 321"/>
                <a:gd name="T68" fmla="*/ 88 w 226"/>
                <a:gd name="T69" fmla="*/ 277 h 321"/>
                <a:gd name="T70" fmla="*/ 80 w 226"/>
                <a:gd name="T71" fmla="*/ 268 h 321"/>
                <a:gd name="T72" fmla="*/ 22 w 226"/>
                <a:gd name="T73" fmla="*/ 211 h 321"/>
                <a:gd name="T74" fmla="*/ 8 w 226"/>
                <a:gd name="T75" fmla="*/ 205 h 321"/>
                <a:gd name="T76" fmla="*/ 2 w 226"/>
                <a:gd name="T77" fmla="*/ 219 h 321"/>
                <a:gd name="T78" fmla="*/ 56 w 226"/>
                <a:gd name="T79" fmla="*/ 282 h 321"/>
                <a:gd name="T80" fmla="*/ 45 w 226"/>
                <a:gd name="T81" fmla="*/ 309 h 321"/>
                <a:gd name="T82" fmla="*/ 47 w 226"/>
                <a:gd name="T83" fmla="*/ 317 h 321"/>
                <a:gd name="T84" fmla="*/ 56 w 226"/>
                <a:gd name="T85" fmla="*/ 321 h 321"/>
                <a:gd name="T86" fmla="*/ 162 w 226"/>
                <a:gd name="T87" fmla="*/ 321 h 321"/>
                <a:gd name="T88" fmla="*/ 171 w 226"/>
                <a:gd name="T89" fmla="*/ 317 h 321"/>
                <a:gd name="T90" fmla="*/ 173 w 226"/>
                <a:gd name="T91" fmla="*/ 309 h 321"/>
                <a:gd name="T92" fmla="*/ 154 w 226"/>
                <a:gd name="T93" fmla="*/ 273 h 321"/>
                <a:gd name="T94" fmla="*/ 226 w 226"/>
                <a:gd name="T95" fmla="*/ 167 h 321"/>
                <a:gd name="T96" fmla="*/ 82 w 226"/>
                <a:gd name="T97" fmla="*/ 126 h 321"/>
                <a:gd name="T98" fmla="*/ 60 w 226"/>
                <a:gd name="T99" fmla="*/ 103 h 321"/>
                <a:gd name="T100" fmla="*/ 135 w 226"/>
                <a:gd name="T101" fmla="*/ 27 h 321"/>
                <a:gd name="T102" fmla="*/ 158 w 226"/>
                <a:gd name="T103" fmla="*/ 50 h 321"/>
                <a:gd name="T104" fmla="*/ 82 w 226"/>
                <a:gd name="T105" fmla="*/ 1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6" h="321">
                  <a:moveTo>
                    <a:pt x="226" y="167"/>
                  </a:moveTo>
                  <a:cubicBezTo>
                    <a:pt x="226" y="126"/>
                    <a:pt x="205" y="89"/>
                    <a:pt x="169" y="6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5" y="53"/>
                    <a:pt x="185" y="46"/>
                    <a:pt x="181" y="42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5" y="23"/>
                    <a:pt x="185" y="16"/>
                    <a:pt x="181" y="12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69" y="0"/>
                    <a:pt x="162" y="0"/>
                    <a:pt x="158" y="4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43" y="4"/>
                    <a:pt x="143" y="4"/>
                    <a:pt x="143" y="4"/>
                  </a:cubicBezTo>
                  <a:cubicBezTo>
                    <a:pt x="139" y="0"/>
                    <a:pt x="132" y="0"/>
                    <a:pt x="128" y="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33" y="99"/>
                    <a:pt x="33" y="106"/>
                    <a:pt x="37" y="110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7" y="150"/>
                    <a:pt x="79" y="151"/>
                    <a:pt x="82" y="151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5" y="151"/>
                    <a:pt x="88" y="150"/>
                    <a:pt x="90" y="148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39" y="124"/>
                    <a:pt x="152" y="141"/>
                    <a:pt x="152" y="161"/>
                  </a:cubicBezTo>
                  <a:cubicBezTo>
                    <a:pt x="152" y="186"/>
                    <a:pt x="134" y="204"/>
                    <a:pt x="109" y="204"/>
                  </a:cubicBezTo>
                  <a:cubicBezTo>
                    <a:pt x="103" y="204"/>
                    <a:pt x="98" y="209"/>
                    <a:pt x="98" y="215"/>
                  </a:cubicBezTo>
                  <a:cubicBezTo>
                    <a:pt x="98" y="221"/>
                    <a:pt x="103" y="225"/>
                    <a:pt x="109" y="225"/>
                  </a:cubicBezTo>
                  <a:cubicBezTo>
                    <a:pt x="145" y="225"/>
                    <a:pt x="173" y="198"/>
                    <a:pt x="173" y="161"/>
                  </a:cubicBezTo>
                  <a:cubicBezTo>
                    <a:pt x="173" y="135"/>
                    <a:pt x="158" y="113"/>
                    <a:pt x="136" y="102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4" y="85"/>
                    <a:pt x="155" y="86"/>
                    <a:pt x="155" y="86"/>
                  </a:cubicBezTo>
                  <a:cubicBezTo>
                    <a:pt x="186" y="101"/>
                    <a:pt x="205" y="132"/>
                    <a:pt x="205" y="167"/>
                  </a:cubicBezTo>
                  <a:cubicBezTo>
                    <a:pt x="205" y="212"/>
                    <a:pt x="172" y="251"/>
                    <a:pt x="129" y="257"/>
                  </a:cubicBezTo>
                  <a:cubicBezTo>
                    <a:pt x="124" y="258"/>
                    <a:pt x="121" y="262"/>
                    <a:pt x="120" y="266"/>
                  </a:cubicBezTo>
                  <a:cubicBezTo>
                    <a:pt x="119" y="271"/>
                    <a:pt x="121" y="275"/>
                    <a:pt x="126" y="278"/>
                  </a:cubicBezTo>
                  <a:cubicBezTo>
                    <a:pt x="134" y="282"/>
                    <a:pt x="142" y="291"/>
                    <a:pt x="147" y="300"/>
                  </a:cubicBezTo>
                  <a:cubicBezTo>
                    <a:pt x="70" y="300"/>
                    <a:pt x="70" y="300"/>
                    <a:pt x="70" y="300"/>
                  </a:cubicBezTo>
                  <a:cubicBezTo>
                    <a:pt x="73" y="295"/>
                    <a:pt x="77" y="291"/>
                    <a:pt x="82" y="288"/>
                  </a:cubicBezTo>
                  <a:cubicBezTo>
                    <a:pt x="86" y="286"/>
                    <a:pt x="88" y="281"/>
                    <a:pt x="88" y="277"/>
                  </a:cubicBezTo>
                  <a:cubicBezTo>
                    <a:pt x="87" y="273"/>
                    <a:pt x="84" y="269"/>
                    <a:pt x="80" y="268"/>
                  </a:cubicBezTo>
                  <a:cubicBezTo>
                    <a:pt x="55" y="262"/>
                    <a:pt x="34" y="241"/>
                    <a:pt x="22" y="211"/>
                  </a:cubicBezTo>
                  <a:cubicBezTo>
                    <a:pt x="20" y="206"/>
                    <a:pt x="14" y="203"/>
                    <a:pt x="8" y="205"/>
                  </a:cubicBezTo>
                  <a:cubicBezTo>
                    <a:pt x="3" y="207"/>
                    <a:pt x="0" y="213"/>
                    <a:pt x="2" y="219"/>
                  </a:cubicBezTo>
                  <a:cubicBezTo>
                    <a:pt x="14" y="248"/>
                    <a:pt x="33" y="271"/>
                    <a:pt x="56" y="282"/>
                  </a:cubicBezTo>
                  <a:cubicBezTo>
                    <a:pt x="51" y="289"/>
                    <a:pt x="47" y="298"/>
                    <a:pt x="45" y="309"/>
                  </a:cubicBezTo>
                  <a:cubicBezTo>
                    <a:pt x="45" y="312"/>
                    <a:pt x="45" y="315"/>
                    <a:pt x="47" y="317"/>
                  </a:cubicBezTo>
                  <a:cubicBezTo>
                    <a:pt x="49" y="320"/>
                    <a:pt x="52" y="321"/>
                    <a:pt x="56" y="321"/>
                  </a:cubicBezTo>
                  <a:cubicBezTo>
                    <a:pt x="162" y="321"/>
                    <a:pt x="162" y="321"/>
                    <a:pt x="162" y="321"/>
                  </a:cubicBezTo>
                  <a:cubicBezTo>
                    <a:pt x="166" y="321"/>
                    <a:pt x="169" y="320"/>
                    <a:pt x="171" y="317"/>
                  </a:cubicBezTo>
                  <a:cubicBezTo>
                    <a:pt x="173" y="315"/>
                    <a:pt x="173" y="312"/>
                    <a:pt x="173" y="309"/>
                  </a:cubicBezTo>
                  <a:cubicBezTo>
                    <a:pt x="170" y="296"/>
                    <a:pt x="163" y="283"/>
                    <a:pt x="154" y="273"/>
                  </a:cubicBezTo>
                  <a:cubicBezTo>
                    <a:pt x="196" y="257"/>
                    <a:pt x="226" y="214"/>
                    <a:pt x="226" y="167"/>
                  </a:cubicBezTo>
                  <a:close/>
                  <a:moveTo>
                    <a:pt x="82" y="126"/>
                  </a:moveTo>
                  <a:cubicBezTo>
                    <a:pt x="60" y="103"/>
                    <a:pt x="60" y="103"/>
                    <a:pt x="60" y="103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58" y="50"/>
                    <a:pt x="158" y="50"/>
                    <a:pt x="158" y="50"/>
                  </a:cubicBezTo>
                  <a:lnTo>
                    <a:pt x="82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8" name="Freeform 314"/>
          <p:cNvSpPr>
            <a:spLocks noChangeAspect="1" noEditPoints="1"/>
          </p:cNvSpPr>
          <p:nvPr/>
        </p:nvSpPr>
        <p:spPr bwMode="auto">
          <a:xfrm>
            <a:off x="8396893" y="2916614"/>
            <a:ext cx="367631" cy="367631"/>
          </a:xfrm>
          <a:custGeom>
            <a:avLst/>
            <a:gdLst>
              <a:gd name="T0" fmla="*/ 297 w 512"/>
              <a:gd name="T1" fmla="*/ 202 h 512"/>
              <a:gd name="T2" fmla="*/ 214 w 512"/>
              <a:gd name="T3" fmla="*/ 202 h 512"/>
              <a:gd name="T4" fmla="*/ 201 w 512"/>
              <a:gd name="T5" fmla="*/ 181 h 512"/>
              <a:gd name="T6" fmla="*/ 311 w 512"/>
              <a:gd name="T7" fmla="*/ 181 h 512"/>
              <a:gd name="T8" fmla="*/ 297 w 512"/>
              <a:gd name="T9" fmla="*/ 202 h 512"/>
              <a:gd name="T10" fmla="*/ 319 w 512"/>
              <a:gd name="T11" fmla="*/ 155 h 512"/>
              <a:gd name="T12" fmla="*/ 319 w 512"/>
              <a:gd name="T13" fmla="*/ 138 h 512"/>
              <a:gd name="T14" fmla="*/ 192 w 512"/>
              <a:gd name="T15" fmla="*/ 138 h 512"/>
              <a:gd name="T16" fmla="*/ 193 w 512"/>
              <a:gd name="T17" fmla="*/ 160 h 512"/>
              <a:gd name="T18" fmla="*/ 318 w 512"/>
              <a:gd name="T19" fmla="*/ 160 h 512"/>
              <a:gd name="T20" fmla="*/ 319 w 512"/>
              <a:gd name="T21" fmla="*/ 155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289 w 512"/>
              <a:gd name="T33" fmla="*/ 269 h 512"/>
              <a:gd name="T34" fmla="*/ 274 w 512"/>
              <a:gd name="T35" fmla="*/ 270 h 512"/>
              <a:gd name="T36" fmla="*/ 275 w 512"/>
              <a:gd name="T37" fmla="*/ 285 h 512"/>
              <a:gd name="T38" fmla="*/ 278 w 512"/>
              <a:gd name="T39" fmla="*/ 288 h 512"/>
              <a:gd name="T40" fmla="*/ 233 w 512"/>
              <a:gd name="T41" fmla="*/ 288 h 512"/>
              <a:gd name="T42" fmla="*/ 262 w 512"/>
              <a:gd name="T43" fmla="*/ 264 h 512"/>
              <a:gd name="T44" fmla="*/ 340 w 512"/>
              <a:gd name="T45" fmla="*/ 158 h 512"/>
              <a:gd name="T46" fmla="*/ 325 w 512"/>
              <a:gd name="T47" fmla="*/ 100 h 512"/>
              <a:gd name="T48" fmla="*/ 310 w 512"/>
              <a:gd name="T49" fmla="*/ 98 h 512"/>
              <a:gd name="T50" fmla="*/ 308 w 512"/>
              <a:gd name="T51" fmla="*/ 113 h 512"/>
              <a:gd name="T52" fmla="*/ 311 w 512"/>
              <a:gd name="T53" fmla="*/ 117 h 512"/>
              <a:gd name="T54" fmla="*/ 200 w 512"/>
              <a:gd name="T55" fmla="*/ 117 h 512"/>
              <a:gd name="T56" fmla="*/ 203 w 512"/>
              <a:gd name="T57" fmla="*/ 113 h 512"/>
              <a:gd name="T58" fmla="*/ 202 w 512"/>
              <a:gd name="T59" fmla="*/ 98 h 512"/>
              <a:gd name="T60" fmla="*/ 187 w 512"/>
              <a:gd name="T61" fmla="*/ 100 h 512"/>
              <a:gd name="T62" fmla="*/ 222 w 512"/>
              <a:gd name="T63" fmla="*/ 242 h 512"/>
              <a:gd name="T64" fmla="*/ 229 w 512"/>
              <a:gd name="T65" fmla="*/ 245 h 512"/>
              <a:gd name="T66" fmla="*/ 237 w 512"/>
              <a:gd name="T67" fmla="*/ 241 h 512"/>
              <a:gd name="T68" fmla="*/ 236 w 512"/>
              <a:gd name="T69" fmla="*/ 226 h 512"/>
              <a:gd name="T70" fmla="*/ 233 w 512"/>
              <a:gd name="T71" fmla="*/ 224 h 512"/>
              <a:gd name="T72" fmla="*/ 278 w 512"/>
              <a:gd name="T73" fmla="*/ 224 h 512"/>
              <a:gd name="T74" fmla="*/ 249 w 512"/>
              <a:gd name="T75" fmla="*/ 247 h 512"/>
              <a:gd name="T76" fmla="*/ 171 w 512"/>
              <a:gd name="T77" fmla="*/ 354 h 512"/>
              <a:gd name="T78" fmla="*/ 187 w 512"/>
              <a:gd name="T79" fmla="*/ 412 h 512"/>
              <a:gd name="T80" fmla="*/ 195 w 512"/>
              <a:gd name="T81" fmla="*/ 416 h 512"/>
              <a:gd name="T82" fmla="*/ 202 w 512"/>
              <a:gd name="T83" fmla="*/ 413 h 512"/>
              <a:gd name="T84" fmla="*/ 203 w 512"/>
              <a:gd name="T85" fmla="*/ 398 h 512"/>
              <a:gd name="T86" fmla="*/ 201 w 512"/>
              <a:gd name="T87" fmla="*/ 394 h 512"/>
              <a:gd name="T88" fmla="*/ 311 w 512"/>
              <a:gd name="T89" fmla="*/ 394 h 512"/>
              <a:gd name="T90" fmla="*/ 308 w 512"/>
              <a:gd name="T91" fmla="*/ 398 h 512"/>
              <a:gd name="T92" fmla="*/ 310 w 512"/>
              <a:gd name="T93" fmla="*/ 413 h 512"/>
              <a:gd name="T94" fmla="*/ 316 w 512"/>
              <a:gd name="T95" fmla="*/ 416 h 512"/>
              <a:gd name="T96" fmla="*/ 325 w 512"/>
              <a:gd name="T97" fmla="*/ 412 h 512"/>
              <a:gd name="T98" fmla="*/ 289 w 512"/>
              <a:gd name="T99" fmla="*/ 269 h 512"/>
              <a:gd name="T100" fmla="*/ 192 w 512"/>
              <a:gd name="T101" fmla="*/ 356 h 512"/>
              <a:gd name="T102" fmla="*/ 193 w 512"/>
              <a:gd name="T103" fmla="*/ 373 h 512"/>
              <a:gd name="T104" fmla="*/ 319 w 512"/>
              <a:gd name="T105" fmla="*/ 373 h 512"/>
              <a:gd name="T106" fmla="*/ 318 w 512"/>
              <a:gd name="T107" fmla="*/ 352 h 512"/>
              <a:gd name="T108" fmla="*/ 193 w 512"/>
              <a:gd name="T109" fmla="*/ 352 h 512"/>
              <a:gd name="T110" fmla="*/ 192 w 512"/>
              <a:gd name="T111" fmla="*/ 356 h 512"/>
              <a:gd name="T112" fmla="*/ 214 w 512"/>
              <a:gd name="T113" fmla="*/ 309 h 512"/>
              <a:gd name="T114" fmla="*/ 200 w 512"/>
              <a:gd name="T115" fmla="*/ 330 h 512"/>
              <a:gd name="T116" fmla="*/ 311 w 512"/>
              <a:gd name="T117" fmla="*/ 330 h 512"/>
              <a:gd name="T118" fmla="*/ 297 w 512"/>
              <a:gd name="T119" fmla="*/ 309 h 512"/>
              <a:gd name="T120" fmla="*/ 214 w 512"/>
              <a:gd name="T121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97" y="202"/>
                </a:moveTo>
                <a:cubicBezTo>
                  <a:pt x="214" y="202"/>
                  <a:pt x="214" y="202"/>
                  <a:pt x="214" y="202"/>
                </a:cubicBezTo>
                <a:cubicBezTo>
                  <a:pt x="208" y="195"/>
                  <a:pt x="204" y="188"/>
                  <a:pt x="201" y="181"/>
                </a:cubicBezTo>
                <a:cubicBezTo>
                  <a:pt x="311" y="181"/>
                  <a:pt x="311" y="181"/>
                  <a:pt x="311" y="181"/>
                </a:cubicBezTo>
                <a:cubicBezTo>
                  <a:pt x="308" y="188"/>
                  <a:pt x="303" y="195"/>
                  <a:pt x="297" y="202"/>
                </a:cubicBezTo>
                <a:close/>
                <a:moveTo>
                  <a:pt x="319" y="155"/>
                </a:moveTo>
                <a:cubicBezTo>
                  <a:pt x="320" y="149"/>
                  <a:pt x="320" y="144"/>
                  <a:pt x="319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91" y="145"/>
                  <a:pt x="192" y="152"/>
                  <a:pt x="193" y="160"/>
                </a:cubicBezTo>
                <a:cubicBezTo>
                  <a:pt x="318" y="160"/>
                  <a:pt x="318" y="160"/>
                  <a:pt x="318" y="160"/>
                </a:cubicBezTo>
                <a:cubicBezTo>
                  <a:pt x="319" y="158"/>
                  <a:pt x="319" y="156"/>
                  <a:pt x="319" y="15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9" y="269"/>
                </a:moveTo>
                <a:cubicBezTo>
                  <a:pt x="285" y="265"/>
                  <a:pt x="278" y="265"/>
                  <a:pt x="274" y="270"/>
                </a:cubicBezTo>
                <a:cubicBezTo>
                  <a:pt x="270" y="274"/>
                  <a:pt x="271" y="281"/>
                  <a:pt x="275" y="285"/>
                </a:cubicBezTo>
                <a:cubicBezTo>
                  <a:pt x="276" y="286"/>
                  <a:pt x="277" y="287"/>
                  <a:pt x="278" y="288"/>
                </a:cubicBezTo>
                <a:cubicBezTo>
                  <a:pt x="233" y="288"/>
                  <a:pt x="233" y="288"/>
                  <a:pt x="233" y="288"/>
                </a:cubicBezTo>
                <a:cubicBezTo>
                  <a:pt x="241" y="280"/>
                  <a:pt x="251" y="272"/>
                  <a:pt x="262" y="264"/>
                </a:cubicBezTo>
                <a:cubicBezTo>
                  <a:pt x="321" y="222"/>
                  <a:pt x="337" y="183"/>
                  <a:pt x="340" y="158"/>
                </a:cubicBezTo>
                <a:cubicBezTo>
                  <a:pt x="343" y="136"/>
                  <a:pt x="338" y="115"/>
                  <a:pt x="325" y="100"/>
                </a:cubicBezTo>
                <a:cubicBezTo>
                  <a:pt x="321" y="95"/>
                  <a:pt x="314" y="94"/>
                  <a:pt x="310" y="98"/>
                </a:cubicBezTo>
                <a:cubicBezTo>
                  <a:pt x="305" y="102"/>
                  <a:pt x="304" y="109"/>
                  <a:pt x="308" y="113"/>
                </a:cubicBezTo>
                <a:cubicBezTo>
                  <a:pt x="309" y="114"/>
                  <a:pt x="310" y="116"/>
                  <a:pt x="311" y="117"/>
                </a:cubicBezTo>
                <a:cubicBezTo>
                  <a:pt x="200" y="117"/>
                  <a:pt x="200" y="117"/>
                  <a:pt x="200" y="117"/>
                </a:cubicBezTo>
                <a:cubicBezTo>
                  <a:pt x="201" y="116"/>
                  <a:pt x="202" y="114"/>
                  <a:pt x="203" y="113"/>
                </a:cubicBezTo>
                <a:cubicBezTo>
                  <a:pt x="207" y="109"/>
                  <a:pt x="206" y="102"/>
                  <a:pt x="202" y="98"/>
                </a:cubicBezTo>
                <a:cubicBezTo>
                  <a:pt x="197" y="94"/>
                  <a:pt x="190" y="95"/>
                  <a:pt x="187" y="100"/>
                </a:cubicBezTo>
                <a:cubicBezTo>
                  <a:pt x="163" y="129"/>
                  <a:pt x="158" y="183"/>
                  <a:pt x="222" y="242"/>
                </a:cubicBezTo>
                <a:cubicBezTo>
                  <a:pt x="224" y="244"/>
                  <a:pt x="226" y="245"/>
                  <a:pt x="229" y="245"/>
                </a:cubicBezTo>
                <a:cubicBezTo>
                  <a:pt x="232" y="245"/>
                  <a:pt x="235" y="244"/>
                  <a:pt x="237" y="241"/>
                </a:cubicBezTo>
                <a:cubicBezTo>
                  <a:pt x="241" y="237"/>
                  <a:pt x="241" y="230"/>
                  <a:pt x="236" y="226"/>
                </a:cubicBezTo>
                <a:cubicBezTo>
                  <a:pt x="235" y="225"/>
                  <a:pt x="234" y="225"/>
                  <a:pt x="233" y="224"/>
                </a:cubicBezTo>
                <a:cubicBezTo>
                  <a:pt x="278" y="224"/>
                  <a:pt x="278" y="224"/>
                  <a:pt x="278" y="224"/>
                </a:cubicBezTo>
                <a:cubicBezTo>
                  <a:pt x="270" y="231"/>
                  <a:pt x="261" y="239"/>
                  <a:pt x="249" y="247"/>
                </a:cubicBezTo>
                <a:cubicBezTo>
                  <a:pt x="191" y="289"/>
                  <a:pt x="174" y="328"/>
                  <a:pt x="171" y="354"/>
                </a:cubicBezTo>
                <a:cubicBezTo>
                  <a:pt x="168" y="375"/>
                  <a:pt x="174" y="396"/>
                  <a:pt x="187" y="412"/>
                </a:cubicBezTo>
                <a:cubicBezTo>
                  <a:pt x="189" y="414"/>
                  <a:pt x="192" y="416"/>
                  <a:pt x="195" y="416"/>
                </a:cubicBezTo>
                <a:cubicBezTo>
                  <a:pt x="197" y="416"/>
                  <a:pt x="200" y="415"/>
                  <a:pt x="202" y="413"/>
                </a:cubicBezTo>
                <a:cubicBezTo>
                  <a:pt x="206" y="410"/>
                  <a:pt x="207" y="403"/>
                  <a:pt x="203" y="398"/>
                </a:cubicBezTo>
                <a:cubicBezTo>
                  <a:pt x="202" y="397"/>
                  <a:pt x="201" y="396"/>
                  <a:pt x="201" y="394"/>
                </a:cubicBezTo>
                <a:cubicBezTo>
                  <a:pt x="311" y="394"/>
                  <a:pt x="311" y="394"/>
                  <a:pt x="311" y="394"/>
                </a:cubicBezTo>
                <a:cubicBezTo>
                  <a:pt x="310" y="396"/>
                  <a:pt x="309" y="397"/>
                  <a:pt x="308" y="398"/>
                </a:cubicBezTo>
                <a:cubicBezTo>
                  <a:pt x="304" y="403"/>
                  <a:pt x="305" y="410"/>
                  <a:pt x="310" y="413"/>
                </a:cubicBezTo>
                <a:cubicBezTo>
                  <a:pt x="312" y="415"/>
                  <a:pt x="314" y="416"/>
                  <a:pt x="316" y="416"/>
                </a:cubicBezTo>
                <a:cubicBezTo>
                  <a:pt x="320" y="416"/>
                  <a:pt x="323" y="414"/>
                  <a:pt x="325" y="412"/>
                </a:cubicBezTo>
                <a:cubicBezTo>
                  <a:pt x="349" y="383"/>
                  <a:pt x="354" y="328"/>
                  <a:pt x="289" y="269"/>
                </a:cubicBezTo>
                <a:close/>
                <a:moveTo>
                  <a:pt x="192" y="356"/>
                </a:moveTo>
                <a:cubicBezTo>
                  <a:pt x="191" y="362"/>
                  <a:pt x="192" y="368"/>
                  <a:pt x="193" y="373"/>
                </a:cubicBezTo>
                <a:cubicBezTo>
                  <a:pt x="319" y="373"/>
                  <a:pt x="319" y="373"/>
                  <a:pt x="319" y="373"/>
                </a:cubicBezTo>
                <a:cubicBezTo>
                  <a:pt x="320" y="366"/>
                  <a:pt x="320" y="359"/>
                  <a:pt x="318" y="352"/>
                </a:cubicBezTo>
                <a:cubicBezTo>
                  <a:pt x="193" y="352"/>
                  <a:pt x="193" y="352"/>
                  <a:pt x="193" y="352"/>
                </a:cubicBezTo>
                <a:cubicBezTo>
                  <a:pt x="193" y="353"/>
                  <a:pt x="192" y="355"/>
                  <a:pt x="192" y="356"/>
                </a:cubicBezTo>
                <a:close/>
                <a:moveTo>
                  <a:pt x="214" y="309"/>
                </a:moveTo>
                <a:cubicBezTo>
                  <a:pt x="208" y="317"/>
                  <a:pt x="204" y="324"/>
                  <a:pt x="200" y="330"/>
                </a:cubicBezTo>
                <a:cubicBezTo>
                  <a:pt x="311" y="330"/>
                  <a:pt x="311" y="330"/>
                  <a:pt x="311" y="330"/>
                </a:cubicBezTo>
                <a:cubicBezTo>
                  <a:pt x="307" y="323"/>
                  <a:pt x="303" y="316"/>
                  <a:pt x="297" y="309"/>
                </a:cubicBezTo>
                <a:lnTo>
                  <a:pt x="214" y="30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19" name="Group 317"/>
          <p:cNvGrpSpPr>
            <a:grpSpLocks noChangeAspect="1"/>
          </p:cNvGrpSpPr>
          <p:nvPr/>
        </p:nvGrpSpPr>
        <p:grpSpPr bwMode="auto">
          <a:xfrm>
            <a:off x="8894100" y="2916614"/>
            <a:ext cx="367631" cy="367631"/>
            <a:chOff x="2718" y="1165"/>
            <a:chExt cx="340" cy="340"/>
          </a:xfrm>
          <a:solidFill>
            <a:schemeClr val="accent4"/>
          </a:solidFill>
        </p:grpSpPr>
        <p:sp>
          <p:nvSpPr>
            <p:cNvPr id="220" name="Freeform 318"/>
            <p:cNvSpPr>
              <a:spLocks noEditPoints="1"/>
            </p:cNvSpPr>
            <p:nvPr/>
          </p:nvSpPr>
          <p:spPr bwMode="auto">
            <a:xfrm>
              <a:off x="2718" y="116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Freeform 319"/>
            <p:cNvSpPr>
              <a:spLocks noEditPoints="1"/>
            </p:cNvSpPr>
            <p:nvPr/>
          </p:nvSpPr>
          <p:spPr bwMode="auto">
            <a:xfrm>
              <a:off x="2823" y="1227"/>
              <a:ext cx="130" cy="214"/>
            </a:xfrm>
            <a:custGeom>
              <a:avLst/>
              <a:gdLst>
                <a:gd name="T0" fmla="*/ 131 w 196"/>
                <a:gd name="T1" fmla="*/ 175 h 322"/>
                <a:gd name="T2" fmla="*/ 116 w 196"/>
                <a:gd name="T3" fmla="*/ 176 h 322"/>
                <a:gd name="T4" fmla="*/ 117 w 196"/>
                <a:gd name="T5" fmla="*/ 191 h 322"/>
                <a:gd name="T6" fmla="*/ 120 w 196"/>
                <a:gd name="T7" fmla="*/ 194 h 322"/>
                <a:gd name="T8" fmla="*/ 75 w 196"/>
                <a:gd name="T9" fmla="*/ 194 h 322"/>
                <a:gd name="T10" fmla="*/ 104 w 196"/>
                <a:gd name="T11" fmla="*/ 170 h 322"/>
                <a:gd name="T12" fmla="*/ 182 w 196"/>
                <a:gd name="T13" fmla="*/ 64 h 322"/>
                <a:gd name="T14" fmla="*/ 167 w 196"/>
                <a:gd name="T15" fmla="*/ 6 h 322"/>
                <a:gd name="T16" fmla="*/ 152 w 196"/>
                <a:gd name="T17" fmla="*/ 4 h 322"/>
                <a:gd name="T18" fmla="*/ 150 w 196"/>
                <a:gd name="T19" fmla="*/ 19 h 322"/>
                <a:gd name="T20" fmla="*/ 153 w 196"/>
                <a:gd name="T21" fmla="*/ 23 h 322"/>
                <a:gd name="T22" fmla="*/ 42 w 196"/>
                <a:gd name="T23" fmla="*/ 23 h 322"/>
                <a:gd name="T24" fmla="*/ 45 w 196"/>
                <a:gd name="T25" fmla="*/ 19 h 322"/>
                <a:gd name="T26" fmla="*/ 44 w 196"/>
                <a:gd name="T27" fmla="*/ 4 h 322"/>
                <a:gd name="T28" fmla="*/ 29 w 196"/>
                <a:gd name="T29" fmla="*/ 6 h 322"/>
                <a:gd name="T30" fmla="*/ 64 w 196"/>
                <a:gd name="T31" fmla="*/ 148 h 322"/>
                <a:gd name="T32" fmla="*/ 71 w 196"/>
                <a:gd name="T33" fmla="*/ 151 h 322"/>
                <a:gd name="T34" fmla="*/ 79 w 196"/>
                <a:gd name="T35" fmla="*/ 147 h 322"/>
                <a:gd name="T36" fmla="*/ 78 w 196"/>
                <a:gd name="T37" fmla="*/ 132 h 322"/>
                <a:gd name="T38" fmla="*/ 75 w 196"/>
                <a:gd name="T39" fmla="*/ 130 h 322"/>
                <a:gd name="T40" fmla="*/ 120 w 196"/>
                <a:gd name="T41" fmla="*/ 130 h 322"/>
                <a:gd name="T42" fmla="*/ 91 w 196"/>
                <a:gd name="T43" fmla="*/ 153 h 322"/>
                <a:gd name="T44" fmla="*/ 13 w 196"/>
                <a:gd name="T45" fmla="*/ 260 h 322"/>
                <a:gd name="T46" fmla="*/ 29 w 196"/>
                <a:gd name="T47" fmla="*/ 318 h 322"/>
                <a:gd name="T48" fmla="*/ 37 w 196"/>
                <a:gd name="T49" fmla="*/ 322 h 322"/>
                <a:gd name="T50" fmla="*/ 44 w 196"/>
                <a:gd name="T51" fmla="*/ 319 h 322"/>
                <a:gd name="T52" fmla="*/ 45 w 196"/>
                <a:gd name="T53" fmla="*/ 304 h 322"/>
                <a:gd name="T54" fmla="*/ 43 w 196"/>
                <a:gd name="T55" fmla="*/ 300 h 322"/>
                <a:gd name="T56" fmla="*/ 153 w 196"/>
                <a:gd name="T57" fmla="*/ 300 h 322"/>
                <a:gd name="T58" fmla="*/ 150 w 196"/>
                <a:gd name="T59" fmla="*/ 304 h 322"/>
                <a:gd name="T60" fmla="*/ 152 w 196"/>
                <a:gd name="T61" fmla="*/ 319 h 322"/>
                <a:gd name="T62" fmla="*/ 158 w 196"/>
                <a:gd name="T63" fmla="*/ 322 h 322"/>
                <a:gd name="T64" fmla="*/ 167 w 196"/>
                <a:gd name="T65" fmla="*/ 318 h 322"/>
                <a:gd name="T66" fmla="*/ 131 w 196"/>
                <a:gd name="T67" fmla="*/ 175 h 322"/>
                <a:gd name="T68" fmla="*/ 43 w 196"/>
                <a:gd name="T69" fmla="*/ 87 h 322"/>
                <a:gd name="T70" fmla="*/ 153 w 196"/>
                <a:gd name="T71" fmla="*/ 87 h 322"/>
                <a:gd name="T72" fmla="*/ 139 w 196"/>
                <a:gd name="T73" fmla="*/ 108 h 322"/>
                <a:gd name="T74" fmla="*/ 56 w 196"/>
                <a:gd name="T75" fmla="*/ 108 h 322"/>
                <a:gd name="T76" fmla="*/ 43 w 196"/>
                <a:gd name="T77" fmla="*/ 87 h 322"/>
                <a:gd name="T78" fmla="*/ 161 w 196"/>
                <a:gd name="T79" fmla="*/ 44 h 322"/>
                <a:gd name="T80" fmla="*/ 161 w 196"/>
                <a:gd name="T81" fmla="*/ 61 h 322"/>
                <a:gd name="T82" fmla="*/ 160 w 196"/>
                <a:gd name="T83" fmla="*/ 66 h 322"/>
                <a:gd name="T84" fmla="*/ 35 w 196"/>
                <a:gd name="T85" fmla="*/ 66 h 322"/>
                <a:gd name="T86" fmla="*/ 34 w 196"/>
                <a:gd name="T87" fmla="*/ 44 h 322"/>
                <a:gd name="T88" fmla="*/ 161 w 196"/>
                <a:gd name="T89" fmla="*/ 44 h 322"/>
                <a:gd name="T90" fmla="*/ 56 w 196"/>
                <a:gd name="T91" fmla="*/ 215 h 322"/>
                <a:gd name="T92" fmla="*/ 139 w 196"/>
                <a:gd name="T93" fmla="*/ 215 h 322"/>
                <a:gd name="T94" fmla="*/ 153 w 196"/>
                <a:gd name="T95" fmla="*/ 236 h 322"/>
                <a:gd name="T96" fmla="*/ 42 w 196"/>
                <a:gd name="T97" fmla="*/ 236 h 322"/>
                <a:gd name="T98" fmla="*/ 56 w 196"/>
                <a:gd name="T99" fmla="*/ 215 h 322"/>
                <a:gd name="T100" fmla="*/ 35 w 196"/>
                <a:gd name="T101" fmla="*/ 279 h 322"/>
                <a:gd name="T102" fmla="*/ 34 w 196"/>
                <a:gd name="T103" fmla="*/ 262 h 322"/>
                <a:gd name="T104" fmla="*/ 35 w 196"/>
                <a:gd name="T105" fmla="*/ 258 h 322"/>
                <a:gd name="T106" fmla="*/ 160 w 196"/>
                <a:gd name="T107" fmla="*/ 258 h 322"/>
                <a:gd name="T108" fmla="*/ 161 w 196"/>
                <a:gd name="T109" fmla="*/ 279 h 322"/>
                <a:gd name="T110" fmla="*/ 35 w 196"/>
                <a:gd name="T111" fmla="*/ 2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22">
                  <a:moveTo>
                    <a:pt x="131" y="175"/>
                  </a:moveTo>
                  <a:cubicBezTo>
                    <a:pt x="127" y="171"/>
                    <a:pt x="120" y="171"/>
                    <a:pt x="116" y="176"/>
                  </a:cubicBezTo>
                  <a:cubicBezTo>
                    <a:pt x="112" y="180"/>
                    <a:pt x="113" y="187"/>
                    <a:pt x="117" y="191"/>
                  </a:cubicBezTo>
                  <a:cubicBezTo>
                    <a:pt x="118" y="192"/>
                    <a:pt x="119" y="193"/>
                    <a:pt x="120" y="194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83" y="186"/>
                    <a:pt x="93" y="178"/>
                    <a:pt x="104" y="170"/>
                  </a:cubicBezTo>
                  <a:cubicBezTo>
                    <a:pt x="163" y="128"/>
                    <a:pt x="179" y="89"/>
                    <a:pt x="182" y="64"/>
                  </a:cubicBezTo>
                  <a:cubicBezTo>
                    <a:pt x="185" y="42"/>
                    <a:pt x="180" y="21"/>
                    <a:pt x="167" y="6"/>
                  </a:cubicBezTo>
                  <a:cubicBezTo>
                    <a:pt x="163" y="1"/>
                    <a:pt x="156" y="0"/>
                    <a:pt x="152" y="4"/>
                  </a:cubicBezTo>
                  <a:cubicBezTo>
                    <a:pt x="147" y="8"/>
                    <a:pt x="146" y="15"/>
                    <a:pt x="150" y="19"/>
                  </a:cubicBezTo>
                  <a:cubicBezTo>
                    <a:pt x="151" y="20"/>
                    <a:pt x="152" y="22"/>
                    <a:pt x="153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3" y="22"/>
                    <a:pt x="44" y="20"/>
                    <a:pt x="45" y="19"/>
                  </a:cubicBezTo>
                  <a:cubicBezTo>
                    <a:pt x="49" y="15"/>
                    <a:pt x="48" y="8"/>
                    <a:pt x="44" y="4"/>
                  </a:cubicBezTo>
                  <a:cubicBezTo>
                    <a:pt x="39" y="0"/>
                    <a:pt x="32" y="1"/>
                    <a:pt x="29" y="6"/>
                  </a:cubicBezTo>
                  <a:cubicBezTo>
                    <a:pt x="5" y="35"/>
                    <a:pt x="0" y="89"/>
                    <a:pt x="64" y="148"/>
                  </a:cubicBezTo>
                  <a:cubicBezTo>
                    <a:pt x="66" y="150"/>
                    <a:pt x="68" y="151"/>
                    <a:pt x="71" y="151"/>
                  </a:cubicBezTo>
                  <a:cubicBezTo>
                    <a:pt x="74" y="151"/>
                    <a:pt x="77" y="150"/>
                    <a:pt x="79" y="147"/>
                  </a:cubicBezTo>
                  <a:cubicBezTo>
                    <a:pt x="83" y="143"/>
                    <a:pt x="83" y="136"/>
                    <a:pt x="78" y="132"/>
                  </a:cubicBezTo>
                  <a:cubicBezTo>
                    <a:pt x="77" y="131"/>
                    <a:pt x="76" y="131"/>
                    <a:pt x="75" y="130"/>
                  </a:cubicBezTo>
                  <a:cubicBezTo>
                    <a:pt x="120" y="130"/>
                    <a:pt x="120" y="130"/>
                    <a:pt x="120" y="130"/>
                  </a:cubicBezTo>
                  <a:cubicBezTo>
                    <a:pt x="112" y="137"/>
                    <a:pt x="103" y="145"/>
                    <a:pt x="91" y="153"/>
                  </a:cubicBezTo>
                  <a:cubicBezTo>
                    <a:pt x="33" y="195"/>
                    <a:pt x="16" y="234"/>
                    <a:pt x="13" y="260"/>
                  </a:cubicBezTo>
                  <a:cubicBezTo>
                    <a:pt x="10" y="281"/>
                    <a:pt x="16" y="302"/>
                    <a:pt x="29" y="318"/>
                  </a:cubicBezTo>
                  <a:cubicBezTo>
                    <a:pt x="31" y="320"/>
                    <a:pt x="34" y="322"/>
                    <a:pt x="37" y="322"/>
                  </a:cubicBezTo>
                  <a:cubicBezTo>
                    <a:pt x="39" y="322"/>
                    <a:pt x="42" y="321"/>
                    <a:pt x="44" y="319"/>
                  </a:cubicBezTo>
                  <a:cubicBezTo>
                    <a:pt x="48" y="316"/>
                    <a:pt x="49" y="309"/>
                    <a:pt x="45" y="304"/>
                  </a:cubicBezTo>
                  <a:cubicBezTo>
                    <a:pt x="44" y="303"/>
                    <a:pt x="43" y="302"/>
                    <a:pt x="43" y="300"/>
                  </a:cubicBezTo>
                  <a:cubicBezTo>
                    <a:pt x="153" y="300"/>
                    <a:pt x="153" y="300"/>
                    <a:pt x="153" y="300"/>
                  </a:cubicBezTo>
                  <a:cubicBezTo>
                    <a:pt x="152" y="302"/>
                    <a:pt x="151" y="303"/>
                    <a:pt x="150" y="304"/>
                  </a:cubicBezTo>
                  <a:cubicBezTo>
                    <a:pt x="146" y="309"/>
                    <a:pt x="147" y="316"/>
                    <a:pt x="152" y="319"/>
                  </a:cubicBezTo>
                  <a:cubicBezTo>
                    <a:pt x="154" y="321"/>
                    <a:pt x="156" y="322"/>
                    <a:pt x="158" y="322"/>
                  </a:cubicBezTo>
                  <a:cubicBezTo>
                    <a:pt x="162" y="322"/>
                    <a:pt x="165" y="320"/>
                    <a:pt x="167" y="318"/>
                  </a:cubicBezTo>
                  <a:cubicBezTo>
                    <a:pt x="191" y="289"/>
                    <a:pt x="196" y="234"/>
                    <a:pt x="131" y="175"/>
                  </a:cubicBezTo>
                  <a:close/>
                  <a:moveTo>
                    <a:pt x="43" y="87"/>
                  </a:moveTo>
                  <a:cubicBezTo>
                    <a:pt x="153" y="87"/>
                    <a:pt x="153" y="87"/>
                    <a:pt x="153" y="87"/>
                  </a:cubicBezTo>
                  <a:cubicBezTo>
                    <a:pt x="150" y="94"/>
                    <a:pt x="145" y="101"/>
                    <a:pt x="139" y="108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0" y="101"/>
                    <a:pt x="46" y="94"/>
                    <a:pt x="43" y="87"/>
                  </a:cubicBezTo>
                  <a:close/>
                  <a:moveTo>
                    <a:pt x="161" y="44"/>
                  </a:moveTo>
                  <a:cubicBezTo>
                    <a:pt x="162" y="50"/>
                    <a:pt x="162" y="55"/>
                    <a:pt x="161" y="61"/>
                  </a:cubicBezTo>
                  <a:cubicBezTo>
                    <a:pt x="161" y="62"/>
                    <a:pt x="161" y="64"/>
                    <a:pt x="160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4" y="58"/>
                    <a:pt x="33" y="51"/>
                    <a:pt x="34" y="44"/>
                  </a:cubicBezTo>
                  <a:lnTo>
                    <a:pt x="161" y="44"/>
                  </a:lnTo>
                  <a:close/>
                  <a:moveTo>
                    <a:pt x="56" y="215"/>
                  </a:moveTo>
                  <a:cubicBezTo>
                    <a:pt x="139" y="215"/>
                    <a:pt x="139" y="215"/>
                    <a:pt x="139" y="215"/>
                  </a:cubicBezTo>
                  <a:cubicBezTo>
                    <a:pt x="145" y="222"/>
                    <a:pt x="149" y="229"/>
                    <a:pt x="153" y="236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46" y="230"/>
                    <a:pt x="50" y="223"/>
                    <a:pt x="56" y="215"/>
                  </a:cubicBezTo>
                  <a:close/>
                  <a:moveTo>
                    <a:pt x="35" y="279"/>
                  </a:moveTo>
                  <a:cubicBezTo>
                    <a:pt x="34" y="274"/>
                    <a:pt x="33" y="268"/>
                    <a:pt x="34" y="262"/>
                  </a:cubicBezTo>
                  <a:cubicBezTo>
                    <a:pt x="34" y="261"/>
                    <a:pt x="35" y="259"/>
                    <a:pt x="35" y="258"/>
                  </a:cubicBezTo>
                  <a:cubicBezTo>
                    <a:pt x="160" y="258"/>
                    <a:pt x="160" y="258"/>
                    <a:pt x="160" y="258"/>
                  </a:cubicBezTo>
                  <a:cubicBezTo>
                    <a:pt x="162" y="265"/>
                    <a:pt x="162" y="272"/>
                    <a:pt x="161" y="279"/>
                  </a:cubicBezTo>
                  <a:lnTo>
                    <a:pt x="35" y="2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2" name="Group 881"/>
          <p:cNvGrpSpPr>
            <a:grpSpLocks noChangeAspect="1"/>
          </p:cNvGrpSpPr>
          <p:nvPr/>
        </p:nvGrpSpPr>
        <p:grpSpPr bwMode="auto">
          <a:xfrm>
            <a:off x="915880" y="3744412"/>
            <a:ext cx="370763" cy="369676"/>
            <a:chOff x="1934" y="3062"/>
            <a:chExt cx="341" cy="340"/>
          </a:xfrm>
          <a:solidFill>
            <a:schemeClr val="accent3"/>
          </a:solidFill>
        </p:grpSpPr>
        <p:sp>
          <p:nvSpPr>
            <p:cNvPr id="223" name="Freeform 882"/>
            <p:cNvSpPr>
              <a:spLocks noEditPoints="1"/>
            </p:cNvSpPr>
            <p:nvPr/>
          </p:nvSpPr>
          <p:spPr bwMode="auto">
            <a:xfrm>
              <a:off x="1934" y="3062"/>
              <a:ext cx="341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883"/>
            <p:cNvSpPr>
              <a:spLocks noEditPoints="1"/>
            </p:cNvSpPr>
            <p:nvPr/>
          </p:nvSpPr>
          <p:spPr bwMode="auto">
            <a:xfrm>
              <a:off x="2019" y="3133"/>
              <a:ext cx="179" cy="205"/>
            </a:xfrm>
            <a:custGeom>
              <a:avLst/>
              <a:gdLst>
                <a:gd name="T0" fmla="*/ 183 w 268"/>
                <a:gd name="T1" fmla="*/ 251 h 309"/>
                <a:gd name="T2" fmla="*/ 186 w 268"/>
                <a:gd name="T3" fmla="*/ 266 h 309"/>
                <a:gd name="T4" fmla="*/ 102 w 268"/>
                <a:gd name="T5" fmla="*/ 309 h 309"/>
                <a:gd name="T6" fmla="*/ 0 w 268"/>
                <a:gd name="T7" fmla="*/ 207 h 309"/>
                <a:gd name="T8" fmla="*/ 45 w 268"/>
                <a:gd name="T9" fmla="*/ 122 h 309"/>
                <a:gd name="T10" fmla="*/ 60 w 268"/>
                <a:gd name="T11" fmla="*/ 125 h 309"/>
                <a:gd name="T12" fmla="*/ 57 w 268"/>
                <a:gd name="T13" fmla="*/ 140 h 309"/>
                <a:gd name="T14" fmla="*/ 21 w 268"/>
                <a:gd name="T15" fmla="*/ 207 h 309"/>
                <a:gd name="T16" fmla="*/ 102 w 268"/>
                <a:gd name="T17" fmla="*/ 288 h 309"/>
                <a:gd name="T18" fmla="*/ 169 w 268"/>
                <a:gd name="T19" fmla="*/ 254 h 309"/>
                <a:gd name="T20" fmla="*/ 183 w 268"/>
                <a:gd name="T21" fmla="*/ 251 h 309"/>
                <a:gd name="T22" fmla="*/ 64 w 268"/>
                <a:gd name="T23" fmla="*/ 32 h 309"/>
                <a:gd name="T24" fmla="*/ 96 w 268"/>
                <a:gd name="T25" fmla="*/ 0 h 309"/>
                <a:gd name="T26" fmla="*/ 128 w 268"/>
                <a:gd name="T27" fmla="*/ 32 h 309"/>
                <a:gd name="T28" fmla="*/ 96 w 268"/>
                <a:gd name="T29" fmla="*/ 64 h 309"/>
                <a:gd name="T30" fmla="*/ 64 w 268"/>
                <a:gd name="T31" fmla="*/ 32 h 309"/>
                <a:gd name="T32" fmla="*/ 85 w 268"/>
                <a:gd name="T33" fmla="*/ 32 h 309"/>
                <a:gd name="T34" fmla="*/ 96 w 268"/>
                <a:gd name="T35" fmla="*/ 43 h 309"/>
                <a:gd name="T36" fmla="*/ 107 w 268"/>
                <a:gd name="T37" fmla="*/ 32 h 309"/>
                <a:gd name="T38" fmla="*/ 96 w 268"/>
                <a:gd name="T39" fmla="*/ 21 h 309"/>
                <a:gd name="T40" fmla="*/ 85 w 268"/>
                <a:gd name="T41" fmla="*/ 32 h 309"/>
                <a:gd name="T42" fmla="*/ 266 w 268"/>
                <a:gd name="T43" fmla="*/ 253 h 309"/>
                <a:gd name="T44" fmla="*/ 253 w 268"/>
                <a:gd name="T45" fmla="*/ 246 h 309"/>
                <a:gd name="T46" fmla="*/ 231 w 268"/>
                <a:gd name="T47" fmla="*/ 253 h 309"/>
                <a:gd name="T48" fmla="*/ 202 w 268"/>
                <a:gd name="T49" fmla="*/ 157 h 309"/>
                <a:gd name="T50" fmla="*/ 202 w 268"/>
                <a:gd name="T51" fmla="*/ 157 h 309"/>
                <a:gd name="T52" fmla="*/ 192 w 268"/>
                <a:gd name="T53" fmla="*/ 149 h 309"/>
                <a:gd name="T54" fmla="*/ 107 w 268"/>
                <a:gd name="T55" fmla="*/ 149 h 309"/>
                <a:gd name="T56" fmla="*/ 107 w 268"/>
                <a:gd name="T57" fmla="*/ 128 h 309"/>
                <a:gd name="T58" fmla="*/ 192 w 268"/>
                <a:gd name="T59" fmla="*/ 128 h 309"/>
                <a:gd name="T60" fmla="*/ 203 w 268"/>
                <a:gd name="T61" fmla="*/ 117 h 309"/>
                <a:gd name="T62" fmla="*/ 192 w 268"/>
                <a:gd name="T63" fmla="*/ 107 h 309"/>
                <a:gd name="T64" fmla="*/ 107 w 268"/>
                <a:gd name="T65" fmla="*/ 107 h 309"/>
                <a:gd name="T66" fmla="*/ 107 w 268"/>
                <a:gd name="T67" fmla="*/ 96 h 309"/>
                <a:gd name="T68" fmla="*/ 96 w 268"/>
                <a:gd name="T69" fmla="*/ 85 h 309"/>
                <a:gd name="T70" fmla="*/ 85 w 268"/>
                <a:gd name="T71" fmla="*/ 96 h 309"/>
                <a:gd name="T72" fmla="*/ 85 w 268"/>
                <a:gd name="T73" fmla="*/ 160 h 309"/>
                <a:gd name="T74" fmla="*/ 96 w 268"/>
                <a:gd name="T75" fmla="*/ 171 h 309"/>
                <a:gd name="T76" fmla="*/ 184 w 268"/>
                <a:gd name="T77" fmla="*/ 171 h 309"/>
                <a:gd name="T78" fmla="*/ 184 w 268"/>
                <a:gd name="T79" fmla="*/ 171 h 309"/>
                <a:gd name="T80" fmla="*/ 214 w 268"/>
                <a:gd name="T81" fmla="*/ 270 h 309"/>
                <a:gd name="T82" fmla="*/ 214 w 268"/>
                <a:gd name="T83" fmla="*/ 270 h 309"/>
                <a:gd name="T84" fmla="*/ 214 w 268"/>
                <a:gd name="T85" fmla="*/ 270 h 309"/>
                <a:gd name="T86" fmla="*/ 224 w 268"/>
                <a:gd name="T87" fmla="*/ 277 h 309"/>
                <a:gd name="T88" fmla="*/ 227 w 268"/>
                <a:gd name="T89" fmla="*/ 277 h 309"/>
                <a:gd name="T90" fmla="*/ 259 w 268"/>
                <a:gd name="T91" fmla="*/ 266 h 309"/>
                <a:gd name="T92" fmla="*/ 266 w 268"/>
                <a:gd name="T93" fmla="*/ 25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8" h="309">
                  <a:moveTo>
                    <a:pt x="183" y="251"/>
                  </a:moveTo>
                  <a:cubicBezTo>
                    <a:pt x="188" y="255"/>
                    <a:pt x="189" y="261"/>
                    <a:pt x="186" y="266"/>
                  </a:cubicBezTo>
                  <a:cubicBezTo>
                    <a:pt x="167" y="293"/>
                    <a:pt x="136" y="309"/>
                    <a:pt x="102" y="309"/>
                  </a:cubicBezTo>
                  <a:cubicBezTo>
                    <a:pt x="46" y="309"/>
                    <a:pt x="0" y="263"/>
                    <a:pt x="0" y="207"/>
                  </a:cubicBezTo>
                  <a:cubicBezTo>
                    <a:pt x="0" y="173"/>
                    <a:pt x="17" y="141"/>
                    <a:pt x="45" y="122"/>
                  </a:cubicBezTo>
                  <a:cubicBezTo>
                    <a:pt x="50" y="119"/>
                    <a:pt x="57" y="120"/>
                    <a:pt x="60" y="125"/>
                  </a:cubicBezTo>
                  <a:cubicBezTo>
                    <a:pt x="63" y="130"/>
                    <a:pt x="62" y="136"/>
                    <a:pt x="57" y="140"/>
                  </a:cubicBezTo>
                  <a:cubicBezTo>
                    <a:pt x="35" y="155"/>
                    <a:pt x="21" y="180"/>
                    <a:pt x="21" y="207"/>
                  </a:cubicBezTo>
                  <a:cubicBezTo>
                    <a:pt x="21" y="252"/>
                    <a:pt x="58" y="288"/>
                    <a:pt x="102" y="288"/>
                  </a:cubicBezTo>
                  <a:cubicBezTo>
                    <a:pt x="129" y="288"/>
                    <a:pt x="153" y="275"/>
                    <a:pt x="169" y="254"/>
                  </a:cubicBezTo>
                  <a:cubicBezTo>
                    <a:pt x="172" y="249"/>
                    <a:pt x="179" y="248"/>
                    <a:pt x="183" y="251"/>
                  </a:cubicBezTo>
                  <a:close/>
                  <a:moveTo>
                    <a:pt x="64" y="32"/>
                  </a:moveTo>
                  <a:cubicBezTo>
                    <a:pt x="64" y="14"/>
                    <a:pt x="78" y="0"/>
                    <a:pt x="96" y="0"/>
                  </a:cubicBezTo>
                  <a:cubicBezTo>
                    <a:pt x="114" y="0"/>
                    <a:pt x="128" y="14"/>
                    <a:pt x="128" y="32"/>
                  </a:cubicBezTo>
                  <a:cubicBezTo>
                    <a:pt x="128" y="50"/>
                    <a:pt x="114" y="64"/>
                    <a:pt x="96" y="64"/>
                  </a:cubicBezTo>
                  <a:cubicBezTo>
                    <a:pt x="78" y="64"/>
                    <a:pt x="64" y="50"/>
                    <a:pt x="64" y="32"/>
                  </a:cubicBezTo>
                  <a:close/>
                  <a:moveTo>
                    <a:pt x="85" y="32"/>
                  </a:moveTo>
                  <a:cubicBezTo>
                    <a:pt x="85" y="38"/>
                    <a:pt x="90" y="43"/>
                    <a:pt x="96" y="43"/>
                  </a:cubicBezTo>
                  <a:cubicBezTo>
                    <a:pt x="102" y="43"/>
                    <a:pt x="107" y="38"/>
                    <a:pt x="107" y="32"/>
                  </a:cubicBezTo>
                  <a:cubicBezTo>
                    <a:pt x="107" y="26"/>
                    <a:pt x="102" y="21"/>
                    <a:pt x="96" y="21"/>
                  </a:cubicBezTo>
                  <a:cubicBezTo>
                    <a:pt x="90" y="21"/>
                    <a:pt x="85" y="26"/>
                    <a:pt x="85" y="32"/>
                  </a:cubicBezTo>
                  <a:close/>
                  <a:moveTo>
                    <a:pt x="266" y="253"/>
                  </a:moveTo>
                  <a:cubicBezTo>
                    <a:pt x="264" y="247"/>
                    <a:pt x="258" y="244"/>
                    <a:pt x="253" y="246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1" y="153"/>
                    <a:pt x="197" y="149"/>
                    <a:pt x="192" y="149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7" y="128"/>
                    <a:pt x="107" y="128"/>
                    <a:pt x="107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8" y="128"/>
                    <a:pt x="203" y="123"/>
                    <a:pt x="203" y="117"/>
                  </a:cubicBezTo>
                  <a:cubicBezTo>
                    <a:pt x="203" y="111"/>
                    <a:pt x="198" y="107"/>
                    <a:pt x="192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7" y="90"/>
                    <a:pt x="102" y="85"/>
                    <a:pt x="96" y="85"/>
                  </a:cubicBezTo>
                  <a:cubicBezTo>
                    <a:pt x="90" y="85"/>
                    <a:pt x="85" y="90"/>
                    <a:pt x="85" y="96"/>
                  </a:cubicBezTo>
                  <a:cubicBezTo>
                    <a:pt x="85" y="160"/>
                    <a:pt x="85" y="160"/>
                    <a:pt x="85" y="160"/>
                  </a:cubicBezTo>
                  <a:cubicBezTo>
                    <a:pt x="85" y="166"/>
                    <a:pt x="90" y="171"/>
                    <a:pt x="96" y="171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214" y="270"/>
                    <a:pt x="214" y="270"/>
                    <a:pt x="214" y="270"/>
                  </a:cubicBezTo>
                  <a:cubicBezTo>
                    <a:pt x="214" y="270"/>
                    <a:pt x="214" y="270"/>
                    <a:pt x="214" y="270"/>
                  </a:cubicBezTo>
                  <a:cubicBezTo>
                    <a:pt x="214" y="270"/>
                    <a:pt x="214" y="270"/>
                    <a:pt x="214" y="270"/>
                  </a:cubicBezTo>
                  <a:cubicBezTo>
                    <a:pt x="215" y="275"/>
                    <a:pt x="220" y="277"/>
                    <a:pt x="224" y="277"/>
                  </a:cubicBezTo>
                  <a:cubicBezTo>
                    <a:pt x="225" y="277"/>
                    <a:pt x="226" y="277"/>
                    <a:pt x="227" y="277"/>
                  </a:cubicBezTo>
                  <a:cubicBezTo>
                    <a:pt x="259" y="266"/>
                    <a:pt x="259" y="266"/>
                    <a:pt x="259" y="266"/>
                  </a:cubicBezTo>
                  <a:cubicBezTo>
                    <a:pt x="265" y="264"/>
                    <a:pt x="268" y="258"/>
                    <a:pt x="266" y="2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5" name="Freeform 887"/>
          <p:cNvSpPr>
            <a:spLocks noChangeAspect="1" noEditPoints="1"/>
          </p:cNvSpPr>
          <p:nvPr/>
        </p:nvSpPr>
        <p:spPr bwMode="auto">
          <a:xfrm>
            <a:off x="416279" y="3744412"/>
            <a:ext cx="369676" cy="369676"/>
          </a:xfrm>
          <a:custGeom>
            <a:avLst/>
            <a:gdLst>
              <a:gd name="T0" fmla="*/ 213 w 512"/>
              <a:gd name="T1" fmla="*/ 139 h 512"/>
              <a:gd name="T2" fmla="*/ 224 w 512"/>
              <a:gd name="T3" fmla="*/ 128 h 512"/>
              <a:gd name="T4" fmla="*/ 235 w 512"/>
              <a:gd name="T5" fmla="*/ 139 h 512"/>
              <a:gd name="T6" fmla="*/ 224 w 512"/>
              <a:gd name="T7" fmla="*/ 150 h 512"/>
              <a:gd name="T8" fmla="*/ 213 w 512"/>
              <a:gd name="T9" fmla="*/ 139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192 w 512"/>
              <a:gd name="T21" fmla="*/ 139 h 512"/>
              <a:gd name="T22" fmla="*/ 224 w 512"/>
              <a:gd name="T23" fmla="*/ 171 h 512"/>
              <a:gd name="T24" fmla="*/ 256 w 512"/>
              <a:gd name="T25" fmla="*/ 139 h 512"/>
              <a:gd name="T26" fmla="*/ 224 w 512"/>
              <a:gd name="T27" fmla="*/ 107 h 512"/>
              <a:gd name="T28" fmla="*/ 192 w 512"/>
              <a:gd name="T29" fmla="*/ 139 h 512"/>
              <a:gd name="T30" fmla="*/ 311 w 512"/>
              <a:gd name="T31" fmla="*/ 358 h 512"/>
              <a:gd name="T32" fmla="*/ 297 w 512"/>
              <a:gd name="T33" fmla="*/ 361 h 512"/>
              <a:gd name="T34" fmla="*/ 230 w 512"/>
              <a:gd name="T35" fmla="*/ 395 h 512"/>
              <a:gd name="T36" fmla="*/ 149 w 512"/>
              <a:gd name="T37" fmla="*/ 314 h 512"/>
              <a:gd name="T38" fmla="*/ 185 w 512"/>
              <a:gd name="T39" fmla="*/ 247 h 512"/>
              <a:gd name="T40" fmla="*/ 188 w 512"/>
              <a:gd name="T41" fmla="*/ 232 h 512"/>
              <a:gd name="T42" fmla="*/ 173 w 512"/>
              <a:gd name="T43" fmla="*/ 229 h 512"/>
              <a:gd name="T44" fmla="*/ 128 w 512"/>
              <a:gd name="T45" fmla="*/ 314 h 512"/>
              <a:gd name="T46" fmla="*/ 230 w 512"/>
              <a:gd name="T47" fmla="*/ 416 h 512"/>
              <a:gd name="T48" fmla="*/ 314 w 512"/>
              <a:gd name="T49" fmla="*/ 373 h 512"/>
              <a:gd name="T50" fmla="*/ 311 w 512"/>
              <a:gd name="T51" fmla="*/ 358 h 512"/>
              <a:gd name="T52" fmla="*/ 394 w 512"/>
              <a:gd name="T53" fmla="*/ 360 h 512"/>
              <a:gd name="T54" fmla="*/ 381 w 512"/>
              <a:gd name="T55" fmla="*/ 353 h 512"/>
              <a:gd name="T56" fmla="*/ 359 w 512"/>
              <a:gd name="T57" fmla="*/ 360 h 512"/>
              <a:gd name="T58" fmla="*/ 330 w 512"/>
              <a:gd name="T59" fmla="*/ 264 h 512"/>
              <a:gd name="T60" fmla="*/ 330 w 512"/>
              <a:gd name="T61" fmla="*/ 264 h 512"/>
              <a:gd name="T62" fmla="*/ 320 w 512"/>
              <a:gd name="T63" fmla="*/ 256 h 512"/>
              <a:gd name="T64" fmla="*/ 235 w 512"/>
              <a:gd name="T65" fmla="*/ 256 h 512"/>
              <a:gd name="T66" fmla="*/ 235 w 512"/>
              <a:gd name="T67" fmla="*/ 235 h 512"/>
              <a:gd name="T68" fmla="*/ 320 w 512"/>
              <a:gd name="T69" fmla="*/ 235 h 512"/>
              <a:gd name="T70" fmla="*/ 331 w 512"/>
              <a:gd name="T71" fmla="*/ 224 h 512"/>
              <a:gd name="T72" fmla="*/ 320 w 512"/>
              <a:gd name="T73" fmla="*/ 214 h 512"/>
              <a:gd name="T74" fmla="*/ 235 w 512"/>
              <a:gd name="T75" fmla="*/ 214 h 512"/>
              <a:gd name="T76" fmla="*/ 235 w 512"/>
              <a:gd name="T77" fmla="*/ 203 h 512"/>
              <a:gd name="T78" fmla="*/ 224 w 512"/>
              <a:gd name="T79" fmla="*/ 192 h 512"/>
              <a:gd name="T80" fmla="*/ 213 w 512"/>
              <a:gd name="T81" fmla="*/ 203 h 512"/>
              <a:gd name="T82" fmla="*/ 213 w 512"/>
              <a:gd name="T83" fmla="*/ 267 h 512"/>
              <a:gd name="T84" fmla="*/ 224 w 512"/>
              <a:gd name="T85" fmla="*/ 278 h 512"/>
              <a:gd name="T86" fmla="*/ 312 w 512"/>
              <a:gd name="T87" fmla="*/ 278 h 512"/>
              <a:gd name="T88" fmla="*/ 312 w 512"/>
              <a:gd name="T89" fmla="*/ 278 h 512"/>
              <a:gd name="T90" fmla="*/ 342 w 512"/>
              <a:gd name="T91" fmla="*/ 377 h 512"/>
              <a:gd name="T92" fmla="*/ 342 w 512"/>
              <a:gd name="T93" fmla="*/ 377 h 512"/>
              <a:gd name="T94" fmla="*/ 342 w 512"/>
              <a:gd name="T95" fmla="*/ 377 h 512"/>
              <a:gd name="T96" fmla="*/ 352 w 512"/>
              <a:gd name="T97" fmla="*/ 384 h 512"/>
              <a:gd name="T98" fmla="*/ 355 w 512"/>
              <a:gd name="T99" fmla="*/ 384 h 512"/>
              <a:gd name="T100" fmla="*/ 387 w 512"/>
              <a:gd name="T101" fmla="*/ 373 h 512"/>
              <a:gd name="T102" fmla="*/ 394 w 512"/>
              <a:gd name="T103" fmla="*/ 3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13" y="139"/>
                </a:moveTo>
                <a:cubicBezTo>
                  <a:pt x="213" y="133"/>
                  <a:pt x="218" y="128"/>
                  <a:pt x="224" y="128"/>
                </a:cubicBezTo>
                <a:cubicBezTo>
                  <a:pt x="230" y="128"/>
                  <a:pt x="235" y="133"/>
                  <a:pt x="235" y="139"/>
                </a:cubicBezTo>
                <a:cubicBezTo>
                  <a:pt x="235" y="145"/>
                  <a:pt x="230" y="150"/>
                  <a:pt x="224" y="150"/>
                </a:cubicBezTo>
                <a:cubicBezTo>
                  <a:pt x="218" y="150"/>
                  <a:pt x="213" y="145"/>
                  <a:pt x="213" y="139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192" y="139"/>
                </a:moveTo>
                <a:cubicBezTo>
                  <a:pt x="192" y="157"/>
                  <a:pt x="206" y="171"/>
                  <a:pt x="224" y="171"/>
                </a:cubicBezTo>
                <a:cubicBezTo>
                  <a:pt x="242" y="171"/>
                  <a:pt x="256" y="157"/>
                  <a:pt x="256" y="139"/>
                </a:cubicBezTo>
                <a:cubicBezTo>
                  <a:pt x="256" y="121"/>
                  <a:pt x="242" y="107"/>
                  <a:pt x="224" y="107"/>
                </a:cubicBezTo>
                <a:cubicBezTo>
                  <a:pt x="206" y="107"/>
                  <a:pt x="192" y="121"/>
                  <a:pt x="192" y="139"/>
                </a:cubicBezTo>
                <a:close/>
                <a:moveTo>
                  <a:pt x="311" y="358"/>
                </a:moveTo>
                <a:cubicBezTo>
                  <a:pt x="307" y="355"/>
                  <a:pt x="300" y="356"/>
                  <a:pt x="297" y="361"/>
                </a:cubicBezTo>
                <a:cubicBezTo>
                  <a:pt x="281" y="382"/>
                  <a:pt x="257" y="395"/>
                  <a:pt x="230" y="395"/>
                </a:cubicBezTo>
                <a:cubicBezTo>
                  <a:pt x="186" y="395"/>
                  <a:pt x="149" y="359"/>
                  <a:pt x="149" y="314"/>
                </a:cubicBezTo>
                <a:cubicBezTo>
                  <a:pt x="149" y="287"/>
                  <a:pt x="163" y="262"/>
                  <a:pt x="185" y="247"/>
                </a:cubicBezTo>
                <a:cubicBezTo>
                  <a:pt x="190" y="243"/>
                  <a:pt x="191" y="237"/>
                  <a:pt x="188" y="232"/>
                </a:cubicBezTo>
                <a:cubicBezTo>
                  <a:pt x="185" y="227"/>
                  <a:pt x="178" y="226"/>
                  <a:pt x="173" y="229"/>
                </a:cubicBezTo>
                <a:cubicBezTo>
                  <a:pt x="145" y="248"/>
                  <a:pt x="128" y="280"/>
                  <a:pt x="128" y="314"/>
                </a:cubicBezTo>
                <a:cubicBezTo>
                  <a:pt x="128" y="370"/>
                  <a:pt x="174" y="416"/>
                  <a:pt x="230" y="416"/>
                </a:cubicBezTo>
                <a:cubicBezTo>
                  <a:pt x="264" y="416"/>
                  <a:pt x="295" y="400"/>
                  <a:pt x="314" y="373"/>
                </a:cubicBezTo>
                <a:cubicBezTo>
                  <a:pt x="317" y="368"/>
                  <a:pt x="316" y="362"/>
                  <a:pt x="311" y="358"/>
                </a:cubicBezTo>
                <a:close/>
                <a:moveTo>
                  <a:pt x="394" y="360"/>
                </a:moveTo>
                <a:cubicBezTo>
                  <a:pt x="392" y="354"/>
                  <a:pt x="386" y="351"/>
                  <a:pt x="381" y="353"/>
                </a:cubicBezTo>
                <a:cubicBezTo>
                  <a:pt x="359" y="360"/>
                  <a:pt x="359" y="360"/>
                  <a:pt x="359" y="360"/>
                </a:cubicBezTo>
                <a:cubicBezTo>
                  <a:pt x="330" y="264"/>
                  <a:pt x="330" y="264"/>
                  <a:pt x="330" y="264"/>
                </a:cubicBezTo>
                <a:cubicBezTo>
                  <a:pt x="330" y="264"/>
                  <a:pt x="330" y="264"/>
                  <a:pt x="330" y="264"/>
                </a:cubicBezTo>
                <a:cubicBezTo>
                  <a:pt x="329" y="260"/>
                  <a:pt x="325" y="256"/>
                  <a:pt x="320" y="256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35"/>
                  <a:pt x="235" y="235"/>
                  <a:pt x="235" y="235"/>
                </a:cubicBezTo>
                <a:cubicBezTo>
                  <a:pt x="320" y="235"/>
                  <a:pt x="320" y="235"/>
                  <a:pt x="320" y="235"/>
                </a:cubicBezTo>
                <a:cubicBezTo>
                  <a:pt x="326" y="235"/>
                  <a:pt x="331" y="230"/>
                  <a:pt x="331" y="224"/>
                </a:cubicBezTo>
                <a:cubicBezTo>
                  <a:pt x="331" y="218"/>
                  <a:pt x="326" y="214"/>
                  <a:pt x="320" y="214"/>
                </a:cubicBezTo>
                <a:cubicBezTo>
                  <a:pt x="235" y="214"/>
                  <a:pt x="235" y="214"/>
                  <a:pt x="235" y="214"/>
                </a:cubicBezTo>
                <a:cubicBezTo>
                  <a:pt x="235" y="203"/>
                  <a:pt x="235" y="203"/>
                  <a:pt x="235" y="203"/>
                </a:cubicBezTo>
                <a:cubicBezTo>
                  <a:pt x="235" y="197"/>
                  <a:pt x="230" y="192"/>
                  <a:pt x="224" y="192"/>
                </a:cubicBezTo>
                <a:cubicBezTo>
                  <a:pt x="218" y="192"/>
                  <a:pt x="213" y="197"/>
                  <a:pt x="213" y="203"/>
                </a:cubicBezTo>
                <a:cubicBezTo>
                  <a:pt x="213" y="267"/>
                  <a:pt x="213" y="267"/>
                  <a:pt x="213" y="267"/>
                </a:cubicBezTo>
                <a:cubicBezTo>
                  <a:pt x="213" y="273"/>
                  <a:pt x="218" y="278"/>
                  <a:pt x="224" y="278"/>
                </a:cubicBezTo>
                <a:cubicBezTo>
                  <a:pt x="312" y="278"/>
                  <a:pt x="312" y="278"/>
                  <a:pt x="312" y="278"/>
                </a:cubicBezTo>
                <a:cubicBezTo>
                  <a:pt x="312" y="278"/>
                  <a:pt x="312" y="278"/>
                  <a:pt x="312" y="278"/>
                </a:cubicBezTo>
                <a:cubicBezTo>
                  <a:pt x="342" y="377"/>
                  <a:pt x="342" y="377"/>
                  <a:pt x="342" y="377"/>
                </a:cubicBezTo>
                <a:cubicBezTo>
                  <a:pt x="342" y="377"/>
                  <a:pt x="342" y="377"/>
                  <a:pt x="342" y="377"/>
                </a:cubicBezTo>
                <a:cubicBezTo>
                  <a:pt x="342" y="377"/>
                  <a:pt x="342" y="377"/>
                  <a:pt x="342" y="377"/>
                </a:cubicBezTo>
                <a:cubicBezTo>
                  <a:pt x="343" y="382"/>
                  <a:pt x="348" y="384"/>
                  <a:pt x="352" y="384"/>
                </a:cubicBezTo>
                <a:cubicBezTo>
                  <a:pt x="353" y="384"/>
                  <a:pt x="354" y="384"/>
                  <a:pt x="355" y="384"/>
                </a:cubicBezTo>
                <a:cubicBezTo>
                  <a:pt x="387" y="373"/>
                  <a:pt x="387" y="373"/>
                  <a:pt x="387" y="373"/>
                </a:cubicBezTo>
                <a:cubicBezTo>
                  <a:pt x="393" y="371"/>
                  <a:pt x="396" y="365"/>
                  <a:pt x="394" y="3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6" name="Freeform 249"/>
          <p:cNvSpPr>
            <a:spLocks noChangeAspect="1" noEditPoints="1"/>
          </p:cNvSpPr>
          <p:nvPr/>
        </p:nvSpPr>
        <p:spPr bwMode="auto">
          <a:xfrm>
            <a:off x="9403002" y="2041530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266 h 512"/>
              <a:gd name="T12" fmla="*/ 371 w 512"/>
              <a:gd name="T13" fmla="*/ 266 h 512"/>
              <a:gd name="T14" fmla="*/ 362 w 512"/>
              <a:gd name="T15" fmla="*/ 301 h 512"/>
              <a:gd name="T16" fmla="*/ 352 w 512"/>
              <a:gd name="T17" fmla="*/ 309 h 512"/>
              <a:gd name="T18" fmla="*/ 342 w 512"/>
              <a:gd name="T19" fmla="*/ 302 h 512"/>
              <a:gd name="T20" fmla="*/ 322 w 512"/>
              <a:gd name="T21" fmla="*/ 243 h 512"/>
              <a:gd name="T22" fmla="*/ 287 w 512"/>
              <a:gd name="T23" fmla="*/ 407 h 512"/>
              <a:gd name="T24" fmla="*/ 277 w 512"/>
              <a:gd name="T25" fmla="*/ 416 h 512"/>
              <a:gd name="T26" fmla="*/ 277 w 512"/>
              <a:gd name="T27" fmla="*/ 416 h 512"/>
              <a:gd name="T28" fmla="*/ 267 w 512"/>
              <a:gd name="T29" fmla="*/ 407 h 512"/>
              <a:gd name="T30" fmla="*/ 222 w 512"/>
              <a:gd name="T31" fmla="*/ 159 h 512"/>
              <a:gd name="T32" fmla="*/ 191 w 512"/>
              <a:gd name="T33" fmla="*/ 290 h 512"/>
              <a:gd name="T34" fmla="*/ 181 w 512"/>
              <a:gd name="T35" fmla="*/ 298 h 512"/>
              <a:gd name="T36" fmla="*/ 171 w 512"/>
              <a:gd name="T37" fmla="*/ 291 h 512"/>
              <a:gd name="T38" fmla="*/ 156 w 512"/>
              <a:gd name="T39" fmla="*/ 248 h 512"/>
              <a:gd name="T40" fmla="*/ 147 w 512"/>
              <a:gd name="T41" fmla="*/ 262 h 512"/>
              <a:gd name="T42" fmla="*/ 138 w 512"/>
              <a:gd name="T43" fmla="*/ 266 h 512"/>
              <a:gd name="T44" fmla="*/ 106 w 512"/>
              <a:gd name="T45" fmla="*/ 266 h 512"/>
              <a:gd name="T46" fmla="*/ 96 w 512"/>
              <a:gd name="T47" fmla="*/ 256 h 512"/>
              <a:gd name="T48" fmla="*/ 106 w 512"/>
              <a:gd name="T49" fmla="*/ 245 h 512"/>
              <a:gd name="T50" fmla="*/ 133 w 512"/>
              <a:gd name="T51" fmla="*/ 245 h 512"/>
              <a:gd name="T52" fmla="*/ 151 w 512"/>
              <a:gd name="T53" fmla="*/ 218 h 512"/>
              <a:gd name="T54" fmla="*/ 161 w 512"/>
              <a:gd name="T55" fmla="*/ 213 h 512"/>
              <a:gd name="T56" fmla="*/ 170 w 512"/>
              <a:gd name="T57" fmla="*/ 220 h 512"/>
              <a:gd name="T58" fmla="*/ 179 w 512"/>
              <a:gd name="T59" fmla="*/ 249 h 512"/>
              <a:gd name="T60" fmla="*/ 213 w 512"/>
              <a:gd name="T61" fmla="*/ 104 h 512"/>
              <a:gd name="T62" fmla="*/ 224 w 512"/>
              <a:gd name="T63" fmla="*/ 96 h 512"/>
              <a:gd name="T64" fmla="*/ 234 w 512"/>
              <a:gd name="T65" fmla="*/ 104 h 512"/>
              <a:gd name="T66" fmla="*/ 278 w 512"/>
              <a:gd name="T67" fmla="*/ 349 h 512"/>
              <a:gd name="T68" fmla="*/ 309 w 512"/>
              <a:gd name="T69" fmla="*/ 200 h 512"/>
              <a:gd name="T70" fmla="*/ 319 w 512"/>
              <a:gd name="T71" fmla="*/ 192 h 512"/>
              <a:gd name="T72" fmla="*/ 330 w 512"/>
              <a:gd name="T73" fmla="*/ 199 h 512"/>
              <a:gd name="T74" fmla="*/ 350 w 512"/>
              <a:gd name="T75" fmla="*/ 260 h 512"/>
              <a:gd name="T76" fmla="*/ 352 w 512"/>
              <a:gd name="T77" fmla="*/ 253 h 512"/>
              <a:gd name="T78" fmla="*/ 362 w 512"/>
              <a:gd name="T79" fmla="*/ 245 h 512"/>
              <a:gd name="T80" fmla="*/ 405 w 512"/>
              <a:gd name="T81" fmla="*/ 245 h 512"/>
              <a:gd name="T82" fmla="*/ 416 w 512"/>
              <a:gd name="T83" fmla="*/ 256 h 512"/>
              <a:gd name="T84" fmla="*/ 405 w 512"/>
              <a:gd name="T85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66"/>
                </a:moveTo>
                <a:cubicBezTo>
                  <a:pt x="371" y="266"/>
                  <a:pt x="371" y="266"/>
                  <a:pt x="371" y="266"/>
                </a:cubicBezTo>
                <a:cubicBezTo>
                  <a:pt x="362" y="301"/>
                  <a:pt x="362" y="301"/>
                  <a:pt x="362" y="301"/>
                </a:cubicBezTo>
                <a:cubicBezTo>
                  <a:pt x="361" y="306"/>
                  <a:pt x="357" y="309"/>
                  <a:pt x="352" y="309"/>
                </a:cubicBezTo>
                <a:cubicBezTo>
                  <a:pt x="347" y="309"/>
                  <a:pt x="343" y="306"/>
                  <a:pt x="342" y="302"/>
                </a:cubicBezTo>
                <a:cubicBezTo>
                  <a:pt x="322" y="243"/>
                  <a:pt x="322" y="243"/>
                  <a:pt x="322" y="243"/>
                </a:cubicBezTo>
                <a:cubicBezTo>
                  <a:pt x="287" y="407"/>
                  <a:pt x="287" y="407"/>
                  <a:pt x="287" y="407"/>
                </a:cubicBezTo>
                <a:cubicBezTo>
                  <a:pt x="286" y="412"/>
                  <a:pt x="282" y="416"/>
                  <a:pt x="277" y="416"/>
                </a:cubicBezTo>
                <a:cubicBezTo>
                  <a:pt x="277" y="416"/>
                  <a:pt x="277" y="416"/>
                  <a:pt x="277" y="416"/>
                </a:cubicBezTo>
                <a:cubicBezTo>
                  <a:pt x="272" y="416"/>
                  <a:pt x="267" y="412"/>
                  <a:pt x="267" y="407"/>
                </a:cubicBezTo>
                <a:cubicBezTo>
                  <a:pt x="222" y="159"/>
                  <a:pt x="222" y="159"/>
                  <a:pt x="222" y="159"/>
                </a:cubicBezTo>
                <a:cubicBezTo>
                  <a:pt x="191" y="290"/>
                  <a:pt x="191" y="290"/>
                  <a:pt x="191" y="290"/>
                </a:cubicBezTo>
                <a:cubicBezTo>
                  <a:pt x="190" y="295"/>
                  <a:pt x="186" y="298"/>
                  <a:pt x="181" y="298"/>
                </a:cubicBezTo>
                <a:cubicBezTo>
                  <a:pt x="177" y="299"/>
                  <a:pt x="172" y="296"/>
                  <a:pt x="171" y="291"/>
                </a:cubicBezTo>
                <a:cubicBezTo>
                  <a:pt x="156" y="248"/>
                  <a:pt x="156" y="248"/>
                  <a:pt x="156" y="248"/>
                </a:cubicBezTo>
                <a:cubicBezTo>
                  <a:pt x="147" y="262"/>
                  <a:pt x="147" y="262"/>
                  <a:pt x="147" y="262"/>
                </a:cubicBezTo>
                <a:cubicBezTo>
                  <a:pt x="145" y="265"/>
                  <a:pt x="142" y="266"/>
                  <a:pt x="138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133" y="245"/>
                  <a:pt x="133" y="245"/>
                  <a:pt x="133" y="245"/>
                </a:cubicBezTo>
                <a:cubicBezTo>
                  <a:pt x="151" y="218"/>
                  <a:pt x="151" y="218"/>
                  <a:pt x="151" y="218"/>
                </a:cubicBezTo>
                <a:cubicBezTo>
                  <a:pt x="153" y="214"/>
                  <a:pt x="157" y="213"/>
                  <a:pt x="161" y="213"/>
                </a:cubicBezTo>
                <a:cubicBezTo>
                  <a:pt x="165" y="214"/>
                  <a:pt x="168" y="216"/>
                  <a:pt x="170" y="220"/>
                </a:cubicBezTo>
                <a:cubicBezTo>
                  <a:pt x="179" y="249"/>
                  <a:pt x="179" y="249"/>
                  <a:pt x="179" y="249"/>
                </a:cubicBezTo>
                <a:cubicBezTo>
                  <a:pt x="213" y="104"/>
                  <a:pt x="213" y="104"/>
                  <a:pt x="213" y="104"/>
                </a:cubicBezTo>
                <a:cubicBezTo>
                  <a:pt x="214" y="99"/>
                  <a:pt x="219" y="96"/>
                  <a:pt x="224" y="96"/>
                </a:cubicBezTo>
                <a:cubicBezTo>
                  <a:pt x="229" y="96"/>
                  <a:pt x="233" y="99"/>
                  <a:pt x="234" y="104"/>
                </a:cubicBezTo>
                <a:cubicBezTo>
                  <a:pt x="278" y="349"/>
                  <a:pt x="278" y="349"/>
                  <a:pt x="278" y="349"/>
                </a:cubicBezTo>
                <a:cubicBezTo>
                  <a:pt x="309" y="200"/>
                  <a:pt x="309" y="200"/>
                  <a:pt x="309" y="200"/>
                </a:cubicBezTo>
                <a:cubicBezTo>
                  <a:pt x="310" y="195"/>
                  <a:pt x="314" y="192"/>
                  <a:pt x="319" y="192"/>
                </a:cubicBezTo>
                <a:cubicBezTo>
                  <a:pt x="324" y="191"/>
                  <a:pt x="328" y="194"/>
                  <a:pt x="330" y="199"/>
                </a:cubicBezTo>
                <a:cubicBezTo>
                  <a:pt x="350" y="260"/>
                  <a:pt x="350" y="260"/>
                  <a:pt x="350" y="260"/>
                </a:cubicBezTo>
                <a:cubicBezTo>
                  <a:pt x="352" y="253"/>
                  <a:pt x="352" y="253"/>
                  <a:pt x="352" y="253"/>
                </a:cubicBezTo>
                <a:cubicBezTo>
                  <a:pt x="353" y="248"/>
                  <a:pt x="357" y="245"/>
                  <a:pt x="362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7" name="Group 252"/>
          <p:cNvGrpSpPr>
            <a:grpSpLocks noChangeAspect="1"/>
          </p:cNvGrpSpPr>
          <p:nvPr/>
        </p:nvGrpSpPr>
        <p:grpSpPr bwMode="auto">
          <a:xfrm>
            <a:off x="9900717" y="2041530"/>
            <a:ext cx="367041" cy="367041"/>
            <a:chOff x="5024" y="718"/>
            <a:chExt cx="340" cy="340"/>
          </a:xfrm>
          <a:solidFill>
            <a:schemeClr val="accent3"/>
          </a:solidFill>
        </p:grpSpPr>
        <p:sp>
          <p:nvSpPr>
            <p:cNvPr id="228" name="Freeform 253"/>
            <p:cNvSpPr>
              <a:spLocks/>
            </p:cNvSpPr>
            <p:nvPr/>
          </p:nvSpPr>
          <p:spPr bwMode="auto">
            <a:xfrm>
              <a:off x="5088" y="782"/>
              <a:ext cx="212" cy="212"/>
            </a:xfrm>
            <a:custGeom>
              <a:avLst/>
              <a:gdLst>
                <a:gd name="T0" fmla="*/ 181 w 320"/>
                <a:gd name="T1" fmla="*/ 320 h 320"/>
                <a:gd name="T2" fmla="*/ 181 w 320"/>
                <a:gd name="T3" fmla="*/ 320 h 320"/>
                <a:gd name="T4" fmla="*/ 171 w 320"/>
                <a:gd name="T5" fmla="*/ 311 h 320"/>
                <a:gd name="T6" fmla="*/ 126 w 320"/>
                <a:gd name="T7" fmla="*/ 63 h 320"/>
                <a:gd name="T8" fmla="*/ 95 w 320"/>
                <a:gd name="T9" fmla="*/ 194 h 320"/>
                <a:gd name="T10" fmla="*/ 85 w 320"/>
                <a:gd name="T11" fmla="*/ 202 h 320"/>
                <a:gd name="T12" fmla="*/ 75 w 320"/>
                <a:gd name="T13" fmla="*/ 195 h 320"/>
                <a:gd name="T14" fmla="*/ 60 w 320"/>
                <a:gd name="T15" fmla="*/ 152 h 320"/>
                <a:gd name="T16" fmla="*/ 51 w 320"/>
                <a:gd name="T17" fmla="*/ 166 h 320"/>
                <a:gd name="T18" fmla="*/ 42 w 320"/>
                <a:gd name="T19" fmla="*/ 170 h 320"/>
                <a:gd name="T20" fmla="*/ 10 w 320"/>
                <a:gd name="T21" fmla="*/ 170 h 320"/>
                <a:gd name="T22" fmla="*/ 0 w 320"/>
                <a:gd name="T23" fmla="*/ 160 h 320"/>
                <a:gd name="T24" fmla="*/ 10 w 320"/>
                <a:gd name="T25" fmla="*/ 149 h 320"/>
                <a:gd name="T26" fmla="*/ 37 w 320"/>
                <a:gd name="T27" fmla="*/ 149 h 320"/>
                <a:gd name="T28" fmla="*/ 55 w 320"/>
                <a:gd name="T29" fmla="*/ 122 h 320"/>
                <a:gd name="T30" fmla="*/ 65 w 320"/>
                <a:gd name="T31" fmla="*/ 117 h 320"/>
                <a:gd name="T32" fmla="*/ 74 w 320"/>
                <a:gd name="T33" fmla="*/ 124 h 320"/>
                <a:gd name="T34" fmla="*/ 83 w 320"/>
                <a:gd name="T35" fmla="*/ 153 h 320"/>
                <a:gd name="T36" fmla="*/ 117 w 320"/>
                <a:gd name="T37" fmla="*/ 8 h 320"/>
                <a:gd name="T38" fmla="*/ 128 w 320"/>
                <a:gd name="T39" fmla="*/ 0 h 320"/>
                <a:gd name="T40" fmla="*/ 138 w 320"/>
                <a:gd name="T41" fmla="*/ 8 h 320"/>
                <a:gd name="T42" fmla="*/ 182 w 320"/>
                <a:gd name="T43" fmla="*/ 253 h 320"/>
                <a:gd name="T44" fmla="*/ 213 w 320"/>
                <a:gd name="T45" fmla="*/ 104 h 320"/>
                <a:gd name="T46" fmla="*/ 223 w 320"/>
                <a:gd name="T47" fmla="*/ 96 h 320"/>
                <a:gd name="T48" fmla="*/ 234 w 320"/>
                <a:gd name="T49" fmla="*/ 103 h 320"/>
                <a:gd name="T50" fmla="*/ 254 w 320"/>
                <a:gd name="T51" fmla="*/ 164 h 320"/>
                <a:gd name="T52" fmla="*/ 256 w 320"/>
                <a:gd name="T53" fmla="*/ 157 h 320"/>
                <a:gd name="T54" fmla="*/ 266 w 320"/>
                <a:gd name="T55" fmla="*/ 149 h 320"/>
                <a:gd name="T56" fmla="*/ 309 w 320"/>
                <a:gd name="T57" fmla="*/ 149 h 320"/>
                <a:gd name="T58" fmla="*/ 320 w 320"/>
                <a:gd name="T59" fmla="*/ 160 h 320"/>
                <a:gd name="T60" fmla="*/ 309 w 320"/>
                <a:gd name="T61" fmla="*/ 170 h 320"/>
                <a:gd name="T62" fmla="*/ 275 w 320"/>
                <a:gd name="T63" fmla="*/ 170 h 320"/>
                <a:gd name="T64" fmla="*/ 266 w 320"/>
                <a:gd name="T65" fmla="*/ 205 h 320"/>
                <a:gd name="T66" fmla="*/ 256 w 320"/>
                <a:gd name="T67" fmla="*/ 213 h 320"/>
                <a:gd name="T68" fmla="*/ 246 w 320"/>
                <a:gd name="T69" fmla="*/ 206 h 320"/>
                <a:gd name="T70" fmla="*/ 226 w 320"/>
                <a:gd name="T71" fmla="*/ 147 h 320"/>
                <a:gd name="T72" fmla="*/ 191 w 320"/>
                <a:gd name="T73" fmla="*/ 311 h 320"/>
                <a:gd name="T74" fmla="*/ 181 w 320"/>
                <a:gd name="T75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320">
                  <a:moveTo>
                    <a:pt x="181" y="320"/>
                  </a:moveTo>
                  <a:cubicBezTo>
                    <a:pt x="181" y="320"/>
                    <a:pt x="181" y="320"/>
                    <a:pt x="181" y="320"/>
                  </a:cubicBezTo>
                  <a:cubicBezTo>
                    <a:pt x="176" y="320"/>
                    <a:pt x="171" y="316"/>
                    <a:pt x="171" y="311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95" y="194"/>
                    <a:pt x="95" y="194"/>
                    <a:pt x="95" y="194"/>
                  </a:cubicBezTo>
                  <a:cubicBezTo>
                    <a:pt x="94" y="199"/>
                    <a:pt x="90" y="202"/>
                    <a:pt x="85" y="202"/>
                  </a:cubicBezTo>
                  <a:cubicBezTo>
                    <a:pt x="81" y="203"/>
                    <a:pt x="76" y="200"/>
                    <a:pt x="75" y="195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49" y="169"/>
                    <a:pt x="46" y="170"/>
                    <a:pt x="42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4" y="170"/>
                    <a:pt x="0" y="166"/>
                    <a:pt x="0" y="160"/>
                  </a:cubicBezTo>
                  <a:cubicBezTo>
                    <a:pt x="0" y="154"/>
                    <a:pt x="4" y="149"/>
                    <a:pt x="10" y="149"/>
                  </a:cubicBezTo>
                  <a:cubicBezTo>
                    <a:pt x="37" y="149"/>
                    <a:pt x="37" y="149"/>
                    <a:pt x="37" y="149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7" y="118"/>
                    <a:pt x="61" y="117"/>
                    <a:pt x="65" y="117"/>
                  </a:cubicBezTo>
                  <a:cubicBezTo>
                    <a:pt x="69" y="118"/>
                    <a:pt x="72" y="120"/>
                    <a:pt x="74" y="12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8" y="3"/>
                    <a:pt x="123" y="0"/>
                    <a:pt x="128" y="0"/>
                  </a:cubicBezTo>
                  <a:cubicBezTo>
                    <a:pt x="133" y="0"/>
                    <a:pt x="137" y="3"/>
                    <a:pt x="138" y="8"/>
                  </a:cubicBezTo>
                  <a:cubicBezTo>
                    <a:pt x="182" y="253"/>
                    <a:pt x="182" y="253"/>
                    <a:pt x="182" y="253"/>
                  </a:cubicBezTo>
                  <a:cubicBezTo>
                    <a:pt x="213" y="104"/>
                    <a:pt x="213" y="104"/>
                    <a:pt x="213" y="104"/>
                  </a:cubicBezTo>
                  <a:cubicBezTo>
                    <a:pt x="214" y="99"/>
                    <a:pt x="218" y="96"/>
                    <a:pt x="223" y="96"/>
                  </a:cubicBezTo>
                  <a:cubicBezTo>
                    <a:pt x="228" y="95"/>
                    <a:pt x="232" y="98"/>
                    <a:pt x="234" y="103"/>
                  </a:cubicBezTo>
                  <a:cubicBezTo>
                    <a:pt x="254" y="164"/>
                    <a:pt x="254" y="164"/>
                    <a:pt x="254" y="164"/>
                  </a:cubicBezTo>
                  <a:cubicBezTo>
                    <a:pt x="256" y="157"/>
                    <a:pt x="256" y="157"/>
                    <a:pt x="256" y="157"/>
                  </a:cubicBezTo>
                  <a:cubicBezTo>
                    <a:pt x="257" y="152"/>
                    <a:pt x="261" y="149"/>
                    <a:pt x="266" y="149"/>
                  </a:cubicBezTo>
                  <a:cubicBezTo>
                    <a:pt x="309" y="149"/>
                    <a:pt x="309" y="149"/>
                    <a:pt x="309" y="149"/>
                  </a:cubicBezTo>
                  <a:cubicBezTo>
                    <a:pt x="315" y="149"/>
                    <a:pt x="320" y="154"/>
                    <a:pt x="320" y="160"/>
                  </a:cubicBezTo>
                  <a:cubicBezTo>
                    <a:pt x="320" y="166"/>
                    <a:pt x="315" y="170"/>
                    <a:pt x="309" y="170"/>
                  </a:cubicBezTo>
                  <a:cubicBezTo>
                    <a:pt x="275" y="170"/>
                    <a:pt x="275" y="170"/>
                    <a:pt x="275" y="170"/>
                  </a:cubicBezTo>
                  <a:cubicBezTo>
                    <a:pt x="266" y="205"/>
                    <a:pt x="266" y="205"/>
                    <a:pt x="266" y="205"/>
                  </a:cubicBezTo>
                  <a:cubicBezTo>
                    <a:pt x="265" y="210"/>
                    <a:pt x="261" y="213"/>
                    <a:pt x="256" y="213"/>
                  </a:cubicBezTo>
                  <a:cubicBezTo>
                    <a:pt x="251" y="213"/>
                    <a:pt x="247" y="210"/>
                    <a:pt x="246" y="206"/>
                  </a:cubicBezTo>
                  <a:cubicBezTo>
                    <a:pt x="226" y="147"/>
                    <a:pt x="226" y="147"/>
                    <a:pt x="226" y="147"/>
                  </a:cubicBezTo>
                  <a:cubicBezTo>
                    <a:pt x="191" y="311"/>
                    <a:pt x="191" y="311"/>
                    <a:pt x="191" y="311"/>
                  </a:cubicBezTo>
                  <a:cubicBezTo>
                    <a:pt x="190" y="316"/>
                    <a:pt x="186" y="320"/>
                    <a:pt x="181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254"/>
            <p:cNvSpPr>
              <a:spLocks noEditPoints="1"/>
            </p:cNvSpPr>
            <p:nvPr/>
          </p:nvSpPr>
          <p:spPr bwMode="auto">
            <a:xfrm>
              <a:off x="5024" y="7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0" name="Group 139"/>
          <p:cNvGrpSpPr>
            <a:grpSpLocks noChangeAspect="1"/>
          </p:cNvGrpSpPr>
          <p:nvPr/>
        </p:nvGrpSpPr>
        <p:grpSpPr bwMode="auto">
          <a:xfrm>
            <a:off x="1416568" y="3744415"/>
            <a:ext cx="369021" cy="369021"/>
            <a:chOff x="3098" y="379"/>
            <a:chExt cx="340" cy="340"/>
          </a:xfrm>
          <a:solidFill>
            <a:schemeClr val="accent2"/>
          </a:solidFill>
        </p:grpSpPr>
        <p:sp>
          <p:nvSpPr>
            <p:cNvPr id="231" name="Freeform 140"/>
            <p:cNvSpPr>
              <a:spLocks/>
            </p:cNvSpPr>
            <p:nvPr/>
          </p:nvSpPr>
          <p:spPr bwMode="auto">
            <a:xfrm>
              <a:off x="3218" y="577"/>
              <a:ext cx="99" cy="64"/>
            </a:xfrm>
            <a:custGeom>
              <a:avLst/>
              <a:gdLst>
                <a:gd name="T0" fmla="*/ 124 w 150"/>
                <a:gd name="T1" fmla="*/ 0 h 96"/>
                <a:gd name="T2" fmla="*/ 129 w 150"/>
                <a:gd name="T3" fmla="*/ 22 h 96"/>
                <a:gd name="T4" fmla="*/ 76 w 150"/>
                <a:gd name="T5" fmla="*/ 75 h 96"/>
                <a:gd name="T6" fmla="*/ 22 w 150"/>
                <a:gd name="T7" fmla="*/ 22 h 96"/>
                <a:gd name="T8" fmla="*/ 26 w 150"/>
                <a:gd name="T9" fmla="*/ 0 h 96"/>
                <a:gd name="T10" fmla="*/ 2 w 150"/>
                <a:gd name="T11" fmla="*/ 0 h 96"/>
                <a:gd name="T12" fmla="*/ 0 w 150"/>
                <a:gd name="T13" fmla="*/ 22 h 96"/>
                <a:gd name="T14" fmla="*/ 75 w 150"/>
                <a:gd name="T15" fmla="*/ 96 h 96"/>
                <a:gd name="T16" fmla="*/ 150 w 150"/>
                <a:gd name="T17" fmla="*/ 22 h 96"/>
                <a:gd name="T18" fmla="*/ 147 w 150"/>
                <a:gd name="T19" fmla="*/ 0 h 96"/>
                <a:gd name="T20" fmla="*/ 124 w 150"/>
                <a:gd name="T2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96">
                  <a:moveTo>
                    <a:pt x="124" y="0"/>
                  </a:moveTo>
                  <a:cubicBezTo>
                    <a:pt x="127" y="7"/>
                    <a:pt x="129" y="14"/>
                    <a:pt x="129" y="22"/>
                  </a:cubicBezTo>
                  <a:cubicBezTo>
                    <a:pt x="129" y="51"/>
                    <a:pt x="105" y="75"/>
                    <a:pt x="76" y="75"/>
                  </a:cubicBezTo>
                  <a:cubicBezTo>
                    <a:pt x="46" y="75"/>
                    <a:pt x="22" y="51"/>
                    <a:pt x="22" y="22"/>
                  </a:cubicBezTo>
                  <a:cubicBezTo>
                    <a:pt x="22" y="14"/>
                    <a:pt x="24" y="7"/>
                    <a:pt x="2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6"/>
                    <a:pt x="0" y="13"/>
                    <a:pt x="0" y="22"/>
                  </a:cubicBezTo>
                  <a:cubicBezTo>
                    <a:pt x="0" y="63"/>
                    <a:pt x="34" y="96"/>
                    <a:pt x="75" y="96"/>
                  </a:cubicBezTo>
                  <a:cubicBezTo>
                    <a:pt x="116" y="96"/>
                    <a:pt x="150" y="63"/>
                    <a:pt x="150" y="22"/>
                  </a:cubicBezTo>
                  <a:cubicBezTo>
                    <a:pt x="150" y="14"/>
                    <a:pt x="149" y="7"/>
                    <a:pt x="147" y="0"/>
                  </a:cubicBezTo>
                  <a:lnTo>
                    <a:pt x="1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141"/>
            <p:cNvSpPr>
              <a:spLocks/>
            </p:cNvSpPr>
            <p:nvPr/>
          </p:nvSpPr>
          <p:spPr bwMode="auto">
            <a:xfrm>
              <a:off x="3247" y="577"/>
              <a:ext cx="42" cy="36"/>
            </a:xfrm>
            <a:custGeom>
              <a:avLst/>
              <a:gdLst>
                <a:gd name="T0" fmla="*/ 64 w 64"/>
                <a:gd name="T1" fmla="*/ 22 h 54"/>
                <a:gd name="T2" fmla="*/ 55 w 64"/>
                <a:gd name="T3" fmla="*/ 0 h 54"/>
                <a:gd name="T4" fmla="*/ 6 w 64"/>
                <a:gd name="T5" fmla="*/ 0 h 54"/>
                <a:gd name="T6" fmla="*/ 0 w 64"/>
                <a:gd name="T7" fmla="*/ 22 h 54"/>
                <a:gd name="T8" fmla="*/ 32 w 64"/>
                <a:gd name="T9" fmla="*/ 54 h 54"/>
                <a:gd name="T10" fmla="*/ 64 w 64"/>
                <a:gd name="T11" fmla="*/ 2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54">
                  <a:moveTo>
                    <a:pt x="64" y="22"/>
                  </a:moveTo>
                  <a:cubicBezTo>
                    <a:pt x="64" y="14"/>
                    <a:pt x="61" y="6"/>
                    <a:pt x="5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5"/>
                    <a:pt x="0" y="13"/>
                    <a:pt x="0" y="22"/>
                  </a:cubicBezTo>
                  <a:cubicBezTo>
                    <a:pt x="0" y="39"/>
                    <a:pt x="14" y="54"/>
                    <a:pt x="32" y="54"/>
                  </a:cubicBezTo>
                  <a:cubicBezTo>
                    <a:pt x="49" y="54"/>
                    <a:pt x="64" y="39"/>
                    <a:pt x="6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142"/>
            <p:cNvSpPr>
              <a:spLocks/>
            </p:cNvSpPr>
            <p:nvPr/>
          </p:nvSpPr>
          <p:spPr bwMode="auto">
            <a:xfrm>
              <a:off x="3247" y="457"/>
              <a:ext cx="42" cy="77"/>
            </a:xfrm>
            <a:custGeom>
              <a:avLst/>
              <a:gdLst>
                <a:gd name="T0" fmla="*/ 21 w 64"/>
                <a:gd name="T1" fmla="*/ 91 h 117"/>
                <a:gd name="T2" fmla="*/ 15 w 64"/>
                <a:gd name="T3" fmla="*/ 117 h 117"/>
                <a:gd name="T4" fmla="*/ 49 w 64"/>
                <a:gd name="T5" fmla="*/ 117 h 117"/>
                <a:gd name="T6" fmla="*/ 42 w 64"/>
                <a:gd name="T7" fmla="*/ 91 h 117"/>
                <a:gd name="T8" fmla="*/ 55 w 64"/>
                <a:gd name="T9" fmla="*/ 54 h 117"/>
                <a:gd name="T10" fmla="*/ 64 w 64"/>
                <a:gd name="T11" fmla="*/ 32 h 117"/>
                <a:gd name="T12" fmla="*/ 32 w 64"/>
                <a:gd name="T13" fmla="*/ 0 h 117"/>
                <a:gd name="T14" fmla="*/ 0 w 64"/>
                <a:gd name="T15" fmla="*/ 32 h 117"/>
                <a:gd name="T16" fmla="*/ 8 w 64"/>
                <a:gd name="T17" fmla="*/ 54 h 117"/>
                <a:gd name="T18" fmla="*/ 21 w 64"/>
                <a:gd name="T19" fmla="*/ 9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117">
                  <a:moveTo>
                    <a:pt x="21" y="91"/>
                  </a:moveTo>
                  <a:cubicBezTo>
                    <a:pt x="21" y="101"/>
                    <a:pt x="19" y="110"/>
                    <a:pt x="15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5" y="110"/>
                    <a:pt x="42" y="101"/>
                    <a:pt x="42" y="91"/>
                  </a:cubicBezTo>
                  <a:cubicBezTo>
                    <a:pt x="42" y="75"/>
                    <a:pt x="49" y="63"/>
                    <a:pt x="55" y="54"/>
                  </a:cubicBezTo>
                  <a:cubicBezTo>
                    <a:pt x="61" y="46"/>
                    <a:pt x="64" y="40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0"/>
                    <a:pt x="3" y="46"/>
                    <a:pt x="8" y="54"/>
                  </a:cubicBezTo>
                  <a:cubicBezTo>
                    <a:pt x="15" y="63"/>
                    <a:pt x="21" y="75"/>
                    <a:pt x="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143"/>
            <p:cNvSpPr>
              <a:spLocks noEditPoints="1"/>
            </p:cNvSpPr>
            <p:nvPr/>
          </p:nvSpPr>
          <p:spPr bwMode="auto">
            <a:xfrm>
              <a:off x="3098" y="379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288 h 512"/>
                <a:gd name="T12" fmla="*/ 362 w 512"/>
                <a:gd name="T13" fmla="*/ 298 h 512"/>
                <a:gd name="T14" fmla="*/ 349 w 512"/>
                <a:gd name="T15" fmla="*/ 298 h 512"/>
                <a:gd name="T16" fmla="*/ 351 w 512"/>
                <a:gd name="T17" fmla="*/ 320 h 512"/>
                <a:gd name="T18" fmla="*/ 255 w 512"/>
                <a:gd name="T19" fmla="*/ 416 h 512"/>
                <a:gd name="T20" fmla="*/ 159 w 512"/>
                <a:gd name="T21" fmla="*/ 320 h 512"/>
                <a:gd name="T22" fmla="*/ 160 w 512"/>
                <a:gd name="T23" fmla="*/ 298 h 512"/>
                <a:gd name="T24" fmla="*/ 149 w 512"/>
                <a:gd name="T25" fmla="*/ 298 h 512"/>
                <a:gd name="T26" fmla="*/ 138 w 512"/>
                <a:gd name="T27" fmla="*/ 288 h 512"/>
                <a:gd name="T28" fmla="*/ 138 w 512"/>
                <a:gd name="T29" fmla="*/ 245 h 512"/>
                <a:gd name="T30" fmla="*/ 149 w 512"/>
                <a:gd name="T31" fmla="*/ 234 h 512"/>
                <a:gd name="T32" fmla="*/ 208 w 512"/>
                <a:gd name="T33" fmla="*/ 234 h 512"/>
                <a:gd name="T34" fmla="*/ 224 w 512"/>
                <a:gd name="T35" fmla="*/ 208 h 512"/>
                <a:gd name="T36" fmla="*/ 215 w 512"/>
                <a:gd name="T37" fmla="*/ 183 h 512"/>
                <a:gd name="T38" fmla="*/ 202 w 512"/>
                <a:gd name="T39" fmla="*/ 149 h 512"/>
                <a:gd name="T40" fmla="*/ 256 w 512"/>
                <a:gd name="T41" fmla="*/ 96 h 512"/>
                <a:gd name="T42" fmla="*/ 309 w 512"/>
                <a:gd name="T43" fmla="*/ 149 h 512"/>
                <a:gd name="T44" fmla="*/ 296 w 512"/>
                <a:gd name="T45" fmla="*/ 183 h 512"/>
                <a:gd name="T46" fmla="*/ 288 w 512"/>
                <a:gd name="T47" fmla="*/ 208 h 512"/>
                <a:gd name="T48" fmla="*/ 304 w 512"/>
                <a:gd name="T49" fmla="*/ 234 h 512"/>
                <a:gd name="T50" fmla="*/ 362 w 512"/>
                <a:gd name="T51" fmla="*/ 234 h 512"/>
                <a:gd name="T52" fmla="*/ 373 w 512"/>
                <a:gd name="T53" fmla="*/ 245 h 512"/>
                <a:gd name="T54" fmla="*/ 373 w 512"/>
                <a:gd name="T55" fmla="*/ 28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288"/>
                  </a:moveTo>
                  <a:cubicBezTo>
                    <a:pt x="373" y="294"/>
                    <a:pt x="368" y="298"/>
                    <a:pt x="362" y="298"/>
                  </a:cubicBezTo>
                  <a:cubicBezTo>
                    <a:pt x="349" y="298"/>
                    <a:pt x="349" y="298"/>
                    <a:pt x="349" y="298"/>
                  </a:cubicBezTo>
                  <a:cubicBezTo>
                    <a:pt x="351" y="305"/>
                    <a:pt x="351" y="312"/>
                    <a:pt x="351" y="320"/>
                  </a:cubicBezTo>
                  <a:cubicBezTo>
                    <a:pt x="351" y="373"/>
                    <a:pt x="308" y="416"/>
                    <a:pt x="255" y="416"/>
                  </a:cubicBezTo>
                  <a:cubicBezTo>
                    <a:pt x="202" y="416"/>
                    <a:pt x="159" y="373"/>
                    <a:pt x="159" y="320"/>
                  </a:cubicBezTo>
                  <a:cubicBezTo>
                    <a:pt x="159" y="312"/>
                    <a:pt x="159" y="305"/>
                    <a:pt x="160" y="298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43" y="298"/>
                    <a:pt x="138" y="294"/>
                    <a:pt x="138" y="288"/>
                  </a:cubicBezTo>
                  <a:cubicBezTo>
                    <a:pt x="138" y="245"/>
                    <a:pt x="138" y="245"/>
                    <a:pt x="138" y="245"/>
                  </a:cubicBezTo>
                  <a:cubicBezTo>
                    <a:pt x="138" y="239"/>
                    <a:pt x="143" y="234"/>
                    <a:pt x="149" y="234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5" y="234"/>
                    <a:pt x="224" y="223"/>
                    <a:pt x="224" y="208"/>
                  </a:cubicBezTo>
                  <a:cubicBezTo>
                    <a:pt x="224" y="198"/>
                    <a:pt x="220" y="191"/>
                    <a:pt x="215" y="183"/>
                  </a:cubicBezTo>
                  <a:cubicBezTo>
                    <a:pt x="209" y="174"/>
                    <a:pt x="202" y="164"/>
                    <a:pt x="202" y="149"/>
                  </a:cubicBezTo>
                  <a:cubicBezTo>
                    <a:pt x="202" y="120"/>
                    <a:pt x="226" y="96"/>
                    <a:pt x="256" y="96"/>
                  </a:cubicBezTo>
                  <a:cubicBezTo>
                    <a:pt x="285" y="96"/>
                    <a:pt x="309" y="120"/>
                    <a:pt x="309" y="149"/>
                  </a:cubicBezTo>
                  <a:cubicBezTo>
                    <a:pt x="309" y="164"/>
                    <a:pt x="303" y="174"/>
                    <a:pt x="296" y="183"/>
                  </a:cubicBezTo>
                  <a:cubicBezTo>
                    <a:pt x="291" y="191"/>
                    <a:pt x="288" y="198"/>
                    <a:pt x="288" y="208"/>
                  </a:cubicBezTo>
                  <a:cubicBezTo>
                    <a:pt x="288" y="223"/>
                    <a:pt x="296" y="234"/>
                    <a:pt x="304" y="234"/>
                  </a:cubicBezTo>
                  <a:cubicBezTo>
                    <a:pt x="362" y="234"/>
                    <a:pt x="362" y="234"/>
                    <a:pt x="362" y="234"/>
                  </a:cubicBezTo>
                  <a:cubicBezTo>
                    <a:pt x="368" y="234"/>
                    <a:pt x="373" y="239"/>
                    <a:pt x="373" y="245"/>
                  </a:cubicBezTo>
                  <a:lnTo>
                    <a:pt x="373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Rectangle 144"/>
            <p:cNvSpPr>
              <a:spLocks noChangeArrowheads="1"/>
            </p:cNvSpPr>
            <p:nvPr/>
          </p:nvSpPr>
          <p:spPr bwMode="auto">
            <a:xfrm>
              <a:off x="3204" y="549"/>
              <a:ext cx="128" cy="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6" name="Group 147"/>
          <p:cNvGrpSpPr>
            <a:grpSpLocks noChangeAspect="1"/>
          </p:cNvGrpSpPr>
          <p:nvPr/>
        </p:nvGrpSpPr>
        <p:grpSpPr bwMode="auto">
          <a:xfrm>
            <a:off x="1915514" y="3744415"/>
            <a:ext cx="369021" cy="369021"/>
            <a:chOff x="3472" y="384"/>
            <a:chExt cx="340" cy="340"/>
          </a:xfrm>
          <a:solidFill>
            <a:schemeClr val="accent2"/>
          </a:solidFill>
        </p:grpSpPr>
        <p:sp>
          <p:nvSpPr>
            <p:cNvPr id="237" name="Freeform 148"/>
            <p:cNvSpPr>
              <a:spLocks noEditPoints="1"/>
            </p:cNvSpPr>
            <p:nvPr/>
          </p:nvSpPr>
          <p:spPr bwMode="auto">
            <a:xfrm>
              <a:off x="3472" y="3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149"/>
            <p:cNvSpPr>
              <a:spLocks noEditPoints="1"/>
            </p:cNvSpPr>
            <p:nvPr/>
          </p:nvSpPr>
          <p:spPr bwMode="auto">
            <a:xfrm>
              <a:off x="3564" y="448"/>
              <a:ext cx="156" cy="212"/>
            </a:xfrm>
            <a:custGeom>
              <a:avLst/>
              <a:gdLst>
                <a:gd name="T0" fmla="*/ 224 w 235"/>
                <a:gd name="T1" fmla="*/ 138 h 320"/>
                <a:gd name="T2" fmla="*/ 166 w 235"/>
                <a:gd name="T3" fmla="*/ 138 h 320"/>
                <a:gd name="T4" fmla="*/ 150 w 235"/>
                <a:gd name="T5" fmla="*/ 112 h 320"/>
                <a:gd name="T6" fmla="*/ 158 w 235"/>
                <a:gd name="T7" fmla="*/ 87 h 320"/>
                <a:gd name="T8" fmla="*/ 171 w 235"/>
                <a:gd name="T9" fmla="*/ 53 h 320"/>
                <a:gd name="T10" fmla="*/ 118 w 235"/>
                <a:gd name="T11" fmla="*/ 0 h 320"/>
                <a:gd name="T12" fmla="*/ 64 w 235"/>
                <a:gd name="T13" fmla="*/ 53 h 320"/>
                <a:gd name="T14" fmla="*/ 77 w 235"/>
                <a:gd name="T15" fmla="*/ 87 h 320"/>
                <a:gd name="T16" fmla="*/ 86 w 235"/>
                <a:gd name="T17" fmla="*/ 112 h 320"/>
                <a:gd name="T18" fmla="*/ 70 w 235"/>
                <a:gd name="T19" fmla="*/ 138 h 320"/>
                <a:gd name="T20" fmla="*/ 11 w 235"/>
                <a:gd name="T21" fmla="*/ 138 h 320"/>
                <a:gd name="T22" fmla="*/ 0 w 235"/>
                <a:gd name="T23" fmla="*/ 149 h 320"/>
                <a:gd name="T24" fmla="*/ 0 w 235"/>
                <a:gd name="T25" fmla="*/ 192 h 320"/>
                <a:gd name="T26" fmla="*/ 11 w 235"/>
                <a:gd name="T27" fmla="*/ 202 h 320"/>
                <a:gd name="T28" fmla="*/ 22 w 235"/>
                <a:gd name="T29" fmla="*/ 202 h 320"/>
                <a:gd name="T30" fmla="*/ 21 w 235"/>
                <a:gd name="T31" fmla="*/ 224 h 320"/>
                <a:gd name="T32" fmla="*/ 117 w 235"/>
                <a:gd name="T33" fmla="*/ 320 h 320"/>
                <a:gd name="T34" fmla="*/ 213 w 235"/>
                <a:gd name="T35" fmla="*/ 224 h 320"/>
                <a:gd name="T36" fmla="*/ 211 w 235"/>
                <a:gd name="T37" fmla="*/ 202 h 320"/>
                <a:gd name="T38" fmla="*/ 224 w 235"/>
                <a:gd name="T39" fmla="*/ 202 h 320"/>
                <a:gd name="T40" fmla="*/ 235 w 235"/>
                <a:gd name="T41" fmla="*/ 192 h 320"/>
                <a:gd name="T42" fmla="*/ 235 w 235"/>
                <a:gd name="T43" fmla="*/ 149 h 320"/>
                <a:gd name="T44" fmla="*/ 224 w 235"/>
                <a:gd name="T45" fmla="*/ 138 h 320"/>
                <a:gd name="T46" fmla="*/ 94 w 235"/>
                <a:gd name="T47" fmla="*/ 75 h 320"/>
                <a:gd name="T48" fmla="*/ 86 w 235"/>
                <a:gd name="T49" fmla="*/ 53 h 320"/>
                <a:gd name="T50" fmla="*/ 118 w 235"/>
                <a:gd name="T51" fmla="*/ 21 h 320"/>
                <a:gd name="T52" fmla="*/ 150 w 235"/>
                <a:gd name="T53" fmla="*/ 53 h 320"/>
                <a:gd name="T54" fmla="*/ 141 w 235"/>
                <a:gd name="T55" fmla="*/ 75 h 320"/>
                <a:gd name="T56" fmla="*/ 128 w 235"/>
                <a:gd name="T57" fmla="*/ 112 h 320"/>
                <a:gd name="T58" fmla="*/ 135 w 235"/>
                <a:gd name="T59" fmla="*/ 138 h 320"/>
                <a:gd name="T60" fmla="*/ 101 w 235"/>
                <a:gd name="T61" fmla="*/ 138 h 320"/>
                <a:gd name="T62" fmla="*/ 107 w 235"/>
                <a:gd name="T63" fmla="*/ 112 h 320"/>
                <a:gd name="T64" fmla="*/ 94 w 235"/>
                <a:gd name="T65" fmla="*/ 75 h 320"/>
                <a:gd name="T66" fmla="*/ 192 w 235"/>
                <a:gd name="T67" fmla="*/ 224 h 320"/>
                <a:gd name="T68" fmla="*/ 117 w 235"/>
                <a:gd name="T69" fmla="*/ 298 h 320"/>
                <a:gd name="T70" fmla="*/ 42 w 235"/>
                <a:gd name="T71" fmla="*/ 224 h 320"/>
                <a:gd name="T72" fmla="*/ 44 w 235"/>
                <a:gd name="T73" fmla="*/ 202 h 320"/>
                <a:gd name="T74" fmla="*/ 68 w 235"/>
                <a:gd name="T75" fmla="*/ 202 h 320"/>
                <a:gd name="T76" fmla="*/ 64 w 235"/>
                <a:gd name="T77" fmla="*/ 224 h 320"/>
                <a:gd name="T78" fmla="*/ 118 w 235"/>
                <a:gd name="T79" fmla="*/ 277 h 320"/>
                <a:gd name="T80" fmla="*/ 171 w 235"/>
                <a:gd name="T81" fmla="*/ 224 h 320"/>
                <a:gd name="T82" fmla="*/ 166 w 235"/>
                <a:gd name="T83" fmla="*/ 202 h 320"/>
                <a:gd name="T84" fmla="*/ 189 w 235"/>
                <a:gd name="T85" fmla="*/ 202 h 320"/>
                <a:gd name="T86" fmla="*/ 192 w 235"/>
                <a:gd name="T87" fmla="*/ 224 h 320"/>
                <a:gd name="T88" fmla="*/ 141 w 235"/>
                <a:gd name="T89" fmla="*/ 202 h 320"/>
                <a:gd name="T90" fmla="*/ 150 w 235"/>
                <a:gd name="T91" fmla="*/ 224 h 320"/>
                <a:gd name="T92" fmla="*/ 118 w 235"/>
                <a:gd name="T93" fmla="*/ 256 h 320"/>
                <a:gd name="T94" fmla="*/ 86 w 235"/>
                <a:gd name="T95" fmla="*/ 224 h 320"/>
                <a:gd name="T96" fmla="*/ 92 w 235"/>
                <a:gd name="T97" fmla="*/ 202 h 320"/>
                <a:gd name="T98" fmla="*/ 141 w 235"/>
                <a:gd name="T99" fmla="*/ 202 h 320"/>
                <a:gd name="T100" fmla="*/ 214 w 235"/>
                <a:gd name="T101" fmla="*/ 181 h 320"/>
                <a:gd name="T102" fmla="*/ 22 w 235"/>
                <a:gd name="T103" fmla="*/ 181 h 320"/>
                <a:gd name="T104" fmla="*/ 22 w 235"/>
                <a:gd name="T105" fmla="*/ 160 h 320"/>
                <a:gd name="T106" fmla="*/ 214 w 235"/>
                <a:gd name="T107" fmla="*/ 160 h 320"/>
                <a:gd name="T108" fmla="*/ 214 w 235"/>
                <a:gd name="T109" fmla="*/ 18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5" h="320">
                  <a:moveTo>
                    <a:pt x="224" y="138"/>
                  </a:moveTo>
                  <a:cubicBezTo>
                    <a:pt x="166" y="138"/>
                    <a:pt x="166" y="138"/>
                    <a:pt x="166" y="138"/>
                  </a:cubicBezTo>
                  <a:cubicBezTo>
                    <a:pt x="158" y="138"/>
                    <a:pt x="150" y="127"/>
                    <a:pt x="150" y="112"/>
                  </a:cubicBezTo>
                  <a:cubicBezTo>
                    <a:pt x="150" y="102"/>
                    <a:pt x="153" y="95"/>
                    <a:pt x="158" y="87"/>
                  </a:cubicBezTo>
                  <a:cubicBezTo>
                    <a:pt x="165" y="78"/>
                    <a:pt x="171" y="68"/>
                    <a:pt x="171" y="53"/>
                  </a:cubicBezTo>
                  <a:cubicBezTo>
                    <a:pt x="171" y="24"/>
                    <a:pt x="147" y="0"/>
                    <a:pt x="118" y="0"/>
                  </a:cubicBezTo>
                  <a:cubicBezTo>
                    <a:pt x="88" y="0"/>
                    <a:pt x="64" y="24"/>
                    <a:pt x="64" y="53"/>
                  </a:cubicBezTo>
                  <a:cubicBezTo>
                    <a:pt x="64" y="68"/>
                    <a:pt x="71" y="78"/>
                    <a:pt x="77" y="87"/>
                  </a:cubicBezTo>
                  <a:cubicBezTo>
                    <a:pt x="82" y="95"/>
                    <a:pt x="86" y="102"/>
                    <a:pt x="86" y="112"/>
                  </a:cubicBezTo>
                  <a:cubicBezTo>
                    <a:pt x="86" y="127"/>
                    <a:pt x="77" y="138"/>
                    <a:pt x="70" y="138"/>
                  </a:cubicBezTo>
                  <a:cubicBezTo>
                    <a:pt x="11" y="138"/>
                    <a:pt x="11" y="138"/>
                    <a:pt x="11" y="138"/>
                  </a:cubicBezTo>
                  <a:cubicBezTo>
                    <a:pt x="5" y="138"/>
                    <a:pt x="0" y="143"/>
                    <a:pt x="0" y="149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5" y="202"/>
                    <a:pt x="11" y="202"/>
                  </a:cubicBezTo>
                  <a:cubicBezTo>
                    <a:pt x="22" y="202"/>
                    <a:pt x="22" y="202"/>
                    <a:pt x="22" y="202"/>
                  </a:cubicBezTo>
                  <a:cubicBezTo>
                    <a:pt x="21" y="209"/>
                    <a:pt x="21" y="216"/>
                    <a:pt x="21" y="224"/>
                  </a:cubicBezTo>
                  <a:cubicBezTo>
                    <a:pt x="21" y="277"/>
                    <a:pt x="64" y="320"/>
                    <a:pt x="117" y="320"/>
                  </a:cubicBezTo>
                  <a:cubicBezTo>
                    <a:pt x="170" y="320"/>
                    <a:pt x="213" y="277"/>
                    <a:pt x="213" y="224"/>
                  </a:cubicBezTo>
                  <a:cubicBezTo>
                    <a:pt x="213" y="216"/>
                    <a:pt x="213" y="209"/>
                    <a:pt x="211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30" y="202"/>
                    <a:pt x="235" y="198"/>
                    <a:pt x="235" y="192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35" y="143"/>
                    <a:pt x="230" y="138"/>
                    <a:pt x="224" y="138"/>
                  </a:cubicBezTo>
                  <a:close/>
                  <a:moveTo>
                    <a:pt x="94" y="75"/>
                  </a:moveTo>
                  <a:cubicBezTo>
                    <a:pt x="89" y="67"/>
                    <a:pt x="86" y="61"/>
                    <a:pt x="86" y="53"/>
                  </a:cubicBezTo>
                  <a:cubicBezTo>
                    <a:pt x="86" y="35"/>
                    <a:pt x="100" y="21"/>
                    <a:pt x="118" y="21"/>
                  </a:cubicBezTo>
                  <a:cubicBezTo>
                    <a:pt x="135" y="21"/>
                    <a:pt x="150" y="35"/>
                    <a:pt x="150" y="53"/>
                  </a:cubicBezTo>
                  <a:cubicBezTo>
                    <a:pt x="150" y="61"/>
                    <a:pt x="147" y="67"/>
                    <a:pt x="141" y="75"/>
                  </a:cubicBezTo>
                  <a:cubicBezTo>
                    <a:pt x="135" y="84"/>
                    <a:pt x="128" y="96"/>
                    <a:pt x="128" y="112"/>
                  </a:cubicBezTo>
                  <a:cubicBezTo>
                    <a:pt x="128" y="122"/>
                    <a:pt x="131" y="131"/>
                    <a:pt x="135" y="138"/>
                  </a:cubicBezTo>
                  <a:cubicBezTo>
                    <a:pt x="101" y="138"/>
                    <a:pt x="101" y="138"/>
                    <a:pt x="101" y="138"/>
                  </a:cubicBezTo>
                  <a:cubicBezTo>
                    <a:pt x="105" y="131"/>
                    <a:pt x="107" y="122"/>
                    <a:pt x="107" y="112"/>
                  </a:cubicBezTo>
                  <a:cubicBezTo>
                    <a:pt x="107" y="96"/>
                    <a:pt x="101" y="84"/>
                    <a:pt x="94" y="75"/>
                  </a:cubicBezTo>
                  <a:close/>
                  <a:moveTo>
                    <a:pt x="192" y="224"/>
                  </a:moveTo>
                  <a:cubicBezTo>
                    <a:pt x="192" y="265"/>
                    <a:pt x="158" y="298"/>
                    <a:pt x="117" y="298"/>
                  </a:cubicBezTo>
                  <a:cubicBezTo>
                    <a:pt x="76" y="298"/>
                    <a:pt x="42" y="265"/>
                    <a:pt x="42" y="224"/>
                  </a:cubicBezTo>
                  <a:cubicBezTo>
                    <a:pt x="42" y="215"/>
                    <a:pt x="43" y="208"/>
                    <a:pt x="44" y="202"/>
                  </a:cubicBezTo>
                  <a:cubicBezTo>
                    <a:pt x="68" y="202"/>
                    <a:pt x="68" y="202"/>
                    <a:pt x="68" y="202"/>
                  </a:cubicBezTo>
                  <a:cubicBezTo>
                    <a:pt x="66" y="209"/>
                    <a:pt x="64" y="216"/>
                    <a:pt x="64" y="224"/>
                  </a:cubicBezTo>
                  <a:cubicBezTo>
                    <a:pt x="64" y="253"/>
                    <a:pt x="88" y="277"/>
                    <a:pt x="118" y="277"/>
                  </a:cubicBezTo>
                  <a:cubicBezTo>
                    <a:pt x="147" y="277"/>
                    <a:pt x="171" y="253"/>
                    <a:pt x="171" y="224"/>
                  </a:cubicBezTo>
                  <a:cubicBezTo>
                    <a:pt x="171" y="216"/>
                    <a:pt x="169" y="209"/>
                    <a:pt x="166" y="202"/>
                  </a:cubicBezTo>
                  <a:cubicBezTo>
                    <a:pt x="189" y="202"/>
                    <a:pt x="189" y="202"/>
                    <a:pt x="189" y="202"/>
                  </a:cubicBezTo>
                  <a:cubicBezTo>
                    <a:pt x="191" y="209"/>
                    <a:pt x="192" y="216"/>
                    <a:pt x="192" y="224"/>
                  </a:cubicBezTo>
                  <a:close/>
                  <a:moveTo>
                    <a:pt x="141" y="202"/>
                  </a:moveTo>
                  <a:cubicBezTo>
                    <a:pt x="147" y="208"/>
                    <a:pt x="150" y="216"/>
                    <a:pt x="150" y="224"/>
                  </a:cubicBezTo>
                  <a:cubicBezTo>
                    <a:pt x="150" y="241"/>
                    <a:pt x="135" y="256"/>
                    <a:pt x="118" y="256"/>
                  </a:cubicBezTo>
                  <a:cubicBezTo>
                    <a:pt x="100" y="256"/>
                    <a:pt x="86" y="241"/>
                    <a:pt x="86" y="224"/>
                  </a:cubicBezTo>
                  <a:cubicBezTo>
                    <a:pt x="86" y="215"/>
                    <a:pt x="88" y="207"/>
                    <a:pt x="92" y="202"/>
                  </a:cubicBezTo>
                  <a:lnTo>
                    <a:pt x="141" y="202"/>
                  </a:lnTo>
                  <a:close/>
                  <a:moveTo>
                    <a:pt x="214" y="181"/>
                  </a:moveTo>
                  <a:cubicBezTo>
                    <a:pt x="22" y="181"/>
                    <a:pt x="22" y="181"/>
                    <a:pt x="22" y="181"/>
                  </a:cubicBezTo>
                  <a:cubicBezTo>
                    <a:pt x="22" y="160"/>
                    <a:pt x="22" y="160"/>
                    <a:pt x="22" y="160"/>
                  </a:cubicBezTo>
                  <a:cubicBezTo>
                    <a:pt x="214" y="160"/>
                    <a:pt x="214" y="160"/>
                    <a:pt x="214" y="160"/>
                  </a:cubicBezTo>
                  <a:lnTo>
                    <a:pt x="214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9" name="Freeform 624"/>
          <p:cNvSpPr>
            <a:spLocks noChangeAspect="1" noEditPoints="1"/>
          </p:cNvSpPr>
          <p:nvPr/>
        </p:nvSpPr>
        <p:spPr bwMode="auto">
          <a:xfrm>
            <a:off x="9391307" y="2916610"/>
            <a:ext cx="367982" cy="367982"/>
          </a:xfrm>
          <a:custGeom>
            <a:avLst/>
            <a:gdLst>
              <a:gd name="T0" fmla="*/ 379 w 512"/>
              <a:gd name="T1" fmla="*/ 223 h 512"/>
              <a:gd name="T2" fmla="*/ 353 w 512"/>
              <a:gd name="T3" fmla="*/ 181 h 512"/>
              <a:gd name="T4" fmla="*/ 314 w 512"/>
              <a:gd name="T5" fmla="*/ 149 h 512"/>
              <a:gd name="T6" fmla="*/ 284 w 512"/>
              <a:gd name="T7" fmla="*/ 151 h 512"/>
              <a:gd name="T8" fmla="*/ 228 w 512"/>
              <a:gd name="T9" fmla="*/ 151 h 512"/>
              <a:gd name="T10" fmla="*/ 176 w 512"/>
              <a:gd name="T11" fmla="*/ 160 h 512"/>
              <a:gd name="T12" fmla="*/ 144 w 512"/>
              <a:gd name="T13" fmla="*/ 206 h 512"/>
              <a:gd name="T14" fmla="*/ 181 w 512"/>
              <a:gd name="T15" fmla="*/ 282 h 512"/>
              <a:gd name="T16" fmla="*/ 239 w 512"/>
              <a:gd name="T17" fmla="*/ 288 h 512"/>
              <a:gd name="T18" fmla="*/ 279 w 512"/>
              <a:gd name="T19" fmla="*/ 309 h 512"/>
              <a:gd name="T20" fmla="*/ 332 w 512"/>
              <a:gd name="T21" fmla="*/ 373 h 512"/>
              <a:gd name="T22" fmla="*/ 370 w 512"/>
              <a:gd name="T23" fmla="*/ 302 h 512"/>
              <a:gd name="T24" fmla="*/ 394 w 512"/>
              <a:gd name="T25" fmla="*/ 261 h 512"/>
              <a:gd name="T26" fmla="*/ 185 w 512"/>
              <a:gd name="T27" fmla="*/ 242 h 512"/>
              <a:gd name="T28" fmla="*/ 140 w 512"/>
              <a:gd name="T29" fmla="*/ 251 h 512"/>
              <a:gd name="T30" fmla="*/ 172 w 512"/>
              <a:gd name="T31" fmla="*/ 197 h 512"/>
              <a:gd name="T32" fmla="*/ 202 w 512"/>
              <a:gd name="T33" fmla="*/ 233 h 512"/>
              <a:gd name="T34" fmla="*/ 234 w 512"/>
              <a:gd name="T35" fmla="*/ 185 h 512"/>
              <a:gd name="T36" fmla="*/ 255 w 512"/>
              <a:gd name="T37" fmla="*/ 177 h 512"/>
              <a:gd name="T38" fmla="*/ 259 w 512"/>
              <a:gd name="T39" fmla="*/ 198 h 512"/>
              <a:gd name="T40" fmla="*/ 234 w 512"/>
              <a:gd name="T41" fmla="*/ 213 h 512"/>
              <a:gd name="T42" fmla="*/ 284 w 512"/>
              <a:gd name="T43" fmla="*/ 248 h 512"/>
              <a:gd name="T44" fmla="*/ 273 w 512"/>
              <a:gd name="T45" fmla="*/ 266 h 512"/>
              <a:gd name="T46" fmla="*/ 230 w 512"/>
              <a:gd name="T47" fmla="*/ 246 h 512"/>
              <a:gd name="T48" fmla="*/ 283 w 512"/>
              <a:gd name="T49" fmla="*/ 215 h 512"/>
              <a:gd name="T50" fmla="*/ 320 w 512"/>
              <a:gd name="T51" fmla="*/ 192 h 512"/>
              <a:gd name="T52" fmla="*/ 347 w 512"/>
              <a:gd name="T53" fmla="*/ 233 h 512"/>
              <a:gd name="T54" fmla="*/ 318 w 512"/>
              <a:gd name="T55" fmla="*/ 213 h 512"/>
              <a:gd name="T56" fmla="*/ 362 w 512"/>
              <a:gd name="T57" fmla="*/ 266 h 512"/>
              <a:gd name="T58" fmla="*/ 340 w 512"/>
              <a:gd name="T59" fmla="*/ 281 h 512"/>
              <a:gd name="T60" fmla="*/ 340 w 512"/>
              <a:gd name="T61" fmla="*/ 324 h 512"/>
              <a:gd name="T62" fmla="*/ 308 w 512"/>
              <a:gd name="T63" fmla="*/ 311 h 512"/>
              <a:gd name="T64" fmla="*/ 313 w 512"/>
              <a:gd name="T65" fmla="*/ 264 h 512"/>
              <a:gd name="T66" fmla="*/ 334 w 512"/>
              <a:gd name="T67" fmla="*/ 255 h 512"/>
              <a:gd name="T68" fmla="*/ 362 w 512"/>
              <a:gd name="T69" fmla="*/ 266 h 512"/>
              <a:gd name="T70" fmla="*/ 256 w 512"/>
              <a:gd name="T71" fmla="*/ 512 h 512"/>
              <a:gd name="T72" fmla="*/ 393 w 512"/>
              <a:gd name="T73" fmla="*/ 302 h 512"/>
              <a:gd name="T74" fmla="*/ 352 w 512"/>
              <a:gd name="T75" fmla="*/ 384 h 512"/>
              <a:gd name="T76" fmla="*/ 266 w 512"/>
              <a:gd name="T77" fmla="*/ 384 h 512"/>
              <a:gd name="T78" fmla="*/ 218 w 512"/>
              <a:gd name="T79" fmla="*/ 320 h 512"/>
              <a:gd name="T80" fmla="*/ 96 w 512"/>
              <a:gd name="T81" fmla="*/ 245 h 512"/>
              <a:gd name="T82" fmla="*/ 176 w 512"/>
              <a:gd name="T83" fmla="*/ 138 h 512"/>
              <a:gd name="T84" fmla="*/ 261 w 512"/>
              <a:gd name="T85" fmla="*/ 117 h 512"/>
              <a:gd name="T86" fmla="*/ 359 w 512"/>
              <a:gd name="T87" fmla="*/ 160 h 512"/>
              <a:gd name="T88" fmla="*/ 416 w 512"/>
              <a:gd name="T89" fmla="*/ 2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382" y="238"/>
                </a:moveTo>
                <a:cubicBezTo>
                  <a:pt x="379" y="237"/>
                  <a:pt x="377" y="234"/>
                  <a:pt x="377" y="231"/>
                </a:cubicBezTo>
                <a:cubicBezTo>
                  <a:pt x="376" y="229"/>
                  <a:pt x="377" y="226"/>
                  <a:pt x="379" y="223"/>
                </a:cubicBezTo>
                <a:cubicBezTo>
                  <a:pt x="382" y="219"/>
                  <a:pt x="384" y="213"/>
                  <a:pt x="384" y="208"/>
                </a:cubicBezTo>
                <a:cubicBezTo>
                  <a:pt x="384" y="193"/>
                  <a:pt x="372" y="181"/>
                  <a:pt x="357" y="181"/>
                </a:cubicBezTo>
                <a:cubicBezTo>
                  <a:pt x="356" y="181"/>
                  <a:pt x="354" y="181"/>
                  <a:pt x="353" y="181"/>
                </a:cubicBezTo>
                <a:cubicBezTo>
                  <a:pt x="350" y="182"/>
                  <a:pt x="347" y="181"/>
                  <a:pt x="345" y="179"/>
                </a:cubicBezTo>
                <a:cubicBezTo>
                  <a:pt x="342" y="178"/>
                  <a:pt x="341" y="175"/>
                  <a:pt x="341" y="172"/>
                </a:cubicBezTo>
                <a:cubicBezTo>
                  <a:pt x="339" y="159"/>
                  <a:pt x="328" y="149"/>
                  <a:pt x="314" y="149"/>
                </a:cubicBezTo>
                <a:cubicBezTo>
                  <a:pt x="309" y="149"/>
                  <a:pt x="303" y="151"/>
                  <a:pt x="299" y="154"/>
                </a:cubicBezTo>
                <a:cubicBezTo>
                  <a:pt x="296" y="156"/>
                  <a:pt x="293" y="156"/>
                  <a:pt x="291" y="156"/>
                </a:cubicBezTo>
                <a:cubicBezTo>
                  <a:pt x="288" y="155"/>
                  <a:pt x="285" y="154"/>
                  <a:pt x="284" y="151"/>
                </a:cubicBezTo>
                <a:cubicBezTo>
                  <a:pt x="279" y="143"/>
                  <a:pt x="270" y="138"/>
                  <a:pt x="261" y="138"/>
                </a:cubicBezTo>
                <a:cubicBezTo>
                  <a:pt x="253" y="138"/>
                  <a:pt x="246" y="142"/>
                  <a:pt x="241" y="148"/>
                </a:cubicBezTo>
                <a:cubicBezTo>
                  <a:pt x="238" y="152"/>
                  <a:pt x="233" y="153"/>
                  <a:pt x="228" y="151"/>
                </a:cubicBezTo>
                <a:cubicBezTo>
                  <a:pt x="218" y="147"/>
                  <a:pt x="205" y="150"/>
                  <a:pt x="198" y="159"/>
                </a:cubicBezTo>
                <a:cubicBezTo>
                  <a:pt x="195" y="162"/>
                  <a:pt x="190" y="163"/>
                  <a:pt x="186" y="162"/>
                </a:cubicBezTo>
                <a:cubicBezTo>
                  <a:pt x="183" y="160"/>
                  <a:pt x="179" y="160"/>
                  <a:pt x="176" y="160"/>
                </a:cubicBezTo>
                <a:cubicBezTo>
                  <a:pt x="161" y="160"/>
                  <a:pt x="149" y="172"/>
                  <a:pt x="149" y="186"/>
                </a:cubicBezTo>
                <a:cubicBezTo>
                  <a:pt x="149" y="188"/>
                  <a:pt x="149" y="190"/>
                  <a:pt x="150" y="193"/>
                </a:cubicBezTo>
                <a:cubicBezTo>
                  <a:pt x="151" y="198"/>
                  <a:pt x="149" y="203"/>
                  <a:pt x="144" y="206"/>
                </a:cubicBezTo>
                <a:cubicBezTo>
                  <a:pt x="127" y="212"/>
                  <a:pt x="117" y="228"/>
                  <a:pt x="117" y="245"/>
                </a:cubicBezTo>
                <a:cubicBezTo>
                  <a:pt x="117" y="269"/>
                  <a:pt x="136" y="288"/>
                  <a:pt x="160" y="288"/>
                </a:cubicBezTo>
                <a:cubicBezTo>
                  <a:pt x="167" y="288"/>
                  <a:pt x="174" y="286"/>
                  <a:pt x="181" y="282"/>
                </a:cubicBezTo>
                <a:cubicBezTo>
                  <a:pt x="186" y="279"/>
                  <a:pt x="193" y="280"/>
                  <a:pt x="196" y="285"/>
                </a:cubicBezTo>
                <a:cubicBezTo>
                  <a:pt x="201" y="293"/>
                  <a:pt x="209" y="298"/>
                  <a:pt x="218" y="298"/>
                </a:cubicBezTo>
                <a:cubicBezTo>
                  <a:pt x="226" y="298"/>
                  <a:pt x="234" y="295"/>
                  <a:pt x="239" y="288"/>
                </a:cubicBezTo>
                <a:cubicBezTo>
                  <a:pt x="241" y="285"/>
                  <a:pt x="245" y="284"/>
                  <a:pt x="249" y="284"/>
                </a:cubicBezTo>
                <a:cubicBezTo>
                  <a:pt x="253" y="285"/>
                  <a:pt x="256" y="288"/>
                  <a:pt x="257" y="291"/>
                </a:cubicBezTo>
                <a:cubicBezTo>
                  <a:pt x="261" y="301"/>
                  <a:pt x="269" y="307"/>
                  <a:pt x="279" y="309"/>
                </a:cubicBezTo>
                <a:cubicBezTo>
                  <a:pt x="284" y="309"/>
                  <a:pt x="288" y="314"/>
                  <a:pt x="288" y="319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332" y="373"/>
                  <a:pt x="332" y="373"/>
                  <a:pt x="332" y="373"/>
                </a:cubicBezTo>
                <a:cubicBezTo>
                  <a:pt x="334" y="363"/>
                  <a:pt x="339" y="349"/>
                  <a:pt x="353" y="340"/>
                </a:cubicBezTo>
                <a:cubicBezTo>
                  <a:pt x="370" y="330"/>
                  <a:pt x="373" y="322"/>
                  <a:pt x="373" y="315"/>
                </a:cubicBezTo>
                <a:cubicBezTo>
                  <a:pt x="373" y="310"/>
                  <a:pt x="372" y="306"/>
                  <a:pt x="370" y="302"/>
                </a:cubicBezTo>
                <a:cubicBezTo>
                  <a:pt x="368" y="299"/>
                  <a:pt x="368" y="295"/>
                  <a:pt x="369" y="292"/>
                </a:cubicBezTo>
                <a:cubicBezTo>
                  <a:pt x="370" y="290"/>
                  <a:pt x="373" y="287"/>
                  <a:pt x="376" y="286"/>
                </a:cubicBezTo>
                <a:cubicBezTo>
                  <a:pt x="387" y="283"/>
                  <a:pt x="394" y="273"/>
                  <a:pt x="394" y="261"/>
                </a:cubicBezTo>
                <a:cubicBezTo>
                  <a:pt x="394" y="252"/>
                  <a:pt x="390" y="243"/>
                  <a:pt x="382" y="238"/>
                </a:cubicBezTo>
                <a:close/>
                <a:moveTo>
                  <a:pt x="196" y="244"/>
                </a:moveTo>
                <a:cubicBezTo>
                  <a:pt x="193" y="246"/>
                  <a:pt x="188" y="245"/>
                  <a:pt x="185" y="242"/>
                </a:cubicBezTo>
                <a:cubicBezTo>
                  <a:pt x="182" y="240"/>
                  <a:pt x="168" y="245"/>
                  <a:pt x="155" y="254"/>
                </a:cubicBezTo>
                <a:cubicBezTo>
                  <a:pt x="153" y="255"/>
                  <a:pt x="151" y="256"/>
                  <a:pt x="149" y="256"/>
                </a:cubicBezTo>
                <a:cubicBezTo>
                  <a:pt x="146" y="256"/>
                  <a:pt x="142" y="254"/>
                  <a:pt x="140" y="251"/>
                </a:cubicBezTo>
                <a:cubicBezTo>
                  <a:pt x="137" y="247"/>
                  <a:pt x="138" y="240"/>
                  <a:pt x="143" y="236"/>
                </a:cubicBezTo>
                <a:cubicBezTo>
                  <a:pt x="147" y="233"/>
                  <a:pt x="163" y="222"/>
                  <a:pt x="179" y="221"/>
                </a:cubicBezTo>
                <a:cubicBezTo>
                  <a:pt x="177" y="212"/>
                  <a:pt x="175" y="203"/>
                  <a:pt x="172" y="197"/>
                </a:cubicBezTo>
                <a:cubicBezTo>
                  <a:pt x="169" y="192"/>
                  <a:pt x="171" y="185"/>
                  <a:pt x="176" y="182"/>
                </a:cubicBezTo>
                <a:cubicBezTo>
                  <a:pt x="181" y="179"/>
                  <a:pt x="188" y="181"/>
                  <a:pt x="190" y="187"/>
                </a:cubicBezTo>
                <a:cubicBezTo>
                  <a:pt x="199" y="203"/>
                  <a:pt x="202" y="230"/>
                  <a:pt x="202" y="233"/>
                </a:cubicBezTo>
                <a:cubicBezTo>
                  <a:pt x="203" y="238"/>
                  <a:pt x="200" y="242"/>
                  <a:pt x="196" y="244"/>
                </a:cubicBezTo>
                <a:close/>
                <a:moveTo>
                  <a:pt x="223" y="197"/>
                </a:moveTo>
                <a:cubicBezTo>
                  <a:pt x="224" y="195"/>
                  <a:pt x="225" y="191"/>
                  <a:pt x="234" y="185"/>
                </a:cubicBezTo>
                <a:cubicBezTo>
                  <a:pt x="233" y="182"/>
                  <a:pt x="234" y="178"/>
                  <a:pt x="236" y="176"/>
                </a:cubicBezTo>
                <a:cubicBezTo>
                  <a:pt x="239" y="171"/>
                  <a:pt x="245" y="169"/>
                  <a:pt x="250" y="172"/>
                </a:cubicBezTo>
                <a:cubicBezTo>
                  <a:pt x="253" y="173"/>
                  <a:pt x="254" y="175"/>
                  <a:pt x="255" y="177"/>
                </a:cubicBezTo>
                <a:cubicBezTo>
                  <a:pt x="255" y="177"/>
                  <a:pt x="256" y="177"/>
                  <a:pt x="257" y="177"/>
                </a:cubicBezTo>
                <a:cubicBezTo>
                  <a:pt x="262" y="178"/>
                  <a:pt x="266" y="182"/>
                  <a:pt x="266" y="187"/>
                </a:cubicBezTo>
                <a:cubicBezTo>
                  <a:pt x="267" y="192"/>
                  <a:pt x="264" y="197"/>
                  <a:pt x="259" y="198"/>
                </a:cubicBezTo>
                <a:cubicBezTo>
                  <a:pt x="254" y="200"/>
                  <a:pt x="248" y="202"/>
                  <a:pt x="245" y="204"/>
                </a:cubicBezTo>
                <a:cubicBezTo>
                  <a:pt x="245" y="206"/>
                  <a:pt x="244" y="208"/>
                  <a:pt x="242" y="210"/>
                </a:cubicBezTo>
                <a:cubicBezTo>
                  <a:pt x="240" y="212"/>
                  <a:pt x="237" y="213"/>
                  <a:pt x="234" y="213"/>
                </a:cubicBezTo>
                <a:cubicBezTo>
                  <a:pt x="232" y="213"/>
                  <a:pt x="229" y="212"/>
                  <a:pt x="227" y="210"/>
                </a:cubicBezTo>
                <a:cubicBezTo>
                  <a:pt x="223" y="207"/>
                  <a:pt x="222" y="202"/>
                  <a:pt x="223" y="197"/>
                </a:cubicBezTo>
                <a:close/>
                <a:moveTo>
                  <a:pt x="284" y="248"/>
                </a:moveTo>
                <a:cubicBezTo>
                  <a:pt x="288" y="251"/>
                  <a:pt x="289" y="257"/>
                  <a:pt x="286" y="261"/>
                </a:cubicBezTo>
                <a:cubicBezTo>
                  <a:pt x="284" y="265"/>
                  <a:pt x="281" y="266"/>
                  <a:pt x="277" y="266"/>
                </a:cubicBezTo>
                <a:cubicBezTo>
                  <a:pt x="276" y="266"/>
                  <a:pt x="274" y="266"/>
                  <a:pt x="273" y="266"/>
                </a:cubicBezTo>
                <a:cubicBezTo>
                  <a:pt x="255" y="258"/>
                  <a:pt x="239" y="265"/>
                  <a:pt x="239" y="265"/>
                </a:cubicBezTo>
                <a:cubicBezTo>
                  <a:pt x="233" y="268"/>
                  <a:pt x="227" y="265"/>
                  <a:pt x="225" y="260"/>
                </a:cubicBezTo>
                <a:cubicBezTo>
                  <a:pt x="222" y="255"/>
                  <a:pt x="224" y="249"/>
                  <a:pt x="230" y="246"/>
                </a:cubicBezTo>
                <a:cubicBezTo>
                  <a:pt x="230" y="246"/>
                  <a:pt x="243" y="240"/>
                  <a:pt x="260" y="241"/>
                </a:cubicBezTo>
                <a:cubicBezTo>
                  <a:pt x="260" y="234"/>
                  <a:pt x="262" y="226"/>
                  <a:pt x="268" y="217"/>
                </a:cubicBezTo>
                <a:cubicBezTo>
                  <a:pt x="272" y="213"/>
                  <a:pt x="279" y="212"/>
                  <a:pt x="283" y="215"/>
                </a:cubicBezTo>
                <a:cubicBezTo>
                  <a:pt x="288" y="219"/>
                  <a:pt x="289" y="225"/>
                  <a:pt x="286" y="230"/>
                </a:cubicBezTo>
                <a:cubicBezTo>
                  <a:pt x="277" y="241"/>
                  <a:pt x="283" y="247"/>
                  <a:pt x="284" y="248"/>
                </a:cubicBezTo>
                <a:close/>
                <a:moveTo>
                  <a:pt x="320" y="192"/>
                </a:moveTo>
                <a:cubicBezTo>
                  <a:pt x="320" y="192"/>
                  <a:pt x="320" y="192"/>
                  <a:pt x="320" y="192"/>
                </a:cubicBezTo>
                <a:cubicBezTo>
                  <a:pt x="325" y="192"/>
                  <a:pt x="336" y="195"/>
                  <a:pt x="350" y="218"/>
                </a:cubicBezTo>
                <a:cubicBezTo>
                  <a:pt x="353" y="223"/>
                  <a:pt x="352" y="230"/>
                  <a:pt x="347" y="233"/>
                </a:cubicBezTo>
                <a:cubicBezTo>
                  <a:pt x="345" y="234"/>
                  <a:pt x="343" y="234"/>
                  <a:pt x="341" y="234"/>
                </a:cubicBezTo>
                <a:cubicBezTo>
                  <a:pt x="337" y="234"/>
                  <a:pt x="334" y="233"/>
                  <a:pt x="332" y="229"/>
                </a:cubicBezTo>
                <a:cubicBezTo>
                  <a:pt x="324" y="217"/>
                  <a:pt x="319" y="213"/>
                  <a:pt x="318" y="213"/>
                </a:cubicBezTo>
                <a:cubicBezTo>
                  <a:pt x="313" y="212"/>
                  <a:pt x="309" y="208"/>
                  <a:pt x="309" y="202"/>
                </a:cubicBezTo>
                <a:cubicBezTo>
                  <a:pt x="309" y="196"/>
                  <a:pt x="314" y="192"/>
                  <a:pt x="320" y="192"/>
                </a:cubicBezTo>
                <a:close/>
                <a:moveTo>
                  <a:pt x="362" y="266"/>
                </a:moveTo>
                <a:cubicBezTo>
                  <a:pt x="346" y="266"/>
                  <a:pt x="341" y="279"/>
                  <a:pt x="340" y="280"/>
                </a:cubicBezTo>
                <a:cubicBezTo>
                  <a:pt x="340" y="280"/>
                  <a:pt x="340" y="281"/>
                  <a:pt x="340" y="281"/>
                </a:cubicBezTo>
                <a:cubicBezTo>
                  <a:pt x="340" y="281"/>
                  <a:pt x="340" y="281"/>
                  <a:pt x="340" y="281"/>
                </a:cubicBezTo>
                <a:cubicBezTo>
                  <a:pt x="340" y="282"/>
                  <a:pt x="335" y="294"/>
                  <a:pt x="329" y="304"/>
                </a:cubicBezTo>
                <a:cubicBezTo>
                  <a:pt x="329" y="306"/>
                  <a:pt x="332" y="309"/>
                  <a:pt x="335" y="310"/>
                </a:cubicBezTo>
                <a:cubicBezTo>
                  <a:pt x="340" y="313"/>
                  <a:pt x="342" y="319"/>
                  <a:pt x="340" y="324"/>
                </a:cubicBezTo>
                <a:cubicBezTo>
                  <a:pt x="338" y="328"/>
                  <a:pt x="334" y="330"/>
                  <a:pt x="330" y="330"/>
                </a:cubicBezTo>
                <a:cubicBezTo>
                  <a:pt x="329" y="330"/>
                  <a:pt x="327" y="330"/>
                  <a:pt x="326" y="329"/>
                </a:cubicBezTo>
                <a:cubicBezTo>
                  <a:pt x="323" y="328"/>
                  <a:pt x="311" y="322"/>
                  <a:pt x="308" y="311"/>
                </a:cubicBezTo>
                <a:cubicBezTo>
                  <a:pt x="306" y="305"/>
                  <a:pt x="307" y="298"/>
                  <a:pt x="311" y="293"/>
                </a:cubicBezTo>
                <a:cubicBezTo>
                  <a:pt x="315" y="286"/>
                  <a:pt x="319" y="277"/>
                  <a:pt x="320" y="274"/>
                </a:cubicBezTo>
                <a:cubicBezTo>
                  <a:pt x="320" y="272"/>
                  <a:pt x="317" y="267"/>
                  <a:pt x="313" y="264"/>
                </a:cubicBezTo>
                <a:cubicBezTo>
                  <a:pt x="308" y="261"/>
                  <a:pt x="308" y="254"/>
                  <a:pt x="311" y="249"/>
                </a:cubicBezTo>
                <a:cubicBezTo>
                  <a:pt x="315" y="244"/>
                  <a:pt x="321" y="244"/>
                  <a:pt x="326" y="247"/>
                </a:cubicBezTo>
                <a:cubicBezTo>
                  <a:pt x="327" y="248"/>
                  <a:pt x="330" y="250"/>
                  <a:pt x="334" y="255"/>
                </a:cubicBezTo>
                <a:cubicBezTo>
                  <a:pt x="341" y="249"/>
                  <a:pt x="350" y="245"/>
                  <a:pt x="363" y="245"/>
                </a:cubicBezTo>
                <a:cubicBezTo>
                  <a:pt x="369" y="245"/>
                  <a:pt x="373" y="250"/>
                  <a:pt x="373" y="256"/>
                </a:cubicBezTo>
                <a:cubicBezTo>
                  <a:pt x="373" y="262"/>
                  <a:pt x="368" y="266"/>
                  <a:pt x="362" y="26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3" y="302"/>
                </a:moveTo>
                <a:cubicBezTo>
                  <a:pt x="394" y="306"/>
                  <a:pt x="394" y="310"/>
                  <a:pt x="394" y="314"/>
                </a:cubicBezTo>
                <a:cubicBezTo>
                  <a:pt x="395" y="336"/>
                  <a:pt x="379" y="349"/>
                  <a:pt x="365" y="358"/>
                </a:cubicBezTo>
                <a:cubicBezTo>
                  <a:pt x="352" y="366"/>
                  <a:pt x="352" y="384"/>
                  <a:pt x="352" y="384"/>
                </a:cubicBezTo>
                <a:cubicBezTo>
                  <a:pt x="352" y="390"/>
                  <a:pt x="347" y="394"/>
                  <a:pt x="341" y="394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71" y="394"/>
                  <a:pt x="266" y="390"/>
                  <a:pt x="266" y="384"/>
                </a:cubicBezTo>
                <a:cubicBezTo>
                  <a:pt x="266" y="328"/>
                  <a:pt x="266" y="328"/>
                  <a:pt x="266" y="328"/>
                </a:cubicBezTo>
                <a:cubicBezTo>
                  <a:pt x="258" y="324"/>
                  <a:pt x="250" y="319"/>
                  <a:pt x="245" y="312"/>
                </a:cubicBezTo>
                <a:cubicBezTo>
                  <a:pt x="237" y="317"/>
                  <a:pt x="228" y="320"/>
                  <a:pt x="218" y="320"/>
                </a:cubicBezTo>
                <a:cubicBezTo>
                  <a:pt x="205" y="320"/>
                  <a:pt x="192" y="314"/>
                  <a:pt x="183" y="304"/>
                </a:cubicBezTo>
                <a:cubicBezTo>
                  <a:pt x="176" y="307"/>
                  <a:pt x="168" y="309"/>
                  <a:pt x="160" y="309"/>
                </a:cubicBezTo>
                <a:cubicBezTo>
                  <a:pt x="124" y="309"/>
                  <a:pt x="96" y="280"/>
                  <a:pt x="96" y="245"/>
                </a:cubicBezTo>
                <a:cubicBezTo>
                  <a:pt x="96" y="222"/>
                  <a:pt x="108" y="201"/>
                  <a:pt x="128" y="190"/>
                </a:cubicBezTo>
                <a:cubicBezTo>
                  <a:pt x="128" y="188"/>
                  <a:pt x="128" y="187"/>
                  <a:pt x="128" y="186"/>
                </a:cubicBezTo>
                <a:cubicBezTo>
                  <a:pt x="128" y="160"/>
                  <a:pt x="149" y="138"/>
                  <a:pt x="176" y="138"/>
                </a:cubicBezTo>
                <a:cubicBezTo>
                  <a:pt x="179" y="138"/>
                  <a:pt x="183" y="139"/>
                  <a:pt x="187" y="140"/>
                </a:cubicBezTo>
                <a:cubicBezTo>
                  <a:pt x="198" y="129"/>
                  <a:pt x="215" y="125"/>
                  <a:pt x="229" y="129"/>
                </a:cubicBezTo>
                <a:cubicBezTo>
                  <a:pt x="238" y="121"/>
                  <a:pt x="249" y="117"/>
                  <a:pt x="261" y="117"/>
                </a:cubicBezTo>
                <a:cubicBezTo>
                  <a:pt x="274" y="117"/>
                  <a:pt x="286" y="122"/>
                  <a:pt x="295" y="132"/>
                </a:cubicBezTo>
                <a:cubicBezTo>
                  <a:pt x="301" y="129"/>
                  <a:pt x="308" y="128"/>
                  <a:pt x="314" y="128"/>
                </a:cubicBezTo>
                <a:cubicBezTo>
                  <a:pt x="335" y="128"/>
                  <a:pt x="353" y="141"/>
                  <a:pt x="359" y="160"/>
                </a:cubicBezTo>
                <a:cubicBezTo>
                  <a:pt x="385" y="161"/>
                  <a:pt x="405" y="182"/>
                  <a:pt x="405" y="208"/>
                </a:cubicBezTo>
                <a:cubicBezTo>
                  <a:pt x="405" y="214"/>
                  <a:pt x="404" y="221"/>
                  <a:pt x="401" y="227"/>
                </a:cubicBezTo>
                <a:cubicBezTo>
                  <a:pt x="410" y="236"/>
                  <a:pt x="416" y="248"/>
                  <a:pt x="416" y="261"/>
                </a:cubicBezTo>
                <a:cubicBezTo>
                  <a:pt x="416" y="278"/>
                  <a:pt x="407" y="293"/>
                  <a:pt x="393" y="3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0" name="Group 627"/>
          <p:cNvGrpSpPr>
            <a:grpSpLocks noChangeAspect="1"/>
          </p:cNvGrpSpPr>
          <p:nvPr/>
        </p:nvGrpSpPr>
        <p:grpSpPr bwMode="auto">
          <a:xfrm>
            <a:off x="9888856" y="2916610"/>
            <a:ext cx="367982" cy="369064"/>
            <a:chOff x="5295" y="2587"/>
            <a:chExt cx="340" cy="341"/>
          </a:xfrm>
          <a:solidFill>
            <a:schemeClr val="accent1"/>
          </a:solidFill>
        </p:grpSpPr>
        <p:sp>
          <p:nvSpPr>
            <p:cNvPr id="241" name="Freeform 628"/>
            <p:cNvSpPr>
              <a:spLocks noEditPoints="1"/>
            </p:cNvSpPr>
            <p:nvPr/>
          </p:nvSpPr>
          <p:spPr bwMode="auto">
            <a:xfrm>
              <a:off x="5295" y="258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Freeform 629"/>
            <p:cNvSpPr>
              <a:spLocks noEditPoints="1"/>
            </p:cNvSpPr>
            <p:nvPr/>
          </p:nvSpPr>
          <p:spPr bwMode="auto">
            <a:xfrm>
              <a:off x="5359" y="2665"/>
              <a:ext cx="212" cy="184"/>
            </a:xfrm>
            <a:custGeom>
              <a:avLst/>
              <a:gdLst>
                <a:gd name="T0" fmla="*/ 309 w 320"/>
                <a:gd name="T1" fmla="*/ 91 h 277"/>
                <a:gd name="T2" fmla="*/ 199 w 320"/>
                <a:gd name="T3" fmla="*/ 15 h 277"/>
                <a:gd name="T4" fmla="*/ 91 w 320"/>
                <a:gd name="T5" fmla="*/ 23 h 277"/>
                <a:gd name="T6" fmla="*/ 32 w 320"/>
                <a:gd name="T7" fmla="*/ 73 h 277"/>
                <a:gd name="T8" fmla="*/ 87 w 320"/>
                <a:gd name="T9" fmla="*/ 187 h 277"/>
                <a:gd name="T10" fmla="*/ 170 w 320"/>
                <a:gd name="T11" fmla="*/ 211 h 277"/>
                <a:gd name="T12" fmla="*/ 245 w 320"/>
                <a:gd name="T13" fmla="*/ 277 h 277"/>
                <a:gd name="T14" fmla="*/ 298 w 320"/>
                <a:gd name="T15" fmla="*/ 197 h 277"/>
                <a:gd name="T16" fmla="*/ 280 w 320"/>
                <a:gd name="T17" fmla="*/ 169 h 277"/>
                <a:gd name="T18" fmla="*/ 277 w 320"/>
                <a:gd name="T19" fmla="*/ 198 h 277"/>
                <a:gd name="T20" fmla="*/ 192 w 320"/>
                <a:gd name="T21" fmla="*/ 256 h 277"/>
                <a:gd name="T22" fmla="*/ 161 w 320"/>
                <a:gd name="T23" fmla="*/ 174 h 277"/>
                <a:gd name="T24" fmla="*/ 122 w 320"/>
                <a:gd name="T25" fmla="*/ 181 h 277"/>
                <a:gd name="T26" fmla="*/ 64 w 320"/>
                <a:gd name="T27" fmla="*/ 171 h 277"/>
                <a:gd name="T28" fmla="*/ 54 w 320"/>
                <a:gd name="T29" fmla="*/ 76 h 277"/>
                <a:gd name="T30" fmla="*/ 90 w 320"/>
                <a:gd name="T31" fmla="*/ 45 h 277"/>
                <a:gd name="T32" fmla="*/ 145 w 320"/>
                <a:gd name="T33" fmla="*/ 31 h 277"/>
                <a:gd name="T34" fmla="*/ 195 w 320"/>
                <a:gd name="T35" fmla="*/ 39 h 277"/>
                <a:gd name="T36" fmla="*/ 245 w 320"/>
                <a:gd name="T37" fmla="*/ 55 h 277"/>
                <a:gd name="T38" fmla="*/ 261 w 320"/>
                <a:gd name="T39" fmla="*/ 64 h 277"/>
                <a:gd name="T40" fmla="*/ 281 w 320"/>
                <a:gd name="T41" fmla="*/ 114 h 277"/>
                <a:gd name="T42" fmla="*/ 280 w 320"/>
                <a:gd name="T43" fmla="*/ 169 h 277"/>
                <a:gd name="T44" fmla="*/ 100 w 320"/>
                <a:gd name="T45" fmla="*/ 127 h 277"/>
                <a:gd name="T46" fmla="*/ 53 w 320"/>
                <a:gd name="T47" fmla="*/ 139 h 277"/>
                <a:gd name="T48" fmla="*/ 83 w 320"/>
                <a:gd name="T49" fmla="*/ 104 h 277"/>
                <a:gd name="T50" fmla="*/ 94 w 320"/>
                <a:gd name="T51" fmla="*/ 70 h 277"/>
                <a:gd name="T52" fmla="*/ 138 w 320"/>
                <a:gd name="T53" fmla="*/ 68 h 277"/>
                <a:gd name="T54" fmla="*/ 159 w 320"/>
                <a:gd name="T55" fmla="*/ 60 h 277"/>
                <a:gd name="T56" fmla="*/ 163 w 320"/>
                <a:gd name="T57" fmla="*/ 81 h 277"/>
                <a:gd name="T58" fmla="*/ 138 w 320"/>
                <a:gd name="T59" fmla="*/ 96 h 277"/>
                <a:gd name="T60" fmla="*/ 188 w 320"/>
                <a:gd name="T61" fmla="*/ 131 h 277"/>
                <a:gd name="T62" fmla="*/ 177 w 320"/>
                <a:gd name="T63" fmla="*/ 149 h 277"/>
                <a:gd name="T64" fmla="*/ 134 w 320"/>
                <a:gd name="T65" fmla="*/ 129 h 277"/>
                <a:gd name="T66" fmla="*/ 187 w 320"/>
                <a:gd name="T67" fmla="*/ 98 h 277"/>
                <a:gd name="T68" fmla="*/ 224 w 320"/>
                <a:gd name="T69" fmla="*/ 75 h 277"/>
                <a:gd name="T70" fmla="*/ 251 w 320"/>
                <a:gd name="T71" fmla="*/ 116 h 277"/>
                <a:gd name="T72" fmla="*/ 222 w 320"/>
                <a:gd name="T73" fmla="*/ 96 h 277"/>
                <a:gd name="T74" fmla="*/ 266 w 320"/>
                <a:gd name="T75" fmla="*/ 149 h 277"/>
                <a:gd name="T76" fmla="*/ 244 w 320"/>
                <a:gd name="T77" fmla="*/ 164 h 277"/>
                <a:gd name="T78" fmla="*/ 244 w 320"/>
                <a:gd name="T79" fmla="*/ 207 h 277"/>
                <a:gd name="T80" fmla="*/ 212 w 320"/>
                <a:gd name="T81" fmla="*/ 194 h 277"/>
                <a:gd name="T82" fmla="*/ 217 w 320"/>
                <a:gd name="T83" fmla="*/ 147 h 277"/>
                <a:gd name="T84" fmla="*/ 238 w 320"/>
                <a:gd name="T85" fmla="*/ 13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7">
                  <a:moveTo>
                    <a:pt x="320" y="144"/>
                  </a:moveTo>
                  <a:cubicBezTo>
                    <a:pt x="320" y="131"/>
                    <a:pt x="314" y="119"/>
                    <a:pt x="305" y="110"/>
                  </a:cubicBezTo>
                  <a:cubicBezTo>
                    <a:pt x="308" y="104"/>
                    <a:pt x="309" y="97"/>
                    <a:pt x="309" y="91"/>
                  </a:cubicBezTo>
                  <a:cubicBezTo>
                    <a:pt x="309" y="65"/>
                    <a:pt x="289" y="44"/>
                    <a:pt x="263" y="43"/>
                  </a:cubicBezTo>
                  <a:cubicBezTo>
                    <a:pt x="257" y="24"/>
                    <a:pt x="239" y="11"/>
                    <a:pt x="218" y="11"/>
                  </a:cubicBezTo>
                  <a:cubicBezTo>
                    <a:pt x="212" y="11"/>
                    <a:pt x="205" y="12"/>
                    <a:pt x="199" y="15"/>
                  </a:cubicBezTo>
                  <a:cubicBezTo>
                    <a:pt x="190" y="5"/>
                    <a:pt x="178" y="0"/>
                    <a:pt x="165" y="0"/>
                  </a:cubicBezTo>
                  <a:cubicBezTo>
                    <a:pt x="153" y="0"/>
                    <a:pt x="142" y="4"/>
                    <a:pt x="133" y="12"/>
                  </a:cubicBezTo>
                  <a:cubicBezTo>
                    <a:pt x="119" y="8"/>
                    <a:pt x="102" y="12"/>
                    <a:pt x="91" y="23"/>
                  </a:cubicBezTo>
                  <a:cubicBezTo>
                    <a:pt x="87" y="22"/>
                    <a:pt x="83" y="21"/>
                    <a:pt x="80" y="21"/>
                  </a:cubicBezTo>
                  <a:cubicBezTo>
                    <a:pt x="53" y="21"/>
                    <a:pt x="32" y="43"/>
                    <a:pt x="32" y="69"/>
                  </a:cubicBezTo>
                  <a:cubicBezTo>
                    <a:pt x="32" y="70"/>
                    <a:pt x="32" y="71"/>
                    <a:pt x="32" y="73"/>
                  </a:cubicBezTo>
                  <a:cubicBezTo>
                    <a:pt x="12" y="84"/>
                    <a:pt x="0" y="105"/>
                    <a:pt x="0" y="128"/>
                  </a:cubicBezTo>
                  <a:cubicBezTo>
                    <a:pt x="0" y="163"/>
                    <a:pt x="28" y="192"/>
                    <a:pt x="64" y="192"/>
                  </a:cubicBezTo>
                  <a:cubicBezTo>
                    <a:pt x="72" y="192"/>
                    <a:pt x="80" y="190"/>
                    <a:pt x="87" y="187"/>
                  </a:cubicBezTo>
                  <a:cubicBezTo>
                    <a:pt x="96" y="197"/>
                    <a:pt x="109" y="203"/>
                    <a:pt x="122" y="203"/>
                  </a:cubicBezTo>
                  <a:cubicBezTo>
                    <a:pt x="132" y="203"/>
                    <a:pt x="141" y="200"/>
                    <a:pt x="149" y="195"/>
                  </a:cubicBezTo>
                  <a:cubicBezTo>
                    <a:pt x="154" y="202"/>
                    <a:pt x="162" y="207"/>
                    <a:pt x="170" y="211"/>
                  </a:cubicBezTo>
                  <a:cubicBezTo>
                    <a:pt x="170" y="267"/>
                    <a:pt x="170" y="267"/>
                    <a:pt x="170" y="267"/>
                  </a:cubicBezTo>
                  <a:cubicBezTo>
                    <a:pt x="170" y="273"/>
                    <a:pt x="175" y="277"/>
                    <a:pt x="181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51" y="277"/>
                    <a:pt x="256" y="273"/>
                    <a:pt x="256" y="267"/>
                  </a:cubicBezTo>
                  <a:cubicBezTo>
                    <a:pt x="256" y="267"/>
                    <a:pt x="256" y="249"/>
                    <a:pt x="269" y="241"/>
                  </a:cubicBezTo>
                  <a:cubicBezTo>
                    <a:pt x="283" y="232"/>
                    <a:pt x="299" y="219"/>
                    <a:pt x="298" y="197"/>
                  </a:cubicBezTo>
                  <a:cubicBezTo>
                    <a:pt x="298" y="193"/>
                    <a:pt x="298" y="189"/>
                    <a:pt x="297" y="185"/>
                  </a:cubicBezTo>
                  <a:cubicBezTo>
                    <a:pt x="311" y="176"/>
                    <a:pt x="320" y="161"/>
                    <a:pt x="320" y="144"/>
                  </a:cubicBezTo>
                  <a:close/>
                  <a:moveTo>
                    <a:pt x="280" y="169"/>
                  </a:moveTo>
                  <a:cubicBezTo>
                    <a:pt x="277" y="170"/>
                    <a:pt x="274" y="173"/>
                    <a:pt x="273" y="175"/>
                  </a:cubicBezTo>
                  <a:cubicBezTo>
                    <a:pt x="272" y="178"/>
                    <a:pt x="272" y="182"/>
                    <a:pt x="274" y="185"/>
                  </a:cubicBezTo>
                  <a:cubicBezTo>
                    <a:pt x="276" y="189"/>
                    <a:pt x="277" y="193"/>
                    <a:pt x="277" y="198"/>
                  </a:cubicBezTo>
                  <a:cubicBezTo>
                    <a:pt x="277" y="205"/>
                    <a:pt x="274" y="213"/>
                    <a:pt x="257" y="223"/>
                  </a:cubicBezTo>
                  <a:cubicBezTo>
                    <a:pt x="243" y="232"/>
                    <a:pt x="238" y="246"/>
                    <a:pt x="236" y="256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02"/>
                    <a:pt x="192" y="202"/>
                    <a:pt x="192" y="202"/>
                  </a:cubicBezTo>
                  <a:cubicBezTo>
                    <a:pt x="192" y="197"/>
                    <a:pt x="188" y="192"/>
                    <a:pt x="183" y="192"/>
                  </a:cubicBezTo>
                  <a:cubicBezTo>
                    <a:pt x="173" y="190"/>
                    <a:pt x="165" y="184"/>
                    <a:pt x="161" y="174"/>
                  </a:cubicBezTo>
                  <a:cubicBezTo>
                    <a:pt x="160" y="171"/>
                    <a:pt x="157" y="168"/>
                    <a:pt x="153" y="167"/>
                  </a:cubicBezTo>
                  <a:cubicBezTo>
                    <a:pt x="149" y="167"/>
                    <a:pt x="145" y="168"/>
                    <a:pt x="143" y="171"/>
                  </a:cubicBezTo>
                  <a:cubicBezTo>
                    <a:pt x="138" y="178"/>
                    <a:pt x="130" y="181"/>
                    <a:pt x="122" y="181"/>
                  </a:cubicBezTo>
                  <a:cubicBezTo>
                    <a:pt x="113" y="181"/>
                    <a:pt x="105" y="176"/>
                    <a:pt x="100" y="168"/>
                  </a:cubicBezTo>
                  <a:cubicBezTo>
                    <a:pt x="97" y="163"/>
                    <a:pt x="90" y="162"/>
                    <a:pt x="85" y="165"/>
                  </a:cubicBezTo>
                  <a:cubicBezTo>
                    <a:pt x="78" y="169"/>
                    <a:pt x="71" y="171"/>
                    <a:pt x="64" y="171"/>
                  </a:cubicBezTo>
                  <a:cubicBezTo>
                    <a:pt x="40" y="171"/>
                    <a:pt x="21" y="152"/>
                    <a:pt x="21" y="128"/>
                  </a:cubicBezTo>
                  <a:cubicBezTo>
                    <a:pt x="21" y="111"/>
                    <a:pt x="31" y="95"/>
                    <a:pt x="48" y="89"/>
                  </a:cubicBezTo>
                  <a:cubicBezTo>
                    <a:pt x="53" y="86"/>
                    <a:pt x="55" y="81"/>
                    <a:pt x="54" y="76"/>
                  </a:cubicBezTo>
                  <a:cubicBezTo>
                    <a:pt x="53" y="73"/>
                    <a:pt x="53" y="71"/>
                    <a:pt x="53" y="69"/>
                  </a:cubicBezTo>
                  <a:cubicBezTo>
                    <a:pt x="53" y="55"/>
                    <a:pt x="65" y="43"/>
                    <a:pt x="80" y="43"/>
                  </a:cubicBezTo>
                  <a:cubicBezTo>
                    <a:pt x="83" y="43"/>
                    <a:pt x="87" y="43"/>
                    <a:pt x="90" y="45"/>
                  </a:cubicBezTo>
                  <a:cubicBezTo>
                    <a:pt x="94" y="46"/>
                    <a:pt x="99" y="45"/>
                    <a:pt x="102" y="42"/>
                  </a:cubicBezTo>
                  <a:cubicBezTo>
                    <a:pt x="109" y="33"/>
                    <a:pt x="122" y="30"/>
                    <a:pt x="132" y="34"/>
                  </a:cubicBezTo>
                  <a:cubicBezTo>
                    <a:pt x="137" y="36"/>
                    <a:pt x="142" y="35"/>
                    <a:pt x="145" y="31"/>
                  </a:cubicBezTo>
                  <a:cubicBezTo>
                    <a:pt x="150" y="25"/>
                    <a:pt x="157" y="21"/>
                    <a:pt x="165" y="21"/>
                  </a:cubicBezTo>
                  <a:cubicBezTo>
                    <a:pt x="174" y="21"/>
                    <a:pt x="183" y="26"/>
                    <a:pt x="188" y="34"/>
                  </a:cubicBezTo>
                  <a:cubicBezTo>
                    <a:pt x="189" y="37"/>
                    <a:pt x="192" y="38"/>
                    <a:pt x="195" y="39"/>
                  </a:cubicBezTo>
                  <a:cubicBezTo>
                    <a:pt x="197" y="39"/>
                    <a:pt x="200" y="39"/>
                    <a:pt x="203" y="37"/>
                  </a:cubicBezTo>
                  <a:cubicBezTo>
                    <a:pt x="207" y="34"/>
                    <a:pt x="213" y="32"/>
                    <a:pt x="218" y="32"/>
                  </a:cubicBezTo>
                  <a:cubicBezTo>
                    <a:pt x="232" y="32"/>
                    <a:pt x="243" y="42"/>
                    <a:pt x="245" y="55"/>
                  </a:cubicBezTo>
                  <a:cubicBezTo>
                    <a:pt x="245" y="58"/>
                    <a:pt x="246" y="61"/>
                    <a:pt x="249" y="62"/>
                  </a:cubicBezTo>
                  <a:cubicBezTo>
                    <a:pt x="251" y="64"/>
                    <a:pt x="254" y="65"/>
                    <a:pt x="257" y="64"/>
                  </a:cubicBezTo>
                  <a:cubicBezTo>
                    <a:pt x="258" y="64"/>
                    <a:pt x="260" y="64"/>
                    <a:pt x="261" y="64"/>
                  </a:cubicBezTo>
                  <a:cubicBezTo>
                    <a:pt x="276" y="64"/>
                    <a:pt x="288" y="76"/>
                    <a:pt x="288" y="91"/>
                  </a:cubicBezTo>
                  <a:cubicBezTo>
                    <a:pt x="288" y="96"/>
                    <a:pt x="286" y="102"/>
                    <a:pt x="283" y="106"/>
                  </a:cubicBezTo>
                  <a:cubicBezTo>
                    <a:pt x="281" y="109"/>
                    <a:pt x="280" y="112"/>
                    <a:pt x="281" y="114"/>
                  </a:cubicBezTo>
                  <a:cubicBezTo>
                    <a:pt x="281" y="117"/>
                    <a:pt x="283" y="120"/>
                    <a:pt x="286" y="121"/>
                  </a:cubicBezTo>
                  <a:cubicBezTo>
                    <a:pt x="294" y="126"/>
                    <a:pt x="298" y="135"/>
                    <a:pt x="298" y="144"/>
                  </a:cubicBezTo>
                  <a:cubicBezTo>
                    <a:pt x="298" y="156"/>
                    <a:pt x="291" y="166"/>
                    <a:pt x="280" y="169"/>
                  </a:cubicBezTo>
                  <a:close/>
                  <a:moveTo>
                    <a:pt x="94" y="70"/>
                  </a:moveTo>
                  <a:cubicBezTo>
                    <a:pt x="103" y="86"/>
                    <a:pt x="106" y="113"/>
                    <a:pt x="106" y="116"/>
                  </a:cubicBezTo>
                  <a:cubicBezTo>
                    <a:pt x="107" y="121"/>
                    <a:pt x="104" y="125"/>
                    <a:pt x="100" y="127"/>
                  </a:cubicBezTo>
                  <a:cubicBezTo>
                    <a:pt x="97" y="129"/>
                    <a:pt x="92" y="128"/>
                    <a:pt x="89" y="125"/>
                  </a:cubicBezTo>
                  <a:cubicBezTo>
                    <a:pt x="86" y="123"/>
                    <a:pt x="72" y="128"/>
                    <a:pt x="59" y="137"/>
                  </a:cubicBezTo>
                  <a:cubicBezTo>
                    <a:pt x="57" y="138"/>
                    <a:pt x="55" y="139"/>
                    <a:pt x="53" y="139"/>
                  </a:cubicBezTo>
                  <a:cubicBezTo>
                    <a:pt x="50" y="139"/>
                    <a:pt x="46" y="137"/>
                    <a:pt x="44" y="134"/>
                  </a:cubicBezTo>
                  <a:cubicBezTo>
                    <a:pt x="41" y="130"/>
                    <a:pt x="42" y="123"/>
                    <a:pt x="47" y="119"/>
                  </a:cubicBezTo>
                  <a:cubicBezTo>
                    <a:pt x="51" y="116"/>
                    <a:pt x="67" y="105"/>
                    <a:pt x="83" y="104"/>
                  </a:cubicBezTo>
                  <a:cubicBezTo>
                    <a:pt x="81" y="95"/>
                    <a:pt x="79" y="86"/>
                    <a:pt x="76" y="80"/>
                  </a:cubicBezTo>
                  <a:cubicBezTo>
                    <a:pt x="73" y="75"/>
                    <a:pt x="75" y="68"/>
                    <a:pt x="80" y="65"/>
                  </a:cubicBezTo>
                  <a:cubicBezTo>
                    <a:pt x="85" y="62"/>
                    <a:pt x="92" y="64"/>
                    <a:pt x="94" y="70"/>
                  </a:cubicBezTo>
                  <a:close/>
                  <a:moveTo>
                    <a:pt x="131" y="93"/>
                  </a:moveTo>
                  <a:cubicBezTo>
                    <a:pt x="127" y="90"/>
                    <a:pt x="126" y="85"/>
                    <a:pt x="127" y="80"/>
                  </a:cubicBezTo>
                  <a:cubicBezTo>
                    <a:pt x="128" y="78"/>
                    <a:pt x="129" y="74"/>
                    <a:pt x="138" y="68"/>
                  </a:cubicBezTo>
                  <a:cubicBezTo>
                    <a:pt x="137" y="65"/>
                    <a:pt x="138" y="61"/>
                    <a:pt x="140" y="59"/>
                  </a:cubicBezTo>
                  <a:cubicBezTo>
                    <a:pt x="143" y="54"/>
                    <a:pt x="149" y="52"/>
                    <a:pt x="154" y="55"/>
                  </a:cubicBezTo>
                  <a:cubicBezTo>
                    <a:pt x="157" y="56"/>
                    <a:pt x="158" y="58"/>
                    <a:pt x="159" y="60"/>
                  </a:cubicBezTo>
                  <a:cubicBezTo>
                    <a:pt x="159" y="60"/>
                    <a:pt x="160" y="60"/>
                    <a:pt x="161" y="60"/>
                  </a:cubicBezTo>
                  <a:cubicBezTo>
                    <a:pt x="166" y="61"/>
                    <a:pt x="170" y="65"/>
                    <a:pt x="170" y="70"/>
                  </a:cubicBezTo>
                  <a:cubicBezTo>
                    <a:pt x="171" y="75"/>
                    <a:pt x="168" y="80"/>
                    <a:pt x="163" y="81"/>
                  </a:cubicBezTo>
                  <a:cubicBezTo>
                    <a:pt x="158" y="83"/>
                    <a:pt x="152" y="85"/>
                    <a:pt x="149" y="87"/>
                  </a:cubicBezTo>
                  <a:cubicBezTo>
                    <a:pt x="149" y="89"/>
                    <a:pt x="148" y="91"/>
                    <a:pt x="146" y="93"/>
                  </a:cubicBezTo>
                  <a:cubicBezTo>
                    <a:pt x="144" y="95"/>
                    <a:pt x="141" y="96"/>
                    <a:pt x="138" y="96"/>
                  </a:cubicBezTo>
                  <a:cubicBezTo>
                    <a:pt x="136" y="96"/>
                    <a:pt x="133" y="95"/>
                    <a:pt x="131" y="93"/>
                  </a:cubicBezTo>
                  <a:close/>
                  <a:moveTo>
                    <a:pt x="190" y="113"/>
                  </a:moveTo>
                  <a:cubicBezTo>
                    <a:pt x="181" y="124"/>
                    <a:pt x="187" y="130"/>
                    <a:pt x="188" y="131"/>
                  </a:cubicBezTo>
                  <a:cubicBezTo>
                    <a:pt x="192" y="134"/>
                    <a:pt x="193" y="140"/>
                    <a:pt x="190" y="144"/>
                  </a:cubicBezTo>
                  <a:cubicBezTo>
                    <a:pt x="188" y="148"/>
                    <a:pt x="185" y="149"/>
                    <a:pt x="181" y="149"/>
                  </a:cubicBezTo>
                  <a:cubicBezTo>
                    <a:pt x="180" y="149"/>
                    <a:pt x="178" y="149"/>
                    <a:pt x="177" y="149"/>
                  </a:cubicBezTo>
                  <a:cubicBezTo>
                    <a:pt x="159" y="141"/>
                    <a:pt x="143" y="148"/>
                    <a:pt x="143" y="148"/>
                  </a:cubicBezTo>
                  <a:cubicBezTo>
                    <a:pt x="137" y="151"/>
                    <a:pt x="131" y="148"/>
                    <a:pt x="129" y="143"/>
                  </a:cubicBezTo>
                  <a:cubicBezTo>
                    <a:pt x="126" y="138"/>
                    <a:pt x="128" y="132"/>
                    <a:pt x="134" y="129"/>
                  </a:cubicBezTo>
                  <a:cubicBezTo>
                    <a:pt x="134" y="129"/>
                    <a:pt x="147" y="123"/>
                    <a:pt x="164" y="124"/>
                  </a:cubicBezTo>
                  <a:cubicBezTo>
                    <a:pt x="164" y="117"/>
                    <a:pt x="166" y="109"/>
                    <a:pt x="172" y="100"/>
                  </a:cubicBezTo>
                  <a:cubicBezTo>
                    <a:pt x="176" y="96"/>
                    <a:pt x="183" y="95"/>
                    <a:pt x="187" y="98"/>
                  </a:cubicBezTo>
                  <a:cubicBezTo>
                    <a:pt x="192" y="102"/>
                    <a:pt x="193" y="108"/>
                    <a:pt x="190" y="113"/>
                  </a:cubicBezTo>
                  <a:close/>
                  <a:moveTo>
                    <a:pt x="213" y="85"/>
                  </a:moveTo>
                  <a:cubicBezTo>
                    <a:pt x="213" y="79"/>
                    <a:pt x="218" y="75"/>
                    <a:pt x="224" y="75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29" y="75"/>
                    <a:pt x="240" y="78"/>
                    <a:pt x="254" y="101"/>
                  </a:cubicBezTo>
                  <a:cubicBezTo>
                    <a:pt x="257" y="106"/>
                    <a:pt x="256" y="113"/>
                    <a:pt x="251" y="116"/>
                  </a:cubicBezTo>
                  <a:cubicBezTo>
                    <a:pt x="249" y="117"/>
                    <a:pt x="247" y="117"/>
                    <a:pt x="245" y="117"/>
                  </a:cubicBezTo>
                  <a:cubicBezTo>
                    <a:pt x="241" y="117"/>
                    <a:pt x="238" y="116"/>
                    <a:pt x="236" y="112"/>
                  </a:cubicBezTo>
                  <a:cubicBezTo>
                    <a:pt x="228" y="100"/>
                    <a:pt x="223" y="96"/>
                    <a:pt x="222" y="96"/>
                  </a:cubicBezTo>
                  <a:cubicBezTo>
                    <a:pt x="217" y="95"/>
                    <a:pt x="213" y="91"/>
                    <a:pt x="213" y="85"/>
                  </a:cubicBezTo>
                  <a:close/>
                  <a:moveTo>
                    <a:pt x="277" y="139"/>
                  </a:moveTo>
                  <a:cubicBezTo>
                    <a:pt x="277" y="145"/>
                    <a:pt x="272" y="149"/>
                    <a:pt x="266" y="149"/>
                  </a:cubicBezTo>
                  <a:cubicBezTo>
                    <a:pt x="250" y="149"/>
                    <a:pt x="245" y="162"/>
                    <a:pt x="244" y="163"/>
                  </a:cubicBezTo>
                  <a:cubicBezTo>
                    <a:pt x="244" y="163"/>
                    <a:pt x="244" y="164"/>
                    <a:pt x="244" y="164"/>
                  </a:cubicBezTo>
                  <a:cubicBezTo>
                    <a:pt x="244" y="164"/>
                    <a:pt x="244" y="164"/>
                    <a:pt x="244" y="164"/>
                  </a:cubicBezTo>
                  <a:cubicBezTo>
                    <a:pt x="244" y="165"/>
                    <a:pt x="239" y="177"/>
                    <a:pt x="233" y="187"/>
                  </a:cubicBezTo>
                  <a:cubicBezTo>
                    <a:pt x="233" y="189"/>
                    <a:pt x="236" y="192"/>
                    <a:pt x="239" y="193"/>
                  </a:cubicBezTo>
                  <a:cubicBezTo>
                    <a:pt x="244" y="196"/>
                    <a:pt x="246" y="202"/>
                    <a:pt x="244" y="207"/>
                  </a:cubicBezTo>
                  <a:cubicBezTo>
                    <a:pt x="242" y="211"/>
                    <a:pt x="238" y="213"/>
                    <a:pt x="234" y="213"/>
                  </a:cubicBezTo>
                  <a:cubicBezTo>
                    <a:pt x="233" y="213"/>
                    <a:pt x="231" y="213"/>
                    <a:pt x="230" y="212"/>
                  </a:cubicBezTo>
                  <a:cubicBezTo>
                    <a:pt x="227" y="211"/>
                    <a:pt x="215" y="205"/>
                    <a:pt x="212" y="194"/>
                  </a:cubicBezTo>
                  <a:cubicBezTo>
                    <a:pt x="210" y="188"/>
                    <a:pt x="211" y="181"/>
                    <a:pt x="215" y="176"/>
                  </a:cubicBezTo>
                  <a:cubicBezTo>
                    <a:pt x="219" y="169"/>
                    <a:pt x="223" y="160"/>
                    <a:pt x="224" y="157"/>
                  </a:cubicBezTo>
                  <a:cubicBezTo>
                    <a:pt x="224" y="155"/>
                    <a:pt x="221" y="150"/>
                    <a:pt x="217" y="147"/>
                  </a:cubicBezTo>
                  <a:cubicBezTo>
                    <a:pt x="212" y="144"/>
                    <a:pt x="212" y="137"/>
                    <a:pt x="215" y="132"/>
                  </a:cubicBezTo>
                  <a:cubicBezTo>
                    <a:pt x="219" y="127"/>
                    <a:pt x="225" y="127"/>
                    <a:pt x="230" y="130"/>
                  </a:cubicBezTo>
                  <a:cubicBezTo>
                    <a:pt x="231" y="131"/>
                    <a:pt x="234" y="133"/>
                    <a:pt x="238" y="138"/>
                  </a:cubicBezTo>
                  <a:cubicBezTo>
                    <a:pt x="245" y="132"/>
                    <a:pt x="254" y="128"/>
                    <a:pt x="267" y="128"/>
                  </a:cubicBezTo>
                  <a:cubicBezTo>
                    <a:pt x="273" y="128"/>
                    <a:pt x="277" y="133"/>
                    <a:pt x="277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3" name="Group 365"/>
          <p:cNvGrpSpPr>
            <a:grpSpLocks noChangeAspect="1"/>
          </p:cNvGrpSpPr>
          <p:nvPr/>
        </p:nvGrpSpPr>
        <p:grpSpPr bwMode="auto">
          <a:xfrm>
            <a:off x="2914061" y="3744415"/>
            <a:ext cx="370763" cy="370763"/>
            <a:chOff x="1913" y="1186"/>
            <a:chExt cx="341" cy="341"/>
          </a:xfrm>
          <a:solidFill>
            <a:schemeClr val="accent4"/>
          </a:solidFill>
        </p:grpSpPr>
        <p:sp>
          <p:nvSpPr>
            <p:cNvPr id="244" name="Freeform 366"/>
            <p:cNvSpPr>
              <a:spLocks noEditPoints="1"/>
            </p:cNvSpPr>
            <p:nvPr/>
          </p:nvSpPr>
          <p:spPr bwMode="auto">
            <a:xfrm>
              <a:off x="1979" y="1250"/>
              <a:ext cx="209" cy="206"/>
            </a:xfrm>
            <a:custGeom>
              <a:avLst/>
              <a:gdLst>
                <a:gd name="T0" fmla="*/ 114 w 314"/>
                <a:gd name="T1" fmla="*/ 309 h 309"/>
                <a:gd name="T2" fmla="*/ 103 w 314"/>
                <a:gd name="T3" fmla="*/ 247 h 309"/>
                <a:gd name="T4" fmla="*/ 44 w 314"/>
                <a:gd name="T5" fmla="*/ 269 h 309"/>
                <a:gd name="T6" fmla="*/ 0 w 314"/>
                <a:gd name="T7" fmla="*/ 187 h 309"/>
                <a:gd name="T8" fmla="*/ 50 w 314"/>
                <a:gd name="T9" fmla="*/ 154 h 309"/>
                <a:gd name="T10" fmla="*/ 0 w 314"/>
                <a:gd name="T11" fmla="*/ 122 h 309"/>
                <a:gd name="T12" fmla="*/ 44 w 314"/>
                <a:gd name="T13" fmla="*/ 40 h 309"/>
                <a:gd name="T14" fmla="*/ 103 w 314"/>
                <a:gd name="T15" fmla="*/ 62 h 309"/>
                <a:gd name="T16" fmla="*/ 114 w 314"/>
                <a:gd name="T17" fmla="*/ 0 h 309"/>
                <a:gd name="T18" fmla="*/ 210 w 314"/>
                <a:gd name="T19" fmla="*/ 10 h 309"/>
                <a:gd name="T20" fmla="*/ 255 w 314"/>
                <a:gd name="T21" fmla="*/ 36 h 309"/>
                <a:gd name="T22" fmla="*/ 312 w 314"/>
                <a:gd name="T23" fmla="*/ 114 h 309"/>
                <a:gd name="T24" fmla="*/ 308 w 314"/>
                <a:gd name="T25" fmla="*/ 129 h 309"/>
                <a:gd name="T26" fmla="*/ 308 w 314"/>
                <a:gd name="T27" fmla="*/ 180 h 309"/>
                <a:gd name="T28" fmla="*/ 312 w 314"/>
                <a:gd name="T29" fmla="*/ 195 h 309"/>
                <a:gd name="T30" fmla="*/ 255 w 314"/>
                <a:gd name="T31" fmla="*/ 273 h 309"/>
                <a:gd name="T32" fmla="*/ 210 w 314"/>
                <a:gd name="T33" fmla="*/ 298 h 309"/>
                <a:gd name="T34" fmla="*/ 125 w 314"/>
                <a:gd name="T35" fmla="*/ 288 h 309"/>
                <a:gd name="T36" fmla="*/ 189 w 314"/>
                <a:gd name="T37" fmla="*/ 228 h 309"/>
                <a:gd name="T38" fmla="*/ 205 w 314"/>
                <a:gd name="T39" fmla="*/ 219 h 309"/>
                <a:gd name="T40" fmla="*/ 288 w 314"/>
                <a:gd name="T41" fmla="*/ 193 h 309"/>
                <a:gd name="T42" fmla="*/ 231 w 314"/>
                <a:gd name="T43" fmla="*/ 154 h 309"/>
                <a:gd name="T44" fmla="*/ 288 w 314"/>
                <a:gd name="T45" fmla="*/ 115 h 309"/>
                <a:gd name="T46" fmla="*/ 205 w 314"/>
                <a:gd name="T47" fmla="*/ 90 h 309"/>
                <a:gd name="T48" fmla="*/ 189 w 314"/>
                <a:gd name="T49" fmla="*/ 80 h 309"/>
                <a:gd name="T50" fmla="*/ 125 w 314"/>
                <a:gd name="T51" fmla="*/ 21 h 309"/>
                <a:gd name="T52" fmla="*/ 119 w 314"/>
                <a:gd name="T53" fmla="*/ 90 h 309"/>
                <a:gd name="T54" fmla="*/ 57 w 314"/>
                <a:gd name="T55" fmla="*/ 60 h 309"/>
                <a:gd name="T56" fmla="*/ 77 w 314"/>
                <a:gd name="T57" fmla="*/ 145 h 309"/>
                <a:gd name="T58" fmla="*/ 77 w 314"/>
                <a:gd name="T59" fmla="*/ 164 h 309"/>
                <a:gd name="T60" fmla="*/ 57 w 314"/>
                <a:gd name="T61" fmla="*/ 249 h 309"/>
                <a:gd name="T62" fmla="*/ 119 w 314"/>
                <a:gd name="T63" fmla="*/ 219 h 309"/>
                <a:gd name="T64" fmla="*/ 125 w 314"/>
                <a:gd name="T65" fmla="*/ 28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4" h="309">
                  <a:moveTo>
                    <a:pt x="199" y="309"/>
                  </a:moveTo>
                  <a:cubicBezTo>
                    <a:pt x="114" y="309"/>
                    <a:pt x="114" y="309"/>
                    <a:pt x="114" y="309"/>
                  </a:cubicBezTo>
                  <a:cubicBezTo>
                    <a:pt x="108" y="309"/>
                    <a:pt x="103" y="304"/>
                    <a:pt x="103" y="298"/>
                  </a:cubicBezTo>
                  <a:cubicBezTo>
                    <a:pt x="103" y="247"/>
                    <a:pt x="103" y="247"/>
                    <a:pt x="103" y="247"/>
                  </a:cubicBezTo>
                  <a:cubicBezTo>
                    <a:pt x="59" y="273"/>
                    <a:pt x="59" y="273"/>
                    <a:pt x="59" y="273"/>
                  </a:cubicBezTo>
                  <a:cubicBezTo>
                    <a:pt x="54" y="275"/>
                    <a:pt x="47" y="274"/>
                    <a:pt x="44" y="269"/>
                  </a:cubicBezTo>
                  <a:cubicBezTo>
                    <a:pt x="1" y="195"/>
                    <a:pt x="1" y="195"/>
                    <a:pt x="1" y="195"/>
                  </a:cubicBezTo>
                  <a:cubicBezTo>
                    <a:pt x="0" y="192"/>
                    <a:pt x="0" y="189"/>
                    <a:pt x="0" y="187"/>
                  </a:cubicBezTo>
                  <a:cubicBezTo>
                    <a:pt x="1" y="184"/>
                    <a:pt x="3" y="182"/>
                    <a:pt x="5" y="180"/>
                  </a:cubicBezTo>
                  <a:cubicBezTo>
                    <a:pt x="50" y="154"/>
                    <a:pt x="50" y="154"/>
                    <a:pt x="50" y="154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3" y="127"/>
                    <a:pt x="1" y="125"/>
                    <a:pt x="0" y="122"/>
                  </a:cubicBezTo>
                  <a:cubicBezTo>
                    <a:pt x="0" y="119"/>
                    <a:pt x="0" y="116"/>
                    <a:pt x="1" y="114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7" y="35"/>
                    <a:pt x="54" y="33"/>
                    <a:pt x="59" y="36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4"/>
                    <a:pt x="108" y="0"/>
                    <a:pt x="114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5" y="0"/>
                    <a:pt x="210" y="4"/>
                    <a:pt x="210" y="10"/>
                  </a:cubicBezTo>
                  <a:cubicBezTo>
                    <a:pt x="210" y="62"/>
                    <a:pt x="210" y="62"/>
                    <a:pt x="210" y="62"/>
                  </a:cubicBezTo>
                  <a:cubicBezTo>
                    <a:pt x="255" y="36"/>
                    <a:pt x="255" y="36"/>
                    <a:pt x="255" y="36"/>
                  </a:cubicBezTo>
                  <a:cubicBezTo>
                    <a:pt x="260" y="33"/>
                    <a:pt x="266" y="35"/>
                    <a:pt x="269" y="40"/>
                  </a:cubicBezTo>
                  <a:cubicBezTo>
                    <a:pt x="312" y="114"/>
                    <a:pt x="312" y="114"/>
                    <a:pt x="312" y="114"/>
                  </a:cubicBezTo>
                  <a:cubicBezTo>
                    <a:pt x="313" y="116"/>
                    <a:pt x="314" y="119"/>
                    <a:pt x="313" y="122"/>
                  </a:cubicBezTo>
                  <a:cubicBezTo>
                    <a:pt x="312" y="125"/>
                    <a:pt x="310" y="127"/>
                    <a:pt x="308" y="129"/>
                  </a:cubicBezTo>
                  <a:cubicBezTo>
                    <a:pt x="263" y="154"/>
                    <a:pt x="263" y="154"/>
                    <a:pt x="263" y="154"/>
                  </a:cubicBezTo>
                  <a:cubicBezTo>
                    <a:pt x="308" y="180"/>
                    <a:pt x="308" y="180"/>
                    <a:pt x="308" y="180"/>
                  </a:cubicBezTo>
                  <a:cubicBezTo>
                    <a:pt x="310" y="182"/>
                    <a:pt x="312" y="184"/>
                    <a:pt x="313" y="187"/>
                  </a:cubicBezTo>
                  <a:cubicBezTo>
                    <a:pt x="314" y="189"/>
                    <a:pt x="313" y="192"/>
                    <a:pt x="312" y="195"/>
                  </a:cubicBezTo>
                  <a:cubicBezTo>
                    <a:pt x="269" y="269"/>
                    <a:pt x="269" y="269"/>
                    <a:pt x="269" y="269"/>
                  </a:cubicBezTo>
                  <a:cubicBezTo>
                    <a:pt x="266" y="274"/>
                    <a:pt x="260" y="275"/>
                    <a:pt x="255" y="273"/>
                  </a:cubicBezTo>
                  <a:cubicBezTo>
                    <a:pt x="210" y="247"/>
                    <a:pt x="210" y="247"/>
                    <a:pt x="210" y="247"/>
                  </a:cubicBezTo>
                  <a:cubicBezTo>
                    <a:pt x="210" y="298"/>
                    <a:pt x="210" y="298"/>
                    <a:pt x="210" y="298"/>
                  </a:cubicBezTo>
                  <a:cubicBezTo>
                    <a:pt x="210" y="304"/>
                    <a:pt x="205" y="309"/>
                    <a:pt x="199" y="309"/>
                  </a:cubicBezTo>
                  <a:close/>
                  <a:moveTo>
                    <a:pt x="125" y="288"/>
                  </a:moveTo>
                  <a:cubicBezTo>
                    <a:pt x="189" y="288"/>
                    <a:pt x="189" y="288"/>
                    <a:pt x="189" y="288"/>
                  </a:cubicBezTo>
                  <a:cubicBezTo>
                    <a:pt x="189" y="228"/>
                    <a:pt x="189" y="228"/>
                    <a:pt x="189" y="228"/>
                  </a:cubicBezTo>
                  <a:cubicBezTo>
                    <a:pt x="189" y="224"/>
                    <a:pt x="191" y="221"/>
                    <a:pt x="194" y="219"/>
                  </a:cubicBezTo>
                  <a:cubicBezTo>
                    <a:pt x="197" y="217"/>
                    <a:pt x="201" y="217"/>
                    <a:pt x="205" y="219"/>
                  </a:cubicBezTo>
                  <a:cubicBezTo>
                    <a:pt x="256" y="249"/>
                    <a:pt x="256" y="249"/>
                    <a:pt x="256" y="249"/>
                  </a:cubicBezTo>
                  <a:cubicBezTo>
                    <a:pt x="288" y="193"/>
                    <a:pt x="288" y="193"/>
                    <a:pt x="288" y="193"/>
                  </a:cubicBezTo>
                  <a:cubicBezTo>
                    <a:pt x="237" y="164"/>
                    <a:pt x="237" y="164"/>
                    <a:pt x="237" y="164"/>
                  </a:cubicBezTo>
                  <a:cubicBezTo>
                    <a:pt x="233" y="162"/>
                    <a:pt x="231" y="158"/>
                    <a:pt x="231" y="154"/>
                  </a:cubicBezTo>
                  <a:cubicBezTo>
                    <a:pt x="231" y="151"/>
                    <a:pt x="233" y="147"/>
                    <a:pt x="237" y="145"/>
                  </a:cubicBezTo>
                  <a:cubicBezTo>
                    <a:pt x="288" y="115"/>
                    <a:pt x="288" y="115"/>
                    <a:pt x="288" y="115"/>
                  </a:cubicBezTo>
                  <a:cubicBezTo>
                    <a:pt x="256" y="60"/>
                    <a:pt x="256" y="60"/>
                    <a:pt x="256" y="60"/>
                  </a:cubicBezTo>
                  <a:cubicBezTo>
                    <a:pt x="205" y="90"/>
                    <a:pt x="205" y="90"/>
                    <a:pt x="205" y="90"/>
                  </a:cubicBezTo>
                  <a:cubicBezTo>
                    <a:pt x="201" y="92"/>
                    <a:pt x="197" y="92"/>
                    <a:pt x="194" y="90"/>
                  </a:cubicBezTo>
                  <a:cubicBezTo>
                    <a:pt x="191" y="88"/>
                    <a:pt x="189" y="84"/>
                    <a:pt x="189" y="80"/>
                  </a:cubicBezTo>
                  <a:cubicBezTo>
                    <a:pt x="189" y="21"/>
                    <a:pt x="189" y="21"/>
                    <a:pt x="189" y="21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5" y="84"/>
                    <a:pt x="123" y="88"/>
                    <a:pt x="119" y="90"/>
                  </a:cubicBezTo>
                  <a:cubicBezTo>
                    <a:pt x="116" y="92"/>
                    <a:pt x="112" y="92"/>
                    <a:pt x="109" y="9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77" y="145"/>
                    <a:pt x="77" y="145"/>
                    <a:pt x="77" y="145"/>
                  </a:cubicBezTo>
                  <a:cubicBezTo>
                    <a:pt x="80" y="147"/>
                    <a:pt x="82" y="151"/>
                    <a:pt x="82" y="154"/>
                  </a:cubicBezTo>
                  <a:cubicBezTo>
                    <a:pt x="82" y="158"/>
                    <a:pt x="80" y="162"/>
                    <a:pt x="77" y="164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57" y="249"/>
                    <a:pt x="57" y="249"/>
                    <a:pt x="57" y="249"/>
                  </a:cubicBezTo>
                  <a:cubicBezTo>
                    <a:pt x="109" y="219"/>
                    <a:pt x="109" y="219"/>
                    <a:pt x="109" y="219"/>
                  </a:cubicBezTo>
                  <a:cubicBezTo>
                    <a:pt x="112" y="217"/>
                    <a:pt x="116" y="217"/>
                    <a:pt x="119" y="219"/>
                  </a:cubicBezTo>
                  <a:cubicBezTo>
                    <a:pt x="123" y="221"/>
                    <a:pt x="125" y="224"/>
                    <a:pt x="125" y="228"/>
                  </a:cubicBezTo>
                  <a:lnTo>
                    <a:pt x="125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367"/>
            <p:cNvSpPr>
              <a:spLocks noEditPoints="1"/>
            </p:cNvSpPr>
            <p:nvPr/>
          </p:nvSpPr>
          <p:spPr bwMode="auto">
            <a:xfrm>
              <a:off x="1913" y="1186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6" name="Freeform 371"/>
          <p:cNvSpPr>
            <a:spLocks noChangeAspect="1" noEditPoints="1"/>
          </p:cNvSpPr>
          <p:nvPr/>
        </p:nvSpPr>
        <p:spPr bwMode="auto">
          <a:xfrm>
            <a:off x="2414460" y="3744415"/>
            <a:ext cx="369676" cy="370763"/>
          </a:xfrm>
          <a:custGeom>
            <a:avLst/>
            <a:gdLst>
              <a:gd name="T0" fmla="*/ 387 w 512"/>
              <a:gd name="T1" fmla="*/ 211 h 512"/>
              <a:gd name="T2" fmla="*/ 330 w 512"/>
              <a:gd name="T3" fmla="*/ 250 h 512"/>
              <a:gd name="T4" fmla="*/ 387 w 512"/>
              <a:gd name="T5" fmla="*/ 289 h 512"/>
              <a:gd name="T6" fmla="*/ 304 w 512"/>
              <a:gd name="T7" fmla="*/ 315 h 512"/>
              <a:gd name="T8" fmla="*/ 288 w 512"/>
              <a:gd name="T9" fmla="*/ 324 h 512"/>
              <a:gd name="T10" fmla="*/ 224 w 512"/>
              <a:gd name="T11" fmla="*/ 384 h 512"/>
              <a:gd name="T12" fmla="*/ 218 w 512"/>
              <a:gd name="T13" fmla="*/ 315 h 512"/>
              <a:gd name="T14" fmla="*/ 156 w 512"/>
              <a:gd name="T15" fmla="*/ 345 h 512"/>
              <a:gd name="T16" fmla="*/ 176 w 512"/>
              <a:gd name="T17" fmla="*/ 260 h 512"/>
              <a:gd name="T18" fmla="*/ 176 w 512"/>
              <a:gd name="T19" fmla="*/ 241 h 512"/>
              <a:gd name="T20" fmla="*/ 156 w 512"/>
              <a:gd name="T21" fmla="*/ 156 h 512"/>
              <a:gd name="T22" fmla="*/ 218 w 512"/>
              <a:gd name="T23" fmla="*/ 186 h 512"/>
              <a:gd name="T24" fmla="*/ 224 w 512"/>
              <a:gd name="T25" fmla="*/ 117 h 512"/>
              <a:gd name="T26" fmla="*/ 288 w 512"/>
              <a:gd name="T27" fmla="*/ 176 h 512"/>
              <a:gd name="T28" fmla="*/ 304 w 512"/>
              <a:gd name="T29" fmla="*/ 186 h 512"/>
              <a:gd name="T30" fmla="*/ 512 w 512"/>
              <a:gd name="T31" fmla="*/ 256 h 512"/>
              <a:gd name="T32" fmla="*/ 0 w 512"/>
              <a:gd name="T33" fmla="*/ 256 h 512"/>
              <a:gd name="T34" fmla="*/ 512 w 512"/>
              <a:gd name="T35" fmla="*/ 256 h 512"/>
              <a:gd name="T36" fmla="*/ 407 w 512"/>
              <a:gd name="T37" fmla="*/ 225 h 512"/>
              <a:gd name="T38" fmla="*/ 411 w 512"/>
              <a:gd name="T39" fmla="*/ 210 h 512"/>
              <a:gd name="T40" fmla="*/ 354 w 512"/>
              <a:gd name="T41" fmla="*/ 132 h 512"/>
              <a:gd name="T42" fmla="*/ 309 w 512"/>
              <a:gd name="T43" fmla="*/ 106 h 512"/>
              <a:gd name="T44" fmla="*/ 213 w 512"/>
              <a:gd name="T45" fmla="*/ 96 h 512"/>
              <a:gd name="T46" fmla="*/ 202 w 512"/>
              <a:gd name="T47" fmla="*/ 158 h 512"/>
              <a:gd name="T48" fmla="*/ 143 w 512"/>
              <a:gd name="T49" fmla="*/ 136 h 512"/>
              <a:gd name="T50" fmla="*/ 99 w 512"/>
              <a:gd name="T51" fmla="*/ 218 h 512"/>
              <a:gd name="T52" fmla="*/ 149 w 512"/>
              <a:gd name="T53" fmla="*/ 250 h 512"/>
              <a:gd name="T54" fmla="*/ 99 w 512"/>
              <a:gd name="T55" fmla="*/ 283 h 512"/>
              <a:gd name="T56" fmla="*/ 143 w 512"/>
              <a:gd name="T57" fmla="*/ 365 h 512"/>
              <a:gd name="T58" fmla="*/ 202 w 512"/>
              <a:gd name="T59" fmla="*/ 343 h 512"/>
              <a:gd name="T60" fmla="*/ 213 w 512"/>
              <a:gd name="T61" fmla="*/ 405 h 512"/>
              <a:gd name="T62" fmla="*/ 309 w 512"/>
              <a:gd name="T63" fmla="*/ 394 h 512"/>
              <a:gd name="T64" fmla="*/ 354 w 512"/>
              <a:gd name="T65" fmla="*/ 369 h 512"/>
              <a:gd name="T66" fmla="*/ 411 w 512"/>
              <a:gd name="T67" fmla="*/ 291 h 512"/>
              <a:gd name="T68" fmla="*/ 407 w 512"/>
              <a:gd name="T69" fmla="*/ 27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55" y="156"/>
                </a:moveTo>
                <a:cubicBezTo>
                  <a:pt x="387" y="211"/>
                  <a:pt x="387" y="211"/>
                  <a:pt x="387" y="211"/>
                </a:cubicBezTo>
                <a:cubicBezTo>
                  <a:pt x="336" y="241"/>
                  <a:pt x="336" y="241"/>
                  <a:pt x="336" y="241"/>
                </a:cubicBezTo>
                <a:cubicBezTo>
                  <a:pt x="332" y="243"/>
                  <a:pt x="330" y="247"/>
                  <a:pt x="330" y="250"/>
                </a:cubicBezTo>
                <a:cubicBezTo>
                  <a:pt x="330" y="254"/>
                  <a:pt x="332" y="258"/>
                  <a:pt x="336" y="260"/>
                </a:cubicBezTo>
                <a:cubicBezTo>
                  <a:pt x="387" y="289"/>
                  <a:pt x="387" y="289"/>
                  <a:pt x="387" y="289"/>
                </a:cubicBezTo>
                <a:cubicBezTo>
                  <a:pt x="355" y="345"/>
                  <a:pt x="355" y="345"/>
                  <a:pt x="355" y="345"/>
                </a:cubicBezTo>
                <a:cubicBezTo>
                  <a:pt x="304" y="315"/>
                  <a:pt x="304" y="315"/>
                  <a:pt x="304" y="315"/>
                </a:cubicBezTo>
                <a:cubicBezTo>
                  <a:pt x="300" y="313"/>
                  <a:pt x="296" y="313"/>
                  <a:pt x="293" y="315"/>
                </a:cubicBezTo>
                <a:cubicBezTo>
                  <a:pt x="290" y="317"/>
                  <a:pt x="288" y="320"/>
                  <a:pt x="288" y="324"/>
                </a:cubicBezTo>
                <a:cubicBezTo>
                  <a:pt x="288" y="384"/>
                  <a:pt x="288" y="384"/>
                  <a:pt x="288" y="384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24" y="324"/>
                  <a:pt x="224" y="324"/>
                  <a:pt x="224" y="324"/>
                </a:cubicBezTo>
                <a:cubicBezTo>
                  <a:pt x="224" y="320"/>
                  <a:pt x="222" y="317"/>
                  <a:pt x="218" y="315"/>
                </a:cubicBezTo>
                <a:cubicBezTo>
                  <a:pt x="215" y="313"/>
                  <a:pt x="211" y="313"/>
                  <a:pt x="208" y="315"/>
                </a:cubicBezTo>
                <a:cubicBezTo>
                  <a:pt x="156" y="345"/>
                  <a:pt x="156" y="345"/>
                  <a:pt x="156" y="345"/>
                </a:cubicBezTo>
                <a:cubicBezTo>
                  <a:pt x="124" y="289"/>
                  <a:pt x="124" y="289"/>
                  <a:pt x="124" y="289"/>
                </a:cubicBezTo>
                <a:cubicBezTo>
                  <a:pt x="176" y="260"/>
                  <a:pt x="176" y="260"/>
                  <a:pt x="176" y="260"/>
                </a:cubicBezTo>
                <a:cubicBezTo>
                  <a:pt x="179" y="258"/>
                  <a:pt x="181" y="254"/>
                  <a:pt x="181" y="250"/>
                </a:cubicBezTo>
                <a:cubicBezTo>
                  <a:pt x="181" y="247"/>
                  <a:pt x="179" y="243"/>
                  <a:pt x="176" y="241"/>
                </a:cubicBezTo>
                <a:cubicBezTo>
                  <a:pt x="124" y="211"/>
                  <a:pt x="124" y="211"/>
                  <a:pt x="124" y="211"/>
                </a:cubicBezTo>
                <a:cubicBezTo>
                  <a:pt x="156" y="156"/>
                  <a:pt x="156" y="156"/>
                  <a:pt x="156" y="156"/>
                </a:cubicBezTo>
                <a:cubicBezTo>
                  <a:pt x="208" y="186"/>
                  <a:pt x="208" y="186"/>
                  <a:pt x="208" y="186"/>
                </a:cubicBezTo>
                <a:cubicBezTo>
                  <a:pt x="211" y="188"/>
                  <a:pt x="215" y="188"/>
                  <a:pt x="218" y="186"/>
                </a:cubicBezTo>
                <a:cubicBezTo>
                  <a:pt x="222" y="184"/>
                  <a:pt x="224" y="180"/>
                  <a:pt x="224" y="176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76"/>
                  <a:pt x="288" y="176"/>
                  <a:pt x="288" y="176"/>
                </a:cubicBezTo>
                <a:cubicBezTo>
                  <a:pt x="288" y="180"/>
                  <a:pt x="290" y="184"/>
                  <a:pt x="293" y="186"/>
                </a:cubicBezTo>
                <a:cubicBezTo>
                  <a:pt x="296" y="188"/>
                  <a:pt x="300" y="188"/>
                  <a:pt x="304" y="186"/>
                </a:cubicBezTo>
                <a:lnTo>
                  <a:pt x="355" y="1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2" y="250"/>
                </a:moveTo>
                <a:cubicBezTo>
                  <a:pt x="407" y="225"/>
                  <a:pt x="407" y="225"/>
                  <a:pt x="407" y="225"/>
                </a:cubicBezTo>
                <a:cubicBezTo>
                  <a:pt x="409" y="223"/>
                  <a:pt x="411" y="221"/>
                  <a:pt x="412" y="218"/>
                </a:cubicBezTo>
                <a:cubicBezTo>
                  <a:pt x="413" y="215"/>
                  <a:pt x="412" y="212"/>
                  <a:pt x="411" y="210"/>
                </a:cubicBezTo>
                <a:cubicBezTo>
                  <a:pt x="368" y="136"/>
                  <a:pt x="368" y="136"/>
                  <a:pt x="368" y="136"/>
                </a:cubicBezTo>
                <a:cubicBezTo>
                  <a:pt x="365" y="131"/>
                  <a:pt x="359" y="129"/>
                  <a:pt x="354" y="132"/>
                </a:cubicBezTo>
                <a:cubicBezTo>
                  <a:pt x="309" y="158"/>
                  <a:pt x="309" y="158"/>
                  <a:pt x="309" y="158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58"/>
                  <a:pt x="202" y="158"/>
                  <a:pt x="202" y="158"/>
                </a:cubicBezTo>
                <a:cubicBezTo>
                  <a:pt x="158" y="132"/>
                  <a:pt x="158" y="132"/>
                  <a:pt x="158" y="132"/>
                </a:cubicBezTo>
                <a:cubicBezTo>
                  <a:pt x="153" y="129"/>
                  <a:pt x="146" y="131"/>
                  <a:pt x="143" y="136"/>
                </a:cubicBezTo>
                <a:cubicBezTo>
                  <a:pt x="100" y="210"/>
                  <a:pt x="100" y="210"/>
                  <a:pt x="100" y="210"/>
                </a:cubicBezTo>
                <a:cubicBezTo>
                  <a:pt x="99" y="212"/>
                  <a:pt x="99" y="215"/>
                  <a:pt x="99" y="218"/>
                </a:cubicBezTo>
                <a:cubicBezTo>
                  <a:pt x="100" y="221"/>
                  <a:pt x="102" y="223"/>
                  <a:pt x="104" y="225"/>
                </a:cubicBezTo>
                <a:cubicBezTo>
                  <a:pt x="149" y="250"/>
                  <a:pt x="149" y="250"/>
                  <a:pt x="149" y="250"/>
                </a:cubicBezTo>
                <a:cubicBezTo>
                  <a:pt x="104" y="276"/>
                  <a:pt x="104" y="276"/>
                  <a:pt x="104" y="276"/>
                </a:cubicBezTo>
                <a:cubicBezTo>
                  <a:pt x="102" y="278"/>
                  <a:pt x="100" y="280"/>
                  <a:pt x="99" y="283"/>
                </a:cubicBezTo>
                <a:cubicBezTo>
                  <a:pt x="99" y="285"/>
                  <a:pt x="99" y="288"/>
                  <a:pt x="100" y="291"/>
                </a:cubicBezTo>
                <a:cubicBezTo>
                  <a:pt x="143" y="365"/>
                  <a:pt x="143" y="365"/>
                  <a:pt x="143" y="365"/>
                </a:cubicBezTo>
                <a:cubicBezTo>
                  <a:pt x="146" y="370"/>
                  <a:pt x="153" y="371"/>
                  <a:pt x="158" y="369"/>
                </a:cubicBezTo>
                <a:cubicBezTo>
                  <a:pt x="202" y="343"/>
                  <a:pt x="202" y="343"/>
                  <a:pt x="202" y="343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02" y="400"/>
                  <a:pt x="207" y="405"/>
                  <a:pt x="213" y="405"/>
                </a:cubicBezTo>
                <a:cubicBezTo>
                  <a:pt x="298" y="405"/>
                  <a:pt x="298" y="405"/>
                  <a:pt x="298" y="405"/>
                </a:cubicBezTo>
                <a:cubicBezTo>
                  <a:pt x="304" y="405"/>
                  <a:pt x="309" y="400"/>
                  <a:pt x="309" y="394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54" y="369"/>
                  <a:pt x="354" y="369"/>
                  <a:pt x="354" y="369"/>
                </a:cubicBezTo>
                <a:cubicBezTo>
                  <a:pt x="359" y="371"/>
                  <a:pt x="365" y="370"/>
                  <a:pt x="368" y="365"/>
                </a:cubicBezTo>
                <a:cubicBezTo>
                  <a:pt x="411" y="291"/>
                  <a:pt x="411" y="291"/>
                  <a:pt x="411" y="291"/>
                </a:cubicBezTo>
                <a:cubicBezTo>
                  <a:pt x="412" y="288"/>
                  <a:pt x="413" y="285"/>
                  <a:pt x="412" y="283"/>
                </a:cubicBezTo>
                <a:cubicBezTo>
                  <a:pt x="411" y="280"/>
                  <a:pt x="409" y="278"/>
                  <a:pt x="407" y="276"/>
                </a:cubicBezTo>
                <a:lnTo>
                  <a:pt x="362" y="25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7" name="Group 324"/>
          <p:cNvGrpSpPr>
            <a:grpSpLocks noChangeAspect="1"/>
          </p:cNvGrpSpPr>
          <p:nvPr/>
        </p:nvGrpSpPr>
        <p:grpSpPr bwMode="auto">
          <a:xfrm>
            <a:off x="3414749" y="3744411"/>
            <a:ext cx="367041" cy="368120"/>
            <a:chOff x="3562" y="1749"/>
            <a:chExt cx="340" cy="341"/>
          </a:xfrm>
          <a:solidFill>
            <a:schemeClr val="accent4"/>
          </a:solidFill>
        </p:grpSpPr>
        <p:sp>
          <p:nvSpPr>
            <p:cNvPr id="248" name="Freeform 325"/>
            <p:cNvSpPr>
              <a:spLocks noEditPoints="1"/>
            </p:cNvSpPr>
            <p:nvPr/>
          </p:nvSpPr>
          <p:spPr bwMode="auto">
            <a:xfrm>
              <a:off x="3654" y="1828"/>
              <a:ext cx="156" cy="170"/>
            </a:xfrm>
            <a:custGeom>
              <a:avLst/>
              <a:gdLst>
                <a:gd name="T0" fmla="*/ 170 w 234"/>
                <a:gd name="T1" fmla="*/ 0 h 256"/>
                <a:gd name="T2" fmla="*/ 64 w 234"/>
                <a:gd name="T3" fmla="*/ 53 h 256"/>
                <a:gd name="T4" fmla="*/ 0 w 234"/>
                <a:gd name="T5" fmla="*/ 64 h 256"/>
                <a:gd name="T6" fmla="*/ 64 w 234"/>
                <a:gd name="T7" fmla="*/ 256 h 256"/>
                <a:gd name="T8" fmla="*/ 74 w 234"/>
                <a:gd name="T9" fmla="*/ 170 h 256"/>
                <a:gd name="T10" fmla="*/ 170 w 234"/>
                <a:gd name="T11" fmla="*/ 181 h 256"/>
                <a:gd name="T12" fmla="*/ 234 w 234"/>
                <a:gd name="T13" fmla="*/ 256 h 256"/>
                <a:gd name="T14" fmla="*/ 181 w 234"/>
                <a:gd name="T15" fmla="*/ 64 h 256"/>
                <a:gd name="T16" fmla="*/ 32 w 234"/>
                <a:gd name="T17" fmla="*/ 234 h 256"/>
                <a:gd name="T18" fmla="*/ 32 w 234"/>
                <a:gd name="T19" fmla="*/ 213 h 256"/>
                <a:gd name="T20" fmla="*/ 32 w 234"/>
                <a:gd name="T21" fmla="*/ 234 h 256"/>
                <a:gd name="T22" fmla="*/ 21 w 234"/>
                <a:gd name="T23" fmla="*/ 181 h 256"/>
                <a:gd name="T24" fmla="*/ 42 w 234"/>
                <a:gd name="T25" fmla="*/ 181 h 256"/>
                <a:gd name="T26" fmla="*/ 32 w 234"/>
                <a:gd name="T27" fmla="*/ 149 h 256"/>
                <a:gd name="T28" fmla="*/ 32 w 234"/>
                <a:gd name="T29" fmla="*/ 128 h 256"/>
                <a:gd name="T30" fmla="*/ 32 w 234"/>
                <a:gd name="T31" fmla="*/ 149 h 256"/>
                <a:gd name="T32" fmla="*/ 21 w 234"/>
                <a:gd name="T33" fmla="*/ 96 h 256"/>
                <a:gd name="T34" fmla="*/ 42 w 234"/>
                <a:gd name="T35" fmla="*/ 96 h 256"/>
                <a:gd name="T36" fmla="*/ 74 w 234"/>
                <a:gd name="T37" fmla="*/ 149 h 256"/>
                <a:gd name="T38" fmla="*/ 74 w 234"/>
                <a:gd name="T39" fmla="*/ 128 h 256"/>
                <a:gd name="T40" fmla="*/ 74 w 234"/>
                <a:gd name="T41" fmla="*/ 149 h 256"/>
                <a:gd name="T42" fmla="*/ 64 w 234"/>
                <a:gd name="T43" fmla="*/ 96 h 256"/>
                <a:gd name="T44" fmla="*/ 85 w 234"/>
                <a:gd name="T45" fmla="*/ 96 h 256"/>
                <a:gd name="T46" fmla="*/ 117 w 234"/>
                <a:gd name="T47" fmla="*/ 149 h 256"/>
                <a:gd name="T48" fmla="*/ 117 w 234"/>
                <a:gd name="T49" fmla="*/ 128 h 256"/>
                <a:gd name="T50" fmla="*/ 117 w 234"/>
                <a:gd name="T51" fmla="*/ 149 h 256"/>
                <a:gd name="T52" fmla="*/ 128 w 234"/>
                <a:gd name="T53" fmla="*/ 64 h 256"/>
                <a:gd name="T54" fmla="*/ 117 w 234"/>
                <a:gd name="T55" fmla="*/ 85 h 256"/>
                <a:gd name="T56" fmla="*/ 106 w 234"/>
                <a:gd name="T57" fmla="*/ 64 h 256"/>
                <a:gd name="T58" fmla="*/ 85 w 234"/>
                <a:gd name="T59" fmla="*/ 53 h 256"/>
                <a:gd name="T60" fmla="*/ 106 w 234"/>
                <a:gd name="T61" fmla="*/ 42 h 256"/>
                <a:gd name="T62" fmla="*/ 117 w 234"/>
                <a:gd name="T63" fmla="*/ 21 h 256"/>
                <a:gd name="T64" fmla="*/ 128 w 234"/>
                <a:gd name="T65" fmla="*/ 42 h 256"/>
                <a:gd name="T66" fmla="*/ 149 w 234"/>
                <a:gd name="T67" fmla="*/ 53 h 256"/>
                <a:gd name="T68" fmla="*/ 160 w 234"/>
                <a:gd name="T69" fmla="*/ 149 h 256"/>
                <a:gd name="T70" fmla="*/ 160 w 234"/>
                <a:gd name="T71" fmla="*/ 128 h 256"/>
                <a:gd name="T72" fmla="*/ 160 w 234"/>
                <a:gd name="T73" fmla="*/ 149 h 256"/>
                <a:gd name="T74" fmla="*/ 149 w 234"/>
                <a:gd name="T75" fmla="*/ 96 h 256"/>
                <a:gd name="T76" fmla="*/ 170 w 234"/>
                <a:gd name="T77" fmla="*/ 96 h 256"/>
                <a:gd name="T78" fmla="*/ 202 w 234"/>
                <a:gd name="T79" fmla="*/ 85 h 256"/>
                <a:gd name="T80" fmla="*/ 202 w 234"/>
                <a:gd name="T81" fmla="*/ 106 h 256"/>
                <a:gd name="T82" fmla="*/ 202 w 234"/>
                <a:gd name="T83" fmla="*/ 85 h 256"/>
                <a:gd name="T84" fmla="*/ 213 w 234"/>
                <a:gd name="T85" fmla="*/ 138 h 256"/>
                <a:gd name="T86" fmla="*/ 192 w 234"/>
                <a:gd name="T87" fmla="*/ 138 h 256"/>
                <a:gd name="T88" fmla="*/ 202 w 234"/>
                <a:gd name="T89" fmla="*/ 170 h 256"/>
                <a:gd name="T90" fmla="*/ 202 w 234"/>
                <a:gd name="T91" fmla="*/ 192 h 256"/>
                <a:gd name="T92" fmla="*/ 202 w 234"/>
                <a:gd name="T93" fmla="*/ 170 h 256"/>
                <a:gd name="T94" fmla="*/ 213 w 234"/>
                <a:gd name="T95" fmla="*/ 224 h 256"/>
                <a:gd name="T96" fmla="*/ 192 w 234"/>
                <a:gd name="T97" fmla="*/ 22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4" h="256">
                  <a:moveTo>
                    <a:pt x="170" y="53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59" y="64"/>
                    <a:pt x="53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64" y="181"/>
                    <a:pt x="64" y="181"/>
                    <a:pt x="64" y="181"/>
                  </a:cubicBezTo>
                  <a:cubicBezTo>
                    <a:pt x="64" y="175"/>
                    <a:pt x="68" y="170"/>
                    <a:pt x="74" y="170"/>
                  </a:cubicBezTo>
                  <a:cubicBezTo>
                    <a:pt x="160" y="170"/>
                    <a:pt x="160" y="170"/>
                    <a:pt x="160" y="170"/>
                  </a:cubicBezTo>
                  <a:cubicBezTo>
                    <a:pt x="166" y="170"/>
                    <a:pt x="170" y="175"/>
                    <a:pt x="170" y="181"/>
                  </a:cubicBezTo>
                  <a:cubicBezTo>
                    <a:pt x="170" y="256"/>
                    <a:pt x="170" y="256"/>
                    <a:pt x="170" y="256"/>
                  </a:cubicBezTo>
                  <a:cubicBezTo>
                    <a:pt x="234" y="256"/>
                    <a:pt x="234" y="256"/>
                    <a:pt x="234" y="256"/>
                  </a:cubicBezTo>
                  <a:cubicBezTo>
                    <a:pt x="234" y="64"/>
                    <a:pt x="234" y="64"/>
                    <a:pt x="234" y="64"/>
                  </a:cubicBezTo>
                  <a:cubicBezTo>
                    <a:pt x="181" y="64"/>
                    <a:pt x="181" y="64"/>
                    <a:pt x="181" y="64"/>
                  </a:cubicBezTo>
                  <a:cubicBezTo>
                    <a:pt x="175" y="64"/>
                    <a:pt x="170" y="59"/>
                    <a:pt x="170" y="53"/>
                  </a:cubicBezTo>
                  <a:close/>
                  <a:moveTo>
                    <a:pt x="32" y="234"/>
                  </a:moveTo>
                  <a:cubicBezTo>
                    <a:pt x="26" y="234"/>
                    <a:pt x="21" y="230"/>
                    <a:pt x="21" y="224"/>
                  </a:cubicBezTo>
                  <a:cubicBezTo>
                    <a:pt x="21" y="218"/>
                    <a:pt x="26" y="213"/>
                    <a:pt x="32" y="213"/>
                  </a:cubicBezTo>
                  <a:cubicBezTo>
                    <a:pt x="38" y="213"/>
                    <a:pt x="42" y="218"/>
                    <a:pt x="42" y="224"/>
                  </a:cubicBezTo>
                  <a:cubicBezTo>
                    <a:pt x="42" y="230"/>
                    <a:pt x="38" y="234"/>
                    <a:pt x="32" y="234"/>
                  </a:cubicBezTo>
                  <a:close/>
                  <a:moveTo>
                    <a:pt x="32" y="192"/>
                  </a:moveTo>
                  <a:cubicBezTo>
                    <a:pt x="26" y="192"/>
                    <a:pt x="21" y="187"/>
                    <a:pt x="21" y="181"/>
                  </a:cubicBezTo>
                  <a:cubicBezTo>
                    <a:pt x="21" y="175"/>
                    <a:pt x="26" y="170"/>
                    <a:pt x="32" y="170"/>
                  </a:cubicBezTo>
                  <a:cubicBezTo>
                    <a:pt x="38" y="170"/>
                    <a:pt x="42" y="175"/>
                    <a:pt x="42" y="181"/>
                  </a:cubicBezTo>
                  <a:cubicBezTo>
                    <a:pt x="42" y="187"/>
                    <a:pt x="38" y="192"/>
                    <a:pt x="32" y="192"/>
                  </a:cubicBezTo>
                  <a:close/>
                  <a:moveTo>
                    <a:pt x="32" y="149"/>
                  </a:moveTo>
                  <a:cubicBezTo>
                    <a:pt x="26" y="149"/>
                    <a:pt x="21" y="144"/>
                    <a:pt x="21" y="138"/>
                  </a:cubicBezTo>
                  <a:cubicBezTo>
                    <a:pt x="21" y="132"/>
                    <a:pt x="26" y="128"/>
                    <a:pt x="32" y="128"/>
                  </a:cubicBezTo>
                  <a:cubicBezTo>
                    <a:pt x="38" y="128"/>
                    <a:pt x="42" y="132"/>
                    <a:pt x="42" y="138"/>
                  </a:cubicBezTo>
                  <a:cubicBezTo>
                    <a:pt x="42" y="144"/>
                    <a:pt x="38" y="149"/>
                    <a:pt x="32" y="149"/>
                  </a:cubicBezTo>
                  <a:close/>
                  <a:moveTo>
                    <a:pt x="32" y="106"/>
                  </a:moveTo>
                  <a:cubicBezTo>
                    <a:pt x="26" y="106"/>
                    <a:pt x="21" y="102"/>
                    <a:pt x="21" y="96"/>
                  </a:cubicBezTo>
                  <a:cubicBezTo>
                    <a:pt x="21" y="90"/>
                    <a:pt x="26" y="85"/>
                    <a:pt x="32" y="85"/>
                  </a:cubicBezTo>
                  <a:cubicBezTo>
                    <a:pt x="38" y="85"/>
                    <a:pt x="42" y="90"/>
                    <a:pt x="42" y="96"/>
                  </a:cubicBezTo>
                  <a:cubicBezTo>
                    <a:pt x="42" y="102"/>
                    <a:pt x="38" y="106"/>
                    <a:pt x="32" y="106"/>
                  </a:cubicBezTo>
                  <a:close/>
                  <a:moveTo>
                    <a:pt x="74" y="149"/>
                  </a:moveTo>
                  <a:cubicBezTo>
                    <a:pt x="68" y="149"/>
                    <a:pt x="64" y="144"/>
                    <a:pt x="64" y="138"/>
                  </a:cubicBezTo>
                  <a:cubicBezTo>
                    <a:pt x="64" y="132"/>
                    <a:pt x="68" y="128"/>
                    <a:pt x="74" y="128"/>
                  </a:cubicBezTo>
                  <a:cubicBezTo>
                    <a:pt x="80" y="128"/>
                    <a:pt x="85" y="132"/>
                    <a:pt x="85" y="138"/>
                  </a:cubicBezTo>
                  <a:cubicBezTo>
                    <a:pt x="85" y="144"/>
                    <a:pt x="80" y="149"/>
                    <a:pt x="74" y="149"/>
                  </a:cubicBezTo>
                  <a:close/>
                  <a:moveTo>
                    <a:pt x="74" y="106"/>
                  </a:moveTo>
                  <a:cubicBezTo>
                    <a:pt x="68" y="106"/>
                    <a:pt x="64" y="102"/>
                    <a:pt x="64" y="96"/>
                  </a:cubicBezTo>
                  <a:cubicBezTo>
                    <a:pt x="64" y="90"/>
                    <a:pt x="68" y="85"/>
                    <a:pt x="74" y="85"/>
                  </a:cubicBezTo>
                  <a:cubicBezTo>
                    <a:pt x="80" y="85"/>
                    <a:pt x="85" y="90"/>
                    <a:pt x="85" y="96"/>
                  </a:cubicBezTo>
                  <a:cubicBezTo>
                    <a:pt x="85" y="102"/>
                    <a:pt x="80" y="106"/>
                    <a:pt x="74" y="106"/>
                  </a:cubicBezTo>
                  <a:close/>
                  <a:moveTo>
                    <a:pt x="117" y="149"/>
                  </a:moveTo>
                  <a:cubicBezTo>
                    <a:pt x="111" y="149"/>
                    <a:pt x="106" y="144"/>
                    <a:pt x="106" y="138"/>
                  </a:cubicBezTo>
                  <a:cubicBezTo>
                    <a:pt x="106" y="132"/>
                    <a:pt x="111" y="128"/>
                    <a:pt x="117" y="128"/>
                  </a:cubicBezTo>
                  <a:cubicBezTo>
                    <a:pt x="123" y="128"/>
                    <a:pt x="128" y="132"/>
                    <a:pt x="128" y="138"/>
                  </a:cubicBezTo>
                  <a:cubicBezTo>
                    <a:pt x="128" y="144"/>
                    <a:pt x="123" y="149"/>
                    <a:pt x="117" y="149"/>
                  </a:cubicBezTo>
                  <a:close/>
                  <a:moveTo>
                    <a:pt x="138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80"/>
                    <a:pt x="123" y="85"/>
                    <a:pt x="117" y="85"/>
                  </a:cubicBezTo>
                  <a:cubicBezTo>
                    <a:pt x="111" y="85"/>
                    <a:pt x="106" y="80"/>
                    <a:pt x="106" y="74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0" y="64"/>
                    <a:pt x="85" y="59"/>
                    <a:pt x="85" y="53"/>
                  </a:cubicBezTo>
                  <a:cubicBezTo>
                    <a:pt x="85" y="47"/>
                    <a:pt x="90" y="42"/>
                    <a:pt x="9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26"/>
                    <a:pt x="111" y="21"/>
                    <a:pt x="117" y="21"/>
                  </a:cubicBezTo>
                  <a:cubicBezTo>
                    <a:pt x="123" y="21"/>
                    <a:pt x="128" y="26"/>
                    <a:pt x="128" y="3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44" y="42"/>
                    <a:pt x="149" y="47"/>
                    <a:pt x="149" y="53"/>
                  </a:cubicBezTo>
                  <a:cubicBezTo>
                    <a:pt x="149" y="59"/>
                    <a:pt x="144" y="64"/>
                    <a:pt x="138" y="64"/>
                  </a:cubicBezTo>
                  <a:close/>
                  <a:moveTo>
                    <a:pt x="160" y="149"/>
                  </a:moveTo>
                  <a:cubicBezTo>
                    <a:pt x="154" y="149"/>
                    <a:pt x="149" y="144"/>
                    <a:pt x="149" y="138"/>
                  </a:cubicBezTo>
                  <a:cubicBezTo>
                    <a:pt x="149" y="132"/>
                    <a:pt x="154" y="128"/>
                    <a:pt x="160" y="128"/>
                  </a:cubicBezTo>
                  <a:cubicBezTo>
                    <a:pt x="166" y="128"/>
                    <a:pt x="170" y="132"/>
                    <a:pt x="170" y="138"/>
                  </a:cubicBezTo>
                  <a:cubicBezTo>
                    <a:pt x="170" y="144"/>
                    <a:pt x="166" y="149"/>
                    <a:pt x="160" y="149"/>
                  </a:cubicBezTo>
                  <a:close/>
                  <a:moveTo>
                    <a:pt x="160" y="106"/>
                  </a:moveTo>
                  <a:cubicBezTo>
                    <a:pt x="154" y="106"/>
                    <a:pt x="149" y="102"/>
                    <a:pt x="149" y="96"/>
                  </a:cubicBezTo>
                  <a:cubicBezTo>
                    <a:pt x="149" y="90"/>
                    <a:pt x="154" y="85"/>
                    <a:pt x="160" y="85"/>
                  </a:cubicBezTo>
                  <a:cubicBezTo>
                    <a:pt x="166" y="85"/>
                    <a:pt x="170" y="90"/>
                    <a:pt x="170" y="96"/>
                  </a:cubicBezTo>
                  <a:cubicBezTo>
                    <a:pt x="170" y="102"/>
                    <a:pt x="166" y="106"/>
                    <a:pt x="160" y="106"/>
                  </a:cubicBezTo>
                  <a:close/>
                  <a:moveTo>
                    <a:pt x="202" y="85"/>
                  </a:moveTo>
                  <a:cubicBezTo>
                    <a:pt x="208" y="85"/>
                    <a:pt x="213" y="90"/>
                    <a:pt x="213" y="96"/>
                  </a:cubicBezTo>
                  <a:cubicBezTo>
                    <a:pt x="213" y="102"/>
                    <a:pt x="208" y="106"/>
                    <a:pt x="202" y="106"/>
                  </a:cubicBezTo>
                  <a:cubicBezTo>
                    <a:pt x="196" y="106"/>
                    <a:pt x="192" y="102"/>
                    <a:pt x="192" y="96"/>
                  </a:cubicBezTo>
                  <a:cubicBezTo>
                    <a:pt x="192" y="90"/>
                    <a:pt x="196" y="85"/>
                    <a:pt x="202" y="85"/>
                  </a:cubicBezTo>
                  <a:close/>
                  <a:moveTo>
                    <a:pt x="202" y="128"/>
                  </a:moveTo>
                  <a:cubicBezTo>
                    <a:pt x="208" y="128"/>
                    <a:pt x="213" y="132"/>
                    <a:pt x="213" y="138"/>
                  </a:cubicBezTo>
                  <a:cubicBezTo>
                    <a:pt x="213" y="144"/>
                    <a:pt x="208" y="149"/>
                    <a:pt x="202" y="149"/>
                  </a:cubicBezTo>
                  <a:cubicBezTo>
                    <a:pt x="196" y="149"/>
                    <a:pt x="192" y="144"/>
                    <a:pt x="192" y="138"/>
                  </a:cubicBezTo>
                  <a:cubicBezTo>
                    <a:pt x="192" y="132"/>
                    <a:pt x="196" y="128"/>
                    <a:pt x="202" y="128"/>
                  </a:cubicBezTo>
                  <a:close/>
                  <a:moveTo>
                    <a:pt x="202" y="170"/>
                  </a:moveTo>
                  <a:cubicBezTo>
                    <a:pt x="208" y="170"/>
                    <a:pt x="213" y="175"/>
                    <a:pt x="213" y="181"/>
                  </a:cubicBezTo>
                  <a:cubicBezTo>
                    <a:pt x="213" y="187"/>
                    <a:pt x="208" y="192"/>
                    <a:pt x="202" y="192"/>
                  </a:cubicBezTo>
                  <a:cubicBezTo>
                    <a:pt x="196" y="192"/>
                    <a:pt x="192" y="187"/>
                    <a:pt x="192" y="181"/>
                  </a:cubicBezTo>
                  <a:cubicBezTo>
                    <a:pt x="192" y="175"/>
                    <a:pt x="196" y="170"/>
                    <a:pt x="202" y="170"/>
                  </a:cubicBezTo>
                  <a:close/>
                  <a:moveTo>
                    <a:pt x="202" y="213"/>
                  </a:moveTo>
                  <a:cubicBezTo>
                    <a:pt x="208" y="213"/>
                    <a:pt x="213" y="218"/>
                    <a:pt x="213" y="224"/>
                  </a:cubicBezTo>
                  <a:cubicBezTo>
                    <a:pt x="213" y="230"/>
                    <a:pt x="208" y="234"/>
                    <a:pt x="202" y="234"/>
                  </a:cubicBezTo>
                  <a:cubicBezTo>
                    <a:pt x="196" y="234"/>
                    <a:pt x="192" y="230"/>
                    <a:pt x="192" y="224"/>
                  </a:cubicBezTo>
                  <a:cubicBezTo>
                    <a:pt x="192" y="218"/>
                    <a:pt x="196" y="213"/>
                    <a:pt x="202" y="2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Rectangle 326"/>
            <p:cNvSpPr>
              <a:spLocks noChangeArrowheads="1"/>
            </p:cNvSpPr>
            <p:nvPr/>
          </p:nvSpPr>
          <p:spPr bwMode="auto">
            <a:xfrm>
              <a:off x="3739" y="1955"/>
              <a:ext cx="14" cy="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327"/>
            <p:cNvSpPr>
              <a:spLocks noEditPoints="1"/>
            </p:cNvSpPr>
            <p:nvPr/>
          </p:nvSpPr>
          <p:spPr bwMode="auto">
            <a:xfrm>
              <a:off x="3562" y="1749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5 w 512"/>
                <a:gd name="T11" fmla="*/ 182 h 512"/>
                <a:gd name="T12" fmla="*/ 395 w 512"/>
                <a:gd name="T13" fmla="*/ 384 h 512"/>
                <a:gd name="T14" fmla="*/ 384 w 512"/>
                <a:gd name="T15" fmla="*/ 395 h 512"/>
                <a:gd name="T16" fmla="*/ 128 w 512"/>
                <a:gd name="T17" fmla="*/ 395 h 512"/>
                <a:gd name="T18" fmla="*/ 117 w 512"/>
                <a:gd name="T19" fmla="*/ 384 h 512"/>
                <a:gd name="T20" fmla="*/ 117 w 512"/>
                <a:gd name="T21" fmla="*/ 182 h 512"/>
                <a:gd name="T22" fmla="*/ 107 w 512"/>
                <a:gd name="T23" fmla="*/ 171 h 512"/>
                <a:gd name="T24" fmla="*/ 117 w 512"/>
                <a:gd name="T25" fmla="*/ 160 h 512"/>
                <a:gd name="T26" fmla="*/ 181 w 512"/>
                <a:gd name="T27" fmla="*/ 160 h 512"/>
                <a:gd name="T28" fmla="*/ 181 w 512"/>
                <a:gd name="T29" fmla="*/ 107 h 512"/>
                <a:gd name="T30" fmla="*/ 192 w 512"/>
                <a:gd name="T31" fmla="*/ 96 h 512"/>
                <a:gd name="T32" fmla="*/ 320 w 512"/>
                <a:gd name="T33" fmla="*/ 96 h 512"/>
                <a:gd name="T34" fmla="*/ 331 w 512"/>
                <a:gd name="T35" fmla="*/ 107 h 512"/>
                <a:gd name="T36" fmla="*/ 331 w 512"/>
                <a:gd name="T37" fmla="*/ 160 h 512"/>
                <a:gd name="T38" fmla="*/ 395 w 512"/>
                <a:gd name="T39" fmla="*/ 160 h 512"/>
                <a:gd name="T40" fmla="*/ 405 w 512"/>
                <a:gd name="T41" fmla="*/ 171 h 512"/>
                <a:gd name="T42" fmla="*/ 395 w 512"/>
                <a:gd name="T43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395" y="182"/>
                  </a:moveTo>
                  <a:cubicBezTo>
                    <a:pt x="395" y="384"/>
                    <a:pt x="395" y="384"/>
                    <a:pt x="395" y="384"/>
                  </a:cubicBezTo>
                  <a:cubicBezTo>
                    <a:pt x="395" y="390"/>
                    <a:pt x="390" y="395"/>
                    <a:pt x="384" y="395"/>
                  </a:cubicBezTo>
                  <a:cubicBezTo>
                    <a:pt x="128" y="395"/>
                    <a:pt x="128" y="395"/>
                    <a:pt x="128" y="395"/>
                  </a:cubicBezTo>
                  <a:cubicBezTo>
                    <a:pt x="122" y="395"/>
                    <a:pt x="117" y="390"/>
                    <a:pt x="117" y="384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1" y="182"/>
                    <a:pt x="107" y="177"/>
                    <a:pt x="107" y="171"/>
                  </a:cubicBezTo>
                  <a:cubicBezTo>
                    <a:pt x="107" y="165"/>
                    <a:pt x="111" y="160"/>
                    <a:pt x="117" y="160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81" y="107"/>
                    <a:pt x="181" y="107"/>
                    <a:pt x="181" y="107"/>
                  </a:cubicBezTo>
                  <a:cubicBezTo>
                    <a:pt x="181" y="101"/>
                    <a:pt x="186" y="96"/>
                    <a:pt x="192" y="96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6" y="96"/>
                    <a:pt x="331" y="101"/>
                    <a:pt x="331" y="107"/>
                  </a:cubicBezTo>
                  <a:cubicBezTo>
                    <a:pt x="331" y="160"/>
                    <a:pt x="331" y="160"/>
                    <a:pt x="331" y="160"/>
                  </a:cubicBezTo>
                  <a:cubicBezTo>
                    <a:pt x="395" y="160"/>
                    <a:pt x="395" y="160"/>
                    <a:pt x="395" y="160"/>
                  </a:cubicBezTo>
                  <a:cubicBezTo>
                    <a:pt x="401" y="160"/>
                    <a:pt x="405" y="165"/>
                    <a:pt x="405" y="171"/>
                  </a:cubicBezTo>
                  <a:cubicBezTo>
                    <a:pt x="405" y="177"/>
                    <a:pt x="401" y="182"/>
                    <a:pt x="395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Rectangle 328"/>
            <p:cNvSpPr>
              <a:spLocks noChangeArrowheads="1"/>
            </p:cNvSpPr>
            <p:nvPr/>
          </p:nvSpPr>
          <p:spPr bwMode="auto">
            <a:xfrm>
              <a:off x="3711" y="1955"/>
              <a:ext cx="14" cy="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2" name="Group 331"/>
          <p:cNvGrpSpPr>
            <a:grpSpLocks noChangeAspect="1"/>
          </p:cNvGrpSpPr>
          <p:nvPr/>
        </p:nvGrpSpPr>
        <p:grpSpPr bwMode="auto">
          <a:xfrm>
            <a:off x="3911715" y="3744415"/>
            <a:ext cx="367041" cy="367041"/>
            <a:chOff x="3628" y="1334"/>
            <a:chExt cx="340" cy="340"/>
          </a:xfrm>
          <a:solidFill>
            <a:schemeClr val="accent4"/>
          </a:solidFill>
        </p:grpSpPr>
        <p:sp>
          <p:nvSpPr>
            <p:cNvPr id="253" name="Freeform 332"/>
            <p:cNvSpPr>
              <a:spLocks noEditPoints="1"/>
            </p:cNvSpPr>
            <p:nvPr/>
          </p:nvSpPr>
          <p:spPr bwMode="auto">
            <a:xfrm>
              <a:off x="3628" y="1334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333"/>
            <p:cNvSpPr>
              <a:spLocks noEditPoints="1"/>
            </p:cNvSpPr>
            <p:nvPr/>
          </p:nvSpPr>
          <p:spPr bwMode="auto">
            <a:xfrm>
              <a:off x="3699" y="1398"/>
              <a:ext cx="198" cy="198"/>
            </a:xfrm>
            <a:custGeom>
              <a:avLst/>
              <a:gdLst>
                <a:gd name="T0" fmla="*/ 170 w 298"/>
                <a:gd name="T1" fmla="*/ 86 h 299"/>
                <a:gd name="T2" fmla="*/ 160 w 298"/>
                <a:gd name="T3" fmla="*/ 96 h 299"/>
                <a:gd name="T4" fmla="*/ 138 w 298"/>
                <a:gd name="T5" fmla="*/ 96 h 299"/>
                <a:gd name="T6" fmla="*/ 128 w 298"/>
                <a:gd name="T7" fmla="*/ 86 h 299"/>
                <a:gd name="T8" fmla="*/ 128 w 298"/>
                <a:gd name="T9" fmla="*/ 64 h 299"/>
                <a:gd name="T10" fmla="*/ 138 w 298"/>
                <a:gd name="T11" fmla="*/ 54 h 299"/>
                <a:gd name="T12" fmla="*/ 160 w 298"/>
                <a:gd name="T13" fmla="*/ 54 h 299"/>
                <a:gd name="T14" fmla="*/ 170 w 298"/>
                <a:gd name="T15" fmla="*/ 64 h 299"/>
                <a:gd name="T16" fmla="*/ 298 w 298"/>
                <a:gd name="T17" fmla="*/ 75 h 299"/>
                <a:gd name="T18" fmla="*/ 288 w 298"/>
                <a:gd name="T19" fmla="*/ 288 h 299"/>
                <a:gd name="T20" fmla="*/ 21 w 298"/>
                <a:gd name="T21" fmla="*/ 299 h 299"/>
                <a:gd name="T22" fmla="*/ 10 w 298"/>
                <a:gd name="T23" fmla="*/ 86 h 299"/>
                <a:gd name="T24" fmla="*/ 10 w 298"/>
                <a:gd name="T25" fmla="*/ 64 h 299"/>
                <a:gd name="T26" fmla="*/ 74 w 298"/>
                <a:gd name="T27" fmla="*/ 11 h 299"/>
                <a:gd name="T28" fmla="*/ 213 w 298"/>
                <a:gd name="T29" fmla="*/ 0 h 299"/>
                <a:gd name="T30" fmla="*/ 224 w 298"/>
                <a:gd name="T31" fmla="*/ 64 h 299"/>
                <a:gd name="T32" fmla="*/ 298 w 298"/>
                <a:gd name="T33" fmla="*/ 75 h 299"/>
                <a:gd name="T34" fmla="*/ 160 w 298"/>
                <a:gd name="T35" fmla="*/ 278 h 299"/>
                <a:gd name="T36" fmla="*/ 181 w 298"/>
                <a:gd name="T37" fmla="*/ 214 h 299"/>
                <a:gd name="T38" fmla="*/ 138 w 298"/>
                <a:gd name="T39" fmla="*/ 214 h 299"/>
                <a:gd name="T40" fmla="*/ 117 w 298"/>
                <a:gd name="T41" fmla="*/ 278 h 299"/>
                <a:gd name="T42" fmla="*/ 138 w 298"/>
                <a:gd name="T43" fmla="*/ 214 h 299"/>
                <a:gd name="T44" fmla="*/ 213 w 298"/>
                <a:gd name="T45" fmla="*/ 86 h 299"/>
                <a:gd name="T46" fmla="*/ 202 w 298"/>
                <a:gd name="T47" fmla="*/ 22 h 299"/>
                <a:gd name="T48" fmla="*/ 96 w 298"/>
                <a:gd name="T49" fmla="*/ 75 h 299"/>
                <a:gd name="T50" fmla="*/ 32 w 298"/>
                <a:gd name="T51" fmla="*/ 86 h 299"/>
                <a:gd name="T52" fmla="*/ 96 w 298"/>
                <a:gd name="T53" fmla="*/ 278 h 299"/>
                <a:gd name="T54" fmla="*/ 106 w 298"/>
                <a:gd name="T55" fmla="*/ 192 h 299"/>
                <a:gd name="T56" fmla="*/ 202 w 298"/>
                <a:gd name="T57" fmla="*/ 203 h 299"/>
                <a:gd name="T58" fmla="*/ 266 w 298"/>
                <a:gd name="T59" fmla="*/ 278 h 299"/>
                <a:gd name="T60" fmla="*/ 64 w 298"/>
                <a:gd name="T61" fmla="*/ 107 h 299"/>
                <a:gd name="T62" fmla="*/ 64 w 298"/>
                <a:gd name="T63" fmla="*/ 128 h 299"/>
                <a:gd name="T64" fmla="*/ 64 w 298"/>
                <a:gd name="T65" fmla="*/ 107 h 299"/>
                <a:gd name="T66" fmla="*/ 53 w 298"/>
                <a:gd name="T67" fmla="*/ 160 h 299"/>
                <a:gd name="T68" fmla="*/ 74 w 298"/>
                <a:gd name="T69" fmla="*/ 160 h 299"/>
                <a:gd name="T70" fmla="*/ 106 w 298"/>
                <a:gd name="T71" fmla="*/ 150 h 299"/>
                <a:gd name="T72" fmla="*/ 106 w 298"/>
                <a:gd name="T73" fmla="*/ 171 h 299"/>
                <a:gd name="T74" fmla="*/ 106 w 298"/>
                <a:gd name="T75" fmla="*/ 150 h 299"/>
                <a:gd name="T76" fmla="*/ 96 w 298"/>
                <a:gd name="T77" fmla="*/ 118 h 299"/>
                <a:gd name="T78" fmla="*/ 117 w 298"/>
                <a:gd name="T79" fmla="*/ 118 h 299"/>
                <a:gd name="T80" fmla="*/ 149 w 298"/>
                <a:gd name="T81" fmla="*/ 150 h 299"/>
                <a:gd name="T82" fmla="*/ 149 w 298"/>
                <a:gd name="T83" fmla="*/ 171 h 299"/>
                <a:gd name="T84" fmla="*/ 149 w 298"/>
                <a:gd name="T85" fmla="*/ 150 h 299"/>
                <a:gd name="T86" fmla="*/ 181 w 298"/>
                <a:gd name="T87" fmla="*/ 160 h 299"/>
                <a:gd name="T88" fmla="*/ 202 w 298"/>
                <a:gd name="T89" fmla="*/ 160 h 299"/>
                <a:gd name="T90" fmla="*/ 192 w 298"/>
                <a:gd name="T91" fmla="*/ 107 h 299"/>
                <a:gd name="T92" fmla="*/ 192 w 298"/>
                <a:gd name="T93" fmla="*/ 128 h 299"/>
                <a:gd name="T94" fmla="*/ 192 w 298"/>
                <a:gd name="T95" fmla="*/ 107 h 299"/>
                <a:gd name="T96" fmla="*/ 53 w 298"/>
                <a:gd name="T97" fmla="*/ 203 h 299"/>
                <a:gd name="T98" fmla="*/ 74 w 298"/>
                <a:gd name="T99" fmla="*/ 203 h 299"/>
                <a:gd name="T100" fmla="*/ 64 w 298"/>
                <a:gd name="T101" fmla="*/ 235 h 299"/>
                <a:gd name="T102" fmla="*/ 64 w 298"/>
                <a:gd name="T103" fmla="*/ 256 h 299"/>
                <a:gd name="T104" fmla="*/ 64 w 298"/>
                <a:gd name="T105" fmla="*/ 235 h 299"/>
                <a:gd name="T106" fmla="*/ 245 w 298"/>
                <a:gd name="T107" fmla="*/ 118 h 299"/>
                <a:gd name="T108" fmla="*/ 224 w 298"/>
                <a:gd name="T109" fmla="*/ 118 h 299"/>
                <a:gd name="T110" fmla="*/ 234 w 298"/>
                <a:gd name="T111" fmla="*/ 171 h 299"/>
                <a:gd name="T112" fmla="*/ 234 w 298"/>
                <a:gd name="T113" fmla="*/ 150 h 299"/>
                <a:gd name="T114" fmla="*/ 234 w 298"/>
                <a:gd name="T115" fmla="*/ 171 h 299"/>
                <a:gd name="T116" fmla="*/ 245 w 298"/>
                <a:gd name="T117" fmla="*/ 203 h 299"/>
                <a:gd name="T118" fmla="*/ 224 w 298"/>
                <a:gd name="T119" fmla="*/ 203 h 299"/>
                <a:gd name="T120" fmla="*/ 234 w 298"/>
                <a:gd name="T121" fmla="*/ 256 h 299"/>
                <a:gd name="T122" fmla="*/ 234 w 298"/>
                <a:gd name="T123" fmla="*/ 235 h 299"/>
                <a:gd name="T124" fmla="*/ 234 w 298"/>
                <a:gd name="T125" fmla="*/ 25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8" h="299">
                  <a:moveTo>
                    <a:pt x="181" y="75"/>
                  </a:moveTo>
                  <a:cubicBezTo>
                    <a:pt x="181" y="81"/>
                    <a:pt x="176" y="86"/>
                    <a:pt x="170" y="86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0" y="102"/>
                    <a:pt x="155" y="107"/>
                    <a:pt x="149" y="107"/>
                  </a:cubicBezTo>
                  <a:cubicBezTo>
                    <a:pt x="143" y="107"/>
                    <a:pt x="138" y="102"/>
                    <a:pt x="138" y="96"/>
                  </a:cubicBezTo>
                  <a:cubicBezTo>
                    <a:pt x="138" y="86"/>
                    <a:pt x="138" y="86"/>
                    <a:pt x="138" y="86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22" y="86"/>
                    <a:pt x="117" y="81"/>
                    <a:pt x="117" y="75"/>
                  </a:cubicBezTo>
                  <a:cubicBezTo>
                    <a:pt x="117" y="69"/>
                    <a:pt x="122" y="64"/>
                    <a:pt x="12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38" y="48"/>
                    <a:pt x="143" y="43"/>
                    <a:pt x="149" y="43"/>
                  </a:cubicBezTo>
                  <a:cubicBezTo>
                    <a:pt x="155" y="43"/>
                    <a:pt x="160" y="48"/>
                    <a:pt x="160" y="5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176" y="64"/>
                    <a:pt x="181" y="69"/>
                    <a:pt x="181" y="75"/>
                  </a:cubicBezTo>
                  <a:close/>
                  <a:moveTo>
                    <a:pt x="298" y="75"/>
                  </a:moveTo>
                  <a:cubicBezTo>
                    <a:pt x="298" y="81"/>
                    <a:pt x="294" y="86"/>
                    <a:pt x="288" y="86"/>
                  </a:cubicBezTo>
                  <a:cubicBezTo>
                    <a:pt x="288" y="288"/>
                    <a:pt x="288" y="288"/>
                    <a:pt x="288" y="288"/>
                  </a:cubicBezTo>
                  <a:cubicBezTo>
                    <a:pt x="288" y="294"/>
                    <a:pt x="283" y="299"/>
                    <a:pt x="277" y="299"/>
                  </a:cubicBezTo>
                  <a:cubicBezTo>
                    <a:pt x="21" y="299"/>
                    <a:pt x="21" y="299"/>
                    <a:pt x="21" y="299"/>
                  </a:cubicBezTo>
                  <a:cubicBezTo>
                    <a:pt x="15" y="299"/>
                    <a:pt x="10" y="294"/>
                    <a:pt x="10" y="288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81"/>
                    <a:pt x="0" y="75"/>
                  </a:cubicBezTo>
                  <a:cubicBezTo>
                    <a:pt x="0" y="69"/>
                    <a:pt x="4" y="64"/>
                    <a:pt x="10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5"/>
                    <a:pt x="79" y="0"/>
                    <a:pt x="85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9" y="0"/>
                    <a:pt x="224" y="5"/>
                    <a:pt x="224" y="11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94" y="64"/>
                    <a:pt x="298" y="69"/>
                    <a:pt x="298" y="75"/>
                  </a:cubicBezTo>
                  <a:close/>
                  <a:moveTo>
                    <a:pt x="160" y="214"/>
                  </a:moveTo>
                  <a:cubicBezTo>
                    <a:pt x="160" y="278"/>
                    <a:pt x="160" y="278"/>
                    <a:pt x="160" y="278"/>
                  </a:cubicBezTo>
                  <a:cubicBezTo>
                    <a:pt x="181" y="278"/>
                    <a:pt x="181" y="278"/>
                    <a:pt x="181" y="278"/>
                  </a:cubicBezTo>
                  <a:cubicBezTo>
                    <a:pt x="181" y="214"/>
                    <a:pt x="181" y="214"/>
                    <a:pt x="181" y="214"/>
                  </a:cubicBezTo>
                  <a:lnTo>
                    <a:pt x="160" y="214"/>
                  </a:lnTo>
                  <a:close/>
                  <a:moveTo>
                    <a:pt x="138" y="214"/>
                  </a:moveTo>
                  <a:cubicBezTo>
                    <a:pt x="117" y="214"/>
                    <a:pt x="117" y="214"/>
                    <a:pt x="117" y="214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38" y="278"/>
                    <a:pt x="138" y="278"/>
                    <a:pt x="138" y="278"/>
                  </a:cubicBezTo>
                  <a:lnTo>
                    <a:pt x="138" y="214"/>
                  </a:lnTo>
                  <a:close/>
                  <a:moveTo>
                    <a:pt x="266" y="86"/>
                  </a:moveTo>
                  <a:cubicBezTo>
                    <a:pt x="213" y="86"/>
                    <a:pt x="213" y="86"/>
                    <a:pt x="213" y="86"/>
                  </a:cubicBezTo>
                  <a:cubicBezTo>
                    <a:pt x="207" y="86"/>
                    <a:pt x="202" y="81"/>
                    <a:pt x="202" y="75"/>
                  </a:cubicBezTo>
                  <a:cubicBezTo>
                    <a:pt x="202" y="22"/>
                    <a:pt x="202" y="22"/>
                    <a:pt x="202" y="22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81"/>
                    <a:pt x="91" y="86"/>
                    <a:pt x="85" y="86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278"/>
                    <a:pt x="32" y="278"/>
                    <a:pt x="32" y="278"/>
                  </a:cubicBezTo>
                  <a:cubicBezTo>
                    <a:pt x="96" y="278"/>
                    <a:pt x="96" y="278"/>
                    <a:pt x="96" y="278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197"/>
                    <a:pt x="100" y="192"/>
                    <a:pt x="106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8" y="192"/>
                    <a:pt x="202" y="197"/>
                    <a:pt x="202" y="203"/>
                  </a:cubicBezTo>
                  <a:cubicBezTo>
                    <a:pt x="202" y="278"/>
                    <a:pt x="202" y="278"/>
                    <a:pt x="202" y="278"/>
                  </a:cubicBezTo>
                  <a:cubicBezTo>
                    <a:pt x="266" y="278"/>
                    <a:pt x="266" y="278"/>
                    <a:pt x="266" y="278"/>
                  </a:cubicBezTo>
                  <a:lnTo>
                    <a:pt x="266" y="86"/>
                  </a:lnTo>
                  <a:close/>
                  <a:moveTo>
                    <a:pt x="64" y="107"/>
                  </a:moveTo>
                  <a:cubicBezTo>
                    <a:pt x="58" y="107"/>
                    <a:pt x="53" y="112"/>
                    <a:pt x="53" y="118"/>
                  </a:cubicBezTo>
                  <a:cubicBezTo>
                    <a:pt x="53" y="124"/>
                    <a:pt x="58" y="128"/>
                    <a:pt x="64" y="128"/>
                  </a:cubicBezTo>
                  <a:cubicBezTo>
                    <a:pt x="70" y="128"/>
                    <a:pt x="74" y="124"/>
                    <a:pt x="74" y="118"/>
                  </a:cubicBezTo>
                  <a:cubicBezTo>
                    <a:pt x="74" y="112"/>
                    <a:pt x="70" y="107"/>
                    <a:pt x="64" y="107"/>
                  </a:cubicBezTo>
                  <a:close/>
                  <a:moveTo>
                    <a:pt x="64" y="150"/>
                  </a:moveTo>
                  <a:cubicBezTo>
                    <a:pt x="58" y="150"/>
                    <a:pt x="53" y="154"/>
                    <a:pt x="53" y="160"/>
                  </a:cubicBezTo>
                  <a:cubicBezTo>
                    <a:pt x="53" y="166"/>
                    <a:pt x="58" y="171"/>
                    <a:pt x="64" y="171"/>
                  </a:cubicBezTo>
                  <a:cubicBezTo>
                    <a:pt x="70" y="171"/>
                    <a:pt x="74" y="166"/>
                    <a:pt x="74" y="160"/>
                  </a:cubicBezTo>
                  <a:cubicBezTo>
                    <a:pt x="74" y="154"/>
                    <a:pt x="70" y="150"/>
                    <a:pt x="64" y="150"/>
                  </a:cubicBezTo>
                  <a:close/>
                  <a:moveTo>
                    <a:pt x="106" y="150"/>
                  </a:moveTo>
                  <a:cubicBezTo>
                    <a:pt x="100" y="150"/>
                    <a:pt x="96" y="154"/>
                    <a:pt x="96" y="160"/>
                  </a:cubicBezTo>
                  <a:cubicBezTo>
                    <a:pt x="96" y="166"/>
                    <a:pt x="100" y="171"/>
                    <a:pt x="106" y="171"/>
                  </a:cubicBezTo>
                  <a:cubicBezTo>
                    <a:pt x="112" y="171"/>
                    <a:pt x="117" y="166"/>
                    <a:pt x="117" y="160"/>
                  </a:cubicBezTo>
                  <a:cubicBezTo>
                    <a:pt x="117" y="154"/>
                    <a:pt x="112" y="150"/>
                    <a:pt x="106" y="150"/>
                  </a:cubicBezTo>
                  <a:close/>
                  <a:moveTo>
                    <a:pt x="106" y="107"/>
                  </a:moveTo>
                  <a:cubicBezTo>
                    <a:pt x="100" y="107"/>
                    <a:pt x="96" y="112"/>
                    <a:pt x="96" y="118"/>
                  </a:cubicBezTo>
                  <a:cubicBezTo>
                    <a:pt x="96" y="124"/>
                    <a:pt x="100" y="128"/>
                    <a:pt x="106" y="128"/>
                  </a:cubicBezTo>
                  <a:cubicBezTo>
                    <a:pt x="112" y="128"/>
                    <a:pt x="117" y="124"/>
                    <a:pt x="117" y="118"/>
                  </a:cubicBezTo>
                  <a:cubicBezTo>
                    <a:pt x="117" y="112"/>
                    <a:pt x="112" y="107"/>
                    <a:pt x="106" y="107"/>
                  </a:cubicBezTo>
                  <a:close/>
                  <a:moveTo>
                    <a:pt x="149" y="150"/>
                  </a:moveTo>
                  <a:cubicBezTo>
                    <a:pt x="143" y="150"/>
                    <a:pt x="138" y="154"/>
                    <a:pt x="138" y="160"/>
                  </a:cubicBezTo>
                  <a:cubicBezTo>
                    <a:pt x="138" y="166"/>
                    <a:pt x="143" y="171"/>
                    <a:pt x="149" y="171"/>
                  </a:cubicBezTo>
                  <a:cubicBezTo>
                    <a:pt x="155" y="171"/>
                    <a:pt x="160" y="166"/>
                    <a:pt x="160" y="160"/>
                  </a:cubicBezTo>
                  <a:cubicBezTo>
                    <a:pt x="160" y="154"/>
                    <a:pt x="155" y="150"/>
                    <a:pt x="149" y="150"/>
                  </a:cubicBezTo>
                  <a:close/>
                  <a:moveTo>
                    <a:pt x="192" y="150"/>
                  </a:moveTo>
                  <a:cubicBezTo>
                    <a:pt x="186" y="150"/>
                    <a:pt x="181" y="154"/>
                    <a:pt x="181" y="160"/>
                  </a:cubicBezTo>
                  <a:cubicBezTo>
                    <a:pt x="181" y="166"/>
                    <a:pt x="186" y="171"/>
                    <a:pt x="192" y="171"/>
                  </a:cubicBezTo>
                  <a:cubicBezTo>
                    <a:pt x="198" y="171"/>
                    <a:pt x="202" y="166"/>
                    <a:pt x="202" y="160"/>
                  </a:cubicBezTo>
                  <a:cubicBezTo>
                    <a:pt x="202" y="154"/>
                    <a:pt x="198" y="150"/>
                    <a:pt x="192" y="150"/>
                  </a:cubicBezTo>
                  <a:close/>
                  <a:moveTo>
                    <a:pt x="192" y="107"/>
                  </a:moveTo>
                  <a:cubicBezTo>
                    <a:pt x="186" y="107"/>
                    <a:pt x="181" y="112"/>
                    <a:pt x="181" y="118"/>
                  </a:cubicBezTo>
                  <a:cubicBezTo>
                    <a:pt x="181" y="124"/>
                    <a:pt x="186" y="128"/>
                    <a:pt x="192" y="128"/>
                  </a:cubicBezTo>
                  <a:cubicBezTo>
                    <a:pt x="198" y="128"/>
                    <a:pt x="202" y="124"/>
                    <a:pt x="202" y="118"/>
                  </a:cubicBezTo>
                  <a:cubicBezTo>
                    <a:pt x="202" y="112"/>
                    <a:pt x="198" y="107"/>
                    <a:pt x="192" y="107"/>
                  </a:cubicBezTo>
                  <a:close/>
                  <a:moveTo>
                    <a:pt x="64" y="192"/>
                  </a:moveTo>
                  <a:cubicBezTo>
                    <a:pt x="58" y="192"/>
                    <a:pt x="53" y="197"/>
                    <a:pt x="53" y="203"/>
                  </a:cubicBezTo>
                  <a:cubicBezTo>
                    <a:pt x="53" y="209"/>
                    <a:pt x="58" y="214"/>
                    <a:pt x="64" y="214"/>
                  </a:cubicBezTo>
                  <a:cubicBezTo>
                    <a:pt x="70" y="214"/>
                    <a:pt x="74" y="209"/>
                    <a:pt x="74" y="203"/>
                  </a:cubicBezTo>
                  <a:cubicBezTo>
                    <a:pt x="74" y="197"/>
                    <a:pt x="70" y="192"/>
                    <a:pt x="64" y="192"/>
                  </a:cubicBezTo>
                  <a:close/>
                  <a:moveTo>
                    <a:pt x="64" y="235"/>
                  </a:moveTo>
                  <a:cubicBezTo>
                    <a:pt x="58" y="235"/>
                    <a:pt x="53" y="240"/>
                    <a:pt x="53" y="246"/>
                  </a:cubicBezTo>
                  <a:cubicBezTo>
                    <a:pt x="53" y="252"/>
                    <a:pt x="58" y="256"/>
                    <a:pt x="64" y="256"/>
                  </a:cubicBezTo>
                  <a:cubicBezTo>
                    <a:pt x="70" y="256"/>
                    <a:pt x="74" y="252"/>
                    <a:pt x="74" y="246"/>
                  </a:cubicBezTo>
                  <a:cubicBezTo>
                    <a:pt x="74" y="240"/>
                    <a:pt x="70" y="235"/>
                    <a:pt x="64" y="235"/>
                  </a:cubicBezTo>
                  <a:close/>
                  <a:moveTo>
                    <a:pt x="234" y="128"/>
                  </a:moveTo>
                  <a:cubicBezTo>
                    <a:pt x="240" y="128"/>
                    <a:pt x="245" y="124"/>
                    <a:pt x="245" y="118"/>
                  </a:cubicBezTo>
                  <a:cubicBezTo>
                    <a:pt x="245" y="112"/>
                    <a:pt x="240" y="107"/>
                    <a:pt x="234" y="107"/>
                  </a:cubicBezTo>
                  <a:cubicBezTo>
                    <a:pt x="228" y="107"/>
                    <a:pt x="224" y="112"/>
                    <a:pt x="224" y="118"/>
                  </a:cubicBezTo>
                  <a:cubicBezTo>
                    <a:pt x="224" y="124"/>
                    <a:pt x="228" y="128"/>
                    <a:pt x="234" y="128"/>
                  </a:cubicBezTo>
                  <a:close/>
                  <a:moveTo>
                    <a:pt x="234" y="171"/>
                  </a:moveTo>
                  <a:cubicBezTo>
                    <a:pt x="240" y="171"/>
                    <a:pt x="245" y="166"/>
                    <a:pt x="245" y="160"/>
                  </a:cubicBezTo>
                  <a:cubicBezTo>
                    <a:pt x="245" y="154"/>
                    <a:pt x="240" y="150"/>
                    <a:pt x="234" y="150"/>
                  </a:cubicBezTo>
                  <a:cubicBezTo>
                    <a:pt x="228" y="150"/>
                    <a:pt x="224" y="154"/>
                    <a:pt x="224" y="160"/>
                  </a:cubicBezTo>
                  <a:cubicBezTo>
                    <a:pt x="224" y="166"/>
                    <a:pt x="228" y="171"/>
                    <a:pt x="234" y="171"/>
                  </a:cubicBezTo>
                  <a:close/>
                  <a:moveTo>
                    <a:pt x="234" y="214"/>
                  </a:moveTo>
                  <a:cubicBezTo>
                    <a:pt x="240" y="214"/>
                    <a:pt x="245" y="209"/>
                    <a:pt x="245" y="203"/>
                  </a:cubicBezTo>
                  <a:cubicBezTo>
                    <a:pt x="245" y="197"/>
                    <a:pt x="240" y="192"/>
                    <a:pt x="234" y="192"/>
                  </a:cubicBezTo>
                  <a:cubicBezTo>
                    <a:pt x="228" y="192"/>
                    <a:pt x="224" y="197"/>
                    <a:pt x="224" y="203"/>
                  </a:cubicBezTo>
                  <a:cubicBezTo>
                    <a:pt x="224" y="209"/>
                    <a:pt x="228" y="214"/>
                    <a:pt x="234" y="214"/>
                  </a:cubicBezTo>
                  <a:close/>
                  <a:moveTo>
                    <a:pt x="234" y="256"/>
                  </a:moveTo>
                  <a:cubicBezTo>
                    <a:pt x="240" y="256"/>
                    <a:pt x="245" y="252"/>
                    <a:pt x="245" y="246"/>
                  </a:cubicBezTo>
                  <a:cubicBezTo>
                    <a:pt x="245" y="240"/>
                    <a:pt x="240" y="235"/>
                    <a:pt x="234" y="235"/>
                  </a:cubicBezTo>
                  <a:cubicBezTo>
                    <a:pt x="228" y="235"/>
                    <a:pt x="224" y="240"/>
                    <a:pt x="224" y="246"/>
                  </a:cubicBezTo>
                  <a:cubicBezTo>
                    <a:pt x="224" y="252"/>
                    <a:pt x="228" y="256"/>
                    <a:pt x="234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4" name="TextBox 313"/>
          <p:cNvSpPr txBox="1"/>
          <p:nvPr/>
        </p:nvSpPr>
        <p:spPr>
          <a:xfrm>
            <a:off x="4476393" y="416273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ush chair</a:t>
            </a:r>
          </a:p>
        </p:txBody>
      </p:sp>
      <p:grpSp>
        <p:nvGrpSpPr>
          <p:cNvPr id="315" name="Group 517"/>
          <p:cNvGrpSpPr>
            <a:grpSpLocks noChangeAspect="1"/>
          </p:cNvGrpSpPr>
          <p:nvPr/>
        </p:nvGrpSpPr>
        <p:grpSpPr bwMode="auto">
          <a:xfrm>
            <a:off x="4907624" y="3744411"/>
            <a:ext cx="369021" cy="369021"/>
            <a:chOff x="4254" y="1971"/>
            <a:chExt cx="340" cy="340"/>
          </a:xfrm>
          <a:solidFill>
            <a:schemeClr val="accent6"/>
          </a:solidFill>
        </p:grpSpPr>
        <p:sp>
          <p:nvSpPr>
            <p:cNvPr id="316" name="Freeform 518"/>
            <p:cNvSpPr>
              <a:spLocks noEditPoints="1"/>
            </p:cNvSpPr>
            <p:nvPr/>
          </p:nvSpPr>
          <p:spPr bwMode="auto">
            <a:xfrm>
              <a:off x="4254" y="19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519"/>
            <p:cNvSpPr>
              <a:spLocks noEditPoints="1"/>
            </p:cNvSpPr>
            <p:nvPr/>
          </p:nvSpPr>
          <p:spPr bwMode="auto">
            <a:xfrm>
              <a:off x="4338" y="2048"/>
              <a:ext cx="164" cy="185"/>
            </a:xfrm>
            <a:custGeom>
              <a:avLst/>
              <a:gdLst>
                <a:gd name="T0" fmla="*/ 246 w 246"/>
                <a:gd name="T1" fmla="*/ 257 h 278"/>
                <a:gd name="T2" fmla="*/ 225 w 246"/>
                <a:gd name="T3" fmla="*/ 278 h 278"/>
                <a:gd name="T4" fmla="*/ 203 w 246"/>
                <a:gd name="T5" fmla="*/ 257 h 278"/>
                <a:gd name="T6" fmla="*/ 225 w 246"/>
                <a:gd name="T7" fmla="*/ 236 h 278"/>
                <a:gd name="T8" fmla="*/ 246 w 246"/>
                <a:gd name="T9" fmla="*/ 257 h 278"/>
                <a:gd name="T10" fmla="*/ 65 w 246"/>
                <a:gd name="T11" fmla="*/ 236 h 278"/>
                <a:gd name="T12" fmla="*/ 43 w 246"/>
                <a:gd name="T13" fmla="*/ 257 h 278"/>
                <a:gd name="T14" fmla="*/ 65 w 246"/>
                <a:gd name="T15" fmla="*/ 278 h 278"/>
                <a:gd name="T16" fmla="*/ 86 w 246"/>
                <a:gd name="T17" fmla="*/ 257 h 278"/>
                <a:gd name="T18" fmla="*/ 65 w 246"/>
                <a:gd name="T19" fmla="*/ 236 h 278"/>
                <a:gd name="T20" fmla="*/ 65 w 246"/>
                <a:gd name="T21" fmla="*/ 59 h 278"/>
                <a:gd name="T22" fmla="*/ 33 w 246"/>
                <a:gd name="T23" fmla="*/ 27 h 278"/>
                <a:gd name="T24" fmla="*/ 19 w 246"/>
                <a:gd name="T25" fmla="*/ 41 h 278"/>
                <a:gd name="T26" fmla="*/ 4 w 246"/>
                <a:gd name="T27" fmla="*/ 41 h 278"/>
                <a:gd name="T28" fmla="*/ 4 w 246"/>
                <a:gd name="T29" fmla="*/ 25 h 278"/>
                <a:gd name="T30" fmla="*/ 25 w 246"/>
                <a:gd name="T31" fmla="*/ 4 h 278"/>
                <a:gd name="T32" fmla="*/ 40 w 246"/>
                <a:gd name="T33" fmla="*/ 4 h 278"/>
                <a:gd name="T34" fmla="*/ 232 w 246"/>
                <a:gd name="T35" fmla="*/ 196 h 278"/>
                <a:gd name="T36" fmla="*/ 235 w 246"/>
                <a:gd name="T37" fmla="*/ 208 h 278"/>
                <a:gd name="T38" fmla="*/ 225 w 246"/>
                <a:gd name="T39" fmla="*/ 214 h 278"/>
                <a:gd name="T40" fmla="*/ 75 w 246"/>
                <a:gd name="T41" fmla="*/ 214 h 278"/>
                <a:gd name="T42" fmla="*/ 65 w 246"/>
                <a:gd name="T43" fmla="*/ 204 h 278"/>
                <a:gd name="T44" fmla="*/ 65 w 246"/>
                <a:gd name="T45" fmla="*/ 59 h 278"/>
                <a:gd name="T46" fmla="*/ 86 w 246"/>
                <a:gd name="T47" fmla="*/ 193 h 278"/>
                <a:gd name="T48" fmla="*/ 199 w 246"/>
                <a:gd name="T49" fmla="*/ 193 h 278"/>
                <a:gd name="T50" fmla="*/ 86 w 246"/>
                <a:gd name="T51" fmla="*/ 80 h 278"/>
                <a:gd name="T52" fmla="*/ 86 w 246"/>
                <a:gd name="T53" fmla="*/ 193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6" h="278">
                  <a:moveTo>
                    <a:pt x="246" y="257"/>
                  </a:moveTo>
                  <a:cubicBezTo>
                    <a:pt x="246" y="269"/>
                    <a:pt x="236" y="278"/>
                    <a:pt x="225" y="278"/>
                  </a:cubicBezTo>
                  <a:cubicBezTo>
                    <a:pt x="213" y="278"/>
                    <a:pt x="203" y="269"/>
                    <a:pt x="203" y="257"/>
                  </a:cubicBezTo>
                  <a:cubicBezTo>
                    <a:pt x="203" y="245"/>
                    <a:pt x="213" y="236"/>
                    <a:pt x="225" y="236"/>
                  </a:cubicBezTo>
                  <a:cubicBezTo>
                    <a:pt x="236" y="236"/>
                    <a:pt x="246" y="245"/>
                    <a:pt x="246" y="257"/>
                  </a:cubicBezTo>
                  <a:close/>
                  <a:moveTo>
                    <a:pt x="65" y="236"/>
                  </a:moveTo>
                  <a:cubicBezTo>
                    <a:pt x="53" y="236"/>
                    <a:pt x="43" y="245"/>
                    <a:pt x="43" y="257"/>
                  </a:cubicBezTo>
                  <a:cubicBezTo>
                    <a:pt x="43" y="269"/>
                    <a:pt x="53" y="278"/>
                    <a:pt x="65" y="278"/>
                  </a:cubicBezTo>
                  <a:cubicBezTo>
                    <a:pt x="76" y="278"/>
                    <a:pt x="86" y="269"/>
                    <a:pt x="86" y="257"/>
                  </a:cubicBezTo>
                  <a:cubicBezTo>
                    <a:pt x="86" y="245"/>
                    <a:pt x="76" y="236"/>
                    <a:pt x="65" y="236"/>
                  </a:cubicBezTo>
                  <a:close/>
                  <a:moveTo>
                    <a:pt x="65" y="59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5" y="45"/>
                    <a:pt x="8" y="45"/>
                    <a:pt x="4" y="41"/>
                  </a:cubicBezTo>
                  <a:cubicBezTo>
                    <a:pt x="0" y="36"/>
                    <a:pt x="0" y="30"/>
                    <a:pt x="4" y="2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9" y="0"/>
                    <a:pt x="36" y="0"/>
                    <a:pt x="40" y="4"/>
                  </a:cubicBezTo>
                  <a:cubicBezTo>
                    <a:pt x="232" y="196"/>
                    <a:pt x="232" y="196"/>
                    <a:pt x="232" y="196"/>
                  </a:cubicBezTo>
                  <a:cubicBezTo>
                    <a:pt x="235" y="199"/>
                    <a:pt x="236" y="204"/>
                    <a:pt x="235" y="208"/>
                  </a:cubicBezTo>
                  <a:cubicBezTo>
                    <a:pt x="233" y="212"/>
                    <a:pt x="229" y="214"/>
                    <a:pt x="225" y="214"/>
                  </a:cubicBezTo>
                  <a:cubicBezTo>
                    <a:pt x="75" y="214"/>
                    <a:pt x="75" y="214"/>
                    <a:pt x="75" y="214"/>
                  </a:cubicBezTo>
                  <a:cubicBezTo>
                    <a:pt x="69" y="214"/>
                    <a:pt x="65" y="210"/>
                    <a:pt x="65" y="204"/>
                  </a:cubicBezTo>
                  <a:lnTo>
                    <a:pt x="65" y="59"/>
                  </a:lnTo>
                  <a:close/>
                  <a:moveTo>
                    <a:pt x="86" y="193"/>
                  </a:moveTo>
                  <a:cubicBezTo>
                    <a:pt x="199" y="193"/>
                    <a:pt x="199" y="193"/>
                    <a:pt x="199" y="193"/>
                  </a:cubicBezTo>
                  <a:cubicBezTo>
                    <a:pt x="86" y="80"/>
                    <a:pt x="86" y="80"/>
                    <a:pt x="86" y="80"/>
                  </a:cubicBezTo>
                  <a:lnTo>
                    <a:pt x="86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8" name="Freeform 523"/>
          <p:cNvSpPr>
            <a:spLocks noChangeAspect="1" noEditPoints="1"/>
          </p:cNvSpPr>
          <p:nvPr/>
        </p:nvSpPr>
        <p:spPr bwMode="auto">
          <a:xfrm>
            <a:off x="4408681" y="3744415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394 h 512"/>
              <a:gd name="T12" fmla="*/ 170 w 512"/>
              <a:gd name="T13" fmla="*/ 373 h 512"/>
              <a:gd name="T14" fmla="*/ 192 w 512"/>
              <a:gd name="T15" fmla="*/ 352 h 512"/>
              <a:gd name="T16" fmla="*/ 213 w 512"/>
              <a:gd name="T17" fmla="*/ 373 h 512"/>
              <a:gd name="T18" fmla="*/ 192 w 512"/>
              <a:gd name="T19" fmla="*/ 394 h 512"/>
              <a:gd name="T20" fmla="*/ 202 w 512"/>
              <a:gd name="T21" fmla="*/ 330 h 512"/>
              <a:gd name="T22" fmla="*/ 192 w 512"/>
              <a:gd name="T23" fmla="*/ 320 h 512"/>
              <a:gd name="T24" fmla="*/ 192 w 512"/>
              <a:gd name="T25" fmla="*/ 175 h 512"/>
              <a:gd name="T26" fmla="*/ 160 w 512"/>
              <a:gd name="T27" fmla="*/ 143 h 512"/>
              <a:gd name="T28" fmla="*/ 146 w 512"/>
              <a:gd name="T29" fmla="*/ 157 h 512"/>
              <a:gd name="T30" fmla="*/ 131 w 512"/>
              <a:gd name="T31" fmla="*/ 157 h 512"/>
              <a:gd name="T32" fmla="*/ 131 w 512"/>
              <a:gd name="T33" fmla="*/ 141 h 512"/>
              <a:gd name="T34" fmla="*/ 152 w 512"/>
              <a:gd name="T35" fmla="*/ 120 h 512"/>
              <a:gd name="T36" fmla="*/ 167 w 512"/>
              <a:gd name="T37" fmla="*/ 120 h 512"/>
              <a:gd name="T38" fmla="*/ 359 w 512"/>
              <a:gd name="T39" fmla="*/ 312 h 512"/>
              <a:gd name="T40" fmla="*/ 362 w 512"/>
              <a:gd name="T41" fmla="*/ 324 h 512"/>
              <a:gd name="T42" fmla="*/ 352 w 512"/>
              <a:gd name="T43" fmla="*/ 330 h 512"/>
              <a:gd name="T44" fmla="*/ 202 w 512"/>
              <a:gd name="T45" fmla="*/ 330 h 512"/>
              <a:gd name="T46" fmla="*/ 352 w 512"/>
              <a:gd name="T47" fmla="*/ 394 h 512"/>
              <a:gd name="T48" fmla="*/ 330 w 512"/>
              <a:gd name="T49" fmla="*/ 373 h 512"/>
              <a:gd name="T50" fmla="*/ 352 w 512"/>
              <a:gd name="T51" fmla="*/ 352 h 512"/>
              <a:gd name="T52" fmla="*/ 373 w 512"/>
              <a:gd name="T53" fmla="*/ 373 h 512"/>
              <a:gd name="T54" fmla="*/ 352 w 512"/>
              <a:gd name="T55" fmla="*/ 394 h 512"/>
              <a:gd name="T56" fmla="*/ 213 w 512"/>
              <a:gd name="T57" fmla="*/ 196 h 512"/>
              <a:gd name="T58" fmla="*/ 326 w 512"/>
              <a:gd name="T59" fmla="*/ 309 h 512"/>
              <a:gd name="T60" fmla="*/ 213 w 512"/>
              <a:gd name="T61" fmla="*/ 309 h 512"/>
              <a:gd name="T62" fmla="*/ 213 w 512"/>
              <a:gd name="T63" fmla="*/ 19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394"/>
                </a:moveTo>
                <a:cubicBezTo>
                  <a:pt x="180" y="394"/>
                  <a:pt x="170" y="385"/>
                  <a:pt x="170" y="373"/>
                </a:cubicBezTo>
                <a:cubicBezTo>
                  <a:pt x="170" y="361"/>
                  <a:pt x="180" y="352"/>
                  <a:pt x="192" y="352"/>
                </a:cubicBezTo>
                <a:cubicBezTo>
                  <a:pt x="203" y="352"/>
                  <a:pt x="213" y="361"/>
                  <a:pt x="213" y="373"/>
                </a:cubicBezTo>
                <a:cubicBezTo>
                  <a:pt x="213" y="385"/>
                  <a:pt x="203" y="394"/>
                  <a:pt x="192" y="394"/>
                </a:cubicBezTo>
                <a:close/>
                <a:moveTo>
                  <a:pt x="202" y="330"/>
                </a:moveTo>
                <a:cubicBezTo>
                  <a:pt x="196" y="330"/>
                  <a:pt x="192" y="326"/>
                  <a:pt x="192" y="320"/>
                </a:cubicBezTo>
                <a:cubicBezTo>
                  <a:pt x="192" y="175"/>
                  <a:pt x="192" y="175"/>
                  <a:pt x="192" y="175"/>
                </a:cubicBezTo>
                <a:cubicBezTo>
                  <a:pt x="160" y="143"/>
                  <a:pt x="160" y="143"/>
                  <a:pt x="160" y="143"/>
                </a:cubicBezTo>
                <a:cubicBezTo>
                  <a:pt x="146" y="157"/>
                  <a:pt x="146" y="157"/>
                  <a:pt x="146" y="157"/>
                </a:cubicBezTo>
                <a:cubicBezTo>
                  <a:pt x="142" y="161"/>
                  <a:pt x="135" y="161"/>
                  <a:pt x="131" y="157"/>
                </a:cubicBezTo>
                <a:cubicBezTo>
                  <a:pt x="127" y="152"/>
                  <a:pt x="127" y="146"/>
                  <a:pt x="131" y="141"/>
                </a:cubicBezTo>
                <a:cubicBezTo>
                  <a:pt x="152" y="120"/>
                  <a:pt x="152" y="120"/>
                  <a:pt x="152" y="120"/>
                </a:cubicBezTo>
                <a:cubicBezTo>
                  <a:pt x="156" y="116"/>
                  <a:pt x="163" y="116"/>
                  <a:pt x="167" y="120"/>
                </a:cubicBezTo>
                <a:cubicBezTo>
                  <a:pt x="359" y="312"/>
                  <a:pt x="359" y="312"/>
                  <a:pt x="359" y="312"/>
                </a:cubicBezTo>
                <a:cubicBezTo>
                  <a:pt x="362" y="315"/>
                  <a:pt x="363" y="320"/>
                  <a:pt x="362" y="324"/>
                </a:cubicBezTo>
                <a:cubicBezTo>
                  <a:pt x="360" y="328"/>
                  <a:pt x="356" y="330"/>
                  <a:pt x="352" y="330"/>
                </a:cubicBezTo>
                <a:lnTo>
                  <a:pt x="202" y="330"/>
                </a:lnTo>
                <a:close/>
                <a:moveTo>
                  <a:pt x="352" y="394"/>
                </a:moveTo>
                <a:cubicBezTo>
                  <a:pt x="340" y="394"/>
                  <a:pt x="330" y="385"/>
                  <a:pt x="330" y="373"/>
                </a:cubicBezTo>
                <a:cubicBezTo>
                  <a:pt x="330" y="361"/>
                  <a:pt x="340" y="352"/>
                  <a:pt x="352" y="352"/>
                </a:cubicBezTo>
                <a:cubicBezTo>
                  <a:pt x="363" y="352"/>
                  <a:pt x="373" y="361"/>
                  <a:pt x="373" y="373"/>
                </a:cubicBezTo>
                <a:cubicBezTo>
                  <a:pt x="373" y="385"/>
                  <a:pt x="363" y="394"/>
                  <a:pt x="352" y="394"/>
                </a:cubicBezTo>
                <a:close/>
                <a:moveTo>
                  <a:pt x="213" y="196"/>
                </a:moveTo>
                <a:cubicBezTo>
                  <a:pt x="326" y="309"/>
                  <a:pt x="326" y="309"/>
                  <a:pt x="326" y="309"/>
                </a:cubicBezTo>
                <a:cubicBezTo>
                  <a:pt x="213" y="309"/>
                  <a:pt x="213" y="309"/>
                  <a:pt x="213" y="309"/>
                </a:cubicBezTo>
                <a:lnTo>
                  <a:pt x="213" y="19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22829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Energ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67617" y="247280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0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52297" y="247280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1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51794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2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44438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4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40760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5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48116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3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37082" y="2472812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ttery signs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29726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urbine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33404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trol pump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67617" y="3334729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wer socket UK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52502" y="3334729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wer socket US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52204" y="333472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ug US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9426046" y="24728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opeller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48731" y="333472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 err="1"/>
              <a:t>Lightbulb</a:t>
            </a:r>
            <a:r>
              <a:rPr lang="en-US" sz="1000" dirty="0"/>
              <a:t> 1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5441785" y="333472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oling towers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7434841" y="333472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il derrick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6438312" y="333472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il barrel</a:t>
            </a:r>
          </a:p>
        </p:txBody>
      </p:sp>
      <p:sp>
        <p:nvSpPr>
          <p:cNvPr id="256" name="Freeform 255"/>
          <p:cNvSpPr>
            <a:spLocks noChangeAspect="1" noEditPoints="1"/>
          </p:cNvSpPr>
          <p:nvPr/>
        </p:nvSpPr>
        <p:spPr bwMode="auto">
          <a:xfrm>
            <a:off x="450950" y="2051050"/>
            <a:ext cx="367982" cy="369064"/>
          </a:xfrm>
          <a:custGeom>
            <a:avLst/>
            <a:gdLst>
              <a:gd name="T0" fmla="*/ 373 w 512"/>
              <a:gd name="T1" fmla="*/ 234 h 512"/>
              <a:gd name="T2" fmla="*/ 394 w 512"/>
              <a:gd name="T3" fmla="*/ 234 h 512"/>
              <a:gd name="T4" fmla="*/ 394 w 512"/>
              <a:gd name="T5" fmla="*/ 277 h 512"/>
              <a:gd name="T6" fmla="*/ 373 w 512"/>
              <a:gd name="T7" fmla="*/ 277 h 512"/>
              <a:gd name="T8" fmla="*/ 373 w 512"/>
              <a:gd name="T9" fmla="*/ 234 h 512"/>
              <a:gd name="T10" fmla="*/ 117 w 512"/>
              <a:gd name="T11" fmla="*/ 192 h 512"/>
              <a:gd name="T12" fmla="*/ 352 w 512"/>
              <a:gd name="T13" fmla="*/ 192 h 512"/>
              <a:gd name="T14" fmla="*/ 352 w 512"/>
              <a:gd name="T15" fmla="*/ 320 h 512"/>
              <a:gd name="T16" fmla="*/ 117 w 512"/>
              <a:gd name="T17" fmla="*/ 320 h 512"/>
              <a:gd name="T18" fmla="*/ 117 w 512"/>
              <a:gd name="T19" fmla="*/ 192 h 512"/>
              <a:gd name="T20" fmla="*/ 219 w 512"/>
              <a:gd name="T21" fmla="*/ 256 h 512"/>
              <a:gd name="T22" fmla="*/ 195 w 512"/>
              <a:gd name="T23" fmla="*/ 280 h 512"/>
              <a:gd name="T24" fmla="*/ 195 w 512"/>
              <a:gd name="T25" fmla="*/ 295 h 512"/>
              <a:gd name="T26" fmla="*/ 202 w 512"/>
              <a:gd name="T27" fmla="*/ 298 h 512"/>
              <a:gd name="T28" fmla="*/ 210 w 512"/>
              <a:gd name="T29" fmla="*/ 295 h 512"/>
              <a:gd name="T30" fmla="*/ 234 w 512"/>
              <a:gd name="T31" fmla="*/ 271 h 512"/>
              <a:gd name="T32" fmla="*/ 259 w 512"/>
              <a:gd name="T33" fmla="*/ 295 h 512"/>
              <a:gd name="T34" fmla="*/ 266 w 512"/>
              <a:gd name="T35" fmla="*/ 298 h 512"/>
              <a:gd name="T36" fmla="*/ 274 w 512"/>
              <a:gd name="T37" fmla="*/ 295 h 512"/>
              <a:gd name="T38" fmla="*/ 274 w 512"/>
              <a:gd name="T39" fmla="*/ 280 h 512"/>
              <a:gd name="T40" fmla="*/ 249 w 512"/>
              <a:gd name="T41" fmla="*/ 256 h 512"/>
              <a:gd name="T42" fmla="*/ 274 w 512"/>
              <a:gd name="T43" fmla="*/ 231 h 512"/>
              <a:gd name="T44" fmla="*/ 274 w 512"/>
              <a:gd name="T45" fmla="*/ 216 h 512"/>
              <a:gd name="T46" fmla="*/ 259 w 512"/>
              <a:gd name="T47" fmla="*/ 216 h 512"/>
              <a:gd name="T48" fmla="*/ 234 w 512"/>
              <a:gd name="T49" fmla="*/ 241 h 512"/>
              <a:gd name="T50" fmla="*/ 210 w 512"/>
              <a:gd name="T51" fmla="*/ 216 h 512"/>
              <a:gd name="T52" fmla="*/ 195 w 512"/>
              <a:gd name="T53" fmla="*/ 216 h 512"/>
              <a:gd name="T54" fmla="*/ 195 w 512"/>
              <a:gd name="T55" fmla="*/ 231 h 512"/>
              <a:gd name="T56" fmla="*/ 219 w 512"/>
              <a:gd name="T57" fmla="*/ 256 h 512"/>
              <a:gd name="T58" fmla="*/ 512 w 512"/>
              <a:gd name="T59" fmla="*/ 256 h 512"/>
              <a:gd name="T60" fmla="*/ 256 w 512"/>
              <a:gd name="T61" fmla="*/ 512 h 512"/>
              <a:gd name="T62" fmla="*/ 0 w 512"/>
              <a:gd name="T63" fmla="*/ 256 h 512"/>
              <a:gd name="T64" fmla="*/ 256 w 512"/>
              <a:gd name="T65" fmla="*/ 0 h 512"/>
              <a:gd name="T66" fmla="*/ 512 w 512"/>
              <a:gd name="T67" fmla="*/ 256 h 512"/>
              <a:gd name="T68" fmla="*/ 416 w 512"/>
              <a:gd name="T69" fmla="*/ 224 h 512"/>
              <a:gd name="T70" fmla="*/ 405 w 512"/>
              <a:gd name="T71" fmla="*/ 213 h 512"/>
              <a:gd name="T72" fmla="*/ 373 w 512"/>
              <a:gd name="T73" fmla="*/ 213 h 512"/>
              <a:gd name="T74" fmla="*/ 373 w 512"/>
              <a:gd name="T75" fmla="*/ 181 h 512"/>
              <a:gd name="T76" fmla="*/ 362 w 512"/>
              <a:gd name="T77" fmla="*/ 170 h 512"/>
              <a:gd name="T78" fmla="*/ 106 w 512"/>
              <a:gd name="T79" fmla="*/ 170 h 512"/>
              <a:gd name="T80" fmla="*/ 96 w 512"/>
              <a:gd name="T81" fmla="*/ 181 h 512"/>
              <a:gd name="T82" fmla="*/ 96 w 512"/>
              <a:gd name="T83" fmla="*/ 330 h 512"/>
              <a:gd name="T84" fmla="*/ 106 w 512"/>
              <a:gd name="T85" fmla="*/ 341 h 512"/>
              <a:gd name="T86" fmla="*/ 362 w 512"/>
              <a:gd name="T87" fmla="*/ 341 h 512"/>
              <a:gd name="T88" fmla="*/ 373 w 512"/>
              <a:gd name="T89" fmla="*/ 330 h 512"/>
              <a:gd name="T90" fmla="*/ 373 w 512"/>
              <a:gd name="T91" fmla="*/ 298 h 512"/>
              <a:gd name="T92" fmla="*/ 405 w 512"/>
              <a:gd name="T93" fmla="*/ 298 h 512"/>
              <a:gd name="T94" fmla="*/ 416 w 512"/>
              <a:gd name="T95" fmla="*/ 288 h 512"/>
              <a:gd name="T96" fmla="*/ 416 w 512"/>
              <a:gd name="T97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117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117" y="320"/>
                  <a:pt x="117" y="320"/>
                  <a:pt x="117" y="320"/>
                </a:cubicBezTo>
                <a:lnTo>
                  <a:pt x="117" y="192"/>
                </a:lnTo>
                <a:close/>
                <a:moveTo>
                  <a:pt x="219" y="256"/>
                </a:moveTo>
                <a:cubicBezTo>
                  <a:pt x="195" y="280"/>
                  <a:pt x="195" y="280"/>
                  <a:pt x="195" y="280"/>
                </a:cubicBezTo>
                <a:cubicBezTo>
                  <a:pt x="191" y="284"/>
                  <a:pt x="191" y="291"/>
                  <a:pt x="195" y="295"/>
                </a:cubicBezTo>
                <a:cubicBezTo>
                  <a:pt x="197" y="297"/>
                  <a:pt x="200" y="298"/>
                  <a:pt x="202" y="298"/>
                </a:cubicBezTo>
                <a:cubicBezTo>
                  <a:pt x="205" y="298"/>
                  <a:pt x="208" y="297"/>
                  <a:pt x="210" y="295"/>
                </a:cubicBezTo>
                <a:cubicBezTo>
                  <a:pt x="234" y="271"/>
                  <a:pt x="234" y="271"/>
                  <a:pt x="234" y="271"/>
                </a:cubicBezTo>
                <a:cubicBezTo>
                  <a:pt x="259" y="295"/>
                  <a:pt x="259" y="295"/>
                  <a:pt x="259" y="295"/>
                </a:cubicBezTo>
                <a:cubicBezTo>
                  <a:pt x="261" y="297"/>
                  <a:pt x="264" y="298"/>
                  <a:pt x="266" y="298"/>
                </a:cubicBezTo>
                <a:cubicBezTo>
                  <a:pt x="269" y="298"/>
                  <a:pt x="272" y="297"/>
                  <a:pt x="274" y="295"/>
                </a:cubicBezTo>
                <a:cubicBezTo>
                  <a:pt x="278" y="291"/>
                  <a:pt x="278" y="284"/>
                  <a:pt x="274" y="280"/>
                </a:cubicBezTo>
                <a:cubicBezTo>
                  <a:pt x="249" y="256"/>
                  <a:pt x="249" y="256"/>
                  <a:pt x="249" y="256"/>
                </a:cubicBezTo>
                <a:cubicBezTo>
                  <a:pt x="274" y="231"/>
                  <a:pt x="274" y="231"/>
                  <a:pt x="274" y="231"/>
                </a:cubicBezTo>
                <a:cubicBezTo>
                  <a:pt x="278" y="227"/>
                  <a:pt x="278" y="220"/>
                  <a:pt x="274" y="216"/>
                </a:cubicBezTo>
                <a:cubicBezTo>
                  <a:pt x="270" y="212"/>
                  <a:pt x="263" y="212"/>
                  <a:pt x="259" y="216"/>
                </a:cubicBezTo>
                <a:cubicBezTo>
                  <a:pt x="234" y="241"/>
                  <a:pt x="234" y="241"/>
                  <a:pt x="234" y="241"/>
                </a:cubicBezTo>
                <a:cubicBezTo>
                  <a:pt x="210" y="216"/>
                  <a:pt x="210" y="216"/>
                  <a:pt x="210" y="216"/>
                </a:cubicBezTo>
                <a:cubicBezTo>
                  <a:pt x="206" y="212"/>
                  <a:pt x="199" y="212"/>
                  <a:pt x="195" y="216"/>
                </a:cubicBezTo>
                <a:cubicBezTo>
                  <a:pt x="191" y="220"/>
                  <a:pt x="191" y="227"/>
                  <a:pt x="195" y="231"/>
                </a:cubicBezTo>
                <a:lnTo>
                  <a:pt x="219" y="2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24"/>
                </a:moveTo>
                <a:cubicBezTo>
                  <a:pt x="416" y="218"/>
                  <a:pt x="411" y="213"/>
                  <a:pt x="405" y="213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75"/>
                  <a:pt x="368" y="170"/>
                  <a:pt x="362" y="17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75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6"/>
                  <a:pt x="100" y="341"/>
                  <a:pt x="106" y="341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8" y="341"/>
                  <a:pt x="373" y="336"/>
                  <a:pt x="373" y="330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lnTo>
                  <a:pt x="416" y="22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393"/>
          <p:cNvGrpSpPr>
            <a:grpSpLocks noChangeAspect="1"/>
          </p:cNvGrpSpPr>
          <p:nvPr/>
        </p:nvGrpSpPr>
        <p:grpSpPr bwMode="auto">
          <a:xfrm>
            <a:off x="947114" y="2051050"/>
            <a:ext cx="367982" cy="369064"/>
            <a:chOff x="5010" y="3271"/>
            <a:chExt cx="340" cy="341"/>
          </a:xfrm>
          <a:solidFill>
            <a:schemeClr val="accent5"/>
          </a:solidFill>
        </p:grpSpPr>
        <p:sp>
          <p:nvSpPr>
            <p:cNvPr id="258" name="Freeform 394"/>
            <p:cNvSpPr>
              <a:spLocks noEditPoints="1"/>
            </p:cNvSpPr>
            <p:nvPr/>
          </p:nvSpPr>
          <p:spPr bwMode="auto">
            <a:xfrm>
              <a:off x="5074" y="3384"/>
              <a:ext cx="212" cy="114"/>
            </a:xfrm>
            <a:custGeom>
              <a:avLst/>
              <a:gdLst>
                <a:gd name="T0" fmla="*/ 99 w 320"/>
                <a:gd name="T1" fmla="*/ 110 h 171"/>
                <a:gd name="T2" fmla="*/ 123 w 320"/>
                <a:gd name="T3" fmla="*/ 86 h 171"/>
                <a:gd name="T4" fmla="*/ 99 w 320"/>
                <a:gd name="T5" fmla="*/ 61 h 171"/>
                <a:gd name="T6" fmla="*/ 99 w 320"/>
                <a:gd name="T7" fmla="*/ 46 h 171"/>
                <a:gd name="T8" fmla="*/ 114 w 320"/>
                <a:gd name="T9" fmla="*/ 46 h 171"/>
                <a:gd name="T10" fmla="*/ 138 w 320"/>
                <a:gd name="T11" fmla="*/ 71 h 171"/>
                <a:gd name="T12" fmla="*/ 163 w 320"/>
                <a:gd name="T13" fmla="*/ 46 h 171"/>
                <a:gd name="T14" fmla="*/ 178 w 320"/>
                <a:gd name="T15" fmla="*/ 46 h 171"/>
                <a:gd name="T16" fmla="*/ 178 w 320"/>
                <a:gd name="T17" fmla="*/ 61 h 171"/>
                <a:gd name="T18" fmla="*/ 153 w 320"/>
                <a:gd name="T19" fmla="*/ 86 h 171"/>
                <a:gd name="T20" fmla="*/ 178 w 320"/>
                <a:gd name="T21" fmla="*/ 110 h 171"/>
                <a:gd name="T22" fmla="*/ 178 w 320"/>
                <a:gd name="T23" fmla="*/ 125 h 171"/>
                <a:gd name="T24" fmla="*/ 170 w 320"/>
                <a:gd name="T25" fmla="*/ 128 h 171"/>
                <a:gd name="T26" fmla="*/ 163 w 320"/>
                <a:gd name="T27" fmla="*/ 125 h 171"/>
                <a:gd name="T28" fmla="*/ 138 w 320"/>
                <a:gd name="T29" fmla="*/ 101 h 171"/>
                <a:gd name="T30" fmla="*/ 114 w 320"/>
                <a:gd name="T31" fmla="*/ 125 h 171"/>
                <a:gd name="T32" fmla="*/ 106 w 320"/>
                <a:gd name="T33" fmla="*/ 128 h 171"/>
                <a:gd name="T34" fmla="*/ 99 w 320"/>
                <a:gd name="T35" fmla="*/ 125 h 171"/>
                <a:gd name="T36" fmla="*/ 99 w 320"/>
                <a:gd name="T37" fmla="*/ 110 h 171"/>
                <a:gd name="T38" fmla="*/ 320 w 320"/>
                <a:gd name="T39" fmla="*/ 54 h 171"/>
                <a:gd name="T40" fmla="*/ 320 w 320"/>
                <a:gd name="T41" fmla="*/ 118 h 171"/>
                <a:gd name="T42" fmla="*/ 309 w 320"/>
                <a:gd name="T43" fmla="*/ 128 h 171"/>
                <a:gd name="T44" fmla="*/ 277 w 320"/>
                <a:gd name="T45" fmla="*/ 128 h 171"/>
                <a:gd name="T46" fmla="*/ 277 w 320"/>
                <a:gd name="T47" fmla="*/ 160 h 171"/>
                <a:gd name="T48" fmla="*/ 266 w 320"/>
                <a:gd name="T49" fmla="*/ 171 h 171"/>
                <a:gd name="T50" fmla="*/ 10 w 320"/>
                <a:gd name="T51" fmla="*/ 171 h 171"/>
                <a:gd name="T52" fmla="*/ 0 w 320"/>
                <a:gd name="T53" fmla="*/ 160 h 171"/>
                <a:gd name="T54" fmla="*/ 0 w 320"/>
                <a:gd name="T55" fmla="*/ 11 h 171"/>
                <a:gd name="T56" fmla="*/ 10 w 320"/>
                <a:gd name="T57" fmla="*/ 0 h 171"/>
                <a:gd name="T58" fmla="*/ 266 w 320"/>
                <a:gd name="T59" fmla="*/ 0 h 171"/>
                <a:gd name="T60" fmla="*/ 277 w 320"/>
                <a:gd name="T61" fmla="*/ 11 h 171"/>
                <a:gd name="T62" fmla="*/ 277 w 320"/>
                <a:gd name="T63" fmla="*/ 43 h 171"/>
                <a:gd name="T64" fmla="*/ 309 w 320"/>
                <a:gd name="T65" fmla="*/ 43 h 171"/>
                <a:gd name="T66" fmla="*/ 320 w 320"/>
                <a:gd name="T67" fmla="*/ 54 h 171"/>
                <a:gd name="T68" fmla="*/ 256 w 320"/>
                <a:gd name="T69" fmla="*/ 22 h 171"/>
                <a:gd name="T70" fmla="*/ 21 w 320"/>
                <a:gd name="T71" fmla="*/ 22 h 171"/>
                <a:gd name="T72" fmla="*/ 21 w 320"/>
                <a:gd name="T73" fmla="*/ 150 h 171"/>
                <a:gd name="T74" fmla="*/ 256 w 320"/>
                <a:gd name="T75" fmla="*/ 150 h 171"/>
                <a:gd name="T76" fmla="*/ 256 w 320"/>
                <a:gd name="T77" fmla="*/ 22 h 171"/>
                <a:gd name="T78" fmla="*/ 298 w 320"/>
                <a:gd name="T79" fmla="*/ 64 h 171"/>
                <a:gd name="T80" fmla="*/ 277 w 320"/>
                <a:gd name="T81" fmla="*/ 64 h 171"/>
                <a:gd name="T82" fmla="*/ 277 w 320"/>
                <a:gd name="T83" fmla="*/ 107 h 171"/>
                <a:gd name="T84" fmla="*/ 298 w 320"/>
                <a:gd name="T85" fmla="*/ 107 h 171"/>
                <a:gd name="T86" fmla="*/ 298 w 320"/>
                <a:gd name="T87" fmla="*/ 6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0" h="171">
                  <a:moveTo>
                    <a:pt x="99" y="110"/>
                  </a:moveTo>
                  <a:cubicBezTo>
                    <a:pt x="123" y="86"/>
                    <a:pt x="123" y="86"/>
                    <a:pt x="123" y="86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5" y="57"/>
                    <a:pt x="95" y="50"/>
                    <a:pt x="99" y="46"/>
                  </a:cubicBezTo>
                  <a:cubicBezTo>
                    <a:pt x="103" y="42"/>
                    <a:pt x="110" y="42"/>
                    <a:pt x="114" y="46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7" y="42"/>
                    <a:pt x="174" y="42"/>
                    <a:pt x="178" y="46"/>
                  </a:cubicBezTo>
                  <a:cubicBezTo>
                    <a:pt x="182" y="50"/>
                    <a:pt x="182" y="57"/>
                    <a:pt x="178" y="6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82" y="114"/>
                    <a:pt x="182" y="121"/>
                    <a:pt x="178" y="125"/>
                  </a:cubicBezTo>
                  <a:cubicBezTo>
                    <a:pt x="176" y="127"/>
                    <a:pt x="173" y="128"/>
                    <a:pt x="170" y="128"/>
                  </a:cubicBezTo>
                  <a:cubicBezTo>
                    <a:pt x="168" y="128"/>
                    <a:pt x="165" y="127"/>
                    <a:pt x="163" y="12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14" y="125"/>
                    <a:pt x="114" y="125"/>
                    <a:pt x="114" y="125"/>
                  </a:cubicBezTo>
                  <a:cubicBezTo>
                    <a:pt x="112" y="127"/>
                    <a:pt x="109" y="128"/>
                    <a:pt x="106" y="128"/>
                  </a:cubicBezTo>
                  <a:cubicBezTo>
                    <a:pt x="104" y="128"/>
                    <a:pt x="101" y="127"/>
                    <a:pt x="99" y="125"/>
                  </a:cubicBezTo>
                  <a:cubicBezTo>
                    <a:pt x="95" y="121"/>
                    <a:pt x="95" y="114"/>
                    <a:pt x="99" y="110"/>
                  </a:cubicBezTo>
                  <a:close/>
                  <a:moveTo>
                    <a:pt x="320" y="54"/>
                  </a:moveTo>
                  <a:cubicBezTo>
                    <a:pt x="320" y="118"/>
                    <a:pt x="320" y="118"/>
                    <a:pt x="320" y="118"/>
                  </a:cubicBezTo>
                  <a:cubicBezTo>
                    <a:pt x="320" y="124"/>
                    <a:pt x="315" y="128"/>
                    <a:pt x="309" y="128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277" y="160"/>
                    <a:pt x="277" y="160"/>
                    <a:pt x="277" y="160"/>
                  </a:cubicBezTo>
                  <a:cubicBezTo>
                    <a:pt x="277" y="166"/>
                    <a:pt x="272" y="171"/>
                    <a:pt x="266" y="17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66"/>
                    <a:pt x="0" y="16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2" y="0"/>
                    <a:pt x="277" y="5"/>
                    <a:pt x="277" y="11"/>
                  </a:cubicBezTo>
                  <a:cubicBezTo>
                    <a:pt x="277" y="43"/>
                    <a:pt x="277" y="43"/>
                    <a:pt x="277" y="43"/>
                  </a:cubicBezTo>
                  <a:cubicBezTo>
                    <a:pt x="309" y="43"/>
                    <a:pt x="309" y="43"/>
                    <a:pt x="309" y="43"/>
                  </a:cubicBezTo>
                  <a:cubicBezTo>
                    <a:pt x="315" y="43"/>
                    <a:pt x="320" y="48"/>
                    <a:pt x="320" y="54"/>
                  </a:cubicBezTo>
                  <a:close/>
                  <a:moveTo>
                    <a:pt x="256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56" y="150"/>
                    <a:pt x="256" y="150"/>
                    <a:pt x="256" y="150"/>
                  </a:cubicBezTo>
                  <a:lnTo>
                    <a:pt x="256" y="22"/>
                  </a:lnTo>
                  <a:close/>
                  <a:moveTo>
                    <a:pt x="298" y="64"/>
                  </a:moveTo>
                  <a:cubicBezTo>
                    <a:pt x="277" y="64"/>
                    <a:pt x="277" y="64"/>
                    <a:pt x="277" y="64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8" y="107"/>
                    <a:pt x="298" y="107"/>
                    <a:pt x="298" y="107"/>
                  </a:cubicBezTo>
                  <a:lnTo>
                    <a:pt x="29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395"/>
            <p:cNvSpPr>
              <a:spLocks noEditPoints="1"/>
            </p:cNvSpPr>
            <p:nvPr/>
          </p:nvSpPr>
          <p:spPr bwMode="auto">
            <a:xfrm>
              <a:off x="5010" y="327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399"/>
          <p:cNvSpPr>
            <a:spLocks noChangeAspect="1" noEditPoints="1"/>
          </p:cNvSpPr>
          <p:nvPr/>
        </p:nvSpPr>
        <p:spPr bwMode="auto">
          <a:xfrm>
            <a:off x="1443278" y="2051050"/>
            <a:ext cx="369064" cy="367982"/>
          </a:xfrm>
          <a:custGeom>
            <a:avLst/>
            <a:gdLst>
              <a:gd name="T0" fmla="*/ 373 w 512"/>
              <a:gd name="T1" fmla="*/ 234 h 512"/>
              <a:gd name="T2" fmla="*/ 394 w 512"/>
              <a:gd name="T3" fmla="*/ 234 h 512"/>
              <a:gd name="T4" fmla="*/ 394 w 512"/>
              <a:gd name="T5" fmla="*/ 277 h 512"/>
              <a:gd name="T6" fmla="*/ 373 w 512"/>
              <a:gd name="T7" fmla="*/ 277 h 512"/>
              <a:gd name="T8" fmla="*/ 373 w 512"/>
              <a:gd name="T9" fmla="*/ 234 h 512"/>
              <a:gd name="T10" fmla="*/ 117 w 512"/>
              <a:gd name="T11" fmla="*/ 192 h 512"/>
              <a:gd name="T12" fmla="*/ 352 w 512"/>
              <a:gd name="T13" fmla="*/ 192 h 512"/>
              <a:gd name="T14" fmla="*/ 352 w 512"/>
              <a:gd name="T15" fmla="*/ 320 h 512"/>
              <a:gd name="T16" fmla="*/ 117 w 512"/>
              <a:gd name="T17" fmla="*/ 320 h 512"/>
              <a:gd name="T18" fmla="*/ 117 w 512"/>
              <a:gd name="T19" fmla="*/ 192 h 512"/>
              <a:gd name="T20" fmla="*/ 138 w 512"/>
              <a:gd name="T21" fmla="*/ 288 h 512"/>
              <a:gd name="T22" fmla="*/ 149 w 512"/>
              <a:gd name="T23" fmla="*/ 298 h 512"/>
              <a:gd name="T24" fmla="*/ 160 w 512"/>
              <a:gd name="T25" fmla="*/ 288 h 512"/>
              <a:gd name="T26" fmla="*/ 160 w 512"/>
              <a:gd name="T27" fmla="*/ 224 h 512"/>
              <a:gd name="T28" fmla="*/ 149 w 512"/>
              <a:gd name="T29" fmla="*/ 213 h 512"/>
              <a:gd name="T30" fmla="*/ 138 w 512"/>
              <a:gd name="T31" fmla="*/ 224 h 512"/>
              <a:gd name="T32" fmla="*/ 138 w 512"/>
              <a:gd name="T33" fmla="*/ 288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6 w 512"/>
              <a:gd name="T45" fmla="*/ 224 h 512"/>
              <a:gd name="T46" fmla="*/ 405 w 512"/>
              <a:gd name="T47" fmla="*/ 213 h 512"/>
              <a:gd name="T48" fmla="*/ 373 w 512"/>
              <a:gd name="T49" fmla="*/ 213 h 512"/>
              <a:gd name="T50" fmla="*/ 373 w 512"/>
              <a:gd name="T51" fmla="*/ 181 h 512"/>
              <a:gd name="T52" fmla="*/ 362 w 512"/>
              <a:gd name="T53" fmla="*/ 170 h 512"/>
              <a:gd name="T54" fmla="*/ 106 w 512"/>
              <a:gd name="T55" fmla="*/ 170 h 512"/>
              <a:gd name="T56" fmla="*/ 96 w 512"/>
              <a:gd name="T57" fmla="*/ 181 h 512"/>
              <a:gd name="T58" fmla="*/ 96 w 512"/>
              <a:gd name="T59" fmla="*/ 330 h 512"/>
              <a:gd name="T60" fmla="*/ 106 w 512"/>
              <a:gd name="T61" fmla="*/ 341 h 512"/>
              <a:gd name="T62" fmla="*/ 362 w 512"/>
              <a:gd name="T63" fmla="*/ 341 h 512"/>
              <a:gd name="T64" fmla="*/ 373 w 512"/>
              <a:gd name="T65" fmla="*/ 330 h 512"/>
              <a:gd name="T66" fmla="*/ 373 w 512"/>
              <a:gd name="T67" fmla="*/ 298 h 512"/>
              <a:gd name="T68" fmla="*/ 405 w 512"/>
              <a:gd name="T69" fmla="*/ 298 h 512"/>
              <a:gd name="T70" fmla="*/ 416 w 512"/>
              <a:gd name="T71" fmla="*/ 288 h 512"/>
              <a:gd name="T72" fmla="*/ 416 w 512"/>
              <a:gd name="T7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117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117" y="320"/>
                  <a:pt x="117" y="320"/>
                  <a:pt x="117" y="320"/>
                </a:cubicBezTo>
                <a:lnTo>
                  <a:pt x="117" y="192"/>
                </a:lnTo>
                <a:close/>
                <a:moveTo>
                  <a:pt x="138" y="288"/>
                </a:moveTo>
                <a:cubicBezTo>
                  <a:pt x="138" y="294"/>
                  <a:pt x="143" y="298"/>
                  <a:pt x="149" y="298"/>
                </a:cubicBezTo>
                <a:cubicBezTo>
                  <a:pt x="155" y="298"/>
                  <a:pt x="160" y="294"/>
                  <a:pt x="160" y="288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18"/>
                  <a:pt x="155" y="213"/>
                  <a:pt x="149" y="213"/>
                </a:cubicBezTo>
                <a:cubicBezTo>
                  <a:pt x="143" y="213"/>
                  <a:pt x="138" y="218"/>
                  <a:pt x="138" y="224"/>
                </a:cubicBezTo>
                <a:lnTo>
                  <a:pt x="138" y="28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24"/>
                </a:moveTo>
                <a:cubicBezTo>
                  <a:pt x="416" y="218"/>
                  <a:pt x="411" y="213"/>
                  <a:pt x="405" y="213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75"/>
                  <a:pt x="368" y="170"/>
                  <a:pt x="362" y="17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75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6"/>
                  <a:pt x="100" y="341"/>
                  <a:pt x="106" y="341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8" y="341"/>
                  <a:pt x="373" y="336"/>
                  <a:pt x="373" y="330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lnTo>
                  <a:pt x="416" y="22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402"/>
          <p:cNvGrpSpPr>
            <a:grpSpLocks noChangeAspect="1"/>
          </p:cNvGrpSpPr>
          <p:nvPr/>
        </p:nvGrpSpPr>
        <p:grpSpPr bwMode="auto">
          <a:xfrm>
            <a:off x="1940524" y="2051050"/>
            <a:ext cx="367982" cy="367982"/>
            <a:chOff x="3660" y="2329"/>
            <a:chExt cx="340" cy="340"/>
          </a:xfrm>
          <a:solidFill>
            <a:schemeClr val="accent5"/>
          </a:solidFill>
        </p:grpSpPr>
        <p:sp>
          <p:nvSpPr>
            <p:cNvPr id="262" name="Freeform 403"/>
            <p:cNvSpPr>
              <a:spLocks noEditPoints="1"/>
            </p:cNvSpPr>
            <p:nvPr/>
          </p:nvSpPr>
          <p:spPr bwMode="auto">
            <a:xfrm>
              <a:off x="3724" y="2442"/>
              <a:ext cx="212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42 w 320"/>
                <a:gd name="T51" fmla="*/ 118 h 171"/>
                <a:gd name="T52" fmla="*/ 42 w 320"/>
                <a:gd name="T53" fmla="*/ 54 h 171"/>
                <a:gd name="T54" fmla="*/ 53 w 320"/>
                <a:gd name="T55" fmla="*/ 43 h 171"/>
                <a:gd name="T56" fmla="*/ 64 w 320"/>
                <a:gd name="T57" fmla="*/ 54 h 171"/>
                <a:gd name="T58" fmla="*/ 64 w 320"/>
                <a:gd name="T59" fmla="*/ 118 h 171"/>
                <a:gd name="T60" fmla="*/ 53 w 320"/>
                <a:gd name="T61" fmla="*/ 128 h 171"/>
                <a:gd name="T62" fmla="*/ 42 w 320"/>
                <a:gd name="T63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42" y="118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59" y="128"/>
                    <a:pt x="53" y="128"/>
                  </a:cubicBezTo>
                  <a:cubicBezTo>
                    <a:pt x="47" y="128"/>
                    <a:pt x="42" y="124"/>
                    <a:pt x="42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404"/>
            <p:cNvSpPr>
              <a:spLocks noEditPoints="1"/>
            </p:cNvSpPr>
            <p:nvPr/>
          </p:nvSpPr>
          <p:spPr bwMode="auto">
            <a:xfrm>
              <a:off x="3660" y="23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408"/>
          <p:cNvSpPr>
            <a:spLocks noChangeAspect="1" noEditPoints="1"/>
          </p:cNvSpPr>
          <p:nvPr/>
        </p:nvSpPr>
        <p:spPr bwMode="auto">
          <a:xfrm>
            <a:off x="2436688" y="2051050"/>
            <a:ext cx="367982" cy="369064"/>
          </a:xfrm>
          <a:custGeom>
            <a:avLst/>
            <a:gdLst>
              <a:gd name="T0" fmla="*/ 117 w 512"/>
              <a:gd name="T1" fmla="*/ 320 h 512"/>
              <a:gd name="T2" fmla="*/ 352 w 512"/>
              <a:gd name="T3" fmla="*/ 320 h 512"/>
              <a:gd name="T4" fmla="*/ 352 w 512"/>
              <a:gd name="T5" fmla="*/ 192 h 512"/>
              <a:gd name="T6" fmla="*/ 117 w 512"/>
              <a:gd name="T7" fmla="*/ 192 h 512"/>
              <a:gd name="T8" fmla="*/ 117 w 512"/>
              <a:gd name="T9" fmla="*/ 320 h 512"/>
              <a:gd name="T10" fmla="*/ 181 w 512"/>
              <a:gd name="T11" fmla="*/ 224 h 512"/>
              <a:gd name="T12" fmla="*/ 192 w 512"/>
              <a:gd name="T13" fmla="*/ 213 h 512"/>
              <a:gd name="T14" fmla="*/ 202 w 512"/>
              <a:gd name="T15" fmla="*/ 224 h 512"/>
              <a:gd name="T16" fmla="*/ 202 w 512"/>
              <a:gd name="T17" fmla="*/ 288 h 512"/>
              <a:gd name="T18" fmla="*/ 192 w 512"/>
              <a:gd name="T19" fmla="*/ 298 h 512"/>
              <a:gd name="T20" fmla="*/ 181 w 512"/>
              <a:gd name="T21" fmla="*/ 288 h 512"/>
              <a:gd name="T22" fmla="*/ 181 w 512"/>
              <a:gd name="T23" fmla="*/ 224 h 512"/>
              <a:gd name="T24" fmla="*/ 138 w 512"/>
              <a:gd name="T25" fmla="*/ 224 h 512"/>
              <a:gd name="T26" fmla="*/ 149 w 512"/>
              <a:gd name="T27" fmla="*/ 213 h 512"/>
              <a:gd name="T28" fmla="*/ 160 w 512"/>
              <a:gd name="T29" fmla="*/ 224 h 512"/>
              <a:gd name="T30" fmla="*/ 160 w 512"/>
              <a:gd name="T31" fmla="*/ 288 h 512"/>
              <a:gd name="T32" fmla="*/ 149 w 512"/>
              <a:gd name="T33" fmla="*/ 298 h 512"/>
              <a:gd name="T34" fmla="*/ 138 w 512"/>
              <a:gd name="T35" fmla="*/ 288 h 512"/>
              <a:gd name="T36" fmla="*/ 138 w 512"/>
              <a:gd name="T37" fmla="*/ 224 h 512"/>
              <a:gd name="T38" fmla="*/ 373 w 512"/>
              <a:gd name="T39" fmla="*/ 234 h 512"/>
              <a:gd name="T40" fmla="*/ 394 w 512"/>
              <a:gd name="T41" fmla="*/ 234 h 512"/>
              <a:gd name="T42" fmla="*/ 394 w 512"/>
              <a:gd name="T43" fmla="*/ 277 h 512"/>
              <a:gd name="T44" fmla="*/ 373 w 512"/>
              <a:gd name="T45" fmla="*/ 277 h 512"/>
              <a:gd name="T46" fmla="*/ 373 w 512"/>
              <a:gd name="T47" fmla="*/ 234 h 512"/>
              <a:gd name="T48" fmla="*/ 256 w 512"/>
              <a:gd name="T49" fmla="*/ 0 h 512"/>
              <a:gd name="T50" fmla="*/ 0 w 512"/>
              <a:gd name="T51" fmla="*/ 256 h 512"/>
              <a:gd name="T52" fmla="*/ 256 w 512"/>
              <a:gd name="T53" fmla="*/ 512 h 512"/>
              <a:gd name="T54" fmla="*/ 512 w 512"/>
              <a:gd name="T55" fmla="*/ 256 h 512"/>
              <a:gd name="T56" fmla="*/ 256 w 512"/>
              <a:gd name="T57" fmla="*/ 0 h 512"/>
              <a:gd name="T58" fmla="*/ 416 w 512"/>
              <a:gd name="T59" fmla="*/ 288 h 512"/>
              <a:gd name="T60" fmla="*/ 405 w 512"/>
              <a:gd name="T61" fmla="*/ 298 h 512"/>
              <a:gd name="T62" fmla="*/ 373 w 512"/>
              <a:gd name="T63" fmla="*/ 298 h 512"/>
              <a:gd name="T64" fmla="*/ 373 w 512"/>
              <a:gd name="T65" fmla="*/ 330 h 512"/>
              <a:gd name="T66" fmla="*/ 362 w 512"/>
              <a:gd name="T67" fmla="*/ 341 h 512"/>
              <a:gd name="T68" fmla="*/ 106 w 512"/>
              <a:gd name="T69" fmla="*/ 341 h 512"/>
              <a:gd name="T70" fmla="*/ 96 w 512"/>
              <a:gd name="T71" fmla="*/ 330 h 512"/>
              <a:gd name="T72" fmla="*/ 96 w 512"/>
              <a:gd name="T73" fmla="*/ 181 h 512"/>
              <a:gd name="T74" fmla="*/ 106 w 512"/>
              <a:gd name="T75" fmla="*/ 170 h 512"/>
              <a:gd name="T76" fmla="*/ 362 w 512"/>
              <a:gd name="T77" fmla="*/ 170 h 512"/>
              <a:gd name="T78" fmla="*/ 373 w 512"/>
              <a:gd name="T79" fmla="*/ 181 h 512"/>
              <a:gd name="T80" fmla="*/ 373 w 512"/>
              <a:gd name="T81" fmla="*/ 213 h 512"/>
              <a:gd name="T82" fmla="*/ 405 w 512"/>
              <a:gd name="T83" fmla="*/ 213 h 512"/>
              <a:gd name="T84" fmla="*/ 416 w 512"/>
              <a:gd name="T85" fmla="*/ 224 h 512"/>
              <a:gd name="T86" fmla="*/ 416 w 512"/>
              <a:gd name="T87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117" y="320"/>
                </a:moveTo>
                <a:cubicBezTo>
                  <a:pt x="352" y="320"/>
                  <a:pt x="352" y="320"/>
                  <a:pt x="352" y="320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117" y="192"/>
                  <a:pt x="117" y="192"/>
                  <a:pt x="117" y="192"/>
                </a:cubicBezTo>
                <a:lnTo>
                  <a:pt x="117" y="320"/>
                </a:lnTo>
                <a:close/>
                <a:moveTo>
                  <a:pt x="181" y="224"/>
                </a:moveTo>
                <a:cubicBezTo>
                  <a:pt x="181" y="218"/>
                  <a:pt x="186" y="213"/>
                  <a:pt x="192" y="213"/>
                </a:cubicBezTo>
                <a:cubicBezTo>
                  <a:pt x="198" y="213"/>
                  <a:pt x="202" y="218"/>
                  <a:pt x="202" y="224"/>
                </a:cubicBezTo>
                <a:cubicBezTo>
                  <a:pt x="202" y="288"/>
                  <a:pt x="202" y="288"/>
                  <a:pt x="202" y="288"/>
                </a:cubicBezTo>
                <a:cubicBezTo>
                  <a:pt x="202" y="294"/>
                  <a:pt x="198" y="298"/>
                  <a:pt x="192" y="298"/>
                </a:cubicBezTo>
                <a:cubicBezTo>
                  <a:pt x="186" y="298"/>
                  <a:pt x="181" y="294"/>
                  <a:pt x="181" y="288"/>
                </a:cubicBezTo>
                <a:lnTo>
                  <a:pt x="181" y="224"/>
                </a:lnTo>
                <a:close/>
                <a:moveTo>
                  <a:pt x="138" y="224"/>
                </a:moveTo>
                <a:cubicBezTo>
                  <a:pt x="138" y="218"/>
                  <a:pt x="143" y="213"/>
                  <a:pt x="149" y="213"/>
                </a:cubicBezTo>
                <a:cubicBezTo>
                  <a:pt x="155" y="213"/>
                  <a:pt x="160" y="218"/>
                  <a:pt x="160" y="224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lnTo>
                  <a:pt x="138" y="224"/>
                </a:ln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88"/>
                </a:moveTo>
                <a:cubicBezTo>
                  <a:pt x="416" y="294"/>
                  <a:pt x="411" y="298"/>
                  <a:pt x="405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6"/>
                  <a:pt x="368" y="341"/>
                  <a:pt x="362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28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411"/>
          <p:cNvGrpSpPr>
            <a:grpSpLocks noChangeAspect="1"/>
          </p:cNvGrpSpPr>
          <p:nvPr/>
        </p:nvGrpSpPr>
        <p:grpSpPr bwMode="auto">
          <a:xfrm>
            <a:off x="2932852" y="2051050"/>
            <a:ext cx="367982" cy="367982"/>
            <a:chOff x="2889" y="2025"/>
            <a:chExt cx="340" cy="340"/>
          </a:xfrm>
          <a:solidFill>
            <a:schemeClr val="accent5"/>
          </a:solidFill>
        </p:grpSpPr>
        <p:sp>
          <p:nvSpPr>
            <p:cNvPr id="266" name="Freeform 412"/>
            <p:cNvSpPr>
              <a:spLocks noEditPoints="1"/>
            </p:cNvSpPr>
            <p:nvPr/>
          </p:nvSpPr>
          <p:spPr bwMode="auto">
            <a:xfrm>
              <a:off x="2953" y="2138"/>
              <a:ext cx="212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42 w 320"/>
                <a:gd name="T51" fmla="*/ 118 h 171"/>
                <a:gd name="T52" fmla="*/ 42 w 320"/>
                <a:gd name="T53" fmla="*/ 54 h 171"/>
                <a:gd name="T54" fmla="*/ 53 w 320"/>
                <a:gd name="T55" fmla="*/ 43 h 171"/>
                <a:gd name="T56" fmla="*/ 64 w 320"/>
                <a:gd name="T57" fmla="*/ 54 h 171"/>
                <a:gd name="T58" fmla="*/ 64 w 320"/>
                <a:gd name="T59" fmla="*/ 118 h 171"/>
                <a:gd name="T60" fmla="*/ 53 w 320"/>
                <a:gd name="T61" fmla="*/ 128 h 171"/>
                <a:gd name="T62" fmla="*/ 42 w 320"/>
                <a:gd name="T63" fmla="*/ 118 h 171"/>
                <a:gd name="T64" fmla="*/ 85 w 320"/>
                <a:gd name="T65" fmla="*/ 118 h 171"/>
                <a:gd name="T66" fmla="*/ 85 w 320"/>
                <a:gd name="T67" fmla="*/ 54 h 171"/>
                <a:gd name="T68" fmla="*/ 96 w 320"/>
                <a:gd name="T69" fmla="*/ 43 h 171"/>
                <a:gd name="T70" fmla="*/ 106 w 320"/>
                <a:gd name="T71" fmla="*/ 54 h 171"/>
                <a:gd name="T72" fmla="*/ 106 w 320"/>
                <a:gd name="T73" fmla="*/ 118 h 171"/>
                <a:gd name="T74" fmla="*/ 96 w 320"/>
                <a:gd name="T75" fmla="*/ 128 h 171"/>
                <a:gd name="T76" fmla="*/ 85 w 320"/>
                <a:gd name="T77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42" y="118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59" y="128"/>
                    <a:pt x="53" y="128"/>
                  </a:cubicBezTo>
                  <a:cubicBezTo>
                    <a:pt x="47" y="128"/>
                    <a:pt x="42" y="124"/>
                    <a:pt x="42" y="118"/>
                  </a:cubicBezTo>
                  <a:close/>
                  <a:moveTo>
                    <a:pt x="85" y="118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48"/>
                    <a:pt x="90" y="43"/>
                    <a:pt x="96" y="43"/>
                  </a:cubicBezTo>
                  <a:cubicBezTo>
                    <a:pt x="102" y="43"/>
                    <a:pt x="106" y="48"/>
                    <a:pt x="106" y="54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24"/>
                    <a:pt x="102" y="128"/>
                    <a:pt x="96" y="128"/>
                  </a:cubicBezTo>
                  <a:cubicBezTo>
                    <a:pt x="90" y="128"/>
                    <a:pt x="85" y="124"/>
                    <a:pt x="85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413"/>
            <p:cNvSpPr>
              <a:spLocks noEditPoints="1"/>
            </p:cNvSpPr>
            <p:nvPr/>
          </p:nvSpPr>
          <p:spPr bwMode="auto">
            <a:xfrm>
              <a:off x="2889" y="202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417"/>
          <p:cNvSpPr>
            <a:spLocks noChangeAspect="1" noEditPoints="1"/>
          </p:cNvSpPr>
          <p:nvPr/>
        </p:nvSpPr>
        <p:spPr bwMode="auto">
          <a:xfrm>
            <a:off x="3429016" y="2051050"/>
            <a:ext cx="367982" cy="367982"/>
          </a:xfrm>
          <a:custGeom>
            <a:avLst/>
            <a:gdLst>
              <a:gd name="T0" fmla="*/ 117 w 512"/>
              <a:gd name="T1" fmla="*/ 320 h 512"/>
              <a:gd name="T2" fmla="*/ 352 w 512"/>
              <a:gd name="T3" fmla="*/ 320 h 512"/>
              <a:gd name="T4" fmla="*/ 352 w 512"/>
              <a:gd name="T5" fmla="*/ 192 h 512"/>
              <a:gd name="T6" fmla="*/ 117 w 512"/>
              <a:gd name="T7" fmla="*/ 192 h 512"/>
              <a:gd name="T8" fmla="*/ 117 w 512"/>
              <a:gd name="T9" fmla="*/ 320 h 512"/>
              <a:gd name="T10" fmla="*/ 224 w 512"/>
              <a:gd name="T11" fmla="*/ 224 h 512"/>
              <a:gd name="T12" fmla="*/ 234 w 512"/>
              <a:gd name="T13" fmla="*/ 213 h 512"/>
              <a:gd name="T14" fmla="*/ 245 w 512"/>
              <a:gd name="T15" fmla="*/ 224 h 512"/>
              <a:gd name="T16" fmla="*/ 245 w 512"/>
              <a:gd name="T17" fmla="*/ 288 h 512"/>
              <a:gd name="T18" fmla="*/ 234 w 512"/>
              <a:gd name="T19" fmla="*/ 298 h 512"/>
              <a:gd name="T20" fmla="*/ 224 w 512"/>
              <a:gd name="T21" fmla="*/ 288 h 512"/>
              <a:gd name="T22" fmla="*/ 224 w 512"/>
              <a:gd name="T23" fmla="*/ 224 h 512"/>
              <a:gd name="T24" fmla="*/ 181 w 512"/>
              <a:gd name="T25" fmla="*/ 224 h 512"/>
              <a:gd name="T26" fmla="*/ 192 w 512"/>
              <a:gd name="T27" fmla="*/ 213 h 512"/>
              <a:gd name="T28" fmla="*/ 202 w 512"/>
              <a:gd name="T29" fmla="*/ 224 h 512"/>
              <a:gd name="T30" fmla="*/ 202 w 512"/>
              <a:gd name="T31" fmla="*/ 288 h 512"/>
              <a:gd name="T32" fmla="*/ 192 w 512"/>
              <a:gd name="T33" fmla="*/ 298 h 512"/>
              <a:gd name="T34" fmla="*/ 181 w 512"/>
              <a:gd name="T35" fmla="*/ 288 h 512"/>
              <a:gd name="T36" fmla="*/ 181 w 512"/>
              <a:gd name="T37" fmla="*/ 224 h 512"/>
              <a:gd name="T38" fmla="*/ 138 w 512"/>
              <a:gd name="T39" fmla="*/ 224 h 512"/>
              <a:gd name="T40" fmla="*/ 149 w 512"/>
              <a:gd name="T41" fmla="*/ 213 h 512"/>
              <a:gd name="T42" fmla="*/ 160 w 512"/>
              <a:gd name="T43" fmla="*/ 224 h 512"/>
              <a:gd name="T44" fmla="*/ 160 w 512"/>
              <a:gd name="T45" fmla="*/ 288 h 512"/>
              <a:gd name="T46" fmla="*/ 149 w 512"/>
              <a:gd name="T47" fmla="*/ 298 h 512"/>
              <a:gd name="T48" fmla="*/ 138 w 512"/>
              <a:gd name="T49" fmla="*/ 288 h 512"/>
              <a:gd name="T50" fmla="*/ 138 w 512"/>
              <a:gd name="T51" fmla="*/ 224 h 512"/>
              <a:gd name="T52" fmla="*/ 256 w 512"/>
              <a:gd name="T53" fmla="*/ 0 h 512"/>
              <a:gd name="T54" fmla="*/ 0 w 512"/>
              <a:gd name="T55" fmla="*/ 256 h 512"/>
              <a:gd name="T56" fmla="*/ 256 w 512"/>
              <a:gd name="T57" fmla="*/ 512 h 512"/>
              <a:gd name="T58" fmla="*/ 512 w 512"/>
              <a:gd name="T59" fmla="*/ 256 h 512"/>
              <a:gd name="T60" fmla="*/ 256 w 512"/>
              <a:gd name="T61" fmla="*/ 0 h 512"/>
              <a:gd name="T62" fmla="*/ 416 w 512"/>
              <a:gd name="T63" fmla="*/ 288 h 512"/>
              <a:gd name="T64" fmla="*/ 405 w 512"/>
              <a:gd name="T65" fmla="*/ 298 h 512"/>
              <a:gd name="T66" fmla="*/ 373 w 512"/>
              <a:gd name="T67" fmla="*/ 298 h 512"/>
              <a:gd name="T68" fmla="*/ 373 w 512"/>
              <a:gd name="T69" fmla="*/ 330 h 512"/>
              <a:gd name="T70" fmla="*/ 362 w 512"/>
              <a:gd name="T71" fmla="*/ 341 h 512"/>
              <a:gd name="T72" fmla="*/ 106 w 512"/>
              <a:gd name="T73" fmla="*/ 341 h 512"/>
              <a:gd name="T74" fmla="*/ 96 w 512"/>
              <a:gd name="T75" fmla="*/ 330 h 512"/>
              <a:gd name="T76" fmla="*/ 96 w 512"/>
              <a:gd name="T77" fmla="*/ 181 h 512"/>
              <a:gd name="T78" fmla="*/ 106 w 512"/>
              <a:gd name="T79" fmla="*/ 170 h 512"/>
              <a:gd name="T80" fmla="*/ 362 w 512"/>
              <a:gd name="T81" fmla="*/ 170 h 512"/>
              <a:gd name="T82" fmla="*/ 373 w 512"/>
              <a:gd name="T83" fmla="*/ 181 h 512"/>
              <a:gd name="T84" fmla="*/ 373 w 512"/>
              <a:gd name="T85" fmla="*/ 213 h 512"/>
              <a:gd name="T86" fmla="*/ 405 w 512"/>
              <a:gd name="T87" fmla="*/ 213 h 512"/>
              <a:gd name="T88" fmla="*/ 416 w 512"/>
              <a:gd name="T89" fmla="*/ 224 h 512"/>
              <a:gd name="T90" fmla="*/ 416 w 512"/>
              <a:gd name="T91" fmla="*/ 288 h 512"/>
              <a:gd name="T92" fmla="*/ 373 w 512"/>
              <a:gd name="T93" fmla="*/ 234 h 512"/>
              <a:gd name="T94" fmla="*/ 394 w 512"/>
              <a:gd name="T95" fmla="*/ 234 h 512"/>
              <a:gd name="T96" fmla="*/ 394 w 512"/>
              <a:gd name="T97" fmla="*/ 277 h 512"/>
              <a:gd name="T98" fmla="*/ 373 w 512"/>
              <a:gd name="T99" fmla="*/ 277 h 512"/>
              <a:gd name="T100" fmla="*/ 373 w 512"/>
              <a:gd name="T101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117" y="320"/>
                </a:moveTo>
                <a:cubicBezTo>
                  <a:pt x="352" y="320"/>
                  <a:pt x="352" y="320"/>
                  <a:pt x="352" y="320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117" y="192"/>
                  <a:pt x="117" y="192"/>
                  <a:pt x="117" y="192"/>
                </a:cubicBezTo>
                <a:lnTo>
                  <a:pt x="117" y="320"/>
                </a:lnTo>
                <a:close/>
                <a:moveTo>
                  <a:pt x="224" y="224"/>
                </a:moveTo>
                <a:cubicBezTo>
                  <a:pt x="224" y="218"/>
                  <a:pt x="228" y="213"/>
                  <a:pt x="234" y="213"/>
                </a:cubicBezTo>
                <a:cubicBezTo>
                  <a:pt x="240" y="213"/>
                  <a:pt x="245" y="218"/>
                  <a:pt x="245" y="224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lnTo>
                  <a:pt x="224" y="224"/>
                </a:lnTo>
                <a:close/>
                <a:moveTo>
                  <a:pt x="181" y="224"/>
                </a:moveTo>
                <a:cubicBezTo>
                  <a:pt x="181" y="218"/>
                  <a:pt x="186" y="213"/>
                  <a:pt x="192" y="213"/>
                </a:cubicBezTo>
                <a:cubicBezTo>
                  <a:pt x="198" y="213"/>
                  <a:pt x="202" y="218"/>
                  <a:pt x="202" y="224"/>
                </a:cubicBezTo>
                <a:cubicBezTo>
                  <a:pt x="202" y="288"/>
                  <a:pt x="202" y="288"/>
                  <a:pt x="202" y="288"/>
                </a:cubicBezTo>
                <a:cubicBezTo>
                  <a:pt x="202" y="294"/>
                  <a:pt x="198" y="298"/>
                  <a:pt x="192" y="298"/>
                </a:cubicBezTo>
                <a:cubicBezTo>
                  <a:pt x="186" y="298"/>
                  <a:pt x="181" y="294"/>
                  <a:pt x="181" y="288"/>
                </a:cubicBezTo>
                <a:lnTo>
                  <a:pt x="181" y="224"/>
                </a:lnTo>
                <a:close/>
                <a:moveTo>
                  <a:pt x="138" y="224"/>
                </a:moveTo>
                <a:cubicBezTo>
                  <a:pt x="138" y="218"/>
                  <a:pt x="143" y="213"/>
                  <a:pt x="149" y="213"/>
                </a:cubicBezTo>
                <a:cubicBezTo>
                  <a:pt x="155" y="213"/>
                  <a:pt x="160" y="218"/>
                  <a:pt x="160" y="224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lnTo>
                  <a:pt x="138" y="22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88"/>
                </a:moveTo>
                <a:cubicBezTo>
                  <a:pt x="416" y="294"/>
                  <a:pt x="411" y="298"/>
                  <a:pt x="405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6"/>
                  <a:pt x="368" y="341"/>
                  <a:pt x="362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288"/>
                </a:ln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420"/>
          <p:cNvGrpSpPr>
            <a:grpSpLocks noChangeAspect="1"/>
          </p:cNvGrpSpPr>
          <p:nvPr/>
        </p:nvGrpSpPr>
        <p:grpSpPr bwMode="auto">
          <a:xfrm>
            <a:off x="3925180" y="2051050"/>
            <a:ext cx="369064" cy="367982"/>
            <a:chOff x="3059" y="1907"/>
            <a:chExt cx="341" cy="340"/>
          </a:xfrm>
          <a:solidFill>
            <a:schemeClr val="accent5"/>
          </a:solidFill>
        </p:grpSpPr>
        <p:sp>
          <p:nvSpPr>
            <p:cNvPr id="270" name="Freeform 421"/>
            <p:cNvSpPr>
              <a:spLocks noEditPoints="1"/>
            </p:cNvSpPr>
            <p:nvPr/>
          </p:nvSpPr>
          <p:spPr bwMode="auto">
            <a:xfrm>
              <a:off x="3123" y="2020"/>
              <a:ext cx="213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42 w 320"/>
                <a:gd name="T51" fmla="*/ 118 h 171"/>
                <a:gd name="T52" fmla="*/ 42 w 320"/>
                <a:gd name="T53" fmla="*/ 54 h 171"/>
                <a:gd name="T54" fmla="*/ 53 w 320"/>
                <a:gd name="T55" fmla="*/ 43 h 171"/>
                <a:gd name="T56" fmla="*/ 64 w 320"/>
                <a:gd name="T57" fmla="*/ 54 h 171"/>
                <a:gd name="T58" fmla="*/ 64 w 320"/>
                <a:gd name="T59" fmla="*/ 118 h 171"/>
                <a:gd name="T60" fmla="*/ 53 w 320"/>
                <a:gd name="T61" fmla="*/ 128 h 171"/>
                <a:gd name="T62" fmla="*/ 42 w 320"/>
                <a:gd name="T63" fmla="*/ 118 h 171"/>
                <a:gd name="T64" fmla="*/ 85 w 320"/>
                <a:gd name="T65" fmla="*/ 118 h 171"/>
                <a:gd name="T66" fmla="*/ 85 w 320"/>
                <a:gd name="T67" fmla="*/ 54 h 171"/>
                <a:gd name="T68" fmla="*/ 96 w 320"/>
                <a:gd name="T69" fmla="*/ 43 h 171"/>
                <a:gd name="T70" fmla="*/ 106 w 320"/>
                <a:gd name="T71" fmla="*/ 54 h 171"/>
                <a:gd name="T72" fmla="*/ 106 w 320"/>
                <a:gd name="T73" fmla="*/ 118 h 171"/>
                <a:gd name="T74" fmla="*/ 96 w 320"/>
                <a:gd name="T75" fmla="*/ 128 h 171"/>
                <a:gd name="T76" fmla="*/ 85 w 320"/>
                <a:gd name="T77" fmla="*/ 118 h 171"/>
                <a:gd name="T78" fmla="*/ 128 w 320"/>
                <a:gd name="T79" fmla="*/ 118 h 171"/>
                <a:gd name="T80" fmla="*/ 128 w 320"/>
                <a:gd name="T81" fmla="*/ 54 h 171"/>
                <a:gd name="T82" fmla="*/ 138 w 320"/>
                <a:gd name="T83" fmla="*/ 43 h 171"/>
                <a:gd name="T84" fmla="*/ 149 w 320"/>
                <a:gd name="T85" fmla="*/ 54 h 171"/>
                <a:gd name="T86" fmla="*/ 149 w 320"/>
                <a:gd name="T87" fmla="*/ 118 h 171"/>
                <a:gd name="T88" fmla="*/ 138 w 320"/>
                <a:gd name="T89" fmla="*/ 128 h 171"/>
                <a:gd name="T90" fmla="*/ 128 w 320"/>
                <a:gd name="T91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42" y="118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59" y="128"/>
                    <a:pt x="53" y="128"/>
                  </a:cubicBezTo>
                  <a:cubicBezTo>
                    <a:pt x="47" y="128"/>
                    <a:pt x="42" y="124"/>
                    <a:pt x="42" y="118"/>
                  </a:cubicBezTo>
                  <a:close/>
                  <a:moveTo>
                    <a:pt x="85" y="118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48"/>
                    <a:pt x="90" y="43"/>
                    <a:pt x="96" y="43"/>
                  </a:cubicBezTo>
                  <a:cubicBezTo>
                    <a:pt x="102" y="43"/>
                    <a:pt x="106" y="48"/>
                    <a:pt x="106" y="54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24"/>
                    <a:pt x="102" y="128"/>
                    <a:pt x="96" y="128"/>
                  </a:cubicBezTo>
                  <a:cubicBezTo>
                    <a:pt x="90" y="128"/>
                    <a:pt x="85" y="124"/>
                    <a:pt x="85" y="118"/>
                  </a:cubicBezTo>
                  <a:close/>
                  <a:moveTo>
                    <a:pt x="128" y="118"/>
                  </a:moveTo>
                  <a:cubicBezTo>
                    <a:pt x="128" y="54"/>
                    <a:pt x="128" y="54"/>
                    <a:pt x="128" y="54"/>
                  </a:cubicBezTo>
                  <a:cubicBezTo>
                    <a:pt x="128" y="48"/>
                    <a:pt x="132" y="43"/>
                    <a:pt x="138" y="43"/>
                  </a:cubicBezTo>
                  <a:cubicBezTo>
                    <a:pt x="144" y="43"/>
                    <a:pt x="149" y="48"/>
                    <a:pt x="149" y="54"/>
                  </a:cubicBezTo>
                  <a:cubicBezTo>
                    <a:pt x="149" y="118"/>
                    <a:pt x="149" y="118"/>
                    <a:pt x="149" y="118"/>
                  </a:cubicBezTo>
                  <a:cubicBezTo>
                    <a:pt x="149" y="124"/>
                    <a:pt x="144" y="128"/>
                    <a:pt x="138" y="128"/>
                  </a:cubicBezTo>
                  <a:cubicBezTo>
                    <a:pt x="132" y="128"/>
                    <a:pt x="128" y="124"/>
                    <a:pt x="128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422"/>
            <p:cNvSpPr>
              <a:spLocks noEditPoints="1"/>
            </p:cNvSpPr>
            <p:nvPr/>
          </p:nvSpPr>
          <p:spPr bwMode="auto">
            <a:xfrm>
              <a:off x="3059" y="190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426"/>
          <p:cNvSpPr>
            <a:spLocks noChangeAspect="1" noEditPoints="1"/>
          </p:cNvSpPr>
          <p:nvPr/>
        </p:nvSpPr>
        <p:spPr bwMode="auto">
          <a:xfrm>
            <a:off x="4422426" y="2051050"/>
            <a:ext cx="367982" cy="367982"/>
          </a:xfrm>
          <a:custGeom>
            <a:avLst/>
            <a:gdLst>
              <a:gd name="T0" fmla="*/ 117 w 512"/>
              <a:gd name="T1" fmla="*/ 320 h 512"/>
              <a:gd name="T2" fmla="*/ 352 w 512"/>
              <a:gd name="T3" fmla="*/ 320 h 512"/>
              <a:gd name="T4" fmla="*/ 352 w 512"/>
              <a:gd name="T5" fmla="*/ 192 h 512"/>
              <a:gd name="T6" fmla="*/ 117 w 512"/>
              <a:gd name="T7" fmla="*/ 192 h 512"/>
              <a:gd name="T8" fmla="*/ 117 w 512"/>
              <a:gd name="T9" fmla="*/ 320 h 512"/>
              <a:gd name="T10" fmla="*/ 266 w 512"/>
              <a:gd name="T11" fmla="*/ 224 h 512"/>
              <a:gd name="T12" fmla="*/ 277 w 512"/>
              <a:gd name="T13" fmla="*/ 213 h 512"/>
              <a:gd name="T14" fmla="*/ 288 w 512"/>
              <a:gd name="T15" fmla="*/ 224 h 512"/>
              <a:gd name="T16" fmla="*/ 288 w 512"/>
              <a:gd name="T17" fmla="*/ 288 h 512"/>
              <a:gd name="T18" fmla="*/ 277 w 512"/>
              <a:gd name="T19" fmla="*/ 298 h 512"/>
              <a:gd name="T20" fmla="*/ 266 w 512"/>
              <a:gd name="T21" fmla="*/ 288 h 512"/>
              <a:gd name="T22" fmla="*/ 266 w 512"/>
              <a:gd name="T23" fmla="*/ 224 h 512"/>
              <a:gd name="T24" fmla="*/ 224 w 512"/>
              <a:gd name="T25" fmla="*/ 224 h 512"/>
              <a:gd name="T26" fmla="*/ 234 w 512"/>
              <a:gd name="T27" fmla="*/ 213 h 512"/>
              <a:gd name="T28" fmla="*/ 245 w 512"/>
              <a:gd name="T29" fmla="*/ 224 h 512"/>
              <a:gd name="T30" fmla="*/ 245 w 512"/>
              <a:gd name="T31" fmla="*/ 288 h 512"/>
              <a:gd name="T32" fmla="*/ 234 w 512"/>
              <a:gd name="T33" fmla="*/ 298 h 512"/>
              <a:gd name="T34" fmla="*/ 224 w 512"/>
              <a:gd name="T35" fmla="*/ 288 h 512"/>
              <a:gd name="T36" fmla="*/ 224 w 512"/>
              <a:gd name="T37" fmla="*/ 224 h 512"/>
              <a:gd name="T38" fmla="*/ 181 w 512"/>
              <a:gd name="T39" fmla="*/ 224 h 512"/>
              <a:gd name="T40" fmla="*/ 192 w 512"/>
              <a:gd name="T41" fmla="*/ 213 h 512"/>
              <a:gd name="T42" fmla="*/ 202 w 512"/>
              <a:gd name="T43" fmla="*/ 224 h 512"/>
              <a:gd name="T44" fmla="*/ 202 w 512"/>
              <a:gd name="T45" fmla="*/ 288 h 512"/>
              <a:gd name="T46" fmla="*/ 192 w 512"/>
              <a:gd name="T47" fmla="*/ 298 h 512"/>
              <a:gd name="T48" fmla="*/ 181 w 512"/>
              <a:gd name="T49" fmla="*/ 288 h 512"/>
              <a:gd name="T50" fmla="*/ 181 w 512"/>
              <a:gd name="T51" fmla="*/ 224 h 512"/>
              <a:gd name="T52" fmla="*/ 138 w 512"/>
              <a:gd name="T53" fmla="*/ 224 h 512"/>
              <a:gd name="T54" fmla="*/ 149 w 512"/>
              <a:gd name="T55" fmla="*/ 213 h 512"/>
              <a:gd name="T56" fmla="*/ 160 w 512"/>
              <a:gd name="T57" fmla="*/ 224 h 512"/>
              <a:gd name="T58" fmla="*/ 160 w 512"/>
              <a:gd name="T59" fmla="*/ 288 h 512"/>
              <a:gd name="T60" fmla="*/ 149 w 512"/>
              <a:gd name="T61" fmla="*/ 298 h 512"/>
              <a:gd name="T62" fmla="*/ 138 w 512"/>
              <a:gd name="T63" fmla="*/ 288 h 512"/>
              <a:gd name="T64" fmla="*/ 138 w 512"/>
              <a:gd name="T65" fmla="*/ 224 h 512"/>
              <a:gd name="T66" fmla="*/ 373 w 512"/>
              <a:gd name="T67" fmla="*/ 234 h 512"/>
              <a:gd name="T68" fmla="*/ 394 w 512"/>
              <a:gd name="T69" fmla="*/ 234 h 512"/>
              <a:gd name="T70" fmla="*/ 394 w 512"/>
              <a:gd name="T71" fmla="*/ 277 h 512"/>
              <a:gd name="T72" fmla="*/ 373 w 512"/>
              <a:gd name="T73" fmla="*/ 277 h 512"/>
              <a:gd name="T74" fmla="*/ 373 w 512"/>
              <a:gd name="T75" fmla="*/ 234 h 512"/>
              <a:gd name="T76" fmla="*/ 256 w 512"/>
              <a:gd name="T77" fmla="*/ 0 h 512"/>
              <a:gd name="T78" fmla="*/ 0 w 512"/>
              <a:gd name="T79" fmla="*/ 256 h 512"/>
              <a:gd name="T80" fmla="*/ 256 w 512"/>
              <a:gd name="T81" fmla="*/ 512 h 512"/>
              <a:gd name="T82" fmla="*/ 512 w 512"/>
              <a:gd name="T83" fmla="*/ 256 h 512"/>
              <a:gd name="T84" fmla="*/ 256 w 512"/>
              <a:gd name="T85" fmla="*/ 0 h 512"/>
              <a:gd name="T86" fmla="*/ 416 w 512"/>
              <a:gd name="T87" fmla="*/ 288 h 512"/>
              <a:gd name="T88" fmla="*/ 405 w 512"/>
              <a:gd name="T89" fmla="*/ 298 h 512"/>
              <a:gd name="T90" fmla="*/ 373 w 512"/>
              <a:gd name="T91" fmla="*/ 298 h 512"/>
              <a:gd name="T92" fmla="*/ 373 w 512"/>
              <a:gd name="T93" fmla="*/ 330 h 512"/>
              <a:gd name="T94" fmla="*/ 362 w 512"/>
              <a:gd name="T95" fmla="*/ 341 h 512"/>
              <a:gd name="T96" fmla="*/ 106 w 512"/>
              <a:gd name="T97" fmla="*/ 341 h 512"/>
              <a:gd name="T98" fmla="*/ 96 w 512"/>
              <a:gd name="T99" fmla="*/ 330 h 512"/>
              <a:gd name="T100" fmla="*/ 96 w 512"/>
              <a:gd name="T101" fmla="*/ 181 h 512"/>
              <a:gd name="T102" fmla="*/ 106 w 512"/>
              <a:gd name="T103" fmla="*/ 170 h 512"/>
              <a:gd name="T104" fmla="*/ 362 w 512"/>
              <a:gd name="T105" fmla="*/ 170 h 512"/>
              <a:gd name="T106" fmla="*/ 373 w 512"/>
              <a:gd name="T107" fmla="*/ 181 h 512"/>
              <a:gd name="T108" fmla="*/ 373 w 512"/>
              <a:gd name="T109" fmla="*/ 213 h 512"/>
              <a:gd name="T110" fmla="*/ 405 w 512"/>
              <a:gd name="T111" fmla="*/ 213 h 512"/>
              <a:gd name="T112" fmla="*/ 416 w 512"/>
              <a:gd name="T113" fmla="*/ 224 h 512"/>
              <a:gd name="T114" fmla="*/ 416 w 512"/>
              <a:gd name="T115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17" y="320"/>
                </a:moveTo>
                <a:cubicBezTo>
                  <a:pt x="352" y="320"/>
                  <a:pt x="352" y="320"/>
                  <a:pt x="352" y="320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117" y="192"/>
                  <a:pt x="117" y="192"/>
                  <a:pt x="117" y="192"/>
                </a:cubicBezTo>
                <a:lnTo>
                  <a:pt x="117" y="320"/>
                </a:lnTo>
                <a:close/>
                <a:moveTo>
                  <a:pt x="266" y="224"/>
                </a:moveTo>
                <a:cubicBezTo>
                  <a:pt x="266" y="218"/>
                  <a:pt x="271" y="213"/>
                  <a:pt x="277" y="213"/>
                </a:cubicBezTo>
                <a:cubicBezTo>
                  <a:pt x="283" y="213"/>
                  <a:pt x="288" y="218"/>
                  <a:pt x="288" y="224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lnTo>
                  <a:pt x="266" y="224"/>
                </a:lnTo>
                <a:close/>
                <a:moveTo>
                  <a:pt x="224" y="224"/>
                </a:moveTo>
                <a:cubicBezTo>
                  <a:pt x="224" y="218"/>
                  <a:pt x="228" y="213"/>
                  <a:pt x="234" y="213"/>
                </a:cubicBezTo>
                <a:cubicBezTo>
                  <a:pt x="240" y="213"/>
                  <a:pt x="245" y="218"/>
                  <a:pt x="245" y="224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lnTo>
                  <a:pt x="224" y="224"/>
                </a:lnTo>
                <a:close/>
                <a:moveTo>
                  <a:pt x="181" y="224"/>
                </a:moveTo>
                <a:cubicBezTo>
                  <a:pt x="181" y="218"/>
                  <a:pt x="186" y="213"/>
                  <a:pt x="192" y="213"/>
                </a:cubicBezTo>
                <a:cubicBezTo>
                  <a:pt x="198" y="213"/>
                  <a:pt x="202" y="218"/>
                  <a:pt x="202" y="224"/>
                </a:cubicBezTo>
                <a:cubicBezTo>
                  <a:pt x="202" y="288"/>
                  <a:pt x="202" y="288"/>
                  <a:pt x="202" y="288"/>
                </a:cubicBezTo>
                <a:cubicBezTo>
                  <a:pt x="202" y="294"/>
                  <a:pt x="198" y="298"/>
                  <a:pt x="192" y="298"/>
                </a:cubicBezTo>
                <a:cubicBezTo>
                  <a:pt x="186" y="298"/>
                  <a:pt x="181" y="294"/>
                  <a:pt x="181" y="288"/>
                </a:cubicBezTo>
                <a:lnTo>
                  <a:pt x="181" y="224"/>
                </a:lnTo>
                <a:close/>
                <a:moveTo>
                  <a:pt x="138" y="224"/>
                </a:moveTo>
                <a:cubicBezTo>
                  <a:pt x="138" y="218"/>
                  <a:pt x="143" y="213"/>
                  <a:pt x="149" y="213"/>
                </a:cubicBezTo>
                <a:cubicBezTo>
                  <a:pt x="155" y="213"/>
                  <a:pt x="160" y="218"/>
                  <a:pt x="160" y="224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lnTo>
                  <a:pt x="138" y="224"/>
                </a:ln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88"/>
                </a:moveTo>
                <a:cubicBezTo>
                  <a:pt x="416" y="294"/>
                  <a:pt x="411" y="298"/>
                  <a:pt x="405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6"/>
                  <a:pt x="368" y="341"/>
                  <a:pt x="362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28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272"/>
          <p:cNvGrpSpPr>
            <a:grpSpLocks noChangeAspect="1"/>
          </p:cNvGrpSpPr>
          <p:nvPr/>
        </p:nvGrpSpPr>
        <p:grpSpPr bwMode="auto">
          <a:xfrm>
            <a:off x="4918590" y="2051050"/>
            <a:ext cx="367982" cy="367982"/>
            <a:chOff x="3722" y="2177"/>
            <a:chExt cx="340" cy="340"/>
          </a:xfrm>
          <a:solidFill>
            <a:schemeClr val="accent5"/>
          </a:solidFill>
        </p:grpSpPr>
        <p:sp>
          <p:nvSpPr>
            <p:cNvPr id="274" name="Freeform 430"/>
            <p:cNvSpPr>
              <a:spLocks noEditPoints="1"/>
            </p:cNvSpPr>
            <p:nvPr/>
          </p:nvSpPr>
          <p:spPr bwMode="auto">
            <a:xfrm>
              <a:off x="3786" y="2290"/>
              <a:ext cx="212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42 w 320"/>
                <a:gd name="T51" fmla="*/ 118 h 171"/>
                <a:gd name="T52" fmla="*/ 42 w 320"/>
                <a:gd name="T53" fmla="*/ 54 h 171"/>
                <a:gd name="T54" fmla="*/ 53 w 320"/>
                <a:gd name="T55" fmla="*/ 43 h 171"/>
                <a:gd name="T56" fmla="*/ 64 w 320"/>
                <a:gd name="T57" fmla="*/ 54 h 171"/>
                <a:gd name="T58" fmla="*/ 64 w 320"/>
                <a:gd name="T59" fmla="*/ 118 h 171"/>
                <a:gd name="T60" fmla="*/ 53 w 320"/>
                <a:gd name="T61" fmla="*/ 128 h 171"/>
                <a:gd name="T62" fmla="*/ 42 w 320"/>
                <a:gd name="T63" fmla="*/ 118 h 171"/>
                <a:gd name="T64" fmla="*/ 85 w 320"/>
                <a:gd name="T65" fmla="*/ 118 h 171"/>
                <a:gd name="T66" fmla="*/ 85 w 320"/>
                <a:gd name="T67" fmla="*/ 54 h 171"/>
                <a:gd name="T68" fmla="*/ 96 w 320"/>
                <a:gd name="T69" fmla="*/ 43 h 171"/>
                <a:gd name="T70" fmla="*/ 106 w 320"/>
                <a:gd name="T71" fmla="*/ 54 h 171"/>
                <a:gd name="T72" fmla="*/ 106 w 320"/>
                <a:gd name="T73" fmla="*/ 118 h 171"/>
                <a:gd name="T74" fmla="*/ 96 w 320"/>
                <a:gd name="T75" fmla="*/ 128 h 171"/>
                <a:gd name="T76" fmla="*/ 85 w 320"/>
                <a:gd name="T77" fmla="*/ 118 h 171"/>
                <a:gd name="T78" fmla="*/ 128 w 320"/>
                <a:gd name="T79" fmla="*/ 118 h 171"/>
                <a:gd name="T80" fmla="*/ 128 w 320"/>
                <a:gd name="T81" fmla="*/ 54 h 171"/>
                <a:gd name="T82" fmla="*/ 138 w 320"/>
                <a:gd name="T83" fmla="*/ 43 h 171"/>
                <a:gd name="T84" fmla="*/ 149 w 320"/>
                <a:gd name="T85" fmla="*/ 54 h 171"/>
                <a:gd name="T86" fmla="*/ 149 w 320"/>
                <a:gd name="T87" fmla="*/ 118 h 171"/>
                <a:gd name="T88" fmla="*/ 138 w 320"/>
                <a:gd name="T89" fmla="*/ 128 h 171"/>
                <a:gd name="T90" fmla="*/ 128 w 320"/>
                <a:gd name="T91" fmla="*/ 118 h 171"/>
                <a:gd name="T92" fmla="*/ 170 w 320"/>
                <a:gd name="T93" fmla="*/ 118 h 171"/>
                <a:gd name="T94" fmla="*/ 170 w 320"/>
                <a:gd name="T95" fmla="*/ 54 h 171"/>
                <a:gd name="T96" fmla="*/ 181 w 320"/>
                <a:gd name="T97" fmla="*/ 43 h 171"/>
                <a:gd name="T98" fmla="*/ 192 w 320"/>
                <a:gd name="T99" fmla="*/ 54 h 171"/>
                <a:gd name="T100" fmla="*/ 192 w 320"/>
                <a:gd name="T101" fmla="*/ 118 h 171"/>
                <a:gd name="T102" fmla="*/ 181 w 320"/>
                <a:gd name="T103" fmla="*/ 128 h 171"/>
                <a:gd name="T104" fmla="*/ 170 w 320"/>
                <a:gd name="T105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42" y="118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59" y="128"/>
                    <a:pt x="53" y="128"/>
                  </a:cubicBezTo>
                  <a:cubicBezTo>
                    <a:pt x="47" y="128"/>
                    <a:pt x="42" y="124"/>
                    <a:pt x="42" y="118"/>
                  </a:cubicBezTo>
                  <a:close/>
                  <a:moveTo>
                    <a:pt x="85" y="118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48"/>
                    <a:pt x="90" y="43"/>
                    <a:pt x="96" y="43"/>
                  </a:cubicBezTo>
                  <a:cubicBezTo>
                    <a:pt x="102" y="43"/>
                    <a:pt x="106" y="48"/>
                    <a:pt x="106" y="54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24"/>
                    <a:pt x="102" y="128"/>
                    <a:pt x="96" y="128"/>
                  </a:cubicBezTo>
                  <a:cubicBezTo>
                    <a:pt x="90" y="128"/>
                    <a:pt x="85" y="124"/>
                    <a:pt x="85" y="118"/>
                  </a:cubicBezTo>
                  <a:close/>
                  <a:moveTo>
                    <a:pt x="128" y="118"/>
                  </a:moveTo>
                  <a:cubicBezTo>
                    <a:pt x="128" y="54"/>
                    <a:pt x="128" y="54"/>
                    <a:pt x="128" y="54"/>
                  </a:cubicBezTo>
                  <a:cubicBezTo>
                    <a:pt x="128" y="48"/>
                    <a:pt x="132" y="43"/>
                    <a:pt x="138" y="43"/>
                  </a:cubicBezTo>
                  <a:cubicBezTo>
                    <a:pt x="144" y="43"/>
                    <a:pt x="149" y="48"/>
                    <a:pt x="149" y="54"/>
                  </a:cubicBezTo>
                  <a:cubicBezTo>
                    <a:pt x="149" y="118"/>
                    <a:pt x="149" y="118"/>
                    <a:pt x="149" y="118"/>
                  </a:cubicBezTo>
                  <a:cubicBezTo>
                    <a:pt x="149" y="124"/>
                    <a:pt x="144" y="128"/>
                    <a:pt x="138" y="128"/>
                  </a:cubicBezTo>
                  <a:cubicBezTo>
                    <a:pt x="132" y="128"/>
                    <a:pt x="128" y="124"/>
                    <a:pt x="128" y="118"/>
                  </a:cubicBezTo>
                  <a:close/>
                  <a:moveTo>
                    <a:pt x="170" y="118"/>
                  </a:moveTo>
                  <a:cubicBezTo>
                    <a:pt x="170" y="54"/>
                    <a:pt x="170" y="54"/>
                    <a:pt x="170" y="54"/>
                  </a:cubicBezTo>
                  <a:cubicBezTo>
                    <a:pt x="170" y="48"/>
                    <a:pt x="175" y="43"/>
                    <a:pt x="181" y="43"/>
                  </a:cubicBezTo>
                  <a:cubicBezTo>
                    <a:pt x="187" y="43"/>
                    <a:pt x="192" y="48"/>
                    <a:pt x="192" y="54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24"/>
                    <a:pt x="187" y="128"/>
                    <a:pt x="181" y="128"/>
                  </a:cubicBezTo>
                  <a:cubicBezTo>
                    <a:pt x="175" y="128"/>
                    <a:pt x="170" y="124"/>
                    <a:pt x="170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431"/>
            <p:cNvSpPr>
              <a:spLocks noEditPoints="1"/>
            </p:cNvSpPr>
            <p:nvPr/>
          </p:nvSpPr>
          <p:spPr bwMode="auto">
            <a:xfrm>
              <a:off x="3722" y="21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6" name="Freeform 275"/>
          <p:cNvSpPr>
            <a:spLocks noChangeAspect="1" noEditPoints="1"/>
          </p:cNvSpPr>
          <p:nvPr/>
        </p:nvSpPr>
        <p:spPr bwMode="auto">
          <a:xfrm>
            <a:off x="5414754" y="2051050"/>
            <a:ext cx="367982" cy="367982"/>
          </a:xfrm>
          <a:custGeom>
            <a:avLst/>
            <a:gdLst>
              <a:gd name="T0" fmla="*/ 352 w 512"/>
              <a:gd name="T1" fmla="*/ 320 h 512"/>
              <a:gd name="T2" fmla="*/ 117 w 512"/>
              <a:gd name="T3" fmla="*/ 192 h 512"/>
              <a:gd name="T4" fmla="*/ 309 w 512"/>
              <a:gd name="T5" fmla="*/ 224 h 512"/>
              <a:gd name="T6" fmla="*/ 330 w 512"/>
              <a:gd name="T7" fmla="*/ 224 h 512"/>
              <a:gd name="T8" fmla="*/ 320 w 512"/>
              <a:gd name="T9" fmla="*/ 298 h 512"/>
              <a:gd name="T10" fmla="*/ 309 w 512"/>
              <a:gd name="T11" fmla="*/ 224 h 512"/>
              <a:gd name="T12" fmla="*/ 277 w 512"/>
              <a:gd name="T13" fmla="*/ 213 h 512"/>
              <a:gd name="T14" fmla="*/ 288 w 512"/>
              <a:gd name="T15" fmla="*/ 288 h 512"/>
              <a:gd name="T16" fmla="*/ 266 w 512"/>
              <a:gd name="T17" fmla="*/ 288 h 512"/>
              <a:gd name="T18" fmla="*/ 224 w 512"/>
              <a:gd name="T19" fmla="*/ 224 h 512"/>
              <a:gd name="T20" fmla="*/ 245 w 512"/>
              <a:gd name="T21" fmla="*/ 224 h 512"/>
              <a:gd name="T22" fmla="*/ 234 w 512"/>
              <a:gd name="T23" fmla="*/ 298 h 512"/>
              <a:gd name="T24" fmla="*/ 224 w 512"/>
              <a:gd name="T25" fmla="*/ 224 h 512"/>
              <a:gd name="T26" fmla="*/ 192 w 512"/>
              <a:gd name="T27" fmla="*/ 213 h 512"/>
              <a:gd name="T28" fmla="*/ 202 w 512"/>
              <a:gd name="T29" fmla="*/ 288 h 512"/>
              <a:gd name="T30" fmla="*/ 181 w 512"/>
              <a:gd name="T31" fmla="*/ 288 h 512"/>
              <a:gd name="T32" fmla="*/ 138 w 512"/>
              <a:gd name="T33" fmla="*/ 224 h 512"/>
              <a:gd name="T34" fmla="*/ 160 w 512"/>
              <a:gd name="T35" fmla="*/ 224 h 512"/>
              <a:gd name="T36" fmla="*/ 149 w 512"/>
              <a:gd name="T37" fmla="*/ 298 h 512"/>
              <a:gd name="T38" fmla="*/ 138 w 512"/>
              <a:gd name="T39" fmla="*/ 224 h 512"/>
              <a:gd name="T40" fmla="*/ 394 w 512"/>
              <a:gd name="T41" fmla="*/ 234 h 512"/>
              <a:gd name="T42" fmla="*/ 373 w 512"/>
              <a:gd name="T43" fmla="*/ 277 h 512"/>
              <a:gd name="T44" fmla="*/ 256 w 512"/>
              <a:gd name="T45" fmla="*/ 0 h 512"/>
              <a:gd name="T46" fmla="*/ 256 w 512"/>
              <a:gd name="T47" fmla="*/ 512 h 512"/>
              <a:gd name="T48" fmla="*/ 256 w 512"/>
              <a:gd name="T49" fmla="*/ 0 h 512"/>
              <a:gd name="T50" fmla="*/ 405 w 512"/>
              <a:gd name="T51" fmla="*/ 298 h 512"/>
              <a:gd name="T52" fmla="*/ 373 w 512"/>
              <a:gd name="T53" fmla="*/ 330 h 512"/>
              <a:gd name="T54" fmla="*/ 106 w 512"/>
              <a:gd name="T55" fmla="*/ 341 h 512"/>
              <a:gd name="T56" fmla="*/ 96 w 512"/>
              <a:gd name="T57" fmla="*/ 181 h 512"/>
              <a:gd name="T58" fmla="*/ 362 w 512"/>
              <a:gd name="T59" fmla="*/ 170 h 512"/>
              <a:gd name="T60" fmla="*/ 373 w 512"/>
              <a:gd name="T61" fmla="*/ 213 h 512"/>
              <a:gd name="T62" fmla="*/ 416 w 512"/>
              <a:gd name="T6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117" y="320"/>
                </a:moveTo>
                <a:cubicBezTo>
                  <a:pt x="352" y="320"/>
                  <a:pt x="352" y="320"/>
                  <a:pt x="352" y="320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117" y="192"/>
                  <a:pt x="117" y="192"/>
                  <a:pt x="117" y="192"/>
                </a:cubicBezTo>
                <a:lnTo>
                  <a:pt x="117" y="320"/>
                </a:lnTo>
                <a:close/>
                <a:moveTo>
                  <a:pt x="309" y="224"/>
                </a:moveTo>
                <a:cubicBezTo>
                  <a:pt x="309" y="218"/>
                  <a:pt x="314" y="213"/>
                  <a:pt x="320" y="213"/>
                </a:cubicBezTo>
                <a:cubicBezTo>
                  <a:pt x="326" y="213"/>
                  <a:pt x="330" y="218"/>
                  <a:pt x="330" y="224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lnTo>
                  <a:pt x="309" y="224"/>
                </a:lnTo>
                <a:close/>
                <a:moveTo>
                  <a:pt x="266" y="224"/>
                </a:moveTo>
                <a:cubicBezTo>
                  <a:pt x="266" y="218"/>
                  <a:pt x="271" y="213"/>
                  <a:pt x="277" y="213"/>
                </a:cubicBezTo>
                <a:cubicBezTo>
                  <a:pt x="283" y="213"/>
                  <a:pt x="288" y="218"/>
                  <a:pt x="288" y="224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lnTo>
                  <a:pt x="266" y="224"/>
                </a:lnTo>
                <a:close/>
                <a:moveTo>
                  <a:pt x="224" y="224"/>
                </a:moveTo>
                <a:cubicBezTo>
                  <a:pt x="224" y="218"/>
                  <a:pt x="228" y="213"/>
                  <a:pt x="234" y="213"/>
                </a:cubicBezTo>
                <a:cubicBezTo>
                  <a:pt x="240" y="213"/>
                  <a:pt x="245" y="218"/>
                  <a:pt x="245" y="224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lnTo>
                  <a:pt x="224" y="224"/>
                </a:lnTo>
                <a:close/>
                <a:moveTo>
                  <a:pt x="181" y="224"/>
                </a:moveTo>
                <a:cubicBezTo>
                  <a:pt x="181" y="218"/>
                  <a:pt x="186" y="213"/>
                  <a:pt x="192" y="213"/>
                </a:cubicBezTo>
                <a:cubicBezTo>
                  <a:pt x="198" y="213"/>
                  <a:pt x="202" y="218"/>
                  <a:pt x="202" y="224"/>
                </a:cubicBezTo>
                <a:cubicBezTo>
                  <a:pt x="202" y="288"/>
                  <a:pt x="202" y="288"/>
                  <a:pt x="202" y="288"/>
                </a:cubicBezTo>
                <a:cubicBezTo>
                  <a:pt x="202" y="294"/>
                  <a:pt x="198" y="298"/>
                  <a:pt x="192" y="298"/>
                </a:cubicBezTo>
                <a:cubicBezTo>
                  <a:pt x="186" y="298"/>
                  <a:pt x="181" y="294"/>
                  <a:pt x="181" y="288"/>
                </a:cubicBezTo>
                <a:lnTo>
                  <a:pt x="181" y="224"/>
                </a:lnTo>
                <a:close/>
                <a:moveTo>
                  <a:pt x="138" y="224"/>
                </a:moveTo>
                <a:cubicBezTo>
                  <a:pt x="138" y="218"/>
                  <a:pt x="143" y="213"/>
                  <a:pt x="149" y="213"/>
                </a:cubicBezTo>
                <a:cubicBezTo>
                  <a:pt x="155" y="213"/>
                  <a:pt x="160" y="218"/>
                  <a:pt x="160" y="224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lnTo>
                  <a:pt x="138" y="224"/>
                </a:ln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88"/>
                </a:moveTo>
                <a:cubicBezTo>
                  <a:pt x="416" y="294"/>
                  <a:pt x="411" y="298"/>
                  <a:pt x="405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6"/>
                  <a:pt x="368" y="341"/>
                  <a:pt x="362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28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7" name="Group 438"/>
          <p:cNvGrpSpPr>
            <a:grpSpLocks noChangeAspect="1"/>
          </p:cNvGrpSpPr>
          <p:nvPr/>
        </p:nvGrpSpPr>
        <p:grpSpPr bwMode="auto">
          <a:xfrm>
            <a:off x="5910918" y="2051050"/>
            <a:ext cx="367982" cy="367982"/>
            <a:chOff x="4426" y="2603"/>
            <a:chExt cx="340" cy="340"/>
          </a:xfrm>
          <a:solidFill>
            <a:schemeClr val="accent5"/>
          </a:solidFill>
        </p:grpSpPr>
        <p:sp>
          <p:nvSpPr>
            <p:cNvPr id="278" name="Freeform 439"/>
            <p:cNvSpPr>
              <a:spLocks noEditPoints="1"/>
            </p:cNvSpPr>
            <p:nvPr/>
          </p:nvSpPr>
          <p:spPr bwMode="auto">
            <a:xfrm>
              <a:off x="4490" y="2716"/>
              <a:ext cx="212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42 w 320"/>
                <a:gd name="T51" fmla="*/ 118 h 171"/>
                <a:gd name="T52" fmla="*/ 42 w 320"/>
                <a:gd name="T53" fmla="*/ 54 h 171"/>
                <a:gd name="T54" fmla="*/ 53 w 320"/>
                <a:gd name="T55" fmla="*/ 43 h 171"/>
                <a:gd name="T56" fmla="*/ 64 w 320"/>
                <a:gd name="T57" fmla="*/ 54 h 171"/>
                <a:gd name="T58" fmla="*/ 64 w 320"/>
                <a:gd name="T59" fmla="*/ 118 h 171"/>
                <a:gd name="T60" fmla="*/ 53 w 320"/>
                <a:gd name="T61" fmla="*/ 128 h 171"/>
                <a:gd name="T62" fmla="*/ 42 w 320"/>
                <a:gd name="T63" fmla="*/ 118 h 171"/>
                <a:gd name="T64" fmla="*/ 85 w 320"/>
                <a:gd name="T65" fmla="*/ 118 h 171"/>
                <a:gd name="T66" fmla="*/ 85 w 320"/>
                <a:gd name="T67" fmla="*/ 54 h 171"/>
                <a:gd name="T68" fmla="*/ 96 w 320"/>
                <a:gd name="T69" fmla="*/ 43 h 171"/>
                <a:gd name="T70" fmla="*/ 106 w 320"/>
                <a:gd name="T71" fmla="*/ 54 h 171"/>
                <a:gd name="T72" fmla="*/ 106 w 320"/>
                <a:gd name="T73" fmla="*/ 118 h 171"/>
                <a:gd name="T74" fmla="*/ 96 w 320"/>
                <a:gd name="T75" fmla="*/ 128 h 171"/>
                <a:gd name="T76" fmla="*/ 85 w 320"/>
                <a:gd name="T77" fmla="*/ 118 h 171"/>
                <a:gd name="T78" fmla="*/ 128 w 320"/>
                <a:gd name="T79" fmla="*/ 118 h 171"/>
                <a:gd name="T80" fmla="*/ 128 w 320"/>
                <a:gd name="T81" fmla="*/ 54 h 171"/>
                <a:gd name="T82" fmla="*/ 138 w 320"/>
                <a:gd name="T83" fmla="*/ 43 h 171"/>
                <a:gd name="T84" fmla="*/ 149 w 320"/>
                <a:gd name="T85" fmla="*/ 54 h 171"/>
                <a:gd name="T86" fmla="*/ 149 w 320"/>
                <a:gd name="T87" fmla="*/ 118 h 171"/>
                <a:gd name="T88" fmla="*/ 138 w 320"/>
                <a:gd name="T89" fmla="*/ 128 h 171"/>
                <a:gd name="T90" fmla="*/ 128 w 320"/>
                <a:gd name="T91" fmla="*/ 118 h 171"/>
                <a:gd name="T92" fmla="*/ 170 w 320"/>
                <a:gd name="T93" fmla="*/ 118 h 171"/>
                <a:gd name="T94" fmla="*/ 170 w 320"/>
                <a:gd name="T95" fmla="*/ 54 h 171"/>
                <a:gd name="T96" fmla="*/ 181 w 320"/>
                <a:gd name="T97" fmla="*/ 43 h 171"/>
                <a:gd name="T98" fmla="*/ 192 w 320"/>
                <a:gd name="T99" fmla="*/ 54 h 171"/>
                <a:gd name="T100" fmla="*/ 192 w 320"/>
                <a:gd name="T101" fmla="*/ 118 h 171"/>
                <a:gd name="T102" fmla="*/ 181 w 320"/>
                <a:gd name="T103" fmla="*/ 128 h 171"/>
                <a:gd name="T104" fmla="*/ 170 w 320"/>
                <a:gd name="T105" fmla="*/ 118 h 171"/>
                <a:gd name="T106" fmla="*/ 213 w 320"/>
                <a:gd name="T107" fmla="*/ 118 h 171"/>
                <a:gd name="T108" fmla="*/ 213 w 320"/>
                <a:gd name="T109" fmla="*/ 54 h 171"/>
                <a:gd name="T110" fmla="*/ 224 w 320"/>
                <a:gd name="T111" fmla="*/ 43 h 171"/>
                <a:gd name="T112" fmla="*/ 234 w 320"/>
                <a:gd name="T113" fmla="*/ 54 h 171"/>
                <a:gd name="T114" fmla="*/ 234 w 320"/>
                <a:gd name="T115" fmla="*/ 118 h 171"/>
                <a:gd name="T116" fmla="*/ 224 w 320"/>
                <a:gd name="T117" fmla="*/ 128 h 171"/>
                <a:gd name="T118" fmla="*/ 213 w 320"/>
                <a:gd name="T119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42" y="118"/>
                  </a:move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59" y="128"/>
                    <a:pt x="53" y="128"/>
                  </a:cubicBezTo>
                  <a:cubicBezTo>
                    <a:pt x="47" y="128"/>
                    <a:pt x="42" y="124"/>
                    <a:pt x="42" y="118"/>
                  </a:cubicBezTo>
                  <a:close/>
                  <a:moveTo>
                    <a:pt x="85" y="118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48"/>
                    <a:pt x="90" y="43"/>
                    <a:pt x="96" y="43"/>
                  </a:cubicBezTo>
                  <a:cubicBezTo>
                    <a:pt x="102" y="43"/>
                    <a:pt x="106" y="48"/>
                    <a:pt x="106" y="54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24"/>
                    <a:pt x="102" y="128"/>
                    <a:pt x="96" y="128"/>
                  </a:cubicBezTo>
                  <a:cubicBezTo>
                    <a:pt x="90" y="128"/>
                    <a:pt x="85" y="124"/>
                    <a:pt x="85" y="118"/>
                  </a:cubicBezTo>
                  <a:close/>
                  <a:moveTo>
                    <a:pt x="128" y="118"/>
                  </a:moveTo>
                  <a:cubicBezTo>
                    <a:pt x="128" y="54"/>
                    <a:pt x="128" y="54"/>
                    <a:pt x="128" y="54"/>
                  </a:cubicBezTo>
                  <a:cubicBezTo>
                    <a:pt x="128" y="48"/>
                    <a:pt x="132" y="43"/>
                    <a:pt x="138" y="43"/>
                  </a:cubicBezTo>
                  <a:cubicBezTo>
                    <a:pt x="144" y="43"/>
                    <a:pt x="149" y="48"/>
                    <a:pt x="149" y="54"/>
                  </a:cubicBezTo>
                  <a:cubicBezTo>
                    <a:pt x="149" y="118"/>
                    <a:pt x="149" y="118"/>
                    <a:pt x="149" y="118"/>
                  </a:cubicBezTo>
                  <a:cubicBezTo>
                    <a:pt x="149" y="124"/>
                    <a:pt x="144" y="128"/>
                    <a:pt x="138" y="128"/>
                  </a:cubicBezTo>
                  <a:cubicBezTo>
                    <a:pt x="132" y="128"/>
                    <a:pt x="128" y="124"/>
                    <a:pt x="128" y="118"/>
                  </a:cubicBezTo>
                  <a:close/>
                  <a:moveTo>
                    <a:pt x="170" y="118"/>
                  </a:moveTo>
                  <a:cubicBezTo>
                    <a:pt x="170" y="54"/>
                    <a:pt x="170" y="54"/>
                    <a:pt x="170" y="54"/>
                  </a:cubicBezTo>
                  <a:cubicBezTo>
                    <a:pt x="170" y="48"/>
                    <a:pt x="175" y="43"/>
                    <a:pt x="181" y="43"/>
                  </a:cubicBezTo>
                  <a:cubicBezTo>
                    <a:pt x="187" y="43"/>
                    <a:pt x="192" y="48"/>
                    <a:pt x="192" y="54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24"/>
                    <a:pt x="187" y="128"/>
                    <a:pt x="181" y="128"/>
                  </a:cubicBezTo>
                  <a:cubicBezTo>
                    <a:pt x="175" y="128"/>
                    <a:pt x="170" y="124"/>
                    <a:pt x="170" y="118"/>
                  </a:cubicBezTo>
                  <a:close/>
                  <a:moveTo>
                    <a:pt x="213" y="118"/>
                  </a:moveTo>
                  <a:cubicBezTo>
                    <a:pt x="213" y="54"/>
                    <a:pt x="213" y="54"/>
                    <a:pt x="213" y="54"/>
                  </a:cubicBezTo>
                  <a:cubicBezTo>
                    <a:pt x="213" y="48"/>
                    <a:pt x="218" y="43"/>
                    <a:pt x="224" y="43"/>
                  </a:cubicBezTo>
                  <a:cubicBezTo>
                    <a:pt x="230" y="43"/>
                    <a:pt x="234" y="48"/>
                    <a:pt x="234" y="54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34" y="124"/>
                    <a:pt x="230" y="128"/>
                    <a:pt x="224" y="128"/>
                  </a:cubicBezTo>
                  <a:cubicBezTo>
                    <a:pt x="218" y="128"/>
                    <a:pt x="213" y="124"/>
                    <a:pt x="213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440"/>
            <p:cNvSpPr>
              <a:spLocks noEditPoints="1"/>
            </p:cNvSpPr>
            <p:nvPr/>
          </p:nvSpPr>
          <p:spPr bwMode="auto">
            <a:xfrm>
              <a:off x="4426" y="26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0" name="Freeform 444"/>
          <p:cNvSpPr>
            <a:spLocks noChangeAspect="1" noEditPoints="1"/>
          </p:cNvSpPr>
          <p:nvPr/>
        </p:nvSpPr>
        <p:spPr bwMode="auto">
          <a:xfrm>
            <a:off x="6407082" y="2051050"/>
            <a:ext cx="367982" cy="367982"/>
          </a:xfrm>
          <a:custGeom>
            <a:avLst/>
            <a:gdLst>
              <a:gd name="T0" fmla="*/ 117 w 512"/>
              <a:gd name="T1" fmla="*/ 320 h 512"/>
              <a:gd name="T2" fmla="*/ 352 w 512"/>
              <a:gd name="T3" fmla="*/ 320 h 512"/>
              <a:gd name="T4" fmla="*/ 352 w 512"/>
              <a:gd name="T5" fmla="*/ 192 h 512"/>
              <a:gd name="T6" fmla="*/ 117 w 512"/>
              <a:gd name="T7" fmla="*/ 192 h 512"/>
              <a:gd name="T8" fmla="*/ 117 w 512"/>
              <a:gd name="T9" fmla="*/ 320 h 512"/>
              <a:gd name="T10" fmla="*/ 256 w 512"/>
              <a:gd name="T11" fmla="*/ 245 h 512"/>
              <a:gd name="T12" fmla="*/ 277 w 512"/>
              <a:gd name="T13" fmla="*/ 245 h 512"/>
              <a:gd name="T14" fmla="*/ 277 w 512"/>
              <a:gd name="T15" fmla="*/ 224 h 512"/>
              <a:gd name="T16" fmla="*/ 288 w 512"/>
              <a:gd name="T17" fmla="*/ 213 h 512"/>
              <a:gd name="T18" fmla="*/ 298 w 512"/>
              <a:gd name="T19" fmla="*/ 224 h 512"/>
              <a:gd name="T20" fmla="*/ 298 w 512"/>
              <a:gd name="T21" fmla="*/ 245 h 512"/>
              <a:gd name="T22" fmla="*/ 320 w 512"/>
              <a:gd name="T23" fmla="*/ 245 h 512"/>
              <a:gd name="T24" fmla="*/ 330 w 512"/>
              <a:gd name="T25" fmla="*/ 256 h 512"/>
              <a:gd name="T26" fmla="*/ 320 w 512"/>
              <a:gd name="T27" fmla="*/ 266 h 512"/>
              <a:gd name="T28" fmla="*/ 298 w 512"/>
              <a:gd name="T29" fmla="*/ 266 h 512"/>
              <a:gd name="T30" fmla="*/ 298 w 512"/>
              <a:gd name="T31" fmla="*/ 288 h 512"/>
              <a:gd name="T32" fmla="*/ 288 w 512"/>
              <a:gd name="T33" fmla="*/ 298 h 512"/>
              <a:gd name="T34" fmla="*/ 277 w 512"/>
              <a:gd name="T35" fmla="*/ 288 h 512"/>
              <a:gd name="T36" fmla="*/ 277 w 512"/>
              <a:gd name="T37" fmla="*/ 266 h 512"/>
              <a:gd name="T38" fmla="*/ 256 w 512"/>
              <a:gd name="T39" fmla="*/ 266 h 512"/>
              <a:gd name="T40" fmla="*/ 245 w 512"/>
              <a:gd name="T41" fmla="*/ 256 h 512"/>
              <a:gd name="T42" fmla="*/ 256 w 512"/>
              <a:gd name="T43" fmla="*/ 245 h 512"/>
              <a:gd name="T44" fmla="*/ 149 w 512"/>
              <a:gd name="T45" fmla="*/ 245 h 512"/>
              <a:gd name="T46" fmla="*/ 213 w 512"/>
              <a:gd name="T47" fmla="*/ 245 h 512"/>
              <a:gd name="T48" fmla="*/ 224 w 512"/>
              <a:gd name="T49" fmla="*/ 256 h 512"/>
              <a:gd name="T50" fmla="*/ 213 w 512"/>
              <a:gd name="T51" fmla="*/ 266 h 512"/>
              <a:gd name="T52" fmla="*/ 149 w 512"/>
              <a:gd name="T53" fmla="*/ 266 h 512"/>
              <a:gd name="T54" fmla="*/ 138 w 512"/>
              <a:gd name="T55" fmla="*/ 256 h 512"/>
              <a:gd name="T56" fmla="*/ 149 w 512"/>
              <a:gd name="T57" fmla="*/ 245 h 512"/>
              <a:gd name="T58" fmla="*/ 373 w 512"/>
              <a:gd name="T59" fmla="*/ 234 h 512"/>
              <a:gd name="T60" fmla="*/ 394 w 512"/>
              <a:gd name="T61" fmla="*/ 234 h 512"/>
              <a:gd name="T62" fmla="*/ 394 w 512"/>
              <a:gd name="T63" fmla="*/ 277 h 512"/>
              <a:gd name="T64" fmla="*/ 373 w 512"/>
              <a:gd name="T65" fmla="*/ 277 h 512"/>
              <a:gd name="T66" fmla="*/ 373 w 512"/>
              <a:gd name="T67" fmla="*/ 234 h 512"/>
              <a:gd name="T68" fmla="*/ 256 w 512"/>
              <a:gd name="T69" fmla="*/ 0 h 512"/>
              <a:gd name="T70" fmla="*/ 0 w 512"/>
              <a:gd name="T71" fmla="*/ 256 h 512"/>
              <a:gd name="T72" fmla="*/ 256 w 512"/>
              <a:gd name="T73" fmla="*/ 512 h 512"/>
              <a:gd name="T74" fmla="*/ 512 w 512"/>
              <a:gd name="T75" fmla="*/ 256 h 512"/>
              <a:gd name="T76" fmla="*/ 256 w 512"/>
              <a:gd name="T77" fmla="*/ 0 h 512"/>
              <a:gd name="T78" fmla="*/ 416 w 512"/>
              <a:gd name="T79" fmla="*/ 288 h 512"/>
              <a:gd name="T80" fmla="*/ 405 w 512"/>
              <a:gd name="T81" fmla="*/ 298 h 512"/>
              <a:gd name="T82" fmla="*/ 373 w 512"/>
              <a:gd name="T83" fmla="*/ 298 h 512"/>
              <a:gd name="T84" fmla="*/ 373 w 512"/>
              <a:gd name="T85" fmla="*/ 330 h 512"/>
              <a:gd name="T86" fmla="*/ 362 w 512"/>
              <a:gd name="T87" fmla="*/ 341 h 512"/>
              <a:gd name="T88" fmla="*/ 106 w 512"/>
              <a:gd name="T89" fmla="*/ 341 h 512"/>
              <a:gd name="T90" fmla="*/ 96 w 512"/>
              <a:gd name="T91" fmla="*/ 330 h 512"/>
              <a:gd name="T92" fmla="*/ 96 w 512"/>
              <a:gd name="T93" fmla="*/ 181 h 512"/>
              <a:gd name="T94" fmla="*/ 106 w 512"/>
              <a:gd name="T95" fmla="*/ 170 h 512"/>
              <a:gd name="T96" fmla="*/ 362 w 512"/>
              <a:gd name="T97" fmla="*/ 170 h 512"/>
              <a:gd name="T98" fmla="*/ 373 w 512"/>
              <a:gd name="T99" fmla="*/ 181 h 512"/>
              <a:gd name="T100" fmla="*/ 373 w 512"/>
              <a:gd name="T101" fmla="*/ 213 h 512"/>
              <a:gd name="T102" fmla="*/ 405 w 512"/>
              <a:gd name="T103" fmla="*/ 213 h 512"/>
              <a:gd name="T104" fmla="*/ 416 w 512"/>
              <a:gd name="T105" fmla="*/ 224 h 512"/>
              <a:gd name="T106" fmla="*/ 416 w 512"/>
              <a:gd name="T107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117" y="320"/>
                </a:moveTo>
                <a:cubicBezTo>
                  <a:pt x="352" y="320"/>
                  <a:pt x="352" y="320"/>
                  <a:pt x="352" y="320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117" y="192"/>
                  <a:pt x="117" y="192"/>
                  <a:pt x="117" y="192"/>
                </a:cubicBezTo>
                <a:lnTo>
                  <a:pt x="117" y="320"/>
                </a:lnTo>
                <a:close/>
                <a:moveTo>
                  <a:pt x="256" y="245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18"/>
                  <a:pt x="282" y="213"/>
                  <a:pt x="288" y="213"/>
                </a:cubicBezTo>
                <a:cubicBezTo>
                  <a:pt x="294" y="213"/>
                  <a:pt x="298" y="218"/>
                  <a:pt x="298" y="224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320" y="245"/>
                  <a:pt x="320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262"/>
                  <a:pt x="326" y="266"/>
                  <a:pt x="320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288"/>
                  <a:pt x="298" y="288"/>
                  <a:pt x="298" y="288"/>
                </a:cubicBezTo>
                <a:cubicBezTo>
                  <a:pt x="298" y="294"/>
                  <a:pt x="294" y="298"/>
                  <a:pt x="288" y="298"/>
                </a:cubicBezTo>
                <a:cubicBezTo>
                  <a:pt x="282" y="298"/>
                  <a:pt x="277" y="294"/>
                  <a:pt x="277" y="288"/>
                </a:cubicBezTo>
                <a:cubicBezTo>
                  <a:pt x="277" y="266"/>
                  <a:pt x="277" y="266"/>
                  <a:pt x="277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ubicBezTo>
                  <a:pt x="245" y="250"/>
                  <a:pt x="250" y="245"/>
                  <a:pt x="256" y="245"/>
                </a:cubicBezTo>
                <a:close/>
                <a:moveTo>
                  <a:pt x="149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9" y="245"/>
                  <a:pt x="224" y="250"/>
                  <a:pt x="224" y="256"/>
                </a:cubicBezTo>
                <a:cubicBezTo>
                  <a:pt x="224" y="262"/>
                  <a:pt x="219" y="266"/>
                  <a:pt x="213" y="266"/>
                </a:cubicBezTo>
                <a:cubicBezTo>
                  <a:pt x="149" y="266"/>
                  <a:pt x="149" y="266"/>
                  <a:pt x="149" y="266"/>
                </a:cubicBezTo>
                <a:cubicBezTo>
                  <a:pt x="143" y="266"/>
                  <a:pt x="138" y="262"/>
                  <a:pt x="138" y="256"/>
                </a:cubicBezTo>
                <a:cubicBezTo>
                  <a:pt x="138" y="250"/>
                  <a:pt x="143" y="245"/>
                  <a:pt x="149" y="245"/>
                </a:cubicBez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73" y="277"/>
                  <a:pt x="373" y="277"/>
                  <a:pt x="373" y="277"/>
                </a:cubicBezTo>
                <a:lnTo>
                  <a:pt x="373" y="23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88"/>
                </a:moveTo>
                <a:cubicBezTo>
                  <a:pt x="416" y="294"/>
                  <a:pt x="411" y="298"/>
                  <a:pt x="405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6"/>
                  <a:pt x="368" y="341"/>
                  <a:pt x="362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181"/>
                  <a:pt x="96" y="181"/>
                  <a:pt x="96" y="181"/>
                </a:cubicBezTo>
                <a:cubicBezTo>
                  <a:pt x="96" y="175"/>
                  <a:pt x="100" y="170"/>
                  <a:pt x="106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28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1" name="Group 447"/>
          <p:cNvGrpSpPr>
            <a:grpSpLocks noChangeAspect="1"/>
          </p:cNvGrpSpPr>
          <p:nvPr/>
        </p:nvGrpSpPr>
        <p:grpSpPr bwMode="auto">
          <a:xfrm>
            <a:off x="6903246" y="2051050"/>
            <a:ext cx="367982" cy="367982"/>
            <a:chOff x="3679" y="2685"/>
            <a:chExt cx="340" cy="340"/>
          </a:xfrm>
          <a:solidFill>
            <a:schemeClr val="accent5"/>
          </a:solidFill>
        </p:grpSpPr>
        <p:sp>
          <p:nvSpPr>
            <p:cNvPr id="282" name="Freeform 448"/>
            <p:cNvSpPr>
              <a:spLocks noEditPoints="1"/>
            </p:cNvSpPr>
            <p:nvPr/>
          </p:nvSpPr>
          <p:spPr bwMode="auto">
            <a:xfrm>
              <a:off x="3679" y="26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449"/>
            <p:cNvSpPr>
              <a:spLocks noEditPoints="1"/>
            </p:cNvSpPr>
            <p:nvPr/>
          </p:nvSpPr>
          <p:spPr bwMode="auto">
            <a:xfrm>
              <a:off x="3743" y="2798"/>
              <a:ext cx="212" cy="113"/>
            </a:xfrm>
            <a:custGeom>
              <a:avLst/>
              <a:gdLst>
                <a:gd name="T0" fmla="*/ 309 w 320"/>
                <a:gd name="T1" fmla="*/ 43 h 171"/>
                <a:gd name="T2" fmla="*/ 277 w 320"/>
                <a:gd name="T3" fmla="*/ 43 h 171"/>
                <a:gd name="T4" fmla="*/ 277 w 320"/>
                <a:gd name="T5" fmla="*/ 11 h 171"/>
                <a:gd name="T6" fmla="*/ 266 w 320"/>
                <a:gd name="T7" fmla="*/ 0 h 171"/>
                <a:gd name="T8" fmla="*/ 10 w 320"/>
                <a:gd name="T9" fmla="*/ 0 h 171"/>
                <a:gd name="T10" fmla="*/ 0 w 320"/>
                <a:gd name="T11" fmla="*/ 11 h 171"/>
                <a:gd name="T12" fmla="*/ 0 w 320"/>
                <a:gd name="T13" fmla="*/ 160 h 171"/>
                <a:gd name="T14" fmla="*/ 10 w 320"/>
                <a:gd name="T15" fmla="*/ 171 h 171"/>
                <a:gd name="T16" fmla="*/ 266 w 320"/>
                <a:gd name="T17" fmla="*/ 171 h 171"/>
                <a:gd name="T18" fmla="*/ 277 w 320"/>
                <a:gd name="T19" fmla="*/ 160 h 171"/>
                <a:gd name="T20" fmla="*/ 277 w 320"/>
                <a:gd name="T21" fmla="*/ 128 h 171"/>
                <a:gd name="T22" fmla="*/ 309 w 320"/>
                <a:gd name="T23" fmla="*/ 128 h 171"/>
                <a:gd name="T24" fmla="*/ 320 w 320"/>
                <a:gd name="T25" fmla="*/ 118 h 171"/>
                <a:gd name="T26" fmla="*/ 320 w 320"/>
                <a:gd name="T27" fmla="*/ 54 h 171"/>
                <a:gd name="T28" fmla="*/ 309 w 320"/>
                <a:gd name="T29" fmla="*/ 43 h 171"/>
                <a:gd name="T30" fmla="*/ 256 w 320"/>
                <a:gd name="T31" fmla="*/ 150 h 171"/>
                <a:gd name="T32" fmla="*/ 21 w 320"/>
                <a:gd name="T33" fmla="*/ 150 h 171"/>
                <a:gd name="T34" fmla="*/ 21 w 320"/>
                <a:gd name="T35" fmla="*/ 22 h 171"/>
                <a:gd name="T36" fmla="*/ 256 w 320"/>
                <a:gd name="T37" fmla="*/ 22 h 171"/>
                <a:gd name="T38" fmla="*/ 256 w 320"/>
                <a:gd name="T39" fmla="*/ 150 h 171"/>
                <a:gd name="T40" fmla="*/ 298 w 320"/>
                <a:gd name="T41" fmla="*/ 107 h 171"/>
                <a:gd name="T42" fmla="*/ 277 w 320"/>
                <a:gd name="T43" fmla="*/ 107 h 171"/>
                <a:gd name="T44" fmla="*/ 277 w 320"/>
                <a:gd name="T45" fmla="*/ 64 h 171"/>
                <a:gd name="T46" fmla="*/ 298 w 320"/>
                <a:gd name="T47" fmla="*/ 64 h 171"/>
                <a:gd name="T48" fmla="*/ 298 w 320"/>
                <a:gd name="T49" fmla="*/ 107 h 171"/>
                <a:gd name="T50" fmla="*/ 234 w 320"/>
                <a:gd name="T51" fmla="*/ 86 h 171"/>
                <a:gd name="T52" fmla="*/ 224 w 320"/>
                <a:gd name="T53" fmla="*/ 96 h 171"/>
                <a:gd name="T54" fmla="*/ 202 w 320"/>
                <a:gd name="T55" fmla="*/ 96 h 171"/>
                <a:gd name="T56" fmla="*/ 202 w 320"/>
                <a:gd name="T57" fmla="*/ 118 h 171"/>
                <a:gd name="T58" fmla="*/ 192 w 320"/>
                <a:gd name="T59" fmla="*/ 128 h 171"/>
                <a:gd name="T60" fmla="*/ 181 w 320"/>
                <a:gd name="T61" fmla="*/ 118 h 171"/>
                <a:gd name="T62" fmla="*/ 181 w 320"/>
                <a:gd name="T63" fmla="*/ 96 h 171"/>
                <a:gd name="T64" fmla="*/ 160 w 320"/>
                <a:gd name="T65" fmla="*/ 96 h 171"/>
                <a:gd name="T66" fmla="*/ 149 w 320"/>
                <a:gd name="T67" fmla="*/ 86 h 171"/>
                <a:gd name="T68" fmla="*/ 160 w 320"/>
                <a:gd name="T69" fmla="*/ 75 h 171"/>
                <a:gd name="T70" fmla="*/ 181 w 320"/>
                <a:gd name="T71" fmla="*/ 75 h 171"/>
                <a:gd name="T72" fmla="*/ 181 w 320"/>
                <a:gd name="T73" fmla="*/ 54 h 171"/>
                <a:gd name="T74" fmla="*/ 192 w 320"/>
                <a:gd name="T75" fmla="*/ 43 h 171"/>
                <a:gd name="T76" fmla="*/ 202 w 320"/>
                <a:gd name="T77" fmla="*/ 54 h 171"/>
                <a:gd name="T78" fmla="*/ 202 w 320"/>
                <a:gd name="T79" fmla="*/ 75 h 171"/>
                <a:gd name="T80" fmla="*/ 224 w 320"/>
                <a:gd name="T81" fmla="*/ 75 h 171"/>
                <a:gd name="T82" fmla="*/ 234 w 320"/>
                <a:gd name="T83" fmla="*/ 86 h 171"/>
                <a:gd name="T84" fmla="*/ 128 w 320"/>
                <a:gd name="T85" fmla="*/ 86 h 171"/>
                <a:gd name="T86" fmla="*/ 117 w 320"/>
                <a:gd name="T87" fmla="*/ 96 h 171"/>
                <a:gd name="T88" fmla="*/ 53 w 320"/>
                <a:gd name="T89" fmla="*/ 96 h 171"/>
                <a:gd name="T90" fmla="*/ 42 w 320"/>
                <a:gd name="T91" fmla="*/ 86 h 171"/>
                <a:gd name="T92" fmla="*/ 53 w 320"/>
                <a:gd name="T93" fmla="*/ 75 h 171"/>
                <a:gd name="T94" fmla="*/ 117 w 320"/>
                <a:gd name="T95" fmla="*/ 75 h 171"/>
                <a:gd name="T96" fmla="*/ 128 w 320"/>
                <a:gd name="T97" fmla="*/ 8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171">
                  <a:moveTo>
                    <a:pt x="309" y="43"/>
                  </a:moveTo>
                  <a:cubicBezTo>
                    <a:pt x="277" y="43"/>
                    <a:pt x="277" y="43"/>
                    <a:pt x="277" y="4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2" y="0"/>
                    <a:pt x="2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256" y="150"/>
                  </a:moveTo>
                  <a:cubicBezTo>
                    <a:pt x="21" y="150"/>
                    <a:pt x="21" y="150"/>
                    <a:pt x="21" y="15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150"/>
                  </a:lnTo>
                  <a:close/>
                  <a:moveTo>
                    <a:pt x="298" y="107"/>
                  </a:moveTo>
                  <a:cubicBezTo>
                    <a:pt x="277" y="107"/>
                    <a:pt x="277" y="107"/>
                    <a:pt x="277" y="107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  <a:moveTo>
                    <a:pt x="234" y="86"/>
                  </a:moveTo>
                  <a:cubicBezTo>
                    <a:pt x="234" y="92"/>
                    <a:pt x="230" y="96"/>
                    <a:pt x="224" y="96"/>
                  </a:cubicBezTo>
                  <a:cubicBezTo>
                    <a:pt x="202" y="96"/>
                    <a:pt x="202" y="96"/>
                    <a:pt x="202" y="96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24"/>
                    <a:pt x="198" y="128"/>
                    <a:pt x="192" y="128"/>
                  </a:cubicBezTo>
                  <a:cubicBezTo>
                    <a:pt x="186" y="128"/>
                    <a:pt x="181" y="124"/>
                    <a:pt x="181" y="118"/>
                  </a:cubicBezTo>
                  <a:cubicBezTo>
                    <a:pt x="181" y="96"/>
                    <a:pt x="181" y="96"/>
                    <a:pt x="181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54" y="96"/>
                    <a:pt x="149" y="92"/>
                    <a:pt x="149" y="86"/>
                  </a:cubicBezTo>
                  <a:cubicBezTo>
                    <a:pt x="149" y="80"/>
                    <a:pt x="154" y="75"/>
                    <a:pt x="160" y="75"/>
                  </a:cubicBezTo>
                  <a:cubicBezTo>
                    <a:pt x="181" y="75"/>
                    <a:pt x="181" y="75"/>
                    <a:pt x="181" y="75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81" y="48"/>
                    <a:pt x="186" y="43"/>
                    <a:pt x="192" y="43"/>
                  </a:cubicBezTo>
                  <a:cubicBezTo>
                    <a:pt x="198" y="43"/>
                    <a:pt x="202" y="48"/>
                    <a:pt x="202" y="54"/>
                  </a:cubicBezTo>
                  <a:cubicBezTo>
                    <a:pt x="202" y="75"/>
                    <a:pt x="202" y="75"/>
                    <a:pt x="202" y="75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30" y="75"/>
                    <a:pt x="234" y="80"/>
                    <a:pt x="234" y="86"/>
                  </a:cubicBezTo>
                  <a:close/>
                  <a:moveTo>
                    <a:pt x="128" y="86"/>
                  </a:moveTo>
                  <a:cubicBezTo>
                    <a:pt x="128" y="92"/>
                    <a:pt x="123" y="96"/>
                    <a:pt x="117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47" y="96"/>
                    <a:pt x="42" y="92"/>
                    <a:pt x="42" y="86"/>
                  </a:cubicBezTo>
                  <a:cubicBezTo>
                    <a:pt x="42" y="80"/>
                    <a:pt x="47" y="75"/>
                    <a:pt x="53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23" y="75"/>
                    <a:pt x="128" y="80"/>
                    <a:pt x="128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4" name="Freeform 292"/>
          <p:cNvSpPr>
            <a:spLocks noChangeAspect="1" noEditPoints="1"/>
          </p:cNvSpPr>
          <p:nvPr/>
        </p:nvSpPr>
        <p:spPr bwMode="auto">
          <a:xfrm>
            <a:off x="7399410" y="2051054"/>
            <a:ext cx="369021" cy="369021"/>
          </a:xfrm>
          <a:custGeom>
            <a:avLst/>
            <a:gdLst>
              <a:gd name="T0" fmla="*/ 160 w 512"/>
              <a:gd name="T1" fmla="*/ 394 h 512"/>
              <a:gd name="T2" fmla="*/ 309 w 512"/>
              <a:gd name="T3" fmla="*/ 394 h 512"/>
              <a:gd name="T4" fmla="*/ 309 w 512"/>
              <a:gd name="T5" fmla="*/ 117 h 512"/>
              <a:gd name="T6" fmla="*/ 160 w 512"/>
              <a:gd name="T7" fmla="*/ 117 h 512"/>
              <a:gd name="T8" fmla="*/ 160 w 512"/>
              <a:gd name="T9" fmla="*/ 394 h 512"/>
              <a:gd name="T10" fmla="*/ 181 w 512"/>
              <a:gd name="T11" fmla="*/ 149 h 512"/>
              <a:gd name="T12" fmla="*/ 192 w 512"/>
              <a:gd name="T13" fmla="*/ 138 h 512"/>
              <a:gd name="T14" fmla="*/ 277 w 512"/>
              <a:gd name="T15" fmla="*/ 138 h 512"/>
              <a:gd name="T16" fmla="*/ 288 w 512"/>
              <a:gd name="T17" fmla="*/ 149 h 512"/>
              <a:gd name="T18" fmla="*/ 288 w 512"/>
              <a:gd name="T19" fmla="*/ 202 h 512"/>
              <a:gd name="T20" fmla="*/ 277 w 512"/>
              <a:gd name="T21" fmla="*/ 213 h 512"/>
              <a:gd name="T22" fmla="*/ 192 w 512"/>
              <a:gd name="T23" fmla="*/ 213 h 512"/>
              <a:gd name="T24" fmla="*/ 181 w 512"/>
              <a:gd name="T25" fmla="*/ 202 h 512"/>
              <a:gd name="T26" fmla="*/ 181 w 512"/>
              <a:gd name="T27" fmla="*/ 149 h 512"/>
              <a:gd name="T28" fmla="*/ 266 w 512"/>
              <a:gd name="T29" fmla="*/ 192 h 512"/>
              <a:gd name="T30" fmla="*/ 202 w 512"/>
              <a:gd name="T31" fmla="*/ 192 h 512"/>
              <a:gd name="T32" fmla="*/ 202 w 512"/>
              <a:gd name="T33" fmla="*/ 160 h 512"/>
              <a:gd name="T34" fmla="*/ 266 w 512"/>
              <a:gd name="T35" fmla="*/ 160 h 512"/>
              <a:gd name="T36" fmla="*/ 266 w 512"/>
              <a:gd name="T37" fmla="*/ 192 h 512"/>
              <a:gd name="T38" fmla="*/ 256 w 512"/>
              <a:gd name="T39" fmla="*/ 0 h 512"/>
              <a:gd name="T40" fmla="*/ 0 w 512"/>
              <a:gd name="T41" fmla="*/ 256 h 512"/>
              <a:gd name="T42" fmla="*/ 256 w 512"/>
              <a:gd name="T43" fmla="*/ 512 h 512"/>
              <a:gd name="T44" fmla="*/ 512 w 512"/>
              <a:gd name="T45" fmla="*/ 256 h 512"/>
              <a:gd name="T46" fmla="*/ 256 w 512"/>
              <a:gd name="T47" fmla="*/ 0 h 512"/>
              <a:gd name="T48" fmla="*/ 404 w 512"/>
              <a:gd name="T49" fmla="*/ 312 h 512"/>
              <a:gd name="T50" fmla="*/ 330 w 512"/>
              <a:gd name="T51" fmla="*/ 370 h 512"/>
              <a:gd name="T52" fmla="*/ 330 w 512"/>
              <a:gd name="T53" fmla="*/ 405 h 512"/>
              <a:gd name="T54" fmla="*/ 320 w 512"/>
              <a:gd name="T55" fmla="*/ 416 h 512"/>
              <a:gd name="T56" fmla="*/ 149 w 512"/>
              <a:gd name="T57" fmla="*/ 416 h 512"/>
              <a:gd name="T58" fmla="*/ 138 w 512"/>
              <a:gd name="T59" fmla="*/ 405 h 512"/>
              <a:gd name="T60" fmla="*/ 138 w 512"/>
              <a:gd name="T61" fmla="*/ 106 h 512"/>
              <a:gd name="T62" fmla="*/ 149 w 512"/>
              <a:gd name="T63" fmla="*/ 96 h 512"/>
              <a:gd name="T64" fmla="*/ 320 w 512"/>
              <a:gd name="T65" fmla="*/ 96 h 512"/>
              <a:gd name="T66" fmla="*/ 330 w 512"/>
              <a:gd name="T67" fmla="*/ 106 h 512"/>
              <a:gd name="T68" fmla="*/ 330 w 512"/>
              <a:gd name="T69" fmla="*/ 348 h 512"/>
              <a:gd name="T70" fmla="*/ 384 w 512"/>
              <a:gd name="T71" fmla="*/ 305 h 512"/>
              <a:gd name="T72" fmla="*/ 375 w 512"/>
              <a:gd name="T73" fmla="*/ 240 h 512"/>
              <a:gd name="T74" fmla="*/ 366 w 512"/>
              <a:gd name="T75" fmla="*/ 225 h 512"/>
              <a:gd name="T76" fmla="*/ 366 w 512"/>
              <a:gd name="T77" fmla="*/ 224 h 512"/>
              <a:gd name="T78" fmla="*/ 365 w 512"/>
              <a:gd name="T79" fmla="*/ 223 h 512"/>
              <a:gd name="T80" fmla="*/ 365 w 512"/>
              <a:gd name="T81" fmla="*/ 222 h 512"/>
              <a:gd name="T82" fmla="*/ 362 w 512"/>
              <a:gd name="T83" fmla="*/ 213 h 512"/>
              <a:gd name="T84" fmla="*/ 373 w 512"/>
              <a:gd name="T85" fmla="*/ 195 h 512"/>
              <a:gd name="T86" fmla="*/ 353 w 512"/>
              <a:gd name="T87" fmla="*/ 154 h 512"/>
              <a:gd name="T88" fmla="*/ 358 w 512"/>
              <a:gd name="T89" fmla="*/ 139 h 512"/>
              <a:gd name="T90" fmla="*/ 372 w 512"/>
              <a:gd name="T91" fmla="*/ 144 h 512"/>
              <a:gd name="T92" fmla="*/ 399 w 512"/>
              <a:gd name="T93" fmla="*/ 198 h 512"/>
              <a:gd name="T94" fmla="*/ 405 w 512"/>
              <a:gd name="T95" fmla="*/ 212 h 512"/>
              <a:gd name="T96" fmla="*/ 405 w 512"/>
              <a:gd name="T97" fmla="*/ 213 h 512"/>
              <a:gd name="T98" fmla="*/ 405 w 512"/>
              <a:gd name="T99" fmla="*/ 213 h 512"/>
              <a:gd name="T100" fmla="*/ 394 w 512"/>
              <a:gd name="T101" fmla="*/ 231 h 512"/>
              <a:gd name="T102" fmla="*/ 404 w 512"/>
              <a:gd name="T103" fmla="*/ 3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160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160" y="117"/>
                  <a:pt x="160" y="117"/>
                  <a:pt x="160" y="117"/>
                </a:cubicBezTo>
                <a:lnTo>
                  <a:pt x="160" y="394"/>
                </a:lnTo>
                <a:close/>
                <a:moveTo>
                  <a:pt x="181" y="149"/>
                </a:moveTo>
                <a:cubicBezTo>
                  <a:pt x="181" y="143"/>
                  <a:pt x="186" y="138"/>
                  <a:pt x="192" y="138"/>
                </a:cubicBezTo>
                <a:cubicBezTo>
                  <a:pt x="277" y="138"/>
                  <a:pt x="277" y="138"/>
                  <a:pt x="277" y="138"/>
                </a:cubicBezTo>
                <a:cubicBezTo>
                  <a:pt x="283" y="138"/>
                  <a:pt x="288" y="143"/>
                  <a:pt x="288" y="149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88" y="208"/>
                  <a:pt x="283" y="213"/>
                  <a:pt x="277" y="213"/>
                </a:cubicBezTo>
                <a:cubicBezTo>
                  <a:pt x="192" y="213"/>
                  <a:pt x="192" y="213"/>
                  <a:pt x="192" y="213"/>
                </a:cubicBezTo>
                <a:cubicBezTo>
                  <a:pt x="186" y="213"/>
                  <a:pt x="181" y="208"/>
                  <a:pt x="181" y="202"/>
                </a:cubicBezTo>
                <a:lnTo>
                  <a:pt x="181" y="149"/>
                </a:lnTo>
                <a:close/>
                <a:moveTo>
                  <a:pt x="266" y="192"/>
                </a:moveTo>
                <a:cubicBezTo>
                  <a:pt x="202" y="192"/>
                  <a:pt x="202" y="192"/>
                  <a:pt x="202" y="192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66" y="160"/>
                  <a:pt x="266" y="160"/>
                  <a:pt x="266" y="160"/>
                </a:cubicBezTo>
                <a:lnTo>
                  <a:pt x="266" y="192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4" y="312"/>
                </a:moveTo>
                <a:cubicBezTo>
                  <a:pt x="394" y="339"/>
                  <a:pt x="369" y="358"/>
                  <a:pt x="330" y="370"/>
                </a:cubicBezTo>
                <a:cubicBezTo>
                  <a:pt x="330" y="405"/>
                  <a:pt x="330" y="405"/>
                  <a:pt x="330" y="405"/>
                </a:cubicBezTo>
                <a:cubicBezTo>
                  <a:pt x="330" y="411"/>
                  <a:pt x="326" y="416"/>
                  <a:pt x="320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06"/>
                  <a:pt x="138" y="106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320" y="96"/>
                  <a:pt x="320" y="96"/>
                  <a:pt x="320" y="96"/>
                </a:cubicBezTo>
                <a:cubicBezTo>
                  <a:pt x="326" y="96"/>
                  <a:pt x="330" y="100"/>
                  <a:pt x="330" y="106"/>
                </a:cubicBezTo>
                <a:cubicBezTo>
                  <a:pt x="330" y="348"/>
                  <a:pt x="330" y="348"/>
                  <a:pt x="330" y="348"/>
                </a:cubicBezTo>
                <a:cubicBezTo>
                  <a:pt x="359" y="338"/>
                  <a:pt x="377" y="324"/>
                  <a:pt x="384" y="305"/>
                </a:cubicBezTo>
                <a:cubicBezTo>
                  <a:pt x="396" y="274"/>
                  <a:pt x="375" y="240"/>
                  <a:pt x="375" y="240"/>
                </a:cubicBezTo>
                <a:cubicBezTo>
                  <a:pt x="366" y="225"/>
                  <a:pt x="366" y="225"/>
                  <a:pt x="366" y="225"/>
                </a:cubicBezTo>
                <a:cubicBezTo>
                  <a:pt x="366" y="225"/>
                  <a:pt x="366" y="225"/>
                  <a:pt x="366" y="224"/>
                </a:cubicBezTo>
                <a:cubicBezTo>
                  <a:pt x="365" y="223"/>
                  <a:pt x="365" y="223"/>
                  <a:pt x="365" y="223"/>
                </a:cubicBezTo>
                <a:cubicBezTo>
                  <a:pt x="365" y="222"/>
                  <a:pt x="365" y="222"/>
                  <a:pt x="365" y="222"/>
                </a:cubicBezTo>
                <a:cubicBezTo>
                  <a:pt x="363" y="219"/>
                  <a:pt x="362" y="216"/>
                  <a:pt x="362" y="213"/>
                </a:cubicBezTo>
                <a:cubicBezTo>
                  <a:pt x="362" y="205"/>
                  <a:pt x="367" y="198"/>
                  <a:pt x="373" y="195"/>
                </a:cubicBezTo>
                <a:cubicBezTo>
                  <a:pt x="353" y="154"/>
                  <a:pt x="353" y="154"/>
                  <a:pt x="353" y="154"/>
                </a:cubicBezTo>
                <a:cubicBezTo>
                  <a:pt x="350" y="148"/>
                  <a:pt x="352" y="142"/>
                  <a:pt x="358" y="139"/>
                </a:cubicBezTo>
                <a:cubicBezTo>
                  <a:pt x="363" y="137"/>
                  <a:pt x="369" y="139"/>
                  <a:pt x="372" y="144"/>
                </a:cubicBezTo>
                <a:cubicBezTo>
                  <a:pt x="399" y="198"/>
                  <a:pt x="399" y="198"/>
                  <a:pt x="399" y="198"/>
                </a:cubicBezTo>
                <a:cubicBezTo>
                  <a:pt x="402" y="202"/>
                  <a:pt x="405" y="207"/>
                  <a:pt x="405" y="212"/>
                </a:cubicBezTo>
                <a:cubicBezTo>
                  <a:pt x="405" y="212"/>
                  <a:pt x="405" y="212"/>
                  <a:pt x="405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05" y="221"/>
                  <a:pt x="401" y="228"/>
                  <a:pt x="394" y="231"/>
                </a:cubicBezTo>
                <a:cubicBezTo>
                  <a:pt x="400" y="241"/>
                  <a:pt x="418" y="277"/>
                  <a:pt x="404" y="3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5" name="Group 295"/>
          <p:cNvGrpSpPr>
            <a:grpSpLocks noChangeAspect="1"/>
          </p:cNvGrpSpPr>
          <p:nvPr/>
        </p:nvGrpSpPr>
        <p:grpSpPr bwMode="auto">
          <a:xfrm>
            <a:off x="7896613" y="2051051"/>
            <a:ext cx="369021" cy="370106"/>
            <a:chOff x="7340" y="790"/>
            <a:chExt cx="340" cy="341"/>
          </a:xfrm>
          <a:solidFill>
            <a:schemeClr val="accent3"/>
          </a:solidFill>
        </p:grpSpPr>
        <p:sp>
          <p:nvSpPr>
            <p:cNvPr id="246" name="Freeform 296"/>
            <p:cNvSpPr>
              <a:spLocks noEditPoints="1"/>
            </p:cNvSpPr>
            <p:nvPr/>
          </p:nvSpPr>
          <p:spPr bwMode="auto">
            <a:xfrm>
              <a:off x="7340" y="79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297"/>
            <p:cNvSpPr>
              <a:spLocks noEditPoints="1"/>
            </p:cNvSpPr>
            <p:nvPr/>
          </p:nvSpPr>
          <p:spPr bwMode="auto">
            <a:xfrm>
              <a:off x="7432" y="854"/>
              <a:ext cx="186" cy="213"/>
            </a:xfrm>
            <a:custGeom>
              <a:avLst/>
              <a:gdLst>
                <a:gd name="T0" fmla="*/ 54 w 280"/>
                <a:gd name="T1" fmla="*/ 117 h 320"/>
                <a:gd name="T2" fmla="*/ 139 w 280"/>
                <a:gd name="T3" fmla="*/ 117 h 320"/>
                <a:gd name="T4" fmla="*/ 150 w 280"/>
                <a:gd name="T5" fmla="*/ 106 h 320"/>
                <a:gd name="T6" fmla="*/ 150 w 280"/>
                <a:gd name="T7" fmla="*/ 53 h 320"/>
                <a:gd name="T8" fmla="*/ 139 w 280"/>
                <a:gd name="T9" fmla="*/ 42 h 320"/>
                <a:gd name="T10" fmla="*/ 54 w 280"/>
                <a:gd name="T11" fmla="*/ 42 h 320"/>
                <a:gd name="T12" fmla="*/ 43 w 280"/>
                <a:gd name="T13" fmla="*/ 53 h 320"/>
                <a:gd name="T14" fmla="*/ 43 w 280"/>
                <a:gd name="T15" fmla="*/ 106 h 320"/>
                <a:gd name="T16" fmla="*/ 54 w 280"/>
                <a:gd name="T17" fmla="*/ 117 h 320"/>
                <a:gd name="T18" fmla="*/ 64 w 280"/>
                <a:gd name="T19" fmla="*/ 64 h 320"/>
                <a:gd name="T20" fmla="*/ 128 w 280"/>
                <a:gd name="T21" fmla="*/ 64 h 320"/>
                <a:gd name="T22" fmla="*/ 128 w 280"/>
                <a:gd name="T23" fmla="*/ 96 h 320"/>
                <a:gd name="T24" fmla="*/ 64 w 280"/>
                <a:gd name="T25" fmla="*/ 96 h 320"/>
                <a:gd name="T26" fmla="*/ 64 w 280"/>
                <a:gd name="T27" fmla="*/ 64 h 320"/>
                <a:gd name="T28" fmla="*/ 256 w 280"/>
                <a:gd name="T29" fmla="*/ 135 h 320"/>
                <a:gd name="T30" fmla="*/ 267 w 280"/>
                <a:gd name="T31" fmla="*/ 117 h 320"/>
                <a:gd name="T32" fmla="*/ 267 w 280"/>
                <a:gd name="T33" fmla="*/ 117 h 320"/>
                <a:gd name="T34" fmla="*/ 267 w 280"/>
                <a:gd name="T35" fmla="*/ 116 h 320"/>
                <a:gd name="T36" fmla="*/ 261 w 280"/>
                <a:gd name="T37" fmla="*/ 102 h 320"/>
                <a:gd name="T38" fmla="*/ 234 w 280"/>
                <a:gd name="T39" fmla="*/ 48 h 320"/>
                <a:gd name="T40" fmla="*/ 220 w 280"/>
                <a:gd name="T41" fmla="*/ 43 h 320"/>
                <a:gd name="T42" fmla="*/ 215 w 280"/>
                <a:gd name="T43" fmla="*/ 58 h 320"/>
                <a:gd name="T44" fmla="*/ 235 w 280"/>
                <a:gd name="T45" fmla="*/ 99 h 320"/>
                <a:gd name="T46" fmla="*/ 224 w 280"/>
                <a:gd name="T47" fmla="*/ 117 h 320"/>
                <a:gd name="T48" fmla="*/ 227 w 280"/>
                <a:gd name="T49" fmla="*/ 126 h 320"/>
                <a:gd name="T50" fmla="*/ 227 w 280"/>
                <a:gd name="T51" fmla="*/ 127 h 320"/>
                <a:gd name="T52" fmla="*/ 228 w 280"/>
                <a:gd name="T53" fmla="*/ 128 h 320"/>
                <a:gd name="T54" fmla="*/ 228 w 280"/>
                <a:gd name="T55" fmla="*/ 129 h 320"/>
                <a:gd name="T56" fmla="*/ 237 w 280"/>
                <a:gd name="T57" fmla="*/ 144 h 320"/>
                <a:gd name="T58" fmla="*/ 246 w 280"/>
                <a:gd name="T59" fmla="*/ 209 h 320"/>
                <a:gd name="T60" fmla="*/ 192 w 280"/>
                <a:gd name="T61" fmla="*/ 252 h 320"/>
                <a:gd name="T62" fmla="*/ 192 w 280"/>
                <a:gd name="T63" fmla="*/ 10 h 320"/>
                <a:gd name="T64" fmla="*/ 182 w 280"/>
                <a:gd name="T65" fmla="*/ 0 h 320"/>
                <a:gd name="T66" fmla="*/ 11 w 280"/>
                <a:gd name="T67" fmla="*/ 0 h 320"/>
                <a:gd name="T68" fmla="*/ 0 w 280"/>
                <a:gd name="T69" fmla="*/ 10 h 320"/>
                <a:gd name="T70" fmla="*/ 0 w 280"/>
                <a:gd name="T71" fmla="*/ 309 h 320"/>
                <a:gd name="T72" fmla="*/ 11 w 280"/>
                <a:gd name="T73" fmla="*/ 320 h 320"/>
                <a:gd name="T74" fmla="*/ 182 w 280"/>
                <a:gd name="T75" fmla="*/ 320 h 320"/>
                <a:gd name="T76" fmla="*/ 192 w 280"/>
                <a:gd name="T77" fmla="*/ 309 h 320"/>
                <a:gd name="T78" fmla="*/ 192 w 280"/>
                <a:gd name="T79" fmla="*/ 274 h 320"/>
                <a:gd name="T80" fmla="*/ 266 w 280"/>
                <a:gd name="T81" fmla="*/ 216 h 320"/>
                <a:gd name="T82" fmla="*/ 256 w 280"/>
                <a:gd name="T83" fmla="*/ 135 h 320"/>
                <a:gd name="T84" fmla="*/ 171 w 280"/>
                <a:gd name="T85" fmla="*/ 298 h 320"/>
                <a:gd name="T86" fmla="*/ 22 w 280"/>
                <a:gd name="T87" fmla="*/ 298 h 320"/>
                <a:gd name="T88" fmla="*/ 22 w 280"/>
                <a:gd name="T89" fmla="*/ 21 h 320"/>
                <a:gd name="T90" fmla="*/ 171 w 280"/>
                <a:gd name="T91" fmla="*/ 21 h 320"/>
                <a:gd name="T92" fmla="*/ 171 w 280"/>
                <a:gd name="T93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0" h="320">
                  <a:moveTo>
                    <a:pt x="54" y="117"/>
                  </a:moveTo>
                  <a:cubicBezTo>
                    <a:pt x="139" y="117"/>
                    <a:pt x="139" y="117"/>
                    <a:pt x="139" y="117"/>
                  </a:cubicBezTo>
                  <a:cubicBezTo>
                    <a:pt x="145" y="117"/>
                    <a:pt x="150" y="112"/>
                    <a:pt x="150" y="106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0" y="47"/>
                    <a:pt x="145" y="42"/>
                    <a:pt x="139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12"/>
                    <a:pt x="48" y="117"/>
                    <a:pt x="54" y="117"/>
                  </a:cubicBezTo>
                  <a:close/>
                  <a:moveTo>
                    <a:pt x="64" y="64"/>
                  </a:moveTo>
                  <a:cubicBezTo>
                    <a:pt x="128" y="64"/>
                    <a:pt x="128" y="64"/>
                    <a:pt x="128" y="64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64" y="96"/>
                    <a:pt x="64" y="96"/>
                    <a:pt x="64" y="96"/>
                  </a:cubicBezTo>
                  <a:lnTo>
                    <a:pt x="64" y="64"/>
                  </a:lnTo>
                  <a:close/>
                  <a:moveTo>
                    <a:pt x="256" y="135"/>
                  </a:moveTo>
                  <a:cubicBezTo>
                    <a:pt x="263" y="132"/>
                    <a:pt x="267" y="125"/>
                    <a:pt x="267" y="117"/>
                  </a:cubicBezTo>
                  <a:cubicBezTo>
                    <a:pt x="267" y="117"/>
                    <a:pt x="267" y="117"/>
                    <a:pt x="267" y="117"/>
                  </a:cubicBezTo>
                  <a:cubicBezTo>
                    <a:pt x="267" y="116"/>
                    <a:pt x="267" y="116"/>
                    <a:pt x="267" y="116"/>
                  </a:cubicBezTo>
                  <a:cubicBezTo>
                    <a:pt x="267" y="111"/>
                    <a:pt x="264" y="106"/>
                    <a:pt x="261" y="102"/>
                  </a:cubicBezTo>
                  <a:cubicBezTo>
                    <a:pt x="234" y="48"/>
                    <a:pt x="234" y="48"/>
                    <a:pt x="234" y="48"/>
                  </a:cubicBezTo>
                  <a:cubicBezTo>
                    <a:pt x="231" y="43"/>
                    <a:pt x="225" y="41"/>
                    <a:pt x="220" y="43"/>
                  </a:cubicBezTo>
                  <a:cubicBezTo>
                    <a:pt x="214" y="46"/>
                    <a:pt x="212" y="52"/>
                    <a:pt x="215" y="58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29" y="102"/>
                    <a:pt x="224" y="109"/>
                    <a:pt x="224" y="117"/>
                  </a:cubicBezTo>
                  <a:cubicBezTo>
                    <a:pt x="224" y="120"/>
                    <a:pt x="225" y="123"/>
                    <a:pt x="227" y="126"/>
                  </a:cubicBezTo>
                  <a:cubicBezTo>
                    <a:pt x="227" y="126"/>
                    <a:pt x="227" y="126"/>
                    <a:pt x="227" y="127"/>
                  </a:cubicBezTo>
                  <a:cubicBezTo>
                    <a:pt x="228" y="128"/>
                    <a:pt x="228" y="128"/>
                    <a:pt x="228" y="128"/>
                  </a:cubicBezTo>
                  <a:cubicBezTo>
                    <a:pt x="228" y="129"/>
                    <a:pt x="228" y="129"/>
                    <a:pt x="228" y="129"/>
                  </a:cubicBezTo>
                  <a:cubicBezTo>
                    <a:pt x="237" y="144"/>
                    <a:pt x="237" y="144"/>
                    <a:pt x="237" y="144"/>
                  </a:cubicBezTo>
                  <a:cubicBezTo>
                    <a:pt x="237" y="144"/>
                    <a:pt x="258" y="178"/>
                    <a:pt x="246" y="209"/>
                  </a:cubicBezTo>
                  <a:cubicBezTo>
                    <a:pt x="239" y="228"/>
                    <a:pt x="221" y="242"/>
                    <a:pt x="192" y="252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92" y="4"/>
                    <a:pt x="188" y="0"/>
                    <a:pt x="18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182" y="320"/>
                    <a:pt x="182" y="320"/>
                    <a:pt x="182" y="320"/>
                  </a:cubicBezTo>
                  <a:cubicBezTo>
                    <a:pt x="188" y="320"/>
                    <a:pt x="192" y="315"/>
                    <a:pt x="192" y="309"/>
                  </a:cubicBezTo>
                  <a:cubicBezTo>
                    <a:pt x="192" y="274"/>
                    <a:pt x="192" y="274"/>
                    <a:pt x="192" y="274"/>
                  </a:cubicBezTo>
                  <a:cubicBezTo>
                    <a:pt x="231" y="262"/>
                    <a:pt x="256" y="243"/>
                    <a:pt x="266" y="216"/>
                  </a:cubicBezTo>
                  <a:cubicBezTo>
                    <a:pt x="280" y="181"/>
                    <a:pt x="262" y="145"/>
                    <a:pt x="256" y="135"/>
                  </a:cubicBezTo>
                  <a:close/>
                  <a:moveTo>
                    <a:pt x="171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71" y="21"/>
                    <a:pt x="171" y="21"/>
                    <a:pt x="171" y="21"/>
                  </a:cubicBezTo>
                  <a:lnTo>
                    <a:pt x="171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8" name="Group 638"/>
          <p:cNvGrpSpPr>
            <a:grpSpLocks noChangeAspect="1"/>
          </p:cNvGrpSpPr>
          <p:nvPr/>
        </p:nvGrpSpPr>
        <p:grpSpPr bwMode="auto">
          <a:xfrm>
            <a:off x="8892761" y="2051051"/>
            <a:ext cx="369676" cy="369676"/>
            <a:chOff x="4300" y="2260"/>
            <a:chExt cx="340" cy="340"/>
          </a:xfrm>
          <a:solidFill>
            <a:schemeClr val="accent1"/>
          </a:solidFill>
        </p:grpSpPr>
        <p:sp>
          <p:nvSpPr>
            <p:cNvPr id="249" name="Freeform 639"/>
            <p:cNvSpPr>
              <a:spLocks/>
            </p:cNvSpPr>
            <p:nvPr/>
          </p:nvSpPr>
          <p:spPr bwMode="auto">
            <a:xfrm>
              <a:off x="4463" y="2437"/>
              <a:ext cx="14" cy="99"/>
            </a:xfrm>
            <a:custGeom>
              <a:avLst/>
              <a:gdLst>
                <a:gd name="T0" fmla="*/ 11 w 21"/>
                <a:gd name="T1" fmla="*/ 0 h 150"/>
                <a:gd name="T2" fmla="*/ 0 w 21"/>
                <a:gd name="T3" fmla="*/ 11 h 150"/>
                <a:gd name="T4" fmla="*/ 0 w 21"/>
                <a:gd name="T5" fmla="*/ 139 h 150"/>
                <a:gd name="T6" fmla="*/ 11 w 21"/>
                <a:gd name="T7" fmla="*/ 150 h 150"/>
                <a:gd name="T8" fmla="*/ 21 w 21"/>
                <a:gd name="T9" fmla="*/ 139 h 150"/>
                <a:gd name="T10" fmla="*/ 21 w 21"/>
                <a:gd name="T11" fmla="*/ 11 h 150"/>
                <a:gd name="T12" fmla="*/ 11 w 21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0">
                  <a:moveTo>
                    <a:pt x="11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5"/>
                    <a:pt x="5" y="150"/>
                    <a:pt x="11" y="150"/>
                  </a:cubicBezTo>
                  <a:cubicBezTo>
                    <a:pt x="17" y="150"/>
                    <a:pt x="21" y="145"/>
                    <a:pt x="21" y="139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640"/>
            <p:cNvSpPr>
              <a:spLocks noEditPoints="1"/>
            </p:cNvSpPr>
            <p:nvPr/>
          </p:nvSpPr>
          <p:spPr bwMode="auto">
            <a:xfrm>
              <a:off x="4405" y="2330"/>
              <a:ext cx="132" cy="107"/>
            </a:xfrm>
            <a:custGeom>
              <a:avLst/>
              <a:gdLst>
                <a:gd name="T0" fmla="*/ 192 w 199"/>
                <a:gd name="T1" fmla="*/ 140 h 160"/>
                <a:gd name="T2" fmla="*/ 129 w 199"/>
                <a:gd name="T3" fmla="*/ 105 h 160"/>
                <a:gd name="T4" fmla="*/ 108 w 199"/>
                <a:gd name="T5" fmla="*/ 77 h 160"/>
                <a:gd name="T6" fmla="*/ 108 w 199"/>
                <a:gd name="T7" fmla="*/ 11 h 160"/>
                <a:gd name="T8" fmla="*/ 98 w 199"/>
                <a:gd name="T9" fmla="*/ 0 h 160"/>
                <a:gd name="T10" fmla="*/ 87 w 199"/>
                <a:gd name="T11" fmla="*/ 11 h 160"/>
                <a:gd name="T12" fmla="*/ 87 w 199"/>
                <a:gd name="T13" fmla="*/ 77 h 160"/>
                <a:gd name="T14" fmla="*/ 66 w 199"/>
                <a:gd name="T15" fmla="*/ 107 h 160"/>
                <a:gd name="T16" fmla="*/ 7 w 199"/>
                <a:gd name="T17" fmla="*/ 140 h 160"/>
                <a:gd name="T18" fmla="*/ 3 w 199"/>
                <a:gd name="T19" fmla="*/ 155 h 160"/>
                <a:gd name="T20" fmla="*/ 12 w 199"/>
                <a:gd name="T21" fmla="*/ 160 h 160"/>
                <a:gd name="T22" fmla="*/ 18 w 199"/>
                <a:gd name="T23" fmla="*/ 159 h 160"/>
                <a:gd name="T24" fmla="*/ 73 w 199"/>
                <a:gd name="T25" fmla="*/ 127 h 160"/>
                <a:gd name="T26" fmla="*/ 98 w 199"/>
                <a:gd name="T27" fmla="*/ 139 h 160"/>
                <a:gd name="T28" fmla="*/ 123 w 199"/>
                <a:gd name="T29" fmla="*/ 126 h 160"/>
                <a:gd name="T30" fmla="*/ 181 w 199"/>
                <a:gd name="T31" fmla="*/ 159 h 160"/>
                <a:gd name="T32" fmla="*/ 187 w 199"/>
                <a:gd name="T33" fmla="*/ 160 h 160"/>
                <a:gd name="T34" fmla="*/ 196 w 199"/>
                <a:gd name="T35" fmla="*/ 155 h 160"/>
                <a:gd name="T36" fmla="*/ 192 w 199"/>
                <a:gd name="T37" fmla="*/ 140 h 160"/>
                <a:gd name="T38" fmla="*/ 98 w 199"/>
                <a:gd name="T39" fmla="*/ 118 h 160"/>
                <a:gd name="T40" fmla="*/ 87 w 199"/>
                <a:gd name="T41" fmla="*/ 107 h 160"/>
                <a:gd name="T42" fmla="*/ 98 w 199"/>
                <a:gd name="T43" fmla="*/ 96 h 160"/>
                <a:gd name="T44" fmla="*/ 108 w 199"/>
                <a:gd name="T45" fmla="*/ 107 h 160"/>
                <a:gd name="T46" fmla="*/ 98 w 199"/>
                <a:gd name="T47" fmla="*/ 11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9" h="160">
                  <a:moveTo>
                    <a:pt x="192" y="140"/>
                  </a:moveTo>
                  <a:cubicBezTo>
                    <a:pt x="129" y="105"/>
                    <a:pt x="129" y="105"/>
                    <a:pt x="129" y="105"/>
                  </a:cubicBezTo>
                  <a:cubicBezTo>
                    <a:pt x="129" y="92"/>
                    <a:pt x="120" y="81"/>
                    <a:pt x="108" y="77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5"/>
                    <a:pt x="104" y="0"/>
                    <a:pt x="98" y="0"/>
                  </a:cubicBezTo>
                  <a:cubicBezTo>
                    <a:pt x="92" y="0"/>
                    <a:pt x="87" y="5"/>
                    <a:pt x="87" y="11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75" y="81"/>
                    <a:pt x="66" y="93"/>
                    <a:pt x="66" y="107"/>
                  </a:cubicBezTo>
                  <a:cubicBezTo>
                    <a:pt x="7" y="140"/>
                    <a:pt x="7" y="140"/>
                    <a:pt x="7" y="140"/>
                  </a:cubicBezTo>
                  <a:cubicBezTo>
                    <a:pt x="2" y="143"/>
                    <a:pt x="0" y="150"/>
                    <a:pt x="3" y="155"/>
                  </a:cubicBezTo>
                  <a:cubicBezTo>
                    <a:pt x="5" y="158"/>
                    <a:pt x="9" y="160"/>
                    <a:pt x="12" y="160"/>
                  </a:cubicBezTo>
                  <a:cubicBezTo>
                    <a:pt x="14" y="160"/>
                    <a:pt x="16" y="160"/>
                    <a:pt x="18" y="159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9" y="134"/>
                    <a:pt x="88" y="139"/>
                    <a:pt x="98" y="139"/>
                  </a:cubicBezTo>
                  <a:cubicBezTo>
                    <a:pt x="108" y="139"/>
                    <a:pt x="117" y="134"/>
                    <a:pt x="123" y="126"/>
                  </a:cubicBezTo>
                  <a:cubicBezTo>
                    <a:pt x="181" y="159"/>
                    <a:pt x="181" y="159"/>
                    <a:pt x="181" y="159"/>
                  </a:cubicBezTo>
                  <a:cubicBezTo>
                    <a:pt x="183" y="160"/>
                    <a:pt x="185" y="160"/>
                    <a:pt x="187" y="160"/>
                  </a:cubicBezTo>
                  <a:cubicBezTo>
                    <a:pt x="190" y="160"/>
                    <a:pt x="194" y="158"/>
                    <a:pt x="196" y="155"/>
                  </a:cubicBezTo>
                  <a:cubicBezTo>
                    <a:pt x="199" y="150"/>
                    <a:pt x="197" y="143"/>
                    <a:pt x="192" y="140"/>
                  </a:cubicBezTo>
                  <a:close/>
                  <a:moveTo>
                    <a:pt x="98" y="118"/>
                  </a:moveTo>
                  <a:cubicBezTo>
                    <a:pt x="92" y="118"/>
                    <a:pt x="87" y="113"/>
                    <a:pt x="87" y="107"/>
                  </a:cubicBezTo>
                  <a:cubicBezTo>
                    <a:pt x="87" y="101"/>
                    <a:pt x="92" y="96"/>
                    <a:pt x="98" y="96"/>
                  </a:cubicBezTo>
                  <a:cubicBezTo>
                    <a:pt x="104" y="96"/>
                    <a:pt x="108" y="101"/>
                    <a:pt x="108" y="107"/>
                  </a:cubicBezTo>
                  <a:cubicBezTo>
                    <a:pt x="108" y="113"/>
                    <a:pt x="104" y="118"/>
                    <a:pt x="98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641"/>
            <p:cNvSpPr>
              <a:spLocks noEditPoints="1"/>
            </p:cNvSpPr>
            <p:nvPr/>
          </p:nvSpPr>
          <p:spPr bwMode="auto">
            <a:xfrm>
              <a:off x="4300" y="22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2" name="Freeform 645"/>
          <p:cNvSpPr>
            <a:spLocks noChangeAspect="1" noEditPoints="1"/>
          </p:cNvSpPr>
          <p:nvPr/>
        </p:nvSpPr>
        <p:spPr bwMode="auto">
          <a:xfrm>
            <a:off x="8393816" y="2051051"/>
            <a:ext cx="370763" cy="369676"/>
          </a:xfrm>
          <a:custGeom>
            <a:avLst/>
            <a:gdLst>
              <a:gd name="T0" fmla="*/ 266 w 512"/>
              <a:gd name="T1" fmla="*/ 213 h 512"/>
              <a:gd name="T2" fmla="*/ 256 w 512"/>
              <a:gd name="T3" fmla="*/ 224 h 512"/>
              <a:gd name="T4" fmla="*/ 245 w 512"/>
              <a:gd name="T5" fmla="*/ 213 h 512"/>
              <a:gd name="T6" fmla="*/ 256 w 512"/>
              <a:gd name="T7" fmla="*/ 202 h 512"/>
              <a:gd name="T8" fmla="*/ 266 w 512"/>
              <a:gd name="T9" fmla="*/ 213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266 w 512"/>
              <a:gd name="T21" fmla="*/ 277 h 512"/>
              <a:gd name="T22" fmla="*/ 256 w 512"/>
              <a:gd name="T23" fmla="*/ 266 h 512"/>
              <a:gd name="T24" fmla="*/ 245 w 512"/>
              <a:gd name="T25" fmla="*/ 277 h 512"/>
              <a:gd name="T26" fmla="*/ 245 w 512"/>
              <a:gd name="T27" fmla="*/ 405 h 512"/>
              <a:gd name="T28" fmla="*/ 256 w 512"/>
              <a:gd name="T29" fmla="*/ 416 h 512"/>
              <a:gd name="T30" fmla="*/ 266 w 512"/>
              <a:gd name="T31" fmla="*/ 405 h 512"/>
              <a:gd name="T32" fmla="*/ 266 w 512"/>
              <a:gd name="T33" fmla="*/ 277 h 512"/>
              <a:gd name="T34" fmla="*/ 350 w 512"/>
              <a:gd name="T35" fmla="*/ 246 h 512"/>
              <a:gd name="T36" fmla="*/ 287 w 512"/>
              <a:gd name="T37" fmla="*/ 211 h 512"/>
              <a:gd name="T38" fmla="*/ 266 w 512"/>
              <a:gd name="T39" fmla="*/ 183 h 512"/>
              <a:gd name="T40" fmla="*/ 266 w 512"/>
              <a:gd name="T41" fmla="*/ 117 h 512"/>
              <a:gd name="T42" fmla="*/ 256 w 512"/>
              <a:gd name="T43" fmla="*/ 106 h 512"/>
              <a:gd name="T44" fmla="*/ 245 w 512"/>
              <a:gd name="T45" fmla="*/ 117 h 512"/>
              <a:gd name="T46" fmla="*/ 245 w 512"/>
              <a:gd name="T47" fmla="*/ 183 h 512"/>
              <a:gd name="T48" fmla="*/ 224 w 512"/>
              <a:gd name="T49" fmla="*/ 213 h 512"/>
              <a:gd name="T50" fmla="*/ 165 w 512"/>
              <a:gd name="T51" fmla="*/ 246 h 512"/>
              <a:gd name="T52" fmla="*/ 161 w 512"/>
              <a:gd name="T53" fmla="*/ 261 h 512"/>
              <a:gd name="T54" fmla="*/ 170 w 512"/>
              <a:gd name="T55" fmla="*/ 266 h 512"/>
              <a:gd name="T56" fmla="*/ 176 w 512"/>
              <a:gd name="T57" fmla="*/ 265 h 512"/>
              <a:gd name="T58" fmla="*/ 231 w 512"/>
              <a:gd name="T59" fmla="*/ 233 h 512"/>
              <a:gd name="T60" fmla="*/ 256 w 512"/>
              <a:gd name="T61" fmla="*/ 245 h 512"/>
              <a:gd name="T62" fmla="*/ 281 w 512"/>
              <a:gd name="T63" fmla="*/ 232 h 512"/>
              <a:gd name="T64" fmla="*/ 339 w 512"/>
              <a:gd name="T65" fmla="*/ 265 h 512"/>
              <a:gd name="T66" fmla="*/ 345 w 512"/>
              <a:gd name="T67" fmla="*/ 266 h 512"/>
              <a:gd name="T68" fmla="*/ 354 w 512"/>
              <a:gd name="T69" fmla="*/ 261 h 512"/>
              <a:gd name="T70" fmla="*/ 350 w 512"/>
              <a:gd name="T71" fmla="*/ 2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66" y="213"/>
                </a:moveTo>
                <a:cubicBezTo>
                  <a:pt x="266" y="219"/>
                  <a:pt x="262" y="224"/>
                  <a:pt x="256" y="224"/>
                </a:cubicBezTo>
                <a:cubicBezTo>
                  <a:pt x="250" y="224"/>
                  <a:pt x="245" y="219"/>
                  <a:pt x="245" y="213"/>
                </a:cubicBezTo>
                <a:cubicBezTo>
                  <a:pt x="245" y="207"/>
                  <a:pt x="250" y="202"/>
                  <a:pt x="256" y="202"/>
                </a:cubicBezTo>
                <a:cubicBezTo>
                  <a:pt x="262" y="202"/>
                  <a:pt x="266" y="207"/>
                  <a:pt x="266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66" y="277"/>
                </a:moveTo>
                <a:cubicBezTo>
                  <a:pt x="266" y="271"/>
                  <a:pt x="262" y="266"/>
                  <a:pt x="256" y="266"/>
                </a:cubicBezTo>
                <a:cubicBezTo>
                  <a:pt x="250" y="266"/>
                  <a:pt x="245" y="271"/>
                  <a:pt x="245" y="27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lnTo>
                  <a:pt x="266" y="277"/>
                </a:lnTo>
                <a:close/>
                <a:moveTo>
                  <a:pt x="350" y="246"/>
                </a:moveTo>
                <a:cubicBezTo>
                  <a:pt x="287" y="211"/>
                  <a:pt x="287" y="211"/>
                  <a:pt x="287" y="211"/>
                </a:cubicBezTo>
                <a:cubicBezTo>
                  <a:pt x="287" y="198"/>
                  <a:pt x="278" y="187"/>
                  <a:pt x="266" y="183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11"/>
                  <a:pt x="262" y="106"/>
                  <a:pt x="256" y="106"/>
                </a:cubicBezTo>
                <a:cubicBezTo>
                  <a:pt x="250" y="106"/>
                  <a:pt x="245" y="111"/>
                  <a:pt x="245" y="117"/>
                </a:cubicBezTo>
                <a:cubicBezTo>
                  <a:pt x="245" y="183"/>
                  <a:pt x="245" y="183"/>
                  <a:pt x="245" y="183"/>
                </a:cubicBezTo>
                <a:cubicBezTo>
                  <a:pt x="233" y="187"/>
                  <a:pt x="224" y="199"/>
                  <a:pt x="224" y="213"/>
                </a:cubicBezTo>
                <a:cubicBezTo>
                  <a:pt x="165" y="246"/>
                  <a:pt x="165" y="246"/>
                  <a:pt x="165" y="246"/>
                </a:cubicBezTo>
                <a:cubicBezTo>
                  <a:pt x="160" y="249"/>
                  <a:pt x="158" y="256"/>
                  <a:pt x="161" y="261"/>
                </a:cubicBezTo>
                <a:cubicBezTo>
                  <a:pt x="163" y="264"/>
                  <a:pt x="167" y="266"/>
                  <a:pt x="170" y="266"/>
                </a:cubicBezTo>
                <a:cubicBezTo>
                  <a:pt x="172" y="266"/>
                  <a:pt x="174" y="266"/>
                  <a:pt x="176" y="265"/>
                </a:cubicBezTo>
                <a:cubicBezTo>
                  <a:pt x="231" y="233"/>
                  <a:pt x="231" y="233"/>
                  <a:pt x="231" y="233"/>
                </a:cubicBezTo>
                <a:cubicBezTo>
                  <a:pt x="237" y="240"/>
                  <a:pt x="246" y="245"/>
                  <a:pt x="256" y="245"/>
                </a:cubicBezTo>
                <a:cubicBezTo>
                  <a:pt x="266" y="245"/>
                  <a:pt x="275" y="240"/>
                  <a:pt x="281" y="232"/>
                </a:cubicBezTo>
                <a:cubicBezTo>
                  <a:pt x="339" y="265"/>
                  <a:pt x="339" y="265"/>
                  <a:pt x="339" y="265"/>
                </a:cubicBezTo>
                <a:cubicBezTo>
                  <a:pt x="341" y="266"/>
                  <a:pt x="343" y="266"/>
                  <a:pt x="345" y="266"/>
                </a:cubicBezTo>
                <a:cubicBezTo>
                  <a:pt x="348" y="266"/>
                  <a:pt x="352" y="264"/>
                  <a:pt x="354" y="261"/>
                </a:cubicBezTo>
                <a:cubicBezTo>
                  <a:pt x="357" y="256"/>
                  <a:pt x="355" y="249"/>
                  <a:pt x="350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3" name="Group 396"/>
          <p:cNvGrpSpPr>
            <a:grpSpLocks noChangeAspect="1"/>
          </p:cNvGrpSpPr>
          <p:nvPr/>
        </p:nvGrpSpPr>
        <p:grpSpPr bwMode="auto">
          <a:xfrm>
            <a:off x="1941577" y="2930725"/>
            <a:ext cx="369021" cy="369021"/>
            <a:chOff x="6573" y="1568"/>
            <a:chExt cx="340" cy="340"/>
          </a:xfrm>
          <a:solidFill>
            <a:schemeClr val="accent5"/>
          </a:solidFill>
        </p:grpSpPr>
        <p:sp>
          <p:nvSpPr>
            <p:cNvPr id="254" name="Freeform 397"/>
            <p:cNvSpPr>
              <a:spLocks noEditPoints="1"/>
            </p:cNvSpPr>
            <p:nvPr/>
          </p:nvSpPr>
          <p:spPr bwMode="auto">
            <a:xfrm>
              <a:off x="6573" y="156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398"/>
            <p:cNvSpPr>
              <a:spLocks noEditPoints="1"/>
            </p:cNvSpPr>
            <p:nvPr/>
          </p:nvSpPr>
          <p:spPr bwMode="auto">
            <a:xfrm>
              <a:off x="6651" y="1646"/>
              <a:ext cx="184" cy="184"/>
            </a:xfrm>
            <a:custGeom>
              <a:avLst/>
              <a:gdLst>
                <a:gd name="T0" fmla="*/ 256 w 277"/>
                <a:gd name="T1" fmla="*/ 0 h 277"/>
                <a:gd name="T2" fmla="*/ 21 w 277"/>
                <a:gd name="T3" fmla="*/ 0 h 277"/>
                <a:gd name="T4" fmla="*/ 0 w 277"/>
                <a:gd name="T5" fmla="*/ 21 h 277"/>
                <a:gd name="T6" fmla="*/ 0 w 277"/>
                <a:gd name="T7" fmla="*/ 256 h 277"/>
                <a:gd name="T8" fmla="*/ 21 w 277"/>
                <a:gd name="T9" fmla="*/ 277 h 277"/>
                <a:gd name="T10" fmla="*/ 256 w 277"/>
                <a:gd name="T11" fmla="*/ 277 h 277"/>
                <a:gd name="T12" fmla="*/ 277 w 277"/>
                <a:gd name="T13" fmla="*/ 256 h 277"/>
                <a:gd name="T14" fmla="*/ 277 w 277"/>
                <a:gd name="T15" fmla="*/ 21 h 277"/>
                <a:gd name="T16" fmla="*/ 256 w 277"/>
                <a:gd name="T17" fmla="*/ 0 h 277"/>
                <a:gd name="T18" fmla="*/ 256 w 277"/>
                <a:gd name="T19" fmla="*/ 256 h 277"/>
                <a:gd name="T20" fmla="*/ 21 w 277"/>
                <a:gd name="T21" fmla="*/ 256 h 277"/>
                <a:gd name="T22" fmla="*/ 21 w 277"/>
                <a:gd name="T23" fmla="*/ 21 h 277"/>
                <a:gd name="T24" fmla="*/ 256 w 277"/>
                <a:gd name="T25" fmla="*/ 21 h 277"/>
                <a:gd name="T26" fmla="*/ 256 w 277"/>
                <a:gd name="T27" fmla="*/ 256 h 277"/>
                <a:gd name="T28" fmla="*/ 139 w 277"/>
                <a:gd name="T29" fmla="*/ 235 h 277"/>
                <a:gd name="T30" fmla="*/ 235 w 277"/>
                <a:gd name="T31" fmla="*/ 139 h 277"/>
                <a:gd name="T32" fmla="*/ 139 w 277"/>
                <a:gd name="T33" fmla="*/ 43 h 277"/>
                <a:gd name="T34" fmla="*/ 43 w 277"/>
                <a:gd name="T35" fmla="*/ 139 h 277"/>
                <a:gd name="T36" fmla="*/ 139 w 277"/>
                <a:gd name="T37" fmla="*/ 235 h 277"/>
                <a:gd name="T38" fmla="*/ 139 w 277"/>
                <a:gd name="T39" fmla="*/ 64 h 277"/>
                <a:gd name="T40" fmla="*/ 213 w 277"/>
                <a:gd name="T41" fmla="*/ 139 h 277"/>
                <a:gd name="T42" fmla="*/ 139 w 277"/>
                <a:gd name="T43" fmla="*/ 213 h 277"/>
                <a:gd name="T44" fmla="*/ 64 w 277"/>
                <a:gd name="T45" fmla="*/ 139 h 277"/>
                <a:gd name="T46" fmla="*/ 139 w 277"/>
                <a:gd name="T47" fmla="*/ 64 h 277"/>
                <a:gd name="T48" fmla="*/ 90 w 277"/>
                <a:gd name="T49" fmla="*/ 139 h 277"/>
                <a:gd name="T50" fmla="*/ 107 w 277"/>
                <a:gd name="T51" fmla="*/ 122 h 277"/>
                <a:gd name="T52" fmla="*/ 123 w 277"/>
                <a:gd name="T53" fmla="*/ 139 h 277"/>
                <a:gd name="T54" fmla="*/ 107 w 277"/>
                <a:gd name="T55" fmla="*/ 155 h 277"/>
                <a:gd name="T56" fmla="*/ 90 w 277"/>
                <a:gd name="T57" fmla="*/ 139 h 277"/>
                <a:gd name="T58" fmla="*/ 154 w 277"/>
                <a:gd name="T59" fmla="*/ 139 h 277"/>
                <a:gd name="T60" fmla="*/ 171 w 277"/>
                <a:gd name="T61" fmla="*/ 122 h 277"/>
                <a:gd name="T62" fmla="*/ 187 w 277"/>
                <a:gd name="T63" fmla="*/ 139 h 277"/>
                <a:gd name="T64" fmla="*/ 171 w 277"/>
                <a:gd name="T65" fmla="*/ 155 h 277"/>
                <a:gd name="T66" fmla="*/ 154 w 277"/>
                <a:gd name="T67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277">
                  <a:moveTo>
                    <a:pt x="25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8"/>
                    <a:pt x="10" y="277"/>
                    <a:pt x="21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68" y="277"/>
                    <a:pt x="277" y="268"/>
                    <a:pt x="277" y="256"/>
                  </a:cubicBezTo>
                  <a:cubicBezTo>
                    <a:pt x="277" y="21"/>
                    <a:pt x="277" y="21"/>
                    <a:pt x="277" y="21"/>
                  </a:cubicBezTo>
                  <a:cubicBezTo>
                    <a:pt x="277" y="10"/>
                    <a:pt x="268" y="0"/>
                    <a:pt x="256" y="0"/>
                  </a:cubicBezTo>
                  <a:close/>
                  <a:moveTo>
                    <a:pt x="256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56" y="21"/>
                    <a:pt x="256" y="21"/>
                    <a:pt x="256" y="21"/>
                  </a:cubicBezTo>
                  <a:lnTo>
                    <a:pt x="256" y="256"/>
                  </a:lnTo>
                  <a:close/>
                  <a:moveTo>
                    <a:pt x="139" y="235"/>
                  </a:moveTo>
                  <a:cubicBezTo>
                    <a:pt x="192" y="235"/>
                    <a:pt x="235" y="192"/>
                    <a:pt x="235" y="139"/>
                  </a:cubicBezTo>
                  <a:cubicBezTo>
                    <a:pt x="235" y="86"/>
                    <a:pt x="192" y="43"/>
                    <a:pt x="139" y="43"/>
                  </a:cubicBezTo>
                  <a:cubicBezTo>
                    <a:pt x="86" y="43"/>
                    <a:pt x="43" y="86"/>
                    <a:pt x="43" y="139"/>
                  </a:cubicBezTo>
                  <a:cubicBezTo>
                    <a:pt x="43" y="192"/>
                    <a:pt x="86" y="235"/>
                    <a:pt x="139" y="235"/>
                  </a:cubicBezTo>
                  <a:close/>
                  <a:moveTo>
                    <a:pt x="139" y="64"/>
                  </a:moveTo>
                  <a:cubicBezTo>
                    <a:pt x="180" y="64"/>
                    <a:pt x="213" y="97"/>
                    <a:pt x="213" y="139"/>
                  </a:cubicBezTo>
                  <a:cubicBezTo>
                    <a:pt x="213" y="180"/>
                    <a:pt x="180" y="213"/>
                    <a:pt x="139" y="213"/>
                  </a:cubicBezTo>
                  <a:cubicBezTo>
                    <a:pt x="97" y="213"/>
                    <a:pt x="64" y="180"/>
                    <a:pt x="64" y="139"/>
                  </a:cubicBezTo>
                  <a:cubicBezTo>
                    <a:pt x="64" y="97"/>
                    <a:pt x="97" y="64"/>
                    <a:pt x="139" y="64"/>
                  </a:cubicBezTo>
                  <a:close/>
                  <a:moveTo>
                    <a:pt x="90" y="139"/>
                  </a:moveTo>
                  <a:cubicBezTo>
                    <a:pt x="90" y="130"/>
                    <a:pt x="98" y="122"/>
                    <a:pt x="107" y="122"/>
                  </a:cubicBezTo>
                  <a:cubicBezTo>
                    <a:pt x="116" y="122"/>
                    <a:pt x="123" y="130"/>
                    <a:pt x="123" y="139"/>
                  </a:cubicBezTo>
                  <a:cubicBezTo>
                    <a:pt x="123" y="148"/>
                    <a:pt x="116" y="155"/>
                    <a:pt x="107" y="155"/>
                  </a:cubicBezTo>
                  <a:cubicBezTo>
                    <a:pt x="98" y="155"/>
                    <a:pt x="90" y="148"/>
                    <a:pt x="90" y="139"/>
                  </a:cubicBezTo>
                  <a:close/>
                  <a:moveTo>
                    <a:pt x="154" y="139"/>
                  </a:moveTo>
                  <a:cubicBezTo>
                    <a:pt x="154" y="130"/>
                    <a:pt x="162" y="122"/>
                    <a:pt x="171" y="122"/>
                  </a:cubicBezTo>
                  <a:cubicBezTo>
                    <a:pt x="180" y="122"/>
                    <a:pt x="187" y="130"/>
                    <a:pt x="187" y="139"/>
                  </a:cubicBezTo>
                  <a:cubicBezTo>
                    <a:pt x="187" y="148"/>
                    <a:pt x="180" y="155"/>
                    <a:pt x="171" y="155"/>
                  </a:cubicBezTo>
                  <a:cubicBezTo>
                    <a:pt x="162" y="155"/>
                    <a:pt x="154" y="148"/>
                    <a:pt x="154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4" name="Freeform 402"/>
          <p:cNvSpPr>
            <a:spLocks noChangeAspect="1" noEditPoints="1"/>
          </p:cNvSpPr>
          <p:nvPr/>
        </p:nvSpPr>
        <p:spPr bwMode="auto">
          <a:xfrm>
            <a:off x="1444703" y="2930725"/>
            <a:ext cx="369021" cy="369021"/>
          </a:xfrm>
          <a:custGeom>
            <a:avLst/>
            <a:gdLst>
              <a:gd name="T0" fmla="*/ 256 w 512"/>
              <a:gd name="T1" fmla="*/ 330 h 512"/>
              <a:gd name="T2" fmla="*/ 330 w 512"/>
              <a:gd name="T3" fmla="*/ 256 h 512"/>
              <a:gd name="T4" fmla="*/ 256 w 512"/>
              <a:gd name="T5" fmla="*/ 181 h 512"/>
              <a:gd name="T6" fmla="*/ 181 w 512"/>
              <a:gd name="T7" fmla="*/ 256 h 512"/>
              <a:gd name="T8" fmla="*/ 256 w 512"/>
              <a:gd name="T9" fmla="*/ 330 h 512"/>
              <a:gd name="T10" fmla="*/ 288 w 512"/>
              <a:gd name="T11" fmla="*/ 239 h 512"/>
              <a:gd name="T12" fmla="*/ 304 w 512"/>
              <a:gd name="T13" fmla="*/ 256 h 512"/>
              <a:gd name="T14" fmla="*/ 288 w 512"/>
              <a:gd name="T15" fmla="*/ 272 h 512"/>
              <a:gd name="T16" fmla="*/ 271 w 512"/>
              <a:gd name="T17" fmla="*/ 256 h 512"/>
              <a:gd name="T18" fmla="*/ 288 w 512"/>
              <a:gd name="T19" fmla="*/ 239 h 512"/>
              <a:gd name="T20" fmla="*/ 224 w 512"/>
              <a:gd name="T21" fmla="*/ 239 h 512"/>
              <a:gd name="T22" fmla="*/ 240 w 512"/>
              <a:gd name="T23" fmla="*/ 256 h 512"/>
              <a:gd name="T24" fmla="*/ 224 w 512"/>
              <a:gd name="T25" fmla="*/ 272 h 512"/>
              <a:gd name="T26" fmla="*/ 207 w 512"/>
              <a:gd name="T27" fmla="*/ 256 h 512"/>
              <a:gd name="T28" fmla="*/ 224 w 512"/>
              <a:gd name="T29" fmla="*/ 239 h 512"/>
              <a:gd name="T30" fmla="*/ 138 w 512"/>
              <a:gd name="T31" fmla="*/ 373 h 512"/>
              <a:gd name="T32" fmla="*/ 373 w 512"/>
              <a:gd name="T33" fmla="*/ 373 h 512"/>
              <a:gd name="T34" fmla="*/ 373 w 512"/>
              <a:gd name="T35" fmla="*/ 138 h 512"/>
              <a:gd name="T36" fmla="*/ 138 w 512"/>
              <a:gd name="T37" fmla="*/ 138 h 512"/>
              <a:gd name="T38" fmla="*/ 138 w 512"/>
              <a:gd name="T39" fmla="*/ 373 h 512"/>
              <a:gd name="T40" fmla="*/ 256 w 512"/>
              <a:gd name="T41" fmla="*/ 160 h 512"/>
              <a:gd name="T42" fmla="*/ 352 w 512"/>
              <a:gd name="T43" fmla="*/ 256 h 512"/>
              <a:gd name="T44" fmla="*/ 256 w 512"/>
              <a:gd name="T45" fmla="*/ 352 h 512"/>
              <a:gd name="T46" fmla="*/ 160 w 512"/>
              <a:gd name="T47" fmla="*/ 256 h 512"/>
              <a:gd name="T48" fmla="*/ 256 w 512"/>
              <a:gd name="T49" fmla="*/ 160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394 w 512"/>
              <a:gd name="T61" fmla="*/ 373 h 512"/>
              <a:gd name="T62" fmla="*/ 373 w 512"/>
              <a:gd name="T63" fmla="*/ 394 h 512"/>
              <a:gd name="T64" fmla="*/ 138 w 512"/>
              <a:gd name="T65" fmla="*/ 394 h 512"/>
              <a:gd name="T66" fmla="*/ 117 w 512"/>
              <a:gd name="T67" fmla="*/ 373 h 512"/>
              <a:gd name="T68" fmla="*/ 117 w 512"/>
              <a:gd name="T69" fmla="*/ 138 h 512"/>
              <a:gd name="T70" fmla="*/ 138 w 512"/>
              <a:gd name="T71" fmla="*/ 117 h 512"/>
              <a:gd name="T72" fmla="*/ 373 w 512"/>
              <a:gd name="T73" fmla="*/ 117 h 512"/>
              <a:gd name="T74" fmla="*/ 394 w 512"/>
              <a:gd name="T75" fmla="*/ 138 h 512"/>
              <a:gd name="T76" fmla="*/ 394 w 512"/>
              <a:gd name="T77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330"/>
                </a:moveTo>
                <a:cubicBezTo>
                  <a:pt x="297" y="330"/>
                  <a:pt x="330" y="297"/>
                  <a:pt x="330" y="256"/>
                </a:cubicBezTo>
                <a:cubicBezTo>
                  <a:pt x="330" y="214"/>
                  <a:pt x="297" y="181"/>
                  <a:pt x="256" y="181"/>
                </a:cubicBez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lose/>
                <a:moveTo>
                  <a:pt x="288" y="239"/>
                </a:moveTo>
                <a:cubicBezTo>
                  <a:pt x="297" y="239"/>
                  <a:pt x="304" y="247"/>
                  <a:pt x="304" y="256"/>
                </a:cubicBezTo>
                <a:cubicBezTo>
                  <a:pt x="304" y="265"/>
                  <a:pt x="297" y="272"/>
                  <a:pt x="288" y="272"/>
                </a:cubicBezTo>
                <a:cubicBezTo>
                  <a:pt x="279" y="272"/>
                  <a:pt x="271" y="265"/>
                  <a:pt x="271" y="256"/>
                </a:cubicBezTo>
                <a:cubicBezTo>
                  <a:pt x="271" y="247"/>
                  <a:pt x="279" y="239"/>
                  <a:pt x="288" y="239"/>
                </a:cubicBezTo>
                <a:close/>
                <a:moveTo>
                  <a:pt x="224" y="239"/>
                </a:moveTo>
                <a:cubicBezTo>
                  <a:pt x="233" y="239"/>
                  <a:pt x="240" y="247"/>
                  <a:pt x="240" y="256"/>
                </a:cubicBezTo>
                <a:cubicBezTo>
                  <a:pt x="240" y="265"/>
                  <a:pt x="233" y="272"/>
                  <a:pt x="224" y="272"/>
                </a:cubicBezTo>
                <a:cubicBezTo>
                  <a:pt x="215" y="272"/>
                  <a:pt x="207" y="265"/>
                  <a:pt x="207" y="256"/>
                </a:cubicBezTo>
                <a:cubicBezTo>
                  <a:pt x="207" y="247"/>
                  <a:pt x="215" y="239"/>
                  <a:pt x="224" y="239"/>
                </a:cubicBezTo>
                <a:close/>
                <a:moveTo>
                  <a:pt x="138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373"/>
                </a:lnTo>
                <a:close/>
                <a:moveTo>
                  <a:pt x="256" y="160"/>
                </a:moveTo>
                <a:cubicBezTo>
                  <a:pt x="309" y="160"/>
                  <a:pt x="352" y="20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73"/>
                </a:moveTo>
                <a:cubicBezTo>
                  <a:pt x="394" y="385"/>
                  <a:pt x="385" y="394"/>
                  <a:pt x="373" y="394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27" y="394"/>
                  <a:pt x="117" y="385"/>
                  <a:pt x="117" y="373"/>
                </a:cubicBezTo>
                <a:cubicBezTo>
                  <a:pt x="117" y="138"/>
                  <a:pt x="117" y="138"/>
                  <a:pt x="117" y="138"/>
                </a:cubicBezTo>
                <a:cubicBezTo>
                  <a:pt x="117" y="127"/>
                  <a:pt x="127" y="117"/>
                  <a:pt x="138" y="117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85" y="117"/>
                  <a:pt x="394" y="127"/>
                  <a:pt x="394" y="138"/>
                </a:cubicBezTo>
                <a:lnTo>
                  <a:pt x="394" y="37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5" name="Group 405"/>
          <p:cNvGrpSpPr>
            <a:grpSpLocks noChangeAspect="1"/>
          </p:cNvGrpSpPr>
          <p:nvPr/>
        </p:nvGrpSpPr>
        <p:grpSpPr bwMode="auto">
          <a:xfrm>
            <a:off x="947829" y="2930725"/>
            <a:ext cx="369021" cy="369021"/>
            <a:chOff x="5821" y="1571"/>
            <a:chExt cx="340" cy="340"/>
          </a:xfrm>
          <a:solidFill>
            <a:schemeClr val="accent5"/>
          </a:solidFill>
        </p:grpSpPr>
        <p:sp>
          <p:nvSpPr>
            <p:cNvPr id="286" name="Freeform 406"/>
            <p:cNvSpPr>
              <a:spLocks noEditPoints="1"/>
            </p:cNvSpPr>
            <p:nvPr/>
          </p:nvSpPr>
          <p:spPr bwMode="auto">
            <a:xfrm>
              <a:off x="5821" y="15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407"/>
            <p:cNvSpPr>
              <a:spLocks noEditPoints="1"/>
            </p:cNvSpPr>
            <p:nvPr/>
          </p:nvSpPr>
          <p:spPr bwMode="auto">
            <a:xfrm>
              <a:off x="5899" y="1649"/>
              <a:ext cx="184" cy="184"/>
            </a:xfrm>
            <a:custGeom>
              <a:avLst/>
              <a:gdLst>
                <a:gd name="T0" fmla="*/ 256 w 277"/>
                <a:gd name="T1" fmla="*/ 0 h 277"/>
                <a:gd name="T2" fmla="*/ 21 w 277"/>
                <a:gd name="T3" fmla="*/ 0 h 277"/>
                <a:gd name="T4" fmla="*/ 0 w 277"/>
                <a:gd name="T5" fmla="*/ 21 h 277"/>
                <a:gd name="T6" fmla="*/ 0 w 277"/>
                <a:gd name="T7" fmla="*/ 256 h 277"/>
                <a:gd name="T8" fmla="*/ 21 w 277"/>
                <a:gd name="T9" fmla="*/ 277 h 277"/>
                <a:gd name="T10" fmla="*/ 256 w 277"/>
                <a:gd name="T11" fmla="*/ 277 h 277"/>
                <a:gd name="T12" fmla="*/ 277 w 277"/>
                <a:gd name="T13" fmla="*/ 256 h 277"/>
                <a:gd name="T14" fmla="*/ 277 w 277"/>
                <a:gd name="T15" fmla="*/ 21 h 277"/>
                <a:gd name="T16" fmla="*/ 256 w 277"/>
                <a:gd name="T17" fmla="*/ 0 h 277"/>
                <a:gd name="T18" fmla="*/ 256 w 277"/>
                <a:gd name="T19" fmla="*/ 256 h 277"/>
                <a:gd name="T20" fmla="*/ 21 w 277"/>
                <a:gd name="T21" fmla="*/ 256 h 277"/>
                <a:gd name="T22" fmla="*/ 21 w 277"/>
                <a:gd name="T23" fmla="*/ 21 h 277"/>
                <a:gd name="T24" fmla="*/ 256 w 277"/>
                <a:gd name="T25" fmla="*/ 21 h 277"/>
                <a:gd name="T26" fmla="*/ 256 w 277"/>
                <a:gd name="T27" fmla="*/ 256 h 277"/>
                <a:gd name="T28" fmla="*/ 139 w 277"/>
                <a:gd name="T29" fmla="*/ 235 h 277"/>
                <a:gd name="T30" fmla="*/ 235 w 277"/>
                <a:gd name="T31" fmla="*/ 139 h 277"/>
                <a:gd name="T32" fmla="*/ 139 w 277"/>
                <a:gd name="T33" fmla="*/ 43 h 277"/>
                <a:gd name="T34" fmla="*/ 43 w 277"/>
                <a:gd name="T35" fmla="*/ 139 h 277"/>
                <a:gd name="T36" fmla="*/ 139 w 277"/>
                <a:gd name="T37" fmla="*/ 235 h 277"/>
                <a:gd name="T38" fmla="*/ 139 w 277"/>
                <a:gd name="T39" fmla="*/ 64 h 277"/>
                <a:gd name="T40" fmla="*/ 213 w 277"/>
                <a:gd name="T41" fmla="*/ 139 h 277"/>
                <a:gd name="T42" fmla="*/ 139 w 277"/>
                <a:gd name="T43" fmla="*/ 213 h 277"/>
                <a:gd name="T44" fmla="*/ 64 w 277"/>
                <a:gd name="T45" fmla="*/ 139 h 277"/>
                <a:gd name="T46" fmla="*/ 139 w 277"/>
                <a:gd name="T47" fmla="*/ 64 h 277"/>
                <a:gd name="T48" fmla="*/ 128 w 277"/>
                <a:gd name="T49" fmla="*/ 117 h 277"/>
                <a:gd name="T50" fmla="*/ 128 w 277"/>
                <a:gd name="T51" fmla="*/ 96 h 277"/>
                <a:gd name="T52" fmla="*/ 139 w 277"/>
                <a:gd name="T53" fmla="*/ 85 h 277"/>
                <a:gd name="T54" fmla="*/ 149 w 277"/>
                <a:gd name="T55" fmla="*/ 96 h 277"/>
                <a:gd name="T56" fmla="*/ 149 w 277"/>
                <a:gd name="T57" fmla="*/ 117 h 277"/>
                <a:gd name="T58" fmla="*/ 139 w 277"/>
                <a:gd name="T59" fmla="*/ 128 h 277"/>
                <a:gd name="T60" fmla="*/ 128 w 277"/>
                <a:gd name="T61" fmla="*/ 117 h 277"/>
                <a:gd name="T62" fmla="*/ 85 w 277"/>
                <a:gd name="T63" fmla="*/ 160 h 277"/>
                <a:gd name="T64" fmla="*/ 96 w 277"/>
                <a:gd name="T65" fmla="*/ 149 h 277"/>
                <a:gd name="T66" fmla="*/ 117 w 277"/>
                <a:gd name="T67" fmla="*/ 149 h 277"/>
                <a:gd name="T68" fmla="*/ 128 w 277"/>
                <a:gd name="T69" fmla="*/ 160 h 277"/>
                <a:gd name="T70" fmla="*/ 117 w 277"/>
                <a:gd name="T71" fmla="*/ 171 h 277"/>
                <a:gd name="T72" fmla="*/ 96 w 277"/>
                <a:gd name="T73" fmla="*/ 171 h 277"/>
                <a:gd name="T74" fmla="*/ 85 w 277"/>
                <a:gd name="T75" fmla="*/ 160 h 277"/>
                <a:gd name="T76" fmla="*/ 149 w 277"/>
                <a:gd name="T77" fmla="*/ 160 h 277"/>
                <a:gd name="T78" fmla="*/ 160 w 277"/>
                <a:gd name="T79" fmla="*/ 149 h 277"/>
                <a:gd name="T80" fmla="*/ 181 w 277"/>
                <a:gd name="T81" fmla="*/ 149 h 277"/>
                <a:gd name="T82" fmla="*/ 192 w 277"/>
                <a:gd name="T83" fmla="*/ 160 h 277"/>
                <a:gd name="T84" fmla="*/ 181 w 277"/>
                <a:gd name="T85" fmla="*/ 171 h 277"/>
                <a:gd name="T86" fmla="*/ 160 w 277"/>
                <a:gd name="T87" fmla="*/ 171 h 277"/>
                <a:gd name="T88" fmla="*/ 149 w 277"/>
                <a:gd name="T89" fmla="*/ 16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7" h="277">
                  <a:moveTo>
                    <a:pt x="25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8"/>
                    <a:pt x="10" y="277"/>
                    <a:pt x="21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68" y="277"/>
                    <a:pt x="277" y="268"/>
                    <a:pt x="277" y="256"/>
                  </a:cubicBezTo>
                  <a:cubicBezTo>
                    <a:pt x="277" y="21"/>
                    <a:pt x="277" y="21"/>
                    <a:pt x="277" y="21"/>
                  </a:cubicBezTo>
                  <a:cubicBezTo>
                    <a:pt x="277" y="10"/>
                    <a:pt x="268" y="0"/>
                    <a:pt x="256" y="0"/>
                  </a:cubicBezTo>
                  <a:close/>
                  <a:moveTo>
                    <a:pt x="256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56" y="21"/>
                    <a:pt x="256" y="21"/>
                    <a:pt x="256" y="21"/>
                  </a:cubicBezTo>
                  <a:lnTo>
                    <a:pt x="256" y="256"/>
                  </a:lnTo>
                  <a:close/>
                  <a:moveTo>
                    <a:pt x="139" y="235"/>
                  </a:moveTo>
                  <a:cubicBezTo>
                    <a:pt x="192" y="235"/>
                    <a:pt x="235" y="192"/>
                    <a:pt x="235" y="139"/>
                  </a:cubicBezTo>
                  <a:cubicBezTo>
                    <a:pt x="235" y="86"/>
                    <a:pt x="192" y="43"/>
                    <a:pt x="139" y="43"/>
                  </a:cubicBezTo>
                  <a:cubicBezTo>
                    <a:pt x="86" y="43"/>
                    <a:pt x="43" y="86"/>
                    <a:pt x="43" y="139"/>
                  </a:cubicBezTo>
                  <a:cubicBezTo>
                    <a:pt x="43" y="192"/>
                    <a:pt x="86" y="235"/>
                    <a:pt x="139" y="235"/>
                  </a:cubicBezTo>
                  <a:close/>
                  <a:moveTo>
                    <a:pt x="139" y="64"/>
                  </a:moveTo>
                  <a:cubicBezTo>
                    <a:pt x="180" y="64"/>
                    <a:pt x="213" y="97"/>
                    <a:pt x="213" y="139"/>
                  </a:cubicBezTo>
                  <a:cubicBezTo>
                    <a:pt x="213" y="180"/>
                    <a:pt x="180" y="213"/>
                    <a:pt x="139" y="213"/>
                  </a:cubicBezTo>
                  <a:cubicBezTo>
                    <a:pt x="97" y="213"/>
                    <a:pt x="64" y="180"/>
                    <a:pt x="64" y="139"/>
                  </a:cubicBezTo>
                  <a:cubicBezTo>
                    <a:pt x="64" y="97"/>
                    <a:pt x="97" y="64"/>
                    <a:pt x="139" y="64"/>
                  </a:cubicBezTo>
                  <a:close/>
                  <a:moveTo>
                    <a:pt x="128" y="117"/>
                  </a:moveTo>
                  <a:cubicBezTo>
                    <a:pt x="128" y="96"/>
                    <a:pt x="128" y="96"/>
                    <a:pt x="128" y="96"/>
                  </a:cubicBezTo>
                  <a:cubicBezTo>
                    <a:pt x="128" y="90"/>
                    <a:pt x="133" y="85"/>
                    <a:pt x="139" y="85"/>
                  </a:cubicBezTo>
                  <a:cubicBezTo>
                    <a:pt x="145" y="85"/>
                    <a:pt x="149" y="90"/>
                    <a:pt x="149" y="96"/>
                  </a:cubicBezTo>
                  <a:cubicBezTo>
                    <a:pt x="149" y="117"/>
                    <a:pt x="149" y="117"/>
                    <a:pt x="149" y="117"/>
                  </a:cubicBezTo>
                  <a:cubicBezTo>
                    <a:pt x="149" y="123"/>
                    <a:pt x="145" y="128"/>
                    <a:pt x="139" y="128"/>
                  </a:cubicBezTo>
                  <a:cubicBezTo>
                    <a:pt x="133" y="128"/>
                    <a:pt x="128" y="123"/>
                    <a:pt x="128" y="117"/>
                  </a:cubicBezTo>
                  <a:close/>
                  <a:moveTo>
                    <a:pt x="85" y="160"/>
                  </a:moveTo>
                  <a:cubicBezTo>
                    <a:pt x="85" y="154"/>
                    <a:pt x="90" y="149"/>
                    <a:pt x="96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23" y="149"/>
                    <a:pt x="128" y="154"/>
                    <a:pt x="128" y="160"/>
                  </a:cubicBezTo>
                  <a:cubicBezTo>
                    <a:pt x="128" y="166"/>
                    <a:pt x="123" y="171"/>
                    <a:pt x="117" y="171"/>
                  </a:cubicBezTo>
                  <a:cubicBezTo>
                    <a:pt x="96" y="171"/>
                    <a:pt x="96" y="171"/>
                    <a:pt x="96" y="171"/>
                  </a:cubicBezTo>
                  <a:cubicBezTo>
                    <a:pt x="90" y="171"/>
                    <a:pt x="85" y="166"/>
                    <a:pt x="85" y="160"/>
                  </a:cubicBezTo>
                  <a:close/>
                  <a:moveTo>
                    <a:pt x="149" y="160"/>
                  </a:moveTo>
                  <a:cubicBezTo>
                    <a:pt x="149" y="154"/>
                    <a:pt x="154" y="149"/>
                    <a:pt x="160" y="149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87" y="149"/>
                    <a:pt x="192" y="154"/>
                    <a:pt x="192" y="160"/>
                  </a:cubicBezTo>
                  <a:cubicBezTo>
                    <a:pt x="192" y="166"/>
                    <a:pt x="187" y="171"/>
                    <a:pt x="181" y="171"/>
                  </a:cubicBezTo>
                  <a:cubicBezTo>
                    <a:pt x="160" y="171"/>
                    <a:pt x="160" y="171"/>
                    <a:pt x="160" y="171"/>
                  </a:cubicBezTo>
                  <a:cubicBezTo>
                    <a:pt x="154" y="171"/>
                    <a:pt x="149" y="166"/>
                    <a:pt x="149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8" name="Freeform 411"/>
          <p:cNvSpPr>
            <a:spLocks noChangeAspect="1" noEditPoints="1"/>
          </p:cNvSpPr>
          <p:nvPr/>
        </p:nvSpPr>
        <p:spPr bwMode="auto">
          <a:xfrm>
            <a:off x="450955" y="2930725"/>
            <a:ext cx="369021" cy="369021"/>
          </a:xfrm>
          <a:custGeom>
            <a:avLst/>
            <a:gdLst>
              <a:gd name="T0" fmla="*/ 138 w 512"/>
              <a:gd name="T1" fmla="*/ 373 h 512"/>
              <a:gd name="T2" fmla="*/ 373 w 512"/>
              <a:gd name="T3" fmla="*/ 373 h 512"/>
              <a:gd name="T4" fmla="*/ 373 w 512"/>
              <a:gd name="T5" fmla="*/ 138 h 512"/>
              <a:gd name="T6" fmla="*/ 138 w 512"/>
              <a:gd name="T7" fmla="*/ 138 h 512"/>
              <a:gd name="T8" fmla="*/ 138 w 512"/>
              <a:gd name="T9" fmla="*/ 373 h 512"/>
              <a:gd name="T10" fmla="*/ 256 w 512"/>
              <a:gd name="T11" fmla="*/ 160 h 512"/>
              <a:gd name="T12" fmla="*/ 352 w 512"/>
              <a:gd name="T13" fmla="*/ 256 h 512"/>
              <a:gd name="T14" fmla="*/ 256 w 512"/>
              <a:gd name="T15" fmla="*/ 352 h 512"/>
              <a:gd name="T16" fmla="*/ 160 w 512"/>
              <a:gd name="T17" fmla="*/ 256 h 512"/>
              <a:gd name="T18" fmla="*/ 256 w 512"/>
              <a:gd name="T19" fmla="*/ 160 h 512"/>
              <a:gd name="T20" fmla="*/ 256 w 512"/>
              <a:gd name="T21" fmla="*/ 330 h 512"/>
              <a:gd name="T22" fmla="*/ 330 w 512"/>
              <a:gd name="T23" fmla="*/ 256 h 512"/>
              <a:gd name="T24" fmla="*/ 256 w 512"/>
              <a:gd name="T25" fmla="*/ 181 h 512"/>
              <a:gd name="T26" fmla="*/ 181 w 512"/>
              <a:gd name="T27" fmla="*/ 256 h 512"/>
              <a:gd name="T28" fmla="*/ 256 w 512"/>
              <a:gd name="T29" fmla="*/ 330 h 512"/>
              <a:gd name="T30" fmla="*/ 277 w 512"/>
              <a:gd name="T31" fmla="*/ 266 h 512"/>
              <a:gd name="T32" fmla="*/ 298 w 512"/>
              <a:gd name="T33" fmla="*/ 266 h 512"/>
              <a:gd name="T34" fmla="*/ 309 w 512"/>
              <a:gd name="T35" fmla="*/ 277 h 512"/>
              <a:gd name="T36" fmla="*/ 298 w 512"/>
              <a:gd name="T37" fmla="*/ 288 h 512"/>
              <a:gd name="T38" fmla="*/ 277 w 512"/>
              <a:gd name="T39" fmla="*/ 288 h 512"/>
              <a:gd name="T40" fmla="*/ 266 w 512"/>
              <a:gd name="T41" fmla="*/ 277 h 512"/>
              <a:gd name="T42" fmla="*/ 277 w 512"/>
              <a:gd name="T43" fmla="*/ 266 h 512"/>
              <a:gd name="T44" fmla="*/ 245 w 512"/>
              <a:gd name="T45" fmla="*/ 213 h 512"/>
              <a:gd name="T46" fmla="*/ 256 w 512"/>
              <a:gd name="T47" fmla="*/ 202 h 512"/>
              <a:gd name="T48" fmla="*/ 266 w 512"/>
              <a:gd name="T49" fmla="*/ 213 h 512"/>
              <a:gd name="T50" fmla="*/ 266 w 512"/>
              <a:gd name="T51" fmla="*/ 234 h 512"/>
              <a:gd name="T52" fmla="*/ 256 w 512"/>
              <a:gd name="T53" fmla="*/ 245 h 512"/>
              <a:gd name="T54" fmla="*/ 245 w 512"/>
              <a:gd name="T55" fmla="*/ 234 h 512"/>
              <a:gd name="T56" fmla="*/ 245 w 512"/>
              <a:gd name="T57" fmla="*/ 213 h 512"/>
              <a:gd name="T58" fmla="*/ 213 w 512"/>
              <a:gd name="T59" fmla="*/ 266 h 512"/>
              <a:gd name="T60" fmla="*/ 234 w 512"/>
              <a:gd name="T61" fmla="*/ 266 h 512"/>
              <a:gd name="T62" fmla="*/ 245 w 512"/>
              <a:gd name="T63" fmla="*/ 277 h 512"/>
              <a:gd name="T64" fmla="*/ 234 w 512"/>
              <a:gd name="T65" fmla="*/ 288 h 512"/>
              <a:gd name="T66" fmla="*/ 213 w 512"/>
              <a:gd name="T67" fmla="*/ 288 h 512"/>
              <a:gd name="T68" fmla="*/ 202 w 512"/>
              <a:gd name="T69" fmla="*/ 277 h 512"/>
              <a:gd name="T70" fmla="*/ 213 w 512"/>
              <a:gd name="T71" fmla="*/ 266 h 512"/>
              <a:gd name="T72" fmla="*/ 256 w 512"/>
              <a:gd name="T73" fmla="*/ 0 h 512"/>
              <a:gd name="T74" fmla="*/ 0 w 512"/>
              <a:gd name="T75" fmla="*/ 256 h 512"/>
              <a:gd name="T76" fmla="*/ 256 w 512"/>
              <a:gd name="T77" fmla="*/ 512 h 512"/>
              <a:gd name="T78" fmla="*/ 512 w 512"/>
              <a:gd name="T79" fmla="*/ 256 h 512"/>
              <a:gd name="T80" fmla="*/ 256 w 512"/>
              <a:gd name="T81" fmla="*/ 0 h 512"/>
              <a:gd name="T82" fmla="*/ 394 w 512"/>
              <a:gd name="T83" fmla="*/ 373 h 512"/>
              <a:gd name="T84" fmla="*/ 373 w 512"/>
              <a:gd name="T85" fmla="*/ 394 h 512"/>
              <a:gd name="T86" fmla="*/ 138 w 512"/>
              <a:gd name="T87" fmla="*/ 394 h 512"/>
              <a:gd name="T88" fmla="*/ 117 w 512"/>
              <a:gd name="T89" fmla="*/ 373 h 512"/>
              <a:gd name="T90" fmla="*/ 117 w 512"/>
              <a:gd name="T91" fmla="*/ 138 h 512"/>
              <a:gd name="T92" fmla="*/ 138 w 512"/>
              <a:gd name="T93" fmla="*/ 117 h 512"/>
              <a:gd name="T94" fmla="*/ 373 w 512"/>
              <a:gd name="T95" fmla="*/ 117 h 512"/>
              <a:gd name="T96" fmla="*/ 394 w 512"/>
              <a:gd name="T97" fmla="*/ 138 h 512"/>
              <a:gd name="T98" fmla="*/ 394 w 512"/>
              <a:gd name="T99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138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373"/>
                </a:lnTo>
                <a:close/>
                <a:moveTo>
                  <a:pt x="256" y="160"/>
                </a:moveTo>
                <a:cubicBezTo>
                  <a:pt x="309" y="160"/>
                  <a:pt x="352" y="20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lose/>
                <a:moveTo>
                  <a:pt x="256" y="330"/>
                </a:moveTo>
                <a:cubicBezTo>
                  <a:pt x="297" y="330"/>
                  <a:pt x="330" y="297"/>
                  <a:pt x="330" y="256"/>
                </a:cubicBezTo>
                <a:cubicBezTo>
                  <a:pt x="330" y="214"/>
                  <a:pt x="297" y="181"/>
                  <a:pt x="256" y="181"/>
                </a:cubicBez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lose/>
                <a:moveTo>
                  <a:pt x="277" y="266"/>
                </a:moveTo>
                <a:cubicBezTo>
                  <a:pt x="298" y="266"/>
                  <a:pt x="298" y="266"/>
                  <a:pt x="298" y="266"/>
                </a:cubicBezTo>
                <a:cubicBezTo>
                  <a:pt x="304" y="266"/>
                  <a:pt x="309" y="271"/>
                  <a:pt x="309" y="277"/>
                </a:cubicBezTo>
                <a:cubicBezTo>
                  <a:pt x="309" y="283"/>
                  <a:pt x="304" y="288"/>
                  <a:pt x="298" y="288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1" y="288"/>
                  <a:pt x="266" y="283"/>
                  <a:pt x="266" y="277"/>
                </a:cubicBezTo>
                <a:cubicBezTo>
                  <a:pt x="266" y="271"/>
                  <a:pt x="271" y="266"/>
                  <a:pt x="277" y="266"/>
                </a:cubicBezTo>
                <a:close/>
                <a:moveTo>
                  <a:pt x="245" y="213"/>
                </a:moveTo>
                <a:cubicBezTo>
                  <a:pt x="245" y="207"/>
                  <a:pt x="250" y="202"/>
                  <a:pt x="256" y="202"/>
                </a:cubicBezTo>
                <a:cubicBezTo>
                  <a:pt x="262" y="202"/>
                  <a:pt x="266" y="207"/>
                  <a:pt x="266" y="213"/>
                </a:cubicBezTo>
                <a:cubicBezTo>
                  <a:pt x="266" y="234"/>
                  <a:pt x="266" y="234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250" y="245"/>
                  <a:pt x="245" y="240"/>
                  <a:pt x="245" y="234"/>
                </a:cubicBezTo>
                <a:lnTo>
                  <a:pt x="245" y="213"/>
                </a:lnTo>
                <a:close/>
                <a:moveTo>
                  <a:pt x="213" y="266"/>
                </a:moveTo>
                <a:cubicBezTo>
                  <a:pt x="234" y="266"/>
                  <a:pt x="234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cubicBezTo>
                  <a:pt x="245" y="283"/>
                  <a:pt x="240" y="288"/>
                  <a:pt x="234" y="288"/>
                </a:cubicBezTo>
                <a:cubicBezTo>
                  <a:pt x="213" y="288"/>
                  <a:pt x="213" y="288"/>
                  <a:pt x="213" y="288"/>
                </a:cubicBezTo>
                <a:cubicBezTo>
                  <a:pt x="207" y="288"/>
                  <a:pt x="202" y="283"/>
                  <a:pt x="202" y="277"/>
                </a:cubicBezTo>
                <a:cubicBezTo>
                  <a:pt x="202" y="271"/>
                  <a:pt x="207" y="266"/>
                  <a:pt x="213" y="26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73"/>
                </a:moveTo>
                <a:cubicBezTo>
                  <a:pt x="394" y="385"/>
                  <a:pt x="385" y="394"/>
                  <a:pt x="373" y="394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27" y="394"/>
                  <a:pt x="117" y="385"/>
                  <a:pt x="117" y="373"/>
                </a:cubicBezTo>
                <a:cubicBezTo>
                  <a:pt x="117" y="138"/>
                  <a:pt x="117" y="138"/>
                  <a:pt x="117" y="138"/>
                </a:cubicBezTo>
                <a:cubicBezTo>
                  <a:pt x="117" y="127"/>
                  <a:pt x="127" y="117"/>
                  <a:pt x="138" y="117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85" y="117"/>
                  <a:pt x="394" y="127"/>
                  <a:pt x="394" y="138"/>
                </a:cubicBezTo>
                <a:lnTo>
                  <a:pt x="394" y="37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9" name="Group 454"/>
          <p:cNvGrpSpPr>
            <a:grpSpLocks noChangeAspect="1"/>
          </p:cNvGrpSpPr>
          <p:nvPr/>
        </p:nvGrpSpPr>
        <p:grpSpPr bwMode="auto">
          <a:xfrm>
            <a:off x="2935325" y="2930725"/>
            <a:ext cx="369021" cy="369021"/>
            <a:chOff x="1912" y="1576"/>
            <a:chExt cx="340" cy="340"/>
          </a:xfrm>
          <a:solidFill>
            <a:schemeClr val="accent5"/>
          </a:solidFill>
        </p:grpSpPr>
        <p:sp>
          <p:nvSpPr>
            <p:cNvPr id="290" name="Freeform 455"/>
            <p:cNvSpPr>
              <a:spLocks noEditPoints="1"/>
            </p:cNvSpPr>
            <p:nvPr/>
          </p:nvSpPr>
          <p:spPr bwMode="auto">
            <a:xfrm>
              <a:off x="2004" y="1653"/>
              <a:ext cx="171" cy="170"/>
            </a:xfrm>
            <a:custGeom>
              <a:avLst/>
              <a:gdLst>
                <a:gd name="T0" fmla="*/ 253 w 258"/>
                <a:gd name="T1" fmla="*/ 49 h 256"/>
                <a:gd name="T2" fmla="*/ 238 w 258"/>
                <a:gd name="T3" fmla="*/ 49 h 256"/>
                <a:gd name="T4" fmla="*/ 193 w 258"/>
                <a:gd name="T5" fmla="*/ 94 h 256"/>
                <a:gd name="T6" fmla="*/ 163 w 258"/>
                <a:gd name="T7" fmla="*/ 64 h 256"/>
                <a:gd name="T8" fmla="*/ 208 w 258"/>
                <a:gd name="T9" fmla="*/ 19 h 256"/>
                <a:gd name="T10" fmla="*/ 208 w 258"/>
                <a:gd name="T11" fmla="*/ 4 h 256"/>
                <a:gd name="T12" fmla="*/ 193 w 258"/>
                <a:gd name="T13" fmla="*/ 4 h 256"/>
                <a:gd name="T14" fmla="*/ 148 w 258"/>
                <a:gd name="T15" fmla="*/ 49 h 256"/>
                <a:gd name="T16" fmla="*/ 133 w 258"/>
                <a:gd name="T17" fmla="*/ 34 h 256"/>
                <a:gd name="T18" fmla="*/ 125 w 258"/>
                <a:gd name="T19" fmla="*/ 27 h 256"/>
                <a:gd name="T20" fmla="*/ 110 w 258"/>
                <a:gd name="T21" fmla="*/ 27 h 256"/>
                <a:gd name="T22" fmla="*/ 110 w 258"/>
                <a:gd name="T23" fmla="*/ 42 h 256"/>
                <a:gd name="T24" fmla="*/ 72 w 258"/>
                <a:gd name="T25" fmla="*/ 79 h 256"/>
                <a:gd name="T26" fmla="*/ 51 w 258"/>
                <a:gd name="T27" fmla="*/ 132 h 256"/>
                <a:gd name="T28" fmla="*/ 65 w 258"/>
                <a:gd name="T29" fmla="*/ 177 h 256"/>
                <a:gd name="T30" fmla="*/ 5 w 258"/>
                <a:gd name="T31" fmla="*/ 238 h 256"/>
                <a:gd name="T32" fmla="*/ 5 w 258"/>
                <a:gd name="T33" fmla="*/ 253 h 256"/>
                <a:gd name="T34" fmla="*/ 12 w 258"/>
                <a:gd name="T35" fmla="*/ 256 h 256"/>
                <a:gd name="T36" fmla="*/ 20 w 258"/>
                <a:gd name="T37" fmla="*/ 253 h 256"/>
                <a:gd name="T38" fmla="*/ 81 w 258"/>
                <a:gd name="T39" fmla="*/ 192 h 256"/>
                <a:gd name="T40" fmla="*/ 125 w 258"/>
                <a:gd name="T41" fmla="*/ 207 h 256"/>
                <a:gd name="T42" fmla="*/ 178 w 258"/>
                <a:gd name="T43" fmla="*/ 185 h 256"/>
                <a:gd name="T44" fmla="*/ 216 w 258"/>
                <a:gd name="T45" fmla="*/ 147 h 256"/>
                <a:gd name="T46" fmla="*/ 216 w 258"/>
                <a:gd name="T47" fmla="*/ 147 h 256"/>
                <a:gd name="T48" fmla="*/ 223 w 258"/>
                <a:gd name="T49" fmla="*/ 150 h 256"/>
                <a:gd name="T50" fmla="*/ 231 w 258"/>
                <a:gd name="T51" fmla="*/ 147 h 256"/>
                <a:gd name="T52" fmla="*/ 231 w 258"/>
                <a:gd name="T53" fmla="*/ 132 h 256"/>
                <a:gd name="T54" fmla="*/ 223 w 258"/>
                <a:gd name="T55" fmla="*/ 125 h 256"/>
                <a:gd name="T56" fmla="*/ 208 w 258"/>
                <a:gd name="T57" fmla="*/ 109 h 256"/>
                <a:gd name="T58" fmla="*/ 253 w 258"/>
                <a:gd name="T59" fmla="*/ 64 h 256"/>
                <a:gd name="T60" fmla="*/ 253 w 258"/>
                <a:gd name="T61" fmla="*/ 49 h 256"/>
                <a:gd name="T62" fmla="*/ 163 w 258"/>
                <a:gd name="T63" fmla="*/ 170 h 256"/>
                <a:gd name="T64" fmla="*/ 125 w 258"/>
                <a:gd name="T65" fmla="*/ 185 h 256"/>
                <a:gd name="T66" fmla="*/ 87 w 258"/>
                <a:gd name="T67" fmla="*/ 170 h 256"/>
                <a:gd name="T68" fmla="*/ 72 w 258"/>
                <a:gd name="T69" fmla="*/ 132 h 256"/>
                <a:gd name="T70" fmla="*/ 87 w 258"/>
                <a:gd name="T71" fmla="*/ 94 h 256"/>
                <a:gd name="T72" fmla="*/ 125 w 258"/>
                <a:gd name="T73" fmla="*/ 57 h 256"/>
                <a:gd name="T74" fmla="*/ 201 w 258"/>
                <a:gd name="T75" fmla="*/ 132 h 256"/>
                <a:gd name="T76" fmla="*/ 163 w 258"/>
                <a:gd name="T77" fmla="*/ 17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8" h="256">
                  <a:moveTo>
                    <a:pt x="253" y="49"/>
                  </a:moveTo>
                  <a:cubicBezTo>
                    <a:pt x="249" y="45"/>
                    <a:pt x="243" y="45"/>
                    <a:pt x="238" y="49"/>
                  </a:cubicBezTo>
                  <a:cubicBezTo>
                    <a:pt x="193" y="94"/>
                    <a:pt x="193" y="94"/>
                    <a:pt x="193" y="94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208" y="19"/>
                    <a:pt x="208" y="19"/>
                    <a:pt x="208" y="19"/>
                  </a:cubicBezTo>
                  <a:cubicBezTo>
                    <a:pt x="212" y="15"/>
                    <a:pt x="212" y="8"/>
                    <a:pt x="208" y="4"/>
                  </a:cubicBezTo>
                  <a:cubicBezTo>
                    <a:pt x="204" y="0"/>
                    <a:pt x="197" y="0"/>
                    <a:pt x="193" y="4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1" y="22"/>
                    <a:pt x="114" y="22"/>
                    <a:pt x="110" y="27"/>
                  </a:cubicBezTo>
                  <a:cubicBezTo>
                    <a:pt x="106" y="31"/>
                    <a:pt x="106" y="37"/>
                    <a:pt x="110" y="42"/>
                  </a:cubicBezTo>
                  <a:cubicBezTo>
                    <a:pt x="72" y="79"/>
                    <a:pt x="72" y="79"/>
                    <a:pt x="72" y="79"/>
                  </a:cubicBezTo>
                  <a:cubicBezTo>
                    <a:pt x="58" y="93"/>
                    <a:pt x="51" y="112"/>
                    <a:pt x="51" y="132"/>
                  </a:cubicBezTo>
                  <a:cubicBezTo>
                    <a:pt x="51" y="148"/>
                    <a:pt x="56" y="164"/>
                    <a:pt x="65" y="177"/>
                  </a:cubicBezTo>
                  <a:cubicBezTo>
                    <a:pt x="5" y="238"/>
                    <a:pt x="5" y="238"/>
                    <a:pt x="5" y="238"/>
                  </a:cubicBezTo>
                  <a:cubicBezTo>
                    <a:pt x="0" y="242"/>
                    <a:pt x="0" y="249"/>
                    <a:pt x="5" y="253"/>
                  </a:cubicBezTo>
                  <a:cubicBezTo>
                    <a:pt x="7" y="255"/>
                    <a:pt x="9" y="256"/>
                    <a:pt x="12" y="256"/>
                  </a:cubicBezTo>
                  <a:cubicBezTo>
                    <a:pt x="15" y="256"/>
                    <a:pt x="18" y="255"/>
                    <a:pt x="20" y="253"/>
                  </a:cubicBezTo>
                  <a:cubicBezTo>
                    <a:pt x="81" y="192"/>
                    <a:pt x="81" y="192"/>
                    <a:pt x="81" y="192"/>
                  </a:cubicBezTo>
                  <a:cubicBezTo>
                    <a:pt x="93" y="202"/>
                    <a:pt x="109" y="207"/>
                    <a:pt x="125" y="207"/>
                  </a:cubicBezTo>
                  <a:cubicBezTo>
                    <a:pt x="145" y="207"/>
                    <a:pt x="164" y="199"/>
                    <a:pt x="178" y="185"/>
                  </a:cubicBezTo>
                  <a:cubicBezTo>
                    <a:pt x="216" y="147"/>
                    <a:pt x="216" y="147"/>
                    <a:pt x="216" y="147"/>
                  </a:cubicBezTo>
                  <a:cubicBezTo>
                    <a:pt x="216" y="147"/>
                    <a:pt x="216" y="147"/>
                    <a:pt x="216" y="147"/>
                  </a:cubicBezTo>
                  <a:cubicBezTo>
                    <a:pt x="218" y="149"/>
                    <a:pt x="221" y="150"/>
                    <a:pt x="223" y="150"/>
                  </a:cubicBezTo>
                  <a:cubicBezTo>
                    <a:pt x="226" y="150"/>
                    <a:pt x="229" y="149"/>
                    <a:pt x="231" y="147"/>
                  </a:cubicBezTo>
                  <a:cubicBezTo>
                    <a:pt x="235" y="143"/>
                    <a:pt x="235" y="136"/>
                    <a:pt x="231" y="132"/>
                  </a:cubicBezTo>
                  <a:cubicBezTo>
                    <a:pt x="223" y="125"/>
                    <a:pt x="223" y="125"/>
                    <a:pt x="223" y="125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53" y="64"/>
                    <a:pt x="253" y="64"/>
                    <a:pt x="253" y="64"/>
                  </a:cubicBezTo>
                  <a:cubicBezTo>
                    <a:pt x="258" y="60"/>
                    <a:pt x="258" y="53"/>
                    <a:pt x="253" y="49"/>
                  </a:cubicBezTo>
                  <a:close/>
                  <a:moveTo>
                    <a:pt x="163" y="170"/>
                  </a:moveTo>
                  <a:cubicBezTo>
                    <a:pt x="153" y="180"/>
                    <a:pt x="139" y="185"/>
                    <a:pt x="125" y="185"/>
                  </a:cubicBezTo>
                  <a:cubicBezTo>
                    <a:pt x="111" y="185"/>
                    <a:pt x="98" y="180"/>
                    <a:pt x="87" y="170"/>
                  </a:cubicBezTo>
                  <a:cubicBezTo>
                    <a:pt x="77" y="160"/>
                    <a:pt x="72" y="146"/>
                    <a:pt x="72" y="132"/>
                  </a:cubicBezTo>
                  <a:cubicBezTo>
                    <a:pt x="72" y="118"/>
                    <a:pt x="77" y="104"/>
                    <a:pt x="87" y="94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201" y="132"/>
                    <a:pt x="201" y="132"/>
                    <a:pt x="201" y="132"/>
                  </a:cubicBezTo>
                  <a:lnTo>
                    <a:pt x="16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456"/>
            <p:cNvSpPr>
              <a:spLocks noEditPoints="1"/>
            </p:cNvSpPr>
            <p:nvPr/>
          </p:nvSpPr>
          <p:spPr bwMode="auto">
            <a:xfrm>
              <a:off x="1912" y="157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2" name="Freeform 460"/>
          <p:cNvSpPr>
            <a:spLocks noChangeAspect="1" noEditPoints="1"/>
          </p:cNvSpPr>
          <p:nvPr/>
        </p:nvSpPr>
        <p:spPr bwMode="auto">
          <a:xfrm>
            <a:off x="2438451" y="2930721"/>
            <a:ext cx="369021" cy="370106"/>
          </a:xfrm>
          <a:custGeom>
            <a:avLst/>
            <a:gdLst>
              <a:gd name="T0" fmla="*/ 263 w 512"/>
              <a:gd name="T1" fmla="*/ 173 h 512"/>
              <a:gd name="T2" fmla="*/ 339 w 512"/>
              <a:gd name="T3" fmla="*/ 248 h 512"/>
              <a:gd name="T4" fmla="*/ 301 w 512"/>
              <a:gd name="T5" fmla="*/ 286 h 512"/>
              <a:gd name="T6" fmla="*/ 263 w 512"/>
              <a:gd name="T7" fmla="*/ 301 h 512"/>
              <a:gd name="T8" fmla="*/ 225 w 512"/>
              <a:gd name="T9" fmla="*/ 286 h 512"/>
              <a:gd name="T10" fmla="*/ 210 w 512"/>
              <a:gd name="T11" fmla="*/ 248 h 512"/>
              <a:gd name="T12" fmla="*/ 225 w 512"/>
              <a:gd name="T13" fmla="*/ 210 h 512"/>
              <a:gd name="T14" fmla="*/ 263 w 512"/>
              <a:gd name="T15" fmla="*/ 173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91 w 512"/>
              <a:gd name="T27" fmla="*/ 165 h 512"/>
              <a:gd name="T28" fmla="*/ 376 w 512"/>
              <a:gd name="T29" fmla="*/ 165 h 512"/>
              <a:gd name="T30" fmla="*/ 331 w 512"/>
              <a:gd name="T31" fmla="*/ 210 h 512"/>
              <a:gd name="T32" fmla="*/ 301 w 512"/>
              <a:gd name="T33" fmla="*/ 180 h 512"/>
              <a:gd name="T34" fmla="*/ 346 w 512"/>
              <a:gd name="T35" fmla="*/ 135 h 512"/>
              <a:gd name="T36" fmla="*/ 346 w 512"/>
              <a:gd name="T37" fmla="*/ 120 h 512"/>
              <a:gd name="T38" fmla="*/ 331 w 512"/>
              <a:gd name="T39" fmla="*/ 120 h 512"/>
              <a:gd name="T40" fmla="*/ 286 w 512"/>
              <a:gd name="T41" fmla="*/ 165 h 512"/>
              <a:gd name="T42" fmla="*/ 271 w 512"/>
              <a:gd name="T43" fmla="*/ 150 h 512"/>
              <a:gd name="T44" fmla="*/ 263 w 512"/>
              <a:gd name="T45" fmla="*/ 143 h 512"/>
              <a:gd name="T46" fmla="*/ 248 w 512"/>
              <a:gd name="T47" fmla="*/ 143 h 512"/>
              <a:gd name="T48" fmla="*/ 248 w 512"/>
              <a:gd name="T49" fmla="*/ 158 h 512"/>
              <a:gd name="T50" fmla="*/ 210 w 512"/>
              <a:gd name="T51" fmla="*/ 195 h 512"/>
              <a:gd name="T52" fmla="*/ 189 w 512"/>
              <a:gd name="T53" fmla="*/ 248 h 512"/>
              <a:gd name="T54" fmla="*/ 203 w 512"/>
              <a:gd name="T55" fmla="*/ 293 h 512"/>
              <a:gd name="T56" fmla="*/ 143 w 512"/>
              <a:gd name="T57" fmla="*/ 354 h 512"/>
              <a:gd name="T58" fmla="*/ 143 w 512"/>
              <a:gd name="T59" fmla="*/ 369 h 512"/>
              <a:gd name="T60" fmla="*/ 150 w 512"/>
              <a:gd name="T61" fmla="*/ 372 h 512"/>
              <a:gd name="T62" fmla="*/ 158 w 512"/>
              <a:gd name="T63" fmla="*/ 369 h 512"/>
              <a:gd name="T64" fmla="*/ 219 w 512"/>
              <a:gd name="T65" fmla="*/ 308 h 512"/>
              <a:gd name="T66" fmla="*/ 263 w 512"/>
              <a:gd name="T67" fmla="*/ 323 h 512"/>
              <a:gd name="T68" fmla="*/ 316 w 512"/>
              <a:gd name="T69" fmla="*/ 301 h 512"/>
              <a:gd name="T70" fmla="*/ 354 w 512"/>
              <a:gd name="T71" fmla="*/ 263 h 512"/>
              <a:gd name="T72" fmla="*/ 354 w 512"/>
              <a:gd name="T73" fmla="*/ 263 h 512"/>
              <a:gd name="T74" fmla="*/ 361 w 512"/>
              <a:gd name="T75" fmla="*/ 266 h 512"/>
              <a:gd name="T76" fmla="*/ 369 w 512"/>
              <a:gd name="T77" fmla="*/ 263 h 512"/>
              <a:gd name="T78" fmla="*/ 369 w 512"/>
              <a:gd name="T79" fmla="*/ 248 h 512"/>
              <a:gd name="T80" fmla="*/ 361 w 512"/>
              <a:gd name="T81" fmla="*/ 241 h 512"/>
              <a:gd name="T82" fmla="*/ 346 w 512"/>
              <a:gd name="T83" fmla="*/ 225 h 512"/>
              <a:gd name="T84" fmla="*/ 391 w 512"/>
              <a:gd name="T85" fmla="*/ 180 h 512"/>
              <a:gd name="T86" fmla="*/ 391 w 512"/>
              <a:gd name="T87" fmla="*/ 1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63" y="173"/>
                </a:moveTo>
                <a:cubicBezTo>
                  <a:pt x="339" y="248"/>
                  <a:pt x="339" y="248"/>
                  <a:pt x="339" y="248"/>
                </a:cubicBezTo>
                <a:cubicBezTo>
                  <a:pt x="301" y="286"/>
                  <a:pt x="301" y="286"/>
                  <a:pt x="301" y="286"/>
                </a:cubicBezTo>
                <a:cubicBezTo>
                  <a:pt x="291" y="296"/>
                  <a:pt x="277" y="301"/>
                  <a:pt x="263" y="301"/>
                </a:cubicBezTo>
                <a:cubicBezTo>
                  <a:pt x="249" y="301"/>
                  <a:pt x="236" y="296"/>
                  <a:pt x="225" y="286"/>
                </a:cubicBezTo>
                <a:cubicBezTo>
                  <a:pt x="215" y="276"/>
                  <a:pt x="210" y="262"/>
                  <a:pt x="210" y="248"/>
                </a:cubicBezTo>
                <a:cubicBezTo>
                  <a:pt x="210" y="234"/>
                  <a:pt x="215" y="220"/>
                  <a:pt x="225" y="210"/>
                </a:cubicBezTo>
                <a:lnTo>
                  <a:pt x="263" y="1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1" y="165"/>
                </a:moveTo>
                <a:cubicBezTo>
                  <a:pt x="387" y="161"/>
                  <a:pt x="381" y="161"/>
                  <a:pt x="376" y="165"/>
                </a:cubicBezTo>
                <a:cubicBezTo>
                  <a:pt x="331" y="210"/>
                  <a:pt x="331" y="210"/>
                  <a:pt x="331" y="210"/>
                </a:cubicBezTo>
                <a:cubicBezTo>
                  <a:pt x="301" y="180"/>
                  <a:pt x="301" y="180"/>
                  <a:pt x="301" y="180"/>
                </a:cubicBezTo>
                <a:cubicBezTo>
                  <a:pt x="346" y="135"/>
                  <a:pt x="346" y="135"/>
                  <a:pt x="346" y="135"/>
                </a:cubicBezTo>
                <a:cubicBezTo>
                  <a:pt x="350" y="131"/>
                  <a:pt x="350" y="124"/>
                  <a:pt x="346" y="120"/>
                </a:cubicBezTo>
                <a:cubicBezTo>
                  <a:pt x="342" y="116"/>
                  <a:pt x="335" y="116"/>
                  <a:pt x="331" y="120"/>
                </a:cubicBezTo>
                <a:cubicBezTo>
                  <a:pt x="286" y="165"/>
                  <a:pt x="286" y="165"/>
                  <a:pt x="286" y="165"/>
                </a:cubicBezTo>
                <a:cubicBezTo>
                  <a:pt x="271" y="150"/>
                  <a:pt x="271" y="150"/>
                  <a:pt x="271" y="150"/>
                </a:cubicBezTo>
                <a:cubicBezTo>
                  <a:pt x="263" y="143"/>
                  <a:pt x="263" y="143"/>
                  <a:pt x="263" y="143"/>
                </a:cubicBezTo>
                <a:cubicBezTo>
                  <a:pt x="259" y="138"/>
                  <a:pt x="252" y="138"/>
                  <a:pt x="248" y="143"/>
                </a:cubicBezTo>
                <a:cubicBezTo>
                  <a:pt x="244" y="147"/>
                  <a:pt x="244" y="153"/>
                  <a:pt x="248" y="158"/>
                </a:cubicBezTo>
                <a:cubicBezTo>
                  <a:pt x="210" y="195"/>
                  <a:pt x="210" y="195"/>
                  <a:pt x="210" y="195"/>
                </a:cubicBezTo>
                <a:cubicBezTo>
                  <a:pt x="196" y="209"/>
                  <a:pt x="189" y="228"/>
                  <a:pt x="189" y="248"/>
                </a:cubicBezTo>
                <a:cubicBezTo>
                  <a:pt x="189" y="264"/>
                  <a:pt x="194" y="280"/>
                  <a:pt x="203" y="293"/>
                </a:cubicBezTo>
                <a:cubicBezTo>
                  <a:pt x="143" y="354"/>
                  <a:pt x="143" y="354"/>
                  <a:pt x="143" y="354"/>
                </a:cubicBezTo>
                <a:cubicBezTo>
                  <a:pt x="138" y="358"/>
                  <a:pt x="138" y="365"/>
                  <a:pt x="143" y="369"/>
                </a:cubicBezTo>
                <a:cubicBezTo>
                  <a:pt x="145" y="371"/>
                  <a:pt x="147" y="372"/>
                  <a:pt x="150" y="372"/>
                </a:cubicBezTo>
                <a:cubicBezTo>
                  <a:pt x="153" y="372"/>
                  <a:pt x="156" y="371"/>
                  <a:pt x="158" y="369"/>
                </a:cubicBezTo>
                <a:cubicBezTo>
                  <a:pt x="219" y="308"/>
                  <a:pt x="219" y="308"/>
                  <a:pt x="219" y="308"/>
                </a:cubicBezTo>
                <a:cubicBezTo>
                  <a:pt x="231" y="318"/>
                  <a:pt x="247" y="323"/>
                  <a:pt x="263" y="323"/>
                </a:cubicBezTo>
                <a:cubicBezTo>
                  <a:pt x="283" y="323"/>
                  <a:pt x="302" y="315"/>
                  <a:pt x="316" y="301"/>
                </a:cubicBezTo>
                <a:cubicBezTo>
                  <a:pt x="354" y="263"/>
                  <a:pt x="354" y="263"/>
                  <a:pt x="354" y="263"/>
                </a:cubicBezTo>
                <a:cubicBezTo>
                  <a:pt x="354" y="263"/>
                  <a:pt x="354" y="263"/>
                  <a:pt x="354" y="263"/>
                </a:cubicBezTo>
                <a:cubicBezTo>
                  <a:pt x="356" y="265"/>
                  <a:pt x="359" y="266"/>
                  <a:pt x="361" y="266"/>
                </a:cubicBezTo>
                <a:cubicBezTo>
                  <a:pt x="364" y="266"/>
                  <a:pt x="367" y="265"/>
                  <a:pt x="369" y="263"/>
                </a:cubicBezTo>
                <a:cubicBezTo>
                  <a:pt x="373" y="259"/>
                  <a:pt x="373" y="252"/>
                  <a:pt x="369" y="248"/>
                </a:cubicBezTo>
                <a:cubicBezTo>
                  <a:pt x="361" y="241"/>
                  <a:pt x="361" y="241"/>
                  <a:pt x="361" y="241"/>
                </a:cubicBezTo>
                <a:cubicBezTo>
                  <a:pt x="346" y="225"/>
                  <a:pt x="346" y="225"/>
                  <a:pt x="346" y="225"/>
                </a:cubicBezTo>
                <a:cubicBezTo>
                  <a:pt x="391" y="180"/>
                  <a:pt x="391" y="180"/>
                  <a:pt x="391" y="180"/>
                </a:cubicBezTo>
                <a:cubicBezTo>
                  <a:pt x="396" y="176"/>
                  <a:pt x="396" y="169"/>
                  <a:pt x="391" y="16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3" name="Freeform 529"/>
          <p:cNvSpPr>
            <a:spLocks noChangeAspect="1" noEditPoints="1"/>
          </p:cNvSpPr>
          <p:nvPr/>
        </p:nvSpPr>
        <p:spPr bwMode="auto">
          <a:xfrm>
            <a:off x="3432199" y="2930725"/>
            <a:ext cx="368120" cy="367041"/>
          </a:xfrm>
          <a:custGeom>
            <a:avLst/>
            <a:gdLst>
              <a:gd name="T0" fmla="*/ 285 w 512"/>
              <a:gd name="T1" fmla="*/ 352 h 512"/>
              <a:gd name="T2" fmla="*/ 232 w 512"/>
              <a:gd name="T3" fmla="*/ 384 h 512"/>
              <a:gd name="T4" fmla="*/ 512 w 512"/>
              <a:gd name="T5" fmla="*/ 256 h 512"/>
              <a:gd name="T6" fmla="*/ 0 w 512"/>
              <a:gd name="T7" fmla="*/ 256 h 512"/>
              <a:gd name="T8" fmla="*/ 512 w 512"/>
              <a:gd name="T9" fmla="*/ 256 h 512"/>
              <a:gd name="T10" fmla="*/ 170 w 512"/>
              <a:gd name="T11" fmla="*/ 149 h 512"/>
              <a:gd name="T12" fmla="*/ 258 w 512"/>
              <a:gd name="T13" fmla="*/ 127 h 512"/>
              <a:gd name="T14" fmla="*/ 253 w 512"/>
              <a:gd name="T15" fmla="*/ 107 h 512"/>
              <a:gd name="T16" fmla="*/ 160 w 512"/>
              <a:gd name="T17" fmla="*/ 141 h 512"/>
              <a:gd name="T18" fmla="*/ 338 w 512"/>
              <a:gd name="T19" fmla="*/ 256 h 512"/>
              <a:gd name="T20" fmla="*/ 266 w 512"/>
              <a:gd name="T21" fmla="*/ 282 h 512"/>
              <a:gd name="T22" fmla="*/ 245 w 512"/>
              <a:gd name="T23" fmla="*/ 330 h 512"/>
              <a:gd name="T24" fmla="*/ 234 w 512"/>
              <a:gd name="T25" fmla="*/ 288 h 512"/>
              <a:gd name="T26" fmla="*/ 224 w 512"/>
              <a:gd name="T27" fmla="*/ 330 h 512"/>
              <a:gd name="T28" fmla="*/ 205 w 512"/>
              <a:gd name="T29" fmla="*/ 334 h 512"/>
              <a:gd name="T30" fmla="*/ 213 w 512"/>
              <a:gd name="T31" fmla="*/ 396 h 512"/>
              <a:gd name="T32" fmla="*/ 288 w 512"/>
              <a:gd name="T33" fmla="*/ 405 h 512"/>
              <a:gd name="T34" fmla="*/ 309 w 512"/>
              <a:gd name="T35" fmla="*/ 343 h 512"/>
              <a:gd name="T36" fmla="*/ 298 w 512"/>
              <a:gd name="T37" fmla="*/ 330 h 512"/>
              <a:gd name="T38" fmla="*/ 288 w 512"/>
              <a:gd name="T39" fmla="*/ 291 h 512"/>
              <a:gd name="T40" fmla="*/ 351 w 512"/>
              <a:gd name="T41" fmla="*/ 264 h 512"/>
              <a:gd name="T42" fmla="*/ 338 w 512"/>
              <a:gd name="T43" fmla="*/ 213 h 512"/>
              <a:gd name="T44" fmla="*/ 160 w 512"/>
              <a:gd name="T45" fmla="*/ 269 h 512"/>
              <a:gd name="T46" fmla="*/ 173 w 512"/>
              <a:gd name="T47" fmla="*/ 277 h 512"/>
              <a:gd name="T48" fmla="*/ 351 w 512"/>
              <a:gd name="T49" fmla="*/ 221 h 512"/>
              <a:gd name="T50" fmla="*/ 338 w 512"/>
              <a:gd name="T51" fmla="*/ 171 h 512"/>
              <a:gd name="T52" fmla="*/ 160 w 512"/>
              <a:gd name="T53" fmla="*/ 226 h 512"/>
              <a:gd name="T54" fmla="*/ 173 w 512"/>
              <a:gd name="T55" fmla="*/ 234 h 512"/>
              <a:gd name="T56" fmla="*/ 351 w 512"/>
              <a:gd name="T57" fmla="*/ 178 h 512"/>
              <a:gd name="T58" fmla="*/ 338 w 512"/>
              <a:gd name="T59" fmla="*/ 128 h 512"/>
              <a:gd name="T60" fmla="*/ 160 w 512"/>
              <a:gd name="T61" fmla="*/ 184 h 512"/>
              <a:gd name="T62" fmla="*/ 173 w 512"/>
              <a:gd name="T63" fmla="*/ 191 h 512"/>
              <a:gd name="T64" fmla="*/ 351 w 512"/>
              <a:gd name="T65" fmla="*/ 13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5" y="352"/>
                  <a:pt x="285" y="352"/>
                  <a:pt x="285" y="352"/>
                </a:cubicBezTo>
                <a:cubicBezTo>
                  <a:pt x="279" y="384"/>
                  <a:pt x="279" y="384"/>
                  <a:pt x="279" y="384"/>
                </a:cubicBezTo>
                <a:cubicBezTo>
                  <a:pt x="232" y="384"/>
                  <a:pt x="232" y="384"/>
                  <a:pt x="232" y="384"/>
                </a:cubicBezTo>
                <a:lnTo>
                  <a:pt x="226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141"/>
                </a:moveTo>
                <a:cubicBezTo>
                  <a:pt x="161" y="146"/>
                  <a:pt x="166" y="149"/>
                  <a:pt x="170" y="149"/>
                </a:cubicBezTo>
                <a:cubicBezTo>
                  <a:pt x="171" y="149"/>
                  <a:pt x="172" y="149"/>
                  <a:pt x="173" y="149"/>
                </a:cubicBezTo>
                <a:cubicBezTo>
                  <a:pt x="258" y="127"/>
                  <a:pt x="258" y="127"/>
                  <a:pt x="258" y="127"/>
                </a:cubicBezTo>
                <a:cubicBezTo>
                  <a:pt x="264" y="126"/>
                  <a:pt x="267" y="120"/>
                  <a:pt x="266" y="114"/>
                </a:cubicBezTo>
                <a:cubicBezTo>
                  <a:pt x="265" y="109"/>
                  <a:pt x="259" y="105"/>
                  <a:pt x="253" y="107"/>
                </a:cubicBezTo>
                <a:cubicBezTo>
                  <a:pt x="168" y="128"/>
                  <a:pt x="168" y="128"/>
                  <a:pt x="168" y="128"/>
                </a:cubicBezTo>
                <a:cubicBezTo>
                  <a:pt x="162" y="129"/>
                  <a:pt x="159" y="135"/>
                  <a:pt x="160" y="141"/>
                </a:cubicBezTo>
                <a:close/>
                <a:moveTo>
                  <a:pt x="351" y="264"/>
                </a:moveTo>
                <a:cubicBezTo>
                  <a:pt x="350" y="258"/>
                  <a:pt x="344" y="255"/>
                  <a:pt x="338" y="256"/>
                </a:cubicBezTo>
                <a:cubicBezTo>
                  <a:pt x="274" y="272"/>
                  <a:pt x="274" y="272"/>
                  <a:pt x="274" y="272"/>
                </a:cubicBezTo>
                <a:cubicBezTo>
                  <a:pt x="270" y="273"/>
                  <a:pt x="266" y="277"/>
                  <a:pt x="266" y="282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13" y="330"/>
                  <a:pt x="213" y="330"/>
                  <a:pt x="213" y="330"/>
                </a:cubicBezTo>
                <a:cubicBezTo>
                  <a:pt x="210" y="330"/>
                  <a:pt x="207" y="332"/>
                  <a:pt x="205" y="334"/>
                </a:cubicBezTo>
                <a:cubicBezTo>
                  <a:pt x="203" y="337"/>
                  <a:pt x="202" y="340"/>
                  <a:pt x="203" y="343"/>
                </a:cubicBezTo>
                <a:cubicBezTo>
                  <a:pt x="213" y="396"/>
                  <a:pt x="213" y="396"/>
                  <a:pt x="213" y="396"/>
                </a:cubicBezTo>
                <a:cubicBezTo>
                  <a:pt x="214" y="401"/>
                  <a:pt x="219" y="405"/>
                  <a:pt x="224" y="405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93" y="405"/>
                  <a:pt x="297" y="401"/>
                  <a:pt x="298" y="396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0"/>
                  <a:pt x="309" y="337"/>
                  <a:pt x="307" y="334"/>
                </a:cubicBezTo>
                <a:cubicBezTo>
                  <a:pt x="305" y="332"/>
                  <a:pt x="302" y="330"/>
                  <a:pt x="298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291"/>
                  <a:pt x="288" y="291"/>
                  <a:pt x="288" y="291"/>
                </a:cubicBezTo>
                <a:cubicBezTo>
                  <a:pt x="344" y="277"/>
                  <a:pt x="344" y="277"/>
                  <a:pt x="344" y="277"/>
                </a:cubicBezTo>
                <a:cubicBezTo>
                  <a:pt x="349" y="275"/>
                  <a:pt x="353" y="269"/>
                  <a:pt x="351" y="264"/>
                </a:cubicBezTo>
                <a:close/>
                <a:moveTo>
                  <a:pt x="351" y="221"/>
                </a:moveTo>
                <a:cubicBezTo>
                  <a:pt x="350" y="215"/>
                  <a:pt x="344" y="212"/>
                  <a:pt x="338" y="213"/>
                </a:cubicBezTo>
                <a:cubicBezTo>
                  <a:pt x="168" y="256"/>
                  <a:pt x="168" y="256"/>
                  <a:pt x="168" y="256"/>
                </a:cubicBezTo>
                <a:cubicBezTo>
                  <a:pt x="162" y="257"/>
                  <a:pt x="159" y="263"/>
                  <a:pt x="160" y="269"/>
                </a:cubicBezTo>
                <a:cubicBezTo>
                  <a:pt x="161" y="274"/>
                  <a:pt x="166" y="277"/>
                  <a:pt x="170" y="277"/>
                </a:cubicBezTo>
                <a:cubicBezTo>
                  <a:pt x="171" y="277"/>
                  <a:pt x="172" y="277"/>
                  <a:pt x="173" y="277"/>
                </a:cubicBezTo>
                <a:cubicBezTo>
                  <a:pt x="344" y="234"/>
                  <a:pt x="344" y="234"/>
                  <a:pt x="344" y="234"/>
                </a:cubicBezTo>
                <a:cubicBezTo>
                  <a:pt x="349" y="233"/>
                  <a:pt x="353" y="227"/>
                  <a:pt x="351" y="221"/>
                </a:cubicBezTo>
                <a:close/>
                <a:moveTo>
                  <a:pt x="351" y="178"/>
                </a:moveTo>
                <a:cubicBezTo>
                  <a:pt x="350" y="173"/>
                  <a:pt x="344" y="169"/>
                  <a:pt x="338" y="171"/>
                </a:cubicBezTo>
                <a:cubicBezTo>
                  <a:pt x="168" y="213"/>
                  <a:pt x="168" y="213"/>
                  <a:pt x="168" y="213"/>
                </a:cubicBezTo>
                <a:cubicBezTo>
                  <a:pt x="162" y="215"/>
                  <a:pt x="159" y="221"/>
                  <a:pt x="160" y="226"/>
                </a:cubicBezTo>
                <a:cubicBezTo>
                  <a:pt x="161" y="231"/>
                  <a:pt x="166" y="234"/>
                  <a:pt x="170" y="234"/>
                </a:cubicBezTo>
                <a:cubicBezTo>
                  <a:pt x="171" y="234"/>
                  <a:pt x="172" y="234"/>
                  <a:pt x="173" y="234"/>
                </a:cubicBezTo>
                <a:cubicBezTo>
                  <a:pt x="344" y="191"/>
                  <a:pt x="344" y="191"/>
                  <a:pt x="344" y="191"/>
                </a:cubicBezTo>
                <a:cubicBezTo>
                  <a:pt x="349" y="190"/>
                  <a:pt x="353" y="184"/>
                  <a:pt x="351" y="178"/>
                </a:cubicBezTo>
                <a:close/>
                <a:moveTo>
                  <a:pt x="351" y="136"/>
                </a:moveTo>
                <a:cubicBezTo>
                  <a:pt x="350" y="130"/>
                  <a:pt x="344" y="127"/>
                  <a:pt x="338" y="128"/>
                </a:cubicBezTo>
                <a:cubicBezTo>
                  <a:pt x="168" y="171"/>
                  <a:pt x="168" y="171"/>
                  <a:pt x="168" y="171"/>
                </a:cubicBezTo>
                <a:cubicBezTo>
                  <a:pt x="162" y="172"/>
                  <a:pt x="159" y="178"/>
                  <a:pt x="160" y="184"/>
                </a:cubicBezTo>
                <a:cubicBezTo>
                  <a:pt x="161" y="188"/>
                  <a:pt x="166" y="192"/>
                  <a:pt x="170" y="192"/>
                </a:cubicBezTo>
                <a:cubicBezTo>
                  <a:pt x="171" y="192"/>
                  <a:pt x="172" y="192"/>
                  <a:pt x="173" y="191"/>
                </a:cubicBezTo>
                <a:cubicBezTo>
                  <a:pt x="344" y="149"/>
                  <a:pt x="344" y="149"/>
                  <a:pt x="344" y="149"/>
                </a:cubicBezTo>
                <a:cubicBezTo>
                  <a:pt x="349" y="147"/>
                  <a:pt x="353" y="141"/>
                  <a:pt x="351" y="1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4" name="Group 532"/>
          <p:cNvGrpSpPr>
            <a:grpSpLocks noChangeAspect="1"/>
          </p:cNvGrpSpPr>
          <p:nvPr/>
        </p:nvGrpSpPr>
        <p:grpSpPr bwMode="auto">
          <a:xfrm>
            <a:off x="3928172" y="2930725"/>
            <a:ext cx="367041" cy="367041"/>
            <a:chOff x="4511" y="2388"/>
            <a:chExt cx="340" cy="340"/>
          </a:xfrm>
          <a:solidFill>
            <a:schemeClr val="accent6"/>
          </a:solidFill>
        </p:grpSpPr>
        <p:sp>
          <p:nvSpPr>
            <p:cNvPr id="295" name="Freeform 533"/>
            <p:cNvSpPr>
              <a:spLocks noEditPoints="1"/>
            </p:cNvSpPr>
            <p:nvPr/>
          </p:nvSpPr>
          <p:spPr bwMode="auto">
            <a:xfrm>
              <a:off x="4511" y="23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534"/>
            <p:cNvSpPr>
              <a:spLocks noEditPoints="1"/>
            </p:cNvSpPr>
            <p:nvPr/>
          </p:nvSpPr>
          <p:spPr bwMode="auto">
            <a:xfrm>
              <a:off x="4617" y="2458"/>
              <a:ext cx="128" cy="199"/>
            </a:xfrm>
            <a:custGeom>
              <a:avLst/>
              <a:gdLst>
                <a:gd name="T0" fmla="*/ 179 w 194"/>
                <a:gd name="T1" fmla="*/ 151 h 300"/>
                <a:gd name="T2" fmla="*/ 115 w 194"/>
                <a:gd name="T3" fmla="*/ 167 h 300"/>
                <a:gd name="T4" fmla="*/ 107 w 194"/>
                <a:gd name="T5" fmla="*/ 177 h 300"/>
                <a:gd name="T6" fmla="*/ 107 w 194"/>
                <a:gd name="T7" fmla="*/ 225 h 300"/>
                <a:gd name="T8" fmla="*/ 86 w 194"/>
                <a:gd name="T9" fmla="*/ 225 h 300"/>
                <a:gd name="T10" fmla="*/ 86 w 194"/>
                <a:gd name="T11" fmla="*/ 193 h 300"/>
                <a:gd name="T12" fmla="*/ 75 w 194"/>
                <a:gd name="T13" fmla="*/ 183 h 300"/>
                <a:gd name="T14" fmla="*/ 65 w 194"/>
                <a:gd name="T15" fmla="*/ 193 h 300"/>
                <a:gd name="T16" fmla="*/ 65 w 194"/>
                <a:gd name="T17" fmla="*/ 225 h 300"/>
                <a:gd name="T18" fmla="*/ 54 w 194"/>
                <a:gd name="T19" fmla="*/ 225 h 300"/>
                <a:gd name="T20" fmla="*/ 46 w 194"/>
                <a:gd name="T21" fmla="*/ 229 h 300"/>
                <a:gd name="T22" fmla="*/ 44 w 194"/>
                <a:gd name="T23" fmla="*/ 238 h 300"/>
                <a:gd name="T24" fmla="*/ 54 w 194"/>
                <a:gd name="T25" fmla="*/ 291 h 300"/>
                <a:gd name="T26" fmla="*/ 65 w 194"/>
                <a:gd name="T27" fmla="*/ 300 h 300"/>
                <a:gd name="T28" fmla="*/ 129 w 194"/>
                <a:gd name="T29" fmla="*/ 300 h 300"/>
                <a:gd name="T30" fmla="*/ 139 w 194"/>
                <a:gd name="T31" fmla="*/ 291 h 300"/>
                <a:gd name="T32" fmla="*/ 150 w 194"/>
                <a:gd name="T33" fmla="*/ 238 h 300"/>
                <a:gd name="T34" fmla="*/ 148 w 194"/>
                <a:gd name="T35" fmla="*/ 229 h 300"/>
                <a:gd name="T36" fmla="*/ 139 w 194"/>
                <a:gd name="T37" fmla="*/ 225 h 300"/>
                <a:gd name="T38" fmla="*/ 129 w 194"/>
                <a:gd name="T39" fmla="*/ 225 h 300"/>
                <a:gd name="T40" fmla="*/ 129 w 194"/>
                <a:gd name="T41" fmla="*/ 186 h 300"/>
                <a:gd name="T42" fmla="*/ 185 w 194"/>
                <a:gd name="T43" fmla="*/ 172 h 300"/>
                <a:gd name="T44" fmla="*/ 192 w 194"/>
                <a:gd name="T45" fmla="*/ 159 h 300"/>
                <a:gd name="T46" fmla="*/ 179 w 194"/>
                <a:gd name="T47" fmla="*/ 151 h 300"/>
                <a:gd name="T48" fmla="*/ 120 w 194"/>
                <a:gd name="T49" fmla="*/ 279 h 300"/>
                <a:gd name="T50" fmla="*/ 73 w 194"/>
                <a:gd name="T51" fmla="*/ 279 h 300"/>
                <a:gd name="T52" fmla="*/ 67 w 194"/>
                <a:gd name="T53" fmla="*/ 247 h 300"/>
                <a:gd name="T54" fmla="*/ 126 w 194"/>
                <a:gd name="T55" fmla="*/ 247 h 300"/>
                <a:gd name="T56" fmla="*/ 120 w 194"/>
                <a:gd name="T57" fmla="*/ 279 h 300"/>
                <a:gd name="T58" fmla="*/ 192 w 194"/>
                <a:gd name="T59" fmla="*/ 73 h 300"/>
                <a:gd name="T60" fmla="*/ 185 w 194"/>
                <a:gd name="T61" fmla="*/ 86 h 300"/>
                <a:gd name="T62" fmla="*/ 14 w 194"/>
                <a:gd name="T63" fmla="*/ 129 h 300"/>
                <a:gd name="T64" fmla="*/ 11 w 194"/>
                <a:gd name="T65" fmla="*/ 129 h 300"/>
                <a:gd name="T66" fmla="*/ 1 w 194"/>
                <a:gd name="T67" fmla="*/ 121 h 300"/>
                <a:gd name="T68" fmla="*/ 9 w 194"/>
                <a:gd name="T69" fmla="*/ 108 h 300"/>
                <a:gd name="T70" fmla="*/ 179 w 194"/>
                <a:gd name="T71" fmla="*/ 66 h 300"/>
                <a:gd name="T72" fmla="*/ 192 w 194"/>
                <a:gd name="T73" fmla="*/ 73 h 300"/>
                <a:gd name="T74" fmla="*/ 192 w 194"/>
                <a:gd name="T75" fmla="*/ 116 h 300"/>
                <a:gd name="T76" fmla="*/ 185 w 194"/>
                <a:gd name="T77" fmla="*/ 129 h 300"/>
                <a:gd name="T78" fmla="*/ 14 w 194"/>
                <a:gd name="T79" fmla="*/ 172 h 300"/>
                <a:gd name="T80" fmla="*/ 11 w 194"/>
                <a:gd name="T81" fmla="*/ 172 h 300"/>
                <a:gd name="T82" fmla="*/ 1 w 194"/>
                <a:gd name="T83" fmla="*/ 164 h 300"/>
                <a:gd name="T84" fmla="*/ 9 w 194"/>
                <a:gd name="T85" fmla="*/ 151 h 300"/>
                <a:gd name="T86" fmla="*/ 179 w 194"/>
                <a:gd name="T87" fmla="*/ 108 h 300"/>
                <a:gd name="T88" fmla="*/ 192 w 194"/>
                <a:gd name="T89" fmla="*/ 116 h 300"/>
                <a:gd name="T90" fmla="*/ 1 w 194"/>
                <a:gd name="T91" fmla="*/ 36 h 300"/>
                <a:gd name="T92" fmla="*/ 9 w 194"/>
                <a:gd name="T93" fmla="*/ 23 h 300"/>
                <a:gd name="T94" fmla="*/ 94 w 194"/>
                <a:gd name="T95" fmla="*/ 2 h 300"/>
                <a:gd name="T96" fmla="*/ 107 w 194"/>
                <a:gd name="T97" fmla="*/ 9 h 300"/>
                <a:gd name="T98" fmla="*/ 99 w 194"/>
                <a:gd name="T99" fmla="*/ 22 h 300"/>
                <a:gd name="T100" fmla="*/ 14 w 194"/>
                <a:gd name="T101" fmla="*/ 44 h 300"/>
                <a:gd name="T102" fmla="*/ 11 w 194"/>
                <a:gd name="T103" fmla="*/ 44 h 300"/>
                <a:gd name="T104" fmla="*/ 1 w 194"/>
                <a:gd name="T105" fmla="*/ 36 h 300"/>
                <a:gd name="T106" fmla="*/ 1 w 194"/>
                <a:gd name="T107" fmla="*/ 79 h 300"/>
                <a:gd name="T108" fmla="*/ 9 w 194"/>
                <a:gd name="T109" fmla="*/ 66 h 300"/>
                <a:gd name="T110" fmla="*/ 179 w 194"/>
                <a:gd name="T111" fmla="*/ 23 h 300"/>
                <a:gd name="T112" fmla="*/ 192 w 194"/>
                <a:gd name="T113" fmla="*/ 31 h 300"/>
                <a:gd name="T114" fmla="*/ 185 w 194"/>
                <a:gd name="T115" fmla="*/ 44 h 300"/>
                <a:gd name="T116" fmla="*/ 14 w 194"/>
                <a:gd name="T117" fmla="*/ 86 h 300"/>
                <a:gd name="T118" fmla="*/ 11 w 194"/>
                <a:gd name="T119" fmla="*/ 87 h 300"/>
                <a:gd name="T120" fmla="*/ 1 w 194"/>
                <a:gd name="T121" fmla="*/ 7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" h="300">
                  <a:moveTo>
                    <a:pt x="179" y="151"/>
                  </a:moveTo>
                  <a:cubicBezTo>
                    <a:pt x="115" y="167"/>
                    <a:pt x="115" y="167"/>
                    <a:pt x="115" y="167"/>
                  </a:cubicBezTo>
                  <a:cubicBezTo>
                    <a:pt x="111" y="168"/>
                    <a:pt x="107" y="172"/>
                    <a:pt x="107" y="177"/>
                  </a:cubicBezTo>
                  <a:cubicBezTo>
                    <a:pt x="107" y="225"/>
                    <a:pt x="107" y="225"/>
                    <a:pt x="107" y="225"/>
                  </a:cubicBezTo>
                  <a:cubicBezTo>
                    <a:pt x="86" y="225"/>
                    <a:pt x="86" y="225"/>
                    <a:pt x="86" y="225"/>
                  </a:cubicBezTo>
                  <a:cubicBezTo>
                    <a:pt x="86" y="193"/>
                    <a:pt x="86" y="193"/>
                    <a:pt x="86" y="193"/>
                  </a:cubicBezTo>
                  <a:cubicBezTo>
                    <a:pt x="86" y="187"/>
                    <a:pt x="81" y="183"/>
                    <a:pt x="75" y="183"/>
                  </a:cubicBezTo>
                  <a:cubicBezTo>
                    <a:pt x="69" y="183"/>
                    <a:pt x="65" y="187"/>
                    <a:pt x="65" y="193"/>
                  </a:cubicBezTo>
                  <a:cubicBezTo>
                    <a:pt x="65" y="225"/>
                    <a:pt x="65" y="225"/>
                    <a:pt x="65" y="225"/>
                  </a:cubicBezTo>
                  <a:cubicBezTo>
                    <a:pt x="54" y="225"/>
                    <a:pt x="54" y="225"/>
                    <a:pt x="54" y="225"/>
                  </a:cubicBezTo>
                  <a:cubicBezTo>
                    <a:pt x="51" y="225"/>
                    <a:pt x="48" y="227"/>
                    <a:pt x="46" y="229"/>
                  </a:cubicBezTo>
                  <a:cubicBezTo>
                    <a:pt x="44" y="232"/>
                    <a:pt x="43" y="235"/>
                    <a:pt x="44" y="238"/>
                  </a:cubicBezTo>
                  <a:cubicBezTo>
                    <a:pt x="54" y="291"/>
                    <a:pt x="54" y="291"/>
                    <a:pt x="54" y="291"/>
                  </a:cubicBezTo>
                  <a:cubicBezTo>
                    <a:pt x="55" y="296"/>
                    <a:pt x="60" y="300"/>
                    <a:pt x="65" y="300"/>
                  </a:cubicBezTo>
                  <a:cubicBezTo>
                    <a:pt x="129" y="300"/>
                    <a:pt x="129" y="300"/>
                    <a:pt x="129" y="300"/>
                  </a:cubicBezTo>
                  <a:cubicBezTo>
                    <a:pt x="134" y="300"/>
                    <a:pt x="138" y="296"/>
                    <a:pt x="139" y="291"/>
                  </a:cubicBezTo>
                  <a:cubicBezTo>
                    <a:pt x="150" y="238"/>
                    <a:pt x="150" y="238"/>
                    <a:pt x="150" y="238"/>
                  </a:cubicBezTo>
                  <a:cubicBezTo>
                    <a:pt x="150" y="235"/>
                    <a:pt x="150" y="232"/>
                    <a:pt x="148" y="229"/>
                  </a:cubicBezTo>
                  <a:cubicBezTo>
                    <a:pt x="146" y="227"/>
                    <a:pt x="143" y="225"/>
                    <a:pt x="139" y="225"/>
                  </a:cubicBezTo>
                  <a:cubicBezTo>
                    <a:pt x="129" y="225"/>
                    <a:pt x="129" y="225"/>
                    <a:pt x="129" y="225"/>
                  </a:cubicBezTo>
                  <a:cubicBezTo>
                    <a:pt x="129" y="186"/>
                    <a:pt x="129" y="186"/>
                    <a:pt x="129" y="186"/>
                  </a:cubicBezTo>
                  <a:cubicBezTo>
                    <a:pt x="185" y="172"/>
                    <a:pt x="185" y="172"/>
                    <a:pt x="185" y="172"/>
                  </a:cubicBezTo>
                  <a:cubicBezTo>
                    <a:pt x="190" y="170"/>
                    <a:pt x="194" y="164"/>
                    <a:pt x="192" y="159"/>
                  </a:cubicBezTo>
                  <a:cubicBezTo>
                    <a:pt x="191" y="153"/>
                    <a:pt x="185" y="150"/>
                    <a:pt x="179" y="151"/>
                  </a:cubicBezTo>
                  <a:close/>
                  <a:moveTo>
                    <a:pt x="120" y="279"/>
                  </a:moveTo>
                  <a:cubicBezTo>
                    <a:pt x="73" y="279"/>
                    <a:pt x="73" y="279"/>
                    <a:pt x="73" y="279"/>
                  </a:cubicBezTo>
                  <a:cubicBezTo>
                    <a:pt x="67" y="247"/>
                    <a:pt x="67" y="247"/>
                    <a:pt x="67" y="247"/>
                  </a:cubicBezTo>
                  <a:cubicBezTo>
                    <a:pt x="126" y="247"/>
                    <a:pt x="126" y="247"/>
                    <a:pt x="126" y="247"/>
                  </a:cubicBezTo>
                  <a:lnTo>
                    <a:pt x="120" y="279"/>
                  </a:lnTo>
                  <a:close/>
                  <a:moveTo>
                    <a:pt x="192" y="73"/>
                  </a:moveTo>
                  <a:cubicBezTo>
                    <a:pt x="194" y="79"/>
                    <a:pt x="190" y="85"/>
                    <a:pt x="185" y="86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3" y="129"/>
                    <a:pt x="12" y="129"/>
                    <a:pt x="11" y="129"/>
                  </a:cubicBezTo>
                  <a:cubicBezTo>
                    <a:pt x="7" y="129"/>
                    <a:pt x="2" y="126"/>
                    <a:pt x="1" y="121"/>
                  </a:cubicBezTo>
                  <a:cubicBezTo>
                    <a:pt x="0" y="116"/>
                    <a:pt x="3" y="110"/>
                    <a:pt x="9" y="108"/>
                  </a:cubicBezTo>
                  <a:cubicBezTo>
                    <a:pt x="179" y="66"/>
                    <a:pt x="179" y="66"/>
                    <a:pt x="179" y="66"/>
                  </a:cubicBezTo>
                  <a:cubicBezTo>
                    <a:pt x="185" y="64"/>
                    <a:pt x="191" y="68"/>
                    <a:pt x="192" y="73"/>
                  </a:cubicBezTo>
                  <a:close/>
                  <a:moveTo>
                    <a:pt x="192" y="116"/>
                  </a:moveTo>
                  <a:cubicBezTo>
                    <a:pt x="194" y="122"/>
                    <a:pt x="190" y="128"/>
                    <a:pt x="185" y="129"/>
                  </a:cubicBezTo>
                  <a:cubicBezTo>
                    <a:pt x="14" y="172"/>
                    <a:pt x="14" y="172"/>
                    <a:pt x="14" y="172"/>
                  </a:cubicBezTo>
                  <a:cubicBezTo>
                    <a:pt x="13" y="172"/>
                    <a:pt x="12" y="172"/>
                    <a:pt x="11" y="172"/>
                  </a:cubicBezTo>
                  <a:cubicBezTo>
                    <a:pt x="7" y="172"/>
                    <a:pt x="2" y="169"/>
                    <a:pt x="1" y="164"/>
                  </a:cubicBezTo>
                  <a:cubicBezTo>
                    <a:pt x="0" y="158"/>
                    <a:pt x="3" y="152"/>
                    <a:pt x="9" y="151"/>
                  </a:cubicBezTo>
                  <a:cubicBezTo>
                    <a:pt x="179" y="108"/>
                    <a:pt x="179" y="108"/>
                    <a:pt x="179" y="108"/>
                  </a:cubicBezTo>
                  <a:cubicBezTo>
                    <a:pt x="185" y="107"/>
                    <a:pt x="191" y="110"/>
                    <a:pt x="192" y="116"/>
                  </a:cubicBezTo>
                  <a:close/>
                  <a:moveTo>
                    <a:pt x="1" y="36"/>
                  </a:moveTo>
                  <a:cubicBezTo>
                    <a:pt x="0" y="30"/>
                    <a:pt x="3" y="24"/>
                    <a:pt x="9" y="23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100" y="0"/>
                    <a:pt x="106" y="4"/>
                    <a:pt x="107" y="9"/>
                  </a:cubicBezTo>
                  <a:cubicBezTo>
                    <a:pt x="108" y="15"/>
                    <a:pt x="105" y="21"/>
                    <a:pt x="99" y="22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4"/>
                    <a:pt x="12" y="44"/>
                    <a:pt x="11" y="44"/>
                  </a:cubicBezTo>
                  <a:cubicBezTo>
                    <a:pt x="7" y="44"/>
                    <a:pt x="2" y="41"/>
                    <a:pt x="1" y="36"/>
                  </a:cubicBezTo>
                  <a:close/>
                  <a:moveTo>
                    <a:pt x="1" y="79"/>
                  </a:moveTo>
                  <a:cubicBezTo>
                    <a:pt x="0" y="73"/>
                    <a:pt x="3" y="67"/>
                    <a:pt x="9" y="66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85" y="22"/>
                    <a:pt x="191" y="25"/>
                    <a:pt x="192" y="31"/>
                  </a:cubicBezTo>
                  <a:cubicBezTo>
                    <a:pt x="194" y="36"/>
                    <a:pt x="190" y="42"/>
                    <a:pt x="185" y="4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7"/>
                    <a:pt x="12" y="87"/>
                    <a:pt x="11" y="87"/>
                  </a:cubicBezTo>
                  <a:cubicBezTo>
                    <a:pt x="7" y="87"/>
                    <a:pt x="2" y="83"/>
                    <a:pt x="1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8" name="Freeform 538"/>
          <p:cNvSpPr>
            <a:spLocks noChangeAspect="1" noEditPoints="1"/>
          </p:cNvSpPr>
          <p:nvPr/>
        </p:nvSpPr>
        <p:spPr bwMode="auto">
          <a:xfrm>
            <a:off x="4423066" y="2930725"/>
            <a:ext cx="367041" cy="367041"/>
          </a:xfrm>
          <a:custGeom>
            <a:avLst/>
            <a:gdLst>
              <a:gd name="T0" fmla="*/ 226 w 512"/>
              <a:gd name="T1" fmla="*/ 352 h 512"/>
              <a:gd name="T2" fmla="*/ 286 w 512"/>
              <a:gd name="T3" fmla="*/ 352 h 512"/>
              <a:gd name="T4" fmla="*/ 279 w 512"/>
              <a:gd name="T5" fmla="*/ 394 h 512"/>
              <a:gd name="T6" fmla="*/ 233 w 512"/>
              <a:gd name="T7" fmla="*/ 394 h 512"/>
              <a:gd name="T8" fmla="*/ 226 w 512"/>
              <a:gd name="T9" fmla="*/ 352 h 512"/>
              <a:gd name="T10" fmla="*/ 256 w 512"/>
              <a:gd name="T11" fmla="*/ 117 h 512"/>
              <a:gd name="T12" fmla="*/ 178 w 512"/>
              <a:gd name="T13" fmla="*/ 191 h 512"/>
              <a:gd name="T14" fmla="*/ 194 w 512"/>
              <a:gd name="T15" fmla="*/ 242 h 512"/>
              <a:gd name="T16" fmla="*/ 224 w 512"/>
              <a:gd name="T17" fmla="*/ 309 h 512"/>
              <a:gd name="T18" fmla="*/ 224 w 512"/>
              <a:gd name="T19" fmla="*/ 330 h 512"/>
              <a:gd name="T20" fmla="*/ 245 w 512"/>
              <a:gd name="T21" fmla="*/ 330 h 512"/>
              <a:gd name="T22" fmla="*/ 245 w 512"/>
              <a:gd name="T23" fmla="*/ 249 h 512"/>
              <a:gd name="T24" fmla="*/ 227 w 512"/>
              <a:gd name="T25" fmla="*/ 231 h 512"/>
              <a:gd name="T26" fmla="*/ 227 w 512"/>
              <a:gd name="T27" fmla="*/ 216 h 512"/>
              <a:gd name="T28" fmla="*/ 242 w 512"/>
              <a:gd name="T29" fmla="*/ 216 h 512"/>
              <a:gd name="T30" fmla="*/ 256 w 512"/>
              <a:gd name="T31" fmla="*/ 230 h 512"/>
              <a:gd name="T32" fmla="*/ 269 w 512"/>
              <a:gd name="T33" fmla="*/ 216 h 512"/>
              <a:gd name="T34" fmla="*/ 285 w 512"/>
              <a:gd name="T35" fmla="*/ 216 h 512"/>
              <a:gd name="T36" fmla="*/ 285 w 512"/>
              <a:gd name="T37" fmla="*/ 231 h 512"/>
              <a:gd name="T38" fmla="*/ 266 w 512"/>
              <a:gd name="T39" fmla="*/ 249 h 512"/>
              <a:gd name="T40" fmla="*/ 266 w 512"/>
              <a:gd name="T41" fmla="*/ 330 h 512"/>
              <a:gd name="T42" fmla="*/ 288 w 512"/>
              <a:gd name="T43" fmla="*/ 330 h 512"/>
              <a:gd name="T44" fmla="*/ 288 w 512"/>
              <a:gd name="T45" fmla="*/ 309 h 512"/>
              <a:gd name="T46" fmla="*/ 318 w 512"/>
              <a:gd name="T47" fmla="*/ 243 h 512"/>
              <a:gd name="T48" fmla="*/ 334 w 512"/>
              <a:gd name="T49" fmla="*/ 191 h 512"/>
              <a:gd name="T50" fmla="*/ 256 w 512"/>
              <a:gd name="T51" fmla="*/ 117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56 w 512"/>
              <a:gd name="T63" fmla="*/ 191 h 512"/>
              <a:gd name="T64" fmla="*/ 256 w 512"/>
              <a:gd name="T65" fmla="*/ 96 h 512"/>
              <a:gd name="T66" fmla="*/ 256 w 512"/>
              <a:gd name="T67" fmla="*/ 96 h 512"/>
              <a:gd name="T68" fmla="*/ 256 w 512"/>
              <a:gd name="T69" fmla="*/ 96 h 512"/>
              <a:gd name="T70" fmla="*/ 256 w 512"/>
              <a:gd name="T71" fmla="*/ 96 h 512"/>
              <a:gd name="T72" fmla="*/ 255 w 512"/>
              <a:gd name="T73" fmla="*/ 96 h 512"/>
              <a:gd name="T74" fmla="*/ 157 w 512"/>
              <a:gd name="T75" fmla="*/ 191 h 512"/>
              <a:gd name="T76" fmla="*/ 176 w 512"/>
              <a:gd name="T77" fmla="*/ 254 h 512"/>
              <a:gd name="T78" fmla="*/ 202 w 512"/>
              <a:gd name="T79" fmla="*/ 309 h 512"/>
              <a:gd name="T80" fmla="*/ 202 w 512"/>
              <a:gd name="T81" fmla="*/ 341 h 512"/>
              <a:gd name="T82" fmla="*/ 203 w 512"/>
              <a:gd name="T83" fmla="*/ 342 h 512"/>
              <a:gd name="T84" fmla="*/ 202 w 512"/>
              <a:gd name="T85" fmla="*/ 343 h 512"/>
              <a:gd name="T86" fmla="*/ 213 w 512"/>
              <a:gd name="T87" fmla="*/ 407 h 512"/>
              <a:gd name="T88" fmla="*/ 224 w 512"/>
              <a:gd name="T89" fmla="*/ 416 h 512"/>
              <a:gd name="T90" fmla="*/ 288 w 512"/>
              <a:gd name="T91" fmla="*/ 416 h 512"/>
              <a:gd name="T92" fmla="*/ 298 w 512"/>
              <a:gd name="T93" fmla="*/ 407 h 512"/>
              <a:gd name="T94" fmla="*/ 309 w 512"/>
              <a:gd name="T95" fmla="*/ 343 h 512"/>
              <a:gd name="T96" fmla="*/ 309 w 512"/>
              <a:gd name="T97" fmla="*/ 342 h 512"/>
              <a:gd name="T98" fmla="*/ 309 w 512"/>
              <a:gd name="T99" fmla="*/ 341 h 512"/>
              <a:gd name="T100" fmla="*/ 309 w 512"/>
              <a:gd name="T101" fmla="*/ 309 h 512"/>
              <a:gd name="T102" fmla="*/ 336 w 512"/>
              <a:gd name="T103" fmla="*/ 254 h 512"/>
              <a:gd name="T104" fmla="*/ 356 w 512"/>
              <a:gd name="T105" fmla="*/ 19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6" y="352"/>
                  <a:pt x="286" y="352"/>
                  <a:pt x="286" y="352"/>
                </a:cubicBezTo>
                <a:cubicBezTo>
                  <a:pt x="279" y="394"/>
                  <a:pt x="279" y="394"/>
                  <a:pt x="279" y="394"/>
                </a:cubicBezTo>
                <a:cubicBezTo>
                  <a:pt x="233" y="394"/>
                  <a:pt x="233" y="394"/>
                  <a:pt x="233" y="394"/>
                </a:cubicBezTo>
                <a:lnTo>
                  <a:pt x="226" y="352"/>
                </a:lnTo>
                <a:close/>
                <a:moveTo>
                  <a:pt x="256" y="117"/>
                </a:moveTo>
                <a:cubicBezTo>
                  <a:pt x="214" y="117"/>
                  <a:pt x="178" y="151"/>
                  <a:pt x="178" y="191"/>
                </a:cubicBezTo>
                <a:cubicBezTo>
                  <a:pt x="178" y="219"/>
                  <a:pt x="194" y="242"/>
                  <a:pt x="194" y="242"/>
                </a:cubicBezTo>
                <a:cubicBezTo>
                  <a:pt x="201" y="254"/>
                  <a:pt x="224" y="292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27" y="231"/>
                  <a:pt x="227" y="231"/>
                  <a:pt x="227" y="231"/>
                </a:cubicBezTo>
                <a:cubicBezTo>
                  <a:pt x="223" y="227"/>
                  <a:pt x="223" y="220"/>
                  <a:pt x="227" y="216"/>
                </a:cubicBezTo>
                <a:cubicBezTo>
                  <a:pt x="231" y="212"/>
                  <a:pt x="238" y="212"/>
                  <a:pt x="242" y="216"/>
                </a:cubicBezTo>
                <a:cubicBezTo>
                  <a:pt x="256" y="230"/>
                  <a:pt x="256" y="230"/>
                  <a:pt x="256" y="230"/>
                </a:cubicBezTo>
                <a:cubicBezTo>
                  <a:pt x="269" y="216"/>
                  <a:pt x="269" y="216"/>
                  <a:pt x="269" y="216"/>
                </a:cubicBezTo>
                <a:cubicBezTo>
                  <a:pt x="274" y="212"/>
                  <a:pt x="280" y="212"/>
                  <a:pt x="285" y="216"/>
                </a:cubicBezTo>
                <a:cubicBezTo>
                  <a:pt x="289" y="220"/>
                  <a:pt x="289" y="227"/>
                  <a:pt x="285" y="231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292"/>
                  <a:pt x="311" y="254"/>
                  <a:pt x="318" y="243"/>
                </a:cubicBezTo>
                <a:cubicBezTo>
                  <a:pt x="318" y="242"/>
                  <a:pt x="334" y="218"/>
                  <a:pt x="334" y="191"/>
                </a:cubicBezTo>
                <a:cubicBezTo>
                  <a:pt x="334" y="151"/>
                  <a:pt x="298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6" y="191"/>
                </a:moveTo>
                <a:cubicBezTo>
                  <a:pt x="356" y="140"/>
                  <a:pt x="31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5" y="96"/>
                </a:cubicBezTo>
                <a:cubicBezTo>
                  <a:pt x="202" y="96"/>
                  <a:pt x="157" y="140"/>
                  <a:pt x="157" y="191"/>
                </a:cubicBezTo>
                <a:cubicBezTo>
                  <a:pt x="157" y="225"/>
                  <a:pt x="175" y="253"/>
                  <a:pt x="176" y="254"/>
                </a:cubicBezTo>
                <a:cubicBezTo>
                  <a:pt x="189" y="275"/>
                  <a:pt x="202" y="302"/>
                  <a:pt x="202" y="309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1"/>
                  <a:pt x="202" y="342"/>
                  <a:pt x="203" y="342"/>
                </a:cubicBezTo>
                <a:cubicBezTo>
                  <a:pt x="203" y="342"/>
                  <a:pt x="202" y="342"/>
                  <a:pt x="202" y="343"/>
                </a:cubicBezTo>
                <a:cubicBezTo>
                  <a:pt x="213" y="407"/>
                  <a:pt x="213" y="407"/>
                  <a:pt x="213" y="407"/>
                </a:cubicBezTo>
                <a:cubicBezTo>
                  <a:pt x="214" y="412"/>
                  <a:pt x="218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3" y="416"/>
                  <a:pt x="297" y="412"/>
                  <a:pt x="298" y="407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2"/>
                  <a:pt x="309" y="342"/>
                  <a:pt x="309" y="342"/>
                </a:cubicBezTo>
                <a:cubicBezTo>
                  <a:pt x="309" y="342"/>
                  <a:pt x="309" y="341"/>
                  <a:pt x="309" y="341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2"/>
                  <a:pt x="323" y="275"/>
                  <a:pt x="336" y="254"/>
                </a:cubicBezTo>
                <a:cubicBezTo>
                  <a:pt x="337" y="253"/>
                  <a:pt x="356" y="225"/>
                  <a:pt x="356" y="19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9" name="Group 541"/>
          <p:cNvGrpSpPr>
            <a:grpSpLocks noChangeAspect="1"/>
          </p:cNvGrpSpPr>
          <p:nvPr/>
        </p:nvGrpSpPr>
        <p:grpSpPr bwMode="auto">
          <a:xfrm>
            <a:off x="4917960" y="2930725"/>
            <a:ext cx="367041" cy="367041"/>
            <a:chOff x="5326" y="2494"/>
            <a:chExt cx="340" cy="340"/>
          </a:xfrm>
          <a:solidFill>
            <a:schemeClr val="accent6"/>
          </a:solidFill>
        </p:grpSpPr>
        <p:sp>
          <p:nvSpPr>
            <p:cNvPr id="300" name="Freeform 542"/>
            <p:cNvSpPr>
              <a:spLocks noEditPoints="1"/>
            </p:cNvSpPr>
            <p:nvPr/>
          </p:nvSpPr>
          <p:spPr bwMode="auto">
            <a:xfrm>
              <a:off x="5430" y="2558"/>
              <a:ext cx="132" cy="212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543"/>
            <p:cNvSpPr>
              <a:spLocks noEditPoints="1"/>
            </p:cNvSpPr>
            <p:nvPr/>
          </p:nvSpPr>
          <p:spPr bwMode="auto">
            <a:xfrm>
              <a:off x="5326" y="24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3" name="TextBox 302"/>
          <p:cNvSpPr txBox="1"/>
          <p:nvPr/>
        </p:nvSpPr>
        <p:spPr>
          <a:xfrm>
            <a:off x="4445258" y="333472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 err="1"/>
              <a:t>Lightbulb</a:t>
            </a:r>
            <a:r>
              <a:rPr lang="en-US" sz="1000" dirty="0"/>
              <a:t> 2</a:t>
            </a:r>
          </a:p>
        </p:txBody>
      </p:sp>
      <p:grpSp>
        <p:nvGrpSpPr>
          <p:cNvPr id="304" name="Group 536"/>
          <p:cNvGrpSpPr>
            <a:grpSpLocks noChangeAspect="1"/>
          </p:cNvGrpSpPr>
          <p:nvPr/>
        </p:nvGrpSpPr>
        <p:grpSpPr bwMode="auto">
          <a:xfrm>
            <a:off x="9887817" y="2051050"/>
            <a:ext cx="369021" cy="369021"/>
            <a:chOff x="2631" y="1992"/>
            <a:chExt cx="340" cy="340"/>
          </a:xfrm>
          <a:solidFill>
            <a:schemeClr val="accent6"/>
          </a:solidFill>
        </p:grpSpPr>
        <p:sp>
          <p:nvSpPr>
            <p:cNvPr id="305" name="Freeform 537"/>
            <p:cNvSpPr>
              <a:spLocks noEditPoints="1"/>
            </p:cNvSpPr>
            <p:nvPr/>
          </p:nvSpPr>
          <p:spPr bwMode="auto">
            <a:xfrm>
              <a:off x="2631" y="19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Freeform 538"/>
            <p:cNvSpPr>
              <a:spLocks noEditPoints="1"/>
            </p:cNvSpPr>
            <p:nvPr/>
          </p:nvSpPr>
          <p:spPr bwMode="auto">
            <a:xfrm>
              <a:off x="2709" y="2056"/>
              <a:ext cx="192" cy="212"/>
            </a:xfrm>
            <a:custGeom>
              <a:avLst/>
              <a:gdLst>
                <a:gd name="T0" fmla="*/ 211 w 289"/>
                <a:gd name="T1" fmla="*/ 132 h 319"/>
                <a:gd name="T2" fmla="*/ 257 w 289"/>
                <a:gd name="T3" fmla="*/ 153 h 319"/>
                <a:gd name="T4" fmla="*/ 286 w 289"/>
                <a:gd name="T5" fmla="*/ 107 h 319"/>
                <a:gd name="T6" fmla="*/ 267 w 289"/>
                <a:gd name="T7" fmla="*/ 97 h 319"/>
                <a:gd name="T8" fmla="*/ 149 w 289"/>
                <a:gd name="T9" fmla="*/ 32 h 319"/>
                <a:gd name="T10" fmla="*/ 139 w 289"/>
                <a:gd name="T11" fmla="*/ 0 h 319"/>
                <a:gd name="T12" fmla="*/ 128 w 289"/>
                <a:gd name="T13" fmla="*/ 128 h 319"/>
                <a:gd name="T14" fmla="*/ 107 w 289"/>
                <a:gd name="T15" fmla="*/ 160 h 319"/>
                <a:gd name="T16" fmla="*/ 43 w 289"/>
                <a:gd name="T17" fmla="*/ 206 h 319"/>
                <a:gd name="T18" fmla="*/ 56 w 289"/>
                <a:gd name="T19" fmla="*/ 93 h 319"/>
                <a:gd name="T20" fmla="*/ 68 w 289"/>
                <a:gd name="T21" fmla="*/ 122 h 319"/>
                <a:gd name="T22" fmla="*/ 78 w 289"/>
                <a:gd name="T23" fmla="*/ 111 h 319"/>
                <a:gd name="T24" fmla="*/ 64 w 289"/>
                <a:gd name="T25" fmla="*/ 55 h 319"/>
                <a:gd name="T26" fmla="*/ 9 w 289"/>
                <a:gd name="T27" fmla="*/ 70 h 319"/>
                <a:gd name="T28" fmla="*/ 20 w 289"/>
                <a:gd name="T29" fmla="*/ 80 h 319"/>
                <a:gd name="T30" fmla="*/ 11 w 289"/>
                <a:gd name="T31" fmla="*/ 160 h 319"/>
                <a:gd name="T32" fmla="*/ 7 w 289"/>
                <a:gd name="T33" fmla="*/ 227 h 319"/>
                <a:gd name="T34" fmla="*/ 12 w 289"/>
                <a:gd name="T35" fmla="*/ 247 h 319"/>
                <a:gd name="T36" fmla="*/ 119 w 289"/>
                <a:gd name="T37" fmla="*/ 185 h 319"/>
                <a:gd name="T38" fmla="*/ 159 w 289"/>
                <a:gd name="T39" fmla="*/ 184 h 319"/>
                <a:gd name="T40" fmla="*/ 139 w 289"/>
                <a:gd name="T41" fmla="*/ 266 h 319"/>
                <a:gd name="T42" fmla="*/ 138 w 289"/>
                <a:gd name="T43" fmla="*/ 254 h 319"/>
                <a:gd name="T44" fmla="*/ 126 w 289"/>
                <a:gd name="T45" fmla="*/ 237 h 319"/>
                <a:gd name="T46" fmla="*/ 89 w 289"/>
                <a:gd name="T47" fmla="*/ 262 h 319"/>
                <a:gd name="T48" fmla="*/ 111 w 289"/>
                <a:gd name="T49" fmla="*/ 314 h 319"/>
                <a:gd name="T50" fmla="*/ 125 w 289"/>
                <a:gd name="T51" fmla="*/ 317 h 319"/>
                <a:gd name="T52" fmla="*/ 118 w 289"/>
                <a:gd name="T53" fmla="*/ 286 h 319"/>
                <a:gd name="T54" fmla="*/ 243 w 289"/>
                <a:gd name="T55" fmla="*/ 234 h 319"/>
                <a:gd name="T56" fmla="*/ 267 w 289"/>
                <a:gd name="T57" fmla="*/ 247 h 319"/>
                <a:gd name="T58" fmla="*/ 272 w 289"/>
                <a:gd name="T59" fmla="*/ 227 h 319"/>
                <a:gd name="T60" fmla="*/ 171 w 289"/>
                <a:gd name="T61" fmla="*/ 160 h 319"/>
                <a:gd name="T62" fmla="*/ 149 w 289"/>
                <a:gd name="T63" fmla="*/ 128 h 319"/>
                <a:gd name="T64" fmla="*/ 238 w 289"/>
                <a:gd name="T65" fmla="*/ 121 h 319"/>
                <a:gd name="T66" fmla="*/ 207 w 289"/>
                <a:gd name="T67" fmla="*/ 118 h 319"/>
                <a:gd name="T68" fmla="*/ 139 w 289"/>
                <a:gd name="T69" fmla="*/ 170 h 319"/>
                <a:gd name="T70" fmla="*/ 139 w 289"/>
                <a:gd name="T71" fmla="*/ 14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9" h="319">
                  <a:moveTo>
                    <a:pt x="207" y="118"/>
                  </a:moveTo>
                  <a:cubicBezTo>
                    <a:pt x="204" y="123"/>
                    <a:pt x="206" y="129"/>
                    <a:pt x="211" y="132"/>
                  </a:cubicBezTo>
                  <a:cubicBezTo>
                    <a:pt x="252" y="152"/>
                    <a:pt x="252" y="152"/>
                    <a:pt x="252" y="152"/>
                  </a:cubicBezTo>
                  <a:cubicBezTo>
                    <a:pt x="253" y="153"/>
                    <a:pt x="255" y="153"/>
                    <a:pt x="257" y="153"/>
                  </a:cubicBezTo>
                  <a:cubicBezTo>
                    <a:pt x="261" y="153"/>
                    <a:pt x="264" y="151"/>
                    <a:pt x="266" y="147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9" y="101"/>
                    <a:pt x="287" y="95"/>
                    <a:pt x="282" y="92"/>
                  </a:cubicBezTo>
                  <a:cubicBezTo>
                    <a:pt x="276" y="90"/>
                    <a:pt x="270" y="92"/>
                    <a:pt x="267" y="97"/>
                  </a:cubicBezTo>
                  <a:cubicBezTo>
                    <a:pt x="259" y="115"/>
                    <a:pt x="259" y="115"/>
                    <a:pt x="259" y="115"/>
                  </a:cubicBezTo>
                  <a:cubicBezTo>
                    <a:pt x="241" y="69"/>
                    <a:pt x="199" y="36"/>
                    <a:pt x="149" y="32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ubicBezTo>
                    <a:pt x="133" y="0"/>
                    <a:pt x="128" y="4"/>
                    <a:pt x="128" y="10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28"/>
                    <a:pt x="128" y="129"/>
                    <a:pt x="128" y="130"/>
                  </a:cubicBezTo>
                  <a:cubicBezTo>
                    <a:pt x="116" y="134"/>
                    <a:pt x="107" y="146"/>
                    <a:pt x="107" y="160"/>
                  </a:cubicBezTo>
                  <a:cubicBezTo>
                    <a:pt x="107" y="162"/>
                    <a:pt x="107" y="165"/>
                    <a:pt x="108" y="167"/>
                  </a:cubicBezTo>
                  <a:cubicBezTo>
                    <a:pt x="43" y="206"/>
                    <a:pt x="43" y="206"/>
                    <a:pt x="43" y="206"/>
                  </a:cubicBezTo>
                  <a:cubicBezTo>
                    <a:pt x="36" y="191"/>
                    <a:pt x="32" y="176"/>
                    <a:pt x="32" y="160"/>
                  </a:cubicBezTo>
                  <a:cubicBezTo>
                    <a:pt x="32" y="135"/>
                    <a:pt x="41" y="111"/>
                    <a:pt x="56" y="93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8"/>
                    <a:pt x="62" y="122"/>
                    <a:pt x="68" y="122"/>
                  </a:cubicBezTo>
                  <a:cubicBezTo>
                    <a:pt x="68" y="122"/>
                    <a:pt x="68" y="122"/>
                    <a:pt x="68" y="122"/>
                  </a:cubicBezTo>
                  <a:cubicBezTo>
                    <a:pt x="74" y="121"/>
                    <a:pt x="79" y="116"/>
                    <a:pt x="78" y="111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75" y="59"/>
                    <a:pt x="70" y="55"/>
                    <a:pt x="64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3" y="59"/>
                    <a:pt x="9" y="64"/>
                    <a:pt x="9" y="70"/>
                  </a:cubicBezTo>
                  <a:cubicBezTo>
                    <a:pt x="9" y="75"/>
                    <a:pt x="14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21" y="101"/>
                    <a:pt x="11" y="130"/>
                    <a:pt x="11" y="160"/>
                  </a:cubicBezTo>
                  <a:cubicBezTo>
                    <a:pt x="11" y="180"/>
                    <a:pt x="16" y="199"/>
                    <a:pt x="24" y="217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2" y="230"/>
                    <a:pt x="0" y="237"/>
                    <a:pt x="3" y="242"/>
                  </a:cubicBezTo>
                  <a:cubicBezTo>
                    <a:pt x="5" y="245"/>
                    <a:pt x="9" y="247"/>
                    <a:pt x="12" y="247"/>
                  </a:cubicBezTo>
                  <a:cubicBezTo>
                    <a:pt x="14" y="247"/>
                    <a:pt x="16" y="246"/>
                    <a:pt x="18" y="245"/>
                  </a:cubicBezTo>
                  <a:cubicBezTo>
                    <a:pt x="119" y="185"/>
                    <a:pt x="119" y="185"/>
                    <a:pt x="119" y="185"/>
                  </a:cubicBezTo>
                  <a:cubicBezTo>
                    <a:pt x="125" y="189"/>
                    <a:pt x="131" y="192"/>
                    <a:pt x="139" y="192"/>
                  </a:cubicBezTo>
                  <a:cubicBezTo>
                    <a:pt x="146" y="192"/>
                    <a:pt x="153" y="189"/>
                    <a:pt x="159" y="184"/>
                  </a:cubicBezTo>
                  <a:cubicBezTo>
                    <a:pt x="224" y="223"/>
                    <a:pt x="224" y="223"/>
                    <a:pt x="224" y="223"/>
                  </a:cubicBezTo>
                  <a:cubicBezTo>
                    <a:pt x="204" y="250"/>
                    <a:pt x="173" y="266"/>
                    <a:pt x="139" y="266"/>
                  </a:cubicBezTo>
                  <a:cubicBezTo>
                    <a:pt x="133" y="266"/>
                    <a:pt x="128" y="266"/>
                    <a:pt x="122" y="265"/>
                  </a:cubicBezTo>
                  <a:cubicBezTo>
                    <a:pt x="138" y="254"/>
                    <a:pt x="138" y="254"/>
                    <a:pt x="138" y="254"/>
                  </a:cubicBezTo>
                  <a:cubicBezTo>
                    <a:pt x="143" y="251"/>
                    <a:pt x="144" y="244"/>
                    <a:pt x="141" y="240"/>
                  </a:cubicBezTo>
                  <a:cubicBezTo>
                    <a:pt x="138" y="235"/>
                    <a:pt x="131" y="233"/>
                    <a:pt x="126" y="237"/>
                  </a:cubicBezTo>
                  <a:cubicBezTo>
                    <a:pt x="89" y="262"/>
                    <a:pt x="89" y="262"/>
                    <a:pt x="89" y="262"/>
                  </a:cubicBezTo>
                  <a:cubicBezTo>
                    <a:pt x="89" y="262"/>
                    <a:pt x="89" y="262"/>
                    <a:pt x="89" y="262"/>
                  </a:cubicBezTo>
                  <a:cubicBezTo>
                    <a:pt x="84" y="265"/>
                    <a:pt x="82" y="271"/>
                    <a:pt x="86" y="276"/>
                  </a:cubicBezTo>
                  <a:cubicBezTo>
                    <a:pt x="111" y="314"/>
                    <a:pt x="111" y="314"/>
                    <a:pt x="111" y="314"/>
                  </a:cubicBezTo>
                  <a:cubicBezTo>
                    <a:pt x="113" y="317"/>
                    <a:pt x="116" y="319"/>
                    <a:pt x="120" y="319"/>
                  </a:cubicBezTo>
                  <a:cubicBezTo>
                    <a:pt x="122" y="319"/>
                    <a:pt x="124" y="318"/>
                    <a:pt x="125" y="317"/>
                  </a:cubicBezTo>
                  <a:cubicBezTo>
                    <a:pt x="130" y="314"/>
                    <a:pt x="132" y="307"/>
                    <a:pt x="128" y="302"/>
                  </a:cubicBezTo>
                  <a:cubicBezTo>
                    <a:pt x="118" y="286"/>
                    <a:pt x="118" y="286"/>
                    <a:pt x="118" y="286"/>
                  </a:cubicBezTo>
                  <a:cubicBezTo>
                    <a:pt x="125" y="287"/>
                    <a:pt x="132" y="288"/>
                    <a:pt x="139" y="288"/>
                  </a:cubicBezTo>
                  <a:cubicBezTo>
                    <a:pt x="180" y="288"/>
                    <a:pt x="219" y="267"/>
                    <a:pt x="243" y="234"/>
                  </a:cubicBezTo>
                  <a:cubicBezTo>
                    <a:pt x="261" y="245"/>
                    <a:pt x="261" y="245"/>
                    <a:pt x="261" y="245"/>
                  </a:cubicBezTo>
                  <a:cubicBezTo>
                    <a:pt x="263" y="246"/>
                    <a:pt x="265" y="247"/>
                    <a:pt x="267" y="247"/>
                  </a:cubicBezTo>
                  <a:cubicBezTo>
                    <a:pt x="271" y="247"/>
                    <a:pt x="274" y="245"/>
                    <a:pt x="276" y="242"/>
                  </a:cubicBezTo>
                  <a:cubicBezTo>
                    <a:pt x="279" y="237"/>
                    <a:pt x="277" y="230"/>
                    <a:pt x="272" y="227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4"/>
                    <a:pt x="171" y="162"/>
                    <a:pt x="171" y="160"/>
                  </a:cubicBezTo>
                  <a:cubicBezTo>
                    <a:pt x="171" y="146"/>
                    <a:pt x="162" y="134"/>
                    <a:pt x="149" y="130"/>
                  </a:cubicBezTo>
                  <a:cubicBezTo>
                    <a:pt x="149" y="129"/>
                    <a:pt x="149" y="128"/>
                    <a:pt x="149" y="128"/>
                  </a:cubicBezTo>
                  <a:cubicBezTo>
                    <a:pt x="149" y="54"/>
                    <a:pt x="149" y="54"/>
                    <a:pt x="149" y="54"/>
                  </a:cubicBezTo>
                  <a:cubicBezTo>
                    <a:pt x="190" y="58"/>
                    <a:pt x="224" y="84"/>
                    <a:pt x="238" y="121"/>
                  </a:cubicBezTo>
                  <a:cubicBezTo>
                    <a:pt x="221" y="113"/>
                    <a:pt x="221" y="113"/>
                    <a:pt x="221" y="113"/>
                  </a:cubicBezTo>
                  <a:cubicBezTo>
                    <a:pt x="216" y="110"/>
                    <a:pt x="209" y="112"/>
                    <a:pt x="207" y="118"/>
                  </a:cubicBezTo>
                  <a:close/>
                  <a:moveTo>
                    <a:pt x="149" y="160"/>
                  </a:moveTo>
                  <a:cubicBezTo>
                    <a:pt x="149" y="166"/>
                    <a:pt x="145" y="170"/>
                    <a:pt x="139" y="170"/>
                  </a:cubicBezTo>
                  <a:cubicBezTo>
                    <a:pt x="133" y="170"/>
                    <a:pt x="128" y="166"/>
                    <a:pt x="128" y="160"/>
                  </a:cubicBezTo>
                  <a:cubicBezTo>
                    <a:pt x="128" y="154"/>
                    <a:pt x="133" y="149"/>
                    <a:pt x="139" y="149"/>
                  </a:cubicBezTo>
                  <a:cubicBezTo>
                    <a:pt x="145" y="149"/>
                    <a:pt x="149" y="154"/>
                    <a:pt x="149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7" name="Freeform 542"/>
          <p:cNvSpPr>
            <a:spLocks noChangeAspect="1" noEditPoints="1"/>
          </p:cNvSpPr>
          <p:nvPr/>
        </p:nvSpPr>
        <p:spPr bwMode="auto">
          <a:xfrm>
            <a:off x="9390619" y="2051054"/>
            <a:ext cx="369021" cy="369021"/>
          </a:xfrm>
          <a:custGeom>
            <a:avLst/>
            <a:gdLst>
              <a:gd name="T0" fmla="*/ 256 w 512"/>
              <a:gd name="T1" fmla="*/ 266 h 512"/>
              <a:gd name="T2" fmla="*/ 256 w 512"/>
              <a:gd name="T3" fmla="*/ 245 h 512"/>
              <a:gd name="T4" fmla="*/ 512 w 512"/>
              <a:gd name="T5" fmla="*/ 256 h 512"/>
              <a:gd name="T6" fmla="*/ 0 w 512"/>
              <a:gd name="T7" fmla="*/ 256 h 512"/>
              <a:gd name="T8" fmla="*/ 512 w 512"/>
              <a:gd name="T9" fmla="*/ 256 h 512"/>
              <a:gd name="T10" fmla="*/ 384 w 512"/>
              <a:gd name="T11" fmla="*/ 193 h 512"/>
              <a:gd name="T12" fmla="*/ 266 w 512"/>
              <a:gd name="T13" fmla="*/ 128 h 512"/>
              <a:gd name="T14" fmla="*/ 256 w 512"/>
              <a:gd name="T15" fmla="*/ 96 h 512"/>
              <a:gd name="T16" fmla="*/ 245 w 512"/>
              <a:gd name="T17" fmla="*/ 224 h 512"/>
              <a:gd name="T18" fmla="*/ 224 w 512"/>
              <a:gd name="T19" fmla="*/ 256 h 512"/>
              <a:gd name="T20" fmla="*/ 160 w 512"/>
              <a:gd name="T21" fmla="*/ 302 h 512"/>
              <a:gd name="T22" fmla="*/ 173 w 512"/>
              <a:gd name="T23" fmla="*/ 189 h 512"/>
              <a:gd name="T24" fmla="*/ 185 w 512"/>
              <a:gd name="T25" fmla="*/ 218 h 512"/>
              <a:gd name="T26" fmla="*/ 195 w 512"/>
              <a:gd name="T27" fmla="*/ 207 h 512"/>
              <a:gd name="T28" fmla="*/ 181 w 512"/>
              <a:gd name="T29" fmla="*/ 151 h 512"/>
              <a:gd name="T30" fmla="*/ 126 w 512"/>
              <a:gd name="T31" fmla="*/ 166 h 512"/>
              <a:gd name="T32" fmla="*/ 137 w 512"/>
              <a:gd name="T33" fmla="*/ 176 h 512"/>
              <a:gd name="T34" fmla="*/ 128 w 512"/>
              <a:gd name="T35" fmla="*/ 256 h 512"/>
              <a:gd name="T36" fmla="*/ 124 w 512"/>
              <a:gd name="T37" fmla="*/ 323 h 512"/>
              <a:gd name="T38" fmla="*/ 129 w 512"/>
              <a:gd name="T39" fmla="*/ 343 h 512"/>
              <a:gd name="T40" fmla="*/ 236 w 512"/>
              <a:gd name="T41" fmla="*/ 281 h 512"/>
              <a:gd name="T42" fmla="*/ 276 w 512"/>
              <a:gd name="T43" fmla="*/ 280 h 512"/>
              <a:gd name="T44" fmla="*/ 256 w 512"/>
              <a:gd name="T45" fmla="*/ 362 h 512"/>
              <a:gd name="T46" fmla="*/ 255 w 512"/>
              <a:gd name="T47" fmla="*/ 350 h 512"/>
              <a:gd name="T48" fmla="*/ 243 w 512"/>
              <a:gd name="T49" fmla="*/ 333 h 512"/>
              <a:gd name="T50" fmla="*/ 206 w 512"/>
              <a:gd name="T51" fmla="*/ 358 h 512"/>
              <a:gd name="T52" fmla="*/ 228 w 512"/>
              <a:gd name="T53" fmla="*/ 410 h 512"/>
              <a:gd name="T54" fmla="*/ 242 w 512"/>
              <a:gd name="T55" fmla="*/ 413 h 512"/>
              <a:gd name="T56" fmla="*/ 235 w 512"/>
              <a:gd name="T57" fmla="*/ 382 h 512"/>
              <a:gd name="T58" fmla="*/ 360 w 512"/>
              <a:gd name="T59" fmla="*/ 330 h 512"/>
              <a:gd name="T60" fmla="*/ 384 w 512"/>
              <a:gd name="T61" fmla="*/ 343 h 512"/>
              <a:gd name="T62" fmla="*/ 389 w 512"/>
              <a:gd name="T63" fmla="*/ 323 h 512"/>
              <a:gd name="T64" fmla="*/ 288 w 512"/>
              <a:gd name="T65" fmla="*/ 256 h 512"/>
              <a:gd name="T66" fmla="*/ 266 w 512"/>
              <a:gd name="T67" fmla="*/ 224 h 512"/>
              <a:gd name="T68" fmla="*/ 355 w 512"/>
              <a:gd name="T69" fmla="*/ 217 h 512"/>
              <a:gd name="T70" fmla="*/ 324 w 512"/>
              <a:gd name="T71" fmla="*/ 214 h 512"/>
              <a:gd name="T72" fmla="*/ 369 w 512"/>
              <a:gd name="T73" fmla="*/ 248 h 512"/>
              <a:gd name="T74" fmla="*/ 383 w 512"/>
              <a:gd name="T75" fmla="*/ 243 h 512"/>
              <a:gd name="T76" fmla="*/ 399 w 512"/>
              <a:gd name="T77" fmla="*/ 1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66" y="256"/>
                </a:moveTo>
                <a:cubicBezTo>
                  <a:pt x="266" y="262"/>
                  <a:pt x="262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ubicBezTo>
                  <a:pt x="245" y="250"/>
                  <a:pt x="250" y="245"/>
                  <a:pt x="256" y="245"/>
                </a:cubicBezTo>
                <a:cubicBezTo>
                  <a:pt x="262" y="245"/>
                  <a:pt x="266" y="250"/>
                  <a:pt x="266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9" y="188"/>
                </a:moveTo>
                <a:cubicBezTo>
                  <a:pt x="393" y="186"/>
                  <a:pt x="387" y="188"/>
                  <a:pt x="384" y="193"/>
                </a:cubicBezTo>
                <a:cubicBezTo>
                  <a:pt x="376" y="211"/>
                  <a:pt x="376" y="211"/>
                  <a:pt x="376" y="211"/>
                </a:cubicBezTo>
                <a:cubicBezTo>
                  <a:pt x="358" y="165"/>
                  <a:pt x="316" y="132"/>
                  <a:pt x="266" y="128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24"/>
                  <a:pt x="245" y="225"/>
                  <a:pt x="245" y="226"/>
                </a:cubicBezTo>
                <a:cubicBezTo>
                  <a:pt x="233" y="230"/>
                  <a:pt x="224" y="242"/>
                  <a:pt x="224" y="256"/>
                </a:cubicBezTo>
                <a:cubicBezTo>
                  <a:pt x="224" y="258"/>
                  <a:pt x="224" y="261"/>
                  <a:pt x="225" y="263"/>
                </a:cubicBezTo>
                <a:cubicBezTo>
                  <a:pt x="160" y="302"/>
                  <a:pt x="160" y="302"/>
                  <a:pt x="160" y="302"/>
                </a:cubicBezTo>
                <a:cubicBezTo>
                  <a:pt x="153" y="287"/>
                  <a:pt x="149" y="272"/>
                  <a:pt x="149" y="256"/>
                </a:cubicBezTo>
                <a:cubicBezTo>
                  <a:pt x="149" y="231"/>
                  <a:pt x="158" y="207"/>
                  <a:pt x="173" y="189"/>
                </a:cubicBezTo>
                <a:cubicBezTo>
                  <a:pt x="174" y="208"/>
                  <a:pt x="174" y="208"/>
                  <a:pt x="174" y="208"/>
                </a:cubicBezTo>
                <a:cubicBezTo>
                  <a:pt x="174" y="214"/>
                  <a:pt x="179" y="218"/>
                  <a:pt x="185" y="218"/>
                </a:cubicBezTo>
                <a:cubicBezTo>
                  <a:pt x="185" y="218"/>
                  <a:pt x="185" y="218"/>
                  <a:pt x="185" y="218"/>
                </a:cubicBezTo>
                <a:cubicBezTo>
                  <a:pt x="191" y="217"/>
                  <a:pt x="196" y="212"/>
                  <a:pt x="195" y="207"/>
                </a:cubicBezTo>
                <a:cubicBezTo>
                  <a:pt x="192" y="161"/>
                  <a:pt x="192" y="161"/>
                  <a:pt x="192" y="161"/>
                </a:cubicBezTo>
                <a:cubicBezTo>
                  <a:pt x="192" y="155"/>
                  <a:pt x="187" y="151"/>
                  <a:pt x="181" y="151"/>
                </a:cubicBezTo>
                <a:cubicBezTo>
                  <a:pt x="136" y="154"/>
                  <a:pt x="136" y="154"/>
                  <a:pt x="136" y="154"/>
                </a:cubicBezTo>
                <a:cubicBezTo>
                  <a:pt x="130" y="155"/>
                  <a:pt x="126" y="160"/>
                  <a:pt x="126" y="166"/>
                </a:cubicBezTo>
                <a:cubicBezTo>
                  <a:pt x="126" y="171"/>
                  <a:pt x="131" y="176"/>
                  <a:pt x="137" y="176"/>
                </a:cubicBezTo>
                <a:cubicBezTo>
                  <a:pt x="137" y="176"/>
                  <a:pt x="137" y="176"/>
                  <a:pt x="137" y="176"/>
                </a:cubicBezTo>
                <a:cubicBezTo>
                  <a:pt x="157" y="174"/>
                  <a:pt x="157" y="174"/>
                  <a:pt x="157" y="174"/>
                </a:cubicBezTo>
                <a:cubicBezTo>
                  <a:pt x="138" y="197"/>
                  <a:pt x="128" y="226"/>
                  <a:pt x="128" y="256"/>
                </a:cubicBezTo>
                <a:cubicBezTo>
                  <a:pt x="128" y="276"/>
                  <a:pt x="133" y="295"/>
                  <a:pt x="141" y="313"/>
                </a:cubicBezTo>
                <a:cubicBezTo>
                  <a:pt x="124" y="323"/>
                  <a:pt x="124" y="323"/>
                  <a:pt x="124" y="323"/>
                </a:cubicBezTo>
                <a:cubicBezTo>
                  <a:pt x="119" y="326"/>
                  <a:pt x="117" y="333"/>
                  <a:pt x="120" y="338"/>
                </a:cubicBezTo>
                <a:cubicBezTo>
                  <a:pt x="122" y="341"/>
                  <a:pt x="126" y="343"/>
                  <a:pt x="129" y="343"/>
                </a:cubicBezTo>
                <a:cubicBezTo>
                  <a:pt x="131" y="343"/>
                  <a:pt x="133" y="342"/>
                  <a:pt x="135" y="341"/>
                </a:cubicBezTo>
                <a:cubicBezTo>
                  <a:pt x="236" y="281"/>
                  <a:pt x="236" y="281"/>
                  <a:pt x="236" y="281"/>
                </a:cubicBezTo>
                <a:cubicBezTo>
                  <a:pt x="242" y="285"/>
                  <a:pt x="248" y="288"/>
                  <a:pt x="256" y="288"/>
                </a:cubicBezTo>
                <a:cubicBezTo>
                  <a:pt x="263" y="288"/>
                  <a:pt x="270" y="285"/>
                  <a:pt x="276" y="280"/>
                </a:cubicBezTo>
                <a:cubicBezTo>
                  <a:pt x="341" y="319"/>
                  <a:pt x="341" y="319"/>
                  <a:pt x="341" y="319"/>
                </a:cubicBezTo>
                <a:cubicBezTo>
                  <a:pt x="321" y="346"/>
                  <a:pt x="290" y="362"/>
                  <a:pt x="256" y="362"/>
                </a:cubicBezTo>
                <a:cubicBezTo>
                  <a:pt x="250" y="362"/>
                  <a:pt x="245" y="362"/>
                  <a:pt x="239" y="361"/>
                </a:cubicBezTo>
                <a:cubicBezTo>
                  <a:pt x="255" y="350"/>
                  <a:pt x="255" y="350"/>
                  <a:pt x="255" y="350"/>
                </a:cubicBezTo>
                <a:cubicBezTo>
                  <a:pt x="260" y="347"/>
                  <a:pt x="261" y="340"/>
                  <a:pt x="258" y="336"/>
                </a:cubicBezTo>
                <a:cubicBezTo>
                  <a:pt x="255" y="331"/>
                  <a:pt x="248" y="329"/>
                  <a:pt x="243" y="333"/>
                </a:cubicBezTo>
                <a:cubicBezTo>
                  <a:pt x="206" y="358"/>
                  <a:pt x="206" y="358"/>
                  <a:pt x="206" y="358"/>
                </a:cubicBezTo>
                <a:cubicBezTo>
                  <a:pt x="206" y="358"/>
                  <a:pt x="206" y="358"/>
                  <a:pt x="206" y="358"/>
                </a:cubicBezTo>
                <a:cubicBezTo>
                  <a:pt x="201" y="361"/>
                  <a:pt x="199" y="367"/>
                  <a:pt x="203" y="372"/>
                </a:cubicBezTo>
                <a:cubicBezTo>
                  <a:pt x="228" y="410"/>
                  <a:pt x="228" y="410"/>
                  <a:pt x="228" y="410"/>
                </a:cubicBezTo>
                <a:cubicBezTo>
                  <a:pt x="230" y="413"/>
                  <a:pt x="233" y="415"/>
                  <a:pt x="237" y="415"/>
                </a:cubicBezTo>
                <a:cubicBezTo>
                  <a:pt x="239" y="415"/>
                  <a:pt x="241" y="414"/>
                  <a:pt x="242" y="413"/>
                </a:cubicBezTo>
                <a:cubicBezTo>
                  <a:pt x="247" y="410"/>
                  <a:pt x="249" y="403"/>
                  <a:pt x="245" y="398"/>
                </a:cubicBezTo>
                <a:cubicBezTo>
                  <a:pt x="235" y="382"/>
                  <a:pt x="235" y="382"/>
                  <a:pt x="235" y="382"/>
                </a:cubicBezTo>
                <a:cubicBezTo>
                  <a:pt x="242" y="383"/>
                  <a:pt x="249" y="384"/>
                  <a:pt x="256" y="384"/>
                </a:cubicBezTo>
                <a:cubicBezTo>
                  <a:pt x="297" y="384"/>
                  <a:pt x="336" y="363"/>
                  <a:pt x="360" y="330"/>
                </a:cubicBezTo>
                <a:cubicBezTo>
                  <a:pt x="378" y="341"/>
                  <a:pt x="378" y="341"/>
                  <a:pt x="378" y="341"/>
                </a:cubicBezTo>
                <a:cubicBezTo>
                  <a:pt x="380" y="342"/>
                  <a:pt x="382" y="343"/>
                  <a:pt x="384" y="343"/>
                </a:cubicBezTo>
                <a:cubicBezTo>
                  <a:pt x="388" y="343"/>
                  <a:pt x="391" y="341"/>
                  <a:pt x="393" y="338"/>
                </a:cubicBezTo>
                <a:cubicBezTo>
                  <a:pt x="396" y="333"/>
                  <a:pt x="394" y="326"/>
                  <a:pt x="389" y="323"/>
                </a:cubicBezTo>
                <a:cubicBezTo>
                  <a:pt x="287" y="262"/>
                  <a:pt x="287" y="262"/>
                  <a:pt x="287" y="262"/>
                </a:cubicBezTo>
                <a:cubicBezTo>
                  <a:pt x="287" y="260"/>
                  <a:pt x="288" y="258"/>
                  <a:pt x="288" y="256"/>
                </a:cubicBezTo>
                <a:cubicBezTo>
                  <a:pt x="288" y="242"/>
                  <a:pt x="279" y="230"/>
                  <a:pt x="266" y="226"/>
                </a:cubicBezTo>
                <a:cubicBezTo>
                  <a:pt x="266" y="225"/>
                  <a:pt x="266" y="224"/>
                  <a:pt x="266" y="224"/>
                </a:cubicBezTo>
                <a:cubicBezTo>
                  <a:pt x="266" y="150"/>
                  <a:pt x="266" y="150"/>
                  <a:pt x="266" y="150"/>
                </a:cubicBezTo>
                <a:cubicBezTo>
                  <a:pt x="307" y="154"/>
                  <a:pt x="341" y="180"/>
                  <a:pt x="355" y="217"/>
                </a:cubicBezTo>
                <a:cubicBezTo>
                  <a:pt x="338" y="209"/>
                  <a:pt x="338" y="209"/>
                  <a:pt x="338" y="209"/>
                </a:cubicBezTo>
                <a:cubicBezTo>
                  <a:pt x="333" y="206"/>
                  <a:pt x="326" y="208"/>
                  <a:pt x="324" y="214"/>
                </a:cubicBezTo>
                <a:cubicBezTo>
                  <a:pt x="321" y="219"/>
                  <a:pt x="323" y="225"/>
                  <a:pt x="328" y="228"/>
                </a:cubicBezTo>
                <a:cubicBezTo>
                  <a:pt x="369" y="248"/>
                  <a:pt x="369" y="248"/>
                  <a:pt x="369" y="248"/>
                </a:cubicBezTo>
                <a:cubicBezTo>
                  <a:pt x="370" y="249"/>
                  <a:pt x="372" y="249"/>
                  <a:pt x="374" y="249"/>
                </a:cubicBezTo>
                <a:cubicBezTo>
                  <a:pt x="378" y="249"/>
                  <a:pt x="381" y="247"/>
                  <a:pt x="383" y="243"/>
                </a:cubicBezTo>
                <a:cubicBezTo>
                  <a:pt x="403" y="203"/>
                  <a:pt x="403" y="203"/>
                  <a:pt x="403" y="203"/>
                </a:cubicBezTo>
                <a:cubicBezTo>
                  <a:pt x="406" y="197"/>
                  <a:pt x="404" y="191"/>
                  <a:pt x="399" y="18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8" name="Freeform 83"/>
          <p:cNvSpPr>
            <a:spLocks noChangeAspect="1" noEditPoints="1"/>
          </p:cNvSpPr>
          <p:nvPr/>
        </p:nvSpPr>
        <p:spPr bwMode="auto">
          <a:xfrm>
            <a:off x="5412854" y="2930725"/>
            <a:ext cx="368712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30 w 512"/>
              <a:gd name="T11" fmla="*/ 412 h 512"/>
              <a:gd name="T12" fmla="*/ 321 w 512"/>
              <a:gd name="T13" fmla="*/ 416 h 512"/>
              <a:gd name="T14" fmla="*/ 149 w 512"/>
              <a:gd name="T15" fmla="*/ 416 h 512"/>
              <a:gd name="T16" fmla="*/ 141 w 512"/>
              <a:gd name="T17" fmla="*/ 412 h 512"/>
              <a:gd name="T18" fmla="*/ 139 w 512"/>
              <a:gd name="T19" fmla="*/ 403 h 512"/>
              <a:gd name="T20" fmla="*/ 160 w 512"/>
              <a:gd name="T21" fmla="*/ 287 h 512"/>
              <a:gd name="T22" fmla="*/ 160 w 512"/>
              <a:gd name="T23" fmla="*/ 224 h 512"/>
              <a:gd name="T24" fmla="*/ 167 w 512"/>
              <a:gd name="T25" fmla="*/ 214 h 512"/>
              <a:gd name="T26" fmla="*/ 234 w 512"/>
              <a:gd name="T27" fmla="*/ 202 h 512"/>
              <a:gd name="T28" fmla="*/ 302 w 512"/>
              <a:gd name="T29" fmla="*/ 214 h 512"/>
              <a:gd name="T30" fmla="*/ 309 w 512"/>
              <a:gd name="T31" fmla="*/ 224 h 512"/>
              <a:gd name="T32" fmla="*/ 309 w 512"/>
              <a:gd name="T33" fmla="*/ 287 h 512"/>
              <a:gd name="T34" fmla="*/ 332 w 512"/>
              <a:gd name="T35" fmla="*/ 403 h 512"/>
              <a:gd name="T36" fmla="*/ 330 w 512"/>
              <a:gd name="T37" fmla="*/ 412 h 512"/>
              <a:gd name="T38" fmla="*/ 352 w 512"/>
              <a:gd name="T39" fmla="*/ 213 h 512"/>
              <a:gd name="T40" fmla="*/ 341 w 512"/>
              <a:gd name="T41" fmla="*/ 213 h 512"/>
              <a:gd name="T42" fmla="*/ 330 w 512"/>
              <a:gd name="T43" fmla="*/ 202 h 512"/>
              <a:gd name="T44" fmla="*/ 341 w 512"/>
              <a:gd name="T45" fmla="*/ 192 h 512"/>
              <a:gd name="T46" fmla="*/ 352 w 512"/>
              <a:gd name="T47" fmla="*/ 192 h 512"/>
              <a:gd name="T48" fmla="*/ 368 w 512"/>
              <a:gd name="T49" fmla="*/ 176 h 512"/>
              <a:gd name="T50" fmla="*/ 352 w 512"/>
              <a:gd name="T51" fmla="*/ 160 h 512"/>
              <a:gd name="T52" fmla="*/ 341 w 512"/>
              <a:gd name="T53" fmla="*/ 149 h 512"/>
              <a:gd name="T54" fmla="*/ 309 w 512"/>
              <a:gd name="T55" fmla="*/ 117 h 512"/>
              <a:gd name="T56" fmla="*/ 278 w 512"/>
              <a:gd name="T57" fmla="*/ 143 h 512"/>
              <a:gd name="T58" fmla="*/ 272 w 512"/>
              <a:gd name="T59" fmla="*/ 150 h 512"/>
              <a:gd name="T60" fmla="*/ 263 w 512"/>
              <a:gd name="T61" fmla="*/ 150 h 512"/>
              <a:gd name="T62" fmla="*/ 234 w 512"/>
              <a:gd name="T63" fmla="*/ 170 h 512"/>
              <a:gd name="T64" fmla="*/ 224 w 512"/>
              <a:gd name="T65" fmla="*/ 181 h 512"/>
              <a:gd name="T66" fmla="*/ 213 w 512"/>
              <a:gd name="T67" fmla="*/ 170 h 512"/>
              <a:gd name="T68" fmla="*/ 260 w 512"/>
              <a:gd name="T69" fmla="*/ 128 h 512"/>
              <a:gd name="T70" fmla="*/ 309 w 512"/>
              <a:gd name="T71" fmla="*/ 96 h 512"/>
              <a:gd name="T72" fmla="*/ 362 w 512"/>
              <a:gd name="T73" fmla="*/ 140 h 512"/>
              <a:gd name="T74" fmla="*/ 389 w 512"/>
              <a:gd name="T75" fmla="*/ 176 h 512"/>
              <a:gd name="T76" fmla="*/ 352 w 512"/>
              <a:gd name="T77" fmla="*/ 213 h 512"/>
              <a:gd name="T78" fmla="*/ 288 w 512"/>
              <a:gd name="T79" fmla="*/ 290 h 512"/>
              <a:gd name="T80" fmla="*/ 308 w 512"/>
              <a:gd name="T81" fmla="*/ 394 h 512"/>
              <a:gd name="T82" fmla="*/ 162 w 512"/>
              <a:gd name="T83" fmla="*/ 394 h 512"/>
              <a:gd name="T84" fmla="*/ 181 w 512"/>
              <a:gd name="T85" fmla="*/ 290 h 512"/>
              <a:gd name="T86" fmla="*/ 181 w 512"/>
              <a:gd name="T87" fmla="*/ 288 h 512"/>
              <a:gd name="T88" fmla="*/ 181 w 512"/>
              <a:gd name="T89" fmla="*/ 232 h 512"/>
              <a:gd name="T90" fmla="*/ 234 w 512"/>
              <a:gd name="T91" fmla="*/ 224 h 512"/>
              <a:gd name="T92" fmla="*/ 288 w 512"/>
              <a:gd name="T93" fmla="*/ 232 h 512"/>
              <a:gd name="T94" fmla="*/ 288 w 512"/>
              <a:gd name="T95" fmla="*/ 288 h 512"/>
              <a:gd name="T96" fmla="*/ 288 w 512"/>
              <a:gd name="T97" fmla="*/ 29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412"/>
                </a:moveTo>
                <a:cubicBezTo>
                  <a:pt x="328" y="414"/>
                  <a:pt x="325" y="416"/>
                  <a:pt x="321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6" y="416"/>
                  <a:pt x="143" y="414"/>
                  <a:pt x="141" y="412"/>
                </a:cubicBezTo>
                <a:cubicBezTo>
                  <a:pt x="139" y="409"/>
                  <a:pt x="138" y="406"/>
                  <a:pt x="139" y="403"/>
                </a:cubicBezTo>
                <a:cubicBezTo>
                  <a:pt x="160" y="287"/>
                  <a:pt x="160" y="287"/>
                  <a:pt x="160" y="287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19"/>
                  <a:pt x="163" y="215"/>
                  <a:pt x="167" y="214"/>
                </a:cubicBezTo>
                <a:cubicBezTo>
                  <a:pt x="168" y="213"/>
                  <a:pt x="201" y="202"/>
                  <a:pt x="234" y="202"/>
                </a:cubicBezTo>
                <a:cubicBezTo>
                  <a:pt x="267" y="202"/>
                  <a:pt x="300" y="213"/>
                  <a:pt x="302" y="214"/>
                </a:cubicBezTo>
                <a:cubicBezTo>
                  <a:pt x="306" y="215"/>
                  <a:pt x="309" y="219"/>
                  <a:pt x="309" y="224"/>
                </a:cubicBezTo>
                <a:cubicBezTo>
                  <a:pt x="309" y="287"/>
                  <a:pt x="309" y="287"/>
                  <a:pt x="309" y="287"/>
                </a:cubicBezTo>
                <a:cubicBezTo>
                  <a:pt x="332" y="403"/>
                  <a:pt x="332" y="403"/>
                  <a:pt x="332" y="403"/>
                </a:cubicBezTo>
                <a:cubicBezTo>
                  <a:pt x="333" y="406"/>
                  <a:pt x="332" y="409"/>
                  <a:pt x="330" y="412"/>
                </a:cubicBezTo>
                <a:close/>
                <a:moveTo>
                  <a:pt x="352" y="213"/>
                </a:moveTo>
                <a:cubicBezTo>
                  <a:pt x="341" y="213"/>
                  <a:pt x="341" y="213"/>
                  <a:pt x="341" y="213"/>
                </a:cubicBezTo>
                <a:cubicBezTo>
                  <a:pt x="335" y="213"/>
                  <a:pt x="330" y="208"/>
                  <a:pt x="330" y="202"/>
                </a:cubicBezTo>
                <a:cubicBezTo>
                  <a:pt x="330" y="196"/>
                  <a:pt x="335" y="192"/>
                  <a:pt x="341" y="192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360" y="192"/>
                  <a:pt x="368" y="184"/>
                  <a:pt x="368" y="176"/>
                </a:cubicBezTo>
                <a:cubicBezTo>
                  <a:pt x="368" y="167"/>
                  <a:pt x="360" y="160"/>
                  <a:pt x="352" y="160"/>
                </a:cubicBezTo>
                <a:cubicBezTo>
                  <a:pt x="346" y="160"/>
                  <a:pt x="341" y="155"/>
                  <a:pt x="341" y="149"/>
                </a:cubicBezTo>
                <a:cubicBezTo>
                  <a:pt x="341" y="131"/>
                  <a:pt x="327" y="117"/>
                  <a:pt x="309" y="117"/>
                </a:cubicBezTo>
                <a:cubicBezTo>
                  <a:pt x="294" y="117"/>
                  <a:pt x="281" y="128"/>
                  <a:pt x="278" y="143"/>
                </a:cubicBezTo>
                <a:cubicBezTo>
                  <a:pt x="277" y="146"/>
                  <a:pt x="275" y="148"/>
                  <a:pt x="272" y="150"/>
                </a:cubicBezTo>
                <a:cubicBezTo>
                  <a:pt x="270" y="151"/>
                  <a:pt x="266" y="152"/>
                  <a:pt x="263" y="150"/>
                </a:cubicBezTo>
                <a:cubicBezTo>
                  <a:pt x="249" y="145"/>
                  <a:pt x="234" y="156"/>
                  <a:pt x="234" y="170"/>
                </a:cubicBezTo>
                <a:cubicBezTo>
                  <a:pt x="234" y="176"/>
                  <a:pt x="230" y="181"/>
                  <a:pt x="224" y="181"/>
                </a:cubicBezTo>
                <a:cubicBezTo>
                  <a:pt x="218" y="181"/>
                  <a:pt x="213" y="176"/>
                  <a:pt x="213" y="170"/>
                </a:cubicBezTo>
                <a:cubicBezTo>
                  <a:pt x="213" y="145"/>
                  <a:pt x="235" y="125"/>
                  <a:pt x="260" y="128"/>
                </a:cubicBezTo>
                <a:cubicBezTo>
                  <a:pt x="268" y="109"/>
                  <a:pt x="287" y="96"/>
                  <a:pt x="309" y="96"/>
                </a:cubicBezTo>
                <a:cubicBezTo>
                  <a:pt x="335" y="96"/>
                  <a:pt x="357" y="115"/>
                  <a:pt x="362" y="140"/>
                </a:cubicBezTo>
                <a:cubicBezTo>
                  <a:pt x="377" y="144"/>
                  <a:pt x="389" y="158"/>
                  <a:pt x="389" y="176"/>
                </a:cubicBezTo>
                <a:cubicBezTo>
                  <a:pt x="389" y="196"/>
                  <a:pt x="372" y="213"/>
                  <a:pt x="352" y="213"/>
                </a:cubicBezTo>
                <a:close/>
                <a:moveTo>
                  <a:pt x="288" y="290"/>
                </a:moveTo>
                <a:cubicBezTo>
                  <a:pt x="308" y="394"/>
                  <a:pt x="308" y="394"/>
                  <a:pt x="308" y="394"/>
                </a:cubicBezTo>
                <a:cubicBezTo>
                  <a:pt x="162" y="394"/>
                  <a:pt x="162" y="394"/>
                  <a:pt x="162" y="394"/>
                </a:cubicBezTo>
                <a:cubicBezTo>
                  <a:pt x="181" y="290"/>
                  <a:pt x="181" y="290"/>
                  <a:pt x="181" y="290"/>
                </a:cubicBezTo>
                <a:cubicBezTo>
                  <a:pt x="181" y="289"/>
                  <a:pt x="181" y="288"/>
                  <a:pt x="181" y="288"/>
                </a:cubicBezTo>
                <a:cubicBezTo>
                  <a:pt x="181" y="232"/>
                  <a:pt x="181" y="232"/>
                  <a:pt x="181" y="232"/>
                </a:cubicBezTo>
                <a:cubicBezTo>
                  <a:pt x="192" y="229"/>
                  <a:pt x="213" y="224"/>
                  <a:pt x="234" y="224"/>
                </a:cubicBezTo>
                <a:cubicBezTo>
                  <a:pt x="255" y="224"/>
                  <a:pt x="277" y="229"/>
                  <a:pt x="288" y="232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88"/>
                  <a:pt x="288" y="289"/>
                  <a:pt x="288" y="2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9" name="Group 308"/>
          <p:cNvGrpSpPr>
            <a:grpSpLocks noChangeAspect="1"/>
          </p:cNvGrpSpPr>
          <p:nvPr/>
        </p:nvGrpSpPr>
        <p:grpSpPr bwMode="auto">
          <a:xfrm>
            <a:off x="5909419" y="2930725"/>
            <a:ext cx="367631" cy="367631"/>
            <a:chOff x="5024" y="2494"/>
            <a:chExt cx="340" cy="340"/>
          </a:xfrm>
          <a:solidFill>
            <a:schemeClr val="accent1"/>
          </a:solidFill>
        </p:grpSpPr>
        <p:sp>
          <p:nvSpPr>
            <p:cNvPr id="310" name="Freeform 87"/>
            <p:cNvSpPr>
              <a:spLocks noEditPoints="1"/>
            </p:cNvSpPr>
            <p:nvPr/>
          </p:nvSpPr>
          <p:spPr bwMode="auto">
            <a:xfrm>
              <a:off x="5024" y="24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88"/>
            <p:cNvSpPr>
              <a:spLocks noEditPoints="1"/>
            </p:cNvSpPr>
            <p:nvPr/>
          </p:nvSpPr>
          <p:spPr bwMode="auto">
            <a:xfrm>
              <a:off x="5116" y="2558"/>
              <a:ext cx="166" cy="212"/>
            </a:xfrm>
            <a:custGeom>
              <a:avLst/>
              <a:gdLst>
                <a:gd name="T0" fmla="*/ 214 w 251"/>
                <a:gd name="T1" fmla="*/ 117 h 320"/>
                <a:gd name="T2" fmla="*/ 203 w 251"/>
                <a:gd name="T3" fmla="*/ 117 h 320"/>
                <a:gd name="T4" fmla="*/ 192 w 251"/>
                <a:gd name="T5" fmla="*/ 106 h 320"/>
                <a:gd name="T6" fmla="*/ 203 w 251"/>
                <a:gd name="T7" fmla="*/ 96 h 320"/>
                <a:gd name="T8" fmla="*/ 214 w 251"/>
                <a:gd name="T9" fmla="*/ 96 h 320"/>
                <a:gd name="T10" fmla="*/ 230 w 251"/>
                <a:gd name="T11" fmla="*/ 80 h 320"/>
                <a:gd name="T12" fmla="*/ 214 w 251"/>
                <a:gd name="T13" fmla="*/ 64 h 320"/>
                <a:gd name="T14" fmla="*/ 203 w 251"/>
                <a:gd name="T15" fmla="*/ 53 h 320"/>
                <a:gd name="T16" fmla="*/ 171 w 251"/>
                <a:gd name="T17" fmla="*/ 21 h 320"/>
                <a:gd name="T18" fmla="*/ 140 w 251"/>
                <a:gd name="T19" fmla="*/ 47 h 320"/>
                <a:gd name="T20" fmla="*/ 134 w 251"/>
                <a:gd name="T21" fmla="*/ 54 h 320"/>
                <a:gd name="T22" fmla="*/ 125 w 251"/>
                <a:gd name="T23" fmla="*/ 54 h 320"/>
                <a:gd name="T24" fmla="*/ 96 w 251"/>
                <a:gd name="T25" fmla="*/ 74 h 320"/>
                <a:gd name="T26" fmla="*/ 86 w 251"/>
                <a:gd name="T27" fmla="*/ 85 h 320"/>
                <a:gd name="T28" fmla="*/ 75 w 251"/>
                <a:gd name="T29" fmla="*/ 74 h 320"/>
                <a:gd name="T30" fmla="*/ 122 w 251"/>
                <a:gd name="T31" fmla="*/ 32 h 320"/>
                <a:gd name="T32" fmla="*/ 171 w 251"/>
                <a:gd name="T33" fmla="*/ 0 h 320"/>
                <a:gd name="T34" fmla="*/ 224 w 251"/>
                <a:gd name="T35" fmla="*/ 44 h 320"/>
                <a:gd name="T36" fmla="*/ 251 w 251"/>
                <a:gd name="T37" fmla="*/ 80 h 320"/>
                <a:gd name="T38" fmla="*/ 214 w 251"/>
                <a:gd name="T39" fmla="*/ 117 h 320"/>
                <a:gd name="T40" fmla="*/ 192 w 251"/>
                <a:gd name="T41" fmla="*/ 316 h 320"/>
                <a:gd name="T42" fmla="*/ 194 w 251"/>
                <a:gd name="T43" fmla="*/ 307 h 320"/>
                <a:gd name="T44" fmla="*/ 171 w 251"/>
                <a:gd name="T45" fmla="*/ 191 h 320"/>
                <a:gd name="T46" fmla="*/ 171 w 251"/>
                <a:gd name="T47" fmla="*/ 128 h 320"/>
                <a:gd name="T48" fmla="*/ 164 w 251"/>
                <a:gd name="T49" fmla="*/ 118 h 320"/>
                <a:gd name="T50" fmla="*/ 96 w 251"/>
                <a:gd name="T51" fmla="*/ 106 h 320"/>
                <a:gd name="T52" fmla="*/ 29 w 251"/>
                <a:gd name="T53" fmla="*/ 118 h 320"/>
                <a:gd name="T54" fmla="*/ 22 w 251"/>
                <a:gd name="T55" fmla="*/ 128 h 320"/>
                <a:gd name="T56" fmla="*/ 22 w 251"/>
                <a:gd name="T57" fmla="*/ 191 h 320"/>
                <a:gd name="T58" fmla="*/ 1 w 251"/>
                <a:gd name="T59" fmla="*/ 307 h 320"/>
                <a:gd name="T60" fmla="*/ 3 w 251"/>
                <a:gd name="T61" fmla="*/ 316 h 320"/>
                <a:gd name="T62" fmla="*/ 11 w 251"/>
                <a:gd name="T63" fmla="*/ 320 h 320"/>
                <a:gd name="T64" fmla="*/ 183 w 251"/>
                <a:gd name="T65" fmla="*/ 320 h 320"/>
                <a:gd name="T66" fmla="*/ 192 w 251"/>
                <a:gd name="T67" fmla="*/ 316 h 320"/>
                <a:gd name="T68" fmla="*/ 43 w 251"/>
                <a:gd name="T69" fmla="*/ 194 h 320"/>
                <a:gd name="T70" fmla="*/ 43 w 251"/>
                <a:gd name="T71" fmla="*/ 192 h 320"/>
                <a:gd name="T72" fmla="*/ 43 w 251"/>
                <a:gd name="T73" fmla="*/ 136 h 320"/>
                <a:gd name="T74" fmla="*/ 96 w 251"/>
                <a:gd name="T75" fmla="*/ 128 h 320"/>
                <a:gd name="T76" fmla="*/ 150 w 251"/>
                <a:gd name="T77" fmla="*/ 136 h 320"/>
                <a:gd name="T78" fmla="*/ 150 w 251"/>
                <a:gd name="T79" fmla="*/ 192 h 320"/>
                <a:gd name="T80" fmla="*/ 150 w 251"/>
                <a:gd name="T81" fmla="*/ 194 h 320"/>
                <a:gd name="T82" fmla="*/ 170 w 251"/>
                <a:gd name="T83" fmla="*/ 298 h 320"/>
                <a:gd name="T84" fmla="*/ 24 w 251"/>
                <a:gd name="T85" fmla="*/ 298 h 320"/>
                <a:gd name="T86" fmla="*/ 43 w 251"/>
                <a:gd name="T87" fmla="*/ 19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1" h="320">
                  <a:moveTo>
                    <a:pt x="214" y="117"/>
                  </a:moveTo>
                  <a:cubicBezTo>
                    <a:pt x="203" y="117"/>
                    <a:pt x="203" y="117"/>
                    <a:pt x="203" y="117"/>
                  </a:cubicBezTo>
                  <a:cubicBezTo>
                    <a:pt x="197" y="117"/>
                    <a:pt x="192" y="112"/>
                    <a:pt x="192" y="106"/>
                  </a:cubicBezTo>
                  <a:cubicBezTo>
                    <a:pt x="192" y="100"/>
                    <a:pt x="197" y="96"/>
                    <a:pt x="203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22" y="96"/>
                    <a:pt x="230" y="88"/>
                    <a:pt x="230" y="80"/>
                  </a:cubicBezTo>
                  <a:cubicBezTo>
                    <a:pt x="230" y="71"/>
                    <a:pt x="222" y="64"/>
                    <a:pt x="214" y="64"/>
                  </a:cubicBezTo>
                  <a:cubicBezTo>
                    <a:pt x="208" y="64"/>
                    <a:pt x="203" y="59"/>
                    <a:pt x="203" y="53"/>
                  </a:cubicBezTo>
                  <a:cubicBezTo>
                    <a:pt x="203" y="35"/>
                    <a:pt x="189" y="21"/>
                    <a:pt x="171" y="21"/>
                  </a:cubicBezTo>
                  <a:cubicBezTo>
                    <a:pt x="156" y="21"/>
                    <a:pt x="143" y="32"/>
                    <a:pt x="140" y="47"/>
                  </a:cubicBezTo>
                  <a:cubicBezTo>
                    <a:pt x="139" y="50"/>
                    <a:pt x="137" y="52"/>
                    <a:pt x="134" y="54"/>
                  </a:cubicBezTo>
                  <a:cubicBezTo>
                    <a:pt x="132" y="55"/>
                    <a:pt x="128" y="56"/>
                    <a:pt x="125" y="54"/>
                  </a:cubicBezTo>
                  <a:cubicBezTo>
                    <a:pt x="111" y="49"/>
                    <a:pt x="96" y="60"/>
                    <a:pt x="96" y="74"/>
                  </a:cubicBezTo>
                  <a:cubicBezTo>
                    <a:pt x="96" y="80"/>
                    <a:pt x="92" y="85"/>
                    <a:pt x="86" y="85"/>
                  </a:cubicBezTo>
                  <a:cubicBezTo>
                    <a:pt x="80" y="85"/>
                    <a:pt x="75" y="80"/>
                    <a:pt x="75" y="74"/>
                  </a:cubicBezTo>
                  <a:cubicBezTo>
                    <a:pt x="75" y="49"/>
                    <a:pt x="97" y="29"/>
                    <a:pt x="122" y="32"/>
                  </a:cubicBezTo>
                  <a:cubicBezTo>
                    <a:pt x="130" y="13"/>
                    <a:pt x="149" y="0"/>
                    <a:pt x="171" y="0"/>
                  </a:cubicBezTo>
                  <a:cubicBezTo>
                    <a:pt x="197" y="0"/>
                    <a:pt x="219" y="19"/>
                    <a:pt x="224" y="44"/>
                  </a:cubicBezTo>
                  <a:cubicBezTo>
                    <a:pt x="239" y="48"/>
                    <a:pt x="251" y="62"/>
                    <a:pt x="251" y="80"/>
                  </a:cubicBezTo>
                  <a:cubicBezTo>
                    <a:pt x="251" y="100"/>
                    <a:pt x="234" y="117"/>
                    <a:pt x="214" y="117"/>
                  </a:cubicBezTo>
                  <a:close/>
                  <a:moveTo>
                    <a:pt x="192" y="316"/>
                  </a:moveTo>
                  <a:cubicBezTo>
                    <a:pt x="194" y="313"/>
                    <a:pt x="195" y="310"/>
                    <a:pt x="194" y="307"/>
                  </a:cubicBezTo>
                  <a:cubicBezTo>
                    <a:pt x="171" y="191"/>
                    <a:pt x="171" y="191"/>
                    <a:pt x="171" y="191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23"/>
                    <a:pt x="168" y="119"/>
                    <a:pt x="164" y="118"/>
                  </a:cubicBezTo>
                  <a:cubicBezTo>
                    <a:pt x="162" y="117"/>
                    <a:pt x="129" y="106"/>
                    <a:pt x="96" y="106"/>
                  </a:cubicBezTo>
                  <a:cubicBezTo>
                    <a:pt x="63" y="106"/>
                    <a:pt x="30" y="117"/>
                    <a:pt x="29" y="118"/>
                  </a:cubicBezTo>
                  <a:cubicBezTo>
                    <a:pt x="25" y="119"/>
                    <a:pt x="22" y="123"/>
                    <a:pt x="22" y="128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1" y="307"/>
                    <a:pt x="1" y="307"/>
                    <a:pt x="1" y="307"/>
                  </a:cubicBezTo>
                  <a:cubicBezTo>
                    <a:pt x="0" y="310"/>
                    <a:pt x="1" y="313"/>
                    <a:pt x="3" y="316"/>
                  </a:cubicBezTo>
                  <a:cubicBezTo>
                    <a:pt x="5" y="318"/>
                    <a:pt x="8" y="320"/>
                    <a:pt x="11" y="320"/>
                  </a:cubicBezTo>
                  <a:cubicBezTo>
                    <a:pt x="183" y="320"/>
                    <a:pt x="183" y="320"/>
                    <a:pt x="183" y="320"/>
                  </a:cubicBezTo>
                  <a:cubicBezTo>
                    <a:pt x="187" y="320"/>
                    <a:pt x="190" y="318"/>
                    <a:pt x="192" y="316"/>
                  </a:cubicBezTo>
                  <a:close/>
                  <a:moveTo>
                    <a:pt x="43" y="194"/>
                  </a:moveTo>
                  <a:cubicBezTo>
                    <a:pt x="43" y="193"/>
                    <a:pt x="43" y="192"/>
                    <a:pt x="43" y="192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54" y="133"/>
                    <a:pt x="75" y="128"/>
                    <a:pt x="96" y="128"/>
                  </a:cubicBezTo>
                  <a:cubicBezTo>
                    <a:pt x="117" y="128"/>
                    <a:pt x="139" y="133"/>
                    <a:pt x="150" y="136"/>
                  </a:cubicBezTo>
                  <a:cubicBezTo>
                    <a:pt x="150" y="192"/>
                    <a:pt x="150" y="192"/>
                    <a:pt x="150" y="192"/>
                  </a:cubicBezTo>
                  <a:cubicBezTo>
                    <a:pt x="150" y="192"/>
                    <a:pt x="150" y="193"/>
                    <a:pt x="150" y="194"/>
                  </a:cubicBezTo>
                  <a:cubicBezTo>
                    <a:pt x="170" y="298"/>
                    <a:pt x="170" y="298"/>
                    <a:pt x="170" y="298"/>
                  </a:cubicBezTo>
                  <a:cubicBezTo>
                    <a:pt x="24" y="298"/>
                    <a:pt x="24" y="298"/>
                    <a:pt x="24" y="298"/>
                  </a:cubicBezTo>
                  <a:lnTo>
                    <a:pt x="43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2" name="Freeform 43"/>
          <p:cNvSpPr>
            <a:spLocks noChangeAspect="1" noEditPoints="1"/>
          </p:cNvSpPr>
          <p:nvPr/>
        </p:nvSpPr>
        <p:spPr bwMode="auto">
          <a:xfrm>
            <a:off x="6404903" y="2930725"/>
            <a:ext cx="370106" cy="369021"/>
          </a:xfrm>
          <a:custGeom>
            <a:avLst/>
            <a:gdLst>
              <a:gd name="T0" fmla="*/ 171 w 512"/>
              <a:gd name="T1" fmla="*/ 214 h 512"/>
              <a:gd name="T2" fmla="*/ 341 w 512"/>
              <a:gd name="T3" fmla="*/ 214 h 512"/>
              <a:gd name="T4" fmla="*/ 341 w 512"/>
              <a:gd name="T5" fmla="*/ 288 h 512"/>
              <a:gd name="T6" fmla="*/ 171 w 512"/>
              <a:gd name="T7" fmla="*/ 288 h 512"/>
              <a:gd name="T8" fmla="*/ 171 w 512"/>
              <a:gd name="T9" fmla="*/ 214 h 512"/>
              <a:gd name="T10" fmla="*/ 171 w 512"/>
              <a:gd name="T11" fmla="*/ 395 h 512"/>
              <a:gd name="T12" fmla="*/ 341 w 512"/>
              <a:gd name="T13" fmla="*/ 395 h 512"/>
              <a:gd name="T14" fmla="*/ 341 w 512"/>
              <a:gd name="T15" fmla="*/ 310 h 512"/>
              <a:gd name="T16" fmla="*/ 171 w 512"/>
              <a:gd name="T17" fmla="*/ 310 h 512"/>
              <a:gd name="T18" fmla="*/ 171 w 512"/>
              <a:gd name="T19" fmla="*/ 395 h 512"/>
              <a:gd name="T20" fmla="*/ 171 w 512"/>
              <a:gd name="T21" fmla="*/ 192 h 512"/>
              <a:gd name="T22" fmla="*/ 341 w 512"/>
              <a:gd name="T23" fmla="*/ 192 h 512"/>
              <a:gd name="T24" fmla="*/ 341 w 512"/>
              <a:gd name="T25" fmla="*/ 118 h 512"/>
              <a:gd name="T26" fmla="*/ 171 w 512"/>
              <a:gd name="T27" fmla="*/ 118 h 512"/>
              <a:gd name="T28" fmla="*/ 171 w 512"/>
              <a:gd name="T29" fmla="*/ 192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63 w 512"/>
              <a:gd name="T41" fmla="*/ 192 h 512"/>
              <a:gd name="T42" fmla="*/ 363 w 512"/>
              <a:gd name="T43" fmla="*/ 118 h 512"/>
              <a:gd name="T44" fmla="*/ 373 w 512"/>
              <a:gd name="T45" fmla="*/ 107 h 512"/>
              <a:gd name="T46" fmla="*/ 363 w 512"/>
              <a:gd name="T47" fmla="*/ 96 h 512"/>
              <a:gd name="T48" fmla="*/ 149 w 512"/>
              <a:gd name="T49" fmla="*/ 96 h 512"/>
              <a:gd name="T50" fmla="*/ 139 w 512"/>
              <a:gd name="T51" fmla="*/ 107 h 512"/>
              <a:gd name="T52" fmla="*/ 149 w 512"/>
              <a:gd name="T53" fmla="*/ 118 h 512"/>
              <a:gd name="T54" fmla="*/ 149 w 512"/>
              <a:gd name="T55" fmla="*/ 192 h 512"/>
              <a:gd name="T56" fmla="*/ 139 w 512"/>
              <a:gd name="T57" fmla="*/ 203 h 512"/>
              <a:gd name="T58" fmla="*/ 149 w 512"/>
              <a:gd name="T59" fmla="*/ 214 h 512"/>
              <a:gd name="T60" fmla="*/ 149 w 512"/>
              <a:gd name="T61" fmla="*/ 288 h 512"/>
              <a:gd name="T62" fmla="*/ 139 w 512"/>
              <a:gd name="T63" fmla="*/ 299 h 512"/>
              <a:gd name="T64" fmla="*/ 149 w 512"/>
              <a:gd name="T65" fmla="*/ 310 h 512"/>
              <a:gd name="T66" fmla="*/ 149 w 512"/>
              <a:gd name="T67" fmla="*/ 395 h 512"/>
              <a:gd name="T68" fmla="*/ 139 w 512"/>
              <a:gd name="T69" fmla="*/ 406 h 512"/>
              <a:gd name="T70" fmla="*/ 149 w 512"/>
              <a:gd name="T71" fmla="*/ 416 h 512"/>
              <a:gd name="T72" fmla="*/ 363 w 512"/>
              <a:gd name="T73" fmla="*/ 416 h 512"/>
              <a:gd name="T74" fmla="*/ 373 w 512"/>
              <a:gd name="T75" fmla="*/ 406 h 512"/>
              <a:gd name="T76" fmla="*/ 363 w 512"/>
              <a:gd name="T77" fmla="*/ 395 h 512"/>
              <a:gd name="T78" fmla="*/ 363 w 512"/>
              <a:gd name="T79" fmla="*/ 310 h 512"/>
              <a:gd name="T80" fmla="*/ 373 w 512"/>
              <a:gd name="T81" fmla="*/ 299 h 512"/>
              <a:gd name="T82" fmla="*/ 363 w 512"/>
              <a:gd name="T83" fmla="*/ 288 h 512"/>
              <a:gd name="T84" fmla="*/ 363 w 512"/>
              <a:gd name="T85" fmla="*/ 214 h 512"/>
              <a:gd name="T86" fmla="*/ 373 w 512"/>
              <a:gd name="T87" fmla="*/ 203 h 512"/>
              <a:gd name="T88" fmla="*/ 363 w 512"/>
              <a:gd name="T89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71" y="214"/>
                </a:moveTo>
                <a:cubicBezTo>
                  <a:pt x="341" y="214"/>
                  <a:pt x="341" y="214"/>
                  <a:pt x="341" y="214"/>
                </a:cubicBezTo>
                <a:cubicBezTo>
                  <a:pt x="341" y="288"/>
                  <a:pt x="341" y="288"/>
                  <a:pt x="341" y="288"/>
                </a:cubicBezTo>
                <a:cubicBezTo>
                  <a:pt x="171" y="288"/>
                  <a:pt x="171" y="288"/>
                  <a:pt x="171" y="288"/>
                </a:cubicBezTo>
                <a:lnTo>
                  <a:pt x="171" y="214"/>
                </a:lnTo>
                <a:close/>
                <a:moveTo>
                  <a:pt x="171" y="395"/>
                </a:moveTo>
                <a:cubicBezTo>
                  <a:pt x="341" y="395"/>
                  <a:pt x="341" y="395"/>
                  <a:pt x="341" y="395"/>
                </a:cubicBezTo>
                <a:cubicBezTo>
                  <a:pt x="341" y="310"/>
                  <a:pt x="341" y="310"/>
                  <a:pt x="341" y="310"/>
                </a:cubicBezTo>
                <a:cubicBezTo>
                  <a:pt x="171" y="310"/>
                  <a:pt x="171" y="310"/>
                  <a:pt x="171" y="310"/>
                </a:cubicBezTo>
                <a:lnTo>
                  <a:pt x="171" y="395"/>
                </a:lnTo>
                <a:close/>
                <a:moveTo>
                  <a:pt x="171" y="192"/>
                </a:moveTo>
                <a:cubicBezTo>
                  <a:pt x="341" y="192"/>
                  <a:pt x="341" y="192"/>
                  <a:pt x="341" y="192"/>
                </a:cubicBezTo>
                <a:cubicBezTo>
                  <a:pt x="341" y="118"/>
                  <a:pt x="341" y="118"/>
                  <a:pt x="341" y="118"/>
                </a:cubicBezTo>
                <a:cubicBezTo>
                  <a:pt x="171" y="118"/>
                  <a:pt x="171" y="118"/>
                  <a:pt x="171" y="118"/>
                </a:cubicBezTo>
                <a:lnTo>
                  <a:pt x="171" y="192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63" y="192"/>
                </a:moveTo>
                <a:cubicBezTo>
                  <a:pt x="363" y="118"/>
                  <a:pt x="363" y="118"/>
                  <a:pt x="363" y="118"/>
                </a:cubicBezTo>
                <a:cubicBezTo>
                  <a:pt x="369" y="118"/>
                  <a:pt x="373" y="113"/>
                  <a:pt x="373" y="107"/>
                </a:cubicBezTo>
                <a:cubicBezTo>
                  <a:pt x="373" y="101"/>
                  <a:pt x="369" y="96"/>
                  <a:pt x="363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9" y="101"/>
                  <a:pt x="139" y="107"/>
                </a:cubicBezTo>
                <a:cubicBezTo>
                  <a:pt x="139" y="113"/>
                  <a:pt x="143" y="118"/>
                  <a:pt x="149" y="118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143" y="192"/>
                  <a:pt x="139" y="197"/>
                  <a:pt x="139" y="203"/>
                </a:cubicBezTo>
                <a:cubicBezTo>
                  <a:pt x="139" y="209"/>
                  <a:pt x="143" y="214"/>
                  <a:pt x="149" y="214"/>
                </a:cubicBezTo>
                <a:cubicBezTo>
                  <a:pt x="149" y="288"/>
                  <a:pt x="149" y="288"/>
                  <a:pt x="149" y="288"/>
                </a:cubicBezTo>
                <a:cubicBezTo>
                  <a:pt x="143" y="288"/>
                  <a:pt x="139" y="293"/>
                  <a:pt x="139" y="299"/>
                </a:cubicBezTo>
                <a:cubicBezTo>
                  <a:pt x="139" y="305"/>
                  <a:pt x="143" y="310"/>
                  <a:pt x="149" y="310"/>
                </a:cubicBezTo>
                <a:cubicBezTo>
                  <a:pt x="149" y="395"/>
                  <a:pt x="149" y="395"/>
                  <a:pt x="149" y="395"/>
                </a:cubicBezTo>
                <a:cubicBezTo>
                  <a:pt x="143" y="395"/>
                  <a:pt x="139" y="400"/>
                  <a:pt x="139" y="406"/>
                </a:cubicBezTo>
                <a:cubicBezTo>
                  <a:pt x="139" y="412"/>
                  <a:pt x="143" y="416"/>
                  <a:pt x="149" y="416"/>
                </a:cubicBezTo>
                <a:cubicBezTo>
                  <a:pt x="363" y="416"/>
                  <a:pt x="363" y="416"/>
                  <a:pt x="363" y="416"/>
                </a:cubicBezTo>
                <a:cubicBezTo>
                  <a:pt x="369" y="416"/>
                  <a:pt x="373" y="412"/>
                  <a:pt x="373" y="406"/>
                </a:cubicBezTo>
                <a:cubicBezTo>
                  <a:pt x="373" y="400"/>
                  <a:pt x="369" y="395"/>
                  <a:pt x="363" y="395"/>
                </a:cubicBezTo>
                <a:cubicBezTo>
                  <a:pt x="363" y="310"/>
                  <a:pt x="363" y="310"/>
                  <a:pt x="363" y="310"/>
                </a:cubicBezTo>
                <a:cubicBezTo>
                  <a:pt x="369" y="310"/>
                  <a:pt x="373" y="305"/>
                  <a:pt x="373" y="299"/>
                </a:cubicBezTo>
                <a:cubicBezTo>
                  <a:pt x="373" y="293"/>
                  <a:pt x="369" y="288"/>
                  <a:pt x="363" y="288"/>
                </a:cubicBezTo>
                <a:cubicBezTo>
                  <a:pt x="363" y="214"/>
                  <a:pt x="363" y="214"/>
                  <a:pt x="363" y="214"/>
                </a:cubicBezTo>
                <a:cubicBezTo>
                  <a:pt x="369" y="214"/>
                  <a:pt x="373" y="209"/>
                  <a:pt x="373" y="203"/>
                </a:cubicBezTo>
                <a:cubicBezTo>
                  <a:pt x="373" y="197"/>
                  <a:pt x="369" y="192"/>
                  <a:pt x="363" y="1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3" name="Group 46"/>
          <p:cNvGrpSpPr>
            <a:grpSpLocks noChangeAspect="1"/>
          </p:cNvGrpSpPr>
          <p:nvPr/>
        </p:nvGrpSpPr>
        <p:grpSpPr bwMode="auto">
          <a:xfrm>
            <a:off x="6902862" y="2930725"/>
            <a:ext cx="369021" cy="369021"/>
            <a:chOff x="3479" y="-1"/>
            <a:chExt cx="340" cy="340"/>
          </a:xfrm>
          <a:solidFill>
            <a:schemeClr val="accent1"/>
          </a:solidFill>
        </p:grpSpPr>
        <p:sp>
          <p:nvSpPr>
            <p:cNvPr id="314" name="Freeform 47"/>
            <p:cNvSpPr>
              <a:spLocks noEditPoints="1"/>
            </p:cNvSpPr>
            <p:nvPr/>
          </p:nvSpPr>
          <p:spPr bwMode="auto">
            <a:xfrm>
              <a:off x="3479" y="-1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48"/>
            <p:cNvSpPr>
              <a:spLocks noEditPoints="1"/>
            </p:cNvSpPr>
            <p:nvPr/>
          </p:nvSpPr>
          <p:spPr bwMode="auto">
            <a:xfrm>
              <a:off x="3571" y="63"/>
              <a:ext cx="156" cy="212"/>
            </a:xfrm>
            <a:custGeom>
              <a:avLst/>
              <a:gdLst>
                <a:gd name="T0" fmla="*/ 234 w 234"/>
                <a:gd name="T1" fmla="*/ 107 h 320"/>
                <a:gd name="T2" fmla="*/ 224 w 234"/>
                <a:gd name="T3" fmla="*/ 96 h 320"/>
                <a:gd name="T4" fmla="*/ 224 w 234"/>
                <a:gd name="T5" fmla="*/ 22 h 320"/>
                <a:gd name="T6" fmla="*/ 234 w 234"/>
                <a:gd name="T7" fmla="*/ 11 h 320"/>
                <a:gd name="T8" fmla="*/ 224 w 234"/>
                <a:gd name="T9" fmla="*/ 0 h 320"/>
                <a:gd name="T10" fmla="*/ 10 w 234"/>
                <a:gd name="T11" fmla="*/ 0 h 320"/>
                <a:gd name="T12" fmla="*/ 0 w 234"/>
                <a:gd name="T13" fmla="*/ 11 h 320"/>
                <a:gd name="T14" fmla="*/ 10 w 234"/>
                <a:gd name="T15" fmla="*/ 22 h 320"/>
                <a:gd name="T16" fmla="*/ 10 w 234"/>
                <a:gd name="T17" fmla="*/ 96 h 320"/>
                <a:gd name="T18" fmla="*/ 0 w 234"/>
                <a:gd name="T19" fmla="*/ 107 h 320"/>
                <a:gd name="T20" fmla="*/ 10 w 234"/>
                <a:gd name="T21" fmla="*/ 118 h 320"/>
                <a:gd name="T22" fmla="*/ 10 w 234"/>
                <a:gd name="T23" fmla="*/ 192 h 320"/>
                <a:gd name="T24" fmla="*/ 0 w 234"/>
                <a:gd name="T25" fmla="*/ 203 h 320"/>
                <a:gd name="T26" fmla="*/ 10 w 234"/>
                <a:gd name="T27" fmla="*/ 214 h 320"/>
                <a:gd name="T28" fmla="*/ 10 w 234"/>
                <a:gd name="T29" fmla="*/ 299 h 320"/>
                <a:gd name="T30" fmla="*/ 0 w 234"/>
                <a:gd name="T31" fmla="*/ 310 h 320"/>
                <a:gd name="T32" fmla="*/ 10 w 234"/>
                <a:gd name="T33" fmla="*/ 320 h 320"/>
                <a:gd name="T34" fmla="*/ 224 w 234"/>
                <a:gd name="T35" fmla="*/ 320 h 320"/>
                <a:gd name="T36" fmla="*/ 234 w 234"/>
                <a:gd name="T37" fmla="*/ 310 h 320"/>
                <a:gd name="T38" fmla="*/ 224 w 234"/>
                <a:gd name="T39" fmla="*/ 299 h 320"/>
                <a:gd name="T40" fmla="*/ 224 w 234"/>
                <a:gd name="T41" fmla="*/ 214 h 320"/>
                <a:gd name="T42" fmla="*/ 234 w 234"/>
                <a:gd name="T43" fmla="*/ 203 h 320"/>
                <a:gd name="T44" fmla="*/ 224 w 234"/>
                <a:gd name="T45" fmla="*/ 192 h 320"/>
                <a:gd name="T46" fmla="*/ 224 w 234"/>
                <a:gd name="T47" fmla="*/ 118 h 320"/>
                <a:gd name="T48" fmla="*/ 234 w 234"/>
                <a:gd name="T49" fmla="*/ 107 h 320"/>
                <a:gd name="T50" fmla="*/ 32 w 234"/>
                <a:gd name="T51" fmla="*/ 22 h 320"/>
                <a:gd name="T52" fmla="*/ 202 w 234"/>
                <a:gd name="T53" fmla="*/ 22 h 320"/>
                <a:gd name="T54" fmla="*/ 202 w 234"/>
                <a:gd name="T55" fmla="*/ 96 h 320"/>
                <a:gd name="T56" fmla="*/ 32 w 234"/>
                <a:gd name="T57" fmla="*/ 96 h 320"/>
                <a:gd name="T58" fmla="*/ 32 w 234"/>
                <a:gd name="T59" fmla="*/ 22 h 320"/>
                <a:gd name="T60" fmla="*/ 202 w 234"/>
                <a:gd name="T61" fmla="*/ 299 h 320"/>
                <a:gd name="T62" fmla="*/ 32 w 234"/>
                <a:gd name="T63" fmla="*/ 299 h 320"/>
                <a:gd name="T64" fmla="*/ 32 w 234"/>
                <a:gd name="T65" fmla="*/ 214 h 320"/>
                <a:gd name="T66" fmla="*/ 202 w 234"/>
                <a:gd name="T67" fmla="*/ 214 h 320"/>
                <a:gd name="T68" fmla="*/ 202 w 234"/>
                <a:gd name="T69" fmla="*/ 299 h 320"/>
                <a:gd name="T70" fmla="*/ 202 w 234"/>
                <a:gd name="T71" fmla="*/ 192 h 320"/>
                <a:gd name="T72" fmla="*/ 32 w 234"/>
                <a:gd name="T73" fmla="*/ 192 h 320"/>
                <a:gd name="T74" fmla="*/ 32 w 234"/>
                <a:gd name="T75" fmla="*/ 118 h 320"/>
                <a:gd name="T76" fmla="*/ 202 w 234"/>
                <a:gd name="T77" fmla="*/ 118 h 320"/>
                <a:gd name="T78" fmla="*/ 202 w 234"/>
                <a:gd name="T79" fmla="*/ 1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4" h="320">
                  <a:moveTo>
                    <a:pt x="234" y="107"/>
                  </a:moveTo>
                  <a:cubicBezTo>
                    <a:pt x="234" y="101"/>
                    <a:pt x="230" y="96"/>
                    <a:pt x="224" y="96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30" y="22"/>
                    <a:pt x="234" y="17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6"/>
                    <a:pt x="0" y="101"/>
                    <a:pt x="0" y="107"/>
                  </a:cubicBezTo>
                  <a:cubicBezTo>
                    <a:pt x="0" y="113"/>
                    <a:pt x="4" y="118"/>
                    <a:pt x="10" y="118"/>
                  </a:cubicBezTo>
                  <a:cubicBezTo>
                    <a:pt x="10" y="192"/>
                    <a:pt x="10" y="192"/>
                    <a:pt x="10" y="192"/>
                  </a:cubicBezTo>
                  <a:cubicBezTo>
                    <a:pt x="4" y="192"/>
                    <a:pt x="0" y="197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4" y="299"/>
                    <a:pt x="0" y="304"/>
                    <a:pt x="0" y="310"/>
                  </a:cubicBezTo>
                  <a:cubicBezTo>
                    <a:pt x="0" y="316"/>
                    <a:pt x="4" y="320"/>
                    <a:pt x="10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4" y="316"/>
                    <a:pt x="234" y="310"/>
                  </a:cubicBezTo>
                  <a:cubicBezTo>
                    <a:pt x="234" y="304"/>
                    <a:pt x="230" y="299"/>
                    <a:pt x="224" y="299"/>
                  </a:cubicBezTo>
                  <a:cubicBezTo>
                    <a:pt x="224" y="214"/>
                    <a:pt x="224" y="214"/>
                    <a:pt x="224" y="214"/>
                  </a:cubicBezTo>
                  <a:cubicBezTo>
                    <a:pt x="230" y="214"/>
                    <a:pt x="234" y="209"/>
                    <a:pt x="234" y="203"/>
                  </a:cubicBezTo>
                  <a:cubicBezTo>
                    <a:pt x="234" y="197"/>
                    <a:pt x="230" y="192"/>
                    <a:pt x="224" y="192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30" y="118"/>
                    <a:pt x="234" y="113"/>
                    <a:pt x="234" y="107"/>
                  </a:cubicBezTo>
                  <a:close/>
                  <a:moveTo>
                    <a:pt x="32" y="22"/>
                  </a:moveTo>
                  <a:cubicBezTo>
                    <a:pt x="202" y="22"/>
                    <a:pt x="202" y="22"/>
                    <a:pt x="202" y="22"/>
                  </a:cubicBezTo>
                  <a:cubicBezTo>
                    <a:pt x="202" y="96"/>
                    <a:pt x="202" y="96"/>
                    <a:pt x="202" y="96"/>
                  </a:cubicBezTo>
                  <a:cubicBezTo>
                    <a:pt x="32" y="96"/>
                    <a:pt x="32" y="96"/>
                    <a:pt x="32" y="96"/>
                  </a:cubicBezTo>
                  <a:lnTo>
                    <a:pt x="32" y="22"/>
                  </a:lnTo>
                  <a:close/>
                  <a:moveTo>
                    <a:pt x="202" y="299"/>
                  </a:moveTo>
                  <a:cubicBezTo>
                    <a:pt x="32" y="299"/>
                    <a:pt x="32" y="299"/>
                    <a:pt x="32" y="299"/>
                  </a:cubicBezTo>
                  <a:cubicBezTo>
                    <a:pt x="32" y="214"/>
                    <a:pt x="32" y="214"/>
                    <a:pt x="32" y="214"/>
                  </a:cubicBezTo>
                  <a:cubicBezTo>
                    <a:pt x="202" y="214"/>
                    <a:pt x="202" y="214"/>
                    <a:pt x="202" y="214"/>
                  </a:cubicBezTo>
                  <a:lnTo>
                    <a:pt x="202" y="299"/>
                  </a:lnTo>
                  <a:close/>
                  <a:moveTo>
                    <a:pt x="202" y="192"/>
                  </a:moveTo>
                  <a:cubicBezTo>
                    <a:pt x="32" y="192"/>
                    <a:pt x="32" y="192"/>
                    <a:pt x="32" y="192"/>
                  </a:cubicBezTo>
                  <a:cubicBezTo>
                    <a:pt x="32" y="118"/>
                    <a:pt x="32" y="118"/>
                    <a:pt x="32" y="118"/>
                  </a:cubicBezTo>
                  <a:cubicBezTo>
                    <a:pt x="202" y="118"/>
                    <a:pt x="202" y="118"/>
                    <a:pt x="202" y="118"/>
                  </a:cubicBezTo>
                  <a:lnTo>
                    <a:pt x="2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6" name="Freeform 52"/>
          <p:cNvSpPr>
            <a:spLocks noChangeAspect="1" noEditPoints="1"/>
          </p:cNvSpPr>
          <p:nvPr/>
        </p:nvSpPr>
        <p:spPr bwMode="auto">
          <a:xfrm>
            <a:off x="7399736" y="2930725"/>
            <a:ext cx="369021" cy="369021"/>
          </a:xfrm>
          <a:custGeom>
            <a:avLst/>
            <a:gdLst>
              <a:gd name="T0" fmla="*/ 256 w 512"/>
              <a:gd name="T1" fmla="*/ 285 h 512"/>
              <a:gd name="T2" fmla="*/ 274 w 512"/>
              <a:gd name="T3" fmla="*/ 373 h 512"/>
              <a:gd name="T4" fmla="*/ 237 w 512"/>
              <a:gd name="T5" fmla="*/ 373 h 512"/>
              <a:gd name="T6" fmla="*/ 256 w 512"/>
              <a:gd name="T7" fmla="*/ 285 h 512"/>
              <a:gd name="T8" fmla="*/ 160 w 512"/>
              <a:gd name="T9" fmla="*/ 294 h 512"/>
              <a:gd name="T10" fmla="*/ 160 w 512"/>
              <a:gd name="T11" fmla="*/ 320 h 512"/>
              <a:gd name="T12" fmla="*/ 170 w 512"/>
              <a:gd name="T13" fmla="*/ 320 h 512"/>
              <a:gd name="T14" fmla="*/ 181 w 512"/>
              <a:gd name="T15" fmla="*/ 330 h 512"/>
              <a:gd name="T16" fmla="*/ 181 w 512"/>
              <a:gd name="T17" fmla="*/ 373 h 512"/>
              <a:gd name="T18" fmla="*/ 215 w 512"/>
              <a:gd name="T19" fmla="*/ 373 h 512"/>
              <a:gd name="T20" fmla="*/ 242 w 512"/>
              <a:gd name="T21" fmla="*/ 248 h 512"/>
              <a:gd name="T22" fmla="*/ 160 w 512"/>
              <a:gd name="T23" fmla="*/ 294 h 512"/>
              <a:gd name="T24" fmla="*/ 138 w 512"/>
              <a:gd name="T25" fmla="*/ 373 h 512"/>
              <a:gd name="T26" fmla="*/ 160 w 512"/>
              <a:gd name="T27" fmla="*/ 373 h 512"/>
              <a:gd name="T28" fmla="*/ 160 w 512"/>
              <a:gd name="T29" fmla="*/ 341 h 512"/>
              <a:gd name="T30" fmla="*/ 138 w 512"/>
              <a:gd name="T31" fmla="*/ 341 h 512"/>
              <a:gd name="T32" fmla="*/ 138 w 512"/>
              <a:gd name="T33" fmla="*/ 373 h 512"/>
              <a:gd name="T34" fmla="*/ 343 w 512"/>
              <a:gd name="T35" fmla="*/ 139 h 512"/>
              <a:gd name="T36" fmla="*/ 331 w 512"/>
              <a:gd name="T37" fmla="*/ 131 h 512"/>
              <a:gd name="T38" fmla="*/ 322 w 512"/>
              <a:gd name="T39" fmla="*/ 133 h 512"/>
              <a:gd name="T40" fmla="*/ 314 w 512"/>
              <a:gd name="T41" fmla="*/ 153 h 512"/>
              <a:gd name="T42" fmla="*/ 333 w 512"/>
              <a:gd name="T43" fmla="*/ 190 h 512"/>
              <a:gd name="T44" fmla="*/ 368 w 512"/>
              <a:gd name="T45" fmla="*/ 225 h 512"/>
              <a:gd name="T46" fmla="*/ 361 w 512"/>
              <a:gd name="T47" fmla="*/ 175 h 512"/>
              <a:gd name="T48" fmla="*/ 343 w 512"/>
              <a:gd name="T49" fmla="*/ 139 h 512"/>
              <a:gd name="T50" fmla="*/ 512 w 512"/>
              <a:gd name="T51" fmla="*/ 256 h 512"/>
              <a:gd name="T52" fmla="*/ 256 w 512"/>
              <a:gd name="T53" fmla="*/ 512 h 512"/>
              <a:gd name="T54" fmla="*/ 0 w 512"/>
              <a:gd name="T55" fmla="*/ 256 h 512"/>
              <a:gd name="T56" fmla="*/ 256 w 512"/>
              <a:gd name="T57" fmla="*/ 0 h 512"/>
              <a:gd name="T58" fmla="*/ 512 w 512"/>
              <a:gd name="T59" fmla="*/ 256 h 512"/>
              <a:gd name="T60" fmla="*/ 394 w 512"/>
              <a:gd name="T61" fmla="*/ 384 h 512"/>
              <a:gd name="T62" fmla="*/ 384 w 512"/>
              <a:gd name="T63" fmla="*/ 373 h 512"/>
              <a:gd name="T64" fmla="*/ 384 w 512"/>
              <a:gd name="T65" fmla="*/ 240 h 512"/>
              <a:gd name="T66" fmla="*/ 381 w 512"/>
              <a:gd name="T67" fmla="*/ 168 h 512"/>
              <a:gd name="T68" fmla="*/ 381 w 512"/>
              <a:gd name="T69" fmla="*/ 168 h 512"/>
              <a:gd name="T70" fmla="*/ 360 w 512"/>
              <a:gd name="T71" fmla="*/ 125 h 512"/>
              <a:gd name="T72" fmla="*/ 313 w 512"/>
              <a:gd name="T73" fmla="*/ 114 h 512"/>
              <a:gd name="T74" fmla="*/ 293 w 512"/>
              <a:gd name="T75" fmla="*/ 158 h 512"/>
              <a:gd name="T76" fmla="*/ 306 w 512"/>
              <a:gd name="T77" fmla="*/ 187 h 512"/>
              <a:gd name="T78" fmla="*/ 144 w 512"/>
              <a:gd name="T79" fmla="*/ 278 h 512"/>
              <a:gd name="T80" fmla="*/ 138 w 512"/>
              <a:gd name="T81" fmla="*/ 288 h 512"/>
              <a:gd name="T82" fmla="*/ 138 w 512"/>
              <a:gd name="T83" fmla="*/ 320 h 512"/>
              <a:gd name="T84" fmla="*/ 128 w 512"/>
              <a:gd name="T85" fmla="*/ 320 h 512"/>
              <a:gd name="T86" fmla="*/ 117 w 512"/>
              <a:gd name="T87" fmla="*/ 330 h 512"/>
              <a:gd name="T88" fmla="*/ 117 w 512"/>
              <a:gd name="T89" fmla="*/ 384 h 512"/>
              <a:gd name="T90" fmla="*/ 128 w 512"/>
              <a:gd name="T91" fmla="*/ 394 h 512"/>
              <a:gd name="T92" fmla="*/ 170 w 512"/>
              <a:gd name="T93" fmla="*/ 394 h 512"/>
              <a:gd name="T94" fmla="*/ 384 w 512"/>
              <a:gd name="T95" fmla="*/ 394 h 512"/>
              <a:gd name="T96" fmla="*/ 394 w 512"/>
              <a:gd name="T97" fmla="*/ 384 h 512"/>
              <a:gd name="T98" fmla="*/ 317 w 512"/>
              <a:gd name="T99" fmla="*/ 205 h 512"/>
              <a:gd name="T100" fmla="*/ 266 w 512"/>
              <a:gd name="T101" fmla="*/ 234 h 512"/>
              <a:gd name="T102" fmla="*/ 296 w 512"/>
              <a:gd name="T103" fmla="*/ 373 h 512"/>
              <a:gd name="T104" fmla="*/ 362 w 512"/>
              <a:gd name="T105" fmla="*/ 373 h 512"/>
              <a:gd name="T106" fmla="*/ 362 w 512"/>
              <a:gd name="T107" fmla="*/ 246 h 512"/>
              <a:gd name="T108" fmla="*/ 317 w 512"/>
              <a:gd name="T109" fmla="*/ 2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56" y="285"/>
                </a:moveTo>
                <a:cubicBezTo>
                  <a:pt x="274" y="373"/>
                  <a:pt x="274" y="373"/>
                  <a:pt x="274" y="373"/>
                </a:cubicBezTo>
                <a:cubicBezTo>
                  <a:pt x="237" y="373"/>
                  <a:pt x="237" y="373"/>
                  <a:pt x="237" y="373"/>
                </a:cubicBezTo>
                <a:lnTo>
                  <a:pt x="256" y="285"/>
                </a:lnTo>
                <a:close/>
                <a:moveTo>
                  <a:pt x="160" y="294"/>
                </a:moveTo>
                <a:cubicBezTo>
                  <a:pt x="160" y="320"/>
                  <a:pt x="160" y="320"/>
                  <a:pt x="160" y="320"/>
                </a:cubicBezTo>
                <a:cubicBezTo>
                  <a:pt x="170" y="320"/>
                  <a:pt x="170" y="320"/>
                  <a:pt x="170" y="320"/>
                </a:cubicBezTo>
                <a:cubicBezTo>
                  <a:pt x="176" y="320"/>
                  <a:pt x="181" y="324"/>
                  <a:pt x="181" y="330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215" y="373"/>
                  <a:pt x="215" y="373"/>
                  <a:pt x="215" y="373"/>
                </a:cubicBezTo>
                <a:cubicBezTo>
                  <a:pt x="242" y="248"/>
                  <a:pt x="242" y="248"/>
                  <a:pt x="242" y="248"/>
                </a:cubicBezTo>
                <a:lnTo>
                  <a:pt x="160" y="294"/>
                </a:lnTo>
                <a:close/>
                <a:moveTo>
                  <a:pt x="138" y="373"/>
                </a:moveTo>
                <a:cubicBezTo>
                  <a:pt x="160" y="373"/>
                  <a:pt x="160" y="373"/>
                  <a:pt x="160" y="373"/>
                </a:cubicBezTo>
                <a:cubicBezTo>
                  <a:pt x="160" y="341"/>
                  <a:pt x="160" y="341"/>
                  <a:pt x="160" y="341"/>
                </a:cubicBezTo>
                <a:cubicBezTo>
                  <a:pt x="138" y="341"/>
                  <a:pt x="138" y="341"/>
                  <a:pt x="138" y="341"/>
                </a:cubicBezTo>
                <a:lnTo>
                  <a:pt x="138" y="373"/>
                </a:lnTo>
                <a:close/>
                <a:moveTo>
                  <a:pt x="343" y="139"/>
                </a:moveTo>
                <a:cubicBezTo>
                  <a:pt x="338" y="133"/>
                  <a:pt x="334" y="131"/>
                  <a:pt x="331" y="131"/>
                </a:cubicBezTo>
                <a:cubicBezTo>
                  <a:pt x="328" y="131"/>
                  <a:pt x="325" y="132"/>
                  <a:pt x="322" y="133"/>
                </a:cubicBezTo>
                <a:cubicBezTo>
                  <a:pt x="316" y="137"/>
                  <a:pt x="311" y="140"/>
                  <a:pt x="314" y="153"/>
                </a:cubicBezTo>
                <a:cubicBezTo>
                  <a:pt x="315" y="157"/>
                  <a:pt x="318" y="166"/>
                  <a:pt x="333" y="190"/>
                </a:cubicBezTo>
                <a:cubicBezTo>
                  <a:pt x="352" y="222"/>
                  <a:pt x="364" y="227"/>
                  <a:pt x="368" y="225"/>
                </a:cubicBezTo>
                <a:cubicBezTo>
                  <a:pt x="372" y="223"/>
                  <a:pt x="376" y="215"/>
                  <a:pt x="361" y="175"/>
                </a:cubicBezTo>
                <a:cubicBezTo>
                  <a:pt x="357" y="163"/>
                  <a:pt x="348" y="144"/>
                  <a:pt x="343" y="13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384"/>
                </a:moveTo>
                <a:cubicBezTo>
                  <a:pt x="394" y="378"/>
                  <a:pt x="390" y="373"/>
                  <a:pt x="384" y="373"/>
                </a:cubicBezTo>
                <a:cubicBezTo>
                  <a:pt x="384" y="240"/>
                  <a:pt x="384" y="240"/>
                  <a:pt x="384" y="240"/>
                </a:cubicBezTo>
                <a:cubicBezTo>
                  <a:pt x="400" y="226"/>
                  <a:pt x="392" y="197"/>
                  <a:pt x="381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78" y="158"/>
                  <a:pt x="368" y="135"/>
                  <a:pt x="360" y="125"/>
                </a:cubicBezTo>
                <a:cubicBezTo>
                  <a:pt x="346" y="109"/>
                  <a:pt x="331" y="105"/>
                  <a:pt x="313" y="114"/>
                </a:cubicBezTo>
                <a:cubicBezTo>
                  <a:pt x="295" y="123"/>
                  <a:pt x="288" y="138"/>
                  <a:pt x="293" y="158"/>
                </a:cubicBezTo>
                <a:cubicBezTo>
                  <a:pt x="295" y="164"/>
                  <a:pt x="299" y="174"/>
                  <a:pt x="306" y="187"/>
                </a:cubicBezTo>
                <a:cubicBezTo>
                  <a:pt x="144" y="278"/>
                  <a:pt x="144" y="278"/>
                  <a:pt x="144" y="278"/>
                </a:cubicBezTo>
                <a:cubicBezTo>
                  <a:pt x="140" y="280"/>
                  <a:pt x="138" y="284"/>
                  <a:pt x="138" y="288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2" y="320"/>
                  <a:pt x="117" y="324"/>
                  <a:pt x="117" y="330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lose/>
                <a:moveTo>
                  <a:pt x="317" y="205"/>
                </a:moveTo>
                <a:cubicBezTo>
                  <a:pt x="266" y="234"/>
                  <a:pt x="266" y="234"/>
                  <a:pt x="266" y="234"/>
                </a:cubicBezTo>
                <a:cubicBezTo>
                  <a:pt x="296" y="373"/>
                  <a:pt x="296" y="373"/>
                  <a:pt x="296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2" y="246"/>
                  <a:pt x="362" y="246"/>
                  <a:pt x="362" y="246"/>
                </a:cubicBezTo>
                <a:cubicBezTo>
                  <a:pt x="348" y="244"/>
                  <a:pt x="333" y="230"/>
                  <a:pt x="317" y="20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7" name="Group 55"/>
          <p:cNvGrpSpPr>
            <a:grpSpLocks noChangeAspect="1"/>
          </p:cNvGrpSpPr>
          <p:nvPr/>
        </p:nvGrpSpPr>
        <p:grpSpPr bwMode="auto">
          <a:xfrm>
            <a:off x="7896612" y="2930721"/>
            <a:ext cx="369021" cy="369021"/>
            <a:chOff x="4263" y="0"/>
            <a:chExt cx="340" cy="340"/>
          </a:xfrm>
          <a:solidFill>
            <a:schemeClr val="accent1"/>
          </a:solidFill>
        </p:grpSpPr>
        <p:sp>
          <p:nvSpPr>
            <p:cNvPr id="318" name="Freeform 56"/>
            <p:cNvSpPr>
              <a:spLocks noEditPoints="1"/>
            </p:cNvSpPr>
            <p:nvPr/>
          </p:nvSpPr>
          <p:spPr bwMode="auto">
            <a:xfrm>
              <a:off x="4263" y="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57"/>
            <p:cNvSpPr>
              <a:spLocks noEditPoints="1"/>
            </p:cNvSpPr>
            <p:nvPr/>
          </p:nvSpPr>
          <p:spPr bwMode="auto">
            <a:xfrm>
              <a:off x="4341" y="70"/>
              <a:ext cx="188" cy="192"/>
            </a:xfrm>
            <a:custGeom>
              <a:avLst/>
              <a:gdLst>
                <a:gd name="T0" fmla="*/ 267 w 283"/>
                <a:gd name="T1" fmla="*/ 268 h 289"/>
                <a:gd name="T2" fmla="*/ 267 w 283"/>
                <a:gd name="T3" fmla="*/ 135 h 289"/>
                <a:gd name="T4" fmla="*/ 264 w 283"/>
                <a:gd name="T5" fmla="*/ 63 h 289"/>
                <a:gd name="T6" fmla="*/ 264 w 283"/>
                <a:gd name="T7" fmla="*/ 63 h 289"/>
                <a:gd name="T8" fmla="*/ 243 w 283"/>
                <a:gd name="T9" fmla="*/ 20 h 289"/>
                <a:gd name="T10" fmla="*/ 196 w 283"/>
                <a:gd name="T11" fmla="*/ 9 h 289"/>
                <a:gd name="T12" fmla="*/ 176 w 283"/>
                <a:gd name="T13" fmla="*/ 53 h 289"/>
                <a:gd name="T14" fmla="*/ 189 w 283"/>
                <a:gd name="T15" fmla="*/ 82 h 289"/>
                <a:gd name="T16" fmla="*/ 27 w 283"/>
                <a:gd name="T17" fmla="*/ 173 h 289"/>
                <a:gd name="T18" fmla="*/ 21 w 283"/>
                <a:gd name="T19" fmla="*/ 183 h 289"/>
                <a:gd name="T20" fmla="*/ 21 w 283"/>
                <a:gd name="T21" fmla="*/ 215 h 289"/>
                <a:gd name="T22" fmla="*/ 11 w 283"/>
                <a:gd name="T23" fmla="*/ 215 h 289"/>
                <a:gd name="T24" fmla="*/ 0 w 283"/>
                <a:gd name="T25" fmla="*/ 225 h 289"/>
                <a:gd name="T26" fmla="*/ 0 w 283"/>
                <a:gd name="T27" fmla="*/ 279 h 289"/>
                <a:gd name="T28" fmla="*/ 11 w 283"/>
                <a:gd name="T29" fmla="*/ 289 h 289"/>
                <a:gd name="T30" fmla="*/ 53 w 283"/>
                <a:gd name="T31" fmla="*/ 289 h 289"/>
                <a:gd name="T32" fmla="*/ 267 w 283"/>
                <a:gd name="T33" fmla="*/ 289 h 289"/>
                <a:gd name="T34" fmla="*/ 277 w 283"/>
                <a:gd name="T35" fmla="*/ 279 h 289"/>
                <a:gd name="T36" fmla="*/ 267 w 283"/>
                <a:gd name="T37" fmla="*/ 268 h 289"/>
                <a:gd name="T38" fmla="*/ 179 w 283"/>
                <a:gd name="T39" fmla="*/ 268 h 289"/>
                <a:gd name="T40" fmla="*/ 149 w 283"/>
                <a:gd name="T41" fmla="*/ 129 h 289"/>
                <a:gd name="T42" fmla="*/ 200 w 283"/>
                <a:gd name="T43" fmla="*/ 100 h 289"/>
                <a:gd name="T44" fmla="*/ 245 w 283"/>
                <a:gd name="T45" fmla="*/ 141 h 289"/>
                <a:gd name="T46" fmla="*/ 245 w 283"/>
                <a:gd name="T47" fmla="*/ 268 h 289"/>
                <a:gd name="T48" fmla="*/ 179 w 283"/>
                <a:gd name="T49" fmla="*/ 268 h 289"/>
                <a:gd name="T50" fmla="*/ 157 w 283"/>
                <a:gd name="T51" fmla="*/ 268 h 289"/>
                <a:gd name="T52" fmla="*/ 120 w 283"/>
                <a:gd name="T53" fmla="*/ 268 h 289"/>
                <a:gd name="T54" fmla="*/ 139 w 283"/>
                <a:gd name="T55" fmla="*/ 180 h 289"/>
                <a:gd name="T56" fmla="*/ 157 w 283"/>
                <a:gd name="T57" fmla="*/ 268 h 289"/>
                <a:gd name="T58" fmla="*/ 205 w 283"/>
                <a:gd name="T59" fmla="*/ 28 h 289"/>
                <a:gd name="T60" fmla="*/ 214 w 283"/>
                <a:gd name="T61" fmla="*/ 26 h 289"/>
                <a:gd name="T62" fmla="*/ 226 w 283"/>
                <a:gd name="T63" fmla="*/ 34 h 289"/>
                <a:gd name="T64" fmla="*/ 244 w 283"/>
                <a:gd name="T65" fmla="*/ 70 h 289"/>
                <a:gd name="T66" fmla="*/ 251 w 283"/>
                <a:gd name="T67" fmla="*/ 120 h 289"/>
                <a:gd name="T68" fmla="*/ 216 w 283"/>
                <a:gd name="T69" fmla="*/ 85 h 289"/>
                <a:gd name="T70" fmla="*/ 197 w 283"/>
                <a:gd name="T71" fmla="*/ 48 h 289"/>
                <a:gd name="T72" fmla="*/ 205 w 283"/>
                <a:gd name="T73" fmla="*/ 28 h 289"/>
                <a:gd name="T74" fmla="*/ 43 w 283"/>
                <a:gd name="T75" fmla="*/ 189 h 289"/>
                <a:gd name="T76" fmla="*/ 125 w 283"/>
                <a:gd name="T77" fmla="*/ 143 h 289"/>
                <a:gd name="T78" fmla="*/ 98 w 283"/>
                <a:gd name="T79" fmla="*/ 268 h 289"/>
                <a:gd name="T80" fmla="*/ 64 w 283"/>
                <a:gd name="T81" fmla="*/ 268 h 289"/>
                <a:gd name="T82" fmla="*/ 64 w 283"/>
                <a:gd name="T83" fmla="*/ 225 h 289"/>
                <a:gd name="T84" fmla="*/ 53 w 283"/>
                <a:gd name="T85" fmla="*/ 215 h 289"/>
                <a:gd name="T86" fmla="*/ 43 w 283"/>
                <a:gd name="T87" fmla="*/ 215 h 289"/>
                <a:gd name="T88" fmla="*/ 43 w 283"/>
                <a:gd name="T89" fmla="*/ 189 h 289"/>
                <a:gd name="T90" fmla="*/ 21 w 283"/>
                <a:gd name="T91" fmla="*/ 236 h 289"/>
                <a:gd name="T92" fmla="*/ 43 w 283"/>
                <a:gd name="T93" fmla="*/ 236 h 289"/>
                <a:gd name="T94" fmla="*/ 43 w 283"/>
                <a:gd name="T95" fmla="*/ 268 h 289"/>
                <a:gd name="T96" fmla="*/ 21 w 283"/>
                <a:gd name="T97" fmla="*/ 268 h 289"/>
                <a:gd name="T98" fmla="*/ 21 w 283"/>
                <a:gd name="T99" fmla="*/ 23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3" h="289">
                  <a:moveTo>
                    <a:pt x="267" y="268"/>
                  </a:moveTo>
                  <a:cubicBezTo>
                    <a:pt x="267" y="135"/>
                    <a:pt x="267" y="135"/>
                    <a:pt x="267" y="135"/>
                  </a:cubicBezTo>
                  <a:cubicBezTo>
                    <a:pt x="283" y="121"/>
                    <a:pt x="275" y="92"/>
                    <a:pt x="264" y="63"/>
                  </a:cubicBezTo>
                  <a:cubicBezTo>
                    <a:pt x="264" y="63"/>
                    <a:pt x="264" y="63"/>
                    <a:pt x="264" y="63"/>
                  </a:cubicBezTo>
                  <a:cubicBezTo>
                    <a:pt x="261" y="53"/>
                    <a:pt x="251" y="30"/>
                    <a:pt x="243" y="20"/>
                  </a:cubicBezTo>
                  <a:cubicBezTo>
                    <a:pt x="229" y="4"/>
                    <a:pt x="214" y="0"/>
                    <a:pt x="196" y="9"/>
                  </a:cubicBezTo>
                  <a:cubicBezTo>
                    <a:pt x="178" y="18"/>
                    <a:pt x="171" y="33"/>
                    <a:pt x="176" y="53"/>
                  </a:cubicBezTo>
                  <a:cubicBezTo>
                    <a:pt x="178" y="59"/>
                    <a:pt x="182" y="69"/>
                    <a:pt x="189" y="82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23" y="175"/>
                    <a:pt x="21" y="179"/>
                    <a:pt x="21" y="183"/>
                  </a:cubicBezTo>
                  <a:cubicBezTo>
                    <a:pt x="21" y="215"/>
                    <a:pt x="21" y="215"/>
                    <a:pt x="21" y="215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5" y="215"/>
                    <a:pt x="0" y="219"/>
                    <a:pt x="0" y="225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85"/>
                    <a:pt x="5" y="289"/>
                    <a:pt x="11" y="289"/>
                  </a:cubicBezTo>
                  <a:cubicBezTo>
                    <a:pt x="53" y="289"/>
                    <a:pt x="53" y="289"/>
                    <a:pt x="53" y="289"/>
                  </a:cubicBezTo>
                  <a:cubicBezTo>
                    <a:pt x="267" y="289"/>
                    <a:pt x="267" y="289"/>
                    <a:pt x="267" y="289"/>
                  </a:cubicBezTo>
                  <a:cubicBezTo>
                    <a:pt x="273" y="289"/>
                    <a:pt x="277" y="285"/>
                    <a:pt x="277" y="279"/>
                  </a:cubicBezTo>
                  <a:cubicBezTo>
                    <a:pt x="277" y="273"/>
                    <a:pt x="273" y="268"/>
                    <a:pt x="267" y="268"/>
                  </a:cubicBezTo>
                  <a:close/>
                  <a:moveTo>
                    <a:pt x="179" y="268"/>
                  </a:moveTo>
                  <a:cubicBezTo>
                    <a:pt x="149" y="129"/>
                    <a:pt x="149" y="129"/>
                    <a:pt x="149" y="129"/>
                  </a:cubicBezTo>
                  <a:cubicBezTo>
                    <a:pt x="200" y="100"/>
                    <a:pt x="200" y="100"/>
                    <a:pt x="200" y="100"/>
                  </a:cubicBezTo>
                  <a:cubicBezTo>
                    <a:pt x="216" y="125"/>
                    <a:pt x="231" y="139"/>
                    <a:pt x="245" y="141"/>
                  </a:cubicBezTo>
                  <a:cubicBezTo>
                    <a:pt x="245" y="268"/>
                    <a:pt x="245" y="268"/>
                    <a:pt x="245" y="268"/>
                  </a:cubicBezTo>
                  <a:lnTo>
                    <a:pt x="179" y="268"/>
                  </a:lnTo>
                  <a:close/>
                  <a:moveTo>
                    <a:pt x="157" y="268"/>
                  </a:moveTo>
                  <a:cubicBezTo>
                    <a:pt x="120" y="268"/>
                    <a:pt x="120" y="268"/>
                    <a:pt x="120" y="268"/>
                  </a:cubicBezTo>
                  <a:cubicBezTo>
                    <a:pt x="139" y="180"/>
                    <a:pt x="139" y="180"/>
                    <a:pt x="139" y="180"/>
                  </a:cubicBezTo>
                  <a:lnTo>
                    <a:pt x="157" y="268"/>
                  </a:lnTo>
                  <a:close/>
                  <a:moveTo>
                    <a:pt x="205" y="28"/>
                  </a:moveTo>
                  <a:cubicBezTo>
                    <a:pt x="208" y="27"/>
                    <a:pt x="211" y="26"/>
                    <a:pt x="214" y="26"/>
                  </a:cubicBezTo>
                  <a:cubicBezTo>
                    <a:pt x="217" y="26"/>
                    <a:pt x="221" y="28"/>
                    <a:pt x="226" y="34"/>
                  </a:cubicBezTo>
                  <a:cubicBezTo>
                    <a:pt x="231" y="39"/>
                    <a:pt x="240" y="58"/>
                    <a:pt x="244" y="70"/>
                  </a:cubicBezTo>
                  <a:cubicBezTo>
                    <a:pt x="259" y="110"/>
                    <a:pt x="255" y="118"/>
                    <a:pt x="251" y="120"/>
                  </a:cubicBezTo>
                  <a:cubicBezTo>
                    <a:pt x="247" y="122"/>
                    <a:pt x="235" y="117"/>
                    <a:pt x="216" y="85"/>
                  </a:cubicBezTo>
                  <a:cubicBezTo>
                    <a:pt x="201" y="61"/>
                    <a:pt x="198" y="52"/>
                    <a:pt x="197" y="48"/>
                  </a:cubicBezTo>
                  <a:cubicBezTo>
                    <a:pt x="194" y="35"/>
                    <a:pt x="199" y="32"/>
                    <a:pt x="205" y="28"/>
                  </a:cubicBezTo>
                  <a:close/>
                  <a:moveTo>
                    <a:pt x="43" y="189"/>
                  </a:moveTo>
                  <a:cubicBezTo>
                    <a:pt x="125" y="143"/>
                    <a:pt x="125" y="143"/>
                    <a:pt x="125" y="143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64" y="219"/>
                    <a:pt x="59" y="215"/>
                    <a:pt x="53" y="215"/>
                  </a:cubicBezTo>
                  <a:cubicBezTo>
                    <a:pt x="43" y="215"/>
                    <a:pt x="43" y="215"/>
                    <a:pt x="43" y="215"/>
                  </a:cubicBezTo>
                  <a:lnTo>
                    <a:pt x="43" y="189"/>
                  </a:lnTo>
                  <a:close/>
                  <a:moveTo>
                    <a:pt x="21" y="236"/>
                  </a:moveTo>
                  <a:cubicBezTo>
                    <a:pt x="43" y="236"/>
                    <a:pt x="43" y="236"/>
                    <a:pt x="43" y="236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21" y="268"/>
                    <a:pt x="21" y="268"/>
                    <a:pt x="21" y="268"/>
                  </a:cubicBezTo>
                  <a:lnTo>
                    <a:pt x="21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5557071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Ges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84188" y="2455266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ouch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70284" y="2455269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wo finger move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71197" y="245526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wo finger swipe left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66673" y="245526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wo finger tap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64411" y="245526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Zoom in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68935" y="245526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wo finger swipe right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62149" y="245526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Zoom out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7459887" y="2455266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 grab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8445983" y="2455269"/>
            <a:ext cx="83396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 pointing down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9446896" y="245526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 pointing left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9436108" y="3328003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 pointing up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8440513" y="3326493"/>
            <a:ext cx="830792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nd pointing right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84188" y="3326490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uble tap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68145" y="332649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old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66919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ve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458117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tate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453716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wipe left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62518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nch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449315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wipe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7444914" y="332649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ap</a:t>
            </a:r>
          </a:p>
        </p:txBody>
      </p:sp>
      <p:sp>
        <p:nvSpPr>
          <p:cNvPr id="256" name="Freeform 255"/>
          <p:cNvSpPr>
            <a:spLocks noChangeAspect="1" noEditPoints="1"/>
          </p:cNvSpPr>
          <p:nvPr/>
        </p:nvSpPr>
        <p:spPr bwMode="auto">
          <a:xfrm>
            <a:off x="43977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98 w 512"/>
              <a:gd name="T5" fmla="*/ 181 h 512"/>
              <a:gd name="T6" fmla="*/ 266 w 512"/>
              <a:gd name="T7" fmla="*/ 192 h 512"/>
              <a:gd name="T8" fmla="*/ 266 w 512"/>
              <a:gd name="T9" fmla="*/ 170 h 512"/>
              <a:gd name="T10" fmla="*/ 298 w 512"/>
              <a:gd name="T11" fmla="*/ 181 h 512"/>
              <a:gd name="T12" fmla="*/ 259 w 512"/>
              <a:gd name="T13" fmla="*/ 120 h 512"/>
              <a:gd name="T14" fmla="*/ 274 w 512"/>
              <a:gd name="T15" fmla="*/ 135 h 512"/>
              <a:gd name="T16" fmla="*/ 245 w 512"/>
              <a:gd name="T17" fmla="*/ 160 h 512"/>
              <a:gd name="T18" fmla="*/ 237 w 512"/>
              <a:gd name="T19" fmla="*/ 141 h 512"/>
              <a:gd name="T20" fmla="*/ 213 w 512"/>
              <a:gd name="T21" fmla="*/ 96 h 512"/>
              <a:gd name="T22" fmla="*/ 224 w 512"/>
              <a:gd name="T23" fmla="*/ 138 h 512"/>
              <a:gd name="T24" fmla="*/ 202 w 512"/>
              <a:gd name="T25" fmla="*/ 138 h 512"/>
              <a:gd name="T26" fmla="*/ 152 w 512"/>
              <a:gd name="T27" fmla="*/ 120 h 512"/>
              <a:gd name="T28" fmla="*/ 189 w 512"/>
              <a:gd name="T29" fmla="*/ 141 h 512"/>
              <a:gd name="T30" fmla="*/ 181 w 512"/>
              <a:gd name="T31" fmla="*/ 160 h 512"/>
              <a:gd name="T32" fmla="*/ 152 w 512"/>
              <a:gd name="T33" fmla="*/ 135 h 512"/>
              <a:gd name="T34" fmla="*/ 138 w 512"/>
              <a:gd name="T35" fmla="*/ 170 h 512"/>
              <a:gd name="T36" fmla="*/ 170 w 512"/>
              <a:gd name="T37" fmla="*/ 181 h 512"/>
              <a:gd name="T38" fmla="*/ 138 w 512"/>
              <a:gd name="T39" fmla="*/ 192 h 512"/>
              <a:gd name="T40" fmla="*/ 138 w 512"/>
              <a:gd name="T41" fmla="*/ 170 h 512"/>
              <a:gd name="T42" fmla="*/ 341 w 512"/>
              <a:gd name="T43" fmla="*/ 416 h 512"/>
              <a:gd name="T44" fmla="*/ 333 w 512"/>
              <a:gd name="T45" fmla="*/ 398 h 512"/>
              <a:gd name="T46" fmla="*/ 351 w 512"/>
              <a:gd name="T47" fmla="*/ 288 h 512"/>
              <a:gd name="T48" fmla="*/ 330 w 512"/>
              <a:gd name="T49" fmla="*/ 286 h 512"/>
              <a:gd name="T50" fmla="*/ 320 w 512"/>
              <a:gd name="T51" fmla="*/ 298 h 512"/>
              <a:gd name="T52" fmla="*/ 320 w 512"/>
              <a:gd name="T53" fmla="*/ 298 h 512"/>
              <a:gd name="T54" fmla="*/ 309 w 512"/>
              <a:gd name="T55" fmla="*/ 277 h 512"/>
              <a:gd name="T56" fmla="*/ 288 w 512"/>
              <a:gd name="T57" fmla="*/ 277 h 512"/>
              <a:gd name="T58" fmla="*/ 277 w 512"/>
              <a:gd name="T59" fmla="*/ 298 h 512"/>
              <a:gd name="T60" fmla="*/ 266 w 512"/>
              <a:gd name="T61" fmla="*/ 256 h 512"/>
              <a:gd name="T62" fmla="*/ 245 w 512"/>
              <a:gd name="T63" fmla="*/ 256 h 512"/>
              <a:gd name="T64" fmla="*/ 234 w 512"/>
              <a:gd name="T65" fmla="*/ 298 h 512"/>
              <a:gd name="T66" fmla="*/ 224 w 512"/>
              <a:gd name="T67" fmla="*/ 202 h 512"/>
              <a:gd name="T68" fmla="*/ 202 w 512"/>
              <a:gd name="T69" fmla="*/ 202 h 512"/>
              <a:gd name="T70" fmla="*/ 196 w 512"/>
              <a:gd name="T71" fmla="*/ 340 h 512"/>
              <a:gd name="T72" fmla="*/ 152 w 512"/>
              <a:gd name="T73" fmla="*/ 281 h 512"/>
              <a:gd name="T74" fmla="*/ 138 w 512"/>
              <a:gd name="T75" fmla="*/ 277 h 512"/>
              <a:gd name="T76" fmla="*/ 138 w 512"/>
              <a:gd name="T77" fmla="*/ 295 h 512"/>
              <a:gd name="T78" fmla="*/ 211 w 512"/>
              <a:gd name="T79" fmla="*/ 411 h 512"/>
              <a:gd name="T80" fmla="*/ 197 w 512"/>
              <a:gd name="T81" fmla="*/ 414 h 512"/>
              <a:gd name="T82" fmla="*/ 129 w 512"/>
              <a:gd name="T83" fmla="*/ 258 h 512"/>
              <a:gd name="T84" fmla="*/ 172 w 512"/>
              <a:gd name="T85" fmla="*/ 272 h 512"/>
              <a:gd name="T86" fmla="*/ 181 w 512"/>
              <a:gd name="T87" fmla="*/ 202 h 512"/>
              <a:gd name="T88" fmla="*/ 245 w 512"/>
              <a:gd name="T89" fmla="*/ 202 h 512"/>
              <a:gd name="T90" fmla="*/ 256 w 512"/>
              <a:gd name="T91" fmla="*/ 224 h 512"/>
              <a:gd name="T92" fmla="*/ 298 w 512"/>
              <a:gd name="T93" fmla="*/ 245 h 512"/>
              <a:gd name="T94" fmla="*/ 341 w 512"/>
              <a:gd name="T95" fmla="*/ 256 h 512"/>
              <a:gd name="T96" fmla="*/ 373 w 512"/>
              <a:gd name="T9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181"/>
                </a:moveTo>
                <a:cubicBezTo>
                  <a:pt x="298" y="187"/>
                  <a:pt x="294" y="192"/>
                  <a:pt x="288" y="192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60" y="192"/>
                  <a:pt x="256" y="187"/>
                  <a:pt x="256" y="181"/>
                </a:cubicBezTo>
                <a:cubicBezTo>
                  <a:pt x="256" y="175"/>
                  <a:pt x="260" y="170"/>
                  <a:pt x="266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94" y="170"/>
                  <a:pt x="298" y="175"/>
                  <a:pt x="298" y="181"/>
                </a:cubicBezTo>
                <a:close/>
                <a:moveTo>
                  <a:pt x="237" y="141"/>
                </a:moveTo>
                <a:cubicBezTo>
                  <a:pt x="259" y="120"/>
                  <a:pt x="259" y="120"/>
                  <a:pt x="259" y="120"/>
                </a:cubicBezTo>
                <a:cubicBezTo>
                  <a:pt x="263" y="116"/>
                  <a:pt x="270" y="116"/>
                  <a:pt x="274" y="120"/>
                </a:cubicBezTo>
                <a:cubicBezTo>
                  <a:pt x="278" y="124"/>
                  <a:pt x="278" y="131"/>
                  <a:pt x="274" y="135"/>
                </a:cubicBezTo>
                <a:cubicBezTo>
                  <a:pt x="253" y="157"/>
                  <a:pt x="253" y="157"/>
                  <a:pt x="253" y="157"/>
                </a:cubicBezTo>
                <a:cubicBezTo>
                  <a:pt x="250" y="159"/>
                  <a:pt x="248" y="160"/>
                  <a:pt x="245" y="160"/>
                </a:cubicBezTo>
                <a:cubicBezTo>
                  <a:pt x="242" y="160"/>
                  <a:pt x="240" y="159"/>
                  <a:pt x="237" y="157"/>
                </a:cubicBezTo>
                <a:cubicBezTo>
                  <a:pt x="233" y="152"/>
                  <a:pt x="233" y="146"/>
                  <a:pt x="237" y="141"/>
                </a:cubicBezTo>
                <a:close/>
                <a:moveTo>
                  <a:pt x="202" y="106"/>
                </a:moveTo>
                <a:cubicBezTo>
                  <a:pt x="202" y="100"/>
                  <a:pt x="207" y="96"/>
                  <a:pt x="213" y="96"/>
                </a:cubicBezTo>
                <a:cubicBezTo>
                  <a:pt x="219" y="96"/>
                  <a:pt x="224" y="100"/>
                  <a:pt x="224" y="106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44"/>
                  <a:pt x="219" y="149"/>
                  <a:pt x="213" y="149"/>
                </a:cubicBezTo>
                <a:cubicBezTo>
                  <a:pt x="207" y="149"/>
                  <a:pt x="202" y="144"/>
                  <a:pt x="202" y="138"/>
                </a:cubicBezTo>
                <a:lnTo>
                  <a:pt x="202" y="106"/>
                </a:lnTo>
                <a:close/>
                <a:moveTo>
                  <a:pt x="152" y="120"/>
                </a:moveTo>
                <a:cubicBezTo>
                  <a:pt x="156" y="116"/>
                  <a:pt x="163" y="116"/>
                  <a:pt x="167" y="120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93" y="146"/>
                  <a:pt x="193" y="152"/>
                  <a:pt x="189" y="157"/>
                </a:cubicBezTo>
                <a:cubicBezTo>
                  <a:pt x="186" y="159"/>
                  <a:pt x="184" y="160"/>
                  <a:pt x="181" y="160"/>
                </a:cubicBezTo>
                <a:cubicBezTo>
                  <a:pt x="178" y="160"/>
                  <a:pt x="176" y="159"/>
                  <a:pt x="173" y="157"/>
                </a:cubicBezTo>
                <a:cubicBezTo>
                  <a:pt x="152" y="135"/>
                  <a:pt x="152" y="135"/>
                  <a:pt x="152" y="135"/>
                </a:cubicBezTo>
                <a:cubicBezTo>
                  <a:pt x="148" y="131"/>
                  <a:pt x="148" y="124"/>
                  <a:pt x="152" y="120"/>
                </a:cubicBezTo>
                <a:close/>
                <a:moveTo>
                  <a:pt x="138" y="170"/>
                </a:moveTo>
                <a:cubicBezTo>
                  <a:pt x="160" y="170"/>
                  <a:pt x="160" y="170"/>
                  <a:pt x="160" y="170"/>
                </a:cubicBezTo>
                <a:cubicBezTo>
                  <a:pt x="166" y="170"/>
                  <a:pt x="170" y="175"/>
                  <a:pt x="170" y="181"/>
                </a:cubicBezTo>
                <a:cubicBezTo>
                  <a:pt x="170" y="187"/>
                  <a:pt x="166" y="192"/>
                  <a:pt x="160" y="192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2" y="192"/>
                  <a:pt x="128" y="187"/>
                  <a:pt x="128" y="181"/>
                </a:cubicBezTo>
                <a:cubicBezTo>
                  <a:pt x="128" y="175"/>
                  <a:pt x="132" y="170"/>
                  <a:pt x="138" y="170"/>
                </a:cubicBez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3"/>
                  <a:pt x="351" y="332"/>
                  <a:pt x="351" y="331"/>
                </a:cubicBezTo>
                <a:cubicBezTo>
                  <a:pt x="351" y="288"/>
                  <a:pt x="351" y="288"/>
                  <a:pt x="351" y="288"/>
                </a:cubicBezTo>
                <a:cubicBezTo>
                  <a:pt x="351" y="282"/>
                  <a:pt x="346" y="277"/>
                  <a:pt x="341" y="277"/>
                </a:cubicBezTo>
                <a:cubicBezTo>
                  <a:pt x="335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ubicBezTo>
                  <a:pt x="250" y="245"/>
                  <a:pt x="245" y="250"/>
                  <a:pt x="245" y="256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31" y="170"/>
                  <a:pt x="245" y="185"/>
                  <a:pt x="245" y="202"/>
                </a:cubicBezTo>
                <a:cubicBezTo>
                  <a:pt x="245" y="226"/>
                  <a:pt x="245" y="226"/>
                  <a:pt x="245" y="226"/>
                </a:cubicBezTo>
                <a:cubicBezTo>
                  <a:pt x="248" y="224"/>
                  <a:pt x="252" y="224"/>
                  <a:pt x="256" y="224"/>
                </a:cubicBezTo>
                <a:cubicBezTo>
                  <a:pt x="270" y="224"/>
                  <a:pt x="283" y="234"/>
                  <a:pt x="286" y="247"/>
                </a:cubicBezTo>
                <a:cubicBezTo>
                  <a:pt x="290" y="246"/>
                  <a:pt x="294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8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8"/>
          <p:cNvGrpSpPr>
            <a:grpSpLocks noChangeAspect="1"/>
          </p:cNvGrpSpPr>
          <p:nvPr/>
        </p:nvGrpSpPr>
        <p:grpSpPr bwMode="auto">
          <a:xfrm>
            <a:off x="938417" y="2051054"/>
            <a:ext cx="367041" cy="367041"/>
            <a:chOff x="1346" y="303"/>
            <a:chExt cx="340" cy="340"/>
          </a:xfrm>
          <a:solidFill>
            <a:schemeClr val="accent1"/>
          </a:solidFill>
        </p:grpSpPr>
        <p:sp>
          <p:nvSpPr>
            <p:cNvPr id="258" name="Freeform 9"/>
            <p:cNvSpPr>
              <a:spLocks noEditPoints="1"/>
            </p:cNvSpPr>
            <p:nvPr/>
          </p:nvSpPr>
          <p:spPr bwMode="auto">
            <a:xfrm>
              <a:off x="1346" y="3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10"/>
            <p:cNvSpPr>
              <a:spLocks noEditPoints="1"/>
            </p:cNvSpPr>
            <p:nvPr/>
          </p:nvSpPr>
          <p:spPr bwMode="auto">
            <a:xfrm>
              <a:off x="1420" y="367"/>
              <a:ext cx="176" cy="212"/>
            </a:xfrm>
            <a:custGeom>
              <a:avLst/>
              <a:gdLst>
                <a:gd name="T0" fmla="*/ 230 w 265"/>
                <a:gd name="T1" fmla="*/ 320 h 320"/>
                <a:gd name="T2" fmla="*/ 222 w 265"/>
                <a:gd name="T3" fmla="*/ 302 h 320"/>
                <a:gd name="T4" fmla="*/ 240 w 265"/>
                <a:gd name="T5" fmla="*/ 192 h 320"/>
                <a:gd name="T6" fmla="*/ 219 w 265"/>
                <a:gd name="T7" fmla="*/ 190 h 320"/>
                <a:gd name="T8" fmla="*/ 209 w 265"/>
                <a:gd name="T9" fmla="*/ 202 h 320"/>
                <a:gd name="T10" fmla="*/ 209 w 265"/>
                <a:gd name="T11" fmla="*/ 202 h 320"/>
                <a:gd name="T12" fmla="*/ 198 w 265"/>
                <a:gd name="T13" fmla="*/ 181 h 320"/>
                <a:gd name="T14" fmla="*/ 177 w 265"/>
                <a:gd name="T15" fmla="*/ 181 h 320"/>
                <a:gd name="T16" fmla="*/ 166 w 265"/>
                <a:gd name="T17" fmla="*/ 202 h 320"/>
                <a:gd name="T18" fmla="*/ 155 w 265"/>
                <a:gd name="T19" fmla="*/ 160 h 320"/>
                <a:gd name="T20" fmla="*/ 134 w 265"/>
                <a:gd name="T21" fmla="*/ 160 h 320"/>
                <a:gd name="T22" fmla="*/ 123 w 265"/>
                <a:gd name="T23" fmla="*/ 202 h 320"/>
                <a:gd name="T24" fmla="*/ 113 w 265"/>
                <a:gd name="T25" fmla="*/ 106 h 320"/>
                <a:gd name="T26" fmla="*/ 91 w 265"/>
                <a:gd name="T27" fmla="*/ 106 h 320"/>
                <a:gd name="T28" fmla="*/ 85 w 265"/>
                <a:gd name="T29" fmla="*/ 244 h 320"/>
                <a:gd name="T30" fmla="*/ 41 w 265"/>
                <a:gd name="T31" fmla="*/ 185 h 320"/>
                <a:gd name="T32" fmla="*/ 27 w 265"/>
                <a:gd name="T33" fmla="*/ 181 h 320"/>
                <a:gd name="T34" fmla="*/ 27 w 265"/>
                <a:gd name="T35" fmla="*/ 199 h 320"/>
                <a:gd name="T36" fmla="*/ 100 w 265"/>
                <a:gd name="T37" fmla="*/ 315 h 320"/>
                <a:gd name="T38" fmla="*/ 86 w 265"/>
                <a:gd name="T39" fmla="*/ 318 h 320"/>
                <a:gd name="T40" fmla="*/ 18 w 265"/>
                <a:gd name="T41" fmla="*/ 162 h 320"/>
                <a:gd name="T42" fmla="*/ 61 w 265"/>
                <a:gd name="T43" fmla="*/ 176 h 320"/>
                <a:gd name="T44" fmla="*/ 70 w 265"/>
                <a:gd name="T45" fmla="*/ 106 h 320"/>
                <a:gd name="T46" fmla="*/ 134 w 265"/>
                <a:gd name="T47" fmla="*/ 106 h 320"/>
                <a:gd name="T48" fmla="*/ 145 w 265"/>
                <a:gd name="T49" fmla="*/ 128 h 320"/>
                <a:gd name="T50" fmla="*/ 187 w 265"/>
                <a:gd name="T51" fmla="*/ 149 h 320"/>
                <a:gd name="T52" fmla="*/ 230 w 265"/>
                <a:gd name="T53" fmla="*/ 160 h 320"/>
                <a:gd name="T54" fmla="*/ 262 w 265"/>
                <a:gd name="T55" fmla="*/ 234 h 320"/>
                <a:gd name="T56" fmla="*/ 102 w 265"/>
                <a:gd name="T57" fmla="*/ 53 h 320"/>
                <a:gd name="T58" fmla="*/ 113 w 265"/>
                <a:gd name="T59" fmla="*/ 10 h 320"/>
                <a:gd name="T60" fmla="*/ 91 w 265"/>
                <a:gd name="T61" fmla="*/ 10 h 320"/>
                <a:gd name="T62" fmla="*/ 102 w 265"/>
                <a:gd name="T63" fmla="*/ 53 h 320"/>
                <a:gd name="T64" fmla="*/ 142 w 265"/>
                <a:gd name="T65" fmla="*/ 61 h 320"/>
                <a:gd name="T66" fmla="*/ 163 w 265"/>
                <a:gd name="T67" fmla="*/ 24 h 320"/>
                <a:gd name="T68" fmla="*/ 126 w 265"/>
                <a:gd name="T69" fmla="*/ 45 h 320"/>
                <a:gd name="T70" fmla="*/ 134 w 265"/>
                <a:gd name="T71" fmla="*/ 64 h 320"/>
                <a:gd name="T72" fmla="*/ 70 w 265"/>
                <a:gd name="T73" fmla="*/ 64 h 320"/>
                <a:gd name="T74" fmla="*/ 78 w 265"/>
                <a:gd name="T75" fmla="*/ 45 h 320"/>
                <a:gd name="T76" fmla="*/ 41 w 265"/>
                <a:gd name="T77" fmla="*/ 24 h 320"/>
                <a:gd name="T78" fmla="*/ 62 w 265"/>
                <a:gd name="T79" fmla="*/ 61 h 320"/>
                <a:gd name="T80" fmla="*/ 155 w 265"/>
                <a:gd name="T81" fmla="*/ 96 h 320"/>
                <a:gd name="T82" fmla="*/ 187 w 265"/>
                <a:gd name="T83" fmla="*/ 85 h 320"/>
                <a:gd name="T84" fmla="*/ 155 w 265"/>
                <a:gd name="T85" fmla="*/ 74 h 320"/>
                <a:gd name="T86" fmla="*/ 27 w 265"/>
                <a:gd name="T87" fmla="*/ 96 h 320"/>
                <a:gd name="T88" fmla="*/ 59 w 265"/>
                <a:gd name="T89" fmla="*/ 85 h 320"/>
                <a:gd name="T90" fmla="*/ 27 w 265"/>
                <a:gd name="T91" fmla="*/ 74 h 320"/>
                <a:gd name="T92" fmla="*/ 27 w 265"/>
                <a:gd name="T93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5" h="320">
                  <a:moveTo>
                    <a:pt x="238" y="316"/>
                  </a:moveTo>
                  <a:cubicBezTo>
                    <a:pt x="236" y="318"/>
                    <a:pt x="233" y="320"/>
                    <a:pt x="230" y="320"/>
                  </a:cubicBezTo>
                  <a:cubicBezTo>
                    <a:pt x="227" y="320"/>
                    <a:pt x="225" y="319"/>
                    <a:pt x="223" y="317"/>
                  </a:cubicBezTo>
                  <a:cubicBezTo>
                    <a:pt x="218" y="313"/>
                    <a:pt x="218" y="307"/>
                    <a:pt x="222" y="302"/>
                  </a:cubicBezTo>
                  <a:cubicBezTo>
                    <a:pt x="243" y="277"/>
                    <a:pt x="240" y="236"/>
                    <a:pt x="240" y="235"/>
                  </a:cubicBezTo>
                  <a:cubicBezTo>
                    <a:pt x="240" y="192"/>
                    <a:pt x="240" y="192"/>
                    <a:pt x="240" y="192"/>
                  </a:cubicBezTo>
                  <a:cubicBezTo>
                    <a:pt x="240" y="186"/>
                    <a:pt x="235" y="181"/>
                    <a:pt x="230" y="181"/>
                  </a:cubicBezTo>
                  <a:cubicBezTo>
                    <a:pt x="224" y="181"/>
                    <a:pt x="220" y="185"/>
                    <a:pt x="219" y="190"/>
                  </a:cubicBezTo>
                  <a:cubicBezTo>
                    <a:pt x="219" y="192"/>
                    <a:pt x="219" y="192"/>
                    <a:pt x="219" y="192"/>
                  </a:cubicBezTo>
                  <a:cubicBezTo>
                    <a:pt x="219" y="198"/>
                    <a:pt x="215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3" y="170"/>
                    <a:pt x="187" y="170"/>
                  </a:cubicBezTo>
                  <a:cubicBezTo>
                    <a:pt x="181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5" y="198"/>
                    <a:pt x="155" y="192"/>
                  </a:cubicBezTo>
                  <a:cubicBezTo>
                    <a:pt x="155" y="160"/>
                    <a:pt x="155" y="160"/>
                    <a:pt x="155" y="160"/>
                  </a:cubicBezTo>
                  <a:cubicBezTo>
                    <a:pt x="155" y="154"/>
                    <a:pt x="151" y="149"/>
                    <a:pt x="145" y="149"/>
                  </a:cubicBezTo>
                  <a:cubicBezTo>
                    <a:pt x="139" y="149"/>
                    <a:pt x="134" y="154"/>
                    <a:pt x="134" y="160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29" y="202"/>
                    <a:pt x="123" y="202"/>
                  </a:cubicBezTo>
                  <a:cubicBezTo>
                    <a:pt x="117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1" y="100"/>
                    <a:pt x="91" y="106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1" y="239"/>
                    <a:pt x="89" y="242"/>
                    <a:pt x="85" y="244"/>
                  </a:cubicBezTo>
                  <a:cubicBezTo>
                    <a:pt x="81" y="246"/>
                    <a:pt x="77" y="245"/>
                    <a:pt x="74" y="242"/>
                  </a:cubicBezTo>
                  <a:cubicBezTo>
                    <a:pt x="60" y="230"/>
                    <a:pt x="44" y="192"/>
                    <a:pt x="41" y="185"/>
                  </a:cubicBezTo>
                  <a:cubicBezTo>
                    <a:pt x="40" y="183"/>
                    <a:pt x="38" y="181"/>
                    <a:pt x="35" y="180"/>
                  </a:cubicBezTo>
                  <a:cubicBezTo>
                    <a:pt x="33" y="180"/>
                    <a:pt x="30" y="180"/>
                    <a:pt x="27" y="181"/>
                  </a:cubicBezTo>
                  <a:cubicBezTo>
                    <a:pt x="23" y="183"/>
                    <a:pt x="23" y="192"/>
                    <a:pt x="26" y="198"/>
                  </a:cubicBezTo>
                  <a:cubicBezTo>
                    <a:pt x="26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3" y="310"/>
                    <a:pt x="100" y="315"/>
                  </a:cubicBezTo>
                  <a:cubicBezTo>
                    <a:pt x="98" y="318"/>
                    <a:pt x="95" y="320"/>
                    <a:pt x="91" y="320"/>
                  </a:cubicBezTo>
                  <a:cubicBezTo>
                    <a:pt x="89" y="320"/>
                    <a:pt x="87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5" y="158"/>
                    <a:pt x="34" y="157"/>
                    <a:pt x="42" y="160"/>
                  </a:cubicBezTo>
                  <a:cubicBezTo>
                    <a:pt x="50" y="163"/>
                    <a:pt x="57" y="169"/>
                    <a:pt x="61" y="176"/>
                  </a:cubicBezTo>
                  <a:cubicBezTo>
                    <a:pt x="63" y="183"/>
                    <a:pt x="66" y="190"/>
                    <a:pt x="70" y="197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4" y="74"/>
                    <a:pt x="102" y="74"/>
                  </a:cubicBezTo>
                  <a:cubicBezTo>
                    <a:pt x="120" y="74"/>
                    <a:pt x="134" y="89"/>
                    <a:pt x="134" y="106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37" y="128"/>
                    <a:pt x="141" y="128"/>
                    <a:pt x="145" y="128"/>
                  </a:cubicBezTo>
                  <a:cubicBezTo>
                    <a:pt x="159" y="128"/>
                    <a:pt x="172" y="138"/>
                    <a:pt x="175" y="151"/>
                  </a:cubicBezTo>
                  <a:cubicBezTo>
                    <a:pt x="179" y="150"/>
                    <a:pt x="183" y="149"/>
                    <a:pt x="187" y="149"/>
                  </a:cubicBezTo>
                  <a:cubicBezTo>
                    <a:pt x="199" y="149"/>
                    <a:pt x="209" y="155"/>
                    <a:pt x="214" y="164"/>
                  </a:cubicBezTo>
                  <a:cubicBezTo>
                    <a:pt x="219" y="161"/>
                    <a:pt x="224" y="160"/>
                    <a:pt x="230" y="160"/>
                  </a:cubicBezTo>
                  <a:cubicBezTo>
                    <a:pt x="247" y="160"/>
                    <a:pt x="262" y="174"/>
                    <a:pt x="262" y="192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6"/>
                    <a:pt x="265" y="284"/>
                    <a:pt x="238" y="316"/>
                  </a:cubicBezTo>
                  <a:close/>
                  <a:moveTo>
                    <a:pt x="102" y="53"/>
                  </a:moveTo>
                  <a:cubicBezTo>
                    <a:pt x="108" y="53"/>
                    <a:pt x="113" y="48"/>
                    <a:pt x="113" y="42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8" y="0"/>
                    <a:pt x="102" y="0"/>
                  </a:cubicBezTo>
                  <a:cubicBezTo>
                    <a:pt x="96" y="0"/>
                    <a:pt x="91" y="4"/>
                    <a:pt x="91" y="10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48"/>
                    <a:pt x="96" y="53"/>
                    <a:pt x="102" y="53"/>
                  </a:cubicBezTo>
                  <a:close/>
                  <a:moveTo>
                    <a:pt x="134" y="64"/>
                  </a:moveTo>
                  <a:cubicBezTo>
                    <a:pt x="137" y="64"/>
                    <a:pt x="139" y="63"/>
                    <a:pt x="142" y="61"/>
                  </a:cubicBezTo>
                  <a:cubicBezTo>
                    <a:pt x="163" y="39"/>
                    <a:pt x="163" y="39"/>
                    <a:pt x="163" y="39"/>
                  </a:cubicBezTo>
                  <a:cubicBezTo>
                    <a:pt x="167" y="35"/>
                    <a:pt x="167" y="28"/>
                    <a:pt x="163" y="24"/>
                  </a:cubicBezTo>
                  <a:cubicBezTo>
                    <a:pt x="159" y="20"/>
                    <a:pt x="152" y="20"/>
                    <a:pt x="148" y="24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2" y="50"/>
                    <a:pt x="122" y="56"/>
                    <a:pt x="126" y="61"/>
                  </a:cubicBezTo>
                  <a:cubicBezTo>
                    <a:pt x="129" y="63"/>
                    <a:pt x="131" y="64"/>
                    <a:pt x="134" y="64"/>
                  </a:cubicBezTo>
                  <a:close/>
                  <a:moveTo>
                    <a:pt x="62" y="61"/>
                  </a:moveTo>
                  <a:cubicBezTo>
                    <a:pt x="65" y="63"/>
                    <a:pt x="67" y="64"/>
                    <a:pt x="70" y="64"/>
                  </a:cubicBezTo>
                  <a:cubicBezTo>
                    <a:pt x="73" y="64"/>
                    <a:pt x="75" y="63"/>
                    <a:pt x="78" y="61"/>
                  </a:cubicBezTo>
                  <a:cubicBezTo>
                    <a:pt x="82" y="56"/>
                    <a:pt x="82" y="50"/>
                    <a:pt x="78" y="45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2" y="20"/>
                    <a:pt x="45" y="20"/>
                    <a:pt x="41" y="24"/>
                  </a:cubicBezTo>
                  <a:cubicBezTo>
                    <a:pt x="37" y="28"/>
                    <a:pt x="37" y="35"/>
                    <a:pt x="41" y="39"/>
                  </a:cubicBezTo>
                  <a:lnTo>
                    <a:pt x="62" y="61"/>
                  </a:lnTo>
                  <a:close/>
                  <a:moveTo>
                    <a:pt x="145" y="85"/>
                  </a:moveTo>
                  <a:cubicBezTo>
                    <a:pt x="145" y="91"/>
                    <a:pt x="149" y="96"/>
                    <a:pt x="155" y="96"/>
                  </a:cubicBezTo>
                  <a:cubicBezTo>
                    <a:pt x="177" y="96"/>
                    <a:pt x="177" y="96"/>
                    <a:pt x="177" y="96"/>
                  </a:cubicBezTo>
                  <a:cubicBezTo>
                    <a:pt x="183" y="96"/>
                    <a:pt x="187" y="91"/>
                    <a:pt x="187" y="85"/>
                  </a:cubicBezTo>
                  <a:cubicBezTo>
                    <a:pt x="187" y="79"/>
                    <a:pt x="183" y="74"/>
                    <a:pt x="177" y="74"/>
                  </a:cubicBezTo>
                  <a:cubicBezTo>
                    <a:pt x="155" y="74"/>
                    <a:pt x="155" y="74"/>
                    <a:pt x="155" y="74"/>
                  </a:cubicBezTo>
                  <a:cubicBezTo>
                    <a:pt x="149" y="74"/>
                    <a:pt x="145" y="79"/>
                    <a:pt x="145" y="85"/>
                  </a:cubicBezTo>
                  <a:close/>
                  <a:moveTo>
                    <a:pt x="27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55" y="96"/>
                    <a:pt x="59" y="91"/>
                    <a:pt x="59" y="85"/>
                  </a:cubicBezTo>
                  <a:cubicBezTo>
                    <a:pt x="59" y="79"/>
                    <a:pt x="55" y="74"/>
                    <a:pt x="49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1" y="74"/>
                    <a:pt x="17" y="79"/>
                    <a:pt x="17" y="85"/>
                  </a:cubicBezTo>
                  <a:cubicBezTo>
                    <a:pt x="17" y="91"/>
                    <a:pt x="21" y="96"/>
                    <a:pt x="27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14"/>
          <p:cNvSpPr>
            <a:spLocks noChangeAspect="1" noEditPoints="1"/>
          </p:cNvSpPr>
          <p:nvPr/>
        </p:nvSpPr>
        <p:spPr bwMode="auto">
          <a:xfrm>
            <a:off x="143706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28 w 512"/>
              <a:gd name="T5" fmla="*/ 412 h 512"/>
              <a:gd name="T6" fmla="*/ 313 w 512"/>
              <a:gd name="T7" fmla="*/ 413 h 512"/>
              <a:gd name="T8" fmla="*/ 330 w 512"/>
              <a:gd name="T9" fmla="*/ 331 h 512"/>
              <a:gd name="T10" fmla="*/ 319 w 512"/>
              <a:gd name="T11" fmla="*/ 277 h 512"/>
              <a:gd name="T12" fmla="*/ 309 w 512"/>
              <a:gd name="T13" fmla="*/ 288 h 512"/>
              <a:gd name="T14" fmla="*/ 298 w 512"/>
              <a:gd name="T15" fmla="*/ 298 h 512"/>
              <a:gd name="T16" fmla="*/ 288 w 512"/>
              <a:gd name="T17" fmla="*/ 288 h 512"/>
              <a:gd name="T18" fmla="*/ 277 w 512"/>
              <a:gd name="T19" fmla="*/ 266 h 512"/>
              <a:gd name="T20" fmla="*/ 266 w 512"/>
              <a:gd name="T21" fmla="*/ 288 h 512"/>
              <a:gd name="T22" fmla="*/ 245 w 512"/>
              <a:gd name="T23" fmla="*/ 288 h 512"/>
              <a:gd name="T24" fmla="*/ 234 w 512"/>
              <a:gd name="T25" fmla="*/ 181 h 512"/>
              <a:gd name="T26" fmla="*/ 224 w 512"/>
              <a:gd name="T27" fmla="*/ 202 h 512"/>
              <a:gd name="T28" fmla="*/ 224 w 512"/>
              <a:gd name="T29" fmla="*/ 288 h 512"/>
              <a:gd name="T30" fmla="*/ 202 w 512"/>
              <a:gd name="T31" fmla="*/ 288 h 512"/>
              <a:gd name="T32" fmla="*/ 202 w 512"/>
              <a:gd name="T33" fmla="*/ 202 h 512"/>
              <a:gd name="T34" fmla="*/ 181 w 512"/>
              <a:gd name="T35" fmla="*/ 202 h 512"/>
              <a:gd name="T36" fmla="*/ 175 w 512"/>
              <a:gd name="T37" fmla="*/ 340 h 512"/>
              <a:gd name="T38" fmla="*/ 131 w 512"/>
              <a:gd name="T39" fmla="*/ 281 h 512"/>
              <a:gd name="T40" fmla="*/ 117 w 512"/>
              <a:gd name="T41" fmla="*/ 277 h 512"/>
              <a:gd name="T42" fmla="*/ 116 w 512"/>
              <a:gd name="T43" fmla="*/ 295 h 512"/>
              <a:gd name="T44" fmla="*/ 190 w 512"/>
              <a:gd name="T45" fmla="*/ 411 h 512"/>
              <a:gd name="T46" fmla="*/ 175 w 512"/>
              <a:gd name="T47" fmla="*/ 414 h 512"/>
              <a:gd name="T48" fmla="*/ 107 w 512"/>
              <a:gd name="T49" fmla="*/ 258 h 512"/>
              <a:gd name="T50" fmla="*/ 150 w 512"/>
              <a:gd name="T51" fmla="*/ 272 h 512"/>
              <a:gd name="T52" fmla="*/ 160 w 512"/>
              <a:gd name="T53" fmla="*/ 202 h 512"/>
              <a:gd name="T54" fmla="*/ 207 w 512"/>
              <a:gd name="T55" fmla="*/ 175 h 512"/>
              <a:gd name="T56" fmla="*/ 266 w 512"/>
              <a:gd name="T57" fmla="*/ 192 h 512"/>
              <a:gd name="T58" fmla="*/ 277 w 512"/>
              <a:gd name="T59" fmla="*/ 245 h 512"/>
              <a:gd name="T60" fmla="*/ 320 w 512"/>
              <a:gd name="T61" fmla="*/ 256 h 512"/>
              <a:gd name="T62" fmla="*/ 352 w 512"/>
              <a:gd name="T63" fmla="*/ 330 h 512"/>
              <a:gd name="T64" fmla="*/ 415 w 512"/>
              <a:gd name="T65" fmla="*/ 174 h 512"/>
              <a:gd name="T66" fmla="*/ 391 w 512"/>
              <a:gd name="T67" fmla="*/ 199 h 512"/>
              <a:gd name="T68" fmla="*/ 376 w 512"/>
              <a:gd name="T69" fmla="*/ 199 h 512"/>
              <a:gd name="T70" fmla="*/ 379 w 512"/>
              <a:gd name="T71" fmla="*/ 181 h 512"/>
              <a:gd name="T72" fmla="*/ 352 w 512"/>
              <a:gd name="T73" fmla="*/ 209 h 512"/>
              <a:gd name="T74" fmla="*/ 370 w 512"/>
              <a:gd name="T75" fmla="*/ 205 h 512"/>
              <a:gd name="T76" fmla="*/ 349 w 512"/>
              <a:gd name="T77" fmla="*/ 242 h 512"/>
              <a:gd name="T78" fmla="*/ 341 w 512"/>
              <a:gd name="T79" fmla="*/ 245 h 512"/>
              <a:gd name="T80" fmla="*/ 333 w 512"/>
              <a:gd name="T81" fmla="*/ 242 h 512"/>
              <a:gd name="T82" fmla="*/ 312 w 512"/>
              <a:gd name="T83" fmla="*/ 205 h 512"/>
              <a:gd name="T84" fmla="*/ 330 w 512"/>
              <a:gd name="T85" fmla="*/ 209 h 512"/>
              <a:gd name="T86" fmla="*/ 303 w 512"/>
              <a:gd name="T87" fmla="*/ 181 h 512"/>
              <a:gd name="T88" fmla="*/ 306 w 512"/>
              <a:gd name="T89" fmla="*/ 199 h 512"/>
              <a:gd name="T90" fmla="*/ 291 w 512"/>
              <a:gd name="T91" fmla="*/ 199 h 512"/>
              <a:gd name="T92" fmla="*/ 267 w 512"/>
              <a:gd name="T93" fmla="*/ 174 h 512"/>
              <a:gd name="T94" fmla="*/ 269 w 512"/>
              <a:gd name="T95" fmla="*/ 163 h 512"/>
              <a:gd name="T96" fmla="*/ 306 w 512"/>
              <a:gd name="T97" fmla="*/ 141 h 512"/>
              <a:gd name="T98" fmla="*/ 303 w 512"/>
              <a:gd name="T99" fmla="*/ 160 h 512"/>
              <a:gd name="T100" fmla="*/ 330 w 512"/>
              <a:gd name="T101" fmla="*/ 132 h 512"/>
              <a:gd name="T102" fmla="*/ 320 w 512"/>
              <a:gd name="T103" fmla="*/ 138 h 512"/>
              <a:gd name="T104" fmla="*/ 312 w 512"/>
              <a:gd name="T105" fmla="*/ 120 h 512"/>
              <a:gd name="T106" fmla="*/ 337 w 512"/>
              <a:gd name="T107" fmla="*/ 96 h 512"/>
              <a:gd name="T108" fmla="*/ 349 w 512"/>
              <a:gd name="T109" fmla="*/ 99 h 512"/>
              <a:gd name="T110" fmla="*/ 370 w 512"/>
              <a:gd name="T111" fmla="*/ 135 h 512"/>
              <a:gd name="T112" fmla="*/ 355 w 512"/>
              <a:gd name="T113" fmla="*/ 135 h 512"/>
              <a:gd name="T114" fmla="*/ 352 w 512"/>
              <a:gd name="T115" fmla="*/ 160 h 512"/>
              <a:gd name="T116" fmla="*/ 376 w 512"/>
              <a:gd name="T117" fmla="*/ 157 h 512"/>
              <a:gd name="T118" fmla="*/ 391 w 512"/>
              <a:gd name="T119" fmla="*/ 141 h 512"/>
              <a:gd name="T120" fmla="*/ 415 w 512"/>
              <a:gd name="T121" fmla="*/ 1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8" y="412"/>
                </a:moveTo>
                <a:cubicBezTo>
                  <a:pt x="326" y="414"/>
                  <a:pt x="322" y="416"/>
                  <a:pt x="319" y="416"/>
                </a:cubicBezTo>
                <a:cubicBezTo>
                  <a:pt x="317" y="416"/>
                  <a:pt x="315" y="415"/>
                  <a:pt x="313" y="413"/>
                </a:cubicBezTo>
                <a:cubicBezTo>
                  <a:pt x="308" y="409"/>
                  <a:pt x="308" y="403"/>
                  <a:pt x="311" y="398"/>
                </a:cubicBezTo>
                <a:cubicBezTo>
                  <a:pt x="333" y="373"/>
                  <a:pt x="330" y="332"/>
                  <a:pt x="330" y="331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82"/>
                  <a:pt x="325" y="277"/>
                  <a:pt x="319" y="277"/>
                </a:cubicBezTo>
                <a:cubicBezTo>
                  <a:pt x="314" y="277"/>
                  <a:pt x="309" y="281"/>
                  <a:pt x="309" y="28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2" y="298"/>
                  <a:pt x="288" y="294"/>
                  <a:pt x="288" y="288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8" y="271"/>
                  <a:pt x="283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45" y="186"/>
                  <a:pt x="240" y="181"/>
                  <a:pt x="234" y="181"/>
                </a:cubicBezTo>
                <a:cubicBezTo>
                  <a:pt x="228" y="181"/>
                  <a:pt x="224" y="186"/>
                  <a:pt x="224" y="192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213"/>
                  <a:pt x="224" y="213"/>
                  <a:pt x="224" y="213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24" y="294"/>
                  <a:pt x="219" y="298"/>
                  <a:pt x="213" y="298"/>
                </a:cubicBezTo>
                <a:cubicBezTo>
                  <a:pt x="207" y="298"/>
                  <a:pt x="202" y="294"/>
                  <a:pt x="202" y="288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196"/>
                  <a:pt x="198" y="192"/>
                  <a:pt x="192" y="192"/>
                </a:cubicBezTo>
                <a:cubicBezTo>
                  <a:pt x="186" y="192"/>
                  <a:pt x="181" y="196"/>
                  <a:pt x="181" y="202"/>
                </a:cubicBezTo>
                <a:cubicBezTo>
                  <a:pt x="181" y="330"/>
                  <a:pt x="181" y="330"/>
                  <a:pt x="181" y="330"/>
                </a:cubicBezTo>
                <a:cubicBezTo>
                  <a:pt x="181" y="335"/>
                  <a:pt x="179" y="338"/>
                  <a:pt x="175" y="340"/>
                </a:cubicBezTo>
                <a:cubicBezTo>
                  <a:pt x="171" y="342"/>
                  <a:pt x="167" y="341"/>
                  <a:pt x="163" y="338"/>
                </a:cubicBezTo>
                <a:cubicBezTo>
                  <a:pt x="149" y="326"/>
                  <a:pt x="134" y="288"/>
                  <a:pt x="131" y="281"/>
                </a:cubicBezTo>
                <a:cubicBezTo>
                  <a:pt x="130" y="279"/>
                  <a:pt x="128" y="277"/>
                  <a:pt x="125" y="276"/>
                </a:cubicBezTo>
                <a:cubicBezTo>
                  <a:pt x="122" y="276"/>
                  <a:pt x="120" y="276"/>
                  <a:pt x="117" y="277"/>
                </a:cubicBezTo>
                <a:cubicBezTo>
                  <a:pt x="113" y="279"/>
                  <a:pt x="113" y="288"/>
                  <a:pt x="116" y="294"/>
                </a:cubicBezTo>
                <a:cubicBezTo>
                  <a:pt x="116" y="294"/>
                  <a:pt x="116" y="294"/>
                  <a:pt x="116" y="295"/>
                </a:cubicBezTo>
                <a:cubicBezTo>
                  <a:pt x="117" y="295"/>
                  <a:pt x="143" y="369"/>
                  <a:pt x="187" y="396"/>
                </a:cubicBezTo>
                <a:cubicBezTo>
                  <a:pt x="192" y="399"/>
                  <a:pt x="193" y="406"/>
                  <a:pt x="190" y="411"/>
                </a:cubicBezTo>
                <a:cubicBezTo>
                  <a:pt x="188" y="414"/>
                  <a:pt x="185" y="416"/>
                  <a:pt x="181" y="416"/>
                </a:cubicBezTo>
                <a:cubicBezTo>
                  <a:pt x="179" y="416"/>
                  <a:pt x="177" y="415"/>
                  <a:pt x="175" y="414"/>
                </a:cubicBezTo>
                <a:cubicBezTo>
                  <a:pt x="127" y="384"/>
                  <a:pt x="99" y="310"/>
                  <a:pt x="96" y="303"/>
                </a:cubicBezTo>
                <a:cubicBezTo>
                  <a:pt x="89" y="287"/>
                  <a:pt x="91" y="266"/>
                  <a:pt x="107" y="258"/>
                </a:cubicBezTo>
                <a:cubicBezTo>
                  <a:pt x="115" y="254"/>
                  <a:pt x="124" y="253"/>
                  <a:pt x="132" y="256"/>
                </a:cubicBezTo>
                <a:cubicBezTo>
                  <a:pt x="140" y="259"/>
                  <a:pt x="147" y="265"/>
                  <a:pt x="150" y="272"/>
                </a:cubicBezTo>
                <a:cubicBezTo>
                  <a:pt x="153" y="279"/>
                  <a:pt x="160" y="286"/>
                  <a:pt x="160" y="293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60" y="185"/>
                  <a:pt x="174" y="170"/>
                  <a:pt x="192" y="170"/>
                </a:cubicBezTo>
                <a:cubicBezTo>
                  <a:pt x="197" y="170"/>
                  <a:pt x="203" y="172"/>
                  <a:pt x="207" y="175"/>
                </a:cubicBezTo>
                <a:cubicBezTo>
                  <a:pt x="213" y="166"/>
                  <a:pt x="223" y="160"/>
                  <a:pt x="234" y="160"/>
                </a:cubicBezTo>
                <a:cubicBezTo>
                  <a:pt x="252" y="160"/>
                  <a:pt x="266" y="174"/>
                  <a:pt x="266" y="192"/>
                </a:cubicBezTo>
                <a:cubicBezTo>
                  <a:pt x="266" y="247"/>
                  <a:pt x="266" y="247"/>
                  <a:pt x="266" y="247"/>
                </a:cubicBezTo>
                <a:cubicBezTo>
                  <a:pt x="266" y="246"/>
                  <a:pt x="273" y="245"/>
                  <a:pt x="277" y="245"/>
                </a:cubicBezTo>
                <a:cubicBezTo>
                  <a:pt x="288" y="245"/>
                  <a:pt x="298" y="251"/>
                  <a:pt x="304" y="260"/>
                </a:cubicBezTo>
                <a:cubicBezTo>
                  <a:pt x="309" y="257"/>
                  <a:pt x="314" y="256"/>
                  <a:pt x="320" y="256"/>
                </a:cubicBezTo>
                <a:cubicBezTo>
                  <a:pt x="337" y="256"/>
                  <a:pt x="352" y="270"/>
                  <a:pt x="352" y="288"/>
                </a:cubicBezTo>
                <a:cubicBezTo>
                  <a:pt x="352" y="330"/>
                  <a:pt x="352" y="330"/>
                  <a:pt x="352" y="330"/>
                </a:cubicBezTo>
                <a:cubicBezTo>
                  <a:pt x="352" y="332"/>
                  <a:pt x="355" y="380"/>
                  <a:pt x="328" y="412"/>
                </a:cubicBezTo>
                <a:close/>
                <a:moveTo>
                  <a:pt x="415" y="174"/>
                </a:moveTo>
                <a:cubicBezTo>
                  <a:pt x="414" y="176"/>
                  <a:pt x="414" y="177"/>
                  <a:pt x="413" y="178"/>
                </a:cubicBezTo>
                <a:cubicBezTo>
                  <a:pt x="391" y="199"/>
                  <a:pt x="391" y="199"/>
                  <a:pt x="391" y="199"/>
                </a:cubicBezTo>
                <a:cubicBezTo>
                  <a:pt x="389" y="201"/>
                  <a:pt x="386" y="202"/>
                  <a:pt x="384" y="202"/>
                </a:cubicBezTo>
                <a:cubicBezTo>
                  <a:pt x="381" y="202"/>
                  <a:pt x="378" y="201"/>
                  <a:pt x="376" y="199"/>
                </a:cubicBezTo>
                <a:cubicBezTo>
                  <a:pt x="372" y="195"/>
                  <a:pt x="372" y="188"/>
                  <a:pt x="376" y="184"/>
                </a:cubicBezTo>
                <a:cubicBezTo>
                  <a:pt x="379" y="181"/>
                  <a:pt x="379" y="181"/>
                  <a:pt x="379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2" y="209"/>
                  <a:pt x="352" y="209"/>
                  <a:pt x="352" y="209"/>
                </a:cubicBezTo>
                <a:cubicBezTo>
                  <a:pt x="355" y="205"/>
                  <a:pt x="355" y="205"/>
                  <a:pt x="355" y="205"/>
                </a:cubicBezTo>
                <a:cubicBezTo>
                  <a:pt x="359" y="201"/>
                  <a:pt x="366" y="201"/>
                  <a:pt x="370" y="205"/>
                </a:cubicBezTo>
                <a:cubicBezTo>
                  <a:pt x="374" y="210"/>
                  <a:pt x="374" y="216"/>
                  <a:pt x="370" y="221"/>
                </a:cubicBezTo>
                <a:cubicBezTo>
                  <a:pt x="349" y="242"/>
                  <a:pt x="349" y="242"/>
                  <a:pt x="349" y="242"/>
                </a:cubicBezTo>
                <a:cubicBezTo>
                  <a:pt x="348" y="243"/>
                  <a:pt x="346" y="244"/>
                  <a:pt x="345" y="244"/>
                </a:cubicBezTo>
                <a:cubicBezTo>
                  <a:pt x="344" y="245"/>
                  <a:pt x="342" y="245"/>
                  <a:pt x="341" y="245"/>
                </a:cubicBezTo>
                <a:cubicBezTo>
                  <a:pt x="340" y="245"/>
                  <a:pt x="338" y="245"/>
                  <a:pt x="337" y="244"/>
                </a:cubicBezTo>
                <a:cubicBezTo>
                  <a:pt x="336" y="244"/>
                  <a:pt x="334" y="243"/>
                  <a:pt x="333" y="242"/>
                </a:cubicBezTo>
                <a:cubicBezTo>
                  <a:pt x="312" y="221"/>
                  <a:pt x="312" y="221"/>
                  <a:pt x="312" y="221"/>
                </a:cubicBezTo>
                <a:cubicBezTo>
                  <a:pt x="308" y="216"/>
                  <a:pt x="308" y="210"/>
                  <a:pt x="312" y="205"/>
                </a:cubicBezTo>
                <a:cubicBezTo>
                  <a:pt x="316" y="201"/>
                  <a:pt x="323" y="201"/>
                  <a:pt x="327" y="205"/>
                </a:cubicBezTo>
                <a:cubicBezTo>
                  <a:pt x="330" y="209"/>
                  <a:pt x="330" y="209"/>
                  <a:pt x="330" y="209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03" y="181"/>
                  <a:pt x="303" y="181"/>
                  <a:pt x="303" y="181"/>
                </a:cubicBezTo>
                <a:cubicBezTo>
                  <a:pt x="306" y="184"/>
                  <a:pt x="306" y="184"/>
                  <a:pt x="306" y="184"/>
                </a:cubicBezTo>
                <a:cubicBezTo>
                  <a:pt x="310" y="188"/>
                  <a:pt x="310" y="195"/>
                  <a:pt x="306" y="199"/>
                </a:cubicBezTo>
                <a:cubicBezTo>
                  <a:pt x="304" y="201"/>
                  <a:pt x="301" y="202"/>
                  <a:pt x="298" y="202"/>
                </a:cubicBezTo>
                <a:cubicBezTo>
                  <a:pt x="296" y="202"/>
                  <a:pt x="293" y="201"/>
                  <a:pt x="291" y="199"/>
                </a:cubicBezTo>
                <a:cubicBezTo>
                  <a:pt x="269" y="178"/>
                  <a:pt x="269" y="178"/>
                  <a:pt x="269" y="178"/>
                </a:cubicBezTo>
                <a:cubicBezTo>
                  <a:pt x="268" y="177"/>
                  <a:pt x="268" y="176"/>
                  <a:pt x="267" y="174"/>
                </a:cubicBezTo>
                <a:cubicBezTo>
                  <a:pt x="266" y="172"/>
                  <a:pt x="266" y="169"/>
                  <a:pt x="267" y="166"/>
                </a:cubicBezTo>
                <a:cubicBezTo>
                  <a:pt x="268" y="165"/>
                  <a:pt x="268" y="164"/>
                  <a:pt x="269" y="163"/>
                </a:cubicBezTo>
                <a:cubicBezTo>
                  <a:pt x="291" y="141"/>
                  <a:pt x="291" y="141"/>
                  <a:pt x="291" y="141"/>
                </a:cubicBezTo>
                <a:cubicBezTo>
                  <a:pt x="295" y="137"/>
                  <a:pt x="302" y="137"/>
                  <a:pt x="306" y="141"/>
                </a:cubicBezTo>
                <a:cubicBezTo>
                  <a:pt x="310" y="146"/>
                  <a:pt x="310" y="152"/>
                  <a:pt x="306" y="157"/>
                </a:cubicBezTo>
                <a:cubicBezTo>
                  <a:pt x="303" y="160"/>
                  <a:pt x="303" y="160"/>
                  <a:pt x="303" y="160"/>
                </a:cubicBezTo>
                <a:cubicBezTo>
                  <a:pt x="330" y="160"/>
                  <a:pt x="330" y="160"/>
                  <a:pt x="330" y="160"/>
                </a:cubicBezTo>
                <a:cubicBezTo>
                  <a:pt x="330" y="132"/>
                  <a:pt x="330" y="132"/>
                  <a:pt x="330" y="132"/>
                </a:cubicBezTo>
                <a:cubicBezTo>
                  <a:pt x="327" y="135"/>
                  <a:pt x="327" y="135"/>
                  <a:pt x="327" y="135"/>
                </a:cubicBezTo>
                <a:cubicBezTo>
                  <a:pt x="325" y="137"/>
                  <a:pt x="322" y="138"/>
                  <a:pt x="320" y="138"/>
                </a:cubicBezTo>
                <a:cubicBezTo>
                  <a:pt x="317" y="138"/>
                  <a:pt x="314" y="137"/>
                  <a:pt x="312" y="135"/>
                </a:cubicBezTo>
                <a:cubicBezTo>
                  <a:pt x="308" y="131"/>
                  <a:pt x="308" y="124"/>
                  <a:pt x="312" y="120"/>
                </a:cubicBezTo>
                <a:cubicBezTo>
                  <a:pt x="333" y="99"/>
                  <a:pt x="333" y="99"/>
                  <a:pt x="333" y="99"/>
                </a:cubicBezTo>
                <a:cubicBezTo>
                  <a:pt x="334" y="98"/>
                  <a:pt x="336" y="97"/>
                  <a:pt x="337" y="96"/>
                </a:cubicBezTo>
                <a:cubicBezTo>
                  <a:pt x="340" y="95"/>
                  <a:pt x="342" y="95"/>
                  <a:pt x="345" y="96"/>
                </a:cubicBezTo>
                <a:cubicBezTo>
                  <a:pt x="346" y="97"/>
                  <a:pt x="348" y="98"/>
                  <a:pt x="349" y="99"/>
                </a:cubicBezTo>
                <a:cubicBezTo>
                  <a:pt x="370" y="120"/>
                  <a:pt x="370" y="120"/>
                  <a:pt x="370" y="120"/>
                </a:cubicBezTo>
                <a:cubicBezTo>
                  <a:pt x="374" y="124"/>
                  <a:pt x="374" y="131"/>
                  <a:pt x="370" y="135"/>
                </a:cubicBezTo>
                <a:cubicBezTo>
                  <a:pt x="368" y="137"/>
                  <a:pt x="365" y="138"/>
                  <a:pt x="362" y="138"/>
                </a:cubicBezTo>
                <a:cubicBezTo>
                  <a:pt x="360" y="138"/>
                  <a:pt x="357" y="137"/>
                  <a:pt x="355" y="135"/>
                </a:cubicBezTo>
                <a:cubicBezTo>
                  <a:pt x="352" y="132"/>
                  <a:pt x="352" y="132"/>
                  <a:pt x="352" y="132"/>
                </a:cubicBezTo>
                <a:cubicBezTo>
                  <a:pt x="352" y="160"/>
                  <a:pt x="352" y="160"/>
                  <a:pt x="352" y="160"/>
                </a:cubicBezTo>
                <a:cubicBezTo>
                  <a:pt x="379" y="160"/>
                  <a:pt x="379" y="160"/>
                  <a:pt x="379" y="160"/>
                </a:cubicBezTo>
                <a:cubicBezTo>
                  <a:pt x="376" y="157"/>
                  <a:pt x="376" y="157"/>
                  <a:pt x="376" y="157"/>
                </a:cubicBezTo>
                <a:cubicBezTo>
                  <a:pt x="372" y="152"/>
                  <a:pt x="372" y="146"/>
                  <a:pt x="376" y="141"/>
                </a:cubicBezTo>
                <a:cubicBezTo>
                  <a:pt x="380" y="137"/>
                  <a:pt x="387" y="137"/>
                  <a:pt x="391" y="141"/>
                </a:cubicBezTo>
                <a:cubicBezTo>
                  <a:pt x="413" y="163"/>
                  <a:pt x="413" y="163"/>
                  <a:pt x="413" y="163"/>
                </a:cubicBezTo>
                <a:cubicBezTo>
                  <a:pt x="414" y="164"/>
                  <a:pt x="414" y="165"/>
                  <a:pt x="415" y="166"/>
                </a:cubicBezTo>
                <a:cubicBezTo>
                  <a:pt x="416" y="169"/>
                  <a:pt x="416" y="172"/>
                  <a:pt x="415" y="1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17"/>
          <p:cNvGrpSpPr>
            <a:grpSpLocks noChangeAspect="1"/>
          </p:cNvGrpSpPr>
          <p:nvPr/>
        </p:nvGrpSpPr>
        <p:grpSpPr bwMode="auto">
          <a:xfrm>
            <a:off x="1935707" y="2051050"/>
            <a:ext cx="367041" cy="368120"/>
            <a:chOff x="1516" y="151"/>
            <a:chExt cx="340" cy="341"/>
          </a:xfrm>
          <a:solidFill>
            <a:schemeClr val="accent1"/>
          </a:solidFill>
        </p:grpSpPr>
        <p:sp>
          <p:nvSpPr>
            <p:cNvPr id="262" name="Freeform 18"/>
            <p:cNvSpPr>
              <a:spLocks noEditPoints="1"/>
            </p:cNvSpPr>
            <p:nvPr/>
          </p:nvSpPr>
          <p:spPr bwMode="auto">
            <a:xfrm>
              <a:off x="1516" y="15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19"/>
            <p:cNvSpPr>
              <a:spLocks noEditPoints="1"/>
            </p:cNvSpPr>
            <p:nvPr/>
          </p:nvSpPr>
          <p:spPr bwMode="auto">
            <a:xfrm>
              <a:off x="1575" y="214"/>
              <a:ext cx="217" cy="214"/>
            </a:xfrm>
            <a:custGeom>
              <a:avLst/>
              <a:gdLst>
                <a:gd name="T0" fmla="*/ 239 w 327"/>
                <a:gd name="T1" fmla="*/ 317 h 321"/>
                <a:gd name="T2" fmla="*/ 224 w 327"/>
                <a:gd name="T3" fmla="*/ 318 h 321"/>
                <a:gd name="T4" fmla="*/ 241 w 327"/>
                <a:gd name="T5" fmla="*/ 236 h 321"/>
                <a:gd name="T6" fmla="*/ 230 w 327"/>
                <a:gd name="T7" fmla="*/ 182 h 321"/>
                <a:gd name="T8" fmla="*/ 220 w 327"/>
                <a:gd name="T9" fmla="*/ 193 h 321"/>
                <a:gd name="T10" fmla="*/ 209 w 327"/>
                <a:gd name="T11" fmla="*/ 203 h 321"/>
                <a:gd name="T12" fmla="*/ 199 w 327"/>
                <a:gd name="T13" fmla="*/ 193 h 321"/>
                <a:gd name="T14" fmla="*/ 188 w 327"/>
                <a:gd name="T15" fmla="*/ 171 h 321"/>
                <a:gd name="T16" fmla="*/ 177 w 327"/>
                <a:gd name="T17" fmla="*/ 193 h 321"/>
                <a:gd name="T18" fmla="*/ 156 w 327"/>
                <a:gd name="T19" fmla="*/ 193 h 321"/>
                <a:gd name="T20" fmla="*/ 145 w 327"/>
                <a:gd name="T21" fmla="*/ 86 h 321"/>
                <a:gd name="T22" fmla="*/ 135 w 327"/>
                <a:gd name="T23" fmla="*/ 107 h 321"/>
                <a:gd name="T24" fmla="*/ 135 w 327"/>
                <a:gd name="T25" fmla="*/ 193 h 321"/>
                <a:gd name="T26" fmla="*/ 113 w 327"/>
                <a:gd name="T27" fmla="*/ 193 h 321"/>
                <a:gd name="T28" fmla="*/ 113 w 327"/>
                <a:gd name="T29" fmla="*/ 107 h 321"/>
                <a:gd name="T30" fmla="*/ 92 w 327"/>
                <a:gd name="T31" fmla="*/ 107 h 321"/>
                <a:gd name="T32" fmla="*/ 86 w 327"/>
                <a:gd name="T33" fmla="*/ 245 h 321"/>
                <a:gd name="T34" fmla="*/ 42 w 327"/>
                <a:gd name="T35" fmla="*/ 186 h 321"/>
                <a:gd name="T36" fmla="*/ 28 w 327"/>
                <a:gd name="T37" fmla="*/ 182 h 321"/>
                <a:gd name="T38" fmla="*/ 27 w 327"/>
                <a:gd name="T39" fmla="*/ 200 h 321"/>
                <a:gd name="T40" fmla="*/ 101 w 327"/>
                <a:gd name="T41" fmla="*/ 316 h 321"/>
                <a:gd name="T42" fmla="*/ 86 w 327"/>
                <a:gd name="T43" fmla="*/ 319 h 321"/>
                <a:gd name="T44" fmla="*/ 18 w 327"/>
                <a:gd name="T45" fmla="*/ 163 h 321"/>
                <a:gd name="T46" fmla="*/ 61 w 327"/>
                <a:gd name="T47" fmla="*/ 177 h 321"/>
                <a:gd name="T48" fmla="*/ 71 w 327"/>
                <a:gd name="T49" fmla="*/ 107 h 321"/>
                <a:gd name="T50" fmla="*/ 118 w 327"/>
                <a:gd name="T51" fmla="*/ 80 h 321"/>
                <a:gd name="T52" fmla="*/ 177 w 327"/>
                <a:gd name="T53" fmla="*/ 97 h 321"/>
                <a:gd name="T54" fmla="*/ 188 w 327"/>
                <a:gd name="T55" fmla="*/ 150 h 321"/>
                <a:gd name="T56" fmla="*/ 231 w 327"/>
                <a:gd name="T57" fmla="*/ 161 h 321"/>
                <a:gd name="T58" fmla="*/ 263 w 327"/>
                <a:gd name="T59" fmla="*/ 235 h 321"/>
                <a:gd name="T60" fmla="*/ 324 w 327"/>
                <a:gd name="T61" fmla="*/ 68 h 321"/>
                <a:gd name="T62" fmla="*/ 287 w 327"/>
                <a:gd name="T63" fmla="*/ 46 h 321"/>
                <a:gd name="T64" fmla="*/ 290 w 327"/>
                <a:gd name="T65" fmla="*/ 65 h 321"/>
                <a:gd name="T66" fmla="*/ 263 w 327"/>
                <a:gd name="T67" fmla="*/ 37 h 321"/>
                <a:gd name="T68" fmla="*/ 273 w 327"/>
                <a:gd name="T69" fmla="*/ 43 h 321"/>
                <a:gd name="T70" fmla="*/ 281 w 327"/>
                <a:gd name="T71" fmla="*/ 25 h 321"/>
                <a:gd name="T72" fmla="*/ 256 w 327"/>
                <a:gd name="T73" fmla="*/ 1 h 321"/>
                <a:gd name="T74" fmla="*/ 244 w 327"/>
                <a:gd name="T75" fmla="*/ 4 h 321"/>
                <a:gd name="T76" fmla="*/ 223 w 327"/>
                <a:gd name="T77" fmla="*/ 40 h 321"/>
                <a:gd name="T78" fmla="*/ 238 w 327"/>
                <a:gd name="T79" fmla="*/ 40 h 321"/>
                <a:gd name="T80" fmla="*/ 241 w 327"/>
                <a:gd name="T81" fmla="*/ 65 h 321"/>
                <a:gd name="T82" fmla="*/ 217 w 327"/>
                <a:gd name="T83" fmla="*/ 62 h 321"/>
                <a:gd name="T84" fmla="*/ 202 w 327"/>
                <a:gd name="T85" fmla="*/ 46 h 321"/>
                <a:gd name="T86" fmla="*/ 178 w 327"/>
                <a:gd name="T87" fmla="*/ 71 h 321"/>
                <a:gd name="T88" fmla="*/ 180 w 327"/>
                <a:gd name="T89" fmla="*/ 83 h 321"/>
                <a:gd name="T90" fmla="*/ 209 w 327"/>
                <a:gd name="T91" fmla="*/ 107 h 321"/>
                <a:gd name="T92" fmla="*/ 217 w 327"/>
                <a:gd name="T93" fmla="*/ 89 h 321"/>
                <a:gd name="T94" fmla="*/ 241 w 327"/>
                <a:gd name="T95" fmla="*/ 86 h 321"/>
                <a:gd name="T96" fmla="*/ 238 w 327"/>
                <a:gd name="T97" fmla="*/ 110 h 321"/>
                <a:gd name="T98" fmla="*/ 223 w 327"/>
                <a:gd name="T99" fmla="*/ 126 h 321"/>
                <a:gd name="T100" fmla="*/ 248 w 327"/>
                <a:gd name="T101" fmla="*/ 149 h 321"/>
                <a:gd name="T102" fmla="*/ 256 w 327"/>
                <a:gd name="T103" fmla="*/ 149 h 321"/>
                <a:gd name="T104" fmla="*/ 281 w 327"/>
                <a:gd name="T105" fmla="*/ 126 h 321"/>
                <a:gd name="T106" fmla="*/ 266 w 327"/>
                <a:gd name="T107" fmla="*/ 110 h 321"/>
                <a:gd name="T108" fmla="*/ 263 w 327"/>
                <a:gd name="T109" fmla="*/ 86 h 321"/>
                <a:gd name="T110" fmla="*/ 287 w 327"/>
                <a:gd name="T111" fmla="*/ 89 h 321"/>
                <a:gd name="T112" fmla="*/ 295 w 327"/>
                <a:gd name="T113" fmla="*/ 107 h 321"/>
                <a:gd name="T114" fmla="*/ 324 w 327"/>
                <a:gd name="T115" fmla="*/ 83 h 321"/>
                <a:gd name="T116" fmla="*/ 326 w 327"/>
                <a:gd name="T117" fmla="*/ 7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7" h="321">
                  <a:moveTo>
                    <a:pt x="263" y="235"/>
                  </a:moveTo>
                  <a:cubicBezTo>
                    <a:pt x="263" y="237"/>
                    <a:pt x="266" y="285"/>
                    <a:pt x="239" y="317"/>
                  </a:cubicBezTo>
                  <a:cubicBezTo>
                    <a:pt x="237" y="319"/>
                    <a:pt x="233" y="321"/>
                    <a:pt x="230" y="321"/>
                  </a:cubicBezTo>
                  <a:cubicBezTo>
                    <a:pt x="228" y="321"/>
                    <a:pt x="226" y="320"/>
                    <a:pt x="224" y="318"/>
                  </a:cubicBezTo>
                  <a:cubicBezTo>
                    <a:pt x="219" y="314"/>
                    <a:pt x="219" y="308"/>
                    <a:pt x="222" y="303"/>
                  </a:cubicBezTo>
                  <a:cubicBezTo>
                    <a:pt x="244" y="278"/>
                    <a:pt x="241" y="237"/>
                    <a:pt x="241" y="236"/>
                  </a:cubicBezTo>
                  <a:cubicBezTo>
                    <a:pt x="241" y="193"/>
                    <a:pt x="241" y="193"/>
                    <a:pt x="241" y="193"/>
                  </a:cubicBezTo>
                  <a:cubicBezTo>
                    <a:pt x="241" y="187"/>
                    <a:pt x="236" y="182"/>
                    <a:pt x="230" y="182"/>
                  </a:cubicBezTo>
                  <a:cubicBezTo>
                    <a:pt x="225" y="182"/>
                    <a:pt x="220" y="186"/>
                    <a:pt x="220" y="192"/>
                  </a:cubicBezTo>
                  <a:cubicBezTo>
                    <a:pt x="220" y="193"/>
                    <a:pt x="220" y="193"/>
                    <a:pt x="220" y="193"/>
                  </a:cubicBezTo>
                  <a:cubicBezTo>
                    <a:pt x="220" y="199"/>
                    <a:pt x="215" y="203"/>
                    <a:pt x="209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03" y="203"/>
                    <a:pt x="199" y="199"/>
                    <a:pt x="199" y="193"/>
                  </a:cubicBezTo>
                  <a:cubicBezTo>
                    <a:pt x="199" y="182"/>
                    <a:pt x="199" y="182"/>
                    <a:pt x="199" y="182"/>
                  </a:cubicBezTo>
                  <a:cubicBezTo>
                    <a:pt x="199" y="176"/>
                    <a:pt x="194" y="171"/>
                    <a:pt x="188" y="171"/>
                  </a:cubicBezTo>
                  <a:cubicBezTo>
                    <a:pt x="182" y="171"/>
                    <a:pt x="177" y="176"/>
                    <a:pt x="177" y="182"/>
                  </a:cubicBezTo>
                  <a:cubicBezTo>
                    <a:pt x="177" y="193"/>
                    <a:pt x="177" y="193"/>
                    <a:pt x="177" y="193"/>
                  </a:cubicBezTo>
                  <a:cubicBezTo>
                    <a:pt x="177" y="199"/>
                    <a:pt x="173" y="203"/>
                    <a:pt x="167" y="203"/>
                  </a:cubicBezTo>
                  <a:cubicBezTo>
                    <a:pt x="161" y="203"/>
                    <a:pt x="156" y="199"/>
                    <a:pt x="156" y="193"/>
                  </a:cubicBezTo>
                  <a:cubicBezTo>
                    <a:pt x="156" y="97"/>
                    <a:pt x="156" y="97"/>
                    <a:pt x="156" y="97"/>
                  </a:cubicBezTo>
                  <a:cubicBezTo>
                    <a:pt x="156" y="91"/>
                    <a:pt x="151" y="86"/>
                    <a:pt x="145" y="86"/>
                  </a:cubicBezTo>
                  <a:cubicBezTo>
                    <a:pt x="139" y="86"/>
                    <a:pt x="135" y="91"/>
                    <a:pt x="135" y="97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93"/>
                    <a:pt x="135" y="193"/>
                    <a:pt x="135" y="193"/>
                  </a:cubicBezTo>
                  <a:cubicBezTo>
                    <a:pt x="135" y="199"/>
                    <a:pt x="130" y="203"/>
                    <a:pt x="124" y="203"/>
                  </a:cubicBezTo>
                  <a:cubicBezTo>
                    <a:pt x="118" y="203"/>
                    <a:pt x="113" y="199"/>
                    <a:pt x="113" y="193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07"/>
                    <a:pt x="113" y="107"/>
                    <a:pt x="113" y="107"/>
                  </a:cubicBezTo>
                  <a:cubicBezTo>
                    <a:pt x="113" y="101"/>
                    <a:pt x="109" y="97"/>
                    <a:pt x="103" y="97"/>
                  </a:cubicBezTo>
                  <a:cubicBezTo>
                    <a:pt x="97" y="97"/>
                    <a:pt x="92" y="101"/>
                    <a:pt x="92" y="107"/>
                  </a:cubicBezTo>
                  <a:cubicBezTo>
                    <a:pt x="92" y="235"/>
                    <a:pt x="92" y="235"/>
                    <a:pt x="92" y="235"/>
                  </a:cubicBezTo>
                  <a:cubicBezTo>
                    <a:pt x="92" y="240"/>
                    <a:pt x="90" y="243"/>
                    <a:pt x="86" y="245"/>
                  </a:cubicBezTo>
                  <a:cubicBezTo>
                    <a:pt x="82" y="247"/>
                    <a:pt x="78" y="246"/>
                    <a:pt x="74" y="243"/>
                  </a:cubicBezTo>
                  <a:cubicBezTo>
                    <a:pt x="60" y="231"/>
                    <a:pt x="45" y="193"/>
                    <a:pt x="42" y="186"/>
                  </a:cubicBezTo>
                  <a:cubicBezTo>
                    <a:pt x="41" y="184"/>
                    <a:pt x="39" y="182"/>
                    <a:pt x="36" y="181"/>
                  </a:cubicBezTo>
                  <a:cubicBezTo>
                    <a:pt x="33" y="181"/>
                    <a:pt x="31" y="181"/>
                    <a:pt x="28" y="182"/>
                  </a:cubicBezTo>
                  <a:cubicBezTo>
                    <a:pt x="24" y="184"/>
                    <a:pt x="24" y="193"/>
                    <a:pt x="27" y="199"/>
                  </a:cubicBezTo>
                  <a:cubicBezTo>
                    <a:pt x="27" y="199"/>
                    <a:pt x="27" y="199"/>
                    <a:pt x="27" y="200"/>
                  </a:cubicBezTo>
                  <a:cubicBezTo>
                    <a:pt x="28" y="200"/>
                    <a:pt x="54" y="274"/>
                    <a:pt x="98" y="301"/>
                  </a:cubicBezTo>
                  <a:cubicBezTo>
                    <a:pt x="103" y="304"/>
                    <a:pt x="104" y="311"/>
                    <a:pt x="101" y="316"/>
                  </a:cubicBezTo>
                  <a:cubicBezTo>
                    <a:pt x="99" y="319"/>
                    <a:pt x="96" y="321"/>
                    <a:pt x="92" y="321"/>
                  </a:cubicBezTo>
                  <a:cubicBezTo>
                    <a:pt x="90" y="321"/>
                    <a:pt x="88" y="320"/>
                    <a:pt x="86" y="319"/>
                  </a:cubicBezTo>
                  <a:cubicBezTo>
                    <a:pt x="38" y="289"/>
                    <a:pt x="10" y="215"/>
                    <a:pt x="7" y="208"/>
                  </a:cubicBezTo>
                  <a:cubicBezTo>
                    <a:pt x="0" y="192"/>
                    <a:pt x="2" y="171"/>
                    <a:pt x="18" y="163"/>
                  </a:cubicBezTo>
                  <a:cubicBezTo>
                    <a:pt x="26" y="159"/>
                    <a:pt x="35" y="158"/>
                    <a:pt x="43" y="161"/>
                  </a:cubicBezTo>
                  <a:cubicBezTo>
                    <a:pt x="51" y="164"/>
                    <a:pt x="58" y="170"/>
                    <a:pt x="61" y="177"/>
                  </a:cubicBezTo>
                  <a:cubicBezTo>
                    <a:pt x="64" y="184"/>
                    <a:pt x="67" y="191"/>
                    <a:pt x="71" y="198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90"/>
                    <a:pt x="85" y="75"/>
                    <a:pt x="103" y="75"/>
                  </a:cubicBezTo>
                  <a:cubicBezTo>
                    <a:pt x="108" y="75"/>
                    <a:pt x="114" y="77"/>
                    <a:pt x="118" y="80"/>
                  </a:cubicBezTo>
                  <a:cubicBezTo>
                    <a:pt x="124" y="71"/>
                    <a:pt x="134" y="65"/>
                    <a:pt x="145" y="65"/>
                  </a:cubicBezTo>
                  <a:cubicBezTo>
                    <a:pt x="163" y="65"/>
                    <a:pt x="177" y="79"/>
                    <a:pt x="177" y="97"/>
                  </a:cubicBezTo>
                  <a:cubicBezTo>
                    <a:pt x="177" y="152"/>
                    <a:pt x="177" y="152"/>
                    <a:pt x="177" y="152"/>
                  </a:cubicBezTo>
                  <a:cubicBezTo>
                    <a:pt x="181" y="151"/>
                    <a:pt x="184" y="150"/>
                    <a:pt x="188" y="150"/>
                  </a:cubicBezTo>
                  <a:cubicBezTo>
                    <a:pt x="199" y="150"/>
                    <a:pt x="209" y="156"/>
                    <a:pt x="215" y="165"/>
                  </a:cubicBezTo>
                  <a:cubicBezTo>
                    <a:pt x="220" y="162"/>
                    <a:pt x="225" y="161"/>
                    <a:pt x="231" y="161"/>
                  </a:cubicBezTo>
                  <a:cubicBezTo>
                    <a:pt x="248" y="161"/>
                    <a:pt x="263" y="175"/>
                    <a:pt x="263" y="193"/>
                  </a:cubicBezTo>
                  <a:lnTo>
                    <a:pt x="263" y="235"/>
                  </a:lnTo>
                  <a:close/>
                  <a:moveTo>
                    <a:pt x="326" y="71"/>
                  </a:moveTo>
                  <a:cubicBezTo>
                    <a:pt x="325" y="70"/>
                    <a:pt x="325" y="69"/>
                    <a:pt x="324" y="68"/>
                  </a:cubicBezTo>
                  <a:cubicBezTo>
                    <a:pt x="302" y="46"/>
                    <a:pt x="302" y="46"/>
                    <a:pt x="302" y="46"/>
                  </a:cubicBezTo>
                  <a:cubicBezTo>
                    <a:pt x="298" y="42"/>
                    <a:pt x="291" y="42"/>
                    <a:pt x="287" y="46"/>
                  </a:cubicBezTo>
                  <a:cubicBezTo>
                    <a:pt x="283" y="51"/>
                    <a:pt x="283" y="57"/>
                    <a:pt x="287" y="62"/>
                  </a:cubicBezTo>
                  <a:cubicBezTo>
                    <a:pt x="290" y="65"/>
                    <a:pt x="290" y="65"/>
                    <a:pt x="290" y="65"/>
                  </a:cubicBezTo>
                  <a:cubicBezTo>
                    <a:pt x="263" y="65"/>
                    <a:pt x="263" y="65"/>
                    <a:pt x="263" y="65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66" y="40"/>
                    <a:pt x="266" y="40"/>
                    <a:pt x="266" y="40"/>
                  </a:cubicBezTo>
                  <a:cubicBezTo>
                    <a:pt x="268" y="42"/>
                    <a:pt x="271" y="43"/>
                    <a:pt x="273" y="43"/>
                  </a:cubicBezTo>
                  <a:cubicBezTo>
                    <a:pt x="276" y="43"/>
                    <a:pt x="279" y="42"/>
                    <a:pt x="281" y="40"/>
                  </a:cubicBezTo>
                  <a:cubicBezTo>
                    <a:pt x="285" y="36"/>
                    <a:pt x="285" y="29"/>
                    <a:pt x="281" y="25"/>
                  </a:cubicBezTo>
                  <a:cubicBezTo>
                    <a:pt x="260" y="4"/>
                    <a:pt x="260" y="4"/>
                    <a:pt x="260" y="4"/>
                  </a:cubicBezTo>
                  <a:cubicBezTo>
                    <a:pt x="259" y="3"/>
                    <a:pt x="257" y="2"/>
                    <a:pt x="256" y="1"/>
                  </a:cubicBezTo>
                  <a:cubicBezTo>
                    <a:pt x="253" y="0"/>
                    <a:pt x="251" y="0"/>
                    <a:pt x="248" y="1"/>
                  </a:cubicBezTo>
                  <a:cubicBezTo>
                    <a:pt x="247" y="2"/>
                    <a:pt x="245" y="3"/>
                    <a:pt x="244" y="4"/>
                  </a:cubicBezTo>
                  <a:cubicBezTo>
                    <a:pt x="223" y="25"/>
                    <a:pt x="223" y="25"/>
                    <a:pt x="223" y="25"/>
                  </a:cubicBezTo>
                  <a:cubicBezTo>
                    <a:pt x="219" y="29"/>
                    <a:pt x="219" y="36"/>
                    <a:pt x="223" y="40"/>
                  </a:cubicBezTo>
                  <a:cubicBezTo>
                    <a:pt x="225" y="42"/>
                    <a:pt x="228" y="43"/>
                    <a:pt x="231" y="43"/>
                  </a:cubicBezTo>
                  <a:cubicBezTo>
                    <a:pt x="233" y="43"/>
                    <a:pt x="236" y="42"/>
                    <a:pt x="238" y="40"/>
                  </a:cubicBezTo>
                  <a:cubicBezTo>
                    <a:pt x="241" y="37"/>
                    <a:pt x="241" y="37"/>
                    <a:pt x="241" y="37"/>
                  </a:cubicBezTo>
                  <a:cubicBezTo>
                    <a:pt x="241" y="65"/>
                    <a:pt x="241" y="65"/>
                    <a:pt x="241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7" y="62"/>
                    <a:pt x="217" y="62"/>
                    <a:pt x="217" y="62"/>
                  </a:cubicBezTo>
                  <a:cubicBezTo>
                    <a:pt x="221" y="57"/>
                    <a:pt x="221" y="51"/>
                    <a:pt x="217" y="46"/>
                  </a:cubicBezTo>
                  <a:cubicBezTo>
                    <a:pt x="213" y="42"/>
                    <a:pt x="206" y="42"/>
                    <a:pt x="202" y="46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79" y="69"/>
                    <a:pt x="179" y="70"/>
                    <a:pt x="178" y="71"/>
                  </a:cubicBezTo>
                  <a:cubicBezTo>
                    <a:pt x="177" y="74"/>
                    <a:pt x="177" y="77"/>
                    <a:pt x="178" y="79"/>
                  </a:cubicBezTo>
                  <a:cubicBezTo>
                    <a:pt x="179" y="81"/>
                    <a:pt x="179" y="82"/>
                    <a:pt x="180" y="83"/>
                  </a:cubicBezTo>
                  <a:cubicBezTo>
                    <a:pt x="202" y="104"/>
                    <a:pt x="202" y="104"/>
                    <a:pt x="202" y="104"/>
                  </a:cubicBezTo>
                  <a:cubicBezTo>
                    <a:pt x="204" y="106"/>
                    <a:pt x="207" y="107"/>
                    <a:pt x="209" y="107"/>
                  </a:cubicBezTo>
                  <a:cubicBezTo>
                    <a:pt x="212" y="107"/>
                    <a:pt x="215" y="106"/>
                    <a:pt x="217" y="104"/>
                  </a:cubicBezTo>
                  <a:cubicBezTo>
                    <a:pt x="221" y="100"/>
                    <a:pt x="221" y="93"/>
                    <a:pt x="217" y="89"/>
                  </a:cubicBezTo>
                  <a:cubicBezTo>
                    <a:pt x="214" y="86"/>
                    <a:pt x="214" y="86"/>
                    <a:pt x="214" y="86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114"/>
                    <a:pt x="241" y="114"/>
                    <a:pt x="241" y="114"/>
                  </a:cubicBezTo>
                  <a:cubicBezTo>
                    <a:pt x="238" y="110"/>
                    <a:pt x="238" y="110"/>
                    <a:pt x="238" y="110"/>
                  </a:cubicBezTo>
                  <a:cubicBezTo>
                    <a:pt x="234" y="106"/>
                    <a:pt x="227" y="106"/>
                    <a:pt x="223" y="110"/>
                  </a:cubicBezTo>
                  <a:cubicBezTo>
                    <a:pt x="219" y="115"/>
                    <a:pt x="219" y="121"/>
                    <a:pt x="223" y="126"/>
                  </a:cubicBezTo>
                  <a:cubicBezTo>
                    <a:pt x="244" y="147"/>
                    <a:pt x="244" y="147"/>
                    <a:pt x="244" y="147"/>
                  </a:cubicBezTo>
                  <a:cubicBezTo>
                    <a:pt x="245" y="148"/>
                    <a:pt x="247" y="149"/>
                    <a:pt x="248" y="149"/>
                  </a:cubicBezTo>
                  <a:cubicBezTo>
                    <a:pt x="249" y="150"/>
                    <a:pt x="251" y="150"/>
                    <a:pt x="252" y="150"/>
                  </a:cubicBezTo>
                  <a:cubicBezTo>
                    <a:pt x="253" y="150"/>
                    <a:pt x="255" y="150"/>
                    <a:pt x="256" y="149"/>
                  </a:cubicBezTo>
                  <a:cubicBezTo>
                    <a:pt x="257" y="149"/>
                    <a:pt x="259" y="148"/>
                    <a:pt x="260" y="147"/>
                  </a:cubicBezTo>
                  <a:cubicBezTo>
                    <a:pt x="281" y="126"/>
                    <a:pt x="281" y="126"/>
                    <a:pt x="281" y="126"/>
                  </a:cubicBezTo>
                  <a:cubicBezTo>
                    <a:pt x="285" y="121"/>
                    <a:pt x="285" y="115"/>
                    <a:pt x="281" y="110"/>
                  </a:cubicBezTo>
                  <a:cubicBezTo>
                    <a:pt x="277" y="106"/>
                    <a:pt x="270" y="106"/>
                    <a:pt x="266" y="110"/>
                  </a:cubicBezTo>
                  <a:cubicBezTo>
                    <a:pt x="263" y="114"/>
                    <a:pt x="263" y="114"/>
                    <a:pt x="263" y="114"/>
                  </a:cubicBezTo>
                  <a:cubicBezTo>
                    <a:pt x="263" y="86"/>
                    <a:pt x="263" y="86"/>
                    <a:pt x="263" y="86"/>
                  </a:cubicBezTo>
                  <a:cubicBezTo>
                    <a:pt x="290" y="86"/>
                    <a:pt x="290" y="86"/>
                    <a:pt x="290" y="86"/>
                  </a:cubicBezTo>
                  <a:cubicBezTo>
                    <a:pt x="287" y="89"/>
                    <a:pt x="287" y="89"/>
                    <a:pt x="287" y="89"/>
                  </a:cubicBezTo>
                  <a:cubicBezTo>
                    <a:pt x="283" y="93"/>
                    <a:pt x="283" y="100"/>
                    <a:pt x="287" y="104"/>
                  </a:cubicBezTo>
                  <a:cubicBezTo>
                    <a:pt x="289" y="106"/>
                    <a:pt x="292" y="107"/>
                    <a:pt x="295" y="107"/>
                  </a:cubicBezTo>
                  <a:cubicBezTo>
                    <a:pt x="297" y="107"/>
                    <a:pt x="300" y="106"/>
                    <a:pt x="302" y="104"/>
                  </a:cubicBezTo>
                  <a:cubicBezTo>
                    <a:pt x="324" y="83"/>
                    <a:pt x="324" y="83"/>
                    <a:pt x="324" y="83"/>
                  </a:cubicBezTo>
                  <a:cubicBezTo>
                    <a:pt x="325" y="82"/>
                    <a:pt x="325" y="81"/>
                    <a:pt x="326" y="79"/>
                  </a:cubicBezTo>
                  <a:cubicBezTo>
                    <a:pt x="327" y="77"/>
                    <a:pt x="327" y="74"/>
                    <a:pt x="32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23"/>
          <p:cNvSpPr>
            <a:spLocks noChangeAspect="1" noEditPoints="1"/>
          </p:cNvSpPr>
          <p:nvPr/>
        </p:nvSpPr>
        <p:spPr bwMode="auto">
          <a:xfrm>
            <a:off x="243435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49 w 512"/>
              <a:gd name="T5" fmla="*/ 117 h 512"/>
              <a:gd name="T6" fmla="*/ 170 w 512"/>
              <a:gd name="T7" fmla="*/ 117 h 512"/>
              <a:gd name="T8" fmla="*/ 256 w 512"/>
              <a:gd name="T9" fmla="*/ 96 h 512"/>
              <a:gd name="T10" fmla="*/ 359 w 512"/>
              <a:gd name="T11" fmla="*/ 157 h 512"/>
              <a:gd name="T12" fmla="*/ 344 w 512"/>
              <a:gd name="T13" fmla="*/ 156 h 512"/>
              <a:gd name="T14" fmla="*/ 189 w 512"/>
              <a:gd name="T15" fmla="*/ 138 h 512"/>
              <a:gd name="T16" fmla="*/ 202 w 512"/>
              <a:gd name="T17" fmla="*/ 149 h 512"/>
              <a:gd name="T18" fmla="*/ 160 w 512"/>
              <a:gd name="T19" fmla="*/ 160 h 512"/>
              <a:gd name="T20" fmla="*/ 149 w 512"/>
              <a:gd name="T21" fmla="*/ 117 h 512"/>
              <a:gd name="T22" fmla="*/ 341 w 512"/>
              <a:gd name="T23" fmla="*/ 416 h 512"/>
              <a:gd name="T24" fmla="*/ 333 w 512"/>
              <a:gd name="T25" fmla="*/ 398 h 512"/>
              <a:gd name="T26" fmla="*/ 351 w 512"/>
              <a:gd name="T27" fmla="*/ 288 h 512"/>
              <a:gd name="T28" fmla="*/ 330 w 512"/>
              <a:gd name="T29" fmla="*/ 286 h 512"/>
              <a:gd name="T30" fmla="*/ 320 w 512"/>
              <a:gd name="T31" fmla="*/ 298 h 512"/>
              <a:gd name="T32" fmla="*/ 309 w 512"/>
              <a:gd name="T33" fmla="*/ 287 h 512"/>
              <a:gd name="T34" fmla="*/ 298 w 512"/>
              <a:gd name="T35" fmla="*/ 266 h 512"/>
              <a:gd name="T36" fmla="*/ 288 w 512"/>
              <a:gd name="T37" fmla="*/ 288 h 512"/>
              <a:gd name="T38" fmla="*/ 266 w 512"/>
              <a:gd name="T39" fmla="*/ 288 h 512"/>
              <a:gd name="T40" fmla="*/ 256 w 512"/>
              <a:gd name="T41" fmla="*/ 170 h 512"/>
              <a:gd name="T42" fmla="*/ 245 w 512"/>
              <a:gd name="T43" fmla="*/ 202 h 512"/>
              <a:gd name="T44" fmla="*/ 234 w 512"/>
              <a:gd name="T45" fmla="*/ 298 h 512"/>
              <a:gd name="T46" fmla="*/ 224 w 512"/>
              <a:gd name="T47" fmla="*/ 202 h 512"/>
              <a:gd name="T48" fmla="*/ 202 w 512"/>
              <a:gd name="T49" fmla="*/ 202 h 512"/>
              <a:gd name="T50" fmla="*/ 196 w 512"/>
              <a:gd name="T51" fmla="*/ 340 h 512"/>
              <a:gd name="T52" fmla="*/ 152 w 512"/>
              <a:gd name="T53" fmla="*/ 281 h 512"/>
              <a:gd name="T54" fmla="*/ 138 w 512"/>
              <a:gd name="T55" fmla="*/ 277 h 512"/>
              <a:gd name="T56" fmla="*/ 138 w 512"/>
              <a:gd name="T57" fmla="*/ 295 h 512"/>
              <a:gd name="T58" fmla="*/ 211 w 512"/>
              <a:gd name="T59" fmla="*/ 411 h 512"/>
              <a:gd name="T60" fmla="*/ 197 w 512"/>
              <a:gd name="T61" fmla="*/ 414 h 512"/>
              <a:gd name="T62" fmla="*/ 129 w 512"/>
              <a:gd name="T63" fmla="*/ 258 h 512"/>
              <a:gd name="T64" fmla="*/ 172 w 512"/>
              <a:gd name="T65" fmla="*/ 272 h 512"/>
              <a:gd name="T66" fmla="*/ 181 w 512"/>
              <a:gd name="T67" fmla="*/ 202 h 512"/>
              <a:gd name="T68" fmla="*/ 225 w 512"/>
              <a:gd name="T69" fmla="*/ 173 h 512"/>
              <a:gd name="T70" fmla="*/ 288 w 512"/>
              <a:gd name="T71" fmla="*/ 181 h 512"/>
              <a:gd name="T72" fmla="*/ 298 w 512"/>
              <a:gd name="T73" fmla="*/ 245 h 512"/>
              <a:gd name="T74" fmla="*/ 341 w 512"/>
              <a:gd name="T75" fmla="*/ 256 h 512"/>
              <a:gd name="T76" fmla="*/ 373 w 512"/>
              <a:gd name="T7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49" y="117"/>
                </a:moveTo>
                <a:cubicBezTo>
                  <a:pt x="149" y="111"/>
                  <a:pt x="154" y="106"/>
                  <a:pt x="160" y="106"/>
                </a:cubicBezTo>
                <a:cubicBezTo>
                  <a:pt x="166" y="106"/>
                  <a:pt x="170" y="111"/>
                  <a:pt x="170" y="117"/>
                </a:cubicBezTo>
                <a:cubicBezTo>
                  <a:pt x="170" y="126"/>
                  <a:pt x="170" y="126"/>
                  <a:pt x="170" y="126"/>
                </a:cubicBezTo>
                <a:cubicBezTo>
                  <a:pt x="195" y="106"/>
                  <a:pt x="225" y="96"/>
                  <a:pt x="256" y="96"/>
                </a:cubicBezTo>
                <a:cubicBezTo>
                  <a:pt x="296" y="96"/>
                  <a:pt x="333" y="113"/>
                  <a:pt x="360" y="142"/>
                </a:cubicBezTo>
                <a:cubicBezTo>
                  <a:pt x="364" y="146"/>
                  <a:pt x="363" y="153"/>
                  <a:pt x="359" y="157"/>
                </a:cubicBezTo>
                <a:cubicBezTo>
                  <a:pt x="357" y="159"/>
                  <a:pt x="354" y="160"/>
                  <a:pt x="352" y="160"/>
                </a:cubicBezTo>
                <a:cubicBezTo>
                  <a:pt x="349" y="160"/>
                  <a:pt x="346" y="158"/>
                  <a:pt x="344" y="156"/>
                </a:cubicBezTo>
                <a:cubicBezTo>
                  <a:pt x="321" y="131"/>
                  <a:pt x="290" y="117"/>
                  <a:pt x="256" y="117"/>
                </a:cubicBezTo>
                <a:cubicBezTo>
                  <a:pt x="232" y="117"/>
                  <a:pt x="209" y="125"/>
                  <a:pt x="189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98" y="138"/>
                  <a:pt x="202" y="143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54" y="160"/>
                  <a:pt x="149" y="155"/>
                  <a:pt x="149" y="149"/>
                </a:cubicBezTo>
                <a:lnTo>
                  <a:pt x="149" y="117"/>
                </a:ln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2"/>
                  <a:pt x="351" y="332"/>
                  <a:pt x="351" y="331"/>
                </a:cubicBezTo>
                <a:cubicBezTo>
                  <a:pt x="351" y="288"/>
                  <a:pt x="351" y="288"/>
                  <a:pt x="351" y="288"/>
                </a:cubicBezTo>
                <a:cubicBezTo>
                  <a:pt x="351" y="282"/>
                  <a:pt x="347" y="277"/>
                  <a:pt x="341" y="277"/>
                </a:cubicBezTo>
                <a:cubicBezTo>
                  <a:pt x="335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87"/>
                  <a:pt x="309" y="287"/>
                  <a:pt x="309" y="287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75"/>
                  <a:pt x="262" y="170"/>
                  <a:pt x="256" y="170"/>
                </a:cubicBezTo>
                <a:cubicBezTo>
                  <a:pt x="250" y="170"/>
                  <a:pt x="245" y="175"/>
                  <a:pt x="245" y="181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9"/>
                  <a:pt x="196" y="340"/>
                </a:cubicBezTo>
                <a:cubicBezTo>
                  <a:pt x="192" y="342"/>
                  <a:pt x="187" y="341"/>
                  <a:pt x="184" y="338"/>
                </a:cubicBezTo>
                <a:cubicBezTo>
                  <a:pt x="172" y="326"/>
                  <a:pt x="154" y="286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8"/>
                  <a:pt x="177" y="285"/>
                  <a:pt x="181" y="292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17" y="170"/>
                  <a:pt x="221" y="171"/>
                  <a:pt x="225" y="173"/>
                </a:cubicBezTo>
                <a:cubicBezTo>
                  <a:pt x="229" y="159"/>
                  <a:pt x="241" y="149"/>
                  <a:pt x="256" y="149"/>
                </a:cubicBezTo>
                <a:cubicBezTo>
                  <a:pt x="273" y="149"/>
                  <a:pt x="288" y="163"/>
                  <a:pt x="288" y="181"/>
                </a:cubicBezTo>
                <a:cubicBezTo>
                  <a:pt x="288" y="247"/>
                  <a:pt x="288" y="247"/>
                  <a:pt x="288" y="247"/>
                </a:cubicBezTo>
                <a:cubicBezTo>
                  <a:pt x="291" y="246"/>
                  <a:pt x="295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8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26"/>
          <p:cNvGrpSpPr>
            <a:grpSpLocks noChangeAspect="1"/>
          </p:cNvGrpSpPr>
          <p:nvPr/>
        </p:nvGrpSpPr>
        <p:grpSpPr bwMode="auto">
          <a:xfrm>
            <a:off x="2932997" y="2051054"/>
            <a:ext cx="367041" cy="367041"/>
            <a:chOff x="2391" y="339"/>
            <a:chExt cx="340" cy="340"/>
          </a:xfrm>
          <a:solidFill>
            <a:schemeClr val="accent1"/>
          </a:solidFill>
        </p:grpSpPr>
        <p:sp>
          <p:nvSpPr>
            <p:cNvPr id="266" name="Freeform 27"/>
            <p:cNvSpPr>
              <a:spLocks noEditPoints="1"/>
            </p:cNvSpPr>
            <p:nvPr/>
          </p:nvSpPr>
          <p:spPr bwMode="auto">
            <a:xfrm>
              <a:off x="2391" y="33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28"/>
            <p:cNvSpPr>
              <a:spLocks noEditPoints="1"/>
            </p:cNvSpPr>
            <p:nvPr/>
          </p:nvSpPr>
          <p:spPr bwMode="auto">
            <a:xfrm>
              <a:off x="2465" y="403"/>
              <a:ext cx="176" cy="212"/>
            </a:xfrm>
            <a:custGeom>
              <a:avLst/>
              <a:gdLst>
                <a:gd name="T0" fmla="*/ 230 w 265"/>
                <a:gd name="T1" fmla="*/ 320 h 320"/>
                <a:gd name="T2" fmla="*/ 222 w 265"/>
                <a:gd name="T3" fmla="*/ 302 h 320"/>
                <a:gd name="T4" fmla="*/ 240 w 265"/>
                <a:gd name="T5" fmla="*/ 192 h 320"/>
                <a:gd name="T6" fmla="*/ 219 w 265"/>
                <a:gd name="T7" fmla="*/ 190 h 320"/>
                <a:gd name="T8" fmla="*/ 209 w 265"/>
                <a:gd name="T9" fmla="*/ 202 h 320"/>
                <a:gd name="T10" fmla="*/ 209 w 265"/>
                <a:gd name="T11" fmla="*/ 202 h 320"/>
                <a:gd name="T12" fmla="*/ 198 w 265"/>
                <a:gd name="T13" fmla="*/ 191 h 320"/>
                <a:gd name="T14" fmla="*/ 187 w 265"/>
                <a:gd name="T15" fmla="*/ 170 h 320"/>
                <a:gd name="T16" fmla="*/ 177 w 265"/>
                <a:gd name="T17" fmla="*/ 192 h 320"/>
                <a:gd name="T18" fmla="*/ 155 w 265"/>
                <a:gd name="T19" fmla="*/ 192 h 320"/>
                <a:gd name="T20" fmla="*/ 145 w 265"/>
                <a:gd name="T21" fmla="*/ 74 h 320"/>
                <a:gd name="T22" fmla="*/ 134 w 265"/>
                <a:gd name="T23" fmla="*/ 106 h 320"/>
                <a:gd name="T24" fmla="*/ 123 w 265"/>
                <a:gd name="T25" fmla="*/ 202 h 320"/>
                <a:gd name="T26" fmla="*/ 113 w 265"/>
                <a:gd name="T27" fmla="*/ 106 h 320"/>
                <a:gd name="T28" fmla="*/ 91 w 265"/>
                <a:gd name="T29" fmla="*/ 106 h 320"/>
                <a:gd name="T30" fmla="*/ 85 w 265"/>
                <a:gd name="T31" fmla="*/ 244 h 320"/>
                <a:gd name="T32" fmla="*/ 41 w 265"/>
                <a:gd name="T33" fmla="*/ 185 h 320"/>
                <a:gd name="T34" fmla="*/ 27 w 265"/>
                <a:gd name="T35" fmla="*/ 181 h 320"/>
                <a:gd name="T36" fmla="*/ 27 w 265"/>
                <a:gd name="T37" fmla="*/ 199 h 320"/>
                <a:gd name="T38" fmla="*/ 100 w 265"/>
                <a:gd name="T39" fmla="*/ 315 h 320"/>
                <a:gd name="T40" fmla="*/ 86 w 265"/>
                <a:gd name="T41" fmla="*/ 318 h 320"/>
                <a:gd name="T42" fmla="*/ 18 w 265"/>
                <a:gd name="T43" fmla="*/ 162 h 320"/>
                <a:gd name="T44" fmla="*/ 61 w 265"/>
                <a:gd name="T45" fmla="*/ 176 h 320"/>
                <a:gd name="T46" fmla="*/ 70 w 265"/>
                <a:gd name="T47" fmla="*/ 106 h 320"/>
                <a:gd name="T48" fmla="*/ 114 w 265"/>
                <a:gd name="T49" fmla="*/ 77 h 320"/>
                <a:gd name="T50" fmla="*/ 177 w 265"/>
                <a:gd name="T51" fmla="*/ 85 h 320"/>
                <a:gd name="T52" fmla="*/ 187 w 265"/>
                <a:gd name="T53" fmla="*/ 149 h 320"/>
                <a:gd name="T54" fmla="*/ 230 w 265"/>
                <a:gd name="T55" fmla="*/ 160 h 320"/>
                <a:gd name="T56" fmla="*/ 262 w 265"/>
                <a:gd name="T57" fmla="*/ 234 h 320"/>
                <a:gd name="T58" fmla="*/ 49 w 265"/>
                <a:gd name="T59" fmla="*/ 64 h 320"/>
                <a:gd name="T60" fmla="*/ 91 w 265"/>
                <a:gd name="T61" fmla="*/ 53 h 320"/>
                <a:gd name="T62" fmla="*/ 78 w 265"/>
                <a:gd name="T63" fmla="*/ 42 h 320"/>
                <a:gd name="T64" fmla="*/ 233 w 265"/>
                <a:gd name="T65" fmla="*/ 60 h 320"/>
                <a:gd name="T66" fmla="*/ 248 w 265"/>
                <a:gd name="T67" fmla="*/ 61 h 320"/>
                <a:gd name="T68" fmla="*/ 145 w 265"/>
                <a:gd name="T69" fmla="*/ 0 h 320"/>
                <a:gd name="T70" fmla="*/ 59 w 265"/>
                <a:gd name="T71" fmla="*/ 21 h 320"/>
                <a:gd name="T72" fmla="*/ 38 w 265"/>
                <a:gd name="T73" fmla="*/ 21 h 320"/>
                <a:gd name="T74" fmla="*/ 49 w 265"/>
                <a:gd name="T75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5" h="320">
                  <a:moveTo>
                    <a:pt x="238" y="316"/>
                  </a:moveTo>
                  <a:cubicBezTo>
                    <a:pt x="236" y="318"/>
                    <a:pt x="233" y="320"/>
                    <a:pt x="230" y="320"/>
                  </a:cubicBezTo>
                  <a:cubicBezTo>
                    <a:pt x="227" y="320"/>
                    <a:pt x="225" y="319"/>
                    <a:pt x="223" y="317"/>
                  </a:cubicBezTo>
                  <a:cubicBezTo>
                    <a:pt x="218" y="313"/>
                    <a:pt x="218" y="307"/>
                    <a:pt x="222" y="302"/>
                  </a:cubicBezTo>
                  <a:cubicBezTo>
                    <a:pt x="243" y="276"/>
                    <a:pt x="240" y="236"/>
                    <a:pt x="240" y="235"/>
                  </a:cubicBezTo>
                  <a:cubicBezTo>
                    <a:pt x="240" y="192"/>
                    <a:pt x="240" y="192"/>
                    <a:pt x="240" y="192"/>
                  </a:cubicBezTo>
                  <a:cubicBezTo>
                    <a:pt x="240" y="186"/>
                    <a:pt x="236" y="181"/>
                    <a:pt x="230" y="181"/>
                  </a:cubicBezTo>
                  <a:cubicBezTo>
                    <a:pt x="224" y="181"/>
                    <a:pt x="220" y="185"/>
                    <a:pt x="219" y="190"/>
                  </a:cubicBezTo>
                  <a:cubicBezTo>
                    <a:pt x="219" y="192"/>
                    <a:pt x="219" y="192"/>
                    <a:pt x="219" y="192"/>
                  </a:cubicBezTo>
                  <a:cubicBezTo>
                    <a:pt x="219" y="198"/>
                    <a:pt x="215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3" y="170"/>
                    <a:pt x="187" y="170"/>
                  </a:cubicBezTo>
                  <a:cubicBezTo>
                    <a:pt x="181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5" y="198"/>
                    <a:pt x="155" y="192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5" y="79"/>
                    <a:pt x="151" y="74"/>
                    <a:pt x="145" y="74"/>
                  </a:cubicBezTo>
                  <a:cubicBezTo>
                    <a:pt x="139" y="74"/>
                    <a:pt x="134" y="79"/>
                    <a:pt x="134" y="85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29" y="202"/>
                    <a:pt x="123" y="202"/>
                  </a:cubicBezTo>
                  <a:cubicBezTo>
                    <a:pt x="117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1" y="100"/>
                    <a:pt x="91" y="106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1" y="239"/>
                    <a:pt x="89" y="243"/>
                    <a:pt x="85" y="244"/>
                  </a:cubicBezTo>
                  <a:cubicBezTo>
                    <a:pt x="81" y="246"/>
                    <a:pt x="76" y="245"/>
                    <a:pt x="73" y="242"/>
                  </a:cubicBezTo>
                  <a:cubicBezTo>
                    <a:pt x="61" y="230"/>
                    <a:pt x="43" y="190"/>
                    <a:pt x="41" y="185"/>
                  </a:cubicBezTo>
                  <a:cubicBezTo>
                    <a:pt x="40" y="183"/>
                    <a:pt x="38" y="181"/>
                    <a:pt x="35" y="180"/>
                  </a:cubicBezTo>
                  <a:cubicBezTo>
                    <a:pt x="33" y="180"/>
                    <a:pt x="30" y="180"/>
                    <a:pt x="27" y="181"/>
                  </a:cubicBezTo>
                  <a:cubicBezTo>
                    <a:pt x="23" y="183"/>
                    <a:pt x="23" y="192"/>
                    <a:pt x="26" y="198"/>
                  </a:cubicBezTo>
                  <a:cubicBezTo>
                    <a:pt x="26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3" y="310"/>
                    <a:pt x="100" y="315"/>
                  </a:cubicBezTo>
                  <a:cubicBezTo>
                    <a:pt x="98" y="318"/>
                    <a:pt x="95" y="320"/>
                    <a:pt x="91" y="320"/>
                  </a:cubicBezTo>
                  <a:cubicBezTo>
                    <a:pt x="89" y="320"/>
                    <a:pt x="87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5" y="158"/>
                    <a:pt x="34" y="157"/>
                    <a:pt x="42" y="160"/>
                  </a:cubicBezTo>
                  <a:cubicBezTo>
                    <a:pt x="50" y="163"/>
                    <a:pt x="57" y="169"/>
                    <a:pt x="61" y="176"/>
                  </a:cubicBezTo>
                  <a:cubicBezTo>
                    <a:pt x="63" y="182"/>
                    <a:pt x="66" y="189"/>
                    <a:pt x="70" y="19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4" y="74"/>
                    <a:pt x="102" y="74"/>
                  </a:cubicBezTo>
                  <a:cubicBezTo>
                    <a:pt x="106" y="74"/>
                    <a:pt x="110" y="75"/>
                    <a:pt x="114" y="77"/>
                  </a:cubicBezTo>
                  <a:cubicBezTo>
                    <a:pt x="118" y="63"/>
                    <a:pt x="130" y="53"/>
                    <a:pt x="145" y="53"/>
                  </a:cubicBezTo>
                  <a:cubicBezTo>
                    <a:pt x="162" y="53"/>
                    <a:pt x="177" y="67"/>
                    <a:pt x="177" y="85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80" y="150"/>
                    <a:pt x="184" y="149"/>
                    <a:pt x="187" y="149"/>
                  </a:cubicBezTo>
                  <a:cubicBezTo>
                    <a:pt x="199" y="149"/>
                    <a:pt x="209" y="155"/>
                    <a:pt x="214" y="164"/>
                  </a:cubicBezTo>
                  <a:cubicBezTo>
                    <a:pt x="219" y="161"/>
                    <a:pt x="224" y="160"/>
                    <a:pt x="230" y="160"/>
                  </a:cubicBezTo>
                  <a:cubicBezTo>
                    <a:pt x="247" y="160"/>
                    <a:pt x="262" y="174"/>
                    <a:pt x="262" y="192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6"/>
                    <a:pt x="265" y="284"/>
                    <a:pt x="238" y="316"/>
                  </a:cubicBezTo>
                  <a:close/>
                  <a:moveTo>
                    <a:pt x="49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7" y="64"/>
                    <a:pt x="91" y="59"/>
                    <a:pt x="91" y="53"/>
                  </a:cubicBezTo>
                  <a:cubicBezTo>
                    <a:pt x="91" y="47"/>
                    <a:pt x="87" y="42"/>
                    <a:pt x="81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98" y="29"/>
                    <a:pt x="121" y="21"/>
                    <a:pt x="145" y="21"/>
                  </a:cubicBezTo>
                  <a:cubicBezTo>
                    <a:pt x="179" y="21"/>
                    <a:pt x="210" y="35"/>
                    <a:pt x="233" y="60"/>
                  </a:cubicBezTo>
                  <a:cubicBezTo>
                    <a:pt x="235" y="62"/>
                    <a:pt x="238" y="64"/>
                    <a:pt x="241" y="64"/>
                  </a:cubicBezTo>
                  <a:cubicBezTo>
                    <a:pt x="243" y="64"/>
                    <a:pt x="246" y="63"/>
                    <a:pt x="248" y="61"/>
                  </a:cubicBezTo>
                  <a:cubicBezTo>
                    <a:pt x="252" y="57"/>
                    <a:pt x="253" y="50"/>
                    <a:pt x="249" y="46"/>
                  </a:cubicBezTo>
                  <a:cubicBezTo>
                    <a:pt x="222" y="17"/>
                    <a:pt x="185" y="0"/>
                    <a:pt x="145" y="0"/>
                  </a:cubicBezTo>
                  <a:cubicBezTo>
                    <a:pt x="114" y="0"/>
                    <a:pt x="84" y="10"/>
                    <a:pt x="59" y="30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15"/>
                    <a:pt x="55" y="10"/>
                    <a:pt x="49" y="10"/>
                  </a:cubicBezTo>
                  <a:cubicBezTo>
                    <a:pt x="43" y="10"/>
                    <a:pt x="38" y="15"/>
                    <a:pt x="38" y="21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9"/>
                    <a:pt x="43" y="64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32"/>
          <p:cNvSpPr>
            <a:spLocks noChangeAspect="1" noEditPoints="1"/>
          </p:cNvSpPr>
          <p:nvPr/>
        </p:nvSpPr>
        <p:spPr bwMode="auto">
          <a:xfrm>
            <a:off x="343164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52 w 512"/>
              <a:gd name="T5" fmla="*/ 142 h 512"/>
              <a:gd name="T6" fmla="*/ 341 w 512"/>
              <a:gd name="T7" fmla="*/ 125 h 512"/>
              <a:gd name="T8" fmla="*/ 352 w 512"/>
              <a:gd name="T9" fmla="*/ 106 h 512"/>
              <a:gd name="T10" fmla="*/ 362 w 512"/>
              <a:gd name="T11" fmla="*/ 149 h 512"/>
              <a:gd name="T12" fmla="*/ 320 w 512"/>
              <a:gd name="T13" fmla="*/ 160 h 512"/>
              <a:gd name="T14" fmla="*/ 320 w 512"/>
              <a:gd name="T15" fmla="*/ 138 h 512"/>
              <a:gd name="T16" fmla="*/ 256 w 512"/>
              <a:gd name="T17" fmla="*/ 117 h 512"/>
              <a:gd name="T18" fmla="*/ 160 w 512"/>
              <a:gd name="T19" fmla="*/ 160 h 512"/>
              <a:gd name="T20" fmla="*/ 152 w 512"/>
              <a:gd name="T21" fmla="*/ 142 h 512"/>
              <a:gd name="T22" fmla="*/ 341 w 512"/>
              <a:gd name="T23" fmla="*/ 416 h 512"/>
              <a:gd name="T24" fmla="*/ 333 w 512"/>
              <a:gd name="T25" fmla="*/ 398 h 512"/>
              <a:gd name="T26" fmla="*/ 352 w 512"/>
              <a:gd name="T27" fmla="*/ 288 h 512"/>
              <a:gd name="T28" fmla="*/ 330 w 512"/>
              <a:gd name="T29" fmla="*/ 287 h 512"/>
              <a:gd name="T30" fmla="*/ 320 w 512"/>
              <a:gd name="T31" fmla="*/ 298 h 512"/>
              <a:gd name="T32" fmla="*/ 320 w 512"/>
              <a:gd name="T33" fmla="*/ 298 h 512"/>
              <a:gd name="T34" fmla="*/ 309 w 512"/>
              <a:gd name="T35" fmla="*/ 277 h 512"/>
              <a:gd name="T36" fmla="*/ 288 w 512"/>
              <a:gd name="T37" fmla="*/ 277 h 512"/>
              <a:gd name="T38" fmla="*/ 277 w 512"/>
              <a:gd name="T39" fmla="*/ 298 h 512"/>
              <a:gd name="T40" fmla="*/ 266 w 512"/>
              <a:gd name="T41" fmla="*/ 181 h 512"/>
              <a:gd name="T42" fmla="*/ 245 w 512"/>
              <a:gd name="T43" fmla="*/ 181 h 512"/>
              <a:gd name="T44" fmla="*/ 245 w 512"/>
              <a:gd name="T45" fmla="*/ 288 h 512"/>
              <a:gd name="T46" fmla="*/ 224 w 512"/>
              <a:gd name="T47" fmla="*/ 288 h 512"/>
              <a:gd name="T48" fmla="*/ 213 w 512"/>
              <a:gd name="T49" fmla="*/ 192 h 512"/>
              <a:gd name="T50" fmla="*/ 202 w 512"/>
              <a:gd name="T51" fmla="*/ 330 h 512"/>
              <a:gd name="T52" fmla="*/ 185 w 512"/>
              <a:gd name="T53" fmla="*/ 338 h 512"/>
              <a:gd name="T54" fmla="*/ 146 w 512"/>
              <a:gd name="T55" fmla="*/ 276 h 512"/>
              <a:gd name="T56" fmla="*/ 137 w 512"/>
              <a:gd name="T57" fmla="*/ 294 h 512"/>
              <a:gd name="T58" fmla="*/ 208 w 512"/>
              <a:gd name="T59" fmla="*/ 396 h 512"/>
              <a:gd name="T60" fmla="*/ 202 w 512"/>
              <a:gd name="T61" fmla="*/ 416 h 512"/>
              <a:gd name="T62" fmla="*/ 118 w 512"/>
              <a:gd name="T63" fmla="*/ 303 h 512"/>
              <a:gd name="T64" fmla="*/ 153 w 512"/>
              <a:gd name="T65" fmla="*/ 256 h 512"/>
              <a:gd name="T66" fmla="*/ 181 w 512"/>
              <a:gd name="T67" fmla="*/ 293 h 512"/>
              <a:gd name="T68" fmla="*/ 213 w 512"/>
              <a:gd name="T69" fmla="*/ 170 h 512"/>
              <a:gd name="T70" fmla="*/ 256 w 512"/>
              <a:gd name="T71" fmla="*/ 149 h 512"/>
              <a:gd name="T72" fmla="*/ 288 w 512"/>
              <a:gd name="T73" fmla="*/ 247 h 512"/>
              <a:gd name="T74" fmla="*/ 325 w 512"/>
              <a:gd name="T75" fmla="*/ 260 h 512"/>
              <a:gd name="T76" fmla="*/ 373 w 512"/>
              <a:gd name="T77" fmla="*/ 288 h 512"/>
              <a:gd name="T78" fmla="*/ 349 w 512"/>
              <a:gd name="T79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52" y="142"/>
                </a:moveTo>
                <a:cubicBezTo>
                  <a:pt x="179" y="113"/>
                  <a:pt x="216" y="96"/>
                  <a:pt x="256" y="96"/>
                </a:cubicBezTo>
                <a:cubicBezTo>
                  <a:pt x="287" y="96"/>
                  <a:pt x="317" y="106"/>
                  <a:pt x="341" y="125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41" y="111"/>
                  <a:pt x="346" y="106"/>
                  <a:pt x="352" y="106"/>
                </a:cubicBezTo>
                <a:cubicBezTo>
                  <a:pt x="358" y="106"/>
                  <a:pt x="362" y="111"/>
                  <a:pt x="362" y="117"/>
                </a:cubicBezTo>
                <a:cubicBezTo>
                  <a:pt x="362" y="149"/>
                  <a:pt x="362" y="149"/>
                  <a:pt x="362" y="149"/>
                </a:cubicBezTo>
                <a:cubicBezTo>
                  <a:pt x="362" y="155"/>
                  <a:pt x="358" y="160"/>
                  <a:pt x="352" y="16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43"/>
                  <a:pt x="314" y="138"/>
                  <a:pt x="320" y="138"/>
                </a:cubicBezTo>
                <a:cubicBezTo>
                  <a:pt x="323" y="138"/>
                  <a:pt x="323" y="138"/>
                  <a:pt x="323" y="138"/>
                </a:cubicBezTo>
                <a:cubicBezTo>
                  <a:pt x="303" y="125"/>
                  <a:pt x="280" y="117"/>
                  <a:pt x="256" y="117"/>
                </a:cubicBezTo>
                <a:cubicBezTo>
                  <a:pt x="222" y="117"/>
                  <a:pt x="190" y="131"/>
                  <a:pt x="168" y="156"/>
                </a:cubicBezTo>
                <a:cubicBezTo>
                  <a:pt x="166" y="158"/>
                  <a:pt x="163" y="160"/>
                  <a:pt x="160" y="160"/>
                </a:cubicBezTo>
                <a:cubicBezTo>
                  <a:pt x="158" y="160"/>
                  <a:pt x="155" y="159"/>
                  <a:pt x="153" y="157"/>
                </a:cubicBezTo>
                <a:cubicBezTo>
                  <a:pt x="149" y="153"/>
                  <a:pt x="148" y="146"/>
                  <a:pt x="152" y="142"/>
                </a:cubicBez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30" y="409"/>
                  <a:pt x="329" y="403"/>
                  <a:pt x="333" y="398"/>
                </a:cubicBezTo>
                <a:cubicBezTo>
                  <a:pt x="354" y="373"/>
                  <a:pt x="352" y="332"/>
                  <a:pt x="352" y="331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82"/>
                  <a:pt x="347" y="277"/>
                  <a:pt x="341" y="277"/>
                </a:cubicBezTo>
                <a:cubicBezTo>
                  <a:pt x="335" y="277"/>
                  <a:pt x="331" y="282"/>
                  <a:pt x="330" y="287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75"/>
                  <a:pt x="262" y="170"/>
                  <a:pt x="256" y="170"/>
                </a:cubicBezTo>
                <a:cubicBezTo>
                  <a:pt x="250" y="170"/>
                  <a:pt x="245" y="175"/>
                  <a:pt x="245" y="181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17" y="170"/>
                  <a:pt x="221" y="171"/>
                  <a:pt x="225" y="173"/>
                </a:cubicBezTo>
                <a:cubicBezTo>
                  <a:pt x="229" y="159"/>
                  <a:pt x="241" y="149"/>
                  <a:pt x="256" y="149"/>
                </a:cubicBezTo>
                <a:cubicBezTo>
                  <a:pt x="273" y="149"/>
                  <a:pt x="288" y="163"/>
                  <a:pt x="288" y="181"/>
                </a:cubicBezTo>
                <a:cubicBezTo>
                  <a:pt x="288" y="247"/>
                  <a:pt x="288" y="247"/>
                  <a:pt x="288" y="247"/>
                </a:cubicBezTo>
                <a:cubicBezTo>
                  <a:pt x="291" y="246"/>
                  <a:pt x="295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9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35"/>
          <p:cNvGrpSpPr>
            <a:grpSpLocks noChangeAspect="1"/>
          </p:cNvGrpSpPr>
          <p:nvPr/>
        </p:nvGrpSpPr>
        <p:grpSpPr bwMode="auto">
          <a:xfrm>
            <a:off x="3930287" y="2051054"/>
            <a:ext cx="367041" cy="367041"/>
            <a:chOff x="3241" y="151"/>
            <a:chExt cx="340" cy="340"/>
          </a:xfrm>
          <a:solidFill>
            <a:schemeClr val="accent1"/>
          </a:solidFill>
        </p:grpSpPr>
        <p:sp>
          <p:nvSpPr>
            <p:cNvPr id="270" name="Freeform 36"/>
            <p:cNvSpPr>
              <a:spLocks noEditPoints="1"/>
            </p:cNvSpPr>
            <p:nvPr/>
          </p:nvSpPr>
          <p:spPr bwMode="auto">
            <a:xfrm>
              <a:off x="3241" y="1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37"/>
            <p:cNvSpPr>
              <a:spLocks noEditPoints="1"/>
            </p:cNvSpPr>
            <p:nvPr/>
          </p:nvSpPr>
          <p:spPr bwMode="auto">
            <a:xfrm>
              <a:off x="3315" y="215"/>
              <a:ext cx="176" cy="212"/>
            </a:xfrm>
            <a:custGeom>
              <a:avLst/>
              <a:gdLst>
                <a:gd name="T0" fmla="*/ 230 w 265"/>
                <a:gd name="T1" fmla="*/ 320 h 320"/>
                <a:gd name="T2" fmla="*/ 222 w 265"/>
                <a:gd name="T3" fmla="*/ 302 h 320"/>
                <a:gd name="T4" fmla="*/ 241 w 265"/>
                <a:gd name="T5" fmla="*/ 192 h 320"/>
                <a:gd name="T6" fmla="*/ 219 w 265"/>
                <a:gd name="T7" fmla="*/ 191 h 320"/>
                <a:gd name="T8" fmla="*/ 209 w 265"/>
                <a:gd name="T9" fmla="*/ 202 h 320"/>
                <a:gd name="T10" fmla="*/ 209 w 265"/>
                <a:gd name="T11" fmla="*/ 202 h 320"/>
                <a:gd name="T12" fmla="*/ 198 w 265"/>
                <a:gd name="T13" fmla="*/ 181 h 320"/>
                <a:gd name="T14" fmla="*/ 177 w 265"/>
                <a:gd name="T15" fmla="*/ 181 h 320"/>
                <a:gd name="T16" fmla="*/ 166 w 265"/>
                <a:gd name="T17" fmla="*/ 202 h 320"/>
                <a:gd name="T18" fmla="*/ 155 w 265"/>
                <a:gd name="T19" fmla="*/ 85 h 320"/>
                <a:gd name="T20" fmla="*/ 134 w 265"/>
                <a:gd name="T21" fmla="*/ 85 h 320"/>
                <a:gd name="T22" fmla="*/ 134 w 265"/>
                <a:gd name="T23" fmla="*/ 192 h 320"/>
                <a:gd name="T24" fmla="*/ 113 w 265"/>
                <a:gd name="T25" fmla="*/ 192 h 320"/>
                <a:gd name="T26" fmla="*/ 102 w 265"/>
                <a:gd name="T27" fmla="*/ 96 h 320"/>
                <a:gd name="T28" fmla="*/ 91 w 265"/>
                <a:gd name="T29" fmla="*/ 234 h 320"/>
                <a:gd name="T30" fmla="*/ 74 w 265"/>
                <a:gd name="T31" fmla="*/ 242 h 320"/>
                <a:gd name="T32" fmla="*/ 35 w 265"/>
                <a:gd name="T33" fmla="*/ 180 h 320"/>
                <a:gd name="T34" fmla="*/ 26 w 265"/>
                <a:gd name="T35" fmla="*/ 198 h 320"/>
                <a:gd name="T36" fmla="*/ 97 w 265"/>
                <a:gd name="T37" fmla="*/ 300 h 320"/>
                <a:gd name="T38" fmla="*/ 91 w 265"/>
                <a:gd name="T39" fmla="*/ 320 h 320"/>
                <a:gd name="T40" fmla="*/ 7 w 265"/>
                <a:gd name="T41" fmla="*/ 207 h 320"/>
                <a:gd name="T42" fmla="*/ 42 w 265"/>
                <a:gd name="T43" fmla="*/ 160 h 320"/>
                <a:gd name="T44" fmla="*/ 70 w 265"/>
                <a:gd name="T45" fmla="*/ 197 h 320"/>
                <a:gd name="T46" fmla="*/ 102 w 265"/>
                <a:gd name="T47" fmla="*/ 74 h 320"/>
                <a:gd name="T48" fmla="*/ 145 w 265"/>
                <a:gd name="T49" fmla="*/ 53 h 320"/>
                <a:gd name="T50" fmla="*/ 177 w 265"/>
                <a:gd name="T51" fmla="*/ 151 h 320"/>
                <a:gd name="T52" fmla="*/ 214 w 265"/>
                <a:gd name="T53" fmla="*/ 164 h 320"/>
                <a:gd name="T54" fmla="*/ 262 w 265"/>
                <a:gd name="T55" fmla="*/ 192 h 320"/>
                <a:gd name="T56" fmla="*/ 238 w 265"/>
                <a:gd name="T57" fmla="*/ 316 h 320"/>
                <a:gd name="T58" fmla="*/ 57 w 265"/>
                <a:gd name="T59" fmla="*/ 60 h 320"/>
                <a:gd name="T60" fmla="*/ 212 w 265"/>
                <a:gd name="T61" fmla="*/ 42 h 320"/>
                <a:gd name="T62" fmla="*/ 198 w 265"/>
                <a:gd name="T63" fmla="*/ 53 h 320"/>
                <a:gd name="T64" fmla="*/ 241 w 265"/>
                <a:gd name="T65" fmla="*/ 64 h 320"/>
                <a:gd name="T66" fmla="*/ 251 w 265"/>
                <a:gd name="T67" fmla="*/ 21 h 320"/>
                <a:gd name="T68" fmla="*/ 230 w 265"/>
                <a:gd name="T69" fmla="*/ 21 h 320"/>
                <a:gd name="T70" fmla="*/ 145 w 265"/>
                <a:gd name="T71" fmla="*/ 0 h 320"/>
                <a:gd name="T72" fmla="*/ 42 w 265"/>
                <a:gd name="T73" fmla="*/ 6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5" h="320">
                  <a:moveTo>
                    <a:pt x="238" y="316"/>
                  </a:moveTo>
                  <a:cubicBezTo>
                    <a:pt x="236" y="318"/>
                    <a:pt x="233" y="320"/>
                    <a:pt x="230" y="320"/>
                  </a:cubicBezTo>
                  <a:cubicBezTo>
                    <a:pt x="227" y="320"/>
                    <a:pt x="225" y="319"/>
                    <a:pt x="223" y="317"/>
                  </a:cubicBezTo>
                  <a:cubicBezTo>
                    <a:pt x="219" y="313"/>
                    <a:pt x="218" y="307"/>
                    <a:pt x="222" y="302"/>
                  </a:cubicBezTo>
                  <a:cubicBezTo>
                    <a:pt x="243" y="277"/>
                    <a:pt x="241" y="236"/>
                    <a:pt x="241" y="235"/>
                  </a:cubicBezTo>
                  <a:cubicBezTo>
                    <a:pt x="241" y="192"/>
                    <a:pt x="241" y="192"/>
                    <a:pt x="241" y="192"/>
                  </a:cubicBezTo>
                  <a:cubicBezTo>
                    <a:pt x="241" y="186"/>
                    <a:pt x="236" y="181"/>
                    <a:pt x="230" y="181"/>
                  </a:cubicBezTo>
                  <a:cubicBezTo>
                    <a:pt x="224" y="181"/>
                    <a:pt x="220" y="186"/>
                    <a:pt x="219" y="191"/>
                  </a:cubicBezTo>
                  <a:cubicBezTo>
                    <a:pt x="219" y="192"/>
                    <a:pt x="219" y="192"/>
                    <a:pt x="219" y="192"/>
                  </a:cubicBezTo>
                  <a:cubicBezTo>
                    <a:pt x="219" y="198"/>
                    <a:pt x="215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3" y="170"/>
                    <a:pt x="187" y="170"/>
                  </a:cubicBezTo>
                  <a:cubicBezTo>
                    <a:pt x="181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5" y="198"/>
                    <a:pt x="155" y="192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5" y="79"/>
                    <a:pt x="151" y="74"/>
                    <a:pt x="145" y="74"/>
                  </a:cubicBezTo>
                  <a:cubicBezTo>
                    <a:pt x="139" y="74"/>
                    <a:pt x="134" y="79"/>
                    <a:pt x="134" y="85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29" y="202"/>
                    <a:pt x="123" y="202"/>
                  </a:cubicBezTo>
                  <a:cubicBezTo>
                    <a:pt x="117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1" y="100"/>
                    <a:pt x="91" y="106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1" y="239"/>
                    <a:pt x="89" y="242"/>
                    <a:pt x="85" y="244"/>
                  </a:cubicBezTo>
                  <a:cubicBezTo>
                    <a:pt x="81" y="246"/>
                    <a:pt x="77" y="245"/>
                    <a:pt x="74" y="242"/>
                  </a:cubicBezTo>
                  <a:cubicBezTo>
                    <a:pt x="60" y="230"/>
                    <a:pt x="44" y="192"/>
                    <a:pt x="41" y="185"/>
                  </a:cubicBezTo>
                  <a:cubicBezTo>
                    <a:pt x="40" y="183"/>
                    <a:pt x="38" y="181"/>
                    <a:pt x="35" y="180"/>
                  </a:cubicBezTo>
                  <a:cubicBezTo>
                    <a:pt x="33" y="180"/>
                    <a:pt x="30" y="180"/>
                    <a:pt x="27" y="181"/>
                  </a:cubicBezTo>
                  <a:cubicBezTo>
                    <a:pt x="23" y="183"/>
                    <a:pt x="23" y="192"/>
                    <a:pt x="26" y="198"/>
                  </a:cubicBezTo>
                  <a:cubicBezTo>
                    <a:pt x="26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3" y="310"/>
                    <a:pt x="100" y="315"/>
                  </a:cubicBezTo>
                  <a:cubicBezTo>
                    <a:pt x="98" y="318"/>
                    <a:pt x="95" y="320"/>
                    <a:pt x="91" y="320"/>
                  </a:cubicBezTo>
                  <a:cubicBezTo>
                    <a:pt x="89" y="320"/>
                    <a:pt x="87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5" y="158"/>
                    <a:pt x="34" y="157"/>
                    <a:pt x="42" y="160"/>
                  </a:cubicBezTo>
                  <a:cubicBezTo>
                    <a:pt x="50" y="163"/>
                    <a:pt x="57" y="169"/>
                    <a:pt x="61" y="176"/>
                  </a:cubicBezTo>
                  <a:cubicBezTo>
                    <a:pt x="63" y="183"/>
                    <a:pt x="66" y="190"/>
                    <a:pt x="70" y="197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4" y="74"/>
                    <a:pt x="102" y="74"/>
                  </a:cubicBezTo>
                  <a:cubicBezTo>
                    <a:pt x="106" y="74"/>
                    <a:pt x="110" y="75"/>
                    <a:pt x="114" y="77"/>
                  </a:cubicBezTo>
                  <a:cubicBezTo>
                    <a:pt x="118" y="63"/>
                    <a:pt x="130" y="53"/>
                    <a:pt x="145" y="53"/>
                  </a:cubicBezTo>
                  <a:cubicBezTo>
                    <a:pt x="162" y="53"/>
                    <a:pt x="177" y="67"/>
                    <a:pt x="177" y="85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80" y="150"/>
                    <a:pt x="184" y="149"/>
                    <a:pt x="187" y="149"/>
                  </a:cubicBezTo>
                  <a:cubicBezTo>
                    <a:pt x="199" y="149"/>
                    <a:pt x="209" y="155"/>
                    <a:pt x="214" y="164"/>
                  </a:cubicBezTo>
                  <a:cubicBezTo>
                    <a:pt x="219" y="161"/>
                    <a:pt x="224" y="160"/>
                    <a:pt x="230" y="160"/>
                  </a:cubicBezTo>
                  <a:cubicBezTo>
                    <a:pt x="248" y="160"/>
                    <a:pt x="262" y="174"/>
                    <a:pt x="262" y="192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6"/>
                    <a:pt x="265" y="284"/>
                    <a:pt x="238" y="316"/>
                  </a:cubicBezTo>
                  <a:close/>
                  <a:moveTo>
                    <a:pt x="49" y="64"/>
                  </a:moveTo>
                  <a:cubicBezTo>
                    <a:pt x="52" y="64"/>
                    <a:pt x="55" y="62"/>
                    <a:pt x="57" y="60"/>
                  </a:cubicBezTo>
                  <a:cubicBezTo>
                    <a:pt x="79" y="35"/>
                    <a:pt x="111" y="21"/>
                    <a:pt x="145" y="21"/>
                  </a:cubicBezTo>
                  <a:cubicBezTo>
                    <a:pt x="169" y="21"/>
                    <a:pt x="192" y="29"/>
                    <a:pt x="212" y="42"/>
                  </a:cubicBezTo>
                  <a:cubicBezTo>
                    <a:pt x="209" y="42"/>
                    <a:pt x="209" y="42"/>
                    <a:pt x="209" y="42"/>
                  </a:cubicBezTo>
                  <a:cubicBezTo>
                    <a:pt x="203" y="42"/>
                    <a:pt x="198" y="47"/>
                    <a:pt x="198" y="53"/>
                  </a:cubicBezTo>
                  <a:cubicBezTo>
                    <a:pt x="198" y="59"/>
                    <a:pt x="203" y="64"/>
                    <a:pt x="209" y="64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47" y="64"/>
                    <a:pt x="251" y="59"/>
                    <a:pt x="251" y="53"/>
                  </a:cubicBezTo>
                  <a:cubicBezTo>
                    <a:pt x="251" y="21"/>
                    <a:pt x="251" y="21"/>
                    <a:pt x="251" y="21"/>
                  </a:cubicBezTo>
                  <a:cubicBezTo>
                    <a:pt x="251" y="15"/>
                    <a:pt x="247" y="10"/>
                    <a:pt x="241" y="10"/>
                  </a:cubicBezTo>
                  <a:cubicBezTo>
                    <a:pt x="235" y="10"/>
                    <a:pt x="230" y="15"/>
                    <a:pt x="230" y="21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06" y="10"/>
                    <a:pt x="176" y="0"/>
                    <a:pt x="145" y="0"/>
                  </a:cubicBezTo>
                  <a:cubicBezTo>
                    <a:pt x="105" y="0"/>
                    <a:pt x="68" y="17"/>
                    <a:pt x="41" y="46"/>
                  </a:cubicBezTo>
                  <a:cubicBezTo>
                    <a:pt x="37" y="50"/>
                    <a:pt x="38" y="57"/>
                    <a:pt x="42" y="61"/>
                  </a:cubicBezTo>
                  <a:cubicBezTo>
                    <a:pt x="44" y="63"/>
                    <a:pt x="47" y="64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41"/>
          <p:cNvSpPr>
            <a:spLocks noChangeAspect="1" noEditPoints="1"/>
          </p:cNvSpPr>
          <p:nvPr/>
        </p:nvSpPr>
        <p:spPr bwMode="auto">
          <a:xfrm>
            <a:off x="442893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45 w 512"/>
              <a:gd name="T5" fmla="*/ 106 h 512"/>
              <a:gd name="T6" fmla="*/ 351 w 512"/>
              <a:gd name="T7" fmla="*/ 225 h 512"/>
              <a:gd name="T8" fmla="*/ 339 w 512"/>
              <a:gd name="T9" fmla="*/ 234 h 512"/>
              <a:gd name="T10" fmla="*/ 330 w 512"/>
              <a:gd name="T11" fmla="*/ 213 h 512"/>
              <a:gd name="T12" fmla="*/ 160 w 512"/>
              <a:gd name="T13" fmla="*/ 213 h 512"/>
              <a:gd name="T14" fmla="*/ 151 w 512"/>
              <a:gd name="T15" fmla="*/ 234 h 512"/>
              <a:gd name="T16" fmla="*/ 138 w 512"/>
              <a:gd name="T17" fmla="*/ 213 h 512"/>
              <a:gd name="T18" fmla="*/ 349 w 512"/>
              <a:gd name="T19" fmla="*/ 412 h 512"/>
              <a:gd name="T20" fmla="*/ 334 w 512"/>
              <a:gd name="T21" fmla="*/ 413 h 512"/>
              <a:gd name="T22" fmla="*/ 352 w 512"/>
              <a:gd name="T23" fmla="*/ 331 h 512"/>
              <a:gd name="T24" fmla="*/ 341 w 512"/>
              <a:gd name="T25" fmla="*/ 277 h 512"/>
              <a:gd name="T26" fmla="*/ 330 w 512"/>
              <a:gd name="T27" fmla="*/ 288 h 512"/>
              <a:gd name="T28" fmla="*/ 309 w 512"/>
              <a:gd name="T29" fmla="*/ 288 h 512"/>
              <a:gd name="T30" fmla="*/ 309 w 512"/>
              <a:gd name="T31" fmla="*/ 277 h 512"/>
              <a:gd name="T32" fmla="*/ 288 w 512"/>
              <a:gd name="T33" fmla="*/ 277 h 512"/>
              <a:gd name="T34" fmla="*/ 277 w 512"/>
              <a:gd name="T35" fmla="*/ 298 h 512"/>
              <a:gd name="T36" fmla="*/ 266 w 512"/>
              <a:gd name="T37" fmla="*/ 181 h 512"/>
              <a:gd name="T38" fmla="*/ 245 w 512"/>
              <a:gd name="T39" fmla="*/ 181 h 512"/>
              <a:gd name="T40" fmla="*/ 245 w 512"/>
              <a:gd name="T41" fmla="*/ 224 h 512"/>
              <a:gd name="T42" fmla="*/ 234 w 512"/>
              <a:gd name="T43" fmla="*/ 298 h 512"/>
              <a:gd name="T44" fmla="*/ 224 w 512"/>
              <a:gd name="T45" fmla="*/ 224 h 512"/>
              <a:gd name="T46" fmla="*/ 213 w 512"/>
              <a:gd name="T47" fmla="*/ 192 h 512"/>
              <a:gd name="T48" fmla="*/ 202 w 512"/>
              <a:gd name="T49" fmla="*/ 330 h 512"/>
              <a:gd name="T50" fmla="*/ 185 w 512"/>
              <a:gd name="T51" fmla="*/ 338 h 512"/>
              <a:gd name="T52" fmla="*/ 146 w 512"/>
              <a:gd name="T53" fmla="*/ 276 h 512"/>
              <a:gd name="T54" fmla="*/ 137 w 512"/>
              <a:gd name="T55" fmla="*/ 294 h 512"/>
              <a:gd name="T56" fmla="*/ 208 w 512"/>
              <a:gd name="T57" fmla="*/ 396 h 512"/>
              <a:gd name="T58" fmla="*/ 202 w 512"/>
              <a:gd name="T59" fmla="*/ 416 h 512"/>
              <a:gd name="T60" fmla="*/ 118 w 512"/>
              <a:gd name="T61" fmla="*/ 303 h 512"/>
              <a:gd name="T62" fmla="*/ 153 w 512"/>
              <a:gd name="T63" fmla="*/ 256 h 512"/>
              <a:gd name="T64" fmla="*/ 181 w 512"/>
              <a:gd name="T65" fmla="*/ 293 h 512"/>
              <a:gd name="T66" fmla="*/ 213 w 512"/>
              <a:gd name="T67" fmla="*/ 170 h 512"/>
              <a:gd name="T68" fmla="*/ 256 w 512"/>
              <a:gd name="T69" fmla="*/ 149 h 512"/>
              <a:gd name="T70" fmla="*/ 288 w 512"/>
              <a:gd name="T71" fmla="*/ 247 h 512"/>
              <a:gd name="T72" fmla="*/ 325 w 512"/>
              <a:gd name="T73" fmla="*/ 260 h 512"/>
              <a:gd name="T74" fmla="*/ 373 w 512"/>
              <a:gd name="T75" fmla="*/ 288 h 512"/>
              <a:gd name="T76" fmla="*/ 349 w 512"/>
              <a:gd name="T77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45" y="106"/>
                </a:moveTo>
                <a:cubicBezTo>
                  <a:pt x="304" y="106"/>
                  <a:pt x="352" y="154"/>
                  <a:pt x="352" y="213"/>
                </a:cubicBezTo>
                <a:cubicBezTo>
                  <a:pt x="352" y="217"/>
                  <a:pt x="351" y="221"/>
                  <a:pt x="351" y="225"/>
                </a:cubicBezTo>
                <a:cubicBezTo>
                  <a:pt x="350" y="230"/>
                  <a:pt x="346" y="234"/>
                  <a:pt x="340" y="234"/>
                </a:cubicBezTo>
                <a:cubicBezTo>
                  <a:pt x="340" y="234"/>
                  <a:pt x="340" y="234"/>
                  <a:pt x="339" y="234"/>
                </a:cubicBezTo>
                <a:cubicBezTo>
                  <a:pt x="333" y="234"/>
                  <a:pt x="329" y="228"/>
                  <a:pt x="330" y="222"/>
                </a:cubicBezTo>
                <a:cubicBezTo>
                  <a:pt x="330" y="219"/>
                  <a:pt x="330" y="216"/>
                  <a:pt x="330" y="213"/>
                </a:cubicBezTo>
                <a:cubicBezTo>
                  <a:pt x="330" y="166"/>
                  <a:pt x="292" y="128"/>
                  <a:pt x="245" y="128"/>
                </a:cubicBezTo>
                <a:cubicBezTo>
                  <a:pt x="198" y="128"/>
                  <a:pt x="160" y="166"/>
                  <a:pt x="160" y="213"/>
                </a:cubicBezTo>
                <a:cubicBezTo>
                  <a:pt x="160" y="216"/>
                  <a:pt x="160" y="219"/>
                  <a:pt x="160" y="223"/>
                </a:cubicBezTo>
                <a:cubicBezTo>
                  <a:pt x="161" y="228"/>
                  <a:pt x="157" y="234"/>
                  <a:pt x="151" y="234"/>
                </a:cubicBezTo>
                <a:cubicBezTo>
                  <a:pt x="145" y="235"/>
                  <a:pt x="140" y="231"/>
                  <a:pt x="139" y="225"/>
                </a:cubicBezTo>
                <a:cubicBezTo>
                  <a:pt x="139" y="221"/>
                  <a:pt x="138" y="217"/>
                  <a:pt x="138" y="213"/>
                </a:cubicBezTo>
                <a:cubicBezTo>
                  <a:pt x="138" y="154"/>
                  <a:pt x="186" y="106"/>
                  <a:pt x="245" y="106"/>
                </a:cubicBez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3"/>
                  <a:pt x="352" y="331"/>
                  <a:pt x="352" y="331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82"/>
                  <a:pt x="347" y="277"/>
                  <a:pt x="341" y="277"/>
                </a:cubicBezTo>
                <a:cubicBezTo>
                  <a:pt x="336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87"/>
                  <a:pt x="309" y="285"/>
                  <a:pt x="309" y="284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75"/>
                  <a:pt x="262" y="170"/>
                  <a:pt x="256" y="170"/>
                </a:cubicBezTo>
                <a:cubicBezTo>
                  <a:pt x="250" y="170"/>
                  <a:pt x="245" y="175"/>
                  <a:pt x="245" y="181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17" y="170"/>
                  <a:pt x="221" y="171"/>
                  <a:pt x="225" y="173"/>
                </a:cubicBezTo>
                <a:cubicBezTo>
                  <a:pt x="229" y="159"/>
                  <a:pt x="241" y="149"/>
                  <a:pt x="256" y="149"/>
                </a:cubicBezTo>
                <a:cubicBezTo>
                  <a:pt x="273" y="149"/>
                  <a:pt x="288" y="163"/>
                  <a:pt x="288" y="181"/>
                </a:cubicBezTo>
                <a:cubicBezTo>
                  <a:pt x="288" y="247"/>
                  <a:pt x="288" y="247"/>
                  <a:pt x="288" y="247"/>
                </a:cubicBezTo>
                <a:cubicBezTo>
                  <a:pt x="291" y="246"/>
                  <a:pt x="295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9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44"/>
          <p:cNvGrpSpPr>
            <a:grpSpLocks noChangeAspect="1"/>
          </p:cNvGrpSpPr>
          <p:nvPr/>
        </p:nvGrpSpPr>
        <p:grpSpPr bwMode="auto">
          <a:xfrm>
            <a:off x="4927577" y="2051054"/>
            <a:ext cx="367041" cy="367041"/>
            <a:chOff x="3670" y="730"/>
            <a:chExt cx="340" cy="340"/>
          </a:xfrm>
          <a:solidFill>
            <a:schemeClr val="accent1"/>
          </a:solidFill>
        </p:grpSpPr>
        <p:sp>
          <p:nvSpPr>
            <p:cNvPr id="274" name="Freeform 45"/>
            <p:cNvSpPr>
              <a:spLocks noEditPoints="1"/>
            </p:cNvSpPr>
            <p:nvPr/>
          </p:nvSpPr>
          <p:spPr bwMode="auto">
            <a:xfrm>
              <a:off x="3670" y="73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46"/>
            <p:cNvSpPr>
              <a:spLocks noEditPoints="1"/>
            </p:cNvSpPr>
            <p:nvPr/>
          </p:nvSpPr>
          <p:spPr bwMode="auto">
            <a:xfrm>
              <a:off x="3744" y="800"/>
              <a:ext cx="176" cy="206"/>
            </a:xfrm>
            <a:custGeom>
              <a:avLst/>
              <a:gdLst>
                <a:gd name="T0" fmla="*/ 27 w 265"/>
                <a:gd name="T1" fmla="*/ 107 h 310"/>
                <a:gd name="T2" fmla="*/ 241 w 265"/>
                <a:gd name="T3" fmla="*/ 107 h 310"/>
                <a:gd name="T4" fmla="*/ 229 w 265"/>
                <a:gd name="T5" fmla="*/ 128 h 310"/>
                <a:gd name="T6" fmla="*/ 219 w 265"/>
                <a:gd name="T7" fmla="*/ 116 h 310"/>
                <a:gd name="T8" fmla="*/ 134 w 265"/>
                <a:gd name="T9" fmla="*/ 22 h 310"/>
                <a:gd name="T10" fmla="*/ 49 w 265"/>
                <a:gd name="T11" fmla="*/ 117 h 310"/>
                <a:gd name="T12" fmla="*/ 28 w 265"/>
                <a:gd name="T13" fmla="*/ 119 h 310"/>
                <a:gd name="T14" fmla="*/ 262 w 265"/>
                <a:gd name="T15" fmla="*/ 182 h 310"/>
                <a:gd name="T16" fmla="*/ 214 w 265"/>
                <a:gd name="T17" fmla="*/ 154 h 310"/>
                <a:gd name="T18" fmla="*/ 177 w 265"/>
                <a:gd name="T19" fmla="*/ 141 h 310"/>
                <a:gd name="T20" fmla="*/ 145 w 265"/>
                <a:gd name="T21" fmla="*/ 43 h 310"/>
                <a:gd name="T22" fmla="*/ 102 w 265"/>
                <a:gd name="T23" fmla="*/ 64 h 310"/>
                <a:gd name="T24" fmla="*/ 70 w 265"/>
                <a:gd name="T25" fmla="*/ 187 h 310"/>
                <a:gd name="T26" fmla="*/ 42 w 265"/>
                <a:gd name="T27" fmla="*/ 150 h 310"/>
                <a:gd name="T28" fmla="*/ 7 w 265"/>
                <a:gd name="T29" fmla="*/ 197 h 310"/>
                <a:gd name="T30" fmla="*/ 91 w 265"/>
                <a:gd name="T31" fmla="*/ 310 h 310"/>
                <a:gd name="T32" fmla="*/ 97 w 265"/>
                <a:gd name="T33" fmla="*/ 290 h 310"/>
                <a:gd name="T34" fmla="*/ 26 w 265"/>
                <a:gd name="T35" fmla="*/ 188 h 310"/>
                <a:gd name="T36" fmla="*/ 35 w 265"/>
                <a:gd name="T37" fmla="*/ 170 h 310"/>
                <a:gd name="T38" fmla="*/ 74 w 265"/>
                <a:gd name="T39" fmla="*/ 232 h 310"/>
                <a:gd name="T40" fmla="*/ 91 w 265"/>
                <a:gd name="T41" fmla="*/ 224 h 310"/>
                <a:gd name="T42" fmla="*/ 102 w 265"/>
                <a:gd name="T43" fmla="*/ 86 h 310"/>
                <a:gd name="T44" fmla="*/ 113 w 265"/>
                <a:gd name="T45" fmla="*/ 118 h 310"/>
                <a:gd name="T46" fmla="*/ 123 w 265"/>
                <a:gd name="T47" fmla="*/ 192 h 310"/>
                <a:gd name="T48" fmla="*/ 134 w 265"/>
                <a:gd name="T49" fmla="*/ 118 h 310"/>
                <a:gd name="T50" fmla="*/ 134 w 265"/>
                <a:gd name="T51" fmla="*/ 75 h 310"/>
                <a:gd name="T52" fmla="*/ 155 w 265"/>
                <a:gd name="T53" fmla="*/ 75 h 310"/>
                <a:gd name="T54" fmla="*/ 166 w 265"/>
                <a:gd name="T55" fmla="*/ 192 h 310"/>
                <a:gd name="T56" fmla="*/ 177 w 265"/>
                <a:gd name="T57" fmla="*/ 171 h 310"/>
                <a:gd name="T58" fmla="*/ 198 w 265"/>
                <a:gd name="T59" fmla="*/ 171 h 310"/>
                <a:gd name="T60" fmla="*/ 198 w 265"/>
                <a:gd name="T61" fmla="*/ 182 h 310"/>
                <a:gd name="T62" fmla="*/ 219 w 265"/>
                <a:gd name="T63" fmla="*/ 182 h 310"/>
                <a:gd name="T64" fmla="*/ 230 w 265"/>
                <a:gd name="T65" fmla="*/ 171 h 310"/>
                <a:gd name="T66" fmla="*/ 241 w 265"/>
                <a:gd name="T67" fmla="*/ 225 h 310"/>
                <a:gd name="T68" fmla="*/ 223 w 265"/>
                <a:gd name="T69" fmla="*/ 307 h 310"/>
                <a:gd name="T70" fmla="*/ 238 w 265"/>
                <a:gd name="T71" fmla="*/ 30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5" h="310">
                  <a:moveTo>
                    <a:pt x="28" y="119"/>
                  </a:moveTo>
                  <a:cubicBezTo>
                    <a:pt x="28" y="115"/>
                    <a:pt x="27" y="111"/>
                    <a:pt x="27" y="107"/>
                  </a:cubicBezTo>
                  <a:cubicBezTo>
                    <a:pt x="27" y="48"/>
                    <a:pt x="75" y="0"/>
                    <a:pt x="134" y="0"/>
                  </a:cubicBezTo>
                  <a:cubicBezTo>
                    <a:pt x="193" y="0"/>
                    <a:pt x="241" y="48"/>
                    <a:pt x="241" y="107"/>
                  </a:cubicBezTo>
                  <a:cubicBezTo>
                    <a:pt x="241" y="111"/>
                    <a:pt x="240" y="115"/>
                    <a:pt x="240" y="119"/>
                  </a:cubicBezTo>
                  <a:cubicBezTo>
                    <a:pt x="239" y="124"/>
                    <a:pt x="235" y="128"/>
                    <a:pt x="229" y="128"/>
                  </a:cubicBezTo>
                  <a:cubicBezTo>
                    <a:pt x="229" y="128"/>
                    <a:pt x="229" y="128"/>
                    <a:pt x="228" y="128"/>
                  </a:cubicBezTo>
                  <a:cubicBezTo>
                    <a:pt x="222" y="128"/>
                    <a:pt x="218" y="122"/>
                    <a:pt x="219" y="116"/>
                  </a:cubicBezTo>
                  <a:cubicBezTo>
                    <a:pt x="219" y="113"/>
                    <a:pt x="219" y="110"/>
                    <a:pt x="219" y="107"/>
                  </a:cubicBezTo>
                  <a:cubicBezTo>
                    <a:pt x="219" y="60"/>
                    <a:pt x="181" y="22"/>
                    <a:pt x="134" y="22"/>
                  </a:cubicBezTo>
                  <a:cubicBezTo>
                    <a:pt x="87" y="22"/>
                    <a:pt x="49" y="60"/>
                    <a:pt x="49" y="107"/>
                  </a:cubicBezTo>
                  <a:cubicBezTo>
                    <a:pt x="49" y="110"/>
                    <a:pt x="49" y="113"/>
                    <a:pt x="49" y="117"/>
                  </a:cubicBezTo>
                  <a:cubicBezTo>
                    <a:pt x="50" y="122"/>
                    <a:pt x="46" y="128"/>
                    <a:pt x="40" y="128"/>
                  </a:cubicBezTo>
                  <a:cubicBezTo>
                    <a:pt x="34" y="129"/>
                    <a:pt x="29" y="125"/>
                    <a:pt x="28" y="119"/>
                  </a:cubicBezTo>
                  <a:close/>
                  <a:moveTo>
                    <a:pt x="262" y="224"/>
                  </a:moveTo>
                  <a:cubicBezTo>
                    <a:pt x="262" y="182"/>
                    <a:pt x="262" y="182"/>
                    <a:pt x="262" y="182"/>
                  </a:cubicBezTo>
                  <a:cubicBezTo>
                    <a:pt x="262" y="164"/>
                    <a:pt x="248" y="150"/>
                    <a:pt x="230" y="150"/>
                  </a:cubicBezTo>
                  <a:cubicBezTo>
                    <a:pt x="224" y="150"/>
                    <a:pt x="219" y="151"/>
                    <a:pt x="214" y="154"/>
                  </a:cubicBezTo>
                  <a:cubicBezTo>
                    <a:pt x="209" y="145"/>
                    <a:pt x="199" y="139"/>
                    <a:pt x="187" y="139"/>
                  </a:cubicBezTo>
                  <a:cubicBezTo>
                    <a:pt x="184" y="139"/>
                    <a:pt x="180" y="140"/>
                    <a:pt x="177" y="141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57"/>
                    <a:pt x="162" y="43"/>
                    <a:pt x="145" y="43"/>
                  </a:cubicBezTo>
                  <a:cubicBezTo>
                    <a:pt x="130" y="43"/>
                    <a:pt x="118" y="53"/>
                    <a:pt x="114" y="67"/>
                  </a:cubicBezTo>
                  <a:cubicBezTo>
                    <a:pt x="110" y="65"/>
                    <a:pt x="106" y="64"/>
                    <a:pt x="102" y="64"/>
                  </a:cubicBezTo>
                  <a:cubicBezTo>
                    <a:pt x="84" y="64"/>
                    <a:pt x="70" y="79"/>
                    <a:pt x="70" y="96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66" y="180"/>
                    <a:pt x="63" y="173"/>
                    <a:pt x="61" y="166"/>
                  </a:cubicBezTo>
                  <a:cubicBezTo>
                    <a:pt x="57" y="159"/>
                    <a:pt x="50" y="153"/>
                    <a:pt x="42" y="150"/>
                  </a:cubicBezTo>
                  <a:cubicBezTo>
                    <a:pt x="34" y="147"/>
                    <a:pt x="25" y="148"/>
                    <a:pt x="18" y="152"/>
                  </a:cubicBezTo>
                  <a:cubicBezTo>
                    <a:pt x="2" y="160"/>
                    <a:pt x="0" y="181"/>
                    <a:pt x="7" y="197"/>
                  </a:cubicBezTo>
                  <a:cubicBezTo>
                    <a:pt x="10" y="204"/>
                    <a:pt x="38" y="278"/>
                    <a:pt x="86" y="308"/>
                  </a:cubicBezTo>
                  <a:cubicBezTo>
                    <a:pt x="87" y="309"/>
                    <a:pt x="89" y="310"/>
                    <a:pt x="91" y="310"/>
                  </a:cubicBezTo>
                  <a:cubicBezTo>
                    <a:pt x="95" y="310"/>
                    <a:pt x="98" y="308"/>
                    <a:pt x="100" y="305"/>
                  </a:cubicBezTo>
                  <a:cubicBezTo>
                    <a:pt x="103" y="300"/>
                    <a:pt x="102" y="293"/>
                    <a:pt x="97" y="290"/>
                  </a:cubicBezTo>
                  <a:cubicBezTo>
                    <a:pt x="54" y="263"/>
                    <a:pt x="27" y="189"/>
                    <a:pt x="27" y="189"/>
                  </a:cubicBezTo>
                  <a:cubicBezTo>
                    <a:pt x="27" y="188"/>
                    <a:pt x="26" y="188"/>
                    <a:pt x="26" y="188"/>
                  </a:cubicBezTo>
                  <a:cubicBezTo>
                    <a:pt x="23" y="182"/>
                    <a:pt x="23" y="173"/>
                    <a:pt x="27" y="171"/>
                  </a:cubicBezTo>
                  <a:cubicBezTo>
                    <a:pt x="30" y="170"/>
                    <a:pt x="33" y="170"/>
                    <a:pt x="35" y="170"/>
                  </a:cubicBezTo>
                  <a:cubicBezTo>
                    <a:pt x="38" y="171"/>
                    <a:pt x="40" y="173"/>
                    <a:pt x="41" y="175"/>
                  </a:cubicBezTo>
                  <a:cubicBezTo>
                    <a:pt x="44" y="182"/>
                    <a:pt x="60" y="220"/>
                    <a:pt x="74" y="232"/>
                  </a:cubicBezTo>
                  <a:cubicBezTo>
                    <a:pt x="77" y="235"/>
                    <a:pt x="81" y="236"/>
                    <a:pt x="85" y="234"/>
                  </a:cubicBezTo>
                  <a:cubicBezTo>
                    <a:pt x="89" y="232"/>
                    <a:pt x="91" y="229"/>
                    <a:pt x="91" y="224"/>
                  </a:cubicBezTo>
                  <a:cubicBezTo>
                    <a:pt x="91" y="96"/>
                    <a:pt x="91" y="96"/>
                    <a:pt x="91" y="96"/>
                  </a:cubicBezTo>
                  <a:cubicBezTo>
                    <a:pt x="91" y="90"/>
                    <a:pt x="96" y="86"/>
                    <a:pt x="102" y="86"/>
                  </a:cubicBezTo>
                  <a:cubicBezTo>
                    <a:pt x="108" y="86"/>
                    <a:pt x="113" y="90"/>
                    <a:pt x="113" y="96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82"/>
                    <a:pt x="113" y="182"/>
                    <a:pt x="113" y="182"/>
                  </a:cubicBezTo>
                  <a:cubicBezTo>
                    <a:pt x="113" y="188"/>
                    <a:pt x="117" y="192"/>
                    <a:pt x="123" y="192"/>
                  </a:cubicBezTo>
                  <a:cubicBezTo>
                    <a:pt x="129" y="192"/>
                    <a:pt x="134" y="188"/>
                    <a:pt x="134" y="182"/>
                  </a:cubicBezTo>
                  <a:cubicBezTo>
                    <a:pt x="134" y="118"/>
                    <a:pt x="134" y="118"/>
                    <a:pt x="134" y="118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34" y="75"/>
                    <a:pt x="134" y="75"/>
                    <a:pt x="134" y="75"/>
                  </a:cubicBezTo>
                  <a:cubicBezTo>
                    <a:pt x="134" y="69"/>
                    <a:pt x="139" y="64"/>
                    <a:pt x="145" y="64"/>
                  </a:cubicBezTo>
                  <a:cubicBezTo>
                    <a:pt x="151" y="64"/>
                    <a:pt x="155" y="69"/>
                    <a:pt x="155" y="75"/>
                  </a:cubicBezTo>
                  <a:cubicBezTo>
                    <a:pt x="155" y="182"/>
                    <a:pt x="155" y="182"/>
                    <a:pt x="155" y="182"/>
                  </a:cubicBezTo>
                  <a:cubicBezTo>
                    <a:pt x="155" y="188"/>
                    <a:pt x="160" y="192"/>
                    <a:pt x="166" y="192"/>
                  </a:cubicBezTo>
                  <a:cubicBezTo>
                    <a:pt x="172" y="192"/>
                    <a:pt x="177" y="188"/>
                    <a:pt x="177" y="182"/>
                  </a:cubicBezTo>
                  <a:cubicBezTo>
                    <a:pt x="177" y="171"/>
                    <a:pt x="177" y="171"/>
                    <a:pt x="177" y="171"/>
                  </a:cubicBezTo>
                  <a:cubicBezTo>
                    <a:pt x="177" y="165"/>
                    <a:pt x="181" y="160"/>
                    <a:pt x="187" y="160"/>
                  </a:cubicBezTo>
                  <a:cubicBezTo>
                    <a:pt x="193" y="160"/>
                    <a:pt x="198" y="165"/>
                    <a:pt x="198" y="171"/>
                  </a:cubicBezTo>
                  <a:cubicBezTo>
                    <a:pt x="198" y="178"/>
                    <a:pt x="198" y="178"/>
                    <a:pt x="198" y="178"/>
                  </a:cubicBezTo>
                  <a:cubicBezTo>
                    <a:pt x="198" y="179"/>
                    <a:pt x="198" y="181"/>
                    <a:pt x="198" y="182"/>
                  </a:cubicBezTo>
                  <a:cubicBezTo>
                    <a:pt x="198" y="188"/>
                    <a:pt x="203" y="192"/>
                    <a:pt x="209" y="192"/>
                  </a:cubicBezTo>
                  <a:cubicBezTo>
                    <a:pt x="215" y="192"/>
                    <a:pt x="219" y="188"/>
                    <a:pt x="219" y="182"/>
                  </a:cubicBezTo>
                  <a:cubicBezTo>
                    <a:pt x="219" y="180"/>
                    <a:pt x="219" y="180"/>
                    <a:pt x="219" y="180"/>
                  </a:cubicBezTo>
                  <a:cubicBezTo>
                    <a:pt x="220" y="175"/>
                    <a:pt x="225" y="171"/>
                    <a:pt x="230" y="171"/>
                  </a:cubicBezTo>
                  <a:cubicBezTo>
                    <a:pt x="236" y="171"/>
                    <a:pt x="241" y="176"/>
                    <a:pt x="241" y="182"/>
                  </a:cubicBezTo>
                  <a:cubicBezTo>
                    <a:pt x="241" y="225"/>
                    <a:pt x="241" y="225"/>
                    <a:pt x="241" y="225"/>
                  </a:cubicBezTo>
                  <a:cubicBezTo>
                    <a:pt x="241" y="225"/>
                    <a:pt x="243" y="267"/>
                    <a:pt x="222" y="292"/>
                  </a:cubicBezTo>
                  <a:cubicBezTo>
                    <a:pt x="218" y="297"/>
                    <a:pt x="218" y="303"/>
                    <a:pt x="223" y="307"/>
                  </a:cubicBezTo>
                  <a:cubicBezTo>
                    <a:pt x="225" y="309"/>
                    <a:pt x="227" y="310"/>
                    <a:pt x="230" y="310"/>
                  </a:cubicBezTo>
                  <a:cubicBezTo>
                    <a:pt x="233" y="310"/>
                    <a:pt x="236" y="308"/>
                    <a:pt x="238" y="306"/>
                  </a:cubicBezTo>
                  <a:cubicBezTo>
                    <a:pt x="265" y="274"/>
                    <a:pt x="262" y="226"/>
                    <a:pt x="262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6" name="Freeform 50"/>
          <p:cNvSpPr>
            <a:spLocks noChangeAspect="1" noEditPoints="1"/>
          </p:cNvSpPr>
          <p:nvPr/>
        </p:nvSpPr>
        <p:spPr bwMode="auto">
          <a:xfrm>
            <a:off x="542622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66 w 512"/>
              <a:gd name="T5" fmla="*/ 113 h 512"/>
              <a:gd name="T6" fmla="*/ 208 w 512"/>
              <a:gd name="T7" fmla="*/ 116 h 512"/>
              <a:gd name="T8" fmla="*/ 206 w 512"/>
              <a:gd name="T9" fmla="*/ 158 h 512"/>
              <a:gd name="T10" fmla="*/ 194 w 512"/>
              <a:gd name="T11" fmla="*/ 150 h 512"/>
              <a:gd name="T12" fmla="*/ 183 w 512"/>
              <a:gd name="T13" fmla="*/ 159 h 512"/>
              <a:gd name="T14" fmla="*/ 169 w 512"/>
              <a:gd name="T15" fmla="*/ 162 h 512"/>
              <a:gd name="T16" fmla="*/ 175 w 512"/>
              <a:gd name="T17" fmla="*/ 133 h 512"/>
              <a:gd name="T18" fmla="*/ 158 w 512"/>
              <a:gd name="T19" fmla="*/ 126 h 512"/>
              <a:gd name="T20" fmla="*/ 121 w 512"/>
              <a:gd name="T21" fmla="*/ 244 h 512"/>
              <a:gd name="T22" fmla="*/ 105 w 512"/>
              <a:gd name="T23" fmla="*/ 206 h 512"/>
              <a:gd name="T24" fmla="*/ 126 w 512"/>
              <a:gd name="T25" fmla="*/ 202 h 512"/>
              <a:gd name="T26" fmla="*/ 136 w 512"/>
              <a:gd name="T27" fmla="*/ 192 h 512"/>
              <a:gd name="T28" fmla="*/ 154 w 512"/>
              <a:gd name="T29" fmla="*/ 204 h 512"/>
              <a:gd name="T30" fmla="*/ 149 w 512"/>
              <a:gd name="T31" fmla="*/ 217 h 512"/>
              <a:gd name="T32" fmla="*/ 153 w 512"/>
              <a:gd name="T33" fmla="*/ 238 h 512"/>
              <a:gd name="T34" fmla="*/ 121 w 512"/>
              <a:gd name="T35" fmla="*/ 244 h 512"/>
              <a:gd name="T36" fmla="*/ 362 w 512"/>
              <a:gd name="T37" fmla="*/ 416 h 512"/>
              <a:gd name="T38" fmla="*/ 354 w 512"/>
              <a:gd name="T39" fmla="*/ 398 h 512"/>
              <a:gd name="T40" fmla="*/ 373 w 512"/>
              <a:gd name="T41" fmla="*/ 288 h 512"/>
              <a:gd name="T42" fmla="*/ 352 w 512"/>
              <a:gd name="T43" fmla="*/ 288 h 512"/>
              <a:gd name="T44" fmla="*/ 341 w 512"/>
              <a:gd name="T45" fmla="*/ 298 h 512"/>
              <a:gd name="T46" fmla="*/ 330 w 512"/>
              <a:gd name="T47" fmla="*/ 288 h 512"/>
              <a:gd name="T48" fmla="*/ 320 w 512"/>
              <a:gd name="T49" fmla="*/ 266 h 512"/>
              <a:gd name="T50" fmla="*/ 309 w 512"/>
              <a:gd name="T51" fmla="*/ 288 h 512"/>
              <a:gd name="T52" fmla="*/ 288 w 512"/>
              <a:gd name="T53" fmla="*/ 288 h 512"/>
              <a:gd name="T54" fmla="*/ 277 w 512"/>
              <a:gd name="T55" fmla="*/ 245 h 512"/>
              <a:gd name="T56" fmla="*/ 266 w 512"/>
              <a:gd name="T57" fmla="*/ 288 h 512"/>
              <a:gd name="T58" fmla="*/ 245 w 512"/>
              <a:gd name="T59" fmla="*/ 288 h 512"/>
              <a:gd name="T60" fmla="*/ 234 w 512"/>
              <a:gd name="T61" fmla="*/ 192 h 512"/>
              <a:gd name="T62" fmla="*/ 224 w 512"/>
              <a:gd name="T63" fmla="*/ 330 h 512"/>
              <a:gd name="T64" fmla="*/ 205 w 512"/>
              <a:gd name="T65" fmla="*/ 338 h 512"/>
              <a:gd name="T66" fmla="*/ 167 w 512"/>
              <a:gd name="T67" fmla="*/ 276 h 512"/>
              <a:gd name="T68" fmla="*/ 157 w 512"/>
              <a:gd name="T69" fmla="*/ 294 h 512"/>
              <a:gd name="T70" fmla="*/ 229 w 512"/>
              <a:gd name="T71" fmla="*/ 396 h 512"/>
              <a:gd name="T72" fmla="*/ 223 w 512"/>
              <a:gd name="T73" fmla="*/ 416 h 512"/>
              <a:gd name="T74" fmla="*/ 138 w 512"/>
              <a:gd name="T75" fmla="*/ 303 h 512"/>
              <a:gd name="T76" fmla="*/ 174 w 512"/>
              <a:gd name="T77" fmla="*/ 256 h 512"/>
              <a:gd name="T78" fmla="*/ 202 w 512"/>
              <a:gd name="T79" fmla="*/ 293 h 512"/>
              <a:gd name="T80" fmla="*/ 234 w 512"/>
              <a:gd name="T81" fmla="*/ 170 h 512"/>
              <a:gd name="T82" fmla="*/ 266 w 512"/>
              <a:gd name="T83" fmla="*/ 226 h 512"/>
              <a:gd name="T84" fmla="*/ 308 w 512"/>
              <a:gd name="T85" fmla="*/ 247 h 512"/>
              <a:gd name="T86" fmla="*/ 347 w 512"/>
              <a:gd name="T87" fmla="*/ 260 h 512"/>
              <a:gd name="T88" fmla="*/ 394 w 512"/>
              <a:gd name="T89" fmla="*/ 288 h 512"/>
              <a:gd name="T90" fmla="*/ 371 w 512"/>
              <a:gd name="T91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6" y="113"/>
                </a:moveTo>
                <a:cubicBezTo>
                  <a:pt x="196" y="107"/>
                  <a:pt x="196" y="107"/>
                  <a:pt x="196" y="107"/>
                </a:cubicBezTo>
                <a:cubicBezTo>
                  <a:pt x="202" y="106"/>
                  <a:pt x="207" y="110"/>
                  <a:pt x="208" y="116"/>
                </a:cubicBezTo>
                <a:cubicBezTo>
                  <a:pt x="214" y="145"/>
                  <a:pt x="214" y="145"/>
                  <a:pt x="214" y="145"/>
                </a:cubicBezTo>
                <a:cubicBezTo>
                  <a:pt x="216" y="151"/>
                  <a:pt x="212" y="157"/>
                  <a:pt x="206" y="158"/>
                </a:cubicBezTo>
                <a:cubicBezTo>
                  <a:pt x="205" y="158"/>
                  <a:pt x="205" y="158"/>
                  <a:pt x="204" y="158"/>
                </a:cubicBezTo>
                <a:cubicBezTo>
                  <a:pt x="199" y="158"/>
                  <a:pt x="195" y="155"/>
                  <a:pt x="194" y="150"/>
                </a:cubicBezTo>
                <a:cubicBezTo>
                  <a:pt x="193" y="145"/>
                  <a:pt x="193" y="145"/>
                  <a:pt x="193" y="145"/>
                </a:cubicBezTo>
                <a:cubicBezTo>
                  <a:pt x="183" y="159"/>
                  <a:pt x="183" y="159"/>
                  <a:pt x="183" y="159"/>
                </a:cubicBezTo>
                <a:cubicBezTo>
                  <a:pt x="181" y="162"/>
                  <a:pt x="178" y="164"/>
                  <a:pt x="174" y="164"/>
                </a:cubicBezTo>
                <a:cubicBezTo>
                  <a:pt x="172" y="164"/>
                  <a:pt x="170" y="164"/>
                  <a:pt x="169" y="162"/>
                </a:cubicBezTo>
                <a:cubicBezTo>
                  <a:pt x="164" y="159"/>
                  <a:pt x="162" y="152"/>
                  <a:pt x="166" y="148"/>
                </a:cubicBezTo>
                <a:cubicBezTo>
                  <a:pt x="175" y="133"/>
                  <a:pt x="175" y="133"/>
                  <a:pt x="175" y="133"/>
                </a:cubicBezTo>
                <a:cubicBezTo>
                  <a:pt x="171" y="134"/>
                  <a:pt x="171" y="134"/>
                  <a:pt x="171" y="134"/>
                </a:cubicBezTo>
                <a:cubicBezTo>
                  <a:pt x="165" y="135"/>
                  <a:pt x="159" y="132"/>
                  <a:pt x="158" y="126"/>
                </a:cubicBezTo>
                <a:cubicBezTo>
                  <a:pt x="157" y="120"/>
                  <a:pt x="161" y="115"/>
                  <a:pt x="166" y="113"/>
                </a:cubicBezTo>
                <a:close/>
                <a:moveTo>
                  <a:pt x="121" y="244"/>
                </a:moveTo>
                <a:cubicBezTo>
                  <a:pt x="116" y="244"/>
                  <a:pt x="112" y="241"/>
                  <a:pt x="111" y="236"/>
                </a:cubicBezTo>
                <a:cubicBezTo>
                  <a:pt x="105" y="206"/>
                  <a:pt x="105" y="206"/>
                  <a:pt x="105" y="206"/>
                </a:cubicBezTo>
                <a:cubicBezTo>
                  <a:pt x="104" y="200"/>
                  <a:pt x="107" y="195"/>
                  <a:pt x="113" y="193"/>
                </a:cubicBezTo>
                <a:cubicBezTo>
                  <a:pt x="119" y="192"/>
                  <a:pt x="125" y="196"/>
                  <a:pt x="126" y="202"/>
                </a:cubicBezTo>
                <a:cubicBezTo>
                  <a:pt x="127" y="206"/>
                  <a:pt x="127" y="206"/>
                  <a:pt x="127" y="206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9" y="187"/>
                  <a:pt x="146" y="186"/>
                  <a:pt x="151" y="189"/>
                </a:cubicBezTo>
                <a:cubicBezTo>
                  <a:pt x="156" y="192"/>
                  <a:pt x="157" y="199"/>
                  <a:pt x="154" y="204"/>
                </a:cubicBezTo>
                <a:cubicBezTo>
                  <a:pt x="144" y="218"/>
                  <a:pt x="144" y="218"/>
                  <a:pt x="144" y="218"/>
                </a:cubicBezTo>
                <a:cubicBezTo>
                  <a:pt x="149" y="217"/>
                  <a:pt x="149" y="217"/>
                  <a:pt x="149" y="217"/>
                </a:cubicBezTo>
                <a:cubicBezTo>
                  <a:pt x="155" y="216"/>
                  <a:pt x="160" y="220"/>
                  <a:pt x="161" y="225"/>
                </a:cubicBezTo>
                <a:cubicBezTo>
                  <a:pt x="163" y="231"/>
                  <a:pt x="159" y="237"/>
                  <a:pt x="153" y="238"/>
                </a:cubicBezTo>
                <a:cubicBezTo>
                  <a:pt x="123" y="244"/>
                  <a:pt x="123" y="244"/>
                  <a:pt x="123" y="244"/>
                </a:cubicBezTo>
                <a:cubicBezTo>
                  <a:pt x="123" y="244"/>
                  <a:pt x="122" y="244"/>
                  <a:pt x="121" y="244"/>
                </a:cubicBezTo>
                <a:close/>
                <a:moveTo>
                  <a:pt x="371" y="412"/>
                </a:moveTo>
                <a:cubicBezTo>
                  <a:pt x="369" y="414"/>
                  <a:pt x="365" y="416"/>
                  <a:pt x="362" y="416"/>
                </a:cubicBezTo>
                <a:cubicBezTo>
                  <a:pt x="360" y="416"/>
                  <a:pt x="358" y="415"/>
                  <a:pt x="356" y="413"/>
                </a:cubicBezTo>
                <a:cubicBezTo>
                  <a:pt x="351" y="410"/>
                  <a:pt x="350" y="403"/>
                  <a:pt x="354" y="398"/>
                </a:cubicBezTo>
                <a:cubicBezTo>
                  <a:pt x="375" y="372"/>
                  <a:pt x="373" y="331"/>
                  <a:pt x="373" y="331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282"/>
                  <a:pt x="368" y="277"/>
                  <a:pt x="362" y="277"/>
                </a:cubicBezTo>
                <a:cubicBezTo>
                  <a:pt x="35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35" y="298"/>
                  <a:pt x="330" y="294"/>
                  <a:pt x="330" y="288"/>
                </a:cubicBezTo>
                <a:cubicBezTo>
                  <a:pt x="330" y="277"/>
                  <a:pt x="330" y="277"/>
                  <a:pt x="330" y="277"/>
                </a:cubicBezTo>
                <a:cubicBezTo>
                  <a:pt x="330" y="271"/>
                  <a:pt x="325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ubicBezTo>
                  <a:pt x="292" y="298"/>
                  <a:pt x="288" y="294"/>
                  <a:pt x="288" y="288"/>
                </a:cubicBezTo>
                <a:cubicBezTo>
                  <a:pt x="288" y="256"/>
                  <a:pt x="288" y="256"/>
                  <a:pt x="288" y="256"/>
                </a:cubicBezTo>
                <a:cubicBezTo>
                  <a:pt x="288" y="250"/>
                  <a:pt x="283" y="245"/>
                  <a:pt x="277" y="245"/>
                </a:cubicBezTo>
                <a:cubicBezTo>
                  <a:pt x="271" y="245"/>
                  <a:pt x="266" y="250"/>
                  <a:pt x="266" y="256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196"/>
                  <a:pt x="240" y="192"/>
                  <a:pt x="234" y="192"/>
                </a:cubicBezTo>
                <a:cubicBezTo>
                  <a:pt x="228" y="192"/>
                  <a:pt x="224" y="196"/>
                  <a:pt x="224" y="202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24" y="335"/>
                  <a:pt x="221" y="339"/>
                  <a:pt x="217" y="340"/>
                </a:cubicBezTo>
                <a:cubicBezTo>
                  <a:pt x="213" y="342"/>
                  <a:pt x="208" y="341"/>
                  <a:pt x="205" y="338"/>
                </a:cubicBezTo>
                <a:cubicBezTo>
                  <a:pt x="194" y="326"/>
                  <a:pt x="175" y="286"/>
                  <a:pt x="173" y="281"/>
                </a:cubicBezTo>
                <a:cubicBezTo>
                  <a:pt x="172" y="279"/>
                  <a:pt x="170" y="277"/>
                  <a:pt x="167" y="276"/>
                </a:cubicBezTo>
                <a:cubicBezTo>
                  <a:pt x="164" y="276"/>
                  <a:pt x="161" y="276"/>
                  <a:pt x="159" y="277"/>
                </a:cubicBezTo>
                <a:cubicBezTo>
                  <a:pt x="154" y="279"/>
                  <a:pt x="154" y="288"/>
                  <a:pt x="157" y="294"/>
                </a:cubicBezTo>
                <a:cubicBezTo>
                  <a:pt x="158" y="294"/>
                  <a:pt x="158" y="294"/>
                  <a:pt x="158" y="295"/>
                </a:cubicBezTo>
                <a:cubicBezTo>
                  <a:pt x="158" y="295"/>
                  <a:pt x="185" y="369"/>
                  <a:pt x="229" y="396"/>
                </a:cubicBezTo>
                <a:cubicBezTo>
                  <a:pt x="234" y="399"/>
                  <a:pt x="235" y="406"/>
                  <a:pt x="232" y="411"/>
                </a:cubicBezTo>
                <a:cubicBezTo>
                  <a:pt x="230" y="414"/>
                  <a:pt x="227" y="416"/>
                  <a:pt x="223" y="416"/>
                </a:cubicBezTo>
                <a:cubicBezTo>
                  <a:pt x="221" y="416"/>
                  <a:pt x="219" y="415"/>
                  <a:pt x="217" y="414"/>
                </a:cubicBezTo>
                <a:cubicBezTo>
                  <a:pt x="169" y="384"/>
                  <a:pt x="141" y="310"/>
                  <a:pt x="138" y="303"/>
                </a:cubicBezTo>
                <a:cubicBezTo>
                  <a:pt x="131" y="287"/>
                  <a:pt x="133" y="266"/>
                  <a:pt x="149" y="258"/>
                </a:cubicBezTo>
                <a:cubicBezTo>
                  <a:pt x="157" y="254"/>
                  <a:pt x="165" y="253"/>
                  <a:pt x="174" y="256"/>
                </a:cubicBezTo>
                <a:cubicBezTo>
                  <a:pt x="182" y="259"/>
                  <a:pt x="189" y="265"/>
                  <a:pt x="192" y="272"/>
                </a:cubicBezTo>
                <a:cubicBezTo>
                  <a:pt x="195" y="278"/>
                  <a:pt x="199" y="285"/>
                  <a:pt x="202" y="293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185"/>
                  <a:pt x="217" y="170"/>
                  <a:pt x="234" y="170"/>
                </a:cubicBezTo>
                <a:cubicBezTo>
                  <a:pt x="252" y="170"/>
                  <a:pt x="266" y="185"/>
                  <a:pt x="266" y="202"/>
                </a:cubicBezTo>
                <a:cubicBezTo>
                  <a:pt x="266" y="226"/>
                  <a:pt x="266" y="226"/>
                  <a:pt x="266" y="226"/>
                </a:cubicBezTo>
                <a:cubicBezTo>
                  <a:pt x="270" y="224"/>
                  <a:pt x="273" y="224"/>
                  <a:pt x="277" y="224"/>
                </a:cubicBezTo>
                <a:cubicBezTo>
                  <a:pt x="292" y="224"/>
                  <a:pt x="304" y="234"/>
                  <a:pt x="308" y="247"/>
                </a:cubicBezTo>
                <a:cubicBezTo>
                  <a:pt x="311" y="246"/>
                  <a:pt x="315" y="245"/>
                  <a:pt x="320" y="245"/>
                </a:cubicBezTo>
                <a:cubicBezTo>
                  <a:pt x="331" y="245"/>
                  <a:pt x="341" y="251"/>
                  <a:pt x="347" y="260"/>
                </a:cubicBezTo>
                <a:cubicBezTo>
                  <a:pt x="351" y="257"/>
                  <a:pt x="357" y="256"/>
                  <a:pt x="362" y="256"/>
                </a:cubicBezTo>
                <a:cubicBezTo>
                  <a:pt x="380" y="256"/>
                  <a:pt x="394" y="270"/>
                  <a:pt x="394" y="288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332"/>
                  <a:pt x="397" y="380"/>
                  <a:pt x="371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7" name="Group 81"/>
          <p:cNvGrpSpPr>
            <a:grpSpLocks noChangeAspect="1"/>
          </p:cNvGrpSpPr>
          <p:nvPr/>
        </p:nvGrpSpPr>
        <p:grpSpPr bwMode="auto">
          <a:xfrm>
            <a:off x="6922157" y="2051054"/>
            <a:ext cx="367041" cy="367041"/>
            <a:chOff x="4452" y="1348"/>
            <a:chExt cx="340" cy="340"/>
          </a:xfrm>
          <a:solidFill>
            <a:schemeClr val="accent1"/>
          </a:solidFill>
        </p:grpSpPr>
        <p:sp>
          <p:nvSpPr>
            <p:cNvPr id="278" name="Freeform 82"/>
            <p:cNvSpPr>
              <a:spLocks noEditPoints="1"/>
            </p:cNvSpPr>
            <p:nvPr/>
          </p:nvSpPr>
          <p:spPr bwMode="auto">
            <a:xfrm>
              <a:off x="4452" y="13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83"/>
            <p:cNvSpPr>
              <a:spLocks noEditPoints="1"/>
            </p:cNvSpPr>
            <p:nvPr/>
          </p:nvSpPr>
          <p:spPr bwMode="auto">
            <a:xfrm>
              <a:off x="4521" y="1418"/>
              <a:ext cx="195" cy="206"/>
            </a:xfrm>
            <a:custGeom>
              <a:avLst/>
              <a:gdLst>
                <a:gd name="T0" fmla="*/ 26 w 293"/>
                <a:gd name="T1" fmla="*/ 133 h 310"/>
                <a:gd name="T2" fmla="*/ 11 w 293"/>
                <a:gd name="T3" fmla="*/ 136 h 310"/>
                <a:gd name="T4" fmla="*/ 18 w 293"/>
                <a:gd name="T5" fmla="*/ 107 h 310"/>
                <a:gd name="T6" fmla="*/ 1 w 293"/>
                <a:gd name="T7" fmla="*/ 100 h 310"/>
                <a:gd name="T8" fmla="*/ 39 w 293"/>
                <a:gd name="T9" fmla="*/ 81 h 310"/>
                <a:gd name="T10" fmla="*/ 57 w 293"/>
                <a:gd name="T11" fmla="*/ 119 h 310"/>
                <a:gd name="T12" fmla="*/ 47 w 293"/>
                <a:gd name="T13" fmla="*/ 132 h 310"/>
                <a:gd name="T14" fmla="*/ 36 w 293"/>
                <a:gd name="T15" fmla="*/ 119 h 310"/>
                <a:gd name="T16" fmla="*/ 70 w 293"/>
                <a:gd name="T17" fmla="*/ 58 h 310"/>
                <a:gd name="T18" fmla="*/ 102 w 293"/>
                <a:gd name="T19" fmla="*/ 52 h 310"/>
                <a:gd name="T20" fmla="*/ 98 w 293"/>
                <a:gd name="T21" fmla="*/ 31 h 310"/>
                <a:gd name="T22" fmla="*/ 103 w 293"/>
                <a:gd name="T23" fmla="*/ 18 h 310"/>
                <a:gd name="T24" fmla="*/ 85 w 293"/>
                <a:gd name="T25" fmla="*/ 6 h 310"/>
                <a:gd name="T26" fmla="*/ 75 w 293"/>
                <a:gd name="T27" fmla="*/ 16 h 310"/>
                <a:gd name="T28" fmla="*/ 54 w 293"/>
                <a:gd name="T29" fmla="*/ 20 h 310"/>
                <a:gd name="T30" fmla="*/ 290 w 293"/>
                <a:gd name="T31" fmla="*/ 224 h 310"/>
                <a:gd name="T32" fmla="*/ 258 w 293"/>
                <a:gd name="T33" fmla="*/ 150 h 310"/>
                <a:gd name="T34" fmla="*/ 216 w 293"/>
                <a:gd name="T35" fmla="*/ 139 h 310"/>
                <a:gd name="T36" fmla="*/ 173 w 293"/>
                <a:gd name="T37" fmla="*/ 118 h 310"/>
                <a:gd name="T38" fmla="*/ 162 w 293"/>
                <a:gd name="T39" fmla="*/ 96 h 310"/>
                <a:gd name="T40" fmla="*/ 98 w 293"/>
                <a:gd name="T41" fmla="*/ 96 h 310"/>
                <a:gd name="T42" fmla="*/ 88 w 293"/>
                <a:gd name="T43" fmla="*/ 166 h 310"/>
                <a:gd name="T44" fmla="*/ 45 w 293"/>
                <a:gd name="T45" fmla="*/ 152 h 310"/>
                <a:gd name="T46" fmla="*/ 113 w 293"/>
                <a:gd name="T47" fmla="*/ 308 h 310"/>
                <a:gd name="T48" fmla="*/ 128 w 293"/>
                <a:gd name="T49" fmla="*/ 305 h 310"/>
                <a:gd name="T50" fmla="*/ 54 w 293"/>
                <a:gd name="T51" fmla="*/ 189 h 310"/>
                <a:gd name="T52" fmla="*/ 55 w 293"/>
                <a:gd name="T53" fmla="*/ 171 h 310"/>
                <a:gd name="T54" fmla="*/ 69 w 293"/>
                <a:gd name="T55" fmla="*/ 175 h 310"/>
                <a:gd name="T56" fmla="*/ 113 w 293"/>
                <a:gd name="T57" fmla="*/ 234 h 310"/>
                <a:gd name="T58" fmla="*/ 120 w 293"/>
                <a:gd name="T59" fmla="*/ 96 h 310"/>
                <a:gd name="T60" fmla="*/ 141 w 293"/>
                <a:gd name="T61" fmla="*/ 96 h 310"/>
                <a:gd name="T62" fmla="*/ 152 w 293"/>
                <a:gd name="T63" fmla="*/ 192 h 310"/>
                <a:gd name="T64" fmla="*/ 162 w 293"/>
                <a:gd name="T65" fmla="*/ 150 h 310"/>
                <a:gd name="T66" fmla="*/ 184 w 293"/>
                <a:gd name="T67" fmla="*/ 150 h 310"/>
                <a:gd name="T68" fmla="*/ 194 w 293"/>
                <a:gd name="T69" fmla="*/ 192 h 310"/>
                <a:gd name="T70" fmla="*/ 205 w 293"/>
                <a:gd name="T71" fmla="*/ 171 h 310"/>
                <a:gd name="T72" fmla="*/ 226 w 293"/>
                <a:gd name="T73" fmla="*/ 171 h 310"/>
                <a:gd name="T74" fmla="*/ 237 w 293"/>
                <a:gd name="T75" fmla="*/ 192 h 310"/>
                <a:gd name="T76" fmla="*/ 237 w 293"/>
                <a:gd name="T77" fmla="*/ 192 h 310"/>
                <a:gd name="T78" fmla="*/ 258 w 293"/>
                <a:gd name="T79" fmla="*/ 171 h 310"/>
                <a:gd name="T80" fmla="*/ 269 w 293"/>
                <a:gd name="T81" fmla="*/ 225 h 310"/>
                <a:gd name="T82" fmla="*/ 252 w 293"/>
                <a:gd name="T83" fmla="*/ 307 h 310"/>
                <a:gd name="T84" fmla="*/ 267 w 293"/>
                <a:gd name="T85" fmla="*/ 30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310">
                  <a:moveTo>
                    <a:pt x="36" y="119"/>
                  </a:moveTo>
                  <a:cubicBezTo>
                    <a:pt x="26" y="133"/>
                    <a:pt x="26" y="133"/>
                    <a:pt x="26" y="133"/>
                  </a:cubicBezTo>
                  <a:cubicBezTo>
                    <a:pt x="24" y="136"/>
                    <a:pt x="21" y="138"/>
                    <a:pt x="17" y="138"/>
                  </a:cubicBezTo>
                  <a:cubicBezTo>
                    <a:pt x="15" y="138"/>
                    <a:pt x="13" y="138"/>
                    <a:pt x="11" y="136"/>
                  </a:cubicBezTo>
                  <a:cubicBezTo>
                    <a:pt x="7" y="133"/>
                    <a:pt x="5" y="126"/>
                    <a:pt x="8" y="122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8" y="109"/>
                    <a:pt x="2" y="106"/>
                    <a:pt x="1" y="100"/>
                  </a:cubicBezTo>
                  <a:cubicBezTo>
                    <a:pt x="0" y="94"/>
                    <a:pt x="3" y="89"/>
                    <a:pt x="9" y="87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45" y="80"/>
                    <a:pt x="50" y="84"/>
                    <a:pt x="51" y="90"/>
                  </a:cubicBezTo>
                  <a:cubicBezTo>
                    <a:pt x="57" y="119"/>
                    <a:pt x="57" y="119"/>
                    <a:pt x="57" y="119"/>
                  </a:cubicBezTo>
                  <a:cubicBezTo>
                    <a:pt x="59" y="125"/>
                    <a:pt x="55" y="131"/>
                    <a:pt x="49" y="132"/>
                  </a:cubicBezTo>
                  <a:cubicBezTo>
                    <a:pt x="48" y="132"/>
                    <a:pt x="48" y="132"/>
                    <a:pt x="47" y="132"/>
                  </a:cubicBezTo>
                  <a:cubicBezTo>
                    <a:pt x="42" y="132"/>
                    <a:pt x="37" y="129"/>
                    <a:pt x="36" y="124"/>
                  </a:cubicBezTo>
                  <a:lnTo>
                    <a:pt x="36" y="119"/>
                  </a:lnTo>
                  <a:close/>
                  <a:moveTo>
                    <a:pt x="60" y="50"/>
                  </a:moveTo>
                  <a:cubicBezTo>
                    <a:pt x="61" y="55"/>
                    <a:pt x="65" y="58"/>
                    <a:pt x="70" y="58"/>
                  </a:cubicBezTo>
                  <a:cubicBezTo>
                    <a:pt x="71" y="58"/>
                    <a:pt x="72" y="58"/>
                    <a:pt x="73" y="58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8" y="51"/>
                    <a:pt x="112" y="45"/>
                    <a:pt x="110" y="39"/>
                  </a:cubicBezTo>
                  <a:cubicBezTo>
                    <a:pt x="109" y="34"/>
                    <a:pt x="104" y="30"/>
                    <a:pt x="98" y="3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6" y="13"/>
                    <a:pt x="105" y="6"/>
                    <a:pt x="100" y="3"/>
                  </a:cubicBezTo>
                  <a:cubicBezTo>
                    <a:pt x="95" y="0"/>
                    <a:pt x="88" y="1"/>
                    <a:pt x="85" y="6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4" y="10"/>
                    <a:pt x="68" y="6"/>
                    <a:pt x="62" y="7"/>
                  </a:cubicBezTo>
                  <a:cubicBezTo>
                    <a:pt x="57" y="9"/>
                    <a:pt x="53" y="14"/>
                    <a:pt x="54" y="20"/>
                  </a:cubicBezTo>
                  <a:lnTo>
                    <a:pt x="60" y="50"/>
                  </a:lnTo>
                  <a:close/>
                  <a:moveTo>
                    <a:pt x="290" y="224"/>
                  </a:moveTo>
                  <a:cubicBezTo>
                    <a:pt x="290" y="182"/>
                    <a:pt x="290" y="182"/>
                    <a:pt x="290" y="182"/>
                  </a:cubicBezTo>
                  <a:cubicBezTo>
                    <a:pt x="290" y="164"/>
                    <a:pt x="276" y="150"/>
                    <a:pt x="258" y="150"/>
                  </a:cubicBezTo>
                  <a:cubicBezTo>
                    <a:pt x="253" y="150"/>
                    <a:pt x="247" y="151"/>
                    <a:pt x="243" y="154"/>
                  </a:cubicBezTo>
                  <a:cubicBezTo>
                    <a:pt x="237" y="145"/>
                    <a:pt x="227" y="139"/>
                    <a:pt x="216" y="139"/>
                  </a:cubicBezTo>
                  <a:cubicBezTo>
                    <a:pt x="211" y="139"/>
                    <a:pt x="207" y="140"/>
                    <a:pt x="204" y="141"/>
                  </a:cubicBezTo>
                  <a:cubicBezTo>
                    <a:pt x="200" y="128"/>
                    <a:pt x="188" y="118"/>
                    <a:pt x="173" y="118"/>
                  </a:cubicBezTo>
                  <a:cubicBezTo>
                    <a:pt x="169" y="118"/>
                    <a:pt x="166" y="118"/>
                    <a:pt x="162" y="120"/>
                  </a:cubicBezTo>
                  <a:cubicBezTo>
                    <a:pt x="162" y="96"/>
                    <a:pt x="162" y="96"/>
                    <a:pt x="162" y="96"/>
                  </a:cubicBezTo>
                  <a:cubicBezTo>
                    <a:pt x="162" y="79"/>
                    <a:pt x="148" y="64"/>
                    <a:pt x="130" y="64"/>
                  </a:cubicBezTo>
                  <a:cubicBezTo>
                    <a:pt x="113" y="64"/>
                    <a:pt x="98" y="79"/>
                    <a:pt x="98" y="96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5" y="179"/>
                    <a:pt x="91" y="172"/>
                    <a:pt x="88" y="166"/>
                  </a:cubicBezTo>
                  <a:cubicBezTo>
                    <a:pt x="85" y="159"/>
                    <a:pt x="78" y="153"/>
                    <a:pt x="70" y="150"/>
                  </a:cubicBezTo>
                  <a:cubicBezTo>
                    <a:pt x="61" y="147"/>
                    <a:pt x="53" y="148"/>
                    <a:pt x="45" y="152"/>
                  </a:cubicBezTo>
                  <a:cubicBezTo>
                    <a:pt x="29" y="160"/>
                    <a:pt x="27" y="181"/>
                    <a:pt x="34" y="197"/>
                  </a:cubicBezTo>
                  <a:cubicBezTo>
                    <a:pt x="37" y="204"/>
                    <a:pt x="65" y="278"/>
                    <a:pt x="113" y="308"/>
                  </a:cubicBezTo>
                  <a:cubicBezTo>
                    <a:pt x="115" y="309"/>
                    <a:pt x="117" y="310"/>
                    <a:pt x="119" y="310"/>
                  </a:cubicBezTo>
                  <a:cubicBezTo>
                    <a:pt x="123" y="310"/>
                    <a:pt x="126" y="308"/>
                    <a:pt x="128" y="305"/>
                  </a:cubicBezTo>
                  <a:cubicBezTo>
                    <a:pt x="131" y="300"/>
                    <a:pt x="130" y="293"/>
                    <a:pt x="125" y="290"/>
                  </a:cubicBezTo>
                  <a:cubicBezTo>
                    <a:pt x="81" y="263"/>
                    <a:pt x="54" y="189"/>
                    <a:pt x="54" y="189"/>
                  </a:cubicBezTo>
                  <a:cubicBezTo>
                    <a:pt x="54" y="188"/>
                    <a:pt x="54" y="188"/>
                    <a:pt x="53" y="188"/>
                  </a:cubicBezTo>
                  <a:cubicBezTo>
                    <a:pt x="50" y="182"/>
                    <a:pt x="50" y="173"/>
                    <a:pt x="55" y="171"/>
                  </a:cubicBezTo>
                  <a:cubicBezTo>
                    <a:pt x="57" y="170"/>
                    <a:pt x="60" y="170"/>
                    <a:pt x="63" y="170"/>
                  </a:cubicBezTo>
                  <a:cubicBezTo>
                    <a:pt x="66" y="171"/>
                    <a:pt x="68" y="173"/>
                    <a:pt x="69" y="175"/>
                  </a:cubicBezTo>
                  <a:cubicBezTo>
                    <a:pt x="71" y="180"/>
                    <a:pt x="90" y="220"/>
                    <a:pt x="101" y="232"/>
                  </a:cubicBezTo>
                  <a:cubicBezTo>
                    <a:pt x="104" y="235"/>
                    <a:pt x="109" y="236"/>
                    <a:pt x="113" y="234"/>
                  </a:cubicBezTo>
                  <a:cubicBezTo>
                    <a:pt x="117" y="233"/>
                    <a:pt x="120" y="229"/>
                    <a:pt x="120" y="224"/>
                  </a:cubicBezTo>
                  <a:cubicBezTo>
                    <a:pt x="120" y="96"/>
                    <a:pt x="120" y="96"/>
                    <a:pt x="120" y="96"/>
                  </a:cubicBezTo>
                  <a:cubicBezTo>
                    <a:pt x="120" y="90"/>
                    <a:pt x="124" y="86"/>
                    <a:pt x="130" y="86"/>
                  </a:cubicBezTo>
                  <a:cubicBezTo>
                    <a:pt x="136" y="86"/>
                    <a:pt x="141" y="90"/>
                    <a:pt x="141" y="96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1" y="188"/>
                    <a:pt x="146" y="192"/>
                    <a:pt x="152" y="192"/>
                  </a:cubicBezTo>
                  <a:cubicBezTo>
                    <a:pt x="158" y="192"/>
                    <a:pt x="162" y="188"/>
                    <a:pt x="162" y="182"/>
                  </a:cubicBezTo>
                  <a:cubicBezTo>
                    <a:pt x="162" y="150"/>
                    <a:pt x="162" y="150"/>
                    <a:pt x="162" y="150"/>
                  </a:cubicBezTo>
                  <a:cubicBezTo>
                    <a:pt x="162" y="144"/>
                    <a:pt x="167" y="139"/>
                    <a:pt x="173" y="139"/>
                  </a:cubicBezTo>
                  <a:cubicBezTo>
                    <a:pt x="179" y="139"/>
                    <a:pt x="184" y="144"/>
                    <a:pt x="184" y="150"/>
                  </a:cubicBezTo>
                  <a:cubicBezTo>
                    <a:pt x="184" y="182"/>
                    <a:pt x="184" y="182"/>
                    <a:pt x="184" y="182"/>
                  </a:cubicBezTo>
                  <a:cubicBezTo>
                    <a:pt x="184" y="188"/>
                    <a:pt x="188" y="192"/>
                    <a:pt x="194" y="192"/>
                  </a:cubicBezTo>
                  <a:cubicBezTo>
                    <a:pt x="200" y="192"/>
                    <a:pt x="205" y="188"/>
                    <a:pt x="205" y="182"/>
                  </a:cubicBezTo>
                  <a:cubicBezTo>
                    <a:pt x="205" y="171"/>
                    <a:pt x="205" y="171"/>
                    <a:pt x="205" y="171"/>
                  </a:cubicBezTo>
                  <a:cubicBezTo>
                    <a:pt x="205" y="165"/>
                    <a:pt x="210" y="160"/>
                    <a:pt x="216" y="160"/>
                  </a:cubicBezTo>
                  <a:cubicBezTo>
                    <a:pt x="221" y="160"/>
                    <a:pt x="226" y="165"/>
                    <a:pt x="226" y="171"/>
                  </a:cubicBezTo>
                  <a:cubicBezTo>
                    <a:pt x="226" y="182"/>
                    <a:pt x="226" y="182"/>
                    <a:pt x="226" y="182"/>
                  </a:cubicBezTo>
                  <a:cubicBezTo>
                    <a:pt x="226" y="188"/>
                    <a:pt x="231" y="192"/>
                    <a:pt x="237" y="192"/>
                  </a:cubicBezTo>
                  <a:cubicBezTo>
                    <a:pt x="237" y="192"/>
                    <a:pt x="237" y="192"/>
                    <a:pt x="237" y="192"/>
                  </a:cubicBezTo>
                  <a:cubicBezTo>
                    <a:pt x="237" y="192"/>
                    <a:pt x="237" y="192"/>
                    <a:pt x="237" y="192"/>
                  </a:cubicBezTo>
                  <a:cubicBezTo>
                    <a:pt x="243" y="192"/>
                    <a:pt x="248" y="188"/>
                    <a:pt x="248" y="182"/>
                  </a:cubicBezTo>
                  <a:cubicBezTo>
                    <a:pt x="248" y="176"/>
                    <a:pt x="253" y="171"/>
                    <a:pt x="258" y="171"/>
                  </a:cubicBezTo>
                  <a:cubicBezTo>
                    <a:pt x="264" y="171"/>
                    <a:pt x="269" y="176"/>
                    <a:pt x="269" y="182"/>
                  </a:cubicBezTo>
                  <a:cubicBezTo>
                    <a:pt x="269" y="225"/>
                    <a:pt x="269" y="225"/>
                    <a:pt x="269" y="225"/>
                  </a:cubicBezTo>
                  <a:cubicBezTo>
                    <a:pt x="269" y="225"/>
                    <a:pt x="271" y="266"/>
                    <a:pt x="250" y="292"/>
                  </a:cubicBezTo>
                  <a:cubicBezTo>
                    <a:pt x="246" y="297"/>
                    <a:pt x="247" y="304"/>
                    <a:pt x="252" y="307"/>
                  </a:cubicBezTo>
                  <a:cubicBezTo>
                    <a:pt x="254" y="309"/>
                    <a:pt x="256" y="310"/>
                    <a:pt x="258" y="310"/>
                  </a:cubicBezTo>
                  <a:cubicBezTo>
                    <a:pt x="261" y="310"/>
                    <a:pt x="265" y="308"/>
                    <a:pt x="267" y="306"/>
                  </a:cubicBezTo>
                  <a:cubicBezTo>
                    <a:pt x="293" y="274"/>
                    <a:pt x="290" y="226"/>
                    <a:pt x="290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0" name="Freeform 87"/>
          <p:cNvSpPr>
            <a:spLocks noChangeAspect="1" noEditPoints="1"/>
          </p:cNvSpPr>
          <p:nvPr/>
        </p:nvSpPr>
        <p:spPr bwMode="auto">
          <a:xfrm>
            <a:off x="6423512" y="2051054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66 w 512"/>
              <a:gd name="T5" fmla="*/ 113 h 512"/>
              <a:gd name="T6" fmla="*/ 180 w 512"/>
              <a:gd name="T7" fmla="*/ 126 h 512"/>
              <a:gd name="T8" fmla="*/ 204 w 512"/>
              <a:gd name="T9" fmla="*/ 109 h 512"/>
              <a:gd name="T10" fmla="*/ 198 w 512"/>
              <a:gd name="T11" fmla="*/ 138 h 512"/>
              <a:gd name="T12" fmla="*/ 214 w 512"/>
              <a:gd name="T13" fmla="*/ 145 h 512"/>
              <a:gd name="T14" fmla="*/ 177 w 512"/>
              <a:gd name="T15" fmla="*/ 164 h 512"/>
              <a:gd name="T16" fmla="*/ 164 w 512"/>
              <a:gd name="T17" fmla="*/ 156 h 512"/>
              <a:gd name="T18" fmla="*/ 166 w 512"/>
              <a:gd name="T19" fmla="*/ 113 h 512"/>
              <a:gd name="T20" fmla="*/ 115 w 512"/>
              <a:gd name="T21" fmla="*/ 242 h 512"/>
              <a:gd name="T22" fmla="*/ 122 w 512"/>
              <a:gd name="T23" fmla="*/ 213 h 512"/>
              <a:gd name="T24" fmla="*/ 105 w 512"/>
              <a:gd name="T25" fmla="*/ 206 h 512"/>
              <a:gd name="T26" fmla="*/ 143 w 512"/>
              <a:gd name="T27" fmla="*/ 187 h 512"/>
              <a:gd name="T28" fmla="*/ 161 w 512"/>
              <a:gd name="T29" fmla="*/ 225 h 512"/>
              <a:gd name="T30" fmla="*/ 151 w 512"/>
              <a:gd name="T31" fmla="*/ 238 h 512"/>
              <a:gd name="T32" fmla="*/ 140 w 512"/>
              <a:gd name="T33" fmla="*/ 225 h 512"/>
              <a:gd name="T34" fmla="*/ 121 w 512"/>
              <a:gd name="T35" fmla="*/ 244 h 512"/>
              <a:gd name="T36" fmla="*/ 362 w 512"/>
              <a:gd name="T37" fmla="*/ 416 h 512"/>
              <a:gd name="T38" fmla="*/ 354 w 512"/>
              <a:gd name="T39" fmla="*/ 398 h 512"/>
              <a:gd name="T40" fmla="*/ 373 w 512"/>
              <a:gd name="T41" fmla="*/ 288 h 512"/>
              <a:gd name="T42" fmla="*/ 352 w 512"/>
              <a:gd name="T43" fmla="*/ 288 h 512"/>
              <a:gd name="T44" fmla="*/ 341 w 512"/>
              <a:gd name="T45" fmla="*/ 298 h 512"/>
              <a:gd name="T46" fmla="*/ 330 w 512"/>
              <a:gd name="T47" fmla="*/ 288 h 512"/>
              <a:gd name="T48" fmla="*/ 320 w 512"/>
              <a:gd name="T49" fmla="*/ 266 h 512"/>
              <a:gd name="T50" fmla="*/ 309 w 512"/>
              <a:gd name="T51" fmla="*/ 288 h 512"/>
              <a:gd name="T52" fmla="*/ 288 w 512"/>
              <a:gd name="T53" fmla="*/ 288 h 512"/>
              <a:gd name="T54" fmla="*/ 277 w 512"/>
              <a:gd name="T55" fmla="*/ 245 h 512"/>
              <a:gd name="T56" fmla="*/ 266 w 512"/>
              <a:gd name="T57" fmla="*/ 288 h 512"/>
              <a:gd name="T58" fmla="*/ 245 w 512"/>
              <a:gd name="T59" fmla="*/ 288 h 512"/>
              <a:gd name="T60" fmla="*/ 234 w 512"/>
              <a:gd name="T61" fmla="*/ 192 h 512"/>
              <a:gd name="T62" fmla="*/ 224 w 512"/>
              <a:gd name="T63" fmla="*/ 330 h 512"/>
              <a:gd name="T64" fmla="*/ 205 w 512"/>
              <a:gd name="T65" fmla="*/ 338 h 512"/>
              <a:gd name="T66" fmla="*/ 167 w 512"/>
              <a:gd name="T67" fmla="*/ 276 h 512"/>
              <a:gd name="T68" fmla="*/ 157 w 512"/>
              <a:gd name="T69" fmla="*/ 294 h 512"/>
              <a:gd name="T70" fmla="*/ 229 w 512"/>
              <a:gd name="T71" fmla="*/ 396 h 512"/>
              <a:gd name="T72" fmla="*/ 223 w 512"/>
              <a:gd name="T73" fmla="*/ 416 h 512"/>
              <a:gd name="T74" fmla="*/ 138 w 512"/>
              <a:gd name="T75" fmla="*/ 303 h 512"/>
              <a:gd name="T76" fmla="*/ 174 w 512"/>
              <a:gd name="T77" fmla="*/ 256 h 512"/>
              <a:gd name="T78" fmla="*/ 202 w 512"/>
              <a:gd name="T79" fmla="*/ 293 h 512"/>
              <a:gd name="T80" fmla="*/ 234 w 512"/>
              <a:gd name="T81" fmla="*/ 170 h 512"/>
              <a:gd name="T82" fmla="*/ 266 w 512"/>
              <a:gd name="T83" fmla="*/ 226 h 512"/>
              <a:gd name="T84" fmla="*/ 308 w 512"/>
              <a:gd name="T85" fmla="*/ 247 h 512"/>
              <a:gd name="T86" fmla="*/ 347 w 512"/>
              <a:gd name="T87" fmla="*/ 260 h 512"/>
              <a:gd name="T88" fmla="*/ 394 w 512"/>
              <a:gd name="T89" fmla="*/ 288 h 512"/>
              <a:gd name="T90" fmla="*/ 371 w 512"/>
              <a:gd name="T91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6" y="113"/>
                </a:moveTo>
                <a:cubicBezTo>
                  <a:pt x="172" y="112"/>
                  <a:pt x="178" y="116"/>
                  <a:pt x="179" y="122"/>
                </a:cubicBezTo>
                <a:cubicBezTo>
                  <a:pt x="180" y="126"/>
                  <a:pt x="180" y="126"/>
                  <a:pt x="180" y="126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92" y="107"/>
                  <a:pt x="199" y="106"/>
                  <a:pt x="204" y="109"/>
                </a:cubicBezTo>
                <a:cubicBezTo>
                  <a:pt x="209" y="112"/>
                  <a:pt x="210" y="119"/>
                  <a:pt x="207" y="124"/>
                </a:cubicBezTo>
                <a:cubicBezTo>
                  <a:pt x="198" y="138"/>
                  <a:pt x="198" y="138"/>
                  <a:pt x="198" y="138"/>
                </a:cubicBezTo>
                <a:cubicBezTo>
                  <a:pt x="202" y="137"/>
                  <a:pt x="202" y="137"/>
                  <a:pt x="202" y="137"/>
                </a:cubicBezTo>
                <a:cubicBezTo>
                  <a:pt x="208" y="136"/>
                  <a:pt x="213" y="140"/>
                  <a:pt x="214" y="145"/>
                </a:cubicBezTo>
                <a:cubicBezTo>
                  <a:pt x="216" y="151"/>
                  <a:pt x="212" y="157"/>
                  <a:pt x="206" y="158"/>
                </a:cubicBezTo>
                <a:cubicBezTo>
                  <a:pt x="177" y="164"/>
                  <a:pt x="177" y="164"/>
                  <a:pt x="177" y="164"/>
                </a:cubicBezTo>
                <a:cubicBezTo>
                  <a:pt x="176" y="164"/>
                  <a:pt x="175" y="164"/>
                  <a:pt x="174" y="164"/>
                </a:cubicBezTo>
                <a:cubicBezTo>
                  <a:pt x="169" y="164"/>
                  <a:pt x="165" y="161"/>
                  <a:pt x="164" y="156"/>
                </a:cubicBezTo>
                <a:cubicBezTo>
                  <a:pt x="158" y="126"/>
                  <a:pt x="158" y="126"/>
                  <a:pt x="158" y="126"/>
                </a:cubicBezTo>
                <a:cubicBezTo>
                  <a:pt x="157" y="120"/>
                  <a:pt x="161" y="115"/>
                  <a:pt x="166" y="113"/>
                </a:cubicBezTo>
                <a:close/>
                <a:moveTo>
                  <a:pt x="121" y="244"/>
                </a:moveTo>
                <a:cubicBezTo>
                  <a:pt x="119" y="244"/>
                  <a:pt x="117" y="244"/>
                  <a:pt x="115" y="242"/>
                </a:cubicBezTo>
                <a:cubicBezTo>
                  <a:pt x="111" y="239"/>
                  <a:pt x="109" y="232"/>
                  <a:pt x="112" y="228"/>
                </a:cubicBezTo>
                <a:cubicBezTo>
                  <a:pt x="122" y="213"/>
                  <a:pt x="122" y="213"/>
                  <a:pt x="122" y="213"/>
                </a:cubicBezTo>
                <a:cubicBezTo>
                  <a:pt x="117" y="214"/>
                  <a:pt x="117" y="214"/>
                  <a:pt x="117" y="214"/>
                </a:cubicBezTo>
                <a:cubicBezTo>
                  <a:pt x="112" y="215"/>
                  <a:pt x="106" y="212"/>
                  <a:pt x="105" y="206"/>
                </a:cubicBezTo>
                <a:cubicBezTo>
                  <a:pt x="104" y="200"/>
                  <a:pt x="107" y="195"/>
                  <a:pt x="113" y="193"/>
                </a:cubicBezTo>
                <a:cubicBezTo>
                  <a:pt x="143" y="187"/>
                  <a:pt x="143" y="187"/>
                  <a:pt x="143" y="187"/>
                </a:cubicBezTo>
                <a:cubicBezTo>
                  <a:pt x="149" y="186"/>
                  <a:pt x="154" y="190"/>
                  <a:pt x="155" y="196"/>
                </a:cubicBezTo>
                <a:cubicBezTo>
                  <a:pt x="161" y="225"/>
                  <a:pt x="161" y="225"/>
                  <a:pt x="161" y="225"/>
                </a:cubicBezTo>
                <a:cubicBezTo>
                  <a:pt x="163" y="231"/>
                  <a:pt x="159" y="237"/>
                  <a:pt x="153" y="238"/>
                </a:cubicBezTo>
                <a:cubicBezTo>
                  <a:pt x="152" y="238"/>
                  <a:pt x="152" y="238"/>
                  <a:pt x="151" y="238"/>
                </a:cubicBezTo>
                <a:cubicBezTo>
                  <a:pt x="146" y="238"/>
                  <a:pt x="141" y="235"/>
                  <a:pt x="140" y="230"/>
                </a:cubicBezTo>
                <a:cubicBezTo>
                  <a:pt x="140" y="225"/>
                  <a:pt x="140" y="225"/>
                  <a:pt x="140" y="225"/>
                </a:cubicBezTo>
                <a:cubicBezTo>
                  <a:pt x="130" y="239"/>
                  <a:pt x="130" y="239"/>
                  <a:pt x="130" y="239"/>
                </a:cubicBezTo>
                <a:cubicBezTo>
                  <a:pt x="128" y="242"/>
                  <a:pt x="125" y="244"/>
                  <a:pt x="121" y="244"/>
                </a:cubicBezTo>
                <a:close/>
                <a:moveTo>
                  <a:pt x="371" y="412"/>
                </a:moveTo>
                <a:cubicBezTo>
                  <a:pt x="369" y="414"/>
                  <a:pt x="365" y="416"/>
                  <a:pt x="362" y="416"/>
                </a:cubicBezTo>
                <a:cubicBezTo>
                  <a:pt x="360" y="416"/>
                  <a:pt x="358" y="415"/>
                  <a:pt x="356" y="413"/>
                </a:cubicBezTo>
                <a:cubicBezTo>
                  <a:pt x="351" y="410"/>
                  <a:pt x="350" y="403"/>
                  <a:pt x="354" y="398"/>
                </a:cubicBezTo>
                <a:cubicBezTo>
                  <a:pt x="375" y="372"/>
                  <a:pt x="373" y="331"/>
                  <a:pt x="373" y="331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282"/>
                  <a:pt x="368" y="277"/>
                  <a:pt x="362" y="277"/>
                </a:cubicBezTo>
                <a:cubicBezTo>
                  <a:pt x="35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35" y="298"/>
                  <a:pt x="330" y="294"/>
                  <a:pt x="330" y="288"/>
                </a:cubicBezTo>
                <a:cubicBezTo>
                  <a:pt x="330" y="277"/>
                  <a:pt x="330" y="277"/>
                  <a:pt x="330" y="277"/>
                </a:cubicBezTo>
                <a:cubicBezTo>
                  <a:pt x="330" y="271"/>
                  <a:pt x="325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ubicBezTo>
                  <a:pt x="292" y="298"/>
                  <a:pt x="288" y="294"/>
                  <a:pt x="288" y="288"/>
                </a:cubicBezTo>
                <a:cubicBezTo>
                  <a:pt x="288" y="256"/>
                  <a:pt x="288" y="256"/>
                  <a:pt x="288" y="256"/>
                </a:cubicBezTo>
                <a:cubicBezTo>
                  <a:pt x="288" y="250"/>
                  <a:pt x="283" y="245"/>
                  <a:pt x="277" y="245"/>
                </a:cubicBezTo>
                <a:cubicBezTo>
                  <a:pt x="271" y="245"/>
                  <a:pt x="266" y="250"/>
                  <a:pt x="266" y="256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196"/>
                  <a:pt x="240" y="192"/>
                  <a:pt x="234" y="192"/>
                </a:cubicBezTo>
                <a:cubicBezTo>
                  <a:pt x="228" y="192"/>
                  <a:pt x="224" y="196"/>
                  <a:pt x="224" y="202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24" y="335"/>
                  <a:pt x="221" y="339"/>
                  <a:pt x="217" y="340"/>
                </a:cubicBezTo>
                <a:cubicBezTo>
                  <a:pt x="213" y="342"/>
                  <a:pt x="208" y="341"/>
                  <a:pt x="205" y="338"/>
                </a:cubicBezTo>
                <a:cubicBezTo>
                  <a:pt x="194" y="326"/>
                  <a:pt x="175" y="286"/>
                  <a:pt x="173" y="281"/>
                </a:cubicBezTo>
                <a:cubicBezTo>
                  <a:pt x="172" y="279"/>
                  <a:pt x="170" y="277"/>
                  <a:pt x="167" y="276"/>
                </a:cubicBezTo>
                <a:cubicBezTo>
                  <a:pt x="164" y="276"/>
                  <a:pt x="161" y="276"/>
                  <a:pt x="159" y="277"/>
                </a:cubicBezTo>
                <a:cubicBezTo>
                  <a:pt x="154" y="279"/>
                  <a:pt x="154" y="288"/>
                  <a:pt x="157" y="294"/>
                </a:cubicBezTo>
                <a:cubicBezTo>
                  <a:pt x="158" y="294"/>
                  <a:pt x="158" y="294"/>
                  <a:pt x="158" y="295"/>
                </a:cubicBezTo>
                <a:cubicBezTo>
                  <a:pt x="158" y="295"/>
                  <a:pt x="185" y="369"/>
                  <a:pt x="229" y="396"/>
                </a:cubicBezTo>
                <a:cubicBezTo>
                  <a:pt x="234" y="399"/>
                  <a:pt x="235" y="406"/>
                  <a:pt x="232" y="411"/>
                </a:cubicBezTo>
                <a:cubicBezTo>
                  <a:pt x="230" y="414"/>
                  <a:pt x="227" y="416"/>
                  <a:pt x="223" y="416"/>
                </a:cubicBezTo>
                <a:cubicBezTo>
                  <a:pt x="221" y="416"/>
                  <a:pt x="219" y="415"/>
                  <a:pt x="217" y="414"/>
                </a:cubicBezTo>
                <a:cubicBezTo>
                  <a:pt x="169" y="384"/>
                  <a:pt x="141" y="310"/>
                  <a:pt x="138" y="303"/>
                </a:cubicBezTo>
                <a:cubicBezTo>
                  <a:pt x="131" y="287"/>
                  <a:pt x="133" y="266"/>
                  <a:pt x="149" y="258"/>
                </a:cubicBezTo>
                <a:cubicBezTo>
                  <a:pt x="157" y="254"/>
                  <a:pt x="165" y="253"/>
                  <a:pt x="174" y="256"/>
                </a:cubicBezTo>
                <a:cubicBezTo>
                  <a:pt x="182" y="259"/>
                  <a:pt x="189" y="265"/>
                  <a:pt x="192" y="272"/>
                </a:cubicBezTo>
                <a:cubicBezTo>
                  <a:pt x="195" y="278"/>
                  <a:pt x="199" y="285"/>
                  <a:pt x="202" y="293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185"/>
                  <a:pt x="217" y="170"/>
                  <a:pt x="234" y="170"/>
                </a:cubicBezTo>
                <a:cubicBezTo>
                  <a:pt x="252" y="170"/>
                  <a:pt x="266" y="185"/>
                  <a:pt x="266" y="202"/>
                </a:cubicBezTo>
                <a:cubicBezTo>
                  <a:pt x="266" y="226"/>
                  <a:pt x="266" y="226"/>
                  <a:pt x="266" y="226"/>
                </a:cubicBezTo>
                <a:cubicBezTo>
                  <a:pt x="270" y="224"/>
                  <a:pt x="273" y="224"/>
                  <a:pt x="277" y="224"/>
                </a:cubicBezTo>
                <a:cubicBezTo>
                  <a:pt x="292" y="224"/>
                  <a:pt x="304" y="234"/>
                  <a:pt x="308" y="247"/>
                </a:cubicBezTo>
                <a:cubicBezTo>
                  <a:pt x="311" y="246"/>
                  <a:pt x="315" y="245"/>
                  <a:pt x="320" y="245"/>
                </a:cubicBezTo>
                <a:cubicBezTo>
                  <a:pt x="331" y="245"/>
                  <a:pt x="341" y="251"/>
                  <a:pt x="347" y="260"/>
                </a:cubicBezTo>
                <a:cubicBezTo>
                  <a:pt x="351" y="257"/>
                  <a:pt x="357" y="256"/>
                  <a:pt x="362" y="256"/>
                </a:cubicBezTo>
                <a:cubicBezTo>
                  <a:pt x="380" y="256"/>
                  <a:pt x="394" y="270"/>
                  <a:pt x="394" y="288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332"/>
                  <a:pt x="397" y="380"/>
                  <a:pt x="371" y="4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1" name="Group 90"/>
          <p:cNvGrpSpPr>
            <a:grpSpLocks noChangeAspect="1"/>
          </p:cNvGrpSpPr>
          <p:nvPr/>
        </p:nvGrpSpPr>
        <p:grpSpPr bwMode="auto">
          <a:xfrm>
            <a:off x="5924867" y="2051054"/>
            <a:ext cx="367041" cy="367041"/>
            <a:chOff x="4381" y="1224"/>
            <a:chExt cx="340" cy="340"/>
          </a:xfrm>
          <a:solidFill>
            <a:schemeClr val="accent1"/>
          </a:solidFill>
        </p:grpSpPr>
        <p:sp>
          <p:nvSpPr>
            <p:cNvPr id="282" name="Freeform 281"/>
            <p:cNvSpPr>
              <a:spLocks noEditPoints="1"/>
            </p:cNvSpPr>
            <p:nvPr/>
          </p:nvSpPr>
          <p:spPr bwMode="auto">
            <a:xfrm>
              <a:off x="4381" y="122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282"/>
            <p:cNvSpPr>
              <a:spLocks noEditPoints="1"/>
            </p:cNvSpPr>
            <p:nvPr/>
          </p:nvSpPr>
          <p:spPr bwMode="auto">
            <a:xfrm>
              <a:off x="4450" y="1294"/>
              <a:ext cx="195" cy="206"/>
            </a:xfrm>
            <a:custGeom>
              <a:avLst/>
              <a:gdLst>
                <a:gd name="T0" fmla="*/ 19 w 293"/>
                <a:gd name="T1" fmla="*/ 138 h 310"/>
                <a:gd name="T2" fmla="*/ 7 w 293"/>
                <a:gd name="T3" fmla="*/ 130 h 310"/>
                <a:gd name="T4" fmla="*/ 9 w 293"/>
                <a:gd name="T5" fmla="*/ 87 h 310"/>
                <a:gd name="T6" fmla="*/ 23 w 293"/>
                <a:gd name="T7" fmla="*/ 100 h 310"/>
                <a:gd name="T8" fmla="*/ 47 w 293"/>
                <a:gd name="T9" fmla="*/ 83 h 310"/>
                <a:gd name="T10" fmla="*/ 40 w 293"/>
                <a:gd name="T11" fmla="*/ 112 h 310"/>
                <a:gd name="T12" fmla="*/ 57 w 293"/>
                <a:gd name="T13" fmla="*/ 119 h 310"/>
                <a:gd name="T14" fmla="*/ 67 w 293"/>
                <a:gd name="T15" fmla="*/ 28 h 310"/>
                <a:gd name="T16" fmla="*/ 62 w 293"/>
                <a:gd name="T17" fmla="*/ 42 h 310"/>
                <a:gd name="T18" fmla="*/ 70 w 293"/>
                <a:gd name="T19" fmla="*/ 58 h 310"/>
                <a:gd name="T20" fmla="*/ 89 w 293"/>
                <a:gd name="T21" fmla="*/ 39 h 310"/>
                <a:gd name="T22" fmla="*/ 100 w 293"/>
                <a:gd name="T23" fmla="*/ 52 h 310"/>
                <a:gd name="T24" fmla="*/ 110 w 293"/>
                <a:gd name="T25" fmla="*/ 39 h 310"/>
                <a:gd name="T26" fmla="*/ 92 w 293"/>
                <a:gd name="T27" fmla="*/ 1 h 310"/>
                <a:gd name="T28" fmla="*/ 54 w 293"/>
                <a:gd name="T29" fmla="*/ 20 h 310"/>
                <a:gd name="T30" fmla="*/ 290 w 293"/>
                <a:gd name="T31" fmla="*/ 224 h 310"/>
                <a:gd name="T32" fmla="*/ 258 w 293"/>
                <a:gd name="T33" fmla="*/ 150 h 310"/>
                <a:gd name="T34" fmla="*/ 216 w 293"/>
                <a:gd name="T35" fmla="*/ 139 h 310"/>
                <a:gd name="T36" fmla="*/ 173 w 293"/>
                <a:gd name="T37" fmla="*/ 118 h 310"/>
                <a:gd name="T38" fmla="*/ 162 w 293"/>
                <a:gd name="T39" fmla="*/ 96 h 310"/>
                <a:gd name="T40" fmla="*/ 98 w 293"/>
                <a:gd name="T41" fmla="*/ 96 h 310"/>
                <a:gd name="T42" fmla="*/ 88 w 293"/>
                <a:gd name="T43" fmla="*/ 166 h 310"/>
                <a:gd name="T44" fmla="*/ 45 w 293"/>
                <a:gd name="T45" fmla="*/ 152 h 310"/>
                <a:gd name="T46" fmla="*/ 113 w 293"/>
                <a:gd name="T47" fmla="*/ 308 h 310"/>
                <a:gd name="T48" fmla="*/ 128 w 293"/>
                <a:gd name="T49" fmla="*/ 305 h 310"/>
                <a:gd name="T50" fmla="*/ 54 w 293"/>
                <a:gd name="T51" fmla="*/ 189 h 310"/>
                <a:gd name="T52" fmla="*/ 55 w 293"/>
                <a:gd name="T53" fmla="*/ 171 h 310"/>
                <a:gd name="T54" fmla="*/ 69 w 293"/>
                <a:gd name="T55" fmla="*/ 175 h 310"/>
                <a:gd name="T56" fmla="*/ 113 w 293"/>
                <a:gd name="T57" fmla="*/ 234 h 310"/>
                <a:gd name="T58" fmla="*/ 120 w 293"/>
                <a:gd name="T59" fmla="*/ 96 h 310"/>
                <a:gd name="T60" fmla="*/ 141 w 293"/>
                <a:gd name="T61" fmla="*/ 96 h 310"/>
                <a:gd name="T62" fmla="*/ 152 w 293"/>
                <a:gd name="T63" fmla="*/ 192 h 310"/>
                <a:gd name="T64" fmla="*/ 162 w 293"/>
                <a:gd name="T65" fmla="*/ 150 h 310"/>
                <a:gd name="T66" fmla="*/ 184 w 293"/>
                <a:gd name="T67" fmla="*/ 150 h 310"/>
                <a:gd name="T68" fmla="*/ 194 w 293"/>
                <a:gd name="T69" fmla="*/ 192 h 310"/>
                <a:gd name="T70" fmla="*/ 205 w 293"/>
                <a:gd name="T71" fmla="*/ 171 h 310"/>
                <a:gd name="T72" fmla="*/ 226 w 293"/>
                <a:gd name="T73" fmla="*/ 171 h 310"/>
                <a:gd name="T74" fmla="*/ 237 w 293"/>
                <a:gd name="T75" fmla="*/ 192 h 310"/>
                <a:gd name="T76" fmla="*/ 237 w 293"/>
                <a:gd name="T77" fmla="*/ 192 h 310"/>
                <a:gd name="T78" fmla="*/ 258 w 293"/>
                <a:gd name="T79" fmla="*/ 171 h 310"/>
                <a:gd name="T80" fmla="*/ 269 w 293"/>
                <a:gd name="T81" fmla="*/ 225 h 310"/>
                <a:gd name="T82" fmla="*/ 252 w 293"/>
                <a:gd name="T83" fmla="*/ 307 h 310"/>
                <a:gd name="T84" fmla="*/ 267 w 293"/>
                <a:gd name="T85" fmla="*/ 30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3" h="310">
                  <a:moveTo>
                    <a:pt x="49" y="132"/>
                  </a:moveTo>
                  <a:cubicBezTo>
                    <a:pt x="19" y="138"/>
                    <a:pt x="19" y="138"/>
                    <a:pt x="19" y="138"/>
                  </a:cubicBezTo>
                  <a:cubicBezTo>
                    <a:pt x="19" y="138"/>
                    <a:pt x="18" y="138"/>
                    <a:pt x="17" y="138"/>
                  </a:cubicBezTo>
                  <a:cubicBezTo>
                    <a:pt x="12" y="138"/>
                    <a:pt x="8" y="135"/>
                    <a:pt x="7" y="130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0" y="94"/>
                    <a:pt x="3" y="89"/>
                    <a:pt x="9" y="87"/>
                  </a:cubicBezTo>
                  <a:cubicBezTo>
                    <a:pt x="15" y="86"/>
                    <a:pt x="21" y="90"/>
                    <a:pt x="22" y="96"/>
                  </a:cubicBezTo>
                  <a:cubicBezTo>
                    <a:pt x="23" y="100"/>
                    <a:pt x="23" y="100"/>
                    <a:pt x="23" y="100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5" y="81"/>
                    <a:pt x="42" y="80"/>
                    <a:pt x="47" y="83"/>
                  </a:cubicBezTo>
                  <a:cubicBezTo>
                    <a:pt x="52" y="86"/>
                    <a:pt x="53" y="93"/>
                    <a:pt x="50" y="98"/>
                  </a:cubicBezTo>
                  <a:cubicBezTo>
                    <a:pt x="40" y="112"/>
                    <a:pt x="40" y="112"/>
                    <a:pt x="40" y="112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51" y="110"/>
                    <a:pt x="56" y="114"/>
                    <a:pt x="57" y="119"/>
                  </a:cubicBezTo>
                  <a:cubicBezTo>
                    <a:pt x="59" y="125"/>
                    <a:pt x="55" y="131"/>
                    <a:pt x="49" y="132"/>
                  </a:cubicBezTo>
                  <a:close/>
                  <a:moveTo>
                    <a:pt x="67" y="28"/>
                  </a:moveTo>
                  <a:cubicBezTo>
                    <a:pt x="71" y="27"/>
                    <a:pt x="71" y="27"/>
                    <a:pt x="71" y="27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8" y="46"/>
                    <a:pt x="60" y="53"/>
                    <a:pt x="65" y="56"/>
                  </a:cubicBezTo>
                  <a:cubicBezTo>
                    <a:pt x="66" y="58"/>
                    <a:pt x="68" y="58"/>
                    <a:pt x="70" y="58"/>
                  </a:cubicBezTo>
                  <a:cubicBezTo>
                    <a:pt x="74" y="58"/>
                    <a:pt x="77" y="56"/>
                    <a:pt x="79" y="53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1" y="49"/>
                    <a:pt x="95" y="52"/>
                    <a:pt x="100" y="52"/>
                  </a:cubicBezTo>
                  <a:cubicBezTo>
                    <a:pt x="101" y="52"/>
                    <a:pt x="101" y="52"/>
                    <a:pt x="102" y="52"/>
                  </a:cubicBezTo>
                  <a:cubicBezTo>
                    <a:pt x="108" y="51"/>
                    <a:pt x="112" y="45"/>
                    <a:pt x="110" y="3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3" y="4"/>
                    <a:pt x="98" y="0"/>
                    <a:pt x="92" y="1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57" y="9"/>
                    <a:pt x="53" y="14"/>
                    <a:pt x="54" y="20"/>
                  </a:cubicBezTo>
                  <a:cubicBezTo>
                    <a:pt x="55" y="26"/>
                    <a:pt x="61" y="29"/>
                    <a:pt x="67" y="28"/>
                  </a:cubicBezTo>
                  <a:close/>
                  <a:moveTo>
                    <a:pt x="290" y="224"/>
                  </a:moveTo>
                  <a:cubicBezTo>
                    <a:pt x="290" y="182"/>
                    <a:pt x="290" y="182"/>
                    <a:pt x="290" y="182"/>
                  </a:cubicBezTo>
                  <a:cubicBezTo>
                    <a:pt x="290" y="164"/>
                    <a:pt x="276" y="150"/>
                    <a:pt x="258" y="150"/>
                  </a:cubicBezTo>
                  <a:cubicBezTo>
                    <a:pt x="253" y="150"/>
                    <a:pt x="247" y="151"/>
                    <a:pt x="243" y="154"/>
                  </a:cubicBezTo>
                  <a:cubicBezTo>
                    <a:pt x="237" y="145"/>
                    <a:pt x="227" y="139"/>
                    <a:pt x="216" y="139"/>
                  </a:cubicBezTo>
                  <a:cubicBezTo>
                    <a:pt x="211" y="139"/>
                    <a:pt x="207" y="140"/>
                    <a:pt x="204" y="141"/>
                  </a:cubicBezTo>
                  <a:cubicBezTo>
                    <a:pt x="200" y="128"/>
                    <a:pt x="188" y="118"/>
                    <a:pt x="173" y="118"/>
                  </a:cubicBezTo>
                  <a:cubicBezTo>
                    <a:pt x="169" y="118"/>
                    <a:pt x="166" y="118"/>
                    <a:pt x="162" y="120"/>
                  </a:cubicBezTo>
                  <a:cubicBezTo>
                    <a:pt x="162" y="96"/>
                    <a:pt x="162" y="96"/>
                    <a:pt x="162" y="96"/>
                  </a:cubicBezTo>
                  <a:cubicBezTo>
                    <a:pt x="162" y="79"/>
                    <a:pt x="148" y="64"/>
                    <a:pt x="130" y="64"/>
                  </a:cubicBezTo>
                  <a:cubicBezTo>
                    <a:pt x="113" y="64"/>
                    <a:pt x="98" y="79"/>
                    <a:pt x="98" y="96"/>
                  </a:cubicBezTo>
                  <a:cubicBezTo>
                    <a:pt x="98" y="187"/>
                    <a:pt x="98" y="187"/>
                    <a:pt x="98" y="187"/>
                  </a:cubicBezTo>
                  <a:cubicBezTo>
                    <a:pt x="95" y="179"/>
                    <a:pt x="91" y="172"/>
                    <a:pt x="88" y="166"/>
                  </a:cubicBezTo>
                  <a:cubicBezTo>
                    <a:pt x="85" y="159"/>
                    <a:pt x="78" y="153"/>
                    <a:pt x="70" y="150"/>
                  </a:cubicBezTo>
                  <a:cubicBezTo>
                    <a:pt x="61" y="147"/>
                    <a:pt x="53" y="148"/>
                    <a:pt x="45" y="152"/>
                  </a:cubicBezTo>
                  <a:cubicBezTo>
                    <a:pt x="29" y="160"/>
                    <a:pt x="27" y="181"/>
                    <a:pt x="34" y="197"/>
                  </a:cubicBezTo>
                  <a:cubicBezTo>
                    <a:pt x="37" y="204"/>
                    <a:pt x="65" y="278"/>
                    <a:pt x="113" y="308"/>
                  </a:cubicBezTo>
                  <a:cubicBezTo>
                    <a:pt x="115" y="309"/>
                    <a:pt x="117" y="310"/>
                    <a:pt x="119" y="310"/>
                  </a:cubicBezTo>
                  <a:cubicBezTo>
                    <a:pt x="123" y="310"/>
                    <a:pt x="126" y="308"/>
                    <a:pt x="128" y="305"/>
                  </a:cubicBezTo>
                  <a:cubicBezTo>
                    <a:pt x="131" y="300"/>
                    <a:pt x="130" y="293"/>
                    <a:pt x="125" y="290"/>
                  </a:cubicBezTo>
                  <a:cubicBezTo>
                    <a:pt x="81" y="263"/>
                    <a:pt x="54" y="189"/>
                    <a:pt x="54" y="189"/>
                  </a:cubicBezTo>
                  <a:cubicBezTo>
                    <a:pt x="54" y="188"/>
                    <a:pt x="54" y="188"/>
                    <a:pt x="53" y="188"/>
                  </a:cubicBezTo>
                  <a:cubicBezTo>
                    <a:pt x="50" y="182"/>
                    <a:pt x="50" y="173"/>
                    <a:pt x="55" y="171"/>
                  </a:cubicBezTo>
                  <a:cubicBezTo>
                    <a:pt x="57" y="170"/>
                    <a:pt x="60" y="170"/>
                    <a:pt x="63" y="170"/>
                  </a:cubicBezTo>
                  <a:cubicBezTo>
                    <a:pt x="66" y="171"/>
                    <a:pt x="68" y="173"/>
                    <a:pt x="69" y="175"/>
                  </a:cubicBezTo>
                  <a:cubicBezTo>
                    <a:pt x="71" y="180"/>
                    <a:pt x="90" y="220"/>
                    <a:pt x="101" y="232"/>
                  </a:cubicBezTo>
                  <a:cubicBezTo>
                    <a:pt x="104" y="235"/>
                    <a:pt x="109" y="236"/>
                    <a:pt x="113" y="234"/>
                  </a:cubicBezTo>
                  <a:cubicBezTo>
                    <a:pt x="117" y="233"/>
                    <a:pt x="120" y="229"/>
                    <a:pt x="120" y="224"/>
                  </a:cubicBezTo>
                  <a:cubicBezTo>
                    <a:pt x="120" y="96"/>
                    <a:pt x="120" y="96"/>
                    <a:pt x="120" y="96"/>
                  </a:cubicBezTo>
                  <a:cubicBezTo>
                    <a:pt x="120" y="90"/>
                    <a:pt x="124" y="86"/>
                    <a:pt x="130" y="86"/>
                  </a:cubicBezTo>
                  <a:cubicBezTo>
                    <a:pt x="136" y="86"/>
                    <a:pt x="141" y="90"/>
                    <a:pt x="141" y="96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1" y="188"/>
                    <a:pt x="146" y="192"/>
                    <a:pt x="152" y="192"/>
                  </a:cubicBezTo>
                  <a:cubicBezTo>
                    <a:pt x="158" y="192"/>
                    <a:pt x="162" y="188"/>
                    <a:pt x="162" y="182"/>
                  </a:cubicBezTo>
                  <a:cubicBezTo>
                    <a:pt x="162" y="150"/>
                    <a:pt x="162" y="150"/>
                    <a:pt x="162" y="150"/>
                  </a:cubicBezTo>
                  <a:cubicBezTo>
                    <a:pt x="162" y="144"/>
                    <a:pt x="167" y="139"/>
                    <a:pt x="173" y="139"/>
                  </a:cubicBezTo>
                  <a:cubicBezTo>
                    <a:pt x="179" y="139"/>
                    <a:pt x="184" y="144"/>
                    <a:pt x="184" y="150"/>
                  </a:cubicBezTo>
                  <a:cubicBezTo>
                    <a:pt x="184" y="182"/>
                    <a:pt x="184" y="182"/>
                    <a:pt x="184" y="182"/>
                  </a:cubicBezTo>
                  <a:cubicBezTo>
                    <a:pt x="184" y="188"/>
                    <a:pt x="188" y="192"/>
                    <a:pt x="194" y="192"/>
                  </a:cubicBezTo>
                  <a:cubicBezTo>
                    <a:pt x="200" y="192"/>
                    <a:pt x="205" y="188"/>
                    <a:pt x="205" y="182"/>
                  </a:cubicBezTo>
                  <a:cubicBezTo>
                    <a:pt x="205" y="171"/>
                    <a:pt x="205" y="171"/>
                    <a:pt x="205" y="171"/>
                  </a:cubicBezTo>
                  <a:cubicBezTo>
                    <a:pt x="205" y="165"/>
                    <a:pt x="210" y="160"/>
                    <a:pt x="216" y="160"/>
                  </a:cubicBezTo>
                  <a:cubicBezTo>
                    <a:pt x="221" y="160"/>
                    <a:pt x="226" y="165"/>
                    <a:pt x="226" y="171"/>
                  </a:cubicBezTo>
                  <a:cubicBezTo>
                    <a:pt x="226" y="182"/>
                    <a:pt x="226" y="182"/>
                    <a:pt x="226" y="182"/>
                  </a:cubicBezTo>
                  <a:cubicBezTo>
                    <a:pt x="226" y="188"/>
                    <a:pt x="231" y="192"/>
                    <a:pt x="237" y="192"/>
                  </a:cubicBezTo>
                  <a:cubicBezTo>
                    <a:pt x="237" y="192"/>
                    <a:pt x="237" y="192"/>
                    <a:pt x="237" y="192"/>
                  </a:cubicBezTo>
                  <a:cubicBezTo>
                    <a:pt x="237" y="192"/>
                    <a:pt x="237" y="192"/>
                    <a:pt x="237" y="192"/>
                  </a:cubicBezTo>
                  <a:cubicBezTo>
                    <a:pt x="243" y="192"/>
                    <a:pt x="248" y="188"/>
                    <a:pt x="248" y="182"/>
                  </a:cubicBezTo>
                  <a:cubicBezTo>
                    <a:pt x="248" y="176"/>
                    <a:pt x="253" y="171"/>
                    <a:pt x="258" y="171"/>
                  </a:cubicBezTo>
                  <a:cubicBezTo>
                    <a:pt x="264" y="171"/>
                    <a:pt x="269" y="176"/>
                    <a:pt x="269" y="182"/>
                  </a:cubicBezTo>
                  <a:cubicBezTo>
                    <a:pt x="269" y="225"/>
                    <a:pt x="269" y="225"/>
                    <a:pt x="269" y="225"/>
                  </a:cubicBezTo>
                  <a:cubicBezTo>
                    <a:pt x="269" y="225"/>
                    <a:pt x="271" y="266"/>
                    <a:pt x="250" y="292"/>
                  </a:cubicBezTo>
                  <a:cubicBezTo>
                    <a:pt x="246" y="297"/>
                    <a:pt x="247" y="304"/>
                    <a:pt x="252" y="307"/>
                  </a:cubicBezTo>
                  <a:cubicBezTo>
                    <a:pt x="254" y="309"/>
                    <a:pt x="256" y="310"/>
                    <a:pt x="258" y="310"/>
                  </a:cubicBezTo>
                  <a:cubicBezTo>
                    <a:pt x="261" y="310"/>
                    <a:pt x="265" y="308"/>
                    <a:pt x="267" y="306"/>
                  </a:cubicBezTo>
                  <a:cubicBezTo>
                    <a:pt x="293" y="274"/>
                    <a:pt x="290" y="226"/>
                    <a:pt x="290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4" name="Freeform 143"/>
          <p:cNvSpPr>
            <a:spLocks noChangeAspect="1" noEditPoints="1"/>
          </p:cNvSpPr>
          <p:nvPr/>
        </p:nvSpPr>
        <p:spPr bwMode="auto">
          <a:xfrm>
            <a:off x="7420802" y="2051054"/>
            <a:ext cx="368120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7 w 512"/>
              <a:gd name="T11" fmla="*/ 346 h 512"/>
              <a:gd name="T12" fmla="*/ 339 w 512"/>
              <a:gd name="T13" fmla="*/ 350 h 512"/>
              <a:gd name="T14" fmla="*/ 332 w 512"/>
              <a:gd name="T15" fmla="*/ 347 h 512"/>
              <a:gd name="T16" fmla="*/ 331 w 512"/>
              <a:gd name="T17" fmla="*/ 332 h 512"/>
              <a:gd name="T18" fmla="*/ 352 w 512"/>
              <a:gd name="T19" fmla="*/ 265 h 512"/>
              <a:gd name="T20" fmla="*/ 352 w 512"/>
              <a:gd name="T21" fmla="*/ 223 h 512"/>
              <a:gd name="T22" fmla="*/ 339 w 512"/>
              <a:gd name="T23" fmla="*/ 212 h 512"/>
              <a:gd name="T24" fmla="*/ 330 w 512"/>
              <a:gd name="T25" fmla="*/ 226 h 512"/>
              <a:gd name="T26" fmla="*/ 320 w 512"/>
              <a:gd name="T27" fmla="*/ 237 h 512"/>
              <a:gd name="T28" fmla="*/ 309 w 512"/>
              <a:gd name="T29" fmla="*/ 226 h 512"/>
              <a:gd name="T30" fmla="*/ 309 w 512"/>
              <a:gd name="T31" fmla="*/ 201 h 512"/>
              <a:gd name="T32" fmla="*/ 297 w 512"/>
              <a:gd name="T33" fmla="*/ 191 h 512"/>
              <a:gd name="T34" fmla="*/ 288 w 512"/>
              <a:gd name="T35" fmla="*/ 204 h 512"/>
              <a:gd name="T36" fmla="*/ 288 w 512"/>
              <a:gd name="T37" fmla="*/ 224 h 512"/>
              <a:gd name="T38" fmla="*/ 277 w 512"/>
              <a:gd name="T39" fmla="*/ 234 h 512"/>
              <a:gd name="T40" fmla="*/ 266 w 512"/>
              <a:gd name="T41" fmla="*/ 224 h 512"/>
              <a:gd name="T42" fmla="*/ 266 w 512"/>
              <a:gd name="T43" fmla="*/ 190 h 512"/>
              <a:gd name="T44" fmla="*/ 255 w 512"/>
              <a:gd name="T45" fmla="*/ 180 h 512"/>
              <a:gd name="T46" fmla="*/ 245 w 512"/>
              <a:gd name="T47" fmla="*/ 193 h 512"/>
              <a:gd name="T48" fmla="*/ 245 w 512"/>
              <a:gd name="T49" fmla="*/ 201 h 512"/>
              <a:gd name="T50" fmla="*/ 245 w 512"/>
              <a:gd name="T51" fmla="*/ 224 h 512"/>
              <a:gd name="T52" fmla="*/ 234 w 512"/>
              <a:gd name="T53" fmla="*/ 234 h 512"/>
              <a:gd name="T54" fmla="*/ 224 w 512"/>
              <a:gd name="T55" fmla="*/ 224 h 512"/>
              <a:gd name="T56" fmla="*/ 224 w 512"/>
              <a:gd name="T57" fmla="*/ 201 h 512"/>
              <a:gd name="T58" fmla="*/ 213 w 512"/>
              <a:gd name="T59" fmla="*/ 190 h 512"/>
              <a:gd name="T60" fmla="*/ 202 w 512"/>
              <a:gd name="T61" fmla="*/ 201 h 512"/>
              <a:gd name="T62" fmla="*/ 202 w 512"/>
              <a:gd name="T63" fmla="*/ 266 h 512"/>
              <a:gd name="T64" fmla="*/ 192 w 512"/>
              <a:gd name="T65" fmla="*/ 277 h 512"/>
              <a:gd name="T66" fmla="*/ 181 w 512"/>
              <a:gd name="T67" fmla="*/ 266 h 512"/>
              <a:gd name="T68" fmla="*/ 181 w 512"/>
              <a:gd name="T69" fmla="*/ 223 h 512"/>
              <a:gd name="T70" fmla="*/ 173 w 512"/>
              <a:gd name="T71" fmla="*/ 226 h 512"/>
              <a:gd name="T72" fmla="*/ 160 w 512"/>
              <a:gd name="T73" fmla="*/ 258 h 512"/>
              <a:gd name="T74" fmla="*/ 206 w 512"/>
              <a:gd name="T75" fmla="*/ 332 h 512"/>
              <a:gd name="T76" fmla="*/ 210 w 512"/>
              <a:gd name="T77" fmla="*/ 347 h 512"/>
              <a:gd name="T78" fmla="*/ 201 w 512"/>
              <a:gd name="T79" fmla="*/ 352 h 512"/>
              <a:gd name="T80" fmla="*/ 195 w 512"/>
              <a:gd name="T81" fmla="*/ 351 h 512"/>
              <a:gd name="T82" fmla="*/ 138 w 512"/>
              <a:gd name="T83" fmla="*/ 258 h 512"/>
              <a:gd name="T84" fmla="*/ 161 w 512"/>
              <a:gd name="T85" fmla="*/ 208 h 512"/>
              <a:gd name="T86" fmla="*/ 181 w 512"/>
              <a:gd name="T87" fmla="*/ 202 h 512"/>
              <a:gd name="T88" fmla="*/ 181 w 512"/>
              <a:gd name="T89" fmla="*/ 201 h 512"/>
              <a:gd name="T90" fmla="*/ 213 w 512"/>
              <a:gd name="T91" fmla="*/ 169 h 512"/>
              <a:gd name="T92" fmla="*/ 229 w 512"/>
              <a:gd name="T93" fmla="*/ 174 h 512"/>
              <a:gd name="T94" fmla="*/ 255 w 512"/>
              <a:gd name="T95" fmla="*/ 159 h 512"/>
              <a:gd name="T96" fmla="*/ 283 w 512"/>
              <a:gd name="T97" fmla="*/ 174 h 512"/>
              <a:gd name="T98" fmla="*/ 297 w 512"/>
              <a:gd name="T99" fmla="*/ 169 h 512"/>
              <a:gd name="T100" fmla="*/ 329 w 512"/>
              <a:gd name="T101" fmla="*/ 193 h 512"/>
              <a:gd name="T102" fmla="*/ 339 w 512"/>
              <a:gd name="T103" fmla="*/ 191 h 512"/>
              <a:gd name="T104" fmla="*/ 373 w 512"/>
              <a:gd name="T105" fmla="*/ 223 h 512"/>
              <a:gd name="T106" fmla="*/ 373 w 512"/>
              <a:gd name="T107" fmla="*/ 265 h 512"/>
              <a:gd name="T108" fmla="*/ 347 w 512"/>
              <a:gd name="T109" fmla="*/ 3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7" y="346"/>
                </a:moveTo>
                <a:cubicBezTo>
                  <a:pt x="345" y="348"/>
                  <a:pt x="342" y="350"/>
                  <a:pt x="339" y="350"/>
                </a:cubicBezTo>
                <a:cubicBezTo>
                  <a:pt x="337" y="350"/>
                  <a:pt x="334" y="349"/>
                  <a:pt x="332" y="347"/>
                </a:cubicBezTo>
                <a:cubicBezTo>
                  <a:pt x="328" y="343"/>
                  <a:pt x="327" y="337"/>
                  <a:pt x="331" y="332"/>
                </a:cubicBezTo>
                <a:cubicBezTo>
                  <a:pt x="353" y="307"/>
                  <a:pt x="352" y="266"/>
                  <a:pt x="352" y="265"/>
                </a:cubicBezTo>
                <a:cubicBezTo>
                  <a:pt x="352" y="223"/>
                  <a:pt x="352" y="223"/>
                  <a:pt x="352" y="223"/>
                </a:cubicBezTo>
                <a:cubicBezTo>
                  <a:pt x="352" y="217"/>
                  <a:pt x="345" y="212"/>
                  <a:pt x="339" y="212"/>
                </a:cubicBezTo>
                <a:cubicBezTo>
                  <a:pt x="334" y="212"/>
                  <a:pt x="330" y="220"/>
                  <a:pt x="330" y="226"/>
                </a:cubicBezTo>
                <a:cubicBezTo>
                  <a:pt x="330" y="232"/>
                  <a:pt x="326" y="237"/>
                  <a:pt x="320" y="237"/>
                </a:cubicBezTo>
                <a:cubicBezTo>
                  <a:pt x="314" y="237"/>
                  <a:pt x="309" y="232"/>
                  <a:pt x="309" y="226"/>
                </a:cubicBezTo>
                <a:cubicBezTo>
                  <a:pt x="309" y="222"/>
                  <a:pt x="309" y="201"/>
                  <a:pt x="309" y="201"/>
                </a:cubicBezTo>
                <a:cubicBezTo>
                  <a:pt x="309" y="195"/>
                  <a:pt x="304" y="191"/>
                  <a:pt x="297" y="191"/>
                </a:cubicBezTo>
                <a:cubicBezTo>
                  <a:pt x="292" y="191"/>
                  <a:pt x="288" y="198"/>
                  <a:pt x="288" y="20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8" y="230"/>
                  <a:pt x="283" y="234"/>
                  <a:pt x="277" y="234"/>
                </a:cubicBezTo>
                <a:cubicBezTo>
                  <a:pt x="271" y="234"/>
                  <a:pt x="266" y="230"/>
                  <a:pt x="266" y="224"/>
                </a:cubicBezTo>
                <a:cubicBezTo>
                  <a:pt x="266" y="190"/>
                  <a:pt x="266" y="190"/>
                  <a:pt x="266" y="190"/>
                </a:cubicBezTo>
                <a:cubicBezTo>
                  <a:pt x="266" y="185"/>
                  <a:pt x="261" y="180"/>
                  <a:pt x="255" y="180"/>
                </a:cubicBezTo>
                <a:cubicBezTo>
                  <a:pt x="249" y="180"/>
                  <a:pt x="245" y="187"/>
                  <a:pt x="245" y="193"/>
                </a:cubicBezTo>
                <a:cubicBezTo>
                  <a:pt x="245" y="194"/>
                  <a:pt x="245" y="199"/>
                  <a:pt x="245" y="201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30"/>
                  <a:pt x="240" y="234"/>
                  <a:pt x="234" y="234"/>
                </a:cubicBezTo>
                <a:cubicBezTo>
                  <a:pt x="228" y="234"/>
                  <a:pt x="224" y="230"/>
                  <a:pt x="224" y="224"/>
                </a:cubicBezTo>
                <a:cubicBezTo>
                  <a:pt x="224" y="201"/>
                  <a:pt x="224" y="201"/>
                  <a:pt x="224" y="201"/>
                </a:cubicBezTo>
                <a:cubicBezTo>
                  <a:pt x="224" y="195"/>
                  <a:pt x="219" y="190"/>
                  <a:pt x="213" y="190"/>
                </a:cubicBezTo>
                <a:cubicBezTo>
                  <a:pt x="207" y="190"/>
                  <a:pt x="202" y="195"/>
                  <a:pt x="202" y="201"/>
                </a:cubicBezTo>
                <a:cubicBezTo>
                  <a:pt x="202" y="266"/>
                  <a:pt x="202" y="266"/>
                  <a:pt x="202" y="266"/>
                </a:cubicBezTo>
                <a:cubicBezTo>
                  <a:pt x="202" y="272"/>
                  <a:pt x="198" y="277"/>
                  <a:pt x="192" y="277"/>
                </a:cubicBezTo>
                <a:cubicBezTo>
                  <a:pt x="186" y="277"/>
                  <a:pt x="181" y="272"/>
                  <a:pt x="181" y="266"/>
                </a:cubicBezTo>
                <a:cubicBezTo>
                  <a:pt x="181" y="223"/>
                  <a:pt x="181" y="223"/>
                  <a:pt x="181" y="223"/>
                </a:cubicBezTo>
                <a:cubicBezTo>
                  <a:pt x="178" y="223"/>
                  <a:pt x="175" y="224"/>
                  <a:pt x="173" y="226"/>
                </a:cubicBezTo>
                <a:cubicBezTo>
                  <a:pt x="165" y="231"/>
                  <a:pt x="159" y="245"/>
                  <a:pt x="160" y="258"/>
                </a:cubicBezTo>
                <a:cubicBezTo>
                  <a:pt x="160" y="280"/>
                  <a:pt x="161" y="304"/>
                  <a:pt x="206" y="332"/>
                </a:cubicBezTo>
                <a:cubicBezTo>
                  <a:pt x="211" y="336"/>
                  <a:pt x="213" y="342"/>
                  <a:pt x="210" y="347"/>
                </a:cubicBezTo>
                <a:cubicBezTo>
                  <a:pt x="208" y="350"/>
                  <a:pt x="204" y="352"/>
                  <a:pt x="201" y="352"/>
                </a:cubicBezTo>
                <a:cubicBezTo>
                  <a:pt x="199" y="352"/>
                  <a:pt x="197" y="352"/>
                  <a:pt x="195" y="351"/>
                </a:cubicBezTo>
                <a:cubicBezTo>
                  <a:pt x="145" y="319"/>
                  <a:pt x="139" y="289"/>
                  <a:pt x="138" y="258"/>
                </a:cubicBezTo>
                <a:cubicBezTo>
                  <a:pt x="138" y="238"/>
                  <a:pt x="147" y="217"/>
                  <a:pt x="161" y="208"/>
                </a:cubicBezTo>
                <a:cubicBezTo>
                  <a:pt x="167" y="204"/>
                  <a:pt x="174" y="202"/>
                  <a:pt x="181" y="202"/>
                </a:cubicBezTo>
                <a:cubicBezTo>
                  <a:pt x="181" y="201"/>
                  <a:pt x="181" y="201"/>
                  <a:pt x="181" y="201"/>
                </a:cubicBezTo>
                <a:cubicBezTo>
                  <a:pt x="181" y="183"/>
                  <a:pt x="195" y="169"/>
                  <a:pt x="213" y="169"/>
                </a:cubicBezTo>
                <a:cubicBezTo>
                  <a:pt x="219" y="169"/>
                  <a:pt x="225" y="171"/>
                  <a:pt x="229" y="174"/>
                </a:cubicBezTo>
                <a:cubicBezTo>
                  <a:pt x="235" y="165"/>
                  <a:pt x="244" y="159"/>
                  <a:pt x="255" y="159"/>
                </a:cubicBezTo>
                <a:cubicBezTo>
                  <a:pt x="267" y="159"/>
                  <a:pt x="277" y="165"/>
                  <a:pt x="283" y="174"/>
                </a:cubicBezTo>
                <a:cubicBezTo>
                  <a:pt x="287" y="171"/>
                  <a:pt x="292" y="169"/>
                  <a:pt x="297" y="169"/>
                </a:cubicBezTo>
                <a:cubicBezTo>
                  <a:pt x="313" y="169"/>
                  <a:pt x="325" y="179"/>
                  <a:pt x="329" y="193"/>
                </a:cubicBezTo>
                <a:cubicBezTo>
                  <a:pt x="332" y="192"/>
                  <a:pt x="335" y="191"/>
                  <a:pt x="339" y="191"/>
                </a:cubicBezTo>
                <a:cubicBezTo>
                  <a:pt x="357" y="191"/>
                  <a:pt x="373" y="205"/>
                  <a:pt x="373" y="223"/>
                </a:cubicBezTo>
                <a:cubicBezTo>
                  <a:pt x="373" y="265"/>
                  <a:pt x="373" y="265"/>
                  <a:pt x="373" y="265"/>
                </a:cubicBezTo>
                <a:cubicBezTo>
                  <a:pt x="373" y="267"/>
                  <a:pt x="374" y="314"/>
                  <a:pt x="347" y="3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5" name="Group 146"/>
          <p:cNvGrpSpPr>
            <a:grpSpLocks noChangeAspect="1"/>
          </p:cNvGrpSpPr>
          <p:nvPr/>
        </p:nvGrpSpPr>
        <p:grpSpPr bwMode="auto">
          <a:xfrm>
            <a:off x="7920526" y="2051054"/>
            <a:ext cx="368121" cy="367041"/>
            <a:chOff x="4468" y="1187"/>
            <a:chExt cx="341" cy="340"/>
          </a:xfrm>
          <a:solidFill>
            <a:schemeClr val="accent2"/>
          </a:solidFill>
        </p:grpSpPr>
        <p:sp>
          <p:nvSpPr>
            <p:cNvPr id="286" name="Freeform 147"/>
            <p:cNvSpPr>
              <a:spLocks noEditPoints="1"/>
            </p:cNvSpPr>
            <p:nvPr/>
          </p:nvSpPr>
          <p:spPr bwMode="auto">
            <a:xfrm>
              <a:off x="4468" y="118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148"/>
            <p:cNvSpPr>
              <a:spLocks/>
            </p:cNvSpPr>
            <p:nvPr/>
          </p:nvSpPr>
          <p:spPr bwMode="auto">
            <a:xfrm>
              <a:off x="4560" y="1293"/>
              <a:ext cx="157" cy="128"/>
            </a:xfrm>
            <a:custGeom>
              <a:avLst/>
              <a:gdLst>
                <a:gd name="T0" fmla="*/ 209 w 236"/>
                <a:gd name="T1" fmla="*/ 187 h 193"/>
                <a:gd name="T2" fmla="*/ 201 w 236"/>
                <a:gd name="T3" fmla="*/ 191 h 193"/>
                <a:gd name="T4" fmla="*/ 194 w 236"/>
                <a:gd name="T5" fmla="*/ 188 h 193"/>
                <a:gd name="T6" fmla="*/ 193 w 236"/>
                <a:gd name="T7" fmla="*/ 173 h 193"/>
                <a:gd name="T8" fmla="*/ 214 w 236"/>
                <a:gd name="T9" fmla="*/ 106 h 193"/>
                <a:gd name="T10" fmla="*/ 214 w 236"/>
                <a:gd name="T11" fmla="*/ 64 h 193"/>
                <a:gd name="T12" fmla="*/ 201 w 236"/>
                <a:gd name="T13" fmla="*/ 53 h 193"/>
                <a:gd name="T14" fmla="*/ 192 w 236"/>
                <a:gd name="T15" fmla="*/ 67 h 193"/>
                <a:gd name="T16" fmla="*/ 182 w 236"/>
                <a:gd name="T17" fmla="*/ 78 h 193"/>
                <a:gd name="T18" fmla="*/ 171 w 236"/>
                <a:gd name="T19" fmla="*/ 67 h 193"/>
                <a:gd name="T20" fmla="*/ 171 w 236"/>
                <a:gd name="T21" fmla="*/ 42 h 193"/>
                <a:gd name="T22" fmla="*/ 159 w 236"/>
                <a:gd name="T23" fmla="*/ 32 h 193"/>
                <a:gd name="T24" fmla="*/ 150 w 236"/>
                <a:gd name="T25" fmla="*/ 45 h 193"/>
                <a:gd name="T26" fmla="*/ 150 w 236"/>
                <a:gd name="T27" fmla="*/ 65 h 193"/>
                <a:gd name="T28" fmla="*/ 139 w 236"/>
                <a:gd name="T29" fmla="*/ 75 h 193"/>
                <a:gd name="T30" fmla="*/ 128 w 236"/>
                <a:gd name="T31" fmla="*/ 65 h 193"/>
                <a:gd name="T32" fmla="*/ 128 w 236"/>
                <a:gd name="T33" fmla="*/ 31 h 193"/>
                <a:gd name="T34" fmla="*/ 117 w 236"/>
                <a:gd name="T35" fmla="*/ 21 h 193"/>
                <a:gd name="T36" fmla="*/ 107 w 236"/>
                <a:gd name="T37" fmla="*/ 34 h 193"/>
                <a:gd name="T38" fmla="*/ 107 w 236"/>
                <a:gd name="T39" fmla="*/ 42 h 193"/>
                <a:gd name="T40" fmla="*/ 107 w 236"/>
                <a:gd name="T41" fmla="*/ 65 h 193"/>
                <a:gd name="T42" fmla="*/ 96 w 236"/>
                <a:gd name="T43" fmla="*/ 75 h 193"/>
                <a:gd name="T44" fmla="*/ 86 w 236"/>
                <a:gd name="T45" fmla="*/ 65 h 193"/>
                <a:gd name="T46" fmla="*/ 86 w 236"/>
                <a:gd name="T47" fmla="*/ 42 h 193"/>
                <a:gd name="T48" fmla="*/ 75 w 236"/>
                <a:gd name="T49" fmla="*/ 31 h 193"/>
                <a:gd name="T50" fmla="*/ 64 w 236"/>
                <a:gd name="T51" fmla="*/ 42 h 193"/>
                <a:gd name="T52" fmla="*/ 64 w 236"/>
                <a:gd name="T53" fmla="*/ 107 h 193"/>
                <a:gd name="T54" fmla="*/ 54 w 236"/>
                <a:gd name="T55" fmla="*/ 118 h 193"/>
                <a:gd name="T56" fmla="*/ 43 w 236"/>
                <a:gd name="T57" fmla="*/ 107 h 193"/>
                <a:gd name="T58" fmla="*/ 43 w 236"/>
                <a:gd name="T59" fmla="*/ 64 h 193"/>
                <a:gd name="T60" fmla="*/ 35 w 236"/>
                <a:gd name="T61" fmla="*/ 67 h 193"/>
                <a:gd name="T62" fmla="*/ 22 w 236"/>
                <a:gd name="T63" fmla="*/ 99 h 193"/>
                <a:gd name="T64" fmla="*/ 68 w 236"/>
                <a:gd name="T65" fmla="*/ 173 h 193"/>
                <a:gd name="T66" fmla="*/ 72 w 236"/>
                <a:gd name="T67" fmla="*/ 188 h 193"/>
                <a:gd name="T68" fmla="*/ 63 w 236"/>
                <a:gd name="T69" fmla="*/ 193 h 193"/>
                <a:gd name="T70" fmla="*/ 57 w 236"/>
                <a:gd name="T71" fmla="*/ 192 h 193"/>
                <a:gd name="T72" fmla="*/ 0 w 236"/>
                <a:gd name="T73" fmla="*/ 99 h 193"/>
                <a:gd name="T74" fmla="*/ 23 w 236"/>
                <a:gd name="T75" fmla="*/ 49 h 193"/>
                <a:gd name="T76" fmla="*/ 43 w 236"/>
                <a:gd name="T77" fmla="*/ 43 h 193"/>
                <a:gd name="T78" fmla="*/ 43 w 236"/>
                <a:gd name="T79" fmla="*/ 42 h 193"/>
                <a:gd name="T80" fmla="*/ 75 w 236"/>
                <a:gd name="T81" fmla="*/ 10 h 193"/>
                <a:gd name="T82" fmla="*/ 91 w 236"/>
                <a:gd name="T83" fmla="*/ 15 h 193"/>
                <a:gd name="T84" fmla="*/ 117 w 236"/>
                <a:gd name="T85" fmla="*/ 0 h 193"/>
                <a:gd name="T86" fmla="*/ 145 w 236"/>
                <a:gd name="T87" fmla="*/ 15 h 193"/>
                <a:gd name="T88" fmla="*/ 159 w 236"/>
                <a:gd name="T89" fmla="*/ 10 h 193"/>
                <a:gd name="T90" fmla="*/ 191 w 236"/>
                <a:gd name="T91" fmla="*/ 34 h 193"/>
                <a:gd name="T92" fmla="*/ 201 w 236"/>
                <a:gd name="T93" fmla="*/ 32 h 193"/>
                <a:gd name="T94" fmla="*/ 235 w 236"/>
                <a:gd name="T95" fmla="*/ 64 h 193"/>
                <a:gd name="T96" fmla="*/ 235 w 236"/>
                <a:gd name="T97" fmla="*/ 106 h 193"/>
                <a:gd name="T98" fmla="*/ 209 w 236"/>
                <a:gd name="T99" fmla="*/ 18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6" h="193">
                  <a:moveTo>
                    <a:pt x="209" y="187"/>
                  </a:moveTo>
                  <a:cubicBezTo>
                    <a:pt x="207" y="189"/>
                    <a:pt x="204" y="191"/>
                    <a:pt x="201" y="191"/>
                  </a:cubicBezTo>
                  <a:cubicBezTo>
                    <a:pt x="199" y="191"/>
                    <a:pt x="196" y="190"/>
                    <a:pt x="194" y="188"/>
                  </a:cubicBezTo>
                  <a:cubicBezTo>
                    <a:pt x="190" y="184"/>
                    <a:pt x="189" y="178"/>
                    <a:pt x="193" y="173"/>
                  </a:cubicBezTo>
                  <a:cubicBezTo>
                    <a:pt x="215" y="148"/>
                    <a:pt x="214" y="107"/>
                    <a:pt x="214" y="106"/>
                  </a:cubicBezTo>
                  <a:cubicBezTo>
                    <a:pt x="214" y="64"/>
                    <a:pt x="214" y="64"/>
                    <a:pt x="214" y="64"/>
                  </a:cubicBezTo>
                  <a:cubicBezTo>
                    <a:pt x="214" y="58"/>
                    <a:pt x="207" y="53"/>
                    <a:pt x="201" y="53"/>
                  </a:cubicBezTo>
                  <a:cubicBezTo>
                    <a:pt x="196" y="53"/>
                    <a:pt x="192" y="61"/>
                    <a:pt x="192" y="67"/>
                  </a:cubicBezTo>
                  <a:cubicBezTo>
                    <a:pt x="192" y="73"/>
                    <a:pt x="188" y="78"/>
                    <a:pt x="182" y="78"/>
                  </a:cubicBezTo>
                  <a:cubicBezTo>
                    <a:pt x="176" y="78"/>
                    <a:pt x="171" y="73"/>
                    <a:pt x="171" y="67"/>
                  </a:cubicBezTo>
                  <a:cubicBezTo>
                    <a:pt x="171" y="63"/>
                    <a:pt x="171" y="42"/>
                    <a:pt x="171" y="42"/>
                  </a:cubicBezTo>
                  <a:cubicBezTo>
                    <a:pt x="171" y="36"/>
                    <a:pt x="166" y="32"/>
                    <a:pt x="159" y="32"/>
                  </a:cubicBezTo>
                  <a:cubicBezTo>
                    <a:pt x="154" y="32"/>
                    <a:pt x="150" y="39"/>
                    <a:pt x="150" y="45"/>
                  </a:cubicBezTo>
                  <a:cubicBezTo>
                    <a:pt x="150" y="65"/>
                    <a:pt x="150" y="65"/>
                    <a:pt x="150" y="65"/>
                  </a:cubicBezTo>
                  <a:cubicBezTo>
                    <a:pt x="150" y="71"/>
                    <a:pt x="145" y="75"/>
                    <a:pt x="139" y="75"/>
                  </a:cubicBezTo>
                  <a:cubicBezTo>
                    <a:pt x="133" y="75"/>
                    <a:pt x="128" y="71"/>
                    <a:pt x="128" y="65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28" y="26"/>
                    <a:pt x="123" y="21"/>
                    <a:pt x="117" y="21"/>
                  </a:cubicBezTo>
                  <a:cubicBezTo>
                    <a:pt x="111" y="21"/>
                    <a:pt x="107" y="28"/>
                    <a:pt x="107" y="34"/>
                  </a:cubicBezTo>
                  <a:cubicBezTo>
                    <a:pt x="107" y="35"/>
                    <a:pt x="107" y="40"/>
                    <a:pt x="107" y="42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71"/>
                    <a:pt x="102" y="75"/>
                    <a:pt x="96" y="75"/>
                  </a:cubicBezTo>
                  <a:cubicBezTo>
                    <a:pt x="90" y="75"/>
                    <a:pt x="86" y="71"/>
                    <a:pt x="86" y="65"/>
                  </a:cubicBezTo>
                  <a:cubicBezTo>
                    <a:pt x="86" y="42"/>
                    <a:pt x="86" y="42"/>
                    <a:pt x="86" y="42"/>
                  </a:cubicBezTo>
                  <a:cubicBezTo>
                    <a:pt x="86" y="36"/>
                    <a:pt x="81" y="31"/>
                    <a:pt x="75" y="31"/>
                  </a:cubicBezTo>
                  <a:cubicBezTo>
                    <a:pt x="69" y="31"/>
                    <a:pt x="64" y="36"/>
                    <a:pt x="64" y="42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113"/>
                    <a:pt x="60" y="118"/>
                    <a:pt x="54" y="118"/>
                  </a:cubicBezTo>
                  <a:cubicBezTo>
                    <a:pt x="48" y="118"/>
                    <a:pt x="43" y="113"/>
                    <a:pt x="43" y="107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0" y="64"/>
                    <a:pt x="37" y="65"/>
                    <a:pt x="35" y="67"/>
                  </a:cubicBezTo>
                  <a:cubicBezTo>
                    <a:pt x="27" y="72"/>
                    <a:pt x="21" y="86"/>
                    <a:pt x="22" y="99"/>
                  </a:cubicBezTo>
                  <a:cubicBezTo>
                    <a:pt x="22" y="121"/>
                    <a:pt x="23" y="145"/>
                    <a:pt x="68" y="173"/>
                  </a:cubicBezTo>
                  <a:cubicBezTo>
                    <a:pt x="73" y="177"/>
                    <a:pt x="75" y="183"/>
                    <a:pt x="72" y="188"/>
                  </a:cubicBezTo>
                  <a:cubicBezTo>
                    <a:pt x="70" y="191"/>
                    <a:pt x="66" y="193"/>
                    <a:pt x="63" y="193"/>
                  </a:cubicBezTo>
                  <a:cubicBezTo>
                    <a:pt x="61" y="193"/>
                    <a:pt x="59" y="193"/>
                    <a:pt x="57" y="192"/>
                  </a:cubicBezTo>
                  <a:cubicBezTo>
                    <a:pt x="7" y="160"/>
                    <a:pt x="1" y="130"/>
                    <a:pt x="0" y="99"/>
                  </a:cubicBezTo>
                  <a:cubicBezTo>
                    <a:pt x="0" y="79"/>
                    <a:pt x="9" y="58"/>
                    <a:pt x="23" y="49"/>
                  </a:cubicBezTo>
                  <a:cubicBezTo>
                    <a:pt x="29" y="45"/>
                    <a:pt x="36" y="43"/>
                    <a:pt x="43" y="43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24"/>
                    <a:pt x="57" y="10"/>
                    <a:pt x="75" y="10"/>
                  </a:cubicBezTo>
                  <a:cubicBezTo>
                    <a:pt x="81" y="10"/>
                    <a:pt x="87" y="12"/>
                    <a:pt x="91" y="15"/>
                  </a:cubicBezTo>
                  <a:cubicBezTo>
                    <a:pt x="97" y="6"/>
                    <a:pt x="106" y="0"/>
                    <a:pt x="117" y="0"/>
                  </a:cubicBezTo>
                  <a:cubicBezTo>
                    <a:pt x="129" y="0"/>
                    <a:pt x="139" y="6"/>
                    <a:pt x="145" y="15"/>
                  </a:cubicBezTo>
                  <a:cubicBezTo>
                    <a:pt x="149" y="12"/>
                    <a:pt x="154" y="10"/>
                    <a:pt x="159" y="10"/>
                  </a:cubicBezTo>
                  <a:cubicBezTo>
                    <a:pt x="175" y="10"/>
                    <a:pt x="187" y="20"/>
                    <a:pt x="191" y="34"/>
                  </a:cubicBezTo>
                  <a:cubicBezTo>
                    <a:pt x="194" y="33"/>
                    <a:pt x="197" y="32"/>
                    <a:pt x="201" y="32"/>
                  </a:cubicBezTo>
                  <a:cubicBezTo>
                    <a:pt x="219" y="32"/>
                    <a:pt x="235" y="46"/>
                    <a:pt x="235" y="64"/>
                  </a:cubicBezTo>
                  <a:cubicBezTo>
                    <a:pt x="235" y="106"/>
                    <a:pt x="235" y="106"/>
                    <a:pt x="235" y="106"/>
                  </a:cubicBezTo>
                  <a:cubicBezTo>
                    <a:pt x="235" y="108"/>
                    <a:pt x="236" y="155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8" name="Freeform 152"/>
          <p:cNvSpPr>
            <a:spLocks noChangeAspect="1" noEditPoints="1"/>
          </p:cNvSpPr>
          <p:nvPr/>
        </p:nvSpPr>
        <p:spPr bwMode="auto">
          <a:xfrm>
            <a:off x="8420251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3 w 512"/>
              <a:gd name="T11" fmla="*/ 239 h 512"/>
              <a:gd name="T12" fmla="*/ 373 w 512"/>
              <a:gd name="T13" fmla="*/ 281 h 512"/>
              <a:gd name="T14" fmla="*/ 339 w 512"/>
              <a:gd name="T15" fmla="*/ 313 h 512"/>
              <a:gd name="T16" fmla="*/ 325 w 512"/>
              <a:gd name="T17" fmla="*/ 309 h 512"/>
              <a:gd name="T18" fmla="*/ 297 w 512"/>
              <a:gd name="T19" fmla="*/ 323 h 512"/>
              <a:gd name="T20" fmla="*/ 287 w 512"/>
              <a:gd name="T21" fmla="*/ 321 h 512"/>
              <a:gd name="T22" fmla="*/ 255 w 512"/>
              <a:gd name="T23" fmla="*/ 344 h 512"/>
              <a:gd name="T24" fmla="*/ 245 w 512"/>
              <a:gd name="T25" fmla="*/ 342 h 512"/>
              <a:gd name="T26" fmla="*/ 245 w 512"/>
              <a:gd name="T27" fmla="*/ 367 h 512"/>
              <a:gd name="T28" fmla="*/ 213 w 512"/>
              <a:gd name="T29" fmla="*/ 399 h 512"/>
              <a:gd name="T30" fmla="*/ 181 w 512"/>
              <a:gd name="T31" fmla="*/ 367 h 512"/>
              <a:gd name="T32" fmla="*/ 181 w 512"/>
              <a:gd name="T33" fmla="*/ 268 h 512"/>
              <a:gd name="T34" fmla="*/ 172 w 512"/>
              <a:gd name="T35" fmla="*/ 294 h 512"/>
              <a:gd name="T36" fmla="*/ 171 w 512"/>
              <a:gd name="T37" fmla="*/ 297 h 512"/>
              <a:gd name="T38" fmla="*/ 152 w 512"/>
              <a:gd name="T39" fmla="*/ 313 h 512"/>
              <a:gd name="T40" fmla="*/ 127 w 512"/>
              <a:gd name="T41" fmla="*/ 311 h 512"/>
              <a:gd name="T42" fmla="*/ 116 w 512"/>
              <a:gd name="T43" fmla="*/ 267 h 512"/>
              <a:gd name="T44" fmla="*/ 196 w 512"/>
              <a:gd name="T45" fmla="*/ 153 h 512"/>
              <a:gd name="T46" fmla="*/ 211 w 512"/>
              <a:gd name="T47" fmla="*/ 156 h 512"/>
              <a:gd name="T48" fmla="*/ 207 w 512"/>
              <a:gd name="T49" fmla="*/ 171 h 512"/>
              <a:gd name="T50" fmla="*/ 136 w 512"/>
              <a:gd name="T51" fmla="*/ 274 h 512"/>
              <a:gd name="T52" fmla="*/ 136 w 512"/>
              <a:gd name="T53" fmla="*/ 275 h 512"/>
              <a:gd name="T54" fmla="*/ 137 w 512"/>
              <a:gd name="T55" fmla="*/ 292 h 512"/>
              <a:gd name="T56" fmla="*/ 151 w 512"/>
              <a:gd name="T57" fmla="*/ 288 h 512"/>
              <a:gd name="T58" fmla="*/ 187 w 512"/>
              <a:gd name="T59" fmla="*/ 229 h 512"/>
              <a:gd name="T60" fmla="*/ 197 w 512"/>
              <a:gd name="T61" fmla="*/ 230 h 512"/>
              <a:gd name="T62" fmla="*/ 202 w 512"/>
              <a:gd name="T63" fmla="*/ 239 h 512"/>
              <a:gd name="T64" fmla="*/ 202 w 512"/>
              <a:gd name="T65" fmla="*/ 367 h 512"/>
              <a:gd name="T66" fmla="*/ 213 w 512"/>
              <a:gd name="T67" fmla="*/ 377 h 512"/>
              <a:gd name="T68" fmla="*/ 224 w 512"/>
              <a:gd name="T69" fmla="*/ 367 h 512"/>
              <a:gd name="T70" fmla="*/ 224 w 512"/>
              <a:gd name="T71" fmla="*/ 277 h 512"/>
              <a:gd name="T72" fmla="*/ 234 w 512"/>
              <a:gd name="T73" fmla="*/ 266 h 512"/>
              <a:gd name="T74" fmla="*/ 245 w 512"/>
              <a:gd name="T75" fmla="*/ 277 h 512"/>
              <a:gd name="T76" fmla="*/ 245 w 512"/>
              <a:gd name="T77" fmla="*/ 309 h 512"/>
              <a:gd name="T78" fmla="*/ 255 w 512"/>
              <a:gd name="T79" fmla="*/ 323 h 512"/>
              <a:gd name="T80" fmla="*/ 266 w 512"/>
              <a:gd name="T81" fmla="*/ 313 h 512"/>
              <a:gd name="T82" fmla="*/ 266 w 512"/>
              <a:gd name="T83" fmla="*/ 277 h 512"/>
              <a:gd name="T84" fmla="*/ 277 w 512"/>
              <a:gd name="T85" fmla="*/ 266 h 512"/>
              <a:gd name="T86" fmla="*/ 288 w 512"/>
              <a:gd name="T87" fmla="*/ 277 h 512"/>
              <a:gd name="T88" fmla="*/ 288 w 512"/>
              <a:gd name="T89" fmla="*/ 290 h 512"/>
              <a:gd name="T90" fmla="*/ 297 w 512"/>
              <a:gd name="T91" fmla="*/ 302 h 512"/>
              <a:gd name="T92" fmla="*/ 309 w 512"/>
              <a:gd name="T93" fmla="*/ 292 h 512"/>
              <a:gd name="T94" fmla="*/ 309 w 512"/>
              <a:gd name="T95" fmla="*/ 277 h 512"/>
              <a:gd name="T96" fmla="*/ 320 w 512"/>
              <a:gd name="T97" fmla="*/ 266 h 512"/>
              <a:gd name="T98" fmla="*/ 327 w 512"/>
              <a:gd name="T99" fmla="*/ 270 h 512"/>
              <a:gd name="T100" fmla="*/ 331 w 512"/>
              <a:gd name="T101" fmla="*/ 278 h 512"/>
              <a:gd name="T102" fmla="*/ 339 w 512"/>
              <a:gd name="T103" fmla="*/ 292 h 512"/>
              <a:gd name="T104" fmla="*/ 352 w 512"/>
              <a:gd name="T105" fmla="*/ 281 h 512"/>
              <a:gd name="T106" fmla="*/ 352 w 512"/>
              <a:gd name="T107" fmla="*/ 239 h 512"/>
              <a:gd name="T108" fmla="*/ 331 w 512"/>
              <a:gd name="T109" fmla="*/ 171 h 512"/>
              <a:gd name="T110" fmla="*/ 332 w 512"/>
              <a:gd name="T111" fmla="*/ 156 h 512"/>
              <a:gd name="T112" fmla="*/ 347 w 512"/>
              <a:gd name="T113" fmla="*/ 157 h 512"/>
              <a:gd name="T114" fmla="*/ 373 w 512"/>
              <a:gd name="T115" fmla="*/ 23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239"/>
                </a:moveTo>
                <a:cubicBezTo>
                  <a:pt x="373" y="281"/>
                  <a:pt x="373" y="281"/>
                  <a:pt x="373" y="281"/>
                </a:cubicBezTo>
                <a:cubicBezTo>
                  <a:pt x="373" y="299"/>
                  <a:pt x="357" y="313"/>
                  <a:pt x="339" y="313"/>
                </a:cubicBezTo>
                <a:cubicBezTo>
                  <a:pt x="334" y="313"/>
                  <a:pt x="329" y="312"/>
                  <a:pt x="325" y="309"/>
                </a:cubicBezTo>
                <a:cubicBezTo>
                  <a:pt x="319" y="317"/>
                  <a:pt x="309" y="323"/>
                  <a:pt x="297" y="323"/>
                </a:cubicBezTo>
                <a:cubicBezTo>
                  <a:pt x="293" y="323"/>
                  <a:pt x="290" y="322"/>
                  <a:pt x="287" y="321"/>
                </a:cubicBezTo>
                <a:cubicBezTo>
                  <a:pt x="283" y="334"/>
                  <a:pt x="270" y="344"/>
                  <a:pt x="255" y="344"/>
                </a:cubicBezTo>
                <a:cubicBezTo>
                  <a:pt x="251" y="344"/>
                  <a:pt x="248" y="343"/>
                  <a:pt x="245" y="342"/>
                </a:cubicBezTo>
                <a:cubicBezTo>
                  <a:pt x="245" y="367"/>
                  <a:pt x="245" y="367"/>
                  <a:pt x="245" y="367"/>
                </a:cubicBezTo>
                <a:cubicBezTo>
                  <a:pt x="245" y="384"/>
                  <a:pt x="231" y="399"/>
                  <a:pt x="213" y="399"/>
                </a:cubicBezTo>
                <a:cubicBezTo>
                  <a:pt x="195" y="399"/>
                  <a:pt x="181" y="384"/>
                  <a:pt x="181" y="367"/>
                </a:cubicBezTo>
                <a:cubicBezTo>
                  <a:pt x="181" y="268"/>
                  <a:pt x="181" y="268"/>
                  <a:pt x="181" y="268"/>
                </a:cubicBezTo>
                <a:cubicBezTo>
                  <a:pt x="177" y="277"/>
                  <a:pt x="173" y="287"/>
                  <a:pt x="172" y="294"/>
                </a:cubicBezTo>
                <a:cubicBezTo>
                  <a:pt x="171" y="295"/>
                  <a:pt x="171" y="296"/>
                  <a:pt x="171" y="297"/>
                </a:cubicBezTo>
                <a:cubicBezTo>
                  <a:pt x="167" y="304"/>
                  <a:pt x="160" y="310"/>
                  <a:pt x="152" y="313"/>
                </a:cubicBezTo>
                <a:cubicBezTo>
                  <a:pt x="144" y="316"/>
                  <a:pt x="135" y="315"/>
                  <a:pt x="127" y="311"/>
                </a:cubicBezTo>
                <a:cubicBezTo>
                  <a:pt x="111" y="303"/>
                  <a:pt x="109" y="282"/>
                  <a:pt x="116" y="267"/>
                </a:cubicBezTo>
                <a:cubicBezTo>
                  <a:pt x="119" y="258"/>
                  <a:pt x="148" y="183"/>
                  <a:pt x="196" y="153"/>
                </a:cubicBezTo>
                <a:cubicBezTo>
                  <a:pt x="201" y="150"/>
                  <a:pt x="207" y="151"/>
                  <a:pt x="211" y="156"/>
                </a:cubicBezTo>
                <a:cubicBezTo>
                  <a:pt x="214" y="161"/>
                  <a:pt x="212" y="168"/>
                  <a:pt x="207" y="171"/>
                </a:cubicBezTo>
                <a:cubicBezTo>
                  <a:pt x="164" y="198"/>
                  <a:pt x="136" y="274"/>
                  <a:pt x="136" y="274"/>
                </a:cubicBezTo>
                <a:cubicBezTo>
                  <a:pt x="136" y="275"/>
                  <a:pt x="136" y="275"/>
                  <a:pt x="136" y="275"/>
                </a:cubicBezTo>
                <a:cubicBezTo>
                  <a:pt x="133" y="281"/>
                  <a:pt x="133" y="290"/>
                  <a:pt x="137" y="292"/>
                </a:cubicBezTo>
                <a:cubicBezTo>
                  <a:pt x="142" y="295"/>
                  <a:pt x="148" y="293"/>
                  <a:pt x="151" y="288"/>
                </a:cubicBezTo>
                <a:cubicBezTo>
                  <a:pt x="153" y="279"/>
                  <a:pt x="163" y="241"/>
                  <a:pt x="187" y="229"/>
                </a:cubicBezTo>
                <a:cubicBezTo>
                  <a:pt x="190" y="227"/>
                  <a:pt x="194" y="228"/>
                  <a:pt x="197" y="230"/>
                </a:cubicBezTo>
                <a:cubicBezTo>
                  <a:pt x="200" y="231"/>
                  <a:pt x="202" y="235"/>
                  <a:pt x="202" y="239"/>
                </a:cubicBezTo>
                <a:cubicBezTo>
                  <a:pt x="202" y="367"/>
                  <a:pt x="202" y="367"/>
                  <a:pt x="202" y="367"/>
                </a:cubicBezTo>
                <a:cubicBezTo>
                  <a:pt x="202" y="373"/>
                  <a:pt x="207" y="377"/>
                  <a:pt x="213" y="377"/>
                </a:cubicBezTo>
                <a:cubicBezTo>
                  <a:pt x="219" y="377"/>
                  <a:pt x="224" y="373"/>
                  <a:pt x="224" y="36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271"/>
                  <a:pt x="228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315"/>
                  <a:pt x="250" y="323"/>
                  <a:pt x="255" y="323"/>
                </a:cubicBezTo>
                <a:cubicBezTo>
                  <a:pt x="260" y="323"/>
                  <a:pt x="266" y="320"/>
                  <a:pt x="266" y="313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66" y="271"/>
                  <a:pt x="271" y="266"/>
                  <a:pt x="277" y="266"/>
                </a:cubicBezTo>
                <a:cubicBezTo>
                  <a:pt x="283" y="266"/>
                  <a:pt x="288" y="271"/>
                  <a:pt x="288" y="277"/>
                </a:cubicBezTo>
                <a:cubicBezTo>
                  <a:pt x="288" y="290"/>
                  <a:pt x="288" y="290"/>
                  <a:pt x="288" y="290"/>
                </a:cubicBezTo>
                <a:cubicBezTo>
                  <a:pt x="288" y="295"/>
                  <a:pt x="293" y="302"/>
                  <a:pt x="297" y="302"/>
                </a:cubicBezTo>
                <a:cubicBezTo>
                  <a:pt x="303" y="302"/>
                  <a:pt x="309" y="298"/>
                  <a:pt x="309" y="292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14" y="266"/>
                  <a:pt x="320" y="266"/>
                </a:cubicBezTo>
                <a:cubicBezTo>
                  <a:pt x="323" y="266"/>
                  <a:pt x="326" y="268"/>
                  <a:pt x="327" y="270"/>
                </a:cubicBezTo>
                <a:cubicBezTo>
                  <a:pt x="330" y="272"/>
                  <a:pt x="331" y="274"/>
                  <a:pt x="331" y="278"/>
                </a:cubicBezTo>
                <a:cubicBezTo>
                  <a:pt x="331" y="284"/>
                  <a:pt x="335" y="292"/>
                  <a:pt x="339" y="292"/>
                </a:cubicBezTo>
                <a:cubicBezTo>
                  <a:pt x="346" y="292"/>
                  <a:pt x="352" y="287"/>
                  <a:pt x="352" y="281"/>
                </a:cubicBezTo>
                <a:cubicBezTo>
                  <a:pt x="352" y="239"/>
                  <a:pt x="352" y="239"/>
                  <a:pt x="352" y="239"/>
                </a:cubicBezTo>
                <a:cubicBezTo>
                  <a:pt x="352" y="238"/>
                  <a:pt x="353" y="197"/>
                  <a:pt x="331" y="171"/>
                </a:cubicBezTo>
                <a:cubicBezTo>
                  <a:pt x="327" y="166"/>
                  <a:pt x="327" y="160"/>
                  <a:pt x="332" y="156"/>
                </a:cubicBezTo>
                <a:cubicBezTo>
                  <a:pt x="337" y="152"/>
                  <a:pt x="344" y="153"/>
                  <a:pt x="347" y="157"/>
                </a:cubicBezTo>
                <a:cubicBezTo>
                  <a:pt x="376" y="189"/>
                  <a:pt x="373" y="237"/>
                  <a:pt x="373" y="2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9" name="Group 155"/>
          <p:cNvGrpSpPr>
            <a:grpSpLocks noChangeAspect="1"/>
          </p:cNvGrpSpPr>
          <p:nvPr/>
        </p:nvGrpSpPr>
        <p:grpSpPr bwMode="auto">
          <a:xfrm>
            <a:off x="8918896" y="2051054"/>
            <a:ext cx="367041" cy="368121"/>
            <a:chOff x="4854" y="1018"/>
            <a:chExt cx="340" cy="341"/>
          </a:xfrm>
          <a:solidFill>
            <a:schemeClr val="accent2"/>
          </a:solidFill>
        </p:grpSpPr>
        <p:sp>
          <p:nvSpPr>
            <p:cNvPr id="290" name="Line 156"/>
            <p:cNvSpPr>
              <a:spLocks noChangeShapeType="1"/>
            </p:cNvSpPr>
            <p:nvPr/>
          </p:nvSpPr>
          <p:spPr bwMode="auto">
            <a:xfrm>
              <a:off x="5074" y="1161"/>
              <a:ext cx="0" cy="0"/>
            </a:xfrm>
            <a:prstGeom prst="line">
              <a:avLst/>
            </a:prstGeom>
            <a:grpFill/>
            <a:ln w="2222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157"/>
            <p:cNvSpPr>
              <a:spLocks/>
            </p:cNvSpPr>
            <p:nvPr/>
          </p:nvSpPr>
          <p:spPr bwMode="auto">
            <a:xfrm>
              <a:off x="4926" y="1118"/>
              <a:ext cx="178" cy="166"/>
            </a:xfrm>
            <a:custGeom>
              <a:avLst/>
              <a:gdLst>
                <a:gd name="T0" fmla="*/ 238 w 267"/>
                <a:gd name="T1" fmla="*/ 7 h 249"/>
                <a:gd name="T2" fmla="*/ 223 w 267"/>
                <a:gd name="T3" fmla="*/ 6 h 249"/>
                <a:gd name="T4" fmla="*/ 222 w 267"/>
                <a:gd name="T5" fmla="*/ 21 h 249"/>
                <a:gd name="T6" fmla="*/ 243 w 267"/>
                <a:gd name="T7" fmla="*/ 89 h 249"/>
                <a:gd name="T8" fmla="*/ 243 w 267"/>
                <a:gd name="T9" fmla="*/ 131 h 249"/>
                <a:gd name="T10" fmla="*/ 230 w 267"/>
                <a:gd name="T11" fmla="*/ 142 h 249"/>
                <a:gd name="T12" fmla="*/ 222 w 267"/>
                <a:gd name="T13" fmla="*/ 128 h 249"/>
                <a:gd name="T14" fmla="*/ 218 w 267"/>
                <a:gd name="T15" fmla="*/ 120 h 249"/>
                <a:gd name="T16" fmla="*/ 211 w 267"/>
                <a:gd name="T17" fmla="*/ 116 h 249"/>
                <a:gd name="T18" fmla="*/ 200 w 267"/>
                <a:gd name="T19" fmla="*/ 127 h 249"/>
                <a:gd name="T20" fmla="*/ 200 w 267"/>
                <a:gd name="T21" fmla="*/ 142 h 249"/>
                <a:gd name="T22" fmla="*/ 188 w 267"/>
                <a:gd name="T23" fmla="*/ 152 h 249"/>
                <a:gd name="T24" fmla="*/ 179 w 267"/>
                <a:gd name="T25" fmla="*/ 140 h 249"/>
                <a:gd name="T26" fmla="*/ 179 w 267"/>
                <a:gd name="T27" fmla="*/ 127 h 249"/>
                <a:gd name="T28" fmla="*/ 168 w 267"/>
                <a:gd name="T29" fmla="*/ 116 h 249"/>
                <a:gd name="T30" fmla="*/ 157 w 267"/>
                <a:gd name="T31" fmla="*/ 127 h 249"/>
                <a:gd name="T32" fmla="*/ 157 w 267"/>
                <a:gd name="T33" fmla="*/ 163 h 249"/>
                <a:gd name="T34" fmla="*/ 146 w 267"/>
                <a:gd name="T35" fmla="*/ 173 h 249"/>
                <a:gd name="T36" fmla="*/ 136 w 267"/>
                <a:gd name="T37" fmla="*/ 159 h 249"/>
                <a:gd name="T38" fmla="*/ 136 w 267"/>
                <a:gd name="T39" fmla="*/ 159 h 249"/>
                <a:gd name="T40" fmla="*/ 136 w 267"/>
                <a:gd name="T41" fmla="*/ 127 h 249"/>
                <a:gd name="T42" fmla="*/ 125 w 267"/>
                <a:gd name="T43" fmla="*/ 116 h 249"/>
                <a:gd name="T44" fmla="*/ 115 w 267"/>
                <a:gd name="T45" fmla="*/ 127 h 249"/>
                <a:gd name="T46" fmla="*/ 115 w 267"/>
                <a:gd name="T47" fmla="*/ 217 h 249"/>
                <a:gd name="T48" fmla="*/ 104 w 267"/>
                <a:gd name="T49" fmla="*/ 227 h 249"/>
                <a:gd name="T50" fmla="*/ 93 w 267"/>
                <a:gd name="T51" fmla="*/ 217 h 249"/>
                <a:gd name="T52" fmla="*/ 93 w 267"/>
                <a:gd name="T53" fmla="*/ 89 h 249"/>
                <a:gd name="T54" fmla="*/ 88 w 267"/>
                <a:gd name="T55" fmla="*/ 80 h 249"/>
                <a:gd name="T56" fmla="*/ 78 w 267"/>
                <a:gd name="T57" fmla="*/ 79 h 249"/>
                <a:gd name="T58" fmla="*/ 42 w 267"/>
                <a:gd name="T59" fmla="*/ 138 h 249"/>
                <a:gd name="T60" fmla="*/ 28 w 267"/>
                <a:gd name="T61" fmla="*/ 142 h 249"/>
                <a:gd name="T62" fmla="*/ 27 w 267"/>
                <a:gd name="T63" fmla="*/ 125 h 249"/>
                <a:gd name="T64" fmla="*/ 27 w 267"/>
                <a:gd name="T65" fmla="*/ 124 h 249"/>
                <a:gd name="T66" fmla="*/ 98 w 267"/>
                <a:gd name="T67" fmla="*/ 21 h 249"/>
                <a:gd name="T68" fmla="*/ 102 w 267"/>
                <a:gd name="T69" fmla="*/ 6 h 249"/>
                <a:gd name="T70" fmla="*/ 87 w 267"/>
                <a:gd name="T71" fmla="*/ 3 h 249"/>
                <a:gd name="T72" fmla="*/ 7 w 267"/>
                <a:gd name="T73" fmla="*/ 117 h 249"/>
                <a:gd name="T74" fmla="*/ 18 w 267"/>
                <a:gd name="T75" fmla="*/ 161 h 249"/>
                <a:gd name="T76" fmla="*/ 43 w 267"/>
                <a:gd name="T77" fmla="*/ 163 h 249"/>
                <a:gd name="T78" fmla="*/ 62 w 267"/>
                <a:gd name="T79" fmla="*/ 147 h 249"/>
                <a:gd name="T80" fmla="*/ 63 w 267"/>
                <a:gd name="T81" fmla="*/ 144 h 249"/>
                <a:gd name="T82" fmla="*/ 72 w 267"/>
                <a:gd name="T83" fmla="*/ 118 h 249"/>
                <a:gd name="T84" fmla="*/ 72 w 267"/>
                <a:gd name="T85" fmla="*/ 217 h 249"/>
                <a:gd name="T86" fmla="*/ 104 w 267"/>
                <a:gd name="T87" fmla="*/ 249 h 249"/>
                <a:gd name="T88" fmla="*/ 136 w 267"/>
                <a:gd name="T89" fmla="*/ 217 h 249"/>
                <a:gd name="T90" fmla="*/ 136 w 267"/>
                <a:gd name="T91" fmla="*/ 192 h 249"/>
                <a:gd name="T92" fmla="*/ 146 w 267"/>
                <a:gd name="T93" fmla="*/ 194 h 249"/>
                <a:gd name="T94" fmla="*/ 178 w 267"/>
                <a:gd name="T95" fmla="*/ 171 h 249"/>
                <a:gd name="T96" fmla="*/ 188 w 267"/>
                <a:gd name="T97" fmla="*/ 173 h 249"/>
                <a:gd name="T98" fmla="*/ 216 w 267"/>
                <a:gd name="T99" fmla="*/ 159 h 249"/>
                <a:gd name="T100" fmla="*/ 230 w 267"/>
                <a:gd name="T101" fmla="*/ 163 h 249"/>
                <a:gd name="T102" fmla="*/ 264 w 267"/>
                <a:gd name="T103" fmla="*/ 131 h 249"/>
                <a:gd name="T104" fmla="*/ 264 w 267"/>
                <a:gd name="T105" fmla="*/ 89 h 249"/>
                <a:gd name="T106" fmla="*/ 238 w 267"/>
                <a:gd name="T107" fmla="*/ 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7" h="249">
                  <a:moveTo>
                    <a:pt x="238" y="7"/>
                  </a:moveTo>
                  <a:cubicBezTo>
                    <a:pt x="235" y="3"/>
                    <a:pt x="228" y="2"/>
                    <a:pt x="223" y="6"/>
                  </a:cubicBezTo>
                  <a:cubicBezTo>
                    <a:pt x="218" y="10"/>
                    <a:pt x="218" y="16"/>
                    <a:pt x="222" y="21"/>
                  </a:cubicBezTo>
                  <a:cubicBezTo>
                    <a:pt x="244" y="47"/>
                    <a:pt x="243" y="88"/>
                    <a:pt x="243" y="89"/>
                  </a:cubicBezTo>
                  <a:cubicBezTo>
                    <a:pt x="243" y="131"/>
                    <a:pt x="243" y="131"/>
                    <a:pt x="243" y="131"/>
                  </a:cubicBezTo>
                  <a:cubicBezTo>
                    <a:pt x="243" y="137"/>
                    <a:pt x="237" y="142"/>
                    <a:pt x="230" y="142"/>
                  </a:cubicBezTo>
                  <a:cubicBezTo>
                    <a:pt x="226" y="142"/>
                    <a:pt x="222" y="134"/>
                    <a:pt x="222" y="128"/>
                  </a:cubicBezTo>
                  <a:cubicBezTo>
                    <a:pt x="222" y="124"/>
                    <a:pt x="221" y="122"/>
                    <a:pt x="218" y="120"/>
                  </a:cubicBezTo>
                  <a:cubicBezTo>
                    <a:pt x="217" y="118"/>
                    <a:pt x="214" y="116"/>
                    <a:pt x="211" y="116"/>
                  </a:cubicBezTo>
                  <a:cubicBezTo>
                    <a:pt x="205" y="116"/>
                    <a:pt x="200" y="121"/>
                    <a:pt x="200" y="127"/>
                  </a:cubicBezTo>
                  <a:cubicBezTo>
                    <a:pt x="200" y="142"/>
                    <a:pt x="200" y="142"/>
                    <a:pt x="200" y="142"/>
                  </a:cubicBezTo>
                  <a:cubicBezTo>
                    <a:pt x="200" y="148"/>
                    <a:pt x="194" y="152"/>
                    <a:pt x="188" y="152"/>
                  </a:cubicBezTo>
                  <a:cubicBezTo>
                    <a:pt x="184" y="152"/>
                    <a:pt x="179" y="145"/>
                    <a:pt x="179" y="140"/>
                  </a:cubicBezTo>
                  <a:cubicBezTo>
                    <a:pt x="179" y="127"/>
                    <a:pt x="179" y="127"/>
                    <a:pt x="179" y="127"/>
                  </a:cubicBezTo>
                  <a:cubicBezTo>
                    <a:pt x="179" y="121"/>
                    <a:pt x="174" y="116"/>
                    <a:pt x="168" y="116"/>
                  </a:cubicBezTo>
                  <a:cubicBezTo>
                    <a:pt x="162" y="116"/>
                    <a:pt x="157" y="121"/>
                    <a:pt x="157" y="12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7" y="170"/>
                    <a:pt x="151" y="173"/>
                    <a:pt x="146" y="173"/>
                  </a:cubicBezTo>
                  <a:cubicBezTo>
                    <a:pt x="141" y="173"/>
                    <a:pt x="136" y="165"/>
                    <a:pt x="136" y="159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36" y="121"/>
                    <a:pt x="131" y="116"/>
                    <a:pt x="125" y="116"/>
                  </a:cubicBezTo>
                  <a:cubicBezTo>
                    <a:pt x="119" y="116"/>
                    <a:pt x="115" y="121"/>
                    <a:pt x="115" y="127"/>
                  </a:cubicBezTo>
                  <a:cubicBezTo>
                    <a:pt x="115" y="217"/>
                    <a:pt x="115" y="217"/>
                    <a:pt x="115" y="217"/>
                  </a:cubicBezTo>
                  <a:cubicBezTo>
                    <a:pt x="115" y="223"/>
                    <a:pt x="110" y="227"/>
                    <a:pt x="104" y="227"/>
                  </a:cubicBezTo>
                  <a:cubicBezTo>
                    <a:pt x="98" y="227"/>
                    <a:pt x="93" y="223"/>
                    <a:pt x="93" y="217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3" y="85"/>
                    <a:pt x="91" y="81"/>
                    <a:pt x="88" y="80"/>
                  </a:cubicBezTo>
                  <a:cubicBezTo>
                    <a:pt x="85" y="78"/>
                    <a:pt x="81" y="77"/>
                    <a:pt x="78" y="79"/>
                  </a:cubicBezTo>
                  <a:cubicBezTo>
                    <a:pt x="54" y="91"/>
                    <a:pt x="44" y="129"/>
                    <a:pt x="42" y="138"/>
                  </a:cubicBezTo>
                  <a:cubicBezTo>
                    <a:pt x="39" y="143"/>
                    <a:pt x="33" y="145"/>
                    <a:pt x="28" y="142"/>
                  </a:cubicBezTo>
                  <a:cubicBezTo>
                    <a:pt x="24" y="140"/>
                    <a:pt x="24" y="131"/>
                    <a:pt x="27" y="125"/>
                  </a:cubicBezTo>
                  <a:cubicBezTo>
                    <a:pt x="27" y="125"/>
                    <a:pt x="27" y="125"/>
                    <a:pt x="27" y="124"/>
                  </a:cubicBezTo>
                  <a:cubicBezTo>
                    <a:pt x="27" y="124"/>
                    <a:pt x="55" y="48"/>
                    <a:pt x="98" y="21"/>
                  </a:cubicBezTo>
                  <a:cubicBezTo>
                    <a:pt x="103" y="18"/>
                    <a:pt x="105" y="11"/>
                    <a:pt x="102" y="6"/>
                  </a:cubicBezTo>
                  <a:cubicBezTo>
                    <a:pt x="98" y="1"/>
                    <a:pt x="92" y="0"/>
                    <a:pt x="87" y="3"/>
                  </a:cubicBezTo>
                  <a:cubicBezTo>
                    <a:pt x="39" y="33"/>
                    <a:pt x="10" y="108"/>
                    <a:pt x="7" y="117"/>
                  </a:cubicBezTo>
                  <a:cubicBezTo>
                    <a:pt x="0" y="132"/>
                    <a:pt x="2" y="153"/>
                    <a:pt x="18" y="161"/>
                  </a:cubicBezTo>
                  <a:cubicBezTo>
                    <a:pt x="26" y="165"/>
                    <a:pt x="35" y="166"/>
                    <a:pt x="43" y="163"/>
                  </a:cubicBezTo>
                  <a:cubicBezTo>
                    <a:pt x="51" y="160"/>
                    <a:pt x="58" y="154"/>
                    <a:pt x="62" y="147"/>
                  </a:cubicBezTo>
                  <a:cubicBezTo>
                    <a:pt x="62" y="146"/>
                    <a:pt x="62" y="145"/>
                    <a:pt x="63" y="144"/>
                  </a:cubicBezTo>
                  <a:cubicBezTo>
                    <a:pt x="64" y="137"/>
                    <a:pt x="68" y="127"/>
                    <a:pt x="72" y="118"/>
                  </a:cubicBezTo>
                  <a:cubicBezTo>
                    <a:pt x="72" y="217"/>
                    <a:pt x="72" y="217"/>
                    <a:pt x="72" y="217"/>
                  </a:cubicBezTo>
                  <a:cubicBezTo>
                    <a:pt x="72" y="234"/>
                    <a:pt x="86" y="249"/>
                    <a:pt x="104" y="249"/>
                  </a:cubicBezTo>
                  <a:cubicBezTo>
                    <a:pt x="122" y="249"/>
                    <a:pt x="136" y="234"/>
                    <a:pt x="136" y="217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9" y="193"/>
                    <a:pt x="142" y="194"/>
                    <a:pt x="146" y="194"/>
                  </a:cubicBezTo>
                  <a:cubicBezTo>
                    <a:pt x="161" y="194"/>
                    <a:pt x="174" y="184"/>
                    <a:pt x="178" y="171"/>
                  </a:cubicBezTo>
                  <a:cubicBezTo>
                    <a:pt x="181" y="172"/>
                    <a:pt x="184" y="173"/>
                    <a:pt x="188" y="173"/>
                  </a:cubicBezTo>
                  <a:cubicBezTo>
                    <a:pt x="200" y="173"/>
                    <a:pt x="210" y="167"/>
                    <a:pt x="216" y="159"/>
                  </a:cubicBezTo>
                  <a:cubicBezTo>
                    <a:pt x="220" y="162"/>
                    <a:pt x="225" y="163"/>
                    <a:pt x="230" y="163"/>
                  </a:cubicBezTo>
                  <a:cubicBezTo>
                    <a:pt x="248" y="163"/>
                    <a:pt x="264" y="149"/>
                    <a:pt x="264" y="131"/>
                  </a:cubicBezTo>
                  <a:cubicBezTo>
                    <a:pt x="264" y="89"/>
                    <a:pt x="264" y="89"/>
                    <a:pt x="264" y="89"/>
                  </a:cubicBezTo>
                  <a:cubicBezTo>
                    <a:pt x="264" y="87"/>
                    <a:pt x="267" y="39"/>
                    <a:pt x="23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158"/>
            <p:cNvSpPr>
              <a:spLocks noEditPoints="1"/>
            </p:cNvSpPr>
            <p:nvPr/>
          </p:nvSpPr>
          <p:spPr bwMode="auto">
            <a:xfrm>
              <a:off x="4854" y="101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3" name="Freeform 162"/>
          <p:cNvSpPr>
            <a:spLocks noChangeAspect="1" noEditPoints="1"/>
          </p:cNvSpPr>
          <p:nvPr/>
        </p:nvSpPr>
        <p:spPr bwMode="auto">
          <a:xfrm>
            <a:off x="9417541" y="2051054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5 w 512"/>
              <a:gd name="T11" fmla="*/ 210 h 512"/>
              <a:gd name="T12" fmla="*/ 370 w 512"/>
              <a:gd name="T13" fmla="*/ 206 h 512"/>
              <a:gd name="T14" fmla="*/ 265 w 512"/>
              <a:gd name="T15" fmla="*/ 134 h 512"/>
              <a:gd name="T16" fmla="*/ 263 w 512"/>
              <a:gd name="T17" fmla="*/ 134 h 512"/>
              <a:gd name="T18" fmla="*/ 247 w 512"/>
              <a:gd name="T19" fmla="*/ 135 h 512"/>
              <a:gd name="T20" fmla="*/ 251 w 512"/>
              <a:gd name="T21" fmla="*/ 150 h 512"/>
              <a:gd name="T22" fmla="*/ 310 w 512"/>
              <a:gd name="T23" fmla="*/ 187 h 512"/>
              <a:gd name="T24" fmla="*/ 309 w 512"/>
              <a:gd name="T25" fmla="*/ 197 h 512"/>
              <a:gd name="T26" fmla="*/ 300 w 512"/>
              <a:gd name="T27" fmla="*/ 202 h 512"/>
              <a:gd name="T28" fmla="*/ 172 w 512"/>
              <a:gd name="T29" fmla="*/ 202 h 512"/>
              <a:gd name="T30" fmla="*/ 162 w 512"/>
              <a:gd name="T31" fmla="*/ 213 h 512"/>
              <a:gd name="T32" fmla="*/ 172 w 512"/>
              <a:gd name="T33" fmla="*/ 224 h 512"/>
              <a:gd name="T34" fmla="*/ 266 w 512"/>
              <a:gd name="T35" fmla="*/ 224 h 512"/>
              <a:gd name="T36" fmla="*/ 277 w 512"/>
              <a:gd name="T37" fmla="*/ 234 h 512"/>
              <a:gd name="T38" fmla="*/ 266 w 512"/>
              <a:gd name="T39" fmla="*/ 245 h 512"/>
              <a:gd name="T40" fmla="*/ 232 w 512"/>
              <a:gd name="T41" fmla="*/ 245 h 512"/>
              <a:gd name="T42" fmla="*/ 217 w 512"/>
              <a:gd name="T43" fmla="*/ 255 h 512"/>
              <a:gd name="T44" fmla="*/ 226 w 512"/>
              <a:gd name="T45" fmla="*/ 266 h 512"/>
              <a:gd name="T46" fmla="*/ 266 w 512"/>
              <a:gd name="T47" fmla="*/ 266 h 512"/>
              <a:gd name="T48" fmla="*/ 277 w 512"/>
              <a:gd name="T49" fmla="*/ 277 h 512"/>
              <a:gd name="T50" fmla="*/ 266 w 512"/>
              <a:gd name="T51" fmla="*/ 288 h 512"/>
              <a:gd name="T52" fmla="*/ 253 w 512"/>
              <a:gd name="T53" fmla="*/ 288 h 512"/>
              <a:gd name="T54" fmla="*/ 238 w 512"/>
              <a:gd name="T55" fmla="*/ 297 h 512"/>
              <a:gd name="T56" fmla="*/ 247 w 512"/>
              <a:gd name="T57" fmla="*/ 309 h 512"/>
              <a:gd name="T58" fmla="*/ 266 w 512"/>
              <a:gd name="T59" fmla="*/ 309 h 512"/>
              <a:gd name="T60" fmla="*/ 277 w 512"/>
              <a:gd name="T61" fmla="*/ 320 h 512"/>
              <a:gd name="T62" fmla="*/ 266 w 512"/>
              <a:gd name="T63" fmla="*/ 330 h 512"/>
              <a:gd name="T64" fmla="*/ 261 w 512"/>
              <a:gd name="T65" fmla="*/ 330 h 512"/>
              <a:gd name="T66" fmla="*/ 247 w 512"/>
              <a:gd name="T67" fmla="*/ 339 h 512"/>
              <a:gd name="T68" fmla="*/ 258 w 512"/>
              <a:gd name="T69" fmla="*/ 352 h 512"/>
              <a:gd name="T70" fmla="*/ 300 w 512"/>
              <a:gd name="T71" fmla="*/ 352 h 512"/>
              <a:gd name="T72" fmla="*/ 368 w 512"/>
              <a:gd name="T73" fmla="*/ 331 h 512"/>
              <a:gd name="T74" fmla="*/ 383 w 512"/>
              <a:gd name="T75" fmla="*/ 332 h 512"/>
              <a:gd name="T76" fmla="*/ 382 w 512"/>
              <a:gd name="T77" fmla="*/ 347 h 512"/>
              <a:gd name="T78" fmla="*/ 302 w 512"/>
              <a:gd name="T79" fmla="*/ 373 h 512"/>
              <a:gd name="T80" fmla="*/ 300 w 512"/>
              <a:gd name="T81" fmla="*/ 373 h 512"/>
              <a:gd name="T82" fmla="*/ 258 w 512"/>
              <a:gd name="T83" fmla="*/ 373 h 512"/>
              <a:gd name="T84" fmla="*/ 226 w 512"/>
              <a:gd name="T85" fmla="*/ 339 h 512"/>
              <a:gd name="T86" fmla="*/ 230 w 512"/>
              <a:gd name="T87" fmla="*/ 325 h 512"/>
              <a:gd name="T88" fmla="*/ 217 w 512"/>
              <a:gd name="T89" fmla="*/ 297 h 512"/>
              <a:gd name="T90" fmla="*/ 219 w 512"/>
              <a:gd name="T91" fmla="*/ 287 h 512"/>
              <a:gd name="T92" fmla="*/ 196 w 512"/>
              <a:gd name="T93" fmla="*/ 255 h 512"/>
              <a:gd name="T94" fmla="*/ 198 w 512"/>
              <a:gd name="T95" fmla="*/ 245 h 512"/>
              <a:gd name="T96" fmla="*/ 172 w 512"/>
              <a:gd name="T97" fmla="*/ 245 h 512"/>
              <a:gd name="T98" fmla="*/ 140 w 512"/>
              <a:gd name="T99" fmla="*/ 213 h 512"/>
              <a:gd name="T100" fmla="*/ 172 w 512"/>
              <a:gd name="T101" fmla="*/ 181 h 512"/>
              <a:gd name="T102" fmla="*/ 272 w 512"/>
              <a:gd name="T103" fmla="*/ 181 h 512"/>
              <a:gd name="T104" fmla="*/ 244 w 512"/>
              <a:gd name="T105" fmla="*/ 171 h 512"/>
              <a:gd name="T106" fmla="*/ 242 w 512"/>
              <a:gd name="T107" fmla="*/ 170 h 512"/>
              <a:gd name="T108" fmla="*/ 228 w 512"/>
              <a:gd name="T109" fmla="*/ 126 h 512"/>
              <a:gd name="T110" fmla="*/ 272 w 512"/>
              <a:gd name="T111" fmla="*/ 115 h 512"/>
              <a:gd name="T112" fmla="*/ 388 w 512"/>
              <a:gd name="T113" fmla="*/ 195 h 512"/>
              <a:gd name="T114" fmla="*/ 385 w 512"/>
              <a:gd name="T115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5" y="210"/>
                </a:moveTo>
                <a:cubicBezTo>
                  <a:pt x="380" y="213"/>
                  <a:pt x="373" y="211"/>
                  <a:pt x="370" y="206"/>
                </a:cubicBezTo>
                <a:cubicBezTo>
                  <a:pt x="343" y="163"/>
                  <a:pt x="265" y="135"/>
                  <a:pt x="265" y="134"/>
                </a:cubicBezTo>
                <a:cubicBezTo>
                  <a:pt x="264" y="134"/>
                  <a:pt x="264" y="134"/>
                  <a:pt x="263" y="134"/>
                </a:cubicBezTo>
                <a:cubicBezTo>
                  <a:pt x="258" y="131"/>
                  <a:pt x="249" y="131"/>
                  <a:pt x="247" y="135"/>
                </a:cubicBezTo>
                <a:cubicBezTo>
                  <a:pt x="244" y="141"/>
                  <a:pt x="246" y="147"/>
                  <a:pt x="251" y="150"/>
                </a:cubicBezTo>
                <a:cubicBezTo>
                  <a:pt x="260" y="153"/>
                  <a:pt x="298" y="163"/>
                  <a:pt x="310" y="187"/>
                </a:cubicBezTo>
                <a:cubicBezTo>
                  <a:pt x="311" y="190"/>
                  <a:pt x="311" y="194"/>
                  <a:pt x="309" y="197"/>
                </a:cubicBezTo>
                <a:cubicBezTo>
                  <a:pt x="307" y="200"/>
                  <a:pt x="304" y="202"/>
                  <a:pt x="300" y="202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66" y="202"/>
                  <a:pt x="162" y="207"/>
                  <a:pt x="162" y="213"/>
                </a:cubicBezTo>
                <a:cubicBezTo>
                  <a:pt x="162" y="219"/>
                  <a:pt x="166" y="224"/>
                  <a:pt x="172" y="224"/>
                </a:cubicBezTo>
                <a:cubicBezTo>
                  <a:pt x="266" y="224"/>
                  <a:pt x="266" y="224"/>
                  <a:pt x="266" y="224"/>
                </a:cubicBezTo>
                <a:cubicBezTo>
                  <a:pt x="272" y="224"/>
                  <a:pt x="277" y="228"/>
                  <a:pt x="277" y="234"/>
                </a:cubicBezTo>
                <a:cubicBezTo>
                  <a:pt x="277" y="240"/>
                  <a:pt x="272" y="245"/>
                  <a:pt x="266" y="245"/>
                </a:cubicBezTo>
                <a:cubicBezTo>
                  <a:pt x="232" y="245"/>
                  <a:pt x="232" y="245"/>
                  <a:pt x="232" y="245"/>
                </a:cubicBezTo>
                <a:cubicBezTo>
                  <a:pt x="225" y="245"/>
                  <a:pt x="217" y="250"/>
                  <a:pt x="217" y="255"/>
                </a:cubicBezTo>
                <a:cubicBezTo>
                  <a:pt x="217" y="259"/>
                  <a:pt x="219" y="266"/>
                  <a:pt x="226" y="266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72" y="266"/>
                  <a:pt x="277" y="271"/>
                  <a:pt x="277" y="277"/>
                </a:cubicBezTo>
                <a:cubicBezTo>
                  <a:pt x="277" y="283"/>
                  <a:pt x="272" y="288"/>
                  <a:pt x="266" y="288"/>
                </a:cubicBezTo>
                <a:cubicBezTo>
                  <a:pt x="253" y="288"/>
                  <a:pt x="253" y="288"/>
                  <a:pt x="253" y="288"/>
                </a:cubicBezTo>
                <a:cubicBezTo>
                  <a:pt x="246" y="288"/>
                  <a:pt x="238" y="293"/>
                  <a:pt x="238" y="297"/>
                </a:cubicBezTo>
                <a:cubicBezTo>
                  <a:pt x="238" y="302"/>
                  <a:pt x="241" y="309"/>
                  <a:pt x="247" y="309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72" y="309"/>
                  <a:pt x="277" y="314"/>
                  <a:pt x="277" y="320"/>
                </a:cubicBezTo>
                <a:cubicBezTo>
                  <a:pt x="277" y="326"/>
                  <a:pt x="272" y="330"/>
                  <a:pt x="266" y="330"/>
                </a:cubicBezTo>
                <a:cubicBezTo>
                  <a:pt x="261" y="330"/>
                  <a:pt x="261" y="330"/>
                  <a:pt x="261" y="330"/>
                </a:cubicBezTo>
                <a:cubicBezTo>
                  <a:pt x="254" y="330"/>
                  <a:pt x="247" y="335"/>
                  <a:pt x="247" y="339"/>
                </a:cubicBezTo>
                <a:cubicBezTo>
                  <a:pt x="247" y="345"/>
                  <a:pt x="252" y="352"/>
                  <a:pt x="258" y="352"/>
                </a:cubicBezTo>
                <a:cubicBezTo>
                  <a:pt x="300" y="352"/>
                  <a:pt x="300" y="352"/>
                  <a:pt x="300" y="352"/>
                </a:cubicBezTo>
                <a:cubicBezTo>
                  <a:pt x="301" y="352"/>
                  <a:pt x="342" y="353"/>
                  <a:pt x="368" y="331"/>
                </a:cubicBezTo>
                <a:cubicBezTo>
                  <a:pt x="373" y="327"/>
                  <a:pt x="379" y="328"/>
                  <a:pt x="383" y="332"/>
                </a:cubicBezTo>
                <a:cubicBezTo>
                  <a:pt x="387" y="337"/>
                  <a:pt x="386" y="343"/>
                  <a:pt x="382" y="347"/>
                </a:cubicBezTo>
                <a:cubicBezTo>
                  <a:pt x="353" y="371"/>
                  <a:pt x="312" y="373"/>
                  <a:pt x="302" y="373"/>
                </a:cubicBezTo>
                <a:cubicBezTo>
                  <a:pt x="301" y="373"/>
                  <a:pt x="300" y="373"/>
                  <a:pt x="300" y="373"/>
                </a:cubicBezTo>
                <a:cubicBezTo>
                  <a:pt x="258" y="373"/>
                  <a:pt x="258" y="373"/>
                  <a:pt x="258" y="373"/>
                </a:cubicBezTo>
                <a:cubicBezTo>
                  <a:pt x="240" y="373"/>
                  <a:pt x="226" y="357"/>
                  <a:pt x="226" y="339"/>
                </a:cubicBezTo>
                <a:cubicBezTo>
                  <a:pt x="226" y="334"/>
                  <a:pt x="227" y="329"/>
                  <a:pt x="230" y="325"/>
                </a:cubicBezTo>
                <a:cubicBezTo>
                  <a:pt x="222" y="319"/>
                  <a:pt x="217" y="309"/>
                  <a:pt x="217" y="297"/>
                </a:cubicBezTo>
                <a:cubicBezTo>
                  <a:pt x="217" y="294"/>
                  <a:pt x="218" y="290"/>
                  <a:pt x="219" y="287"/>
                </a:cubicBezTo>
                <a:cubicBezTo>
                  <a:pt x="206" y="284"/>
                  <a:pt x="196" y="271"/>
                  <a:pt x="196" y="255"/>
                </a:cubicBezTo>
                <a:cubicBezTo>
                  <a:pt x="196" y="251"/>
                  <a:pt x="197" y="248"/>
                  <a:pt x="198" y="245"/>
                </a:cubicBezTo>
                <a:cubicBezTo>
                  <a:pt x="172" y="245"/>
                  <a:pt x="172" y="245"/>
                  <a:pt x="172" y="245"/>
                </a:cubicBezTo>
                <a:cubicBezTo>
                  <a:pt x="155" y="245"/>
                  <a:pt x="140" y="231"/>
                  <a:pt x="140" y="213"/>
                </a:cubicBezTo>
                <a:cubicBezTo>
                  <a:pt x="140" y="195"/>
                  <a:pt x="155" y="181"/>
                  <a:pt x="172" y="181"/>
                </a:cubicBezTo>
                <a:cubicBezTo>
                  <a:pt x="272" y="181"/>
                  <a:pt x="272" y="181"/>
                  <a:pt x="272" y="181"/>
                </a:cubicBezTo>
                <a:cubicBezTo>
                  <a:pt x="263" y="176"/>
                  <a:pt x="252" y="172"/>
                  <a:pt x="244" y="171"/>
                </a:cubicBezTo>
                <a:cubicBezTo>
                  <a:pt x="244" y="170"/>
                  <a:pt x="243" y="170"/>
                  <a:pt x="242" y="170"/>
                </a:cubicBezTo>
                <a:cubicBezTo>
                  <a:pt x="226" y="162"/>
                  <a:pt x="220" y="142"/>
                  <a:pt x="228" y="126"/>
                </a:cubicBezTo>
                <a:cubicBezTo>
                  <a:pt x="236" y="109"/>
                  <a:pt x="257" y="107"/>
                  <a:pt x="272" y="115"/>
                </a:cubicBezTo>
                <a:cubicBezTo>
                  <a:pt x="281" y="117"/>
                  <a:pt x="358" y="147"/>
                  <a:pt x="388" y="195"/>
                </a:cubicBezTo>
                <a:cubicBezTo>
                  <a:pt x="391" y="200"/>
                  <a:pt x="390" y="207"/>
                  <a:pt x="385" y="21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4" name="Group 165"/>
          <p:cNvGrpSpPr>
            <a:grpSpLocks noChangeAspect="1"/>
          </p:cNvGrpSpPr>
          <p:nvPr/>
        </p:nvGrpSpPr>
        <p:grpSpPr bwMode="auto">
          <a:xfrm>
            <a:off x="9916186" y="2051054"/>
            <a:ext cx="367041" cy="367041"/>
            <a:chOff x="5180" y="1442"/>
            <a:chExt cx="340" cy="340"/>
          </a:xfrm>
          <a:solidFill>
            <a:schemeClr val="accent2"/>
          </a:solidFill>
        </p:grpSpPr>
        <p:sp>
          <p:nvSpPr>
            <p:cNvPr id="295" name="Freeform 166"/>
            <p:cNvSpPr>
              <a:spLocks noEditPoints="1"/>
            </p:cNvSpPr>
            <p:nvPr/>
          </p:nvSpPr>
          <p:spPr bwMode="auto">
            <a:xfrm>
              <a:off x="5180" y="144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167"/>
            <p:cNvSpPr>
              <a:spLocks/>
            </p:cNvSpPr>
            <p:nvPr/>
          </p:nvSpPr>
          <p:spPr bwMode="auto">
            <a:xfrm>
              <a:off x="5273" y="1513"/>
              <a:ext cx="167" cy="177"/>
            </a:xfrm>
            <a:custGeom>
              <a:avLst/>
              <a:gdLst>
                <a:gd name="T0" fmla="*/ 107 w 251"/>
                <a:gd name="T1" fmla="*/ 28 h 266"/>
                <a:gd name="T2" fmla="*/ 111 w 251"/>
                <a:gd name="T3" fmla="*/ 43 h 266"/>
                <a:gd name="T4" fmla="*/ 170 w 251"/>
                <a:gd name="T5" fmla="*/ 80 h 266"/>
                <a:gd name="T6" fmla="*/ 169 w 251"/>
                <a:gd name="T7" fmla="*/ 90 h 266"/>
                <a:gd name="T8" fmla="*/ 160 w 251"/>
                <a:gd name="T9" fmla="*/ 95 h 266"/>
                <a:gd name="T10" fmla="*/ 32 w 251"/>
                <a:gd name="T11" fmla="*/ 95 h 266"/>
                <a:gd name="T12" fmla="*/ 22 w 251"/>
                <a:gd name="T13" fmla="*/ 106 h 266"/>
                <a:gd name="T14" fmla="*/ 32 w 251"/>
                <a:gd name="T15" fmla="*/ 117 h 266"/>
                <a:gd name="T16" fmla="*/ 126 w 251"/>
                <a:gd name="T17" fmla="*/ 117 h 266"/>
                <a:gd name="T18" fmla="*/ 137 w 251"/>
                <a:gd name="T19" fmla="*/ 127 h 266"/>
                <a:gd name="T20" fmla="*/ 126 w 251"/>
                <a:gd name="T21" fmla="*/ 138 h 266"/>
                <a:gd name="T22" fmla="*/ 92 w 251"/>
                <a:gd name="T23" fmla="*/ 138 h 266"/>
                <a:gd name="T24" fmla="*/ 77 w 251"/>
                <a:gd name="T25" fmla="*/ 148 h 266"/>
                <a:gd name="T26" fmla="*/ 86 w 251"/>
                <a:gd name="T27" fmla="*/ 159 h 266"/>
                <a:gd name="T28" fmla="*/ 126 w 251"/>
                <a:gd name="T29" fmla="*/ 159 h 266"/>
                <a:gd name="T30" fmla="*/ 137 w 251"/>
                <a:gd name="T31" fmla="*/ 170 h 266"/>
                <a:gd name="T32" fmla="*/ 126 w 251"/>
                <a:gd name="T33" fmla="*/ 181 h 266"/>
                <a:gd name="T34" fmla="*/ 113 w 251"/>
                <a:gd name="T35" fmla="*/ 181 h 266"/>
                <a:gd name="T36" fmla="*/ 98 w 251"/>
                <a:gd name="T37" fmla="*/ 190 h 266"/>
                <a:gd name="T38" fmla="*/ 107 w 251"/>
                <a:gd name="T39" fmla="*/ 202 h 266"/>
                <a:gd name="T40" fmla="*/ 126 w 251"/>
                <a:gd name="T41" fmla="*/ 202 h 266"/>
                <a:gd name="T42" fmla="*/ 137 w 251"/>
                <a:gd name="T43" fmla="*/ 213 h 266"/>
                <a:gd name="T44" fmla="*/ 126 w 251"/>
                <a:gd name="T45" fmla="*/ 223 h 266"/>
                <a:gd name="T46" fmla="*/ 121 w 251"/>
                <a:gd name="T47" fmla="*/ 223 h 266"/>
                <a:gd name="T48" fmla="*/ 107 w 251"/>
                <a:gd name="T49" fmla="*/ 232 h 266"/>
                <a:gd name="T50" fmla="*/ 118 w 251"/>
                <a:gd name="T51" fmla="*/ 245 h 266"/>
                <a:gd name="T52" fmla="*/ 160 w 251"/>
                <a:gd name="T53" fmla="*/ 245 h 266"/>
                <a:gd name="T54" fmla="*/ 228 w 251"/>
                <a:gd name="T55" fmla="*/ 224 h 266"/>
                <a:gd name="T56" fmla="*/ 243 w 251"/>
                <a:gd name="T57" fmla="*/ 225 h 266"/>
                <a:gd name="T58" fmla="*/ 242 w 251"/>
                <a:gd name="T59" fmla="*/ 240 h 266"/>
                <a:gd name="T60" fmla="*/ 162 w 251"/>
                <a:gd name="T61" fmla="*/ 266 h 266"/>
                <a:gd name="T62" fmla="*/ 160 w 251"/>
                <a:gd name="T63" fmla="*/ 266 h 266"/>
                <a:gd name="T64" fmla="*/ 118 w 251"/>
                <a:gd name="T65" fmla="*/ 266 h 266"/>
                <a:gd name="T66" fmla="*/ 86 w 251"/>
                <a:gd name="T67" fmla="*/ 232 h 266"/>
                <a:gd name="T68" fmla="*/ 90 w 251"/>
                <a:gd name="T69" fmla="*/ 218 h 266"/>
                <a:gd name="T70" fmla="*/ 77 w 251"/>
                <a:gd name="T71" fmla="*/ 190 h 266"/>
                <a:gd name="T72" fmla="*/ 79 w 251"/>
                <a:gd name="T73" fmla="*/ 180 h 266"/>
                <a:gd name="T74" fmla="*/ 56 w 251"/>
                <a:gd name="T75" fmla="*/ 148 h 266"/>
                <a:gd name="T76" fmla="*/ 58 w 251"/>
                <a:gd name="T77" fmla="*/ 138 h 266"/>
                <a:gd name="T78" fmla="*/ 32 w 251"/>
                <a:gd name="T79" fmla="*/ 138 h 266"/>
                <a:gd name="T80" fmla="*/ 0 w 251"/>
                <a:gd name="T81" fmla="*/ 106 h 266"/>
                <a:gd name="T82" fmla="*/ 32 w 251"/>
                <a:gd name="T83" fmla="*/ 74 h 266"/>
                <a:gd name="T84" fmla="*/ 132 w 251"/>
                <a:gd name="T85" fmla="*/ 74 h 266"/>
                <a:gd name="T86" fmla="*/ 104 w 251"/>
                <a:gd name="T87" fmla="*/ 64 h 266"/>
                <a:gd name="T88" fmla="*/ 102 w 251"/>
                <a:gd name="T89" fmla="*/ 63 h 266"/>
                <a:gd name="T90" fmla="*/ 88 w 251"/>
                <a:gd name="T91" fmla="*/ 19 h 266"/>
                <a:gd name="T92" fmla="*/ 132 w 251"/>
                <a:gd name="T93" fmla="*/ 8 h 266"/>
                <a:gd name="T94" fmla="*/ 248 w 251"/>
                <a:gd name="T95" fmla="*/ 88 h 266"/>
                <a:gd name="T96" fmla="*/ 245 w 251"/>
                <a:gd name="T97" fmla="*/ 103 h 266"/>
                <a:gd name="T98" fmla="*/ 230 w 251"/>
                <a:gd name="T99" fmla="*/ 99 h 266"/>
                <a:gd name="T100" fmla="*/ 125 w 251"/>
                <a:gd name="T101" fmla="*/ 27 h 266"/>
                <a:gd name="T102" fmla="*/ 123 w 251"/>
                <a:gd name="T103" fmla="*/ 27 h 266"/>
                <a:gd name="T104" fmla="*/ 107 w 251"/>
                <a:gd name="T105" fmla="*/ 28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1" h="266">
                  <a:moveTo>
                    <a:pt x="107" y="28"/>
                  </a:moveTo>
                  <a:cubicBezTo>
                    <a:pt x="104" y="34"/>
                    <a:pt x="106" y="40"/>
                    <a:pt x="111" y="43"/>
                  </a:cubicBezTo>
                  <a:cubicBezTo>
                    <a:pt x="120" y="46"/>
                    <a:pt x="158" y="56"/>
                    <a:pt x="170" y="80"/>
                  </a:cubicBezTo>
                  <a:cubicBezTo>
                    <a:pt x="171" y="83"/>
                    <a:pt x="171" y="87"/>
                    <a:pt x="169" y="90"/>
                  </a:cubicBezTo>
                  <a:cubicBezTo>
                    <a:pt x="167" y="93"/>
                    <a:pt x="164" y="95"/>
                    <a:pt x="160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26" y="95"/>
                    <a:pt x="22" y="100"/>
                    <a:pt x="22" y="106"/>
                  </a:cubicBezTo>
                  <a:cubicBezTo>
                    <a:pt x="22" y="112"/>
                    <a:pt x="26" y="117"/>
                    <a:pt x="32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32" y="117"/>
                    <a:pt x="137" y="121"/>
                    <a:pt x="137" y="127"/>
                  </a:cubicBezTo>
                  <a:cubicBezTo>
                    <a:pt x="137" y="133"/>
                    <a:pt x="132" y="138"/>
                    <a:pt x="126" y="138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85" y="138"/>
                    <a:pt x="77" y="143"/>
                    <a:pt x="77" y="148"/>
                  </a:cubicBezTo>
                  <a:cubicBezTo>
                    <a:pt x="77" y="152"/>
                    <a:pt x="79" y="159"/>
                    <a:pt x="86" y="159"/>
                  </a:cubicBezTo>
                  <a:cubicBezTo>
                    <a:pt x="126" y="159"/>
                    <a:pt x="126" y="159"/>
                    <a:pt x="126" y="159"/>
                  </a:cubicBezTo>
                  <a:cubicBezTo>
                    <a:pt x="132" y="159"/>
                    <a:pt x="137" y="164"/>
                    <a:pt x="137" y="170"/>
                  </a:cubicBezTo>
                  <a:cubicBezTo>
                    <a:pt x="137" y="176"/>
                    <a:pt x="132" y="181"/>
                    <a:pt x="126" y="181"/>
                  </a:cubicBezTo>
                  <a:cubicBezTo>
                    <a:pt x="113" y="181"/>
                    <a:pt x="113" y="181"/>
                    <a:pt x="113" y="181"/>
                  </a:cubicBezTo>
                  <a:cubicBezTo>
                    <a:pt x="106" y="181"/>
                    <a:pt x="98" y="186"/>
                    <a:pt x="98" y="190"/>
                  </a:cubicBezTo>
                  <a:cubicBezTo>
                    <a:pt x="98" y="195"/>
                    <a:pt x="101" y="202"/>
                    <a:pt x="107" y="202"/>
                  </a:cubicBezTo>
                  <a:cubicBezTo>
                    <a:pt x="126" y="202"/>
                    <a:pt x="126" y="202"/>
                    <a:pt x="126" y="202"/>
                  </a:cubicBezTo>
                  <a:cubicBezTo>
                    <a:pt x="132" y="202"/>
                    <a:pt x="137" y="207"/>
                    <a:pt x="137" y="213"/>
                  </a:cubicBezTo>
                  <a:cubicBezTo>
                    <a:pt x="137" y="219"/>
                    <a:pt x="132" y="223"/>
                    <a:pt x="126" y="223"/>
                  </a:cubicBezTo>
                  <a:cubicBezTo>
                    <a:pt x="121" y="223"/>
                    <a:pt x="121" y="223"/>
                    <a:pt x="121" y="223"/>
                  </a:cubicBezTo>
                  <a:cubicBezTo>
                    <a:pt x="114" y="223"/>
                    <a:pt x="107" y="228"/>
                    <a:pt x="107" y="232"/>
                  </a:cubicBezTo>
                  <a:cubicBezTo>
                    <a:pt x="107" y="238"/>
                    <a:pt x="112" y="245"/>
                    <a:pt x="118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1" y="245"/>
                    <a:pt x="202" y="246"/>
                    <a:pt x="228" y="224"/>
                  </a:cubicBezTo>
                  <a:cubicBezTo>
                    <a:pt x="233" y="220"/>
                    <a:pt x="239" y="221"/>
                    <a:pt x="243" y="225"/>
                  </a:cubicBezTo>
                  <a:cubicBezTo>
                    <a:pt x="247" y="230"/>
                    <a:pt x="246" y="236"/>
                    <a:pt x="242" y="240"/>
                  </a:cubicBezTo>
                  <a:cubicBezTo>
                    <a:pt x="213" y="264"/>
                    <a:pt x="172" y="266"/>
                    <a:pt x="162" y="266"/>
                  </a:cubicBezTo>
                  <a:cubicBezTo>
                    <a:pt x="161" y="266"/>
                    <a:pt x="160" y="266"/>
                    <a:pt x="160" y="266"/>
                  </a:cubicBezTo>
                  <a:cubicBezTo>
                    <a:pt x="118" y="266"/>
                    <a:pt x="118" y="266"/>
                    <a:pt x="118" y="266"/>
                  </a:cubicBezTo>
                  <a:cubicBezTo>
                    <a:pt x="100" y="266"/>
                    <a:pt x="86" y="250"/>
                    <a:pt x="86" y="232"/>
                  </a:cubicBezTo>
                  <a:cubicBezTo>
                    <a:pt x="86" y="227"/>
                    <a:pt x="87" y="222"/>
                    <a:pt x="90" y="218"/>
                  </a:cubicBezTo>
                  <a:cubicBezTo>
                    <a:pt x="82" y="212"/>
                    <a:pt x="77" y="202"/>
                    <a:pt x="77" y="190"/>
                  </a:cubicBezTo>
                  <a:cubicBezTo>
                    <a:pt x="77" y="187"/>
                    <a:pt x="78" y="183"/>
                    <a:pt x="79" y="180"/>
                  </a:cubicBezTo>
                  <a:cubicBezTo>
                    <a:pt x="66" y="177"/>
                    <a:pt x="56" y="164"/>
                    <a:pt x="56" y="148"/>
                  </a:cubicBezTo>
                  <a:cubicBezTo>
                    <a:pt x="56" y="144"/>
                    <a:pt x="57" y="141"/>
                    <a:pt x="58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15" y="138"/>
                    <a:pt x="0" y="124"/>
                    <a:pt x="0" y="106"/>
                  </a:cubicBezTo>
                  <a:cubicBezTo>
                    <a:pt x="0" y="88"/>
                    <a:pt x="15" y="74"/>
                    <a:pt x="32" y="74"/>
                  </a:cubicBezTo>
                  <a:cubicBezTo>
                    <a:pt x="132" y="74"/>
                    <a:pt x="132" y="74"/>
                    <a:pt x="132" y="74"/>
                  </a:cubicBezTo>
                  <a:cubicBezTo>
                    <a:pt x="123" y="69"/>
                    <a:pt x="112" y="65"/>
                    <a:pt x="104" y="64"/>
                  </a:cubicBezTo>
                  <a:cubicBezTo>
                    <a:pt x="104" y="63"/>
                    <a:pt x="103" y="63"/>
                    <a:pt x="102" y="63"/>
                  </a:cubicBezTo>
                  <a:cubicBezTo>
                    <a:pt x="86" y="55"/>
                    <a:pt x="80" y="35"/>
                    <a:pt x="88" y="19"/>
                  </a:cubicBezTo>
                  <a:cubicBezTo>
                    <a:pt x="96" y="2"/>
                    <a:pt x="117" y="0"/>
                    <a:pt x="132" y="8"/>
                  </a:cubicBezTo>
                  <a:cubicBezTo>
                    <a:pt x="141" y="10"/>
                    <a:pt x="218" y="40"/>
                    <a:pt x="248" y="88"/>
                  </a:cubicBezTo>
                  <a:cubicBezTo>
                    <a:pt x="251" y="93"/>
                    <a:pt x="250" y="100"/>
                    <a:pt x="245" y="103"/>
                  </a:cubicBezTo>
                  <a:cubicBezTo>
                    <a:pt x="240" y="106"/>
                    <a:pt x="233" y="104"/>
                    <a:pt x="230" y="99"/>
                  </a:cubicBezTo>
                  <a:cubicBezTo>
                    <a:pt x="203" y="56"/>
                    <a:pt x="125" y="28"/>
                    <a:pt x="125" y="27"/>
                  </a:cubicBezTo>
                  <a:cubicBezTo>
                    <a:pt x="124" y="27"/>
                    <a:pt x="124" y="27"/>
                    <a:pt x="123" y="27"/>
                  </a:cubicBezTo>
                  <a:cubicBezTo>
                    <a:pt x="118" y="24"/>
                    <a:pt x="109" y="24"/>
                    <a:pt x="10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7" name="Freeform 171"/>
          <p:cNvSpPr>
            <a:spLocks noChangeAspect="1" noEditPoints="1"/>
          </p:cNvSpPr>
          <p:nvPr/>
        </p:nvSpPr>
        <p:spPr bwMode="auto">
          <a:xfrm>
            <a:off x="8430249" y="291622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6 w 512"/>
              <a:gd name="T11" fmla="*/ 246 h 512"/>
              <a:gd name="T12" fmla="*/ 332 w 512"/>
              <a:gd name="T13" fmla="*/ 246 h 512"/>
              <a:gd name="T14" fmla="*/ 334 w 512"/>
              <a:gd name="T15" fmla="*/ 255 h 512"/>
              <a:gd name="T16" fmla="*/ 310 w 512"/>
              <a:gd name="T17" fmla="*/ 287 h 512"/>
              <a:gd name="T18" fmla="*/ 312 w 512"/>
              <a:gd name="T19" fmla="*/ 298 h 512"/>
              <a:gd name="T20" fmla="*/ 298 w 512"/>
              <a:gd name="T21" fmla="*/ 326 h 512"/>
              <a:gd name="T22" fmla="*/ 302 w 512"/>
              <a:gd name="T23" fmla="*/ 340 h 512"/>
              <a:gd name="T24" fmla="*/ 270 w 512"/>
              <a:gd name="T25" fmla="*/ 374 h 512"/>
              <a:gd name="T26" fmla="*/ 228 w 512"/>
              <a:gd name="T27" fmla="*/ 374 h 512"/>
              <a:gd name="T28" fmla="*/ 226 w 512"/>
              <a:gd name="T29" fmla="*/ 374 h 512"/>
              <a:gd name="T30" fmla="*/ 146 w 512"/>
              <a:gd name="T31" fmla="*/ 348 h 512"/>
              <a:gd name="T32" fmla="*/ 145 w 512"/>
              <a:gd name="T33" fmla="*/ 333 h 512"/>
              <a:gd name="T34" fmla="*/ 160 w 512"/>
              <a:gd name="T35" fmla="*/ 332 h 512"/>
              <a:gd name="T36" fmla="*/ 227 w 512"/>
              <a:gd name="T37" fmla="*/ 352 h 512"/>
              <a:gd name="T38" fmla="*/ 270 w 512"/>
              <a:gd name="T39" fmla="*/ 352 h 512"/>
              <a:gd name="T40" fmla="*/ 281 w 512"/>
              <a:gd name="T41" fmla="*/ 340 h 512"/>
              <a:gd name="T42" fmla="*/ 267 w 512"/>
              <a:gd name="T43" fmla="*/ 331 h 512"/>
              <a:gd name="T44" fmla="*/ 256 w 512"/>
              <a:gd name="T45" fmla="*/ 320 h 512"/>
              <a:gd name="T46" fmla="*/ 267 w 512"/>
              <a:gd name="T47" fmla="*/ 310 h 512"/>
              <a:gd name="T48" fmla="*/ 281 w 512"/>
              <a:gd name="T49" fmla="*/ 310 h 512"/>
              <a:gd name="T50" fmla="*/ 291 w 512"/>
              <a:gd name="T51" fmla="*/ 298 h 512"/>
              <a:gd name="T52" fmla="*/ 277 w 512"/>
              <a:gd name="T53" fmla="*/ 288 h 512"/>
              <a:gd name="T54" fmla="*/ 267 w 512"/>
              <a:gd name="T55" fmla="*/ 288 h 512"/>
              <a:gd name="T56" fmla="*/ 256 w 512"/>
              <a:gd name="T57" fmla="*/ 278 h 512"/>
              <a:gd name="T58" fmla="*/ 267 w 512"/>
              <a:gd name="T59" fmla="*/ 267 h 512"/>
              <a:gd name="T60" fmla="*/ 302 w 512"/>
              <a:gd name="T61" fmla="*/ 267 h 512"/>
              <a:gd name="T62" fmla="*/ 312 w 512"/>
              <a:gd name="T63" fmla="*/ 255 h 512"/>
              <a:gd name="T64" fmla="*/ 299 w 512"/>
              <a:gd name="T65" fmla="*/ 246 h 512"/>
              <a:gd name="T66" fmla="*/ 267 w 512"/>
              <a:gd name="T67" fmla="*/ 246 h 512"/>
              <a:gd name="T68" fmla="*/ 256 w 512"/>
              <a:gd name="T69" fmla="*/ 235 h 512"/>
              <a:gd name="T70" fmla="*/ 267 w 512"/>
              <a:gd name="T71" fmla="*/ 224 h 512"/>
              <a:gd name="T72" fmla="*/ 356 w 512"/>
              <a:gd name="T73" fmla="*/ 224 h 512"/>
              <a:gd name="T74" fmla="*/ 366 w 512"/>
              <a:gd name="T75" fmla="*/ 214 h 512"/>
              <a:gd name="T76" fmla="*/ 356 w 512"/>
              <a:gd name="T77" fmla="*/ 203 h 512"/>
              <a:gd name="T78" fmla="*/ 228 w 512"/>
              <a:gd name="T79" fmla="*/ 203 h 512"/>
              <a:gd name="T80" fmla="*/ 219 w 512"/>
              <a:gd name="T81" fmla="*/ 198 h 512"/>
              <a:gd name="T82" fmla="*/ 218 w 512"/>
              <a:gd name="T83" fmla="*/ 187 h 512"/>
              <a:gd name="T84" fmla="*/ 277 w 512"/>
              <a:gd name="T85" fmla="*/ 151 h 512"/>
              <a:gd name="T86" fmla="*/ 281 w 512"/>
              <a:gd name="T87" fmla="*/ 136 h 512"/>
              <a:gd name="T88" fmla="*/ 265 w 512"/>
              <a:gd name="T89" fmla="*/ 135 h 512"/>
              <a:gd name="T90" fmla="*/ 263 w 512"/>
              <a:gd name="T91" fmla="*/ 135 h 512"/>
              <a:gd name="T92" fmla="*/ 160 w 512"/>
              <a:gd name="T93" fmla="*/ 207 h 512"/>
              <a:gd name="T94" fmla="*/ 146 w 512"/>
              <a:gd name="T95" fmla="*/ 210 h 512"/>
              <a:gd name="T96" fmla="*/ 142 w 512"/>
              <a:gd name="T97" fmla="*/ 196 h 512"/>
              <a:gd name="T98" fmla="*/ 256 w 512"/>
              <a:gd name="T99" fmla="*/ 115 h 512"/>
              <a:gd name="T100" fmla="*/ 300 w 512"/>
              <a:gd name="T101" fmla="*/ 127 h 512"/>
              <a:gd name="T102" fmla="*/ 286 w 512"/>
              <a:gd name="T103" fmla="*/ 170 h 512"/>
              <a:gd name="T104" fmla="*/ 284 w 512"/>
              <a:gd name="T105" fmla="*/ 171 h 512"/>
              <a:gd name="T106" fmla="*/ 256 w 512"/>
              <a:gd name="T107" fmla="*/ 182 h 512"/>
              <a:gd name="T108" fmla="*/ 356 w 512"/>
              <a:gd name="T109" fmla="*/ 182 h 512"/>
              <a:gd name="T110" fmla="*/ 388 w 512"/>
              <a:gd name="T111" fmla="*/ 214 h 512"/>
              <a:gd name="T112" fmla="*/ 356 w 512"/>
              <a:gd name="T113" fmla="*/ 2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356" y="246"/>
                </a:moveTo>
                <a:cubicBezTo>
                  <a:pt x="332" y="246"/>
                  <a:pt x="332" y="246"/>
                  <a:pt x="332" y="246"/>
                </a:cubicBezTo>
                <a:cubicBezTo>
                  <a:pt x="333" y="249"/>
                  <a:pt x="334" y="252"/>
                  <a:pt x="334" y="255"/>
                </a:cubicBezTo>
                <a:cubicBezTo>
                  <a:pt x="334" y="271"/>
                  <a:pt x="323" y="284"/>
                  <a:pt x="310" y="287"/>
                </a:cubicBezTo>
                <a:cubicBezTo>
                  <a:pt x="311" y="291"/>
                  <a:pt x="312" y="294"/>
                  <a:pt x="312" y="298"/>
                </a:cubicBezTo>
                <a:cubicBezTo>
                  <a:pt x="312" y="310"/>
                  <a:pt x="307" y="320"/>
                  <a:pt x="298" y="326"/>
                </a:cubicBezTo>
                <a:cubicBezTo>
                  <a:pt x="301" y="330"/>
                  <a:pt x="302" y="334"/>
                  <a:pt x="302" y="340"/>
                </a:cubicBezTo>
                <a:cubicBezTo>
                  <a:pt x="302" y="358"/>
                  <a:pt x="288" y="374"/>
                  <a:pt x="270" y="374"/>
                </a:cubicBezTo>
                <a:cubicBezTo>
                  <a:pt x="228" y="374"/>
                  <a:pt x="228" y="374"/>
                  <a:pt x="228" y="374"/>
                </a:cubicBezTo>
                <a:cubicBezTo>
                  <a:pt x="228" y="374"/>
                  <a:pt x="227" y="374"/>
                  <a:pt x="226" y="374"/>
                </a:cubicBezTo>
                <a:cubicBezTo>
                  <a:pt x="216" y="374"/>
                  <a:pt x="175" y="372"/>
                  <a:pt x="146" y="348"/>
                </a:cubicBezTo>
                <a:cubicBezTo>
                  <a:pt x="142" y="344"/>
                  <a:pt x="141" y="337"/>
                  <a:pt x="145" y="333"/>
                </a:cubicBezTo>
                <a:cubicBezTo>
                  <a:pt x="149" y="328"/>
                  <a:pt x="156" y="328"/>
                  <a:pt x="160" y="332"/>
                </a:cubicBezTo>
                <a:cubicBezTo>
                  <a:pt x="186" y="353"/>
                  <a:pt x="227" y="352"/>
                  <a:pt x="227" y="352"/>
                </a:cubicBezTo>
                <a:cubicBezTo>
                  <a:pt x="270" y="352"/>
                  <a:pt x="270" y="352"/>
                  <a:pt x="270" y="352"/>
                </a:cubicBezTo>
                <a:cubicBezTo>
                  <a:pt x="276" y="352"/>
                  <a:pt x="281" y="346"/>
                  <a:pt x="281" y="340"/>
                </a:cubicBezTo>
                <a:cubicBezTo>
                  <a:pt x="281" y="335"/>
                  <a:pt x="274" y="331"/>
                  <a:pt x="267" y="331"/>
                </a:cubicBezTo>
                <a:cubicBezTo>
                  <a:pt x="261" y="331"/>
                  <a:pt x="256" y="326"/>
                  <a:pt x="256" y="320"/>
                </a:cubicBezTo>
                <a:cubicBezTo>
                  <a:pt x="256" y="314"/>
                  <a:pt x="261" y="310"/>
                  <a:pt x="267" y="310"/>
                </a:cubicBezTo>
                <a:cubicBezTo>
                  <a:pt x="281" y="310"/>
                  <a:pt x="281" y="310"/>
                  <a:pt x="281" y="310"/>
                </a:cubicBezTo>
                <a:cubicBezTo>
                  <a:pt x="287" y="310"/>
                  <a:pt x="291" y="304"/>
                  <a:pt x="291" y="298"/>
                </a:cubicBezTo>
                <a:cubicBezTo>
                  <a:pt x="291" y="293"/>
                  <a:pt x="284" y="288"/>
                  <a:pt x="277" y="288"/>
                </a:cubicBezTo>
                <a:cubicBezTo>
                  <a:pt x="267" y="288"/>
                  <a:pt x="267" y="288"/>
                  <a:pt x="267" y="288"/>
                </a:cubicBezTo>
                <a:cubicBezTo>
                  <a:pt x="261" y="288"/>
                  <a:pt x="256" y="284"/>
                  <a:pt x="256" y="278"/>
                </a:cubicBezTo>
                <a:cubicBezTo>
                  <a:pt x="256" y="272"/>
                  <a:pt x="261" y="267"/>
                  <a:pt x="267" y="267"/>
                </a:cubicBezTo>
                <a:cubicBezTo>
                  <a:pt x="302" y="267"/>
                  <a:pt x="302" y="267"/>
                  <a:pt x="302" y="267"/>
                </a:cubicBezTo>
                <a:cubicBezTo>
                  <a:pt x="308" y="267"/>
                  <a:pt x="312" y="261"/>
                  <a:pt x="312" y="255"/>
                </a:cubicBezTo>
                <a:cubicBezTo>
                  <a:pt x="312" y="250"/>
                  <a:pt x="305" y="246"/>
                  <a:pt x="299" y="246"/>
                </a:cubicBezTo>
                <a:cubicBezTo>
                  <a:pt x="267" y="246"/>
                  <a:pt x="267" y="246"/>
                  <a:pt x="267" y="246"/>
                </a:cubicBezTo>
                <a:cubicBezTo>
                  <a:pt x="261" y="246"/>
                  <a:pt x="256" y="241"/>
                  <a:pt x="256" y="235"/>
                </a:cubicBezTo>
                <a:cubicBezTo>
                  <a:pt x="256" y="229"/>
                  <a:pt x="261" y="224"/>
                  <a:pt x="267" y="224"/>
                </a:cubicBezTo>
                <a:cubicBezTo>
                  <a:pt x="356" y="224"/>
                  <a:pt x="356" y="224"/>
                  <a:pt x="356" y="224"/>
                </a:cubicBezTo>
                <a:cubicBezTo>
                  <a:pt x="362" y="224"/>
                  <a:pt x="366" y="220"/>
                  <a:pt x="366" y="214"/>
                </a:cubicBezTo>
                <a:cubicBezTo>
                  <a:pt x="366" y="208"/>
                  <a:pt x="362" y="203"/>
                  <a:pt x="356" y="203"/>
                </a:cubicBezTo>
                <a:cubicBezTo>
                  <a:pt x="228" y="203"/>
                  <a:pt x="228" y="203"/>
                  <a:pt x="228" y="203"/>
                </a:cubicBezTo>
                <a:cubicBezTo>
                  <a:pt x="224" y="203"/>
                  <a:pt x="221" y="201"/>
                  <a:pt x="219" y="198"/>
                </a:cubicBezTo>
                <a:cubicBezTo>
                  <a:pt x="217" y="195"/>
                  <a:pt x="217" y="191"/>
                  <a:pt x="218" y="187"/>
                </a:cubicBezTo>
                <a:cubicBezTo>
                  <a:pt x="230" y="164"/>
                  <a:pt x="268" y="153"/>
                  <a:pt x="277" y="151"/>
                </a:cubicBezTo>
                <a:cubicBezTo>
                  <a:pt x="282" y="148"/>
                  <a:pt x="284" y="141"/>
                  <a:pt x="281" y="136"/>
                </a:cubicBezTo>
                <a:cubicBezTo>
                  <a:pt x="279" y="132"/>
                  <a:pt x="270" y="132"/>
                  <a:pt x="265" y="135"/>
                </a:cubicBezTo>
                <a:cubicBezTo>
                  <a:pt x="264" y="135"/>
                  <a:pt x="264" y="135"/>
                  <a:pt x="263" y="135"/>
                </a:cubicBezTo>
                <a:cubicBezTo>
                  <a:pt x="263" y="135"/>
                  <a:pt x="187" y="164"/>
                  <a:pt x="160" y="207"/>
                </a:cubicBezTo>
                <a:cubicBezTo>
                  <a:pt x="157" y="212"/>
                  <a:pt x="151" y="214"/>
                  <a:pt x="146" y="210"/>
                </a:cubicBezTo>
                <a:cubicBezTo>
                  <a:pt x="141" y="207"/>
                  <a:pt x="139" y="201"/>
                  <a:pt x="142" y="196"/>
                </a:cubicBezTo>
                <a:cubicBezTo>
                  <a:pt x="172" y="148"/>
                  <a:pt x="248" y="118"/>
                  <a:pt x="256" y="115"/>
                </a:cubicBezTo>
                <a:cubicBezTo>
                  <a:pt x="271" y="108"/>
                  <a:pt x="292" y="110"/>
                  <a:pt x="300" y="127"/>
                </a:cubicBezTo>
                <a:cubicBezTo>
                  <a:pt x="308" y="143"/>
                  <a:pt x="302" y="163"/>
                  <a:pt x="286" y="170"/>
                </a:cubicBezTo>
                <a:cubicBezTo>
                  <a:pt x="285" y="171"/>
                  <a:pt x="284" y="171"/>
                  <a:pt x="284" y="171"/>
                </a:cubicBezTo>
                <a:cubicBezTo>
                  <a:pt x="276" y="173"/>
                  <a:pt x="265" y="177"/>
                  <a:pt x="256" y="182"/>
                </a:cubicBezTo>
                <a:cubicBezTo>
                  <a:pt x="356" y="182"/>
                  <a:pt x="356" y="182"/>
                  <a:pt x="356" y="182"/>
                </a:cubicBezTo>
                <a:cubicBezTo>
                  <a:pt x="373" y="182"/>
                  <a:pt x="388" y="196"/>
                  <a:pt x="388" y="214"/>
                </a:cubicBezTo>
                <a:cubicBezTo>
                  <a:pt x="388" y="231"/>
                  <a:pt x="373" y="246"/>
                  <a:pt x="356" y="2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8" name="Group 174"/>
          <p:cNvGrpSpPr>
            <a:grpSpLocks noChangeAspect="1"/>
          </p:cNvGrpSpPr>
          <p:nvPr/>
        </p:nvGrpSpPr>
        <p:grpSpPr bwMode="auto">
          <a:xfrm>
            <a:off x="8929223" y="2916225"/>
            <a:ext cx="367041" cy="367041"/>
            <a:chOff x="5265" y="1631"/>
            <a:chExt cx="340" cy="340"/>
          </a:xfrm>
          <a:solidFill>
            <a:schemeClr val="accent2"/>
          </a:solidFill>
        </p:grpSpPr>
        <p:sp>
          <p:nvSpPr>
            <p:cNvPr id="299" name="Freeform 175"/>
            <p:cNvSpPr>
              <a:spLocks noEditPoints="1"/>
            </p:cNvSpPr>
            <p:nvPr/>
          </p:nvSpPr>
          <p:spPr bwMode="auto">
            <a:xfrm>
              <a:off x="5265" y="1631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176"/>
            <p:cNvSpPr>
              <a:spLocks/>
            </p:cNvSpPr>
            <p:nvPr/>
          </p:nvSpPr>
          <p:spPr bwMode="auto">
            <a:xfrm>
              <a:off x="5357" y="1703"/>
              <a:ext cx="166" cy="176"/>
            </a:xfrm>
            <a:custGeom>
              <a:avLst/>
              <a:gdLst>
                <a:gd name="T0" fmla="*/ 249 w 249"/>
                <a:gd name="T1" fmla="*/ 106 h 266"/>
                <a:gd name="T2" fmla="*/ 217 w 249"/>
                <a:gd name="T3" fmla="*/ 138 h 266"/>
                <a:gd name="T4" fmla="*/ 193 w 249"/>
                <a:gd name="T5" fmla="*/ 138 h 266"/>
                <a:gd name="T6" fmla="*/ 195 w 249"/>
                <a:gd name="T7" fmla="*/ 147 h 266"/>
                <a:gd name="T8" fmla="*/ 171 w 249"/>
                <a:gd name="T9" fmla="*/ 179 h 266"/>
                <a:gd name="T10" fmla="*/ 173 w 249"/>
                <a:gd name="T11" fmla="*/ 190 h 266"/>
                <a:gd name="T12" fmla="*/ 159 w 249"/>
                <a:gd name="T13" fmla="*/ 218 h 266"/>
                <a:gd name="T14" fmla="*/ 163 w 249"/>
                <a:gd name="T15" fmla="*/ 232 h 266"/>
                <a:gd name="T16" fmla="*/ 131 w 249"/>
                <a:gd name="T17" fmla="*/ 266 h 266"/>
                <a:gd name="T18" fmla="*/ 89 w 249"/>
                <a:gd name="T19" fmla="*/ 266 h 266"/>
                <a:gd name="T20" fmla="*/ 87 w 249"/>
                <a:gd name="T21" fmla="*/ 266 h 266"/>
                <a:gd name="T22" fmla="*/ 7 w 249"/>
                <a:gd name="T23" fmla="*/ 240 h 266"/>
                <a:gd name="T24" fmla="*/ 6 w 249"/>
                <a:gd name="T25" fmla="*/ 225 h 266"/>
                <a:gd name="T26" fmla="*/ 21 w 249"/>
                <a:gd name="T27" fmla="*/ 224 h 266"/>
                <a:gd name="T28" fmla="*/ 88 w 249"/>
                <a:gd name="T29" fmla="*/ 244 h 266"/>
                <a:gd name="T30" fmla="*/ 131 w 249"/>
                <a:gd name="T31" fmla="*/ 244 h 266"/>
                <a:gd name="T32" fmla="*/ 142 w 249"/>
                <a:gd name="T33" fmla="*/ 232 h 266"/>
                <a:gd name="T34" fmla="*/ 128 w 249"/>
                <a:gd name="T35" fmla="*/ 223 h 266"/>
                <a:gd name="T36" fmla="*/ 117 w 249"/>
                <a:gd name="T37" fmla="*/ 212 h 266"/>
                <a:gd name="T38" fmla="*/ 128 w 249"/>
                <a:gd name="T39" fmla="*/ 202 h 266"/>
                <a:gd name="T40" fmla="*/ 142 w 249"/>
                <a:gd name="T41" fmla="*/ 202 h 266"/>
                <a:gd name="T42" fmla="*/ 152 w 249"/>
                <a:gd name="T43" fmla="*/ 190 h 266"/>
                <a:gd name="T44" fmla="*/ 138 w 249"/>
                <a:gd name="T45" fmla="*/ 180 h 266"/>
                <a:gd name="T46" fmla="*/ 128 w 249"/>
                <a:gd name="T47" fmla="*/ 180 h 266"/>
                <a:gd name="T48" fmla="*/ 117 w 249"/>
                <a:gd name="T49" fmla="*/ 170 h 266"/>
                <a:gd name="T50" fmla="*/ 128 w 249"/>
                <a:gd name="T51" fmla="*/ 159 h 266"/>
                <a:gd name="T52" fmla="*/ 163 w 249"/>
                <a:gd name="T53" fmla="*/ 159 h 266"/>
                <a:gd name="T54" fmla="*/ 173 w 249"/>
                <a:gd name="T55" fmla="*/ 147 h 266"/>
                <a:gd name="T56" fmla="*/ 160 w 249"/>
                <a:gd name="T57" fmla="*/ 138 h 266"/>
                <a:gd name="T58" fmla="*/ 128 w 249"/>
                <a:gd name="T59" fmla="*/ 138 h 266"/>
                <a:gd name="T60" fmla="*/ 117 w 249"/>
                <a:gd name="T61" fmla="*/ 127 h 266"/>
                <a:gd name="T62" fmla="*/ 128 w 249"/>
                <a:gd name="T63" fmla="*/ 116 h 266"/>
                <a:gd name="T64" fmla="*/ 217 w 249"/>
                <a:gd name="T65" fmla="*/ 116 h 266"/>
                <a:gd name="T66" fmla="*/ 227 w 249"/>
                <a:gd name="T67" fmla="*/ 106 h 266"/>
                <a:gd name="T68" fmla="*/ 217 w 249"/>
                <a:gd name="T69" fmla="*/ 95 h 266"/>
                <a:gd name="T70" fmla="*/ 89 w 249"/>
                <a:gd name="T71" fmla="*/ 95 h 266"/>
                <a:gd name="T72" fmla="*/ 80 w 249"/>
                <a:gd name="T73" fmla="*/ 90 h 266"/>
                <a:gd name="T74" fmla="*/ 79 w 249"/>
                <a:gd name="T75" fmla="*/ 79 h 266"/>
                <a:gd name="T76" fmla="*/ 138 w 249"/>
                <a:gd name="T77" fmla="*/ 43 h 266"/>
                <a:gd name="T78" fmla="*/ 142 w 249"/>
                <a:gd name="T79" fmla="*/ 28 h 266"/>
                <a:gd name="T80" fmla="*/ 126 w 249"/>
                <a:gd name="T81" fmla="*/ 27 h 266"/>
                <a:gd name="T82" fmla="*/ 124 w 249"/>
                <a:gd name="T83" fmla="*/ 27 h 266"/>
                <a:gd name="T84" fmla="*/ 21 w 249"/>
                <a:gd name="T85" fmla="*/ 99 h 266"/>
                <a:gd name="T86" fmla="*/ 7 w 249"/>
                <a:gd name="T87" fmla="*/ 102 h 266"/>
                <a:gd name="T88" fmla="*/ 3 w 249"/>
                <a:gd name="T89" fmla="*/ 88 h 266"/>
                <a:gd name="T90" fmla="*/ 117 w 249"/>
                <a:gd name="T91" fmla="*/ 7 h 266"/>
                <a:gd name="T92" fmla="*/ 161 w 249"/>
                <a:gd name="T93" fmla="*/ 19 h 266"/>
                <a:gd name="T94" fmla="*/ 147 w 249"/>
                <a:gd name="T95" fmla="*/ 62 h 266"/>
                <a:gd name="T96" fmla="*/ 145 w 249"/>
                <a:gd name="T97" fmla="*/ 63 h 266"/>
                <a:gd name="T98" fmla="*/ 117 w 249"/>
                <a:gd name="T99" fmla="*/ 74 h 266"/>
                <a:gd name="T100" fmla="*/ 217 w 249"/>
                <a:gd name="T101" fmla="*/ 74 h 266"/>
                <a:gd name="T102" fmla="*/ 249 w 249"/>
                <a:gd name="T103" fmla="*/ 10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9" h="266">
                  <a:moveTo>
                    <a:pt x="249" y="106"/>
                  </a:moveTo>
                  <a:cubicBezTo>
                    <a:pt x="249" y="123"/>
                    <a:pt x="234" y="138"/>
                    <a:pt x="217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4" y="141"/>
                    <a:pt x="195" y="144"/>
                    <a:pt x="195" y="147"/>
                  </a:cubicBezTo>
                  <a:cubicBezTo>
                    <a:pt x="195" y="163"/>
                    <a:pt x="184" y="176"/>
                    <a:pt x="171" y="179"/>
                  </a:cubicBezTo>
                  <a:cubicBezTo>
                    <a:pt x="172" y="183"/>
                    <a:pt x="173" y="186"/>
                    <a:pt x="173" y="190"/>
                  </a:cubicBezTo>
                  <a:cubicBezTo>
                    <a:pt x="173" y="202"/>
                    <a:pt x="168" y="212"/>
                    <a:pt x="159" y="218"/>
                  </a:cubicBezTo>
                  <a:cubicBezTo>
                    <a:pt x="162" y="222"/>
                    <a:pt x="163" y="226"/>
                    <a:pt x="163" y="232"/>
                  </a:cubicBezTo>
                  <a:cubicBezTo>
                    <a:pt x="163" y="250"/>
                    <a:pt x="149" y="266"/>
                    <a:pt x="131" y="266"/>
                  </a:cubicBezTo>
                  <a:cubicBezTo>
                    <a:pt x="89" y="266"/>
                    <a:pt x="89" y="266"/>
                    <a:pt x="89" y="266"/>
                  </a:cubicBezTo>
                  <a:cubicBezTo>
                    <a:pt x="89" y="266"/>
                    <a:pt x="88" y="266"/>
                    <a:pt x="87" y="266"/>
                  </a:cubicBezTo>
                  <a:cubicBezTo>
                    <a:pt x="77" y="266"/>
                    <a:pt x="36" y="264"/>
                    <a:pt x="7" y="240"/>
                  </a:cubicBezTo>
                  <a:cubicBezTo>
                    <a:pt x="3" y="236"/>
                    <a:pt x="2" y="229"/>
                    <a:pt x="6" y="225"/>
                  </a:cubicBezTo>
                  <a:cubicBezTo>
                    <a:pt x="10" y="220"/>
                    <a:pt x="17" y="220"/>
                    <a:pt x="21" y="224"/>
                  </a:cubicBezTo>
                  <a:cubicBezTo>
                    <a:pt x="47" y="245"/>
                    <a:pt x="88" y="244"/>
                    <a:pt x="88" y="244"/>
                  </a:cubicBezTo>
                  <a:cubicBezTo>
                    <a:pt x="131" y="244"/>
                    <a:pt x="131" y="244"/>
                    <a:pt x="131" y="244"/>
                  </a:cubicBezTo>
                  <a:cubicBezTo>
                    <a:pt x="137" y="244"/>
                    <a:pt x="142" y="238"/>
                    <a:pt x="142" y="232"/>
                  </a:cubicBezTo>
                  <a:cubicBezTo>
                    <a:pt x="142" y="227"/>
                    <a:pt x="135" y="223"/>
                    <a:pt x="128" y="223"/>
                  </a:cubicBezTo>
                  <a:cubicBezTo>
                    <a:pt x="122" y="223"/>
                    <a:pt x="117" y="218"/>
                    <a:pt x="117" y="212"/>
                  </a:cubicBezTo>
                  <a:cubicBezTo>
                    <a:pt x="117" y="206"/>
                    <a:pt x="122" y="202"/>
                    <a:pt x="128" y="202"/>
                  </a:cubicBezTo>
                  <a:cubicBezTo>
                    <a:pt x="142" y="202"/>
                    <a:pt x="142" y="202"/>
                    <a:pt x="142" y="202"/>
                  </a:cubicBezTo>
                  <a:cubicBezTo>
                    <a:pt x="148" y="202"/>
                    <a:pt x="152" y="196"/>
                    <a:pt x="152" y="190"/>
                  </a:cubicBezTo>
                  <a:cubicBezTo>
                    <a:pt x="152" y="185"/>
                    <a:pt x="145" y="180"/>
                    <a:pt x="138" y="180"/>
                  </a:cubicBezTo>
                  <a:cubicBezTo>
                    <a:pt x="128" y="180"/>
                    <a:pt x="128" y="180"/>
                    <a:pt x="128" y="180"/>
                  </a:cubicBezTo>
                  <a:cubicBezTo>
                    <a:pt x="122" y="180"/>
                    <a:pt x="117" y="176"/>
                    <a:pt x="117" y="170"/>
                  </a:cubicBezTo>
                  <a:cubicBezTo>
                    <a:pt x="117" y="164"/>
                    <a:pt x="122" y="159"/>
                    <a:pt x="128" y="159"/>
                  </a:cubicBezTo>
                  <a:cubicBezTo>
                    <a:pt x="163" y="159"/>
                    <a:pt x="163" y="159"/>
                    <a:pt x="163" y="159"/>
                  </a:cubicBezTo>
                  <a:cubicBezTo>
                    <a:pt x="169" y="159"/>
                    <a:pt x="173" y="153"/>
                    <a:pt x="173" y="147"/>
                  </a:cubicBezTo>
                  <a:cubicBezTo>
                    <a:pt x="173" y="142"/>
                    <a:pt x="166" y="138"/>
                    <a:pt x="160" y="138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2" y="138"/>
                    <a:pt x="117" y="133"/>
                    <a:pt x="117" y="127"/>
                  </a:cubicBezTo>
                  <a:cubicBezTo>
                    <a:pt x="117" y="121"/>
                    <a:pt x="122" y="116"/>
                    <a:pt x="128" y="116"/>
                  </a:cubicBezTo>
                  <a:cubicBezTo>
                    <a:pt x="217" y="116"/>
                    <a:pt x="217" y="116"/>
                    <a:pt x="217" y="116"/>
                  </a:cubicBezTo>
                  <a:cubicBezTo>
                    <a:pt x="223" y="116"/>
                    <a:pt x="227" y="112"/>
                    <a:pt x="227" y="106"/>
                  </a:cubicBezTo>
                  <a:cubicBezTo>
                    <a:pt x="227" y="100"/>
                    <a:pt x="223" y="95"/>
                    <a:pt x="217" y="95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85" y="95"/>
                    <a:pt x="82" y="93"/>
                    <a:pt x="80" y="90"/>
                  </a:cubicBezTo>
                  <a:cubicBezTo>
                    <a:pt x="78" y="87"/>
                    <a:pt x="78" y="83"/>
                    <a:pt x="79" y="79"/>
                  </a:cubicBezTo>
                  <a:cubicBezTo>
                    <a:pt x="91" y="56"/>
                    <a:pt x="129" y="45"/>
                    <a:pt x="138" y="43"/>
                  </a:cubicBezTo>
                  <a:cubicBezTo>
                    <a:pt x="143" y="40"/>
                    <a:pt x="145" y="33"/>
                    <a:pt x="142" y="28"/>
                  </a:cubicBezTo>
                  <a:cubicBezTo>
                    <a:pt x="140" y="24"/>
                    <a:pt x="131" y="24"/>
                    <a:pt x="126" y="27"/>
                  </a:cubicBezTo>
                  <a:cubicBezTo>
                    <a:pt x="125" y="27"/>
                    <a:pt x="125" y="27"/>
                    <a:pt x="124" y="27"/>
                  </a:cubicBezTo>
                  <a:cubicBezTo>
                    <a:pt x="124" y="27"/>
                    <a:pt x="48" y="56"/>
                    <a:pt x="21" y="99"/>
                  </a:cubicBezTo>
                  <a:cubicBezTo>
                    <a:pt x="18" y="104"/>
                    <a:pt x="12" y="106"/>
                    <a:pt x="7" y="102"/>
                  </a:cubicBezTo>
                  <a:cubicBezTo>
                    <a:pt x="2" y="99"/>
                    <a:pt x="0" y="93"/>
                    <a:pt x="3" y="88"/>
                  </a:cubicBezTo>
                  <a:cubicBezTo>
                    <a:pt x="33" y="40"/>
                    <a:pt x="109" y="10"/>
                    <a:pt x="117" y="7"/>
                  </a:cubicBezTo>
                  <a:cubicBezTo>
                    <a:pt x="132" y="0"/>
                    <a:pt x="153" y="2"/>
                    <a:pt x="161" y="19"/>
                  </a:cubicBezTo>
                  <a:cubicBezTo>
                    <a:pt x="169" y="35"/>
                    <a:pt x="163" y="55"/>
                    <a:pt x="147" y="62"/>
                  </a:cubicBezTo>
                  <a:cubicBezTo>
                    <a:pt x="146" y="63"/>
                    <a:pt x="145" y="63"/>
                    <a:pt x="145" y="63"/>
                  </a:cubicBezTo>
                  <a:cubicBezTo>
                    <a:pt x="137" y="65"/>
                    <a:pt x="126" y="69"/>
                    <a:pt x="117" y="74"/>
                  </a:cubicBezTo>
                  <a:cubicBezTo>
                    <a:pt x="217" y="74"/>
                    <a:pt x="217" y="74"/>
                    <a:pt x="217" y="74"/>
                  </a:cubicBezTo>
                  <a:cubicBezTo>
                    <a:pt x="234" y="74"/>
                    <a:pt x="249" y="88"/>
                    <a:pt x="249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1" name="Freeform 180"/>
          <p:cNvSpPr>
            <a:spLocks noChangeAspect="1" noEditPoints="1"/>
          </p:cNvSpPr>
          <p:nvPr/>
        </p:nvSpPr>
        <p:spPr bwMode="auto">
          <a:xfrm>
            <a:off x="9428197" y="291622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47 w 512"/>
              <a:gd name="T11" fmla="*/ 365 h 512"/>
              <a:gd name="T12" fmla="*/ 339 w 512"/>
              <a:gd name="T13" fmla="*/ 369 h 512"/>
              <a:gd name="T14" fmla="*/ 332 w 512"/>
              <a:gd name="T15" fmla="*/ 366 h 512"/>
              <a:gd name="T16" fmla="*/ 331 w 512"/>
              <a:gd name="T17" fmla="*/ 351 h 512"/>
              <a:gd name="T18" fmla="*/ 352 w 512"/>
              <a:gd name="T19" fmla="*/ 284 h 512"/>
              <a:gd name="T20" fmla="*/ 352 w 512"/>
              <a:gd name="T21" fmla="*/ 242 h 512"/>
              <a:gd name="T22" fmla="*/ 339 w 512"/>
              <a:gd name="T23" fmla="*/ 231 h 512"/>
              <a:gd name="T24" fmla="*/ 330 w 512"/>
              <a:gd name="T25" fmla="*/ 245 h 512"/>
              <a:gd name="T26" fmla="*/ 320 w 512"/>
              <a:gd name="T27" fmla="*/ 256 h 512"/>
              <a:gd name="T28" fmla="*/ 309 w 512"/>
              <a:gd name="T29" fmla="*/ 245 h 512"/>
              <a:gd name="T30" fmla="*/ 309 w 512"/>
              <a:gd name="T31" fmla="*/ 245 h 512"/>
              <a:gd name="T32" fmla="*/ 309 w 512"/>
              <a:gd name="T33" fmla="*/ 245 h 512"/>
              <a:gd name="T34" fmla="*/ 309 w 512"/>
              <a:gd name="T35" fmla="*/ 231 h 512"/>
              <a:gd name="T36" fmla="*/ 297 w 512"/>
              <a:gd name="T37" fmla="*/ 221 h 512"/>
              <a:gd name="T38" fmla="*/ 288 w 512"/>
              <a:gd name="T39" fmla="*/ 234 h 512"/>
              <a:gd name="T40" fmla="*/ 288 w 512"/>
              <a:gd name="T41" fmla="*/ 245 h 512"/>
              <a:gd name="T42" fmla="*/ 277 w 512"/>
              <a:gd name="T43" fmla="*/ 256 h 512"/>
              <a:gd name="T44" fmla="*/ 266 w 512"/>
              <a:gd name="T45" fmla="*/ 245 h 512"/>
              <a:gd name="T46" fmla="*/ 266 w 512"/>
              <a:gd name="T47" fmla="*/ 209 h 512"/>
              <a:gd name="T48" fmla="*/ 255 w 512"/>
              <a:gd name="T49" fmla="*/ 199 h 512"/>
              <a:gd name="T50" fmla="*/ 245 w 512"/>
              <a:gd name="T51" fmla="*/ 213 h 512"/>
              <a:gd name="T52" fmla="*/ 245 w 512"/>
              <a:gd name="T53" fmla="*/ 245 h 512"/>
              <a:gd name="T54" fmla="*/ 234 w 512"/>
              <a:gd name="T55" fmla="*/ 256 h 512"/>
              <a:gd name="T56" fmla="*/ 224 w 512"/>
              <a:gd name="T57" fmla="*/ 245 h 512"/>
              <a:gd name="T58" fmla="*/ 224 w 512"/>
              <a:gd name="T59" fmla="*/ 156 h 512"/>
              <a:gd name="T60" fmla="*/ 213 w 512"/>
              <a:gd name="T61" fmla="*/ 145 h 512"/>
              <a:gd name="T62" fmla="*/ 202 w 512"/>
              <a:gd name="T63" fmla="*/ 156 h 512"/>
              <a:gd name="T64" fmla="*/ 202 w 512"/>
              <a:gd name="T65" fmla="*/ 284 h 512"/>
              <a:gd name="T66" fmla="*/ 197 w 512"/>
              <a:gd name="T67" fmla="*/ 293 h 512"/>
              <a:gd name="T68" fmla="*/ 187 w 512"/>
              <a:gd name="T69" fmla="*/ 293 h 512"/>
              <a:gd name="T70" fmla="*/ 150 w 512"/>
              <a:gd name="T71" fmla="*/ 234 h 512"/>
              <a:gd name="T72" fmla="*/ 144 w 512"/>
              <a:gd name="T73" fmla="*/ 230 h 512"/>
              <a:gd name="T74" fmla="*/ 135 w 512"/>
              <a:gd name="T75" fmla="*/ 231 h 512"/>
              <a:gd name="T76" fmla="*/ 134 w 512"/>
              <a:gd name="T77" fmla="*/ 247 h 512"/>
              <a:gd name="T78" fmla="*/ 134 w 512"/>
              <a:gd name="T79" fmla="*/ 248 h 512"/>
              <a:gd name="T80" fmla="*/ 206 w 512"/>
              <a:gd name="T81" fmla="*/ 351 h 512"/>
              <a:gd name="T82" fmla="*/ 210 w 512"/>
              <a:gd name="T83" fmla="*/ 366 h 512"/>
              <a:gd name="T84" fmla="*/ 201 w 512"/>
              <a:gd name="T85" fmla="*/ 371 h 512"/>
              <a:gd name="T86" fmla="*/ 195 w 512"/>
              <a:gd name="T87" fmla="*/ 369 h 512"/>
              <a:gd name="T88" fmla="*/ 115 w 512"/>
              <a:gd name="T89" fmla="*/ 256 h 512"/>
              <a:gd name="T90" fmla="*/ 126 w 512"/>
              <a:gd name="T91" fmla="*/ 211 h 512"/>
              <a:gd name="T92" fmla="*/ 151 w 512"/>
              <a:gd name="T93" fmla="*/ 210 h 512"/>
              <a:gd name="T94" fmla="*/ 170 w 512"/>
              <a:gd name="T95" fmla="*/ 226 h 512"/>
              <a:gd name="T96" fmla="*/ 171 w 512"/>
              <a:gd name="T97" fmla="*/ 228 h 512"/>
              <a:gd name="T98" fmla="*/ 181 w 512"/>
              <a:gd name="T99" fmla="*/ 256 h 512"/>
              <a:gd name="T100" fmla="*/ 181 w 512"/>
              <a:gd name="T101" fmla="*/ 156 h 512"/>
              <a:gd name="T102" fmla="*/ 213 w 512"/>
              <a:gd name="T103" fmla="*/ 124 h 512"/>
              <a:gd name="T104" fmla="*/ 245 w 512"/>
              <a:gd name="T105" fmla="*/ 156 h 512"/>
              <a:gd name="T106" fmla="*/ 245 w 512"/>
              <a:gd name="T107" fmla="*/ 180 h 512"/>
              <a:gd name="T108" fmla="*/ 255 w 512"/>
              <a:gd name="T109" fmla="*/ 178 h 512"/>
              <a:gd name="T110" fmla="*/ 287 w 512"/>
              <a:gd name="T111" fmla="*/ 202 h 512"/>
              <a:gd name="T112" fmla="*/ 297 w 512"/>
              <a:gd name="T113" fmla="*/ 199 h 512"/>
              <a:gd name="T114" fmla="*/ 325 w 512"/>
              <a:gd name="T115" fmla="*/ 214 h 512"/>
              <a:gd name="T116" fmla="*/ 339 w 512"/>
              <a:gd name="T117" fmla="*/ 210 h 512"/>
              <a:gd name="T118" fmla="*/ 373 w 512"/>
              <a:gd name="T119" fmla="*/ 242 h 512"/>
              <a:gd name="T120" fmla="*/ 373 w 512"/>
              <a:gd name="T121" fmla="*/ 284 h 512"/>
              <a:gd name="T122" fmla="*/ 347 w 512"/>
              <a:gd name="T123" fmla="*/ 3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47" y="365"/>
                </a:moveTo>
                <a:cubicBezTo>
                  <a:pt x="345" y="367"/>
                  <a:pt x="342" y="369"/>
                  <a:pt x="339" y="369"/>
                </a:cubicBezTo>
                <a:cubicBezTo>
                  <a:pt x="337" y="369"/>
                  <a:pt x="334" y="368"/>
                  <a:pt x="332" y="366"/>
                </a:cubicBezTo>
                <a:cubicBezTo>
                  <a:pt x="328" y="362"/>
                  <a:pt x="327" y="356"/>
                  <a:pt x="331" y="351"/>
                </a:cubicBezTo>
                <a:cubicBezTo>
                  <a:pt x="353" y="325"/>
                  <a:pt x="352" y="285"/>
                  <a:pt x="352" y="284"/>
                </a:cubicBezTo>
                <a:cubicBezTo>
                  <a:pt x="352" y="242"/>
                  <a:pt x="352" y="242"/>
                  <a:pt x="352" y="242"/>
                </a:cubicBezTo>
                <a:cubicBezTo>
                  <a:pt x="352" y="236"/>
                  <a:pt x="345" y="231"/>
                  <a:pt x="339" y="231"/>
                </a:cubicBezTo>
                <a:cubicBezTo>
                  <a:pt x="334" y="231"/>
                  <a:pt x="330" y="239"/>
                  <a:pt x="330" y="245"/>
                </a:cubicBezTo>
                <a:cubicBezTo>
                  <a:pt x="330" y="251"/>
                  <a:pt x="326" y="256"/>
                  <a:pt x="320" y="256"/>
                </a:cubicBezTo>
                <a:cubicBezTo>
                  <a:pt x="314" y="256"/>
                  <a:pt x="309" y="251"/>
                  <a:pt x="309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09" y="225"/>
                  <a:pt x="303" y="221"/>
                  <a:pt x="297" y="221"/>
                </a:cubicBezTo>
                <a:cubicBezTo>
                  <a:pt x="292" y="221"/>
                  <a:pt x="288" y="228"/>
                  <a:pt x="288" y="234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51"/>
                  <a:pt x="283" y="256"/>
                  <a:pt x="277" y="256"/>
                </a:cubicBezTo>
                <a:cubicBezTo>
                  <a:pt x="271" y="256"/>
                  <a:pt x="266" y="251"/>
                  <a:pt x="266" y="245"/>
                </a:cubicBezTo>
                <a:cubicBezTo>
                  <a:pt x="266" y="209"/>
                  <a:pt x="266" y="209"/>
                  <a:pt x="266" y="209"/>
                </a:cubicBezTo>
                <a:cubicBezTo>
                  <a:pt x="266" y="203"/>
                  <a:pt x="260" y="199"/>
                  <a:pt x="255" y="199"/>
                </a:cubicBezTo>
                <a:cubicBezTo>
                  <a:pt x="250" y="199"/>
                  <a:pt x="245" y="206"/>
                  <a:pt x="245" y="213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51"/>
                  <a:pt x="240" y="256"/>
                  <a:pt x="234" y="256"/>
                </a:cubicBezTo>
                <a:cubicBezTo>
                  <a:pt x="228" y="256"/>
                  <a:pt x="224" y="251"/>
                  <a:pt x="224" y="245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4" y="150"/>
                  <a:pt x="219" y="145"/>
                  <a:pt x="213" y="145"/>
                </a:cubicBezTo>
                <a:cubicBezTo>
                  <a:pt x="207" y="145"/>
                  <a:pt x="202" y="150"/>
                  <a:pt x="202" y="156"/>
                </a:cubicBezTo>
                <a:cubicBezTo>
                  <a:pt x="202" y="284"/>
                  <a:pt x="202" y="284"/>
                  <a:pt x="202" y="284"/>
                </a:cubicBezTo>
                <a:cubicBezTo>
                  <a:pt x="202" y="288"/>
                  <a:pt x="200" y="291"/>
                  <a:pt x="197" y="293"/>
                </a:cubicBezTo>
                <a:cubicBezTo>
                  <a:pt x="194" y="295"/>
                  <a:pt x="190" y="295"/>
                  <a:pt x="187" y="293"/>
                </a:cubicBezTo>
                <a:cubicBezTo>
                  <a:pt x="163" y="281"/>
                  <a:pt x="153" y="243"/>
                  <a:pt x="150" y="234"/>
                </a:cubicBezTo>
                <a:cubicBezTo>
                  <a:pt x="149" y="232"/>
                  <a:pt x="147" y="231"/>
                  <a:pt x="144" y="230"/>
                </a:cubicBezTo>
                <a:cubicBezTo>
                  <a:pt x="141" y="229"/>
                  <a:pt x="138" y="229"/>
                  <a:pt x="135" y="231"/>
                </a:cubicBezTo>
                <a:cubicBezTo>
                  <a:pt x="131" y="233"/>
                  <a:pt x="131" y="241"/>
                  <a:pt x="134" y="247"/>
                </a:cubicBezTo>
                <a:cubicBezTo>
                  <a:pt x="134" y="247"/>
                  <a:pt x="134" y="248"/>
                  <a:pt x="134" y="248"/>
                </a:cubicBezTo>
                <a:cubicBezTo>
                  <a:pt x="135" y="249"/>
                  <a:pt x="163" y="324"/>
                  <a:pt x="206" y="351"/>
                </a:cubicBezTo>
                <a:cubicBezTo>
                  <a:pt x="211" y="354"/>
                  <a:pt x="213" y="361"/>
                  <a:pt x="210" y="366"/>
                </a:cubicBezTo>
                <a:cubicBezTo>
                  <a:pt x="208" y="369"/>
                  <a:pt x="204" y="371"/>
                  <a:pt x="201" y="371"/>
                </a:cubicBezTo>
                <a:cubicBezTo>
                  <a:pt x="199" y="371"/>
                  <a:pt x="197" y="371"/>
                  <a:pt x="195" y="369"/>
                </a:cubicBezTo>
                <a:cubicBezTo>
                  <a:pt x="147" y="340"/>
                  <a:pt x="117" y="264"/>
                  <a:pt x="115" y="256"/>
                </a:cubicBezTo>
                <a:cubicBezTo>
                  <a:pt x="107" y="241"/>
                  <a:pt x="109" y="220"/>
                  <a:pt x="126" y="211"/>
                </a:cubicBezTo>
                <a:cubicBezTo>
                  <a:pt x="133" y="208"/>
                  <a:pt x="142" y="207"/>
                  <a:pt x="151" y="210"/>
                </a:cubicBezTo>
                <a:cubicBezTo>
                  <a:pt x="159" y="212"/>
                  <a:pt x="166" y="218"/>
                  <a:pt x="170" y="226"/>
                </a:cubicBezTo>
                <a:cubicBezTo>
                  <a:pt x="170" y="226"/>
                  <a:pt x="170" y="227"/>
                  <a:pt x="171" y="228"/>
                </a:cubicBezTo>
                <a:cubicBezTo>
                  <a:pt x="172" y="236"/>
                  <a:pt x="176" y="246"/>
                  <a:pt x="181" y="256"/>
                </a:cubicBezTo>
                <a:cubicBezTo>
                  <a:pt x="181" y="156"/>
                  <a:pt x="181" y="156"/>
                  <a:pt x="181" y="156"/>
                </a:cubicBezTo>
                <a:cubicBezTo>
                  <a:pt x="181" y="138"/>
                  <a:pt x="195" y="124"/>
                  <a:pt x="213" y="124"/>
                </a:cubicBezTo>
                <a:cubicBezTo>
                  <a:pt x="231" y="124"/>
                  <a:pt x="245" y="138"/>
                  <a:pt x="245" y="156"/>
                </a:cubicBezTo>
                <a:cubicBezTo>
                  <a:pt x="245" y="180"/>
                  <a:pt x="245" y="180"/>
                  <a:pt x="245" y="180"/>
                </a:cubicBezTo>
                <a:cubicBezTo>
                  <a:pt x="248" y="179"/>
                  <a:pt x="251" y="178"/>
                  <a:pt x="255" y="178"/>
                </a:cubicBezTo>
                <a:cubicBezTo>
                  <a:pt x="270" y="178"/>
                  <a:pt x="283" y="188"/>
                  <a:pt x="287" y="202"/>
                </a:cubicBezTo>
                <a:cubicBezTo>
                  <a:pt x="290" y="200"/>
                  <a:pt x="293" y="199"/>
                  <a:pt x="297" y="199"/>
                </a:cubicBezTo>
                <a:cubicBezTo>
                  <a:pt x="309" y="199"/>
                  <a:pt x="319" y="205"/>
                  <a:pt x="325" y="214"/>
                </a:cubicBezTo>
                <a:cubicBezTo>
                  <a:pt x="329" y="211"/>
                  <a:pt x="334" y="210"/>
                  <a:pt x="339" y="210"/>
                </a:cubicBezTo>
                <a:cubicBezTo>
                  <a:pt x="357" y="210"/>
                  <a:pt x="373" y="224"/>
                  <a:pt x="373" y="242"/>
                </a:cubicBezTo>
                <a:cubicBezTo>
                  <a:pt x="373" y="284"/>
                  <a:pt x="373" y="284"/>
                  <a:pt x="373" y="284"/>
                </a:cubicBezTo>
                <a:cubicBezTo>
                  <a:pt x="373" y="286"/>
                  <a:pt x="374" y="333"/>
                  <a:pt x="347" y="3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2" name="Group 183"/>
          <p:cNvGrpSpPr>
            <a:grpSpLocks noChangeAspect="1"/>
          </p:cNvGrpSpPr>
          <p:nvPr/>
        </p:nvGrpSpPr>
        <p:grpSpPr bwMode="auto">
          <a:xfrm>
            <a:off x="9927174" y="2916225"/>
            <a:ext cx="367041" cy="367041"/>
            <a:chOff x="5593" y="1515"/>
            <a:chExt cx="340" cy="340"/>
          </a:xfrm>
          <a:solidFill>
            <a:schemeClr val="accent2"/>
          </a:solidFill>
        </p:grpSpPr>
        <p:sp>
          <p:nvSpPr>
            <p:cNvPr id="303" name="Freeform 302"/>
            <p:cNvSpPr>
              <a:spLocks noEditPoints="1"/>
            </p:cNvSpPr>
            <p:nvPr/>
          </p:nvSpPr>
          <p:spPr bwMode="auto">
            <a:xfrm>
              <a:off x="5593" y="151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303"/>
            <p:cNvSpPr>
              <a:spLocks/>
            </p:cNvSpPr>
            <p:nvPr/>
          </p:nvSpPr>
          <p:spPr bwMode="auto">
            <a:xfrm>
              <a:off x="5664" y="1597"/>
              <a:ext cx="177" cy="164"/>
            </a:xfrm>
            <a:custGeom>
              <a:avLst/>
              <a:gdLst>
                <a:gd name="T0" fmla="*/ 240 w 267"/>
                <a:gd name="T1" fmla="*/ 241 h 247"/>
                <a:gd name="T2" fmla="*/ 232 w 267"/>
                <a:gd name="T3" fmla="*/ 245 h 247"/>
                <a:gd name="T4" fmla="*/ 225 w 267"/>
                <a:gd name="T5" fmla="*/ 242 h 247"/>
                <a:gd name="T6" fmla="*/ 224 w 267"/>
                <a:gd name="T7" fmla="*/ 227 h 247"/>
                <a:gd name="T8" fmla="*/ 245 w 267"/>
                <a:gd name="T9" fmla="*/ 160 h 247"/>
                <a:gd name="T10" fmla="*/ 245 w 267"/>
                <a:gd name="T11" fmla="*/ 118 h 247"/>
                <a:gd name="T12" fmla="*/ 232 w 267"/>
                <a:gd name="T13" fmla="*/ 107 h 247"/>
                <a:gd name="T14" fmla="*/ 223 w 267"/>
                <a:gd name="T15" fmla="*/ 121 h 247"/>
                <a:gd name="T16" fmla="*/ 213 w 267"/>
                <a:gd name="T17" fmla="*/ 132 h 247"/>
                <a:gd name="T18" fmla="*/ 202 w 267"/>
                <a:gd name="T19" fmla="*/ 121 h 247"/>
                <a:gd name="T20" fmla="*/ 202 w 267"/>
                <a:gd name="T21" fmla="*/ 121 h 247"/>
                <a:gd name="T22" fmla="*/ 202 w 267"/>
                <a:gd name="T23" fmla="*/ 121 h 247"/>
                <a:gd name="T24" fmla="*/ 202 w 267"/>
                <a:gd name="T25" fmla="*/ 107 h 247"/>
                <a:gd name="T26" fmla="*/ 190 w 267"/>
                <a:gd name="T27" fmla="*/ 97 h 247"/>
                <a:gd name="T28" fmla="*/ 181 w 267"/>
                <a:gd name="T29" fmla="*/ 110 h 247"/>
                <a:gd name="T30" fmla="*/ 181 w 267"/>
                <a:gd name="T31" fmla="*/ 121 h 247"/>
                <a:gd name="T32" fmla="*/ 170 w 267"/>
                <a:gd name="T33" fmla="*/ 132 h 247"/>
                <a:gd name="T34" fmla="*/ 159 w 267"/>
                <a:gd name="T35" fmla="*/ 121 h 247"/>
                <a:gd name="T36" fmla="*/ 159 w 267"/>
                <a:gd name="T37" fmla="*/ 85 h 247"/>
                <a:gd name="T38" fmla="*/ 148 w 267"/>
                <a:gd name="T39" fmla="*/ 75 h 247"/>
                <a:gd name="T40" fmla="*/ 138 w 267"/>
                <a:gd name="T41" fmla="*/ 89 h 247"/>
                <a:gd name="T42" fmla="*/ 138 w 267"/>
                <a:gd name="T43" fmla="*/ 121 h 247"/>
                <a:gd name="T44" fmla="*/ 127 w 267"/>
                <a:gd name="T45" fmla="*/ 132 h 247"/>
                <a:gd name="T46" fmla="*/ 117 w 267"/>
                <a:gd name="T47" fmla="*/ 121 h 247"/>
                <a:gd name="T48" fmla="*/ 117 w 267"/>
                <a:gd name="T49" fmla="*/ 32 h 247"/>
                <a:gd name="T50" fmla="*/ 106 w 267"/>
                <a:gd name="T51" fmla="*/ 21 h 247"/>
                <a:gd name="T52" fmla="*/ 95 w 267"/>
                <a:gd name="T53" fmla="*/ 32 h 247"/>
                <a:gd name="T54" fmla="*/ 95 w 267"/>
                <a:gd name="T55" fmla="*/ 160 h 247"/>
                <a:gd name="T56" fmla="*/ 90 w 267"/>
                <a:gd name="T57" fmla="*/ 169 h 247"/>
                <a:gd name="T58" fmla="*/ 80 w 267"/>
                <a:gd name="T59" fmla="*/ 169 h 247"/>
                <a:gd name="T60" fmla="*/ 43 w 267"/>
                <a:gd name="T61" fmla="*/ 110 h 247"/>
                <a:gd name="T62" fmla="*/ 37 w 267"/>
                <a:gd name="T63" fmla="*/ 106 h 247"/>
                <a:gd name="T64" fmla="*/ 28 w 267"/>
                <a:gd name="T65" fmla="*/ 107 h 247"/>
                <a:gd name="T66" fmla="*/ 27 w 267"/>
                <a:gd name="T67" fmla="*/ 123 h 247"/>
                <a:gd name="T68" fmla="*/ 27 w 267"/>
                <a:gd name="T69" fmla="*/ 124 h 247"/>
                <a:gd name="T70" fmla="*/ 99 w 267"/>
                <a:gd name="T71" fmla="*/ 227 h 247"/>
                <a:gd name="T72" fmla="*/ 103 w 267"/>
                <a:gd name="T73" fmla="*/ 242 h 247"/>
                <a:gd name="T74" fmla="*/ 94 w 267"/>
                <a:gd name="T75" fmla="*/ 247 h 247"/>
                <a:gd name="T76" fmla="*/ 88 w 267"/>
                <a:gd name="T77" fmla="*/ 245 h 247"/>
                <a:gd name="T78" fmla="*/ 8 w 267"/>
                <a:gd name="T79" fmla="*/ 132 h 247"/>
                <a:gd name="T80" fmla="*/ 19 w 267"/>
                <a:gd name="T81" fmla="*/ 87 h 247"/>
                <a:gd name="T82" fmla="*/ 44 w 267"/>
                <a:gd name="T83" fmla="*/ 86 h 247"/>
                <a:gd name="T84" fmla="*/ 63 w 267"/>
                <a:gd name="T85" fmla="*/ 102 h 247"/>
                <a:gd name="T86" fmla="*/ 64 w 267"/>
                <a:gd name="T87" fmla="*/ 104 h 247"/>
                <a:gd name="T88" fmla="*/ 74 w 267"/>
                <a:gd name="T89" fmla="*/ 132 h 247"/>
                <a:gd name="T90" fmla="*/ 74 w 267"/>
                <a:gd name="T91" fmla="*/ 32 h 247"/>
                <a:gd name="T92" fmla="*/ 106 w 267"/>
                <a:gd name="T93" fmla="*/ 0 h 247"/>
                <a:gd name="T94" fmla="*/ 138 w 267"/>
                <a:gd name="T95" fmla="*/ 32 h 247"/>
                <a:gd name="T96" fmla="*/ 138 w 267"/>
                <a:gd name="T97" fmla="*/ 56 h 247"/>
                <a:gd name="T98" fmla="*/ 148 w 267"/>
                <a:gd name="T99" fmla="*/ 54 h 247"/>
                <a:gd name="T100" fmla="*/ 180 w 267"/>
                <a:gd name="T101" fmla="*/ 78 h 247"/>
                <a:gd name="T102" fmla="*/ 190 w 267"/>
                <a:gd name="T103" fmla="*/ 75 h 247"/>
                <a:gd name="T104" fmla="*/ 218 w 267"/>
                <a:gd name="T105" fmla="*/ 90 h 247"/>
                <a:gd name="T106" fmla="*/ 232 w 267"/>
                <a:gd name="T107" fmla="*/ 86 h 247"/>
                <a:gd name="T108" fmla="*/ 266 w 267"/>
                <a:gd name="T109" fmla="*/ 118 h 247"/>
                <a:gd name="T110" fmla="*/ 266 w 267"/>
                <a:gd name="T111" fmla="*/ 160 h 247"/>
                <a:gd name="T112" fmla="*/ 240 w 267"/>
                <a:gd name="T113" fmla="*/ 24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7" h="247">
                  <a:moveTo>
                    <a:pt x="240" y="241"/>
                  </a:moveTo>
                  <a:cubicBezTo>
                    <a:pt x="238" y="243"/>
                    <a:pt x="235" y="245"/>
                    <a:pt x="232" y="245"/>
                  </a:cubicBezTo>
                  <a:cubicBezTo>
                    <a:pt x="230" y="245"/>
                    <a:pt x="227" y="244"/>
                    <a:pt x="225" y="242"/>
                  </a:cubicBezTo>
                  <a:cubicBezTo>
                    <a:pt x="221" y="238"/>
                    <a:pt x="220" y="232"/>
                    <a:pt x="224" y="227"/>
                  </a:cubicBezTo>
                  <a:cubicBezTo>
                    <a:pt x="246" y="201"/>
                    <a:pt x="245" y="161"/>
                    <a:pt x="245" y="160"/>
                  </a:cubicBezTo>
                  <a:cubicBezTo>
                    <a:pt x="245" y="118"/>
                    <a:pt x="245" y="118"/>
                    <a:pt x="245" y="118"/>
                  </a:cubicBezTo>
                  <a:cubicBezTo>
                    <a:pt x="245" y="112"/>
                    <a:pt x="238" y="107"/>
                    <a:pt x="232" y="107"/>
                  </a:cubicBezTo>
                  <a:cubicBezTo>
                    <a:pt x="227" y="107"/>
                    <a:pt x="223" y="115"/>
                    <a:pt x="223" y="121"/>
                  </a:cubicBezTo>
                  <a:cubicBezTo>
                    <a:pt x="223" y="127"/>
                    <a:pt x="219" y="132"/>
                    <a:pt x="213" y="132"/>
                  </a:cubicBezTo>
                  <a:cubicBezTo>
                    <a:pt x="207" y="132"/>
                    <a:pt x="202" y="127"/>
                    <a:pt x="202" y="121"/>
                  </a:cubicBezTo>
                  <a:cubicBezTo>
                    <a:pt x="202" y="121"/>
                    <a:pt x="202" y="121"/>
                    <a:pt x="202" y="121"/>
                  </a:cubicBezTo>
                  <a:cubicBezTo>
                    <a:pt x="202" y="121"/>
                    <a:pt x="202" y="121"/>
                    <a:pt x="202" y="121"/>
                  </a:cubicBezTo>
                  <a:cubicBezTo>
                    <a:pt x="202" y="107"/>
                    <a:pt x="202" y="107"/>
                    <a:pt x="202" y="107"/>
                  </a:cubicBezTo>
                  <a:cubicBezTo>
                    <a:pt x="202" y="101"/>
                    <a:pt x="196" y="97"/>
                    <a:pt x="190" y="97"/>
                  </a:cubicBezTo>
                  <a:cubicBezTo>
                    <a:pt x="185" y="97"/>
                    <a:pt x="181" y="104"/>
                    <a:pt x="181" y="110"/>
                  </a:cubicBezTo>
                  <a:cubicBezTo>
                    <a:pt x="181" y="121"/>
                    <a:pt x="181" y="121"/>
                    <a:pt x="181" y="121"/>
                  </a:cubicBezTo>
                  <a:cubicBezTo>
                    <a:pt x="181" y="127"/>
                    <a:pt x="176" y="132"/>
                    <a:pt x="170" y="132"/>
                  </a:cubicBezTo>
                  <a:cubicBezTo>
                    <a:pt x="164" y="132"/>
                    <a:pt x="159" y="127"/>
                    <a:pt x="159" y="121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79"/>
                    <a:pt x="153" y="75"/>
                    <a:pt x="148" y="75"/>
                  </a:cubicBezTo>
                  <a:cubicBezTo>
                    <a:pt x="143" y="75"/>
                    <a:pt x="138" y="82"/>
                    <a:pt x="138" y="89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8" y="127"/>
                    <a:pt x="133" y="132"/>
                    <a:pt x="127" y="132"/>
                  </a:cubicBezTo>
                  <a:cubicBezTo>
                    <a:pt x="121" y="132"/>
                    <a:pt x="117" y="127"/>
                    <a:pt x="117" y="121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26"/>
                    <a:pt x="112" y="21"/>
                    <a:pt x="106" y="21"/>
                  </a:cubicBezTo>
                  <a:cubicBezTo>
                    <a:pt x="100" y="21"/>
                    <a:pt x="95" y="26"/>
                    <a:pt x="95" y="32"/>
                  </a:cubicBezTo>
                  <a:cubicBezTo>
                    <a:pt x="95" y="160"/>
                    <a:pt x="95" y="160"/>
                    <a:pt x="95" y="160"/>
                  </a:cubicBezTo>
                  <a:cubicBezTo>
                    <a:pt x="95" y="164"/>
                    <a:pt x="93" y="167"/>
                    <a:pt x="90" y="169"/>
                  </a:cubicBezTo>
                  <a:cubicBezTo>
                    <a:pt x="87" y="171"/>
                    <a:pt x="83" y="171"/>
                    <a:pt x="80" y="169"/>
                  </a:cubicBezTo>
                  <a:cubicBezTo>
                    <a:pt x="56" y="157"/>
                    <a:pt x="46" y="119"/>
                    <a:pt x="43" y="110"/>
                  </a:cubicBezTo>
                  <a:cubicBezTo>
                    <a:pt x="42" y="108"/>
                    <a:pt x="40" y="107"/>
                    <a:pt x="37" y="106"/>
                  </a:cubicBezTo>
                  <a:cubicBezTo>
                    <a:pt x="34" y="105"/>
                    <a:pt x="31" y="105"/>
                    <a:pt x="28" y="107"/>
                  </a:cubicBezTo>
                  <a:cubicBezTo>
                    <a:pt x="24" y="109"/>
                    <a:pt x="24" y="117"/>
                    <a:pt x="27" y="123"/>
                  </a:cubicBezTo>
                  <a:cubicBezTo>
                    <a:pt x="27" y="123"/>
                    <a:pt x="27" y="124"/>
                    <a:pt x="27" y="124"/>
                  </a:cubicBezTo>
                  <a:cubicBezTo>
                    <a:pt x="28" y="125"/>
                    <a:pt x="56" y="200"/>
                    <a:pt x="99" y="227"/>
                  </a:cubicBezTo>
                  <a:cubicBezTo>
                    <a:pt x="104" y="230"/>
                    <a:pt x="106" y="237"/>
                    <a:pt x="103" y="242"/>
                  </a:cubicBezTo>
                  <a:cubicBezTo>
                    <a:pt x="101" y="245"/>
                    <a:pt x="97" y="247"/>
                    <a:pt x="94" y="247"/>
                  </a:cubicBezTo>
                  <a:cubicBezTo>
                    <a:pt x="92" y="247"/>
                    <a:pt x="90" y="247"/>
                    <a:pt x="88" y="245"/>
                  </a:cubicBezTo>
                  <a:cubicBezTo>
                    <a:pt x="40" y="216"/>
                    <a:pt x="10" y="140"/>
                    <a:pt x="8" y="132"/>
                  </a:cubicBezTo>
                  <a:cubicBezTo>
                    <a:pt x="0" y="117"/>
                    <a:pt x="2" y="96"/>
                    <a:pt x="19" y="87"/>
                  </a:cubicBezTo>
                  <a:cubicBezTo>
                    <a:pt x="26" y="84"/>
                    <a:pt x="35" y="83"/>
                    <a:pt x="44" y="86"/>
                  </a:cubicBezTo>
                  <a:cubicBezTo>
                    <a:pt x="52" y="88"/>
                    <a:pt x="59" y="94"/>
                    <a:pt x="63" y="102"/>
                  </a:cubicBezTo>
                  <a:cubicBezTo>
                    <a:pt x="63" y="102"/>
                    <a:pt x="63" y="103"/>
                    <a:pt x="64" y="104"/>
                  </a:cubicBezTo>
                  <a:cubicBezTo>
                    <a:pt x="65" y="112"/>
                    <a:pt x="69" y="122"/>
                    <a:pt x="74" y="1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14"/>
                    <a:pt x="88" y="0"/>
                    <a:pt x="106" y="0"/>
                  </a:cubicBezTo>
                  <a:cubicBezTo>
                    <a:pt x="124" y="0"/>
                    <a:pt x="138" y="14"/>
                    <a:pt x="138" y="32"/>
                  </a:cubicBezTo>
                  <a:cubicBezTo>
                    <a:pt x="138" y="56"/>
                    <a:pt x="138" y="56"/>
                    <a:pt x="138" y="56"/>
                  </a:cubicBezTo>
                  <a:cubicBezTo>
                    <a:pt x="141" y="55"/>
                    <a:pt x="144" y="54"/>
                    <a:pt x="148" y="54"/>
                  </a:cubicBezTo>
                  <a:cubicBezTo>
                    <a:pt x="163" y="54"/>
                    <a:pt x="176" y="64"/>
                    <a:pt x="180" y="78"/>
                  </a:cubicBezTo>
                  <a:cubicBezTo>
                    <a:pt x="183" y="76"/>
                    <a:pt x="186" y="75"/>
                    <a:pt x="190" y="75"/>
                  </a:cubicBezTo>
                  <a:cubicBezTo>
                    <a:pt x="202" y="75"/>
                    <a:pt x="212" y="81"/>
                    <a:pt x="218" y="90"/>
                  </a:cubicBezTo>
                  <a:cubicBezTo>
                    <a:pt x="222" y="87"/>
                    <a:pt x="227" y="86"/>
                    <a:pt x="232" y="86"/>
                  </a:cubicBezTo>
                  <a:cubicBezTo>
                    <a:pt x="250" y="86"/>
                    <a:pt x="266" y="100"/>
                    <a:pt x="266" y="118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2"/>
                    <a:pt x="267" y="209"/>
                    <a:pt x="240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986"/>
          <p:cNvSpPr>
            <a:spLocks noChangeAspect="1" noEditPoints="1"/>
          </p:cNvSpPr>
          <p:nvPr/>
        </p:nvSpPr>
        <p:spPr bwMode="auto">
          <a:xfrm>
            <a:off x="436143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18 w 512"/>
              <a:gd name="T5" fmla="*/ 241 h 512"/>
              <a:gd name="T6" fmla="*/ 106 w 512"/>
              <a:gd name="T7" fmla="*/ 213 h 512"/>
              <a:gd name="T8" fmla="*/ 341 w 512"/>
              <a:gd name="T9" fmla="*/ 213 h 512"/>
              <a:gd name="T10" fmla="*/ 329 w 512"/>
              <a:gd name="T11" fmla="*/ 231 h 512"/>
              <a:gd name="T12" fmla="*/ 320 w 512"/>
              <a:gd name="T13" fmla="*/ 213 h 512"/>
              <a:gd name="T14" fmla="*/ 128 w 512"/>
              <a:gd name="T15" fmla="*/ 213 h 512"/>
              <a:gd name="T16" fmla="*/ 120 w 512"/>
              <a:gd name="T17" fmla="*/ 241 h 512"/>
              <a:gd name="T18" fmla="*/ 172 w 512"/>
              <a:gd name="T19" fmla="*/ 222 h 512"/>
              <a:gd name="T20" fmla="*/ 161 w 512"/>
              <a:gd name="T21" fmla="*/ 234 h 512"/>
              <a:gd name="T22" fmla="*/ 149 w 512"/>
              <a:gd name="T23" fmla="*/ 213 h 512"/>
              <a:gd name="T24" fmla="*/ 298 w 512"/>
              <a:gd name="T25" fmla="*/ 201 h 512"/>
              <a:gd name="T26" fmla="*/ 277 w 512"/>
              <a:gd name="T27" fmla="*/ 204 h 512"/>
              <a:gd name="T28" fmla="*/ 171 w 512"/>
              <a:gd name="T29" fmla="*/ 213 h 512"/>
              <a:gd name="T30" fmla="*/ 368 w 512"/>
              <a:gd name="T31" fmla="*/ 410 h 512"/>
              <a:gd name="T32" fmla="*/ 353 w 512"/>
              <a:gd name="T33" fmla="*/ 414 h 512"/>
              <a:gd name="T34" fmla="*/ 362 w 512"/>
              <a:gd name="T35" fmla="*/ 342 h 512"/>
              <a:gd name="T36" fmla="*/ 351 w 512"/>
              <a:gd name="T37" fmla="*/ 288 h 512"/>
              <a:gd name="T38" fmla="*/ 341 w 512"/>
              <a:gd name="T39" fmla="*/ 298 h 512"/>
              <a:gd name="T40" fmla="*/ 330 w 512"/>
              <a:gd name="T41" fmla="*/ 309 h 512"/>
              <a:gd name="T42" fmla="*/ 320 w 512"/>
              <a:gd name="T43" fmla="*/ 298 h 512"/>
              <a:gd name="T44" fmla="*/ 309 w 512"/>
              <a:gd name="T45" fmla="*/ 277 h 512"/>
              <a:gd name="T46" fmla="*/ 298 w 512"/>
              <a:gd name="T47" fmla="*/ 298 h 512"/>
              <a:gd name="T48" fmla="*/ 277 w 512"/>
              <a:gd name="T49" fmla="*/ 298 h 512"/>
              <a:gd name="T50" fmla="*/ 266 w 512"/>
              <a:gd name="T51" fmla="*/ 256 h 512"/>
              <a:gd name="T52" fmla="*/ 256 w 512"/>
              <a:gd name="T53" fmla="*/ 298 h 512"/>
              <a:gd name="T54" fmla="*/ 234 w 512"/>
              <a:gd name="T55" fmla="*/ 298 h 512"/>
              <a:gd name="T56" fmla="*/ 224 w 512"/>
              <a:gd name="T57" fmla="*/ 202 h 512"/>
              <a:gd name="T58" fmla="*/ 213 w 512"/>
              <a:gd name="T59" fmla="*/ 341 h 512"/>
              <a:gd name="T60" fmla="*/ 195 w 512"/>
              <a:gd name="T61" fmla="*/ 349 h 512"/>
              <a:gd name="T62" fmla="*/ 157 w 512"/>
              <a:gd name="T63" fmla="*/ 287 h 512"/>
              <a:gd name="T64" fmla="*/ 148 w 512"/>
              <a:gd name="T65" fmla="*/ 304 h 512"/>
              <a:gd name="T66" fmla="*/ 206 w 512"/>
              <a:gd name="T67" fmla="*/ 397 h 512"/>
              <a:gd name="T68" fmla="*/ 199 w 512"/>
              <a:gd name="T69" fmla="*/ 416 h 512"/>
              <a:gd name="T70" fmla="*/ 128 w 512"/>
              <a:gd name="T71" fmla="*/ 313 h 512"/>
              <a:gd name="T72" fmla="*/ 164 w 512"/>
              <a:gd name="T73" fmla="*/ 267 h 512"/>
              <a:gd name="T74" fmla="*/ 192 w 512"/>
              <a:gd name="T75" fmla="*/ 304 h 512"/>
              <a:gd name="T76" fmla="*/ 224 w 512"/>
              <a:gd name="T77" fmla="*/ 181 h 512"/>
              <a:gd name="T78" fmla="*/ 256 w 512"/>
              <a:gd name="T79" fmla="*/ 236 h 512"/>
              <a:gd name="T80" fmla="*/ 297 w 512"/>
              <a:gd name="T81" fmla="*/ 258 h 512"/>
              <a:gd name="T82" fmla="*/ 336 w 512"/>
              <a:gd name="T83" fmla="*/ 271 h 512"/>
              <a:gd name="T84" fmla="*/ 384 w 512"/>
              <a:gd name="T85" fmla="*/ 298 h 512"/>
              <a:gd name="T86" fmla="*/ 368 w 512"/>
              <a:gd name="T87" fmla="*/ 4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8" y="241"/>
                </a:moveTo>
                <a:cubicBezTo>
                  <a:pt x="113" y="241"/>
                  <a:pt x="109" y="238"/>
                  <a:pt x="108" y="233"/>
                </a:cubicBezTo>
                <a:cubicBezTo>
                  <a:pt x="107" y="226"/>
                  <a:pt x="106" y="220"/>
                  <a:pt x="106" y="213"/>
                </a:cubicBezTo>
                <a:cubicBezTo>
                  <a:pt x="106" y="148"/>
                  <a:pt x="159" y="96"/>
                  <a:pt x="224" y="96"/>
                </a:cubicBezTo>
                <a:cubicBezTo>
                  <a:pt x="288" y="96"/>
                  <a:pt x="341" y="148"/>
                  <a:pt x="341" y="213"/>
                </a:cubicBezTo>
                <a:cubicBezTo>
                  <a:pt x="341" y="216"/>
                  <a:pt x="341" y="218"/>
                  <a:pt x="341" y="221"/>
                </a:cubicBezTo>
                <a:cubicBezTo>
                  <a:pt x="340" y="227"/>
                  <a:pt x="335" y="231"/>
                  <a:pt x="329" y="231"/>
                </a:cubicBezTo>
                <a:cubicBezTo>
                  <a:pt x="324" y="230"/>
                  <a:pt x="319" y="225"/>
                  <a:pt x="319" y="219"/>
                </a:cubicBezTo>
                <a:cubicBezTo>
                  <a:pt x="320" y="217"/>
                  <a:pt x="320" y="215"/>
                  <a:pt x="320" y="213"/>
                </a:cubicBezTo>
                <a:cubicBezTo>
                  <a:pt x="320" y="160"/>
                  <a:pt x="277" y="117"/>
                  <a:pt x="224" y="117"/>
                </a:cubicBezTo>
                <a:cubicBezTo>
                  <a:pt x="171" y="117"/>
                  <a:pt x="128" y="160"/>
                  <a:pt x="128" y="213"/>
                </a:cubicBezTo>
                <a:cubicBezTo>
                  <a:pt x="128" y="218"/>
                  <a:pt x="128" y="224"/>
                  <a:pt x="129" y="229"/>
                </a:cubicBezTo>
                <a:cubicBezTo>
                  <a:pt x="130" y="235"/>
                  <a:pt x="126" y="240"/>
                  <a:pt x="120" y="241"/>
                </a:cubicBezTo>
                <a:cubicBezTo>
                  <a:pt x="120" y="241"/>
                  <a:pt x="119" y="241"/>
                  <a:pt x="118" y="241"/>
                </a:cubicBezTo>
                <a:close/>
                <a:moveTo>
                  <a:pt x="172" y="222"/>
                </a:moveTo>
                <a:cubicBezTo>
                  <a:pt x="173" y="228"/>
                  <a:pt x="169" y="233"/>
                  <a:pt x="163" y="234"/>
                </a:cubicBezTo>
                <a:cubicBezTo>
                  <a:pt x="162" y="234"/>
                  <a:pt x="162" y="234"/>
                  <a:pt x="161" y="234"/>
                </a:cubicBezTo>
                <a:cubicBezTo>
                  <a:pt x="156" y="234"/>
                  <a:pt x="151" y="231"/>
                  <a:pt x="150" y="225"/>
                </a:cubicBezTo>
                <a:cubicBezTo>
                  <a:pt x="150" y="221"/>
                  <a:pt x="149" y="217"/>
                  <a:pt x="149" y="213"/>
                </a:cubicBezTo>
                <a:cubicBezTo>
                  <a:pt x="149" y="172"/>
                  <a:pt x="183" y="138"/>
                  <a:pt x="224" y="138"/>
                </a:cubicBezTo>
                <a:cubicBezTo>
                  <a:pt x="261" y="138"/>
                  <a:pt x="292" y="164"/>
                  <a:pt x="298" y="201"/>
                </a:cubicBezTo>
                <a:cubicBezTo>
                  <a:pt x="299" y="206"/>
                  <a:pt x="295" y="212"/>
                  <a:pt x="289" y="213"/>
                </a:cubicBezTo>
                <a:cubicBezTo>
                  <a:pt x="283" y="214"/>
                  <a:pt x="278" y="210"/>
                  <a:pt x="277" y="204"/>
                </a:cubicBezTo>
                <a:cubicBezTo>
                  <a:pt x="272" y="178"/>
                  <a:pt x="250" y="160"/>
                  <a:pt x="224" y="160"/>
                </a:cubicBezTo>
                <a:cubicBezTo>
                  <a:pt x="195" y="160"/>
                  <a:pt x="171" y="184"/>
                  <a:pt x="171" y="213"/>
                </a:cubicBezTo>
                <a:cubicBezTo>
                  <a:pt x="171" y="216"/>
                  <a:pt x="171" y="219"/>
                  <a:pt x="172" y="222"/>
                </a:cubicBezTo>
                <a:close/>
                <a:moveTo>
                  <a:pt x="368" y="410"/>
                </a:moveTo>
                <a:cubicBezTo>
                  <a:pt x="366" y="414"/>
                  <a:pt x="362" y="416"/>
                  <a:pt x="359" y="416"/>
                </a:cubicBezTo>
                <a:cubicBezTo>
                  <a:pt x="357" y="416"/>
                  <a:pt x="355" y="415"/>
                  <a:pt x="353" y="414"/>
                </a:cubicBezTo>
                <a:cubicBezTo>
                  <a:pt x="348" y="411"/>
                  <a:pt x="347" y="405"/>
                  <a:pt x="350" y="400"/>
                </a:cubicBezTo>
                <a:cubicBezTo>
                  <a:pt x="364" y="374"/>
                  <a:pt x="362" y="342"/>
                  <a:pt x="362" y="342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2" y="292"/>
                  <a:pt x="357" y="288"/>
                  <a:pt x="351" y="288"/>
                </a:cubicBezTo>
                <a:cubicBezTo>
                  <a:pt x="346" y="288"/>
                  <a:pt x="342" y="292"/>
                  <a:pt x="341" y="297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1" y="304"/>
                  <a:pt x="336" y="309"/>
                  <a:pt x="330" y="309"/>
                </a:cubicBezTo>
                <a:cubicBezTo>
                  <a:pt x="330" y="309"/>
                  <a:pt x="330" y="309"/>
                  <a:pt x="330" y="309"/>
                </a:cubicBezTo>
                <a:cubicBezTo>
                  <a:pt x="330" y="309"/>
                  <a:pt x="330" y="309"/>
                  <a:pt x="330" y="309"/>
                </a:cubicBezTo>
                <a:cubicBezTo>
                  <a:pt x="324" y="309"/>
                  <a:pt x="320" y="304"/>
                  <a:pt x="320" y="298"/>
                </a:cubicBezTo>
                <a:cubicBezTo>
                  <a:pt x="320" y="288"/>
                  <a:pt x="320" y="288"/>
                  <a:pt x="320" y="288"/>
                </a:cubicBezTo>
                <a:cubicBezTo>
                  <a:pt x="320" y="282"/>
                  <a:pt x="315" y="277"/>
                  <a:pt x="309" y="277"/>
                </a:cubicBezTo>
                <a:cubicBezTo>
                  <a:pt x="303" y="277"/>
                  <a:pt x="298" y="282"/>
                  <a:pt x="298" y="28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8" y="304"/>
                  <a:pt x="294" y="309"/>
                  <a:pt x="288" y="309"/>
                </a:cubicBezTo>
                <a:cubicBezTo>
                  <a:pt x="282" y="309"/>
                  <a:pt x="277" y="304"/>
                  <a:pt x="277" y="298"/>
                </a:cubicBezTo>
                <a:cubicBezTo>
                  <a:pt x="277" y="266"/>
                  <a:pt x="277" y="266"/>
                  <a:pt x="277" y="266"/>
                </a:cubicBezTo>
                <a:cubicBezTo>
                  <a:pt x="277" y="260"/>
                  <a:pt x="272" y="256"/>
                  <a:pt x="266" y="256"/>
                </a:cubicBezTo>
                <a:cubicBezTo>
                  <a:pt x="260" y="256"/>
                  <a:pt x="256" y="260"/>
                  <a:pt x="256" y="266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6" y="304"/>
                  <a:pt x="251" y="309"/>
                  <a:pt x="245" y="309"/>
                </a:cubicBezTo>
                <a:cubicBezTo>
                  <a:pt x="239" y="309"/>
                  <a:pt x="234" y="304"/>
                  <a:pt x="234" y="298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207"/>
                  <a:pt x="230" y="202"/>
                  <a:pt x="224" y="202"/>
                </a:cubicBezTo>
                <a:cubicBezTo>
                  <a:pt x="218" y="202"/>
                  <a:pt x="213" y="207"/>
                  <a:pt x="213" y="213"/>
                </a:cubicBezTo>
                <a:cubicBezTo>
                  <a:pt x="213" y="341"/>
                  <a:pt x="213" y="341"/>
                  <a:pt x="213" y="341"/>
                </a:cubicBezTo>
                <a:cubicBezTo>
                  <a:pt x="213" y="345"/>
                  <a:pt x="211" y="349"/>
                  <a:pt x="207" y="351"/>
                </a:cubicBezTo>
                <a:cubicBezTo>
                  <a:pt x="203" y="352"/>
                  <a:pt x="199" y="352"/>
                  <a:pt x="195" y="349"/>
                </a:cubicBezTo>
                <a:cubicBezTo>
                  <a:pt x="181" y="337"/>
                  <a:pt x="166" y="299"/>
                  <a:pt x="163" y="292"/>
                </a:cubicBezTo>
                <a:cubicBezTo>
                  <a:pt x="162" y="290"/>
                  <a:pt x="160" y="288"/>
                  <a:pt x="157" y="287"/>
                </a:cubicBezTo>
                <a:cubicBezTo>
                  <a:pt x="154" y="286"/>
                  <a:pt x="152" y="286"/>
                  <a:pt x="149" y="288"/>
                </a:cubicBezTo>
                <a:cubicBezTo>
                  <a:pt x="145" y="290"/>
                  <a:pt x="145" y="298"/>
                  <a:pt x="148" y="304"/>
                </a:cubicBezTo>
                <a:cubicBezTo>
                  <a:pt x="148" y="305"/>
                  <a:pt x="148" y="305"/>
                  <a:pt x="148" y="305"/>
                </a:cubicBezTo>
                <a:cubicBezTo>
                  <a:pt x="149" y="306"/>
                  <a:pt x="170" y="365"/>
                  <a:pt x="206" y="397"/>
                </a:cubicBezTo>
                <a:cubicBezTo>
                  <a:pt x="210" y="401"/>
                  <a:pt x="211" y="408"/>
                  <a:pt x="207" y="412"/>
                </a:cubicBezTo>
                <a:cubicBezTo>
                  <a:pt x="205" y="414"/>
                  <a:pt x="202" y="416"/>
                  <a:pt x="199" y="416"/>
                </a:cubicBezTo>
                <a:cubicBezTo>
                  <a:pt x="196" y="416"/>
                  <a:pt x="194" y="415"/>
                  <a:pt x="192" y="413"/>
                </a:cubicBezTo>
                <a:cubicBezTo>
                  <a:pt x="153" y="379"/>
                  <a:pt x="131" y="320"/>
                  <a:pt x="128" y="313"/>
                </a:cubicBezTo>
                <a:cubicBezTo>
                  <a:pt x="121" y="298"/>
                  <a:pt x="123" y="277"/>
                  <a:pt x="139" y="269"/>
                </a:cubicBezTo>
                <a:cubicBezTo>
                  <a:pt x="147" y="265"/>
                  <a:pt x="156" y="264"/>
                  <a:pt x="164" y="267"/>
                </a:cubicBezTo>
                <a:cubicBezTo>
                  <a:pt x="172" y="270"/>
                  <a:pt x="179" y="275"/>
                  <a:pt x="182" y="283"/>
                </a:cubicBezTo>
                <a:cubicBezTo>
                  <a:pt x="185" y="289"/>
                  <a:pt x="188" y="297"/>
                  <a:pt x="192" y="304"/>
                </a:cubicBezTo>
                <a:cubicBezTo>
                  <a:pt x="192" y="213"/>
                  <a:pt x="192" y="213"/>
                  <a:pt x="192" y="213"/>
                </a:cubicBezTo>
                <a:cubicBezTo>
                  <a:pt x="192" y="195"/>
                  <a:pt x="206" y="181"/>
                  <a:pt x="224" y="181"/>
                </a:cubicBezTo>
                <a:cubicBezTo>
                  <a:pt x="241" y="181"/>
                  <a:pt x="256" y="195"/>
                  <a:pt x="256" y="213"/>
                </a:cubicBezTo>
                <a:cubicBezTo>
                  <a:pt x="256" y="236"/>
                  <a:pt x="256" y="236"/>
                  <a:pt x="256" y="236"/>
                </a:cubicBezTo>
                <a:cubicBezTo>
                  <a:pt x="259" y="235"/>
                  <a:pt x="263" y="234"/>
                  <a:pt x="266" y="234"/>
                </a:cubicBezTo>
                <a:cubicBezTo>
                  <a:pt x="281" y="234"/>
                  <a:pt x="293" y="244"/>
                  <a:pt x="297" y="258"/>
                </a:cubicBezTo>
                <a:cubicBezTo>
                  <a:pt x="301" y="257"/>
                  <a:pt x="305" y="256"/>
                  <a:pt x="309" y="256"/>
                </a:cubicBezTo>
                <a:cubicBezTo>
                  <a:pt x="320" y="256"/>
                  <a:pt x="330" y="262"/>
                  <a:pt x="336" y="271"/>
                </a:cubicBezTo>
                <a:cubicBezTo>
                  <a:pt x="341" y="268"/>
                  <a:pt x="346" y="266"/>
                  <a:pt x="352" y="266"/>
                </a:cubicBezTo>
                <a:cubicBezTo>
                  <a:pt x="369" y="266"/>
                  <a:pt x="384" y="281"/>
                  <a:pt x="384" y="298"/>
                </a:cubicBezTo>
                <a:cubicBezTo>
                  <a:pt x="384" y="341"/>
                  <a:pt x="384" y="341"/>
                  <a:pt x="384" y="341"/>
                </a:cubicBezTo>
                <a:cubicBezTo>
                  <a:pt x="384" y="342"/>
                  <a:pt x="386" y="379"/>
                  <a:pt x="368" y="41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6" name="Group 989"/>
          <p:cNvGrpSpPr>
            <a:grpSpLocks noChangeAspect="1"/>
          </p:cNvGrpSpPr>
          <p:nvPr/>
        </p:nvGrpSpPr>
        <p:grpSpPr bwMode="auto">
          <a:xfrm>
            <a:off x="935707" y="2916225"/>
            <a:ext cx="367631" cy="367631"/>
            <a:chOff x="2394" y="4156"/>
            <a:chExt cx="340" cy="340"/>
          </a:xfrm>
          <a:solidFill>
            <a:schemeClr val="accent5"/>
          </a:solidFill>
        </p:grpSpPr>
        <p:sp>
          <p:nvSpPr>
            <p:cNvPr id="307" name="Line 990"/>
            <p:cNvSpPr>
              <a:spLocks noChangeShapeType="1"/>
            </p:cNvSpPr>
            <p:nvPr/>
          </p:nvSpPr>
          <p:spPr bwMode="auto">
            <a:xfrm>
              <a:off x="2528" y="4418"/>
              <a:ext cx="0" cy="0"/>
            </a:xfrm>
            <a:prstGeom prst="line">
              <a:avLst/>
            </a:prstGeom>
            <a:grpFill/>
            <a:ln w="2222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991"/>
            <p:cNvSpPr>
              <a:spLocks noEditPoints="1"/>
            </p:cNvSpPr>
            <p:nvPr/>
          </p:nvSpPr>
          <p:spPr bwMode="auto">
            <a:xfrm>
              <a:off x="2394" y="415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992"/>
            <p:cNvSpPr>
              <a:spLocks noEditPoints="1"/>
            </p:cNvSpPr>
            <p:nvPr/>
          </p:nvSpPr>
          <p:spPr bwMode="auto">
            <a:xfrm>
              <a:off x="2464" y="4220"/>
              <a:ext cx="186" cy="212"/>
            </a:xfrm>
            <a:custGeom>
              <a:avLst/>
              <a:gdLst>
                <a:gd name="T0" fmla="*/ 253 w 280"/>
                <a:gd name="T1" fmla="*/ 320 h 320"/>
                <a:gd name="T2" fmla="*/ 244 w 280"/>
                <a:gd name="T3" fmla="*/ 304 h 320"/>
                <a:gd name="T4" fmla="*/ 256 w 280"/>
                <a:gd name="T5" fmla="*/ 202 h 320"/>
                <a:gd name="T6" fmla="*/ 235 w 280"/>
                <a:gd name="T7" fmla="*/ 201 h 320"/>
                <a:gd name="T8" fmla="*/ 224 w 280"/>
                <a:gd name="T9" fmla="*/ 213 h 320"/>
                <a:gd name="T10" fmla="*/ 224 w 280"/>
                <a:gd name="T11" fmla="*/ 213 h 320"/>
                <a:gd name="T12" fmla="*/ 214 w 280"/>
                <a:gd name="T13" fmla="*/ 192 h 320"/>
                <a:gd name="T14" fmla="*/ 192 w 280"/>
                <a:gd name="T15" fmla="*/ 192 h 320"/>
                <a:gd name="T16" fmla="*/ 182 w 280"/>
                <a:gd name="T17" fmla="*/ 213 h 320"/>
                <a:gd name="T18" fmla="*/ 171 w 280"/>
                <a:gd name="T19" fmla="*/ 170 h 320"/>
                <a:gd name="T20" fmla="*/ 150 w 280"/>
                <a:gd name="T21" fmla="*/ 170 h 320"/>
                <a:gd name="T22" fmla="*/ 139 w 280"/>
                <a:gd name="T23" fmla="*/ 213 h 320"/>
                <a:gd name="T24" fmla="*/ 128 w 280"/>
                <a:gd name="T25" fmla="*/ 117 h 320"/>
                <a:gd name="T26" fmla="*/ 107 w 280"/>
                <a:gd name="T27" fmla="*/ 117 h 320"/>
                <a:gd name="T28" fmla="*/ 101 w 280"/>
                <a:gd name="T29" fmla="*/ 255 h 320"/>
                <a:gd name="T30" fmla="*/ 57 w 280"/>
                <a:gd name="T31" fmla="*/ 196 h 320"/>
                <a:gd name="T32" fmla="*/ 43 w 280"/>
                <a:gd name="T33" fmla="*/ 192 h 320"/>
                <a:gd name="T34" fmla="*/ 42 w 280"/>
                <a:gd name="T35" fmla="*/ 209 h 320"/>
                <a:gd name="T36" fmla="*/ 101 w 280"/>
                <a:gd name="T37" fmla="*/ 316 h 320"/>
                <a:gd name="T38" fmla="*/ 86 w 280"/>
                <a:gd name="T39" fmla="*/ 317 h 320"/>
                <a:gd name="T40" fmla="*/ 33 w 280"/>
                <a:gd name="T41" fmla="*/ 173 h 320"/>
                <a:gd name="T42" fmla="*/ 76 w 280"/>
                <a:gd name="T43" fmla="*/ 187 h 320"/>
                <a:gd name="T44" fmla="*/ 86 w 280"/>
                <a:gd name="T45" fmla="*/ 117 h 320"/>
                <a:gd name="T46" fmla="*/ 150 w 280"/>
                <a:gd name="T47" fmla="*/ 117 h 320"/>
                <a:gd name="T48" fmla="*/ 160 w 280"/>
                <a:gd name="T49" fmla="*/ 138 h 320"/>
                <a:gd name="T50" fmla="*/ 203 w 280"/>
                <a:gd name="T51" fmla="*/ 160 h 320"/>
                <a:gd name="T52" fmla="*/ 246 w 280"/>
                <a:gd name="T53" fmla="*/ 170 h 320"/>
                <a:gd name="T54" fmla="*/ 278 w 280"/>
                <a:gd name="T55" fmla="*/ 245 h 320"/>
                <a:gd name="T56" fmla="*/ 118 w 280"/>
                <a:gd name="T57" fmla="*/ 64 h 320"/>
                <a:gd name="T58" fmla="*/ 183 w 280"/>
                <a:gd name="T59" fmla="*/ 117 h 320"/>
                <a:gd name="T60" fmla="*/ 118 w 280"/>
                <a:gd name="T61" fmla="*/ 42 h 320"/>
                <a:gd name="T62" fmla="*/ 44 w 280"/>
                <a:gd name="T63" fmla="*/ 129 h 320"/>
                <a:gd name="T64" fmla="*/ 57 w 280"/>
                <a:gd name="T65" fmla="*/ 138 h 320"/>
                <a:gd name="T66" fmla="*/ 65 w 280"/>
                <a:gd name="T67" fmla="*/ 117 h 320"/>
                <a:gd name="T68" fmla="*/ 23 w 280"/>
                <a:gd name="T69" fmla="*/ 133 h 320"/>
                <a:gd name="T70" fmla="*/ 118 w 280"/>
                <a:gd name="T71" fmla="*/ 21 h 320"/>
                <a:gd name="T72" fmla="*/ 213 w 280"/>
                <a:gd name="T73" fmla="*/ 123 h 320"/>
                <a:gd name="T74" fmla="*/ 235 w 280"/>
                <a:gd name="T75" fmla="*/ 125 h 320"/>
                <a:gd name="T76" fmla="*/ 118 w 280"/>
                <a:gd name="T77" fmla="*/ 0 h 320"/>
                <a:gd name="T78" fmla="*/ 2 w 280"/>
                <a:gd name="T79" fmla="*/ 137 h 320"/>
                <a:gd name="T80" fmla="*/ 14 w 280"/>
                <a:gd name="T81" fmla="*/ 14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0" h="320">
                  <a:moveTo>
                    <a:pt x="262" y="314"/>
                  </a:moveTo>
                  <a:cubicBezTo>
                    <a:pt x="260" y="318"/>
                    <a:pt x="256" y="320"/>
                    <a:pt x="253" y="320"/>
                  </a:cubicBezTo>
                  <a:cubicBezTo>
                    <a:pt x="251" y="320"/>
                    <a:pt x="249" y="319"/>
                    <a:pt x="247" y="318"/>
                  </a:cubicBezTo>
                  <a:cubicBezTo>
                    <a:pt x="242" y="315"/>
                    <a:pt x="241" y="309"/>
                    <a:pt x="244" y="304"/>
                  </a:cubicBezTo>
                  <a:cubicBezTo>
                    <a:pt x="258" y="278"/>
                    <a:pt x="256" y="246"/>
                    <a:pt x="256" y="246"/>
                  </a:cubicBezTo>
                  <a:cubicBezTo>
                    <a:pt x="256" y="202"/>
                    <a:pt x="256" y="202"/>
                    <a:pt x="256" y="202"/>
                  </a:cubicBezTo>
                  <a:cubicBezTo>
                    <a:pt x="256" y="196"/>
                    <a:pt x="251" y="192"/>
                    <a:pt x="245" y="192"/>
                  </a:cubicBezTo>
                  <a:cubicBezTo>
                    <a:pt x="240" y="192"/>
                    <a:pt x="236" y="196"/>
                    <a:pt x="235" y="201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235" y="208"/>
                    <a:pt x="230" y="213"/>
                    <a:pt x="224" y="213"/>
                  </a:cubicBezTo>
                  <a:cubicBezTo>
                    <a:pt x="224" y="213"/>
                    <a:pt x="224" y="213"/>
                    <a:pt x="224" y="213"/>
                  </a:cubicBezTo>
                  <a:cubicBezTo>
                    <a:pt x="224" y="213"/>
                    <a:pt x="224" y="213"/>
                    <a:pt x="224" y="213"/>
                  </a:cubicBezTo>
                  <a:cubicBezTo>
                    <a:pt x="218" y="213"/>
                    <a:pt x="214" y="208"/>
                    <a:pt x="214" y="202"/>
                  </a:cubicBezTo>
                  <a:cubicBezTo>
                    <a:pt x="214" y="192"/>
                    <a:pt x="214" y="192"/>
                    <a:pt x="214" y="192"/>
                  </a:cubicBezTo>
                  <a:cubicBezTo>
                    <a:pt x="214" y="186"/>
                    <a:pt x="209" y="181"/>
                    <a:pt x="203" y="181"/>
                  </a:cubicBezTo>
                  <a:cubicBezTo>
                    <a:pt x="197" y="181"/>
                    <a:pt x="192" y="186"/>
                    <a:pt x="192" y="192"/>
                  </a:cubicBezTo>
                  <a:cubicBezTo>
                    <a:pt x="192" y="202"/>
                    <a:pt x="192" y="202"/>
                    <a:pt x="192" y="202"/>
                  </a:cubicBezTo>
                  <a:cubicBezTo>
                    <a:pt x="192" y="208"/>
                    <a:pt x="188" y="213"/>
                    <a:pt x="182" y="213"/>
                  </a:cubicBezTo>
                  <a:cubicBezTo>
                    <a:pt x="176" y="213"/>
                    <a:pt x="171" y="208"/>
                    <a:pt x="171" y="202"/>
                  </a:cubicBezTo>
                  <a:cubicBezTo>
                    <a:pt x="171" y="170"/>
                    <a:pt x="171" y="170"/>
                    <a:pt x="171" y="170"/>
                  </a:cubicBezTo>
                  <a:cubicBezTo>
                    <a:pt x="171" y="164"/>
                    <a:pt x="166" y="160"/>
                    <a:pt x="160" y="160"/>
                  </a:cubicBezTo>
                  <a:cubicBezTo>
                    <a:pt x="154" y="160"/>
                    <a:pt x="150" y="164"/>
                    <a:pt x="150" y="170"/>
                  </a:cubicBezTo>
                  <a:cubicBezTo>
                    <a:pt x="150" y="202"/>
                    <a:pt x="150" y="202"/>
                    <a:pt x="150" y="202"/>
                  </a:cubicBezTo>
                  <a:cubicBezTo>
                    <a:pt x="150" y="208"/>
                    <a:pt x="145" y="213"/>
                    <a:pt x="139" y="213"/>
                  </a:cubicBezTo>
                  <a:cubicBezTo>
                    <a:pt x="133" y="213"/>
                    <a:pt x="128" y="208"/>
                    <a:pt x="128" y="202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1"/>
                    <a:pt x="124" y="106"/>
                    <a:pt x="118" y="106"/>
                  </a:cubicBezTo>
                  <a:cubicBezTo>
                    <a:pt x="112" y="106"/>
                    <a:pt x="107" y="111"/>
                    <a:pt x="107" y="117"/>
                  </a:cubicBezTo>
                  <a:cubicBezTo>
                    <a:pt x="107" y="245"/>
                    <a:pt x="107" y="245"/>
                    <a:pt x="107" y="245"/>
                  </a:cubicBezTo>
                  <a:cubicBezTo>
                    <a:pt x="107" y="249"/>
                    <a:pt x="105" y="253"/>
                    <a:pt x="101" y="255"/>
                  </a:cubicBezTo>
                  <a:cubicBezTo>
                    <a:pt x="97" y="256"/>
                    <a:pt x="93" y="256"/>
                    <a:pt x="89" y="253"/>
                  </a:cubicBezTo>
                  <a:cubicBezTo>
                    <a:pt x="75" y="241"/>
                    <a:pt x="60" y="203"/>
                    <a:pt x="57" y="196"/>
                  </a:cubicBezTo>
                  <a:cubicBezTo>
                    <a:pt x="56" y="194"/>
                    <a:pt x="54" y="192"/>
                    <a:pt x="51" y="191"/>
                  </a:cubicBezTo>
                  <a:cubicBezTo>
                    <a:pt x="48" y="190"/>
                    <a:pt x="46" y="190"/>
                    <a:pt x="43" y="192"/>
                  </a:cubicBezTo>
                  <a:cubicBezTo>
                    <a:pt x="39" y="194"/>
                    <a:pt x="39" y="202"/>
                    <a:pt x="42" y="208"/>
                  </a:cubicBezTo>
                  <a:cubicBezTo>
                    <a:pt x="42" y="209"/>
                    <a:pt x="42" y="209"/>
                    <a:pt x="42" y="209"/>
                  </a:cubicBezTo>
                  <a:cubicBezTo>
                    <a:pt x="43" y="210"/>
                    <a:pt x="64" y="269"/>
                    <a:pt x="100" y="301"/>
                  </a:cubicBezTo>
                  <a:cubicBezTo>
                    <a:pt x="104" y="305"/>
                    <a:pt x="105" y="312"/>
                    <a:pt x="101" y="316"/>
                  </a:cubicBezTo>
                  <a:cubicBezTo>
                    <a:pt x="99" y="318"/>
                    <a:pt x="96" y="320"/>
                    <a:pt x="93" y="320"/>
                  </a:cubicBezTo>
                  <a:cubicBezTo>
                    <a:pt x="90" y="320"/>
                    <a:pt x="88" y="319"/>
                    <a:pt x="86" y="317"/>
                  </a:cubicBezTo>
                  <a:cubicBezTo>
                    <a:pt x="47" y="283"/>
                    <a:pt x="25" y="224"/>
                    <a:pt x="22" y="217"/>
                  </a:cubicBezTo>
                  <a:cubicBezTo>
                    <a:pt x="15" y="202"/>
                    <a:pt x="17" y="181"/>
                    <a:pt x="33" y="173"/>
                  </a:cubicBezTo>
                  <a:cubicBezTo>
                    <a:pt x="41" y="169"/>
                    <a:pt x="50" y="168"/>
                    <a:pt x="58" y="171"/>
                  </a:cubicBezTo>
                  <a:cubicBezTo>
                    <a:pt x="66" y="174"/>
                    <a:pt x="73" y="179"/>
                    <a:pt x="76" y="187"/>
                  </a:cubicBezTo>
                  <a:cubicBezTo>
                    <a:pt x="79" y="193"/>
                    <a:pt x="82" y="201"/>
                    <a:pt x="86" y="208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6" y="99"/>
                    <a:pt x="100" y="85"/>
                    <a:pt x="118" y="85"/>
                  </a:cubicBezTo>
                  <a:cubicBezTo>
                    <a:pt x="135" y="85"/>
                    <a:pt x="150" y="99"/>
                    <a:pt x="150" y="117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53" y="139"/>
                    <a:pt x="157" y="138"/>
                    <a:pt x="160" y="138"/>
                  </a:cubicBezTo>
                  <a:cubicBezTo>
                    <a:pt x="175" y="138"/>
                    <a:pt x="187" y="148"/>
                    <a:pt x="191" y="162"/>
                  </a:cubicBezTo>
                  <a:cubicBezTo>
                    <a:pt x="195" y="161"/>
                    <a:pt x="199" y="160"/>
                    <a:pt x="203" y="160"/>
                  </a:cubicBezTo>
                  <a:cubicBezTo>
                    <a:pt x="214" y="160"/>
                    <a:pt x="224" y="166"/>
                    <a:pt x="230" y="175"/>
                  </a:cubicBezTo>
                  <a:cubicBezTo>
                    <a:pt x="235" y="172"/>
                    <a:pt x="240" y="170"/>
                    <a:pt x="246" y="170"/>
                  </a:cubicBezTo>
                  <a:cubicBezTo>
                    <a:pt x="263" y="170"/>
                    <a:pt x="278" y="185"/>
                    <a:pt x="278" y="202"/>
                  </a:cubicBezTo>
                  <a:cubicBezTo>
                    <a:pt x="278" y="245"/>
                    <a:pt x="278" y="245"/>
                    <a:pt x="278" y="245"/>
                  </a:cubicBezTo>
                  <a:cubicBezTo>
                    <a:pt x="278" y="246"/>
                    <a:pt x="280" y="283"/>
                    <a:pt x="262" y="314"/>
                  </a:cubicBezTo>
                  <a:close/>
                  <a:moveTo>
                    <a:pt x="118" y="64"/>
                  </a:moveTo>
                  <a:cubicBezTo>
                    <a:pt x="144" y="64"/>
                    <a:pt x="166" y="82"/>
                    <a:pt x="171" y="108"/>
                  </a:cubicBezTo>
                  <a:cubicBezTo>
                    <a:pt x="172" y="114"/>
                    <a:pt x="177" y="118"/>
                    <a:pt x="183" y="117"/>
                  </a:cubicBezTo>
                  <a:cubicBezTo>
                    <a:pt x="189" y="116"/>
                    <a:pt x="193" y="110"/>
                    <a:pt x="192" y="105"/>
                  </a:cubicBezTo>
                  <a:cubicBezTo>
                    <a:pt x="186" y="68"/>
                    <a:pt x="155" y="42"/>
                    <a:pt x="118" y="42"/>
                  </a:cubicBezTo>
                  <a:cubicBezTo>
                    <a:pt x="77" y="42"/>
                    <a:pt x="43" y="76"/>
                    <a:pt x="43" y="117"/>
                  </a:cubicBezTo>
                  <a:cubicBezTo>
                    <a:pt x="43" y="121"/>
                    <a:pt x="44" y="125"/>
                    <a:pt x="44" y="129"/>
                  </a:cubicBezTo>
                  <a:cubicBezTo>
                    <a:pt x="45" y="135"/>
                    <a:pt x="50" y="138"/>
                    <a:pt x="55" y="138"/>
                  </a:cubicBezTo>
                  <a:cubicBezTo>
                    <a:pt x="56" y="138"/>
                    <a:pt x="56" y="138"/>
                    <a:pt x="57" y="138"/>
                  </a:cubicBezTo>
                  <a:cubicBezTo>
                    <a:pt x="63" y="137"/>
                    <a:pt x="67" y="132"/>
                    <a:pt x="66" y="126"/>
                  </a:cubicBezTo>
                  <a:cubicBezTo>
                    <a:pt x="65" y="123"/>
                    <a:pt x="65" y="120"/>
                    <a:pt x="65" y="117"/>
                  </a:cubicBezTo>
                  <a:cubicBezTo>
                    <a:pt x="65" y="88"/>
                    <a:pt x="89" y="64"/>
                    <a:pt x="118" y="64"/>
                  </a:cubicBezTo>
                  <a:close/>
                  <a:moveTo>
                    <a:pt x="23" y="133"/>
                  </a:moveTo>
                  <a:cubicBezTo>
                    <a:pt x="22" y="128"/>
                    <a:pt x="22" y="122"/>
                    <a:pt x="22" y="117"/>
                  </a:cubicBezTo>
                  <a:cubicBezTo>
                    <a:pt x="22" y="64"/>
                    <a:pt x="65" y="21"/>
                    <a:pt x="118" y="21"/>
                  </a:cubicBezTo>
                  <a:cubicBezTo>
                    <a:pt x="171" y="21"/>
                    <a:pt x="214" y="64"/>
                    <a:pt x="214" y="117"/>
                  </a:cubicBezTo>
                  <a:cubicBezTo>
                    <a:pt x="214" y="119"/>
                    <a:pt x="214" y="121"/>
                    <a:pt x="213" y="123"/>
                  </a:cubicBezTo>
                  <a:cubicBezTo>
                    <a:pt x="213" y="129"/>
                    <a:pt x="218" y="134"/>
                    <a:pt x="223" y="135"/>
                  </a:cubicBezTo>
                  <a:cubicBezTo>
                    <a:pt x="229" y="135"/>
                    <a:pt x="234" y="131"/>
                    <a:pt x="235" y="125"/>
                  </a:cubicBezTo>
                  <a:cubicBezTo>
                    <a:pt x="235" y="122"/>
                    <a:pt x="235" y="120"/>
                    <a:pt x="235" y="117"/>
                  </a:cubicBezTo>
                  <a:cubicBezTo>
                    <a:pt x="235" y="52"/>
                    <a:pt x="182" y="0"/>
                    <a:pt x="118" y="0"/>
                  </a:cubicBezTo>
                  <a:cubicBezTo>
                    <a:pt x="53" y="0"/>
                    <a:pt x="0" y="52"/>
                    <a:pt x="0" y="117"/>
                  </a:cubicBezTo>
                  <a:cubicBezTo>
                    <a:pt x="0" y="124"/>
                    <a:pt x="1" y="130"/>
                    <a:pt x="2" y="137"/>
                  </a:cubicBezTo>
                  <a:cubicBezTo>
                    <a:pt x="3" y="142"/>
                    <a:pt x="7" y="145"/>
                    <a:pt x="12" y="145"/>
                  </a:cubicBezTo>
                  <a:cubicBezTo>
                    <a:pt x="13" y="145"/>
                    <a:pt x="14" y="145"/>
                    <a:pt x="14" y="145"/>
                  </a:cubicBezTo>
                  <a:cubicBezTo>
                    <a:pt x="20" y="144"/>
                    <a:pt x="24" y="139"/>
                    <a:pt x="23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0" name="Freeform 996"/>
          <p:cNvSpPr>
            <a:spLocks noChangeAspect="1" noEditPoints="1"/>
          </p:cNvSpPr>
          <p:nvPr/>
        </p:nvSpPr>
        <p:spPr bwMode="auto">
          <a:xfrm>
            <a:off x="1435271" y="2916225"/>
            <a:ext cx="367631" cy="367631"/>
          </a:xfrm>
          <a:custGeom>
            <a:avLst/>
            <a:gdLst>
              <a:gd name="T0" fmla="*/ 277 w 512"/>
              <a:gd name="T1" fmla="*/ 165 h 512"/>
              <a:gd name="T2" fmla="*/ 373 w 512"/>
              <a:gd name="T3" fmla="*/ 165 h 512"/>
              <a:gd name="T4" fmla="*/ 341 w 512"/>
              <a:gd name="T5" fmla="*/ 181 h 512"/>
              <a:gd name="T6" fmla="*/ 309 w 512"/>
              <a:gd name="T7" fmla="*/ 170 h 512"/>
              <a:gd name="T8" fmla="*/ 320 w 512"/>
              <a:gd name="T9" fmla="*/ 138 h 512"/>
              <a:gd name="T10" fmla="*/ 330 w 512"/>
              <a:gd name="T11" fmla="*/ 160 h 512"/>
              <a:gd name="T12" fmla="*/ 352 w 512"/>
              <a:gd name="T13" fmla="*/ 170 h 512"/>
              <a:gd name="T14" fmla="*/ 256 w 512"/>
              <a:gd name="T15" fmla="*/ 0 h 512"/>
              <a:gd name="T16" fmla="*/ 256 w 512"/>
              <a:gd name="T17" fmla="*/ 512 h 512"/>
              <a:gd name="T18" fmla="*/ 256 w 512"/>
              <a:gd name="T19" fmla="*/ 0 h 512"/>
              <a:gd name="T20" fmla="*/ 330 w 512"/>
              <a:gd name="T21" fmla="*/ 416 h 512"/>
              <a:gd name="T22" fmla="*/ 322 w 512"/>
              <a:gd name="T23" fmla="*/ 398 h 512"/>
              <a:gd name="T24" fmla="*/ 340 w 512"/>
              <a:gd name="T25" fmla="*/ 288 h 512"/>
              <a:gd name="T26" fmla="*/ 320 w 512"/>
              <a:gd name="T27" fmla="*/ 286 h 512"/>
              <a:gd name="T28" fmla="*/ 309 w 512"/>
              <a:gd name="T29" fmla="*/ 298 h 512"/>
              <a:gd name="T30" fmla="*/ 309 w 512"/>
              <a:gd name="T31" fmla="*/ 298 h 512"/>
              <a:gd name="T32" fmla="*/ 298 w 512"/>
              <a:gd name="T33" fmla="*/ 277 h 512"/>
              <a:gd name="T34" fmla="*/ 277 w 512"/>
              <a:gd name="T35" fmla="*/ 277 h 512"/>
              <a:gd name="T36" fmla="*/ 266 w 512"/>
              <a:gd name="T37" fmla="*/ 298 h 512"/>
              <a:gd name="T38" fmla="*/ 256 w 512"/>
              <a:gd name="T39" fmla="*/ 256 h 512"/>
              <a:gd name="T40" fmla="*/ 234 w 512"/>
              <a:gd name="T41" fmla="*/ 256 h 512"/>
              <a:gd name="T42" fmla="*/ 224 w 512"/>
              <a:gd name="T43" fmla="*/ 298 h 512"/>
              <a:gd name="T44" fmla="*/ 213 w 512"/>
              <a:gd name="T45" fmla="*/ 202 h 512"/>
              <a:gd name="T46" fmla="*/ 192 w 512"/>
              <a:gd name="T47" fmla="*/ 202 h 512"/>
              <a:gd name="T48" fmla="*/ 185 w 512"/>
              <a:gd name="T49" fmla="*/ 340 h 512"/>
              <a:gd name="T50" fmla="*/ 142 w 512"/>
              <a:gd name="T51" fmla="*/ 281 h 512"/>
              <a:gd name="T52" fmla="*/ 128 w 512"/>
              <a:gd name="T53" fmla="*/ 277 h 512"/>
              <a:gd name="T54" fmla="*/ 127 w 512"/>
              <a:gd name="T55" fmla="*/ 295 h 512"/>
              <a:gd name="T56" fmla="*/ 201 w 512"/>
              <a:gd name="T57" fmla="*/ 411 h 512"/>
              <a:gd name="T58" fmla="*/ 186 w 512"/>
              <a:gd name="T59" fmla="*/ 414 h 512"/>
              <a:gd name="T60" fmla="*/ 118 w 512"/>
              <a:gd name="T61" fmla="*/ 258 h 512"/>
              <a:gd name="T62" fmla="*/ 161 w 512"/>
              <a:gd name="T63" fmla="*/ 272 h 512"/>
              <a:gd name="T64" fmla="*/ 170 w 512"/>
              <a:gd name="T65" fmla="*/ 202 h 512"/>
              <a:gd name="T66" fmla="*/ 234 w 512"/>
              <a:gd name="T67" fmla="*/ 202 h 512"/>
              <a:gd name="T68" fmla="*/ 245 w 512"/>
              <a:gd name="T69" fmla="*/ 224 h 512"/>
              <a:gd name="T70" fmla="*/ 288 w 512"/>
              <a:gd name="T71" fmla="*/ 245 h 512"/>
              <a:gd name="T72" fmla="*/ 330 w 512"/>
              <a:gd name="T73" fmla="*/ 256 h 512"/>
              <a:gd name="T74" fmla="*/ 362 w 512"/>
              <a:gd name="T75" fmla="*/ 330 h 512"/>
              <a:gd name="T76" fmla="*/ 325 w 512"/>
              <a:gd name="T77" fmla="*/ 234 h 512"/>
              <a:gd name="T78" fmla="*/ 325 w 512"/>
              <a:gd name="T79" fmla="*/ 96 h 512"/>
              <a:gd name="T80" fmla="*/ 325 w 512"/>
              <a:gd name="T81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325" y="117"/>
                </a:moveTo>
                <a:cubicBezTo>
                  <a:pt x="299" y="117"/>
                  <a:pt x="277" y="139"/>
                  <a:pt x="277" y="165"/>
                </a:cubicBezTo>
                <a:cubicBezTo>
                  <a:pt x="277" y="191"/>
                  <a:pt x="299" y="213"/>
                  <a:pt x="325" y="213"/>
                </a:cubicBezTo>
                <a:cubicBezTo>
                  <a:pt x="351" y="213"/>
                  <a:pt x="373" y="191"/>
                  <a:pt x="373" y="165"/>
                </a:cubicBezTo>
                <a:cubicBezTo>
                  <a:pt x="373" y="139"/>
                  <a:pt x="351" y="117"/>
                  <a:pt x="325" y="117"/>
                </a:cubicBezTo>
                <a:close/>
                <a:moveTo>
                  <a:pt x="341" y="181"/>
                </a:moveTo>
                <a:cubicBezTo>
                  <a:pt x="320" y="181"/>
                  <a:pt x="320" y="181"/>
                  <a:pt x="320" y="181"/>
                </a:cubicBezTo>
                <a:cubicBezTo>
                  <a:pt x="314" y="181"/>
                  <a:pt x="309" y="176"/>
                  <a:pt x="309" y="170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43"/>
                  <a:pt x="314" y="138"/>
                  <a:pt x="320" y="138"/>
                </a:cubicBezTo>
                <a:cubicBezTo>
                  <a:pt x="326" y="138"/>
                  <a:pt x="330" y="143"/>
                  <a:pt x="330" y="149"/>
                </a:cubicBezTo>
                <a:cubicBezTo>
                  <a:pt x="330" y="160"/>
                  <a:pt x="330" y="160"/>
                  <a:pt x="330" y="160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7" y="160"/>
                  <a:pt x="352" y="164"/>
                  <a:pt x="352" y="170"/>
                </a:cubicBezTo>
                <a:cubicBezTo>
                  <a:pt x="352" y="176"/>
                  <a:pt x="347" y="181"/>
                  <a:pt x="341" y="181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8" y="412"/>
                </a:moveTo>
                <a:cubicBezTo>
                  <a:pt x="336" y="414"/>
                  <a:pt x="333" y="416"/>
                  <a:pt x="330" y="416"/>
                </a:cubicBezTo>
                <a:cubicBezTo>
                  <a:pt x="327" y="416"/>
                  <a:pt x="325" y="415"/>
                  <a:pt x="323" y="413"/>
                </a:cubicBezTo>
                <a:cubicBezTo>
                  <a:pt x="319" y="409"/>
                  <a:pt x="318" y="403"/>
                  <a:pt x="322" y="398"/>
                </a:cubicBezTo>
                <a:cubicBezTo>
                  <a:pt x="343" y="373"/>
                  <a:pt x="340" y="332"/>
                  <a:pt x="340" y="331"/>
                </a:cubicBezTo>
                <a:cubicBezTo>
                  <a:pt x="340" y="288"/>
                  <a:pt x="340" y="288"/>
                  <a:pt x="340" y="288"/>
                </a:cubicBezTo>
                <a:cubicBezTo>
                  <a:pt x="340" y="282"/>
                  <a:pt x="336" y="277"/>
                  <a:pt x="330" y="277"/>
                </a:cubicBezTo>
                <a:cubicBezTo>
                  <a:pt x="325" y="277"/>
                  <a:pt x="320" y="281"/>
                  <a:pt x="320" y="286"/>
                </a:cubicBezTo>
                <a:cubicBezTo>
                  <a:pt x="320" y="288"/>
                  <a:pt x="320" y="288"/>
                  <a:pt x="320" y="288"/>
                </a:cubicBezTo>
                <a:cubicBezTo>
                  <a:pt x="320" y="294"/>
                  <a:pt x="315" y="298"/>
                  <a:pt x="309" y="298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03" y="298"/>
                  <a:pt x="298" y="294"/>
                  <a:pt x="298" y="288"/>
                </a:cubicBezTo>
                <a:cubicBezTo>
                  <a:pt x="298" y="277"/>
                  <a:pt x="298" y="277"/>
                  <a:pt x="298" y="277"/>
                </a:cubicBezTo>
                <a:cubicBezTo>
                  <a:pt x="298" y="271"/>
                  <a:pt x="294" y="266"/>
                  <a:pt x="288" y="266"/>
                </a:cubicBezTo>
                <a:cubicBezTo>
                  <a:pt x="282" y="266"/>
                  <a:pt x="277" y="271"/>
                  <a:pt x="277" y="277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94"/>
                  <a:pt x="272" y="298"/>
                  <a:pt x="266" y="298"/>
                </a:cubicBezTo>
                <a:cubicBezTo>
                  <a:pt x="260" y="298"/>
                  <a:pt x="256" y="294"/>
                  <a:pt x="256" y="288"/>
                </a:cubicBezTo>
                <a:cubicBezTo>
                  <a:pt x="256" y="256"/>
                  <a:pt x="256" y="256"/>
                  <a:pt x="256" y="256"/>
                </a:cubicBezTo>
                <a:cubicBezTo>
                  <a:pt x="256" y="250"/>
                  <a:pt x="251" y="245"/>
                  <a:pt x="245" y="245"/>
                </a:cubicBezTo>
                <a:cubicBezTo>
                  <a:pt x="239" y="245"/>
                  <a:pt x="234" y="250"/>
                  <a:pt x="234" y="256"/>
                </a:cubicBezTo>
                <a:cubicBezTo>
                  <a:pt x="234" y="288"/>
                  <a:pt x="234" y="288"/>
                  <a:pt x="234" y="288"/>
                </a:cubicBezTo>
                <a:cubicBezTo>
                  <a:pt x="234" y="294"/>
                  <a:pt x="230" y="298"/>
                  <a:pt x="224" y="298"/>
                </a:cubicBezTo>
                <a:cubicBezTo>
                  <a:pt x="218" y="298"/>
                  <a:pt x="213" y="294"/>
                  <a:pt x="213" y="288"/>
                </a:cubicBezTo>
                <a:cubicBezTo>
                  <a:pt x="213" y="202"/>
                  <a:pt x="213" y="202"/>
                  <a:pt x="213" y="202"/>
                </a:cubicBezTo>
                <a:cubicBezTo>
                  <a:pt x="213" y="196"/>
                  <a:pt x="208" y="192"/>
                  <a:pt x="202" y="192"/>
                </a:cubicBezTo>
                <a:cubicBezTo>
                  <a:pt x="196" y="192"/>
                  <a:pt x="192" y="196"/>
                  <a:pt x="192" y="202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92" y="335"/>
                  <a:pt x="189" y="338"/>
                  <a:pt x="185" y="340"/>
                </a:cubicBezTo>
                <a:cubicBezTo>
                  <a:pt x="182" y="342"/>
                  <a:pt x="177" y="341"/>
                  <a:pt x="174" y="338"/>
                </a:cubicBezTo>
                <a:cubicBezTo>
                  <a:pt x="160" y="326"/>
                  <a:pt x="145" y="288"/>
                  <a:pt x="142" y="281"/>
                </a:cubicBezTo>
                <a:cubicBezTo>
                  <a:pt x="141" y="279"/>
                  <a:pt x="139" y="277"/>
                  <a:pt x="136" y="276"/>
                </a:cubicBezTo>
                <a:cubicBezTo>
                  <a:pt x="133" y="276"/>
                  <a:pt x="130" y="276"/>
                  <a:pt x="128" y="277"/>
                </a:cubicBezTo>
                <a:cubicBezTo>
                  <a:pt x="123" y="279"/>
                  <a:pt x="124" y="288"/>
                  <a:pt x="127" y="294"/>
                </a:cubicBezTo>
                <a:cubicBezTo>
                  <a:pt x="127" y="294"/>
                  <a:pt x="127" y="294"/>
                  <a:pt x="127" y="295"/>
                </a:cubicBezTo>
                <a:cubicBezTo>
                  <a:pt x="127" y="295"/>
                  <a:pt x="154" y="369"/>
                  <a:pt x="197" y="396"/>
                </a:cubicBezTo>
                <a:cubicBezTo>
                  <a:pt x="202" y="399"/>
                  <a:pt x="204" y="406"/>
                  <a:pt x="201" y="411"/>
                </a:cubicBezTo>
                <a:cubicBezTo>
                  <a:pt x="199" y="414"/>
                  <a:pt x="195" y="416"/>
                  <a:pt x="192" y="416"/>
                </a:cubicBezTo>
                <a:cubicBezTo>
                  <a:pt x="190" y="416"/>
                  <a:pt x="188" y="415"/>
                  <a:pt x="186" y="414"/>
                </a:cubicBezTo>
                <a:cubicBezTo>
                  <a:pt x="138" y="384"/>
                  <a:pt x="110" y="310"/>
                  <a:pt x="107" y="303"/>
                </a:cubicBezTo>
                <a:cubicBezTo>
                  <a:pt x="100" y="287"/>
                  <a:pt x="102" y="266"/>
                  <a:pt x="118" y="258"/>
                </a:cubicBezTo>
                <a:cubicBezTo>
                  <a:pt x="126" y="254"/>
                  <a:pt x="134" y="253"/>
                  <a:pt x="143" y="256"/>
                </a:cubicBezTo>
                <a:cubicBezTo>
                  <a:pt x="151" y="259"/>
                  <a:pt x="157" y="265"/>
                  <a:pt x="161" y="272"/>
                </a:cubicBezTo>
                <a:cubicBezTo>
                  <a:pt x="164" y="279"/>
                  <a:pt x="167" y="286"/>
                  <a:pt x="170" y="293"/>
                </a:cubicBezTo>
                <a:cubicBezTo>
                  <a:pt x="170" y="202"/>
                  <a:pt x="170" y="202"/>
                  <a:pt x="170" y="202"/>
                </a:cubicBezTo>
                <a:cubicBezTo>
                  <a:pt x="170" y="185"/>
                  <a:pt x="185" y="170"/>
                  <a:pt x="202" y="170"/>
                </a:cubicBezTo>
                <a:cubicBezTo>
                  <a:pt x="220" y="170"/>
                  <a:pt x="234" y="185"/>
                  <a:pt x="234" y="202"/>
                </a:cubicBezTo>
                <a:cubicBezTo>
                  <a:pt x="234" y="226"/>
                  <a:pt x="234" y="226"/>
                  <a:pt x="234" y="226"/>
                </a:cubicBezTo>
                <a:cubicBezTo>
                  <a:pt x="238" y="224"/>
                  <a:pt x="241" y="224"/>
                  <a:pt x="245" y="224"/>
                </a:cubicBezTo>
                <a:cubicBezTo>
                  <a:pt x="260" y="224"/>
                  <a:pt x="272" y="234"/>
                  <a:pt x="276" y="247"/>
                </a:cubicBezTo>
                <a:cubicBezTo>
                  <a:pt x="279" y="246"/>
                  <a:pt x="283" y="245"/>
                  <a:pt x="288" y="245"/>
                </a:cubicBezTo>
                <a:cubicBezTo>
                  <a:pt x="299" y="245"/>
                  <a:pt x="309" y="251"/>
                  <a:pt x="315" y="260"/>
                </a:cubicBezTo>
                <a:cubicBezTo>
                  <a:pt x="319" y="257"/>
                  <a:pt x="325" y="256"/>
                  <a:pt x="330" y="256"/>
                </a:cubicBezTo>
                <a:cubicBezTo>
                  <a:pt x="348" y="256"/>
                  <a:pt x="362" y="270"/>
                  <a:pt x="362" y="288"/>
                </a:cubicBezTo>
                <a:cubicBezTo>
                  <a:pt x="362" y="330"/>
                  <a:pt x="362" y="330"/>
                  <a:pt x="362" y="330"/>
                </a:cubicBezTo>
                <a:cubicBezTo>
                  <a:pt x="362" y="332"/>
                  <a:pt x="365" y="380"/>
                  <a:pt x="338" y="412"/>
                </a:cubicBezTo>
                <a:close/>
                <a:moveTo>
                  <a:pt x="325" y="234"/>
                </a:moveTo>
                <a:cubicBezTo>
                  <a:pt x="287" y="234"/>
                  <a:pt x="256" y="203"/>
                  <a:pt x="256" y="165"/>
                </a:cubicBezTo>
                <a:cubicBezTo>
                  <a:pt x="256" y="127"/>
                  <a:pt x="287" y="96"/>
                  <a:pt x="325" y="96"/>
                </a:cubicBezTo>
                <a:cubicBezTo>
                  <a:pt x="363" y="96"/>
                  <a:pt x="394" y="127"/>
                  <a:pt x="394" y="165"/>
                </a:cubicBezTo>
                <a:cubicBezTo>
                  <a:pt x="394" y="203"/>
                  <a:pt x="363" y="234"/>
                  <a:pt x="325" y="23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1" name="Group 999"/>
          <p:cNvGrpSpPr>
            <a:grpSpLocks noChangeAspect="1"/>
          </p:cNvGrpSpPr>
          <p:nvPr/>
        </p:nvGrpSpPr>
        <p:grpSpPr bwMode="auto">
          <a:xfrm>
            <a:off x="1934835" y="2916225"/>
            <a:ext cx="367631" cy="367631"/>
            <a:chOff x="2613" y="4204"/>
            <a:chExt cx="340" cy="340"/>
          </a:xfrm>
          <a:solidFill>
            <a:schemeClr val="accent5"/>
          </a:solidFill>
        </p:grpSpPr>
        <p:sp>
          <p:nvSpPr>
            <p:cNvPr id="312" name="Line 1000"/>
            <p:cNvSpPr>
              <a:spLocks noChangeShapeType="1"/>
            </p:cNvSpPr>
            <p:nvPr/>
          </p:nvSpPr>
          <p:spPr bwMode="auto">
            <a:xfrm>
              <a:off x="2733" y="4459"/>
              <a:ext cx="0" cy="0"/>
            </a:xfrm>
            <a:prstGeom prst="line">
              <a:avLst/>
            </a:prstGeom>
            <a:grpFill/>
            <a:ln w="2222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1001"/>
            <p:cNvSpPr>
              <a:spLocks noEditPoints="1"/>
            </p:cNvSpPr>
            <p:nvPr/>
          </p:nvSpPr>
          <p:spPr bwMode="auto">
            <a:xfrm>
              <a:off x="2613" y="42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1002"/>
            <p:cNvSpPr>
              <a:spLocks noEditPoints="1"/>
            </p:cNvSpPr>
            <p:nvPr/>
          </p:nvSpPr>
          <p:spPr bwMode="auto">
            <a:xfrm>
              <a:off x="2679" y="4268"/>
              <a:ext cx="196" cy="212"/>
            </a:xfrm>
            <a:custGeom>
              <a:avLst/>
              <a:gdLst>
                <a:gd name="T0" fmla="*/ 238 w 294"/>
                <a:gd name="T1" fmla="*/ 316 h 320"/>
                <a:gd name="T2" fmla="*/ 223 w 294"/>
                <a:gd name="T3" fmla="*/ 317 h 320"/>
                <a:gd name="T4" fmla="*/ 240 w 294"/>
                <a:gd name="T5" fmla="*/ 235 h 320"/>
                <a:gd name="T6" fmla="*/ 230 w 294"/>
                <a:gd name="T7" fmla="*/ 181 h 320"/>
                <a:gd name="T8" fmla="*/ 220 w 294"/>
                <a:gd name="T9" fmla="*/ 192 h 320"/>
                <a:gd name="T10" fmla="*/ 209 w 294"/>
                <a:gd name="T11" fmla="*/ 202 h 320"/>
                <a:gd name="T12" fmla="*/ 198 w 294"/>
                <a:gd name="T13" fmla="*/ 192 h 320"/>
                <a:gd name="T14" fmla="*/ 188 w 294"/>
                <a:gd name="T15" fmla="*/ 170 h 320"/>
                <a:gd name="T16" fmla="*/ 177 w 294"/>
                <a:gd name="T17" fmla="*/ 192 h 320"/>
                <a:gd name="T18" fmla="*/ 156 w 294"/>
                <a:gd name="T19" fmla="*/ 192 h 320"/>
                <a:gd name="T20" fmla="*/ 145 w 294"/>
                <a:gd name="T21" fmla="*/ 149 h 320"/>
                <a:gd name="T22" fmla="*/ 134 w 294"/>
                <a:gd name="T23" fmla="*/ 192 h 320"/>
                <a:gd name="T24" fmla="*/ 113 w 294"/>
                <a:gd name="T25" fmla="*/ 192 h 320"/>
                <a:gd name="T26" fmla="*/ 102 w 294"/>
                <a:gd name="T27" fmla="*/ 96 h 320"/>
                <a:gd name="T28" fmla="*/ 92 w 294"/>
                <a:gd name="T29" fmla="*/ 234 h 320"/>
                <a:gd name="T30" fmla="*/ 74 w 294"/>
                <a:gd name="T31" fmla="*/ 242 h 320"/>
                <a:gd name="T32" fmla="*/ 36 w 294"/>
                <a:gd name="T33" fmla="*/ 180 h 320"/>
                <a:gd name="T34" fmla="*/ 27 w 294"/>
                <a:gd name="T35" fmla="*/ 198 h 320"/>
                <a:gd name="T36" fmla="*/ 97 w 294"/>
                <a:gd name="T37" fmla="*/ 300 h 320"/>
                <a:gd name="T38" fmla="*/ 92 w 294"/>
                <a:gd name="T39" fmla="*/ 320 h 320"/>
                <a:gd name="T40" fmla="*/ 7 w 294"/>
                <a:gd name="T41" fmla="*/ 207 h 320"/>
                <a:gd name="T42" fmla="*/ 43 w 294"/>
                <a:gd name="T43" fmla="*/ 160 h 320"/>
                <a:gd name="T44" fmla="*/ 70 w 294"/>
                <a:gd name="T45" fmla="*/ 197 h 320"/>
                <a:gd name="T46" fmla="*/ 102 w 294"/>
                <a:gd name="T47" fmla="*/ 74 h 320"/>
                <a:gd name="T48" fmla="*/ 134 w 294"/>
                <a:gd name="T49" fmla="*/ 130 h 320"/>
                <a:gd name="T50" fmla="*/ 176 w 294"/>
                <a:gd name="T51" fmla="*/ 151 h 320"/>
                <a:gd name="T52" fmla="*/ 215 w 294"/>
                <a:gd name="T53" fmla="*/ 164 h 320"/>
                <a:gd name="T54" fmla="*/ 262 w 294"/>
                <a:gd name="T55" fmla="*/ 192 h 320"/>
                <a:gd name="T56" fmla="*/ 294 w 294"/>
                <a:gd name="T57" fmla="*/ 69 h 320"/>
                <a:gd name="T58" fmla="*/ 156 w 294"/>
                <a:gd name="T59" fmla="*/ 69 h 320"/>
                <a:gd name="T60" fmla="*/ 294 w 294"/>
                <a:gd name="T61" fmla="*/ 69 h 320"/>
                <a:gd name="T62" fmla="*/ 225 w 294"/>
                <a:gd name="T63" fmla="*/ 21 h 320"/>
                <a:gd name="T64" fmla="*/ 225 w 294"/>
                <a:gd name="T65" fmla="*/ 117 h 320"/>
                <a:gd name="T66" fmla="*/ 241 w 294"/>
                <a:gd name="T67" fmla="*/ 64 h 320"/>
                <a:gd name="T68" fmla="*/ 230 w 294"/>
                <a:gd name="T69" fmla="*/ 53 h 320"/>
                <a:gd name="T70" fmla="*/ 209 w 294"/>
                <a:gd name="T71" fmla="*/ 53 h 320"/>
                <a:gd name="T72" fmla="*/ 220 w 294"/>
                <a:gd name="T73" fmla="*/ 85 h 320"/>
                <a:gd name="T74" fmla="*/ 252 w 294"/>
                <a:gd name="T75" fmla="*/ 7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4" h="320">
                  <a:moveTo>
                    <a:pt x="262" y="234"/>
                  </a:moveTo>
                  <a:cubicBezTo>
                    <a:pt x="262" y="236"/>
                    <a:pt x="265" y="284"/>
                    <a:pt x="238" y="316"/>
                  </a:cubicBezTo>
                  <a:cubicBezTo>
                    <a:pt x="236" y="318"/>
                    <a:pt x="233" y="320"/>
                    <a:pt x="230" y="320"/>
                  </a:cubicBezTo>
                  <a:cubicBezTo>
                    <a:pt x="227" y="320"/>
                    <a:pt x="225" y="319"/>
                    <a:pt x="223" y="317"/>
                  </a:cubicBezTo>
                  <a:cubicBezTo>
                    <a:pt x="219" y="313"/>
                    <a:pt x="218" y="307"/>
                    <a:pt x="222" y="302"/>
                  </a:cubicBezTo>
                  <a:cubicBezTo>
                    <a:pt x="243" y="277"/>
                    <a:pt x="240" y="236"/>
                    <a:pt x="240" y="235"/>
                  </a:cubicBezTo>
                  <a:cubicBezTo>
                    <a:pt x="240" y="192"/>
                    <a:pt x="240" y="192"/>
                    <a:pt x="240" y="192"/>
                  </a:cubicBezTo>
                  <a:cubicBezTo>
                    <a:pt x="240" y="186"/>
                    <a:pt x="236" y="181"/>
                    <a:pt x="230" y="181"/>
                  </a:cubicBezTo>
                  <a:cubicBezTo>
                    <a:pt x="225" y="181"/>
                    <a:pt x="220" y="185"/>
                    <a:pt x="220" y="190"/>
                  </a:cubicBezTo>
                  <a:cubicBezTo>
                    <a:pt x="220" y="192"/>
                    <a:pt x="220" y="192"/>
                    <a:pt x="220" y="192"/>
                  </a:cubicBezTo>
                  <a:cubicBezTo>
                    <a:pt x="220" y="198"/>
                    <a:pt x="215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4" y="170"/>
                    <a:pt x="188" y="170"/>
                  </a:cubicBezTo>
                  <a:cubicBezTo>
                    <a:pt x="182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6" y="198"/>
                    <a:pt x="156" y="192"/>
                  </a:cubicBezTo>
                  <a:cubicBezTo>
                    <a:pt x="156" y="160"/>
                    <a:pt x="156" y="160"/>
                    <a:pt x="156" y="160"/>
                  </a:cubicBezTo>
                  <a:cubicBezTo>
                    <a:pt x="156" y="154"/>
                    <a:pt x="151" y="149"/>
                    <a:pt x="145" y="149"/>
                  </a:cubicBezTo>
                  <a:cubicBezTo>
                    <a:pt x="139" y="149"/>
                    <a:pt x="134" y="154"/>
                    <a:pt x="134" y="160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30" y="202"/>
                    <a:pt x="124" y="202"/>
                  </a:cubicBezTo>
                  <a:cubicBezTo>
                    <a:pt x="118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2" y="100"/>
                    <a:pt x="92" y="106"/>
                  </a:cubicBezTo>
                  <a:cubicBezTo>
                    <a:pt x="92" y="234"/>
                    <a:pt x="92" y="234"/>
                    <a:pt x="92" y="234"/>
                  </a:cubicBezTo>
                  <a:cubicBezTo>
                    <a:pt x="92" y="239"/>
                    <a:pt x="89" y="242"/>
                    <a:pt x="85" y="244"/>
                  </a:cubicBezTo>
                  <a:cubicBezTo>
                    <a:pt x="82" y="246"/>
                    <a:pt x="77" y="245"/>
                    <a:pt x="74" y="242"/>
                  </a:cubicBezTo>
                  <a:cubicBezTo>
                    <a:pt x="60" y="230"/>
                    <a:pt x="45" y="192"/>
                    <a:pt x="42" y="185"/>
                  </a:cubicBezTo>
                  <a:cubicBezTo>
                    <a:pt x="41" y="183"/>
                    <a:pt x="39" y="181"/>
                    <a:pt x="36" y="180"/>
                  </a:cubicBezTo>
                  <a:cubicBezTo>
                    <a:pt x="33" y="180"/>
                    <a:pt x="30" y="180"/>
                    <a:pt x="28" y="181"/>
                  </a:cubicBezTo>
                  <a:cubicBezTo>
                    <a:pt x="23" y="183"/>
                    <a:pt x="24" y="192"/>
                    <a:pt x="27" y="198"/>
                  </a:cubicBezTo>
                  <a:cubicBezTo>
                    <a:pt x="27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4" y="310"/>
                    <a:pt x="101" y="315"/>
                  </a:cubicBezTo>
                  <a:cubicBezTo>
                    <a:pt x="99" y="318"/>
                    <a:pt x="95" y="320"/>
                    <a:pt x="92" y="320"/>
                  </a:cubicBezTo>
                  <a:cubicBezTo>
                    <a:pt x="90" y="320"/>
                    <a:pt x="88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6" y="158"/>
                    <a:pt x="34" y="157"/>
                    <a:pt x="43" y="160"/>
                  </a:cubicBezTo>
                  <a:cubicBezTo>
                    <a:pt x="51" y="163"/>
                    <a:pt x="57" y="169"/>
                    <a:pt x="61" y="176"/>
                  </a:cubicBezTo>
                  <a:cubicBezTo>
                    <a:pt x="64" y="183"/>
                    <a:pt x="67" y="190"/>
                    <a:pt x="70" y="197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5" y="74"/>
                    <a:pt x="102" y="74"/>
                  </a:cubicBezTo>
                  <a:cubicBezTo>
                    <a:pt x="120" y="74"/>
                    <a:pt x="134" y="89"/>
                    <a:pt x="134" y="106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38" y="128"/>
                    <a:pt x="141" y="128"/>
                    <a:pt x="145" y="128"/>
                  </a:cubicBezTo>
                  <a:cubicBezTo>
                    <a:pt x="160" y="128"/>
                    <a:pt x="172" y="138"/>
                    <a:pt x="176" y="151"/>
                  </a:cubicBezTo>
                  <a:cubicBezTo>
                    <a:pt x="179" y="150"/>
                    <a:pt x="183" y="149"/>
                    <a:pt x="188" y="149"/>
                  </a:cubicBezTo>
                  <a:cubicBezTo>
                    <a:pt x="199" y="149"/>
                    <a:pt x="209" y="155"/>
                    <a:pt x="215" y="164"/>
                  </a:cubicBezTo>
                  <a:cubicBezTo>
                    <a:pt x="219" y="161"/>
                    <a:pt x="225" y="160"/>
                    <a:pt x="230" y="160"/>
                  </a:cubicBezTo>
                  <a:cubicBezTo>
                    <a:pt x="248" y="160"/>
                    <a:pt x="262" y="174"/>
                    <a:pt x="262" y="192"/>
                  </a:cubicBezTo>
                  <a:lnTo>
                    <a:pt x="262" y="234"/>
                  </a:lnTo>
                  <a:close/>
                  <a:moveTo>
                    <a:pt x="294" y="69"/>
                  </a:moveTo>
                  <a:cubicBezTo>
                    <a:pt x="294" y="107"/>
                    <a:pt x="263" y="138"/>
                    <a:pt x="225" y="138"/>
                  </a:cubicBezTo>
                  <a:cubicBezTo>
                    <a:pt x="187" y="138"/>
                    <a:pt x="156" y="107"/>
                    <a:pt x="156" y="69"/>
                  </a:cubicBezTo>
                  <a:cubicBezTo>
                    <a:pt x="156" y="31"/>
                    <a:pt x="187" y="0"/>
                    <a:pt x="225" y="0"/>
                  </a:cubicBezTo>
                  <a:cubicBezTo>
                    <a:pt x="263" y="0"/>
                    <a:pt x="294" y="31"/>
                    <a:pt x="294" y="69"/>
                  </a:cubicBezTo>
                  <a:close/>
                  <a:moveTo>
                    <a:pt x="273" y="69"/>
                  </a:moveTo>
                  <a:cubicBezTo>
                    <a:pt x="273" y="43"/>
                    <a:pt x="251" y="21"/>
                    <a:pt x="225" y="21"/>
                  </a:cubicBezTo>
                  <a:cubicBezTo>
                    <a:pt x="199" y="21"/>
                    <a:pt x="177" y="43"/>
                    <a:pt x="177" y="69"/>
                  </a:cubicBezTo>
                  <a:cubicBezTo>
                    <a:pt x="177" y="95"/>
                    <a:pt x="199" y="117"/>
                    <a:pt x="225" y="117"/>
                  </a:cubicBezTo>
                  <a:cubicBezTo>
                    <a:pt x="251" y="117"/>
                    <a:pt x="273" y="95"/>
                    <a:pt x="273" y="69"/>
                  </a:cubicBezTo>
                  <a:close/>
                  <a:moveTo>
                    <a:pt x="241" y="64"/>
                  </a:moveTo>
                  <a:cubicBezTo>
                    <a:pt x="230" y="64"/>
                    <a:pt x="230" y="64"/>
                    <a:pt x="230" y="64"/>
                  </a:cubicBezTo>
                  <a:cubicBezTo>
                    <a:pt x="230" y="53"/>
                    <a:pt x="230" y="53"/>
                    <a:pt x="230" y="53"/>
                  </a:cubicBezTo>
                  <a:cubicBezTo>
                    <a:pt x="230" y="47"/>
                    <a:pt x="226" y="42"/>
                    <a:pt x="220" y="42"/>
                  </a:cubicBezTo>
                  <a:cubicBezTo>
                    <a:pt x="214" y="42"/>
                    <a:pt x="209" y="47"/>
                    <a:pt x="209" y="53"/>
                  </a:cubicBezTo>
                  <a:cubicBezTo>
                    <a:pt x="209" y="74"/>
                    <a:pt x="209" y="74"/>
                    <a:pt x="209" y="74"/>
                  </a:cubicBezTo>
                  <a:cubicBezTo>
                    <a:pt x="209" y="80"/>
                    <a:pt x="214" y="85"/>
                    <a:pt x="220" y="85"/>
                  </a:cubicBezTo>
                  <a:cubicBezTo>
                    <a:pt x="241" y="85"/>
                    <a:pt x="241" y="85"/>
                    <a:pt x="241" y="85"/>
                  </a:cubicBezTo>
                  <a:cubicBezTo>
                    <a:pt x="247" y="85"/>
                    <a:pt x="252" y="80"/>
                    <a:pt x="252" y="74"/>
                  </a:cubicBezTo>
                  <a:cubicBezTo>
                    <a:pt x="252" y="68"/>
                    <a:pt x="247" y="64"/>
                    <a:pt x="241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5" name="Freeform 1006"/>
          <p:cNvSpPr>
            <a:spLocks noChangeAspect="1" noEditPoints="1"/>
          </p:cNvSpPr>
          <p:nvPr/>
        </p:nvSpPr>
        <p:spPr bwMode="auto">
          <a:xfrm>
            <a:off x="2434399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28 w 512"/>
              <a:gd name="T5" fmla="*/ 412 h 512"/>
              <a:gd name="T6" fmla="*/ 312 w 512"/>
              <a:gd name="T7" fmla="*/ 413 h 512"/>
              <a:gd name="T8" fmla="*/ 330 w 512"/>
              <a:gd name="T9" fmla="*/ 331 h 512"/>
              <a:gd name="T10" fmla="*/ 319 w 512"/>
              <a:gd name="T11" fmla="*/ 277 h 512"/>
              <a:gd name="T12" fmla="*/ 309 w 512"/>
              <a:gd name="T13" fmla="*/ 288 h 512"/>
              <a:gd name="T14" fmla="*/ 298 w 512"/>
              <a:gd name="T15" fmla="*/ 298 h 512"/>
              <a:gd name="T16" fmla="*/ 288 w 512"/>
              <a:gd name="T17" fmla="*/ 288 h 512"/>
              <a:gd name="T18" fmla="*/ 277 w 512"/>
              <a:gd name="T19" fmla="*/ 266 h 512"/>
              <a:gd name="T20" fmla="*/ 266 w 512"/>
              <a:gd name="T21" fmla="*/ 288 h 512"/>
              <a:gd name="T22" fmla="*/ 245 w 512"/>
              <a:gd name="T23" fmla="*/ 288 h 512"/>
              <a:gd name="T24" fmla="*/ 234 w 512"/>
              <a:gd name="T25" fmla="*/ 245 h 512"/>
              <a:gd name="T26" fmla="*/ 224 w 512"/>
              <a:gd name="T27" fmla="*/ 288 h 512"/>
              <a:gd name="T28" fmla="*/ 202 w 512"/>
              <a:gd name="T29" fmla="*/ 288 h 512"/>
              <a:gd name="T30" fmla="*/ 192 w 512"/>
              <a:gd name="T31" fmla="*/ 192 h 512"/>
              <a:gd name="T32" fmla="*/ 181 w 512"/>
              <a:gd name="T33" fmla="*/ 330 h 512"/>
              <a:gd name="T34" fmla="*/ 163 w 512"/>
              <a:gd name="T35" fmla="*/ 338 h 512"/>
              <a:gd name="T36" fmla="*/ 125 w 512"/>
              <a:gd name="T37" fmla="*/ 276 h 512"/>
              <a:gd name="T38" fmla="*/ 116 w 512"/>
              <a:gd name="T39" fmla="*/ 294 h 512"/>
              <a:gd name="T40" fmla="*/ 187 w 512"/>
              <a:gd name="T41" fmla="*/ 396 h 512"/>
              <a:gd name="T42" fmla="*/ 181 w 512"/>
              <a:gd name="T43" fmla="*/ 416 h 512"/>
              <a:gd name="T44" fmla="*/ 96 w 512"/>
              <a:gd name="T45" fmla="*/ 303 h 512"/>
              <a:gd name="T46" fmla="*/ 132 w 512"/>
              <a:gd name="T47" fmla="*/ 256 h 512"/>
              <a:gd name="T48" fmla="*/ 160 w 512"/>
              <a:gd name="T49" fmla="*/ 293 h 512"/>
              <a:gd name="T50" fmla="*/ 192 w 512"/>
              <a:gd name="T51" fmla="*/ 170 h 512"/>
              <a:gd name="T52" fmla="*/ 224 w 512"/>
              <a:gd name="T53" fmla="*/ 226 h 512"/>
              <a:gd name="T54" fmla="*/ 265 w 512"/>
              <a:gd name="T55" fmla="*/ 247 h 512"/>
              <a:gd name="T56" fmla="*/ 304 w 512"/>
              <a:gd name="T57" fmla="*/ 260 h 512"/>
              <a:gd name="T58" fmla="*/ 352 w 512"/>
              <a:gd name="T59" fmla="*/ 288 h 512"/>
              <a:gd name="T60" fmla="*/ 328 w 512"/>
              <a:gd name="T61" fmla="*/ 412 h 512"/>
              <a:gd name="T62" fmla="*/ 391 w 512"/>
              <a:gd name="T63" fmla="*/ 199 h 512"/>
              <a:gd name="T64" fmla="*/ 376 w 512"/>
              <a:gd name="T65" fmla="*/ 199 h 512"/>
              <a:gd name="T66" fmla="*/ 379 w 512"/>
              <a:gd name="T67" fmla="*/ 181 h 512"/>
              <a:gd name="T68" fmla="*/ 352 w 512"/>
              <a:gd name="T69" fmla="*/ 209 h 512"/>
              <a:gd name="T70" fmla="*/ 370 w 512"/>
              <a:gd name="T71" fmla="*/ 205 h 512"/>
              <a:gd name="T72" fmla="*/ 349 w 512"/>
              <a:gd name="T73" fmla="*/ 242 h 512"/>
              <a:gd name="T74" fmla="*/ 333 w 512"/>
              <a:gd name="T75" fmla="*/ 242 h 512"/>
              <a:gd name="T76" fmla="*/ 312 w 512"/>
              <a:gd name="T77" fmla="*/ 205 h 512"/>
              <a:gd name="T78" fmla="*/ 330 w 512"/>
              <a:gd name="T79" fmla="*/ 209 h 512"/>
              <a:gd name="T80" fmla="*/ 303 w 512"/>
              <a:gd name="T81" fmla="*/ 181 h 512"/>
              <a:gd name="T82" fmla="*/ 306 w 512"/>
              <a:gd name="T83" fmla="*/ 199 h 512"/>
              <a:gd name="T84" fmla="*/ 291 w 512"/>
              <a:gd name="T85" fmla="*/ 199 h 512"/>
              <a:gd name="T86" fmla="*/ 269 w 512"/>
              <a:gd name="T87" fmla="*/ 163 h 512"/>
              <a:gd name="T88" fmla="*/ 306 w 512"/>
              <a:gd name="T89" fmla="*/ 141 h 512"/>
              <a:gd name="T90" fmla="*/ 303 w 512"/>
              <a:gd name="T91" fmla="*/ 160 h 512"/>
              <a:gd name="T92" fmla="*/ 330 w 512"/>
              <a:gd name="T93" fmla="*/ 132 h 512"/>
              <a:gd name="T94" fmla="*/ 320 w 512"/>
              <a:gd name="T95" fmla="*/ 138 h 512"/>
              <a:gd name="T96" fmla="*/ 312 w 512"/>
              <a:gd name="T97" fmla="*/ 120 h 512"/>
              <a:gd name="T98" fmla="*/ 349 w 512"/>
              <a:gd name="T99" fmla="*/ 99 h 512"/>
              <a:gd name="T100" fmla="*/ 370 w 512"/>
              <a:gd name="T101" fmla="*/ 135 h 512"/>
              <a:gd name="T102" fmla="*/ 355 w 512"/>
              <a:gd name="T103" fmla="*/ 135 h 512"/>
              <a:gd name="T104" fmla="*/ 352 w 512"/>
              <a:gd name="T105" fmla="*/ 160 h 512"/>
              <a:gd name="T106" fmla="*/ 376 w 512"/>
              <a:gd name="T107" fmla="*/ 157 h 512"/>
              <a:gd name="T108" fmla="*/ 391 w 512"/>
              <a:gd name="T109" fmla="*/ 141 h 512"/>
              <a:gd name="T110" fmla="*/ 413 w 512"/>
              <a:gd name="T111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8" y="412"/>
                </a:moveTo>
                <a:cubicBezTo>
                  <a:pt x="326" y="414"/>
                  <a:pt x="322" y="416"/>
                  <a:pt x="319" y="416"/>
                </a:cubicBezTo>
                <a:cubicBezTo>
                  <a:pt x="317" y="416"/>
                  <a:pt x="314" y="415"/>
                  <a:pt x="312" y="413"/>
                </a:cubicBezTo>
                <a:cubicBezTo>
                  <a:pt x="308" y="409"/>
                  <a:pt x="307" y="403"/>
                  <a:pt x="311" y="398"/>
                </a:cubicBezTo>
                <a:cubicBezTo>
                  <a:pt x="333" y="373"/>
                  <a:pt x="330" y="332"/>
                  <a:pt x="330" y="331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82"/>
                  <a:pt x="325" y="277"/>
                  <a:pt x="319" y="277"/>
                </a:cubicBezTo>
                <a:cubicBezTo>
                  <a:pt x="314" y="277"/>
                  <a:pt x="310" y="281"/>
                  <a:pt x="309" y="286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92" y="298"/>
                  <a:pt x="288" y="294"/>
                  <a:pt x="288" y="288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8" y="271"/>
                  <a:pt x="283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250"/>
                  <a:pt x="240" y="245"/>
                  <a:pt x="234" y="245"/>
                </a:cubicBezTo>
                <a:cubicBezTo>
                  <a:pt x="228" y="245"/>
                  <a:pt x="224" y="250"/>
                  <a:pt x="224" y="256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24" y="294"/>
                  <a:pt x="219" y="298"/>
                  <a:pt x="213" y="298"/>
                </a:cubicBezTo>
                <a:cubicBezTo>
                  <a:pt x="207" y="298"/>
                  <a:pt x="202" y="294"/>
                  <a:pt x="202" y="288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196"/>
                  <a:pt x="198" y="192"/>
                  <a:pt x="192" y="192"/>
                </a:cubicBezTo>
                <a:cubicBezTo>
                  <a:pt x="186" y="192"/>
                  <a:pt x="181" y="196"/>
                  <a:pt x="181" y="202"/>
                </a:cubicBezTo>
                <a:cubicBezTo>
                  <a:pt x="181" y="330"/>
                  <a:pt x="181" y="330"/>
                  <a:pt x="181" y="330"/>
                </a:cubicBezTo>
                <a:cubicBezTo>
                  <a:pt x="181" y="335"/>
                  <a:pt x="179" y="338"/>
                  <a:pt x="175" y="340"/>
                </a:cubicBezTo>
                <a:cubicBezTo>
                  <a:pt x="171" y="342"/>
                  <a:pt x="167" y="341"/>
                  <a:pt x="163" y="338"/>
                </a:cubicBezTo>
                <a:cubicBezTo>
                  <a:pt x="149" y="326"/>
                  <a:pt x="134" y="288"/>
                  <a:pt x="131" y="281"/>
                </a:cubicBezTo>
                <a:cubicBezTo>
                  <a:pt x="130" y="279"/>
                  <a:pt x="128" y="277"/>
                  <a:pt x="125" y="276"/>
                </a:cubicBezTo>
                <a:cubicBezTo>
                  <a:pt x="122" y="276"/>
                  <a:pt x="120" y="276"/>
                  <a:pt x="117" y="277"/>
                </a:cubicBezTo>
                <a:cubicBezTo>
                  <a:pt x="113" y="279"/>
                  <a:pt x="113" y="288"/>
                  <a:pt x="116" y="294"/>
                </a:cubicBezTo>
                <a:cubicBezTo>
                  <a:pt x="116" y="294"/>
                  <a:pt x="116" y="294"/>
                  <a:pt x="116" y="295"/>
                </a:cubicBezTo>
                <a:cubicBezTo>
                  <a:pt x="117" y="295"/>
                  <a:pt x="143" y="369"/>
                  <a:pt x="187" y="396"/>
                </a:cubicBezTo>
                <a:cubicBezTo>
                  <a:pt x="192" y="399"/>
                  <a:pt x="193" y="406"/>
                  <a:pt x="190" y="411"/>
                </a:cubicBezTo>
                <a:cubicBezTo>
                  <a:pt x="188" y="414"/>
                  <a:pt x="185" y="416"/>
                  <a:pt x="181" y="416"/>
                </a:cubicBezTo>
                <a:cubicBezTo>
                  <a:pt x="179" y="416"/>
                  <a:pt x="177" y="415"/>
                  <a:pt x="175" y="414"/>
                </a:cubicBezTo>
                <a:cubicBezTo>
                  <a:pt x="127" y="384"/>
                  <a:pt x="99" y="310"/>
                  <a:pt x="96" y="303"/>
                </a:cubicBezTo>
                <a:cubicBezTo>
                  <a:pt x="89" y="287"/>
                  <a:pt x="91" y="266"/>
                  <a:pt x="107" y="258"/>
                </a:cubicBezTo>
                <a:cubicBezTo>
                  <a:pt x="115" y="254"/>
                  <a:pt x="124" y="253"/>
                  <a:pt x="132" y="256"/>
                </a:cubicBezTo>
                <a:cubicBezTo>
                  <a:pt x="140" y="259"/>
                  <a:pt x="147" y="265"/>
                  <a:pt x="150" y="272"/>
                </a:cubicBezTo>
                <a:cubicBezTo>
                  <a:pt x="153" y="279"/>
                  <a:pt x="156" y="286"/>
                  <a:pt x="160" y="293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60" y="185"/>
                  <a:pt x="174" y="170"/>
                  <a:pt x="192" y="170"/>
                </a:cubicBezTo>
                <a:cubicBezTo>
                  <a:pt x="209" y="170"/>
                  <a:pt x="224" y="185"/>
                  <a:pt x="224" y="202"/>
                </a:cubicBezTo>
                <a:cubicBezTo>
                  <a:pt x="224" y="226"/>
                  <a:pt x="224" y="226"/>
                  <a:pt x="224" y="226"/>
                </a:cubicBezTo>
                <a:cubicBezTo>
                  <a:pt x="227" y="224"/>
                  <a:pt x="231" y="224"/>
                  <a:pt x="234" y="224"/>
                </a:cubicBezTo>
                <a:cubicBezTo>
                  <a:pt x="249" y="224"/>
                  <a:pt x="261" y="234"/>
                  <a:pt x="265" y="247"/>
                </a:cubicBezTo>
                <a:cubicBezTo>
                  <a:pt x="269" y="246"/>
                  <a:pt x="273" y="245"/>
                  <a:pt x="277" y="245"/>
                </a:cubicBezTo>
                <a:cubicBezTo>
                  <a:pt x="288" y="245"/>
                  <a:pt x="298" y="251"/>
                  <a:pt x="304" y="260"/>
                </a:cubicBezTo>
                <a:cubicBezTo>
                  <a:pt x="309" y="257"/>
                  <a:pt x="314" y="256"/>
                  <a:pt x="320" y="256"/>
                </a:cubicBezTo>
                <a:cubicBezTo>
                  <a:pt x="337" y="256"/>
                  <a:pt x="352" y="270"/>
                  <a:pt x="352" y="288"/>
                </a:cubicBezTo>
                <a:cubicBezTo>
                  <a:pt x="352" y="330"/>
                  <a:pt x="352" y="330"/>
                  <a:pt x="352" y="330"/>
                </a:cubicBezTo>
                <a:cubicBezTo>
                  <a:pt x="352" y="332"/>
                  <a:pt x="355" y="380"/>
                  <a:pt x="328" y="412"/>
                </a:cubicBezTo>
                <a:close/>
                <a:moveTo>
                  <a:pt x="413" y="178"/>
                </a:moveTo>
                <a:cubicBezTo>
                  <a:pt x="391" y="199"/>
                  <a:pt x="391" y="199"/>
                  <a:pt x="391" y="199"/>
                </a:cubicBezTo>
                <a:cubicBezTo>
                  <a:pt x="389" y="201"/>
                  <a:pt x="386" y="202"/>
                  <a:pt x="384" y="202"/>
                </a:cubicBezTo>
                <a:cubicBezTo>
                  <a:pt x="381" y="202"/>
                  <a:pt x="378" y="201"/>
                  <a:pt x="376" y="199"/>
                </a:cubicBezTo>
                <a:cubicBezTo>
                  <a:pt x="372" y="195"/>
                  <a:pt x="372" y="188"/>
                  <a:pt x="376" y="184"/>
                </a:cubicBezTo>
                <a:cubicBezTo>
                  <a:pt x="379" y="181"/>
                  <a:pt x="379" y="181"/>
                  <a:pt x="379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2" y="209"/>
                  <a:pt x="352" y="209"/>
                  <a:pt x="352" y="209"/>
                </a:cubicBezTo>
                <a:cubicBezTo>
                  <a:pt x="355" y="205"/>
                  <a:pt x="355" y="205"/>
                  <a:pt x="355" y="205"/>
                </a:cubicBezTo>
                <a:cubicBezTo>
                  <a:pt x="359" y="201"/>
                  <a:pt x="366" y="201"/>
                  <a:pt x="370" y="205"/>
                </a:cubicBezTo>
                <a:cubicBezTo>
                  <a:pt x="374" y="210"/>
                  <a:pt x="374" y="216"/>
                  <a:pt x="370" y="221"/>
                </a:cubicBezTo>
                <a:cubicBezTo>
                  <a:pt x="349" y="242"/>
                  <a:pt x="349" y="242"/>
                  <a:pt x="349" y="242"/>
                </a:cubicBezTo>
                <a:cubicBezTo>
                  <a:pt x="346" y="244"/>
                  <a:pt x="344" y="245"/>
                  <a:pt x="341" y="245"/>
                </a:cubicBezTo>
                <a:cubicBezTo>
                  <a:pt x="338" y="245"/>
                  <a:pt x="336" y="244"/>
                  <a:pt x="333" y="242"/>
                </a:cubicBezTo>
                <a:cubicBezTo>
                  <a:pt x="312" y="221"/>
                  <a:pt x="312" y="221"/>
                  <a:pt x="312" y="221"/>
                </a:cubicBezTo>
                <a:cubicBezTo>
                  <a:pt x="308" y="216"/>
                  <a:pt x="308" y="210"/>
                  <a:pt x="312" y="205"/>
                </a:cubicBezTo>
                <a:cubicBezTo>
                  <a:pt x="316" y="201"/>
                  <a:pt x="323" y="201"/>
                  <a:pt x="327" y="205"/>
                </a:cubicBezTo>
                <a:cubicBezTo>
                  <a:pt x="330" y="209"/>
                  <a:pt x="330" y="209"/>
                  <a:pt x="330" y="209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03" y="181"/>
                  <a:pt x="303" y="181"/>
                  <a:pt x="303" y="181"/>
                </a:cubicBezTo>
                <a:cubicBezTo>
                  <a:pt x="306" y="184"/>
                  <a:pt x="306" y="184"/>
                  <a:pt x="306" y="184"/>
                </a:cubicBezTo>
                <a:cubicBezTo>
                  <a:pt x="310" y="188"/>
                  <a:pt x="310" y="195"/>
                  <a:pt x="306" y="199"/>
                </a:cubicBezTo>
                <a:cubicBezTo>
                  <a:pt x="304" y="201"/>
                  <a:pt x="301" y="202"/>
                  <a:pt x="298" y="202"/>
                </a:cubicBezTo>
                <a:cubicBezTo>
                  <a:pt x="296" y="202"/>
                  <a:pt x="293" y="201"/>
                  <a:pt x="291" y="199"/>
                </a:cubicBezTo>
                <a:cubicBezTo>
                  <a:pt x="269" y="178"/>
                  <a:pt x="269" y="178"/>
                  <a:pt x="269" y="178"/>
                </a:cubicBezTo>
                <a:cubicBezTo>
                  <a:pt x="265" y="174"/>
                  <a:pt x="265" y="167"/>
                  <a:pt x="269" y="163"/>
                </a:cubicBezTo>
                <a:cubicBezTo>
                  <a:pt x="291" y="141"/>
                  <a:pt x="291" y="141"/>
                  <a:pt x="291" y="141"/>
                </a:cubicBezTo>
                <a:cubicBezTo>
                  <a:pt x="295" y="137"/>
                  <a:pt x="302" y="137"/>
                  <a:pt x="306" y="141"/>
                </a:cubicBezTo>
                <a:cubicBezTo>
                  <a:pt x="310" y="146"/>
                  <a:pt x="310" y="152"/>
                  <a:pt x="306" y="157"/>
                </a:cubicBezTo>
                <a:cubicBezTo>
                  <a:pt x="303" y="160"/>
                  <a:pt x="303" y="160"/>
                  <a:pt x="303" y="160"/>
                </a:cubicBezTo>
                <a:cubicBezTo>
                  <a:pt x="330" y="160"/>
                  <a:pt x="330" y="160"/>
                  <a:pt x="330" y="160"/>
                </a:cubicBezTo>
                <a:cubicBezTo>
                  <a:pt x="330" y="132"/>
                  <a:pt x="330" y="132"/>
                  <a:pt x="330" y="132"/>
                </a:cubicBezTo>
                <a:cubicBezTo>
                  <a:pt x="327" y="135"/>
                  <a:pt x="327" y="135"/>
                  <a:pt x="327" y="135"/>
                </a:cubicBezTo>
                <a:cubicBezTo>
                  <a:pt x="325" y="137"/>
                  <a:pt x="322" y="138"/>
                  <a:pt x="320" y="138"/>
                </a:cubicBezTo>
                <a:cubicBezTo>
                  <a:pt x="317" y="138"/>
                  <a:pt x="314" y="137"/>
                  <a:pt x="312" y="135"/>
                </a:cubicBezTo>
                <a:cubicBezTo>
                  <a:pt x="308" y="131"/>
                  <a:pt x="308" y="124"/>
                  <a:pt x="312" y="120"/>
                </a:cubicBezTo>
                <a:cubicBezTo>
                  <a:pt x="333" y="99"/>
                  <a:pt x="333" y="99"/>
                  <a:pt x="333" y="99"/>
                </a:cubicBezTo>
                <a:cubicBezTo>
                  <a:pt x="338" y="95"/>
                  <a:pt x="344" y="95"/>
                  <a:pt x="349" y="99"/>
                </a:cubicBezTo>
                <a:cubicBezTo>
                  <a:pt x="370" y="120"/>
                  <a:pt x="370" y="120"/>
                  <a:pt x="370" y="120"/>
                </a:cubicBezTo>
                <a:cubicBezTo>
                  <a:pt x="374" y="124"/>
                  <a:pt x="374" y="131"/>
                  <a:pt x="370" y="135"/>
                </a:cubicBezTo>
                <a:cubicBezTo>
                  <a:pt x="368" y="137"/>
                  <a:pt x="365" y="138"/>
                  <a:pt x="362" y="138"/>
                </a:cubicBezTo>
                <a:cubicBezTo>
                  <a:pt x="360" y="138"/>
                  <a:pt x="357" y="137"/>
                  <a:pt x="355" y="135"/>
                </a:cubicBezTo>
                <a:cubicBezTo>
                  <a:pt x="352" y="132"/>
                  <a:pt x="352" y="132"/>
                  <a:pt x="352" y="132"/>
                </a:cubicBezTo>
                <a:cubicBezTo>
                  <a:pt x="352" y="160"/>
                  <a:pt x="352" y="160"/>
                  <a:pt x="352" y="160"/>
                </a:cubicBezTo>
                <a:cubicBezTo>
                  <a:pt x="379" y="160"/>
                  <a:pt x="379" y="160"/>
                  <a:pt x="379" y="160"/>
                </a:cubicBezTo>
                <a:cubicBezTo>
                  <a:pt x="376" y="157"/>
                  <a:pt x="376" y="157"/>
                  <a:pt x="376" y="157"/>
                </a:cubicBezTo>
                <a:cubicBezTo>
                  <a:pt x="372" y="152"/>
                  <a:pt x="372" y="146"/>
                  <a:pt x="376" y="141"/>
                </a:cubicBezTo>
                <a:cubicBezTo>
                  <a:pt x="380" y="137"/>
                  <a:pt x="387" y="137"/>
                  <a:pt x="391" y="141"/>
                </a:cubicBezTo>
                <a:cubicBezTo>
                  <a:pt x="413" y="163"/>
                  <a:pt x="413" y="163"/>
                  <a:pt x="413" y="163"/>
                </a:cubicBezTo>
                <a:cubicBezTo>
                  <a:pt x="417" y="167"/>
                  <a:pt x="417" y="174"/>
                  <a:pt x="413" y="1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6" name="Group 1009"/>
          <p:cNvGrpSpPr>
            <a:grpSpLocks noChangeAspect="1"/>
          </p:cNvGrpSpPr>
          <p:nvPr/>
        </p:nvGrpSpPr>
        <p:grpSpPr bwMode="auto">
          <a:xfrm>
            <a:off x="2933963" y="2916225"/>
            <a:ext cx="367631" cy="368713"/>
            <a:chOff x="3277" y="4342"/>
            <a:chExt cx="340" cy="341"/>
          </a:xfrm>
          <a:solidFill>
            <a:schemeClr val="accent5"/>
          </a:solidFill>
        </p:grpSpPr>
        <p:sp>
          <p:nvSpPr>
            <p:cNvPr id="317" name="Line 1010"/>
            <p:cNvSpPr>
              <a:spLocks noChangeShapeType="1"/>
            </p:cNvSpPr>
            <p:nvPr/>
          </p:nvSpPr>
          <p:spPr bwMode="auto">
            <a:xfrm>
              <a:off x="3432" y="4399"/>
              <a:ext cx="0" cy="0"/>
            </a:xfrm>
            <a:prstGeom prst="line">
              <a:avLst/>
            </a:prstGeom>
            <a:grpFill/>
            <a:ln w="2222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Line 1011"/>
            <p:cNvSpPr>
              <a:spLocks noChangeShapeType="1"/>
            </p:cNvSpPr>
            <p:nvPr/>
          </p:nvSpPr>
          <p:spPr bwMode="auto">
            <a:xfrm>
              <a:off x="3397" y="4598"/>
              <a:ext cx="0" cy="0"/>
            </a:xfrm>
            <a:prstGeom prst="line">
              <a:avLst/>
            </a:prstGeom>
            <a:grpFill/>
            <a:ln w="2222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1012"/>
            <p:cNvSpPr>
              <a:spLocks noEditPoints="1"/>
            </p:cNvSpPr>
            <p:nvPr/>
          </p:nvSpPr>
          <p:spPr bwMode="auto">
            <a:xfrm>
              <a:off x="3336" y="4405"/>
              <a:ext cx="218" cy="214"/>
            </a:xfrm>
            <a:custGeom>
              <a:avLst/>
              <a:gdLst>
                <a:gd name="T0" fmla="*/ 302 w 328"/>
                <a:gd name="T1" fmla="*/ 104 h 321"/>
                <a:gd name="T2" fmla="*/ 287 w 328"/>
                <a:gd name="T3" fmla="*/ 104 h 321"/>
                <a:gd name="T4" fmla="*/ 290 w 328"/>
                <a:gd name="T5" fmla="*/ 86 h 321"/>
                <a:gd name="T6" fmla="*/ 263 w 328"/>
                <a:gd name="T7" fmla="*/ 114 h 321"/>
                <a:gd name="T8" fmla="*/ 281 w 328"/>
                <a:gd name="T9" fmla="*/ 110 h 321"/>
                <a:gd name="T10" fmla="*/ 260 w 328"/>
                <a:gd name="T11" fmla="*/ 147 h 321"/>
                <a:gd name="T12" fmla="*/ 244 w 328"/>
                <a:gd name="T13" fmla="*/ 147 h 321"/>
                <a:gd name="T14" fmla="*/ 223 w 328"/>
                <a:gd name="T15" fmla="*/ 110 h 321"/>
                <a:gd name="T16" fmla="*/ 241 w 328"/>
                <a:gd name="T17" fmla="*/ 114 h 321"/>
                <a:gd name="T18" fmla="*/ 214 w 328"/>
                <a:gd name="T19" fmla="*/ 86 h 321"/>
                <a:gd name="T20" fmla="*/ 217 w 328"/>
                <a:gd name="T21" fmla="*/ 104 h 321"/>
                <a:gd name="T22" fmla="*/ 202 w 328"/>
                <a:gd name="T23" fmla="*/ 104 h 321"/>
                <a:gd name="T24" fmla="*/ 180 w 328"/>
                <a:gd name="T25" fmla="*/ 68 h 321"/>
                <a:gd name="T26" fmla="*/ 217 w 328"/>
                <a:gd name="T27" fmla="*/ 46 h 321"/>
                <a:gd name="T28" fmla="*/ 214 w 328"/>
                <a:gd name="T29" fmla="*/ 65 h 321"/>
                <a:gd name="T30" fmla="*/ 241 w 328"/>
                <a:gd name="T31" fmla="*/ 37 h 321"/>
                <a:gd name="T32" fmla="*/ 231 w 328"/>
                <a:gd name="T33" fmla="*/ 43 h 321"/>
                <a:gd name="T34" fmla="*/ 223 w 328"/>
                <a:gd name="T35" fmla="*/ 25 h 321"/>
                <a:gd name="T36" fmla="*/ 260 w 328"/>
                <a:gd name="T37" fmla="*/ 4 h 321"/>
                <a:gd name="T38" fmla="*/ 281 w 328"/>
                <a:gd name="T39" fmla="*/ 40 h 321"/>
                <a:gd name="T40" fmla="*/ 266 w 328"/>
                <a:gd name="T41" fmla="*/ 40 h 321"/>
                <a:gd name="T42" fmla="*/ 263 w 328"/>
                <a:gd name="T43" fmla="*/ 65 h 321"/>
                <a:gd name="T44" fmla="*/ 287 w 328"/>
                <a:gd name="T45" fmla="*/ 62 h 321"/>
                <a:gd name="T46" fmla="*/ 302 w 328"/>
                <a:gd name="T47" fmla="*/ 46 h 321"/>
                <a:gd name="T48" fmla="*/ 324 w 328"/>
                <a:gd name="T49" fmla="*/ 83 h 321"/>
                <a:gd name="T50" fmla="*/ 231 w 328"/>
                <a:gd name="T51" fmla="*/ 161 h 321"/>
                <a:gd name="T52" fmla="*/ 188 w 328"/>
                <a:gd name="T53" fmla="*/ 150 h 321"/>
                <a:gd name="T54" fmla="*/ 145 w 328"/>
                <a:gd name="T55" fmla="*/ 129 h 321"/>
                <a:gd name="T56" fmla="*/ 135 w 328"/>
                <a:gd name="T57" fmla="*/ 107 h 321"/>
                <a:gd name="T58" fmla="*/ 71 w 328"/>
                <a:gd name="T59" fmla="*/ 107 h 321"/>
                <a:gd name="T60" fmla="*/ 61 w 328"/>
                <a:gd name="T61" fmla="*/ 177 h 321"/>
                <a:gd name="T62" fmla="*/ 18 w 328"/>
                <a:gd name="T63" fmla="*/ 163 h 321"/>
                <a:gd name="T64" fmla="*/ 86 w 328"/>
                <a:gd name="T65" fmla="*/ 319 h 321"/>
                <a:gd name="T66" fmla="*/ 101 w 328"/>
                <a:gd name="T67" fmla="*/ 316 h 321"/>
                <a:gd name="T68" fmla="*/ 27 w 328"/>
                <a:gd name="T69" fmla="*/ 200 h 321"/>
                <a:gd name="T70" fmla="*/ 28 w 328"/>
                <a:gd name="T71" fmla="*/ 182 h 321"/>
                <a:gd name="T72" fmla="*/ 42 w 328"/>
                <a:gd name="T73" fmla="*/ 186 h 321"/>
                <a:gd name="T74" fmla="*/ 86 w 328"/>
                <a:gd name="T75" fmla="*/ 245 h 321"/>
                <a:gd name="T76" fmla="*/ 92 w 328"/>
                <a:gd name="T77" fmla="*/ 107 h 321"/>
                <a:gd name="T78" fmla="*/ 113 w 328"/>
                <a:gd name="T79" fmla="*/ 107 h 321"/>
                <a:gd name="T80" fmla="*/ 124 w 328"/>
                <a:gd name="T81" fmla="*/ 203 h 321"/>
                <a:gd name="T82" fmla="*/ 135 w 328"/>
                <a:gd name="T83" fmla="*/ 161 h 321"/>
                <a:gd name="T84" fmla="*/ 156 w 328"/>
                <a:gd name="T85" fmla="*/ 161 h 321"/>
                <a:gd name="T86" fmla="*/ 167 w 328"/>
                <a:gd name="T87" fmla="*/ 203 h 321"/>
                <a:gd name="T88" fmla="*/ 177 w 328"/>
                <a:gd name="T89" fmla="*/ 182 h 321"/>
                <a:gd name="T90" fmla="*/ 199 w 328"/>
                <a:gd name="T91" fmla="*/ 182 h 321"/>
                <a:gd name="T92" fmla="*/ 209 w 328"/>
                <a:gd name="T93" fmla="*/ 203 h 321"/>
                <a:gd name="T94" fmla="*/ 209 w 328"/>
                <a:gd name="T95" fmla="*/ 203 h 321"/>
                <a:gd name="T96" fmla="*/ 220 w 328"/>
                <a:gd name="T97" fmla="*/ 191 h 321"/>
                <a:gd name="T98" fmla="*/ 241 w 328"/>
                <a:gd name="T99" fmla="*/ 193 h 321"/>
                <a:gd name="T100" fmla="*/ 222 w 328"/>
                <a:gd name="T101" fmla="*/ 303 h 321"/>
                <a:gd name="T102" fmla="*/ 230 w 328"/>
                <a:gd name="T103" fmla="*/ 321 h 321"/>
                <a:gd name="T104" fmla="*/ 263 w 328"/>
                <a:gd name="T10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8" h="321">
                  <a:moveTo>
                    <a:pt x="324" y="83"/>
                  </a:moveTo>
                  <a:cubicBezTo>
                    <a:pt x="302" y="104"/>
                    <a:pt x="302" y="104"/>
                    <a:pt x="302" y="104"/>
                  </a:cubicBezTo>
                  <a:cubicBezTo>
                    <a:pt x="300" y="106"/>
                    <a:pt x="297" y="107"/>
                    <a:pt x="295" y="107"/>
                  </a:cubicBezTo>
                  <a:cubicBezTo>
                    <a:pt x="292" y="107"/>
                    <a:pt x="289" y="106"/>
                    <a:pt x="287" y="104"/>
                  </a:cubicBezTo>
                  <a:cubicBezTo>
                    <a:pt x="283" y="100"/>
                    <a:pt x="283" y="93"/>
                    <a:pt x="287" y="89"/>
                  </a:cubicBezTo>
                  <a:cubicBezTo>
                    <a:pt x="290" y="86"/>
                    <a:pt x="290" y="86"/>
                    <a:pt x="290" y="86"/>
                  </a:cubicBezTo>
                  <a:cubicBezTo>
                    <a:pt x="263" y="86"/>
                    <a:pt x="263" y="86"/>
                    <a:pt x="263" y="86"/>
                  </a:cubicBezTo>
                  <a:cubicBezTo>
                    <a:pt x="263" y="114"/>
                    <a:pt x="263" y="114"/>
                    <a:pt x="263" y="114"/>
                  </a:cubicBezTo>
                  <a:cubicBezTo>
                    <a:pt x="266" y="110"/>
                    <a:pt x="266" y="110"/>
                    <a:pt x="266" y="110"/>
                  </a:cubicBezTo>
                  <a:cubicBezTo>
                    <a:pt x="270" y="106"/>
                    <a:pt x="277" y="106"/>
                    <a:pt x="281" y="110"/>
                  </a:cubicBezTo>
                  <a:cubicBezTo>
                    <a:pt x="285" y="115"/>
                    <a:pt x="285" y="121"/>
                    <a:pt x="281" y="126"/>
                  </a:cubicBezTo>
                  <a:cubicBezTo>
                    <a:pt x="260" y="147"/>
                    <a:pt x="260" y="147"/>
                    <a:pt x="260" y="147"/>
                  </a:cubicBezTo>
                  <a:cubicBezTo>
                    <a:pt x="257" y="149"/>
                    <a:pt x="255" y="150"/>
                    <a:pt x="252" y="150"/>
                  </a:cubicBezTo>
                  <a:cubicBezTo>
                    <a:pt x="249" y="150"/>
                    <a:pt x="247" y="149"/>
                    <a:pt x="244" y="147"/>
                  </a:cubicBezTo>
                  <a:cubicBezTo>
                    <a:pt x="223" y="126"/>
                    <a:pt x="223" y="126"/>
                    <a:pt x="223" y="126"/>
                  </a:cubicBezTo>
                  <a:cubicBezTo>
                    <a:pt x="219" y="121"/>
                    <a:pt x="219" y="115"/>
                    <a:pt x="223" y="110"/>
                  </a:cubicBezTo>
                  <a:cubicBezTo>
                    <a:pt x="227" y="106"/>
                    <a:pt x="234" y="106"/>
                    <a:pt x="238" y="110"/>
                  </a:cubicBezTo>
                  <a:cubicBezTo>
                    <a:pt x="241" y="114"/>
                    <a:pt x="241" y="114"/>
                    <a:pt x="241" y="114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14" y="86"/>
                    <a:pt x="214" y="86"/>
                    <a:pt x="214" y="86"/>
                  </a:cubicBezTo>
                  <a:cubicBezTo>
                    <a:pt x="217" y="89"/>
                    <a:pt x="217" y="89"/>
                    <a:pt x="217" y="89"/>
                  </a:cubicBezTo>
                  <a:cubicBezTo>
                    <a:pt x="221" y="93"/>
                    <a:pt x="221" y="100"/>
                    <a:pt x="217" y="104"/>
                  </a:cubicBezTo>
                  <a:cubicBezTo>
                    <a:pt x="215" y="106"/>
                    <a:pt x="212" y="107"/>
                    <a:pt x="209" y="107"/>
                  </a:cubicBezTo>
                  <a:cubicBezTo>
                    <a:pt x="207" y="107"/>
                    <a:pt x="204" y="106"/>
                    <a:pt x="202" y="104"/>
                  </a:cubicBezTo>
                  <a:cubicBezTo>
                    <a:pt x="180" y="83"/>
                    <a:pt x="180" y="83"/>
                    <a:pt x="180" y="83"/>
                  </a:cubicBezTo>
                  <a:cubicBezTo>
                    <a:pt x="176" y="79"/>
                    <a:pt x="176" y="72"/>
                    <a:pt x="180" y="68"/>
                  </a:cubicBezTo>
                  <a:cubicBezTo>
                    <a:pt x="202" y="46"/>
                    <a:pt x="202" y="46"/>
                    <a:pt x="202" y="46"/>
                  </a:cubicBezTo>
                  <a:cubicBezTo>
                    <a:pt x="206" y="42"/>
                    <a:pt x="213" y="42"/>
                    <a:pt x="217" y="46"/>
                  </a:cubicBezTo>
                  <a:cubicBezTo>
                    <a:pt x="221" y="51"/>
                    <a:pt x="221" y="57"/>
                    <a:pt x="217" y="62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41" y="65"/>
                    <a:pt x="241" y="65"/>
                    <a:pt x="241" y="65"/>
                  </a:cubicBezTo>
                  <a:cubicBezTo>
                    <a:pt x="241" y="37"/>
                    <a:pt x="241" y="37"/>
                    <a:pt x="241" y="37"/>
                  </a:cubicBezTo>
                  <a:cubicBezTo>
                    <a:pt x="238" y="40"/>
                    <a:pt x="238" y="40"/>
                    <a:pt x="238" y="40"/>
                  </a:cubicBezTo>
                  <a:cubicBezTo>
                    <a:pt x="236" y="42"/>
                    <a:pt x="233" y="43"/>
                    <a:pt x="231" y="43"/>
                  </a:cubicBezTo>
                  <a:cubicBezTo>
                    <a:pt x="228" y="43"/>
                    <a:pt x="225" y="42"/>
                    <a:pt x="223" y="40"/>
                  </a:cubicBezTo>
                  <a:cubicBezTo>
                    <a:pt x="219" y="36"/>
                    <a:pt x="219" y="29"/>
                    <a:pt x="223" y="25"/>
                  </a:cubicBezTo>
                  <a:cubicBezTo>
                    <a:pt x="244" y="4"/>
                    <a:pt x="244" y="4"/>
                    <a:pt x="244" y="4"/>
                  </a:cubicBezTo>
                  <a:cubicBezTo>
                    <a:pt x="249" y="0"/>
                    <a:pt x="255" y="0"/>
                    <a:pt x="260" y="4"/>
                  </a:cubicBezTo>
                  <a:cubicBezTo>
                    <a:pt x="281" y="25"/>
                    <a:pt x="281" y="25"/>
                    <a:pt x="281" y="25"/>
                  </a:cubicBezTo>
                  <a:cubicBezTo>
                    <a:pt x="285" y="29"/>
                    <a:pt x="285" y="36"/>
                    <a:pt x="281" y="40"/>
                  </a:cubicBezTo>
                  <a:cubicBezTo>
                    <a:pt x="279" y="42"/>
                    <a:pt x="276" y="43"/>
                    <a:pt x="273" y="43"/>
                  </a:cubicBezTo>
                  <a:cubicBezTo>
                    <a:pt x="271" y="43"/>
                    <a:pt x="268" y="42"/>
                    <a:pt x="266" y="40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63" y="65"/>
                    <a:pt x="263" y="65"/>
                    <a:pt x="263" y="65"/>
                  </a:cubicBezTo>
                  <a:cubicBezTo>
                    <a:pt x="290" y="65"/>
                    <a:pt x="290" y="65"/>
                    <a:pt x="290" y="65"/>
                  </a:cubicBezTo>
                  <a:cubicBezTo>
                    <a:pt x="287" y="62"/>
                    <a:pt x="287" y="62"/>
                    <a:pt x="287" y="62"/>
                  </a:cubicBezTo>
                  <a:cubicBezTo>
                    <a:pt x="283" y="57"/>
                    <a:pt x="283" y="51"/>
                    <a:pt x="287" y="46"/>
                  </a:cubicBezTo>
                  <a:cubicBezTo>
                    <a:pt x="291" y="42"/>
                    <a:pt x="298" y="42"/>
                    <a:pt x="302" y="46"/>
                  </a:cubicBezTo>
                  <a:cubicBezTo>
                    <a:pt x="324" y="68"/>
                    <a:pt x="324" y="68"/>
                    <a:pt x="324" y="68"/>
                  </a:cubicBezTo>
                  <a:cubicBezTo>
                    <a:pt x="328" y="72"/>
                    <a:pt x="328" y="79"/>
                    <a:pt x="324" y="83"/>
                  </a:cubicBezTo>
                  <a:close/>
                  <a:moveTo>
                    <a:pt x="263" y="193"/>
                  </a:moveTo>
                  <a:cubicBezTo>
                    <a:pt x="263" y="175"/>
                    <a:pt x="248" y="161"/>
                    <a:pt x="231" y="161"/>
                  </a:cubicBezTo>
                  <a:cubicBezTo>
                    <a:pt x="225" y="161"/>
                    <a:pt x="220" y="162"/>
                    <a:pt x="215" y="165"/>
                  </a:cubicBezTo>
                  <a:cubicBezTo>
                    <a:pt x="209" y="156"/>
                    <a:pt x="199" y="150"/>
                    <a:pt x="188" y="150"/>
                  </a:cubicBezTo>
                  <a:cubicBezTo>
                    <a:pt x="184" y="150"/>
                    <a:pt x="180" y="151"/>
                    <a:pt x="176" y="152"/>
                  </a:cubicBezTo>
                  <a:cubicBezTo>
                    <a:pt x="172" y="139"/>
                    <a:pt x="160" y="129"/>
                    <a:pt x="145" y="129"/>
                  </a:cubicBezTo>
                  <a:cubicBezTo>
                    <a:pt x="142" y="129"/>
                    <a:pt x="138" y="129"/>
                    <a:pt x="135" y="131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90"/>
                    <a:pt x="120" y="75"/>
                    <a:pt x="103" y="75"/>
                  </a:cubicBezTo>
                  <a:cubicBezTo>
                    <a:pt x="85" y="75"/>
                    <a:pt x="71" y="90"/>
                    <a:pt x="71" y="107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67" y="191"/>
                    <a:pt x="64" y="184"/>
                    <a:pt x="61" y="177"/>
                  </a:cubicBezTo>
                  <a:cubicBezTo>
                    <a:pt x="58" y="170"/>
                    <a:pt x="51" y="164"/>
                    <a:pt x="43" y="161"/>
                  </a:cubicBezTo>
                  <a:cubicBezTo>
                    <a:pt x="35" y="158"/>
                    <a:pt x="26" y="159"/>
                    <a:pt x="18" y="163"/>
                  </a:cubicBezTo>
                  <a:cubicBezTo>
                    <a:pt x="2" y="171"/>
                    <a:pt x="0" y="192"/>
                    <a:pt x="7" y="208"/>
                  </a:cubicBezTo>
                  <a:cubicBezTo>
                    <a:pt x="10" y="215"/>
                    <a:pt x="38" y="289"/>
                    <a:pt x="86" y="319"/>
                  </a:cubicBezTo>
                  <a:cubicBezTo>
                    <a:pt x="88" y="320"/>
                    <a:pt x="90" y="321"/>
                    <a:pt x="92" y="321"/>
                  </a:cubicBezTo>
                  <a:cubicBezTo>
                    <a:pt x="96" y="321"/>
                    <a:pt x="99" y="319"/>
                    <a:pt x="101" y="316"/>
                  </a:cubicBezTo>
                  <a:cubicBezTo>
                    <a:pt x="104" y="311"/>
                    <a:pt x="103" y="304"/>
                    <a:pt x="98" y="301"/>
                  </a:cubicBezTo>
                  <a:cubicBezTo>
                    <a:pt x="54" y="274"/>
                    <a:pt x="28" y="200"/>
                    <a:pt x="27" y="200"/>
                  </a:cubicBezTo>
                  <a:cubicBezTo>
                    <a:pt x="27" y="199"/>
                    <a:pt x="27" y="199"/>
                    <a:pt x="27" y="199"/>
                  </a:cubicBezTo>
                  <a:cubicBezTo>
                    <a:pt x="24" y="193"/>
                    <a:pt x="24" y="184"/>
                    <a:pt x="28" y="182"/>
                  </a:cubicBezTo>
                  <a:cubicBezTo>
                    <a:pt x="31" y="181"/>
                    <a:pt x="33" y="181"/>
                    <a:pt x="36" y="181"/>
                  </a:cubicBezTo>
                  <a:cubicBezTo>
                    <a:pt x="39" y="182"/>
                    <a:pt x="41" y="184"/>
                    <a:pt x="42" y="186"/>
                  </a:cubicBezTo>
                  <a:cubicBezTo>
                    <a:pt x="45" y="193"/>
                    <a:pt x="60" y="231"/>
                    <a:pt x="74" y="243"/>
                  </a:cubicBezTo>
                  <a:cubicBezTo>
                    <a:pt x="78" y="246"/>
                    <a:pt x="82" y="247"/>
                    <a:pt x="86" y="245"/>
                  </a:cubicBezTo>
                  <a:cubicBezTo>
                    <a:pt x="90" y="243"/>
                    <a:pt x="92" y="240"/>
                    <a:pt x="92" y="235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01"/>
                    <a:pt x="97" y="97"/>
                    <a:pt x="103" y="97"/>
                  </a:cubicBezTo>
                  <a:cubicBezTo>
                    <a:pt x="109" y="97"/>
                    <a:pt x="113" y="101"/>
                    <a:pt x="113" y="107"/>
                  </a:cubicBezTo>
                  <a:cubicBezTo>
                    <a:pt x="113" y="193"/>
                    <a:pt x="113" y="193"/>
                    <a:pt x="113" y="193"/>
                  </a:cubicBezTo>
                  <a:cubicBezTo>
                    <a:pt x="113" y="199"/>
                    <a:pt x="118" y="203"/>
                    <a:pt x="124" y="203"/>
                  </a:cubicBezTo>
                  <a:cubicBezTo>
                    <a:pt x="130" y="203"/>
                    <a:pt x="135" y="199"/>
                    <a:pt x="135" y="193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35" y="155"/>
                    <a:pt x="139" y="150"/>
                    <a:pt x="145" y="150"/>
                  </a:cubicBezTo>
                  <a:cubicBezTo>
                    <a:pt x="151" y="150"/>
                    <a:pt x="156" y="155"/>
                    <a:pt x="156" y="161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9"/>
                    <a:pt x="161" y="203"/>
                    <a:pt x="167" y="203"/>
                  </a:cubicBezTo>
                  <a:cubicBezTo>
                    <a:pt x="173" y="203"/>
                    <a:pt x="177" y="199"/>
                    <a:pt x="177" y="193"/>
                  </a:cubicBezTo>
                  <a:cubicBezTo>
                    <a:pt x="177" y="182"/>
                    <a:pt x="177" y="182"/>
                    <a:pt x="177" y="182"/>
                  </a:cubicBezTo>
                  <a:cubicBezTo>
                    <a:pt x="177" y="176"/>
                    <a:pt x="182" y="171"/>
                    <a:pt x="188" y="171"/>
                  </a:cubicBezTo>
                  <a:cubicBezTo>
                    <a:pt x="194" y="171"/>
                    <a:pt x="199" y="176"/>
                    <a:pt x="199" y="182"/>
                  </a:cubicBezTo>
                  <a:cubicBezTo>
                    <a:pt x="199" y="193"/>
                    <a:pt x="199" y="193"/>
                    <a:pt x="199" y="193"/>
                  </a:cubicBezTo>
                  <a:cubicBezTo>
                    <a:pt x="199" y="199"/>
                    <a:pt x="203" y="203"/>
                    <a:pt x="209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09" y="203"/>
                    <a:pt x="209" y="203"/>
                    <a:pt x="209" y="203"/>
                  </a:cubicBezTo>
                  <a:cubicBezTo>
                    <a:pt x="215" y="203"/>
                    <a:pt x="220" y="199"/>
                    <a:pt x="220" y="193"/>
                  </a:cubicBezTo>
                  <a:cubicBezTo>
                    <a:pt x="220" y="191"/>
                    <a:pt x="220" y="191"/>
                    <a:pt x="220" y="191"/>
                  </a:cubicBezTo>
                  <a:cubicBezTo>
                    <a:pt x="221" y="186"/>
                    <a:pt x="225" y="182"/>
                    <a:pt x="230" y="182"/>
                  </a:cubicBezTo>
                  <a:cubicBezTo>
                    <a:pt x="236" y="182"/>
                    <a:pt x="241" y="187"/>
                    <a:pt x="241" y="193"/>
                  </a:cubicBezTo>
                  <a:cubicBezTo>
                    <a:pt x="241" y="236"/>
                    <a:pt x="241" y="236"/>
                    <a:pt x="241" y="236"/>
                  </a:cubicBezTo>
                  <a:cubicBezTo>
                    <a:pt x="241" y="237"/>
                    <a:pt x="244" y="278"/>
                    <a:pt x="222" y="303"/>
                  </a:cubicBezTo>
                  <a:cubicBezTo>
                    <a:pt x="218" y="308"/>
                    <a:pt x="219" y="314"/>
                    <a:pt x="223" y="318"/>
                  </a:cubicBezTo>
                  <a:cubicBezTo>
                    <a:pt x="225" y="320"/>
                    <a:pt x="228" y="321"/>
                    <a:pt x="230" y="321"/>
                  </a:cubicBezTo>
                  <a:cubicBezTo>
                    <a:pt x="233" y="321"/>
                    <a:pt x="237" y="319"/>
                    <a:pt x="239" y="317"/>
                  </a:cubicBezTo>
                  <a:cubicBezTo>
                    <a:pt x="266" y="285"/>
                    <a:pt x="263" y="237"/>
                    <a:pt x="263" y="235"/>
                  </a:cubicBezTo>
                  <a:lnTo>
                    <a:pt x="263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1013"/>
            <p:cNvSpPr>
              <a:spLocks noEditPoints="1"/>
            </p:cNvSpPr>
            <p:nvPr/>
          </p:nvSpPr>
          <p:spPr bwMode="auto">
            <a:xfrm>
              <a:off x="3277" y="434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1" name="Freeform 1017"/>
          <p:cNvSpPr>
            <a:spLocks noChangeAspect="1" noEditPoints="1"/>
          </p:cNvSpPr>
          <p:nvPr/>
        </p:nvSpPr>
        <p:spPr bwMode="auto">
          <a:xfrm>
            <a:off x="3433527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24 w 512"/>
              <a:gd name="T5" fmla="*/ 246 h 512"/>
              <a:gd name="T6" fmla="*/ 115 w 512"/>
              <a:gd name="T7" fmla="*/ 240 h 512"/>
              <a:gd name="T8" fmla="*/ 104 w 512"/>
              <a:gd name="T9" fmla="*/ 199 h 512"/>
              <a:gd name="T10" fmla="*/ 121 w 512"/>
              <a:gd name="T11" fmla="*/ 208 h 512"/>
              <a:gd name="T12" fmla="*/ 169 w 512"/>
              <a:gd name="T13" fmla="*/ 135 h 512"/>
              <a:gd name="T14" fmla="*/ 175 w 512"/>
              <a:gd name="T15" fmla="*/ 114 h 512"/>
              <a:gd name="T16" fmla="*/ 212 w 512"/>
              <a:gd name="T17" fmla="*/ 135 h 512"/>
              <a:gd name="T18" fmla="*/ 194 w 512"/>
              <a:gd name="T19" fmla="*/ 172 h 512"/>
              <a:gd name="T20" fmla="*/ 183 w 512"/>
              <a:gd name="T21" fmla="*/ 159 h 512"/>
              <a:gd name="T22" fmla="*/ 142 w 512"/>
              <a:gd name="T23" fmla="*/ 213 h 512"/>
              <a:gd name="T24" fmla="*/ 160 w 512"/>
              <a:gd name="T25" fmla="*/ 215 h 512"/>
              <a:gd name="T26" fmla="*/ 130 w 512"/>
              <a:gd name="T27" fmla="*/ 244 h 512"/>
              <a:gd name="T28" fmla="*/ 371 w 512"/>
              <a:gd name="T29" fmla="*/ 412 h 512"/>
              <a:gd name="T30" fmla="*/ 356 w 512"/>
              <a:gd name="T31" fmla="*/ 413 h 512"/>
              <a:gd name="T32" fmla="*/ 373 w 512"/>
              <a:gd name="T33" fmla="*/ 331 h 512"/>
              <a:gd name="T34" fmla="*/ 362 w 512"/>
              <a:gd name="T35" fmla="*/ 277 h 512"/>
              <a:gd name="T36" fmla="*/ 341 w 512"/>
              <a:gd name="T37" fmla="*/ 298 h 512"/>
              <a:gd name="T38" fmla="*/ 341 w 512"/>
              <a:gd name="T39" fmla="*/ 298 h 512"/>
              <a:gd name="T40" fmla="*/ 330 w 512"/>
              <a:gd name="T41" fmla="*/ 277 h 512"/>
              <a:gd name="T42" fmla="*/ 309 w 512"/>
              <a:gd name="T43" fmla="*/ 277 h 512"/>
              <a:gd name="T44" fmla="*/ 298 w 512"/>
              <a:gd name="T45" fmla="*/ 298 h 512"/>
              <a:gd name="T46" fmla="*/ 288 w 512"/>
              <a:gd name="T47" fmla="*/ 256 h 512"/>
              <a:gd name="T48" fmla="*/ 266 w 512"/>
              <a:gd name="T49" fmla="*/ 256 h 512"/>
              <a:gd name="T50" fmla="*/ 256 w 512"/>
              <a:gd name="T51" fmla="*/ 298 h 512"/>
              <a:gd name="T52" fmla="*/ 245 w 512"/>
              <a:gd name="T53" fmla="*/ 202 h 512"/>
              <a:gd name="T54" fmla="*/ 224 w 512"/>
              <a:gd name="T55" fmla="*/ 202 h 512"/>
              <a:gd name="T56" fmla="*/ 217 w 512"/>
              <a:gd name="T57" fmla="*/ 340 h 512"/>
              <a:gd name="T58" fmla="*/ 173 w 512"/>
              <a:gd name="T59" fmla="*/ 281 h 512"/>
              <a:gd name="T60" fmla="*/ 159 w 512"/>
              <a:gd name="T61" fmla="*/ 277 h 512"/>
              <a:gd name="T62" fmla="*/ 158 w 512"/>
              <a:gd name="T63" fmla="*/ 295 h 512"/>
              <a:gd name="T64" fmla="*/ 232 w 512"/>
              <a:gd name="T65" fmla="*/ 411 h 512"/>
              <a:gd name="T66" fmla="*/ 217 w 512"/>
              <a:gd name="T67" fmla="*/ 414 h 512"/>
              <a:gd name="T68" fmla="*/ 149 w 512"/>
              <a:gd name="T69" fmla="*/ 258 h 512"/>
              <a:gd name="T70" fmla="*/ 192 w 512"/>
              <a:gd name="T71" fmla="*/ 272 h 512"/>
              <a:gd name="T72" fmla="*/ 202 w 512"/>
              <a:gd name="T73" fmla="*/ 202 h 512"/>
              <a:gd name="T74" fmla="*/ 266 w 512"/>
              <a:gd name="T75" fmla="*/ 202 h 512"/>
              <a:gd name="T76" fmla="*/ 277 w 512"/>
              <a:gd name="T77" fmla="*/ 224 h 512"/>
              <a:gd name="T78" fmla="*/ 320 w 512"/>
              <a:gd name="T79" fmla="*/ 245 h 512"/>
              <a:gd name="T80" fmla="*/ 362 w 512"/>
              <a:gd name="T81" fmla="*/ 256 h 512"/>
              <a:gd name="T82" fmla="*/ 394 w 512"/>
              <a:gd name="T83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24" y="246"/>
                </a:moveTo>
                <a:cubicBezTo>
                  <a:pt x="123" y="246"/>
                  <a:pt x="122" y="245"/>
                  <a:pt x="122" y="245"/>
                </a:cubicBezTo>
                <a:cubicBezTo>
                  <a:pt x="119" y="244"/>
                  <a:pt x="116" y="243"/>
                  <a:pt x="115" y="240"/>
                </a:cubicBezTo>
                <a:cubicBezTo>
                  <a:pt x="100" y="214"/>
                  <a:pt x="100" y="214"/>
                  <a:pt x="100" y="214"/>
                </a:cubicBezTo>
                <a:cubicBezTo>
                  <a:pt x="97" y="209"/>
                  <a:pt x="99" y="202"/>
                  <a:pt x="104" y="199"/>
                </a:cubicBezTo>
                <a:cubicBezTo>
                  <a:pt x="109" y="196"/>
                  <a:pt x="116" y="198"/>
                  <a:pt x="119" y="203"/>
                </a:cubicBezTo>
                <a:cubicBezTo>
                  <a:pt x="121" y="208"/>
                  <a:pt x="121" y="208"/>
                  <a:pt x="121" y="208"/>
                </a:cubicBezTo>
                <a:cubicBezTo>
                  <a:pt x="129" y="177"/>
                  <a:pt x="148" y="152"/>
                  <a:pt x="175" y="136"/>
                </a:cubicBezTo>
                <a:cubicBezTo>
                  <a:pt x="169" y="135"/>
                  <a:pt x="169" y="135"/>
                  <a:pt x="169" y="135"/>
                </a:cubicBezTo>
                <a:cubicBezTo>
                  <a:pt x="164" y="133"/>
                  <a:pt x="160" y="127"/>
                  <a:pt x="162" y="122"/>
                </a:cubicBezTo>
                <a:cubicBezTo>
                  <a:pt x="163" y="116"/>
                  <a:pt x="169" y="113"/>
                  <a:pt x="175" y="114"/>
                </a:cubicBezTo>
                <a:cubicBezTo>
                  <a:pt x="204" y="122"/>
                  <a:pt x="204" y="122"/>
                  <a:pt x="204" y="122"/>
                </a:cubicBezTo>
                <a:cubicBezTo>
                  <a:pt x="210" y="123"/>
                  <a:pt x="213" y="129"/>
                  <a:pt x="212" y="135"/>
                </a:cubicBezTo>
                <a:cubicBezTo>
                  <a:pt x="204" y="164"/>
                  <a:pt x="204" y="164"/>
                  <a:pt x="204" y="164"/>
                </a:cubicBezTo>
                <a:cubicBezTo>
                  <a:pt x="203" y="169"/>
                  <a:pt x="198" y="172"/>
                  <a:pt x="194" y="172"/>
                </a:cubicBezTo>
                <a:cubicBezTo>
                  <a:pt x="193" y="172"/>
                  <a:pt x="192" y="172"/>
                  <a:pt x="191" y="172"/>
                </a:cubicBezTo>
                <a:cubicBezTo>
                  <a:pt x="185" y="170"/>
                  <a:pt x="182" y="164"/>
                  <a:pt x="183" y="159"/>
                </a:cubicBezTo>
                <a:cubicBezTo>
                  <a:pt x="184" y="156"/>
                  <a:pt x="184" y="156"/>
                  <a:pt x="184" y="156"/>
                </a:cubicBezTo>
                <a:cubicBezTo>
                  <a:pt x="163" y="169"/>
                  <a:pt x="148" y="189"/>
                  <a:pt x="142" y="213"/>
                </a:cubicBezTo>
                <a:cubicBezTo>
                  <a:pt x="145" y="211"/>
                  <a:pt x="145" y="211"/>
                  <a:pt x="145" y="211"/>
                </a:cubicBezTo>
                <a:cubicBezTo>
                  <a:pt x="151" y="208"/>
                  <a:pt x="157" y="210"/>
                  <a:pt x="160" y="215"/>
                </a:cubicBezTo>
                <a:cubicBezTo>
                  <a:pt x="163" y="220"/>
                  <a:pt x="161" y="226"/>
                  <a:pt x="156" y="229"/>
                </a:cubicBezTo>
                <a:cubicBezTo>
                  <a:pt x="130" y="244"/>
                  <a:pt x="130" y="244"/>
                  <a:pt x="130" y="244"/>
                </a:cubicBezTo>
                <a:cubicBezTo>
                  <a:pt x="128" y="245"/>
                  <a:pt x="126" y="246"/>
                  <a:pt x="124" y="246"/>
                </a:cubicBezTo>
                <a:close/>
                <a:moveTo>
                  <a:pt x="371" y="412"/>
                </a:moveTo>
                <a:cubicBezTo>
                  <a:pt x="369" y="414"/>
                  <a:pt x="365" y="416"/>
                  <a:pt x="362" y="416"/>
                </a:cubicBezTo>
                <a:cubicBezTo>
                  <a:pt x="360" y="416"/>
                  <a:pt x="358" y="415"/>
                  <a:pt x="356" y="413"/>
                </a:cubicBezTo>
                <a:cubicBezTo>
                  <a:pt x="351" y="410"/>
                  <a:pt x="350" y="403"/>
                  <a:pt x="354" y="398"/>
                </a:cubicBezTo>
                <a:cubicBezTo>
                  <a:pt x="375" y="372"/>
                  <a:pt x="373" y="331"/>
                  <a:pt x="373" y="331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282"/>
                  <a:pt x="368" y="277"/>
                  <a:pt x="362" y="277"/>
                </a:cubicBezTo>
                <a:cubicBezTo>
                  <a:pt x="35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335" y="298"/>
                  <a:pt x="330" y="294"/>
                  <a:pt x="330" y="288"/>
                </a:cubicBezTo>
                <a:cubicBezTo>
                  <a:pt x="330" y="277"/>
                  <a:pt x="330" y="277"/>
                  <a:pt x="330" y="277"/>
                </a:cubicBezTo>
                <a:cubicBezTo>
                  <a:pt x="330" y="271"/>
                  <a:pt x="325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04" y="298"/>
                  <a:pt x="298" y="298"/>
                </a:cubicBezTo>
                <a:cubicBezTo>
                  <a:pt x="292" y="298"/>
                  <a:pt x="288" y="294"/>
                  <a:pt x="288" y="288"/>
                </a:cubicBezTo>
                <a:cubicBezTo>
                  <a:pt x="288" y="256"/>
                  <a:pt x="288" y="256"/>
                  <a:pt x="288" y="256"/>
                </a:cubicBezTo>
                <a:cubicBezTo>
                  <a:pt x="288" y="250"/>
                  <a:pt x="283" y="245"/>
                  <a:pt x="277" y="245"/>
                </a:cubicBezTo>
                <a:cubicBezTo>
                  <a:pt x="271" y="245"/>
                  <a:pt x="266" y="250"/>
                  <a:pt x="266" y="256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196"/>
                  <a:pt x="240" y="192"/>
                  <a:pt x="234" y="192"/>
                </a:cubicBezTo>
                <a:cubicBezTo>
                  <a:pt x="228" y="192"/>
                  <a:pt x="224" y="196"/>
                  <a:pt x="224" y="202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24" y="335"/>
                  <a:pt x="221" y="339"/>
                  <a:pt x="217" y="340"/>
                </a:cubicBezTo>
                <a:cubicBezTo>
                  <a:pt x="213" y="342"/>
                  <a:pt x="208" y="341"/>
                  <a:pt x="205" y="338"/>
                </a:cubicBezTo>
                <a:cubicBezTo>
                  <a:pt x="194" y="326"/>
                  <a:pt x="175" y="286"/>
                  <a:pt x="173" y="281"/>
                </a:cubicBezTo>
                <a:cubicBezTo>
                  <a:pt x="172" y="279"/>
                  <a:pt x="170" y="277"/>
                  <a:pt x="167" y="276"/>
                </a:cubicBezTo>
                <a:cubicBezTo>
                  <a:pt x="164" y="276"/>
                  <a:pt x="161" y="276"/>
                  <a:pt x="159" y="277"/>
                </a:cubicBezTo>
                <a:cubicBezTo>
                  <a:pt x="154" y="279"/>
                  <a:pt x="154" y="288"/>
                  <a:pt x="157" y="294"/>
                </a:cubicBezTo>
                <a:cubicBezTo>
                  <a:pt x="158" y="294"/>
                  <a:pt x="158" y="294"/>
                  <a:pt x="158" y="295"/>
                </a:cubicBezTo>
                <a:cubicBezTo>
                  <a:pt x="158" y="295"/>
                  <a:pt x="185" y="369"/>
                  <a:pt x="229" y="396"/>
                </a:cubicBezTo>
                <a:cubicBezTo>
                  <a:pt x="234" y="399"/>
                  <a:pt x="235" y="406"/>
                  <a:pt x="232" y="411"/>
                </a:cubicBezTo>
                <a:cubicBezTo>
                  <a:pt x="230" y="414"/>
                  <a:pt x="227" y="416"/>
                  <a:pt x="223" y="416"/>
                </a:cubicBezTo>
                <a:cubicBezTo>
                  <a:pt x="221" y="416"/>
                  <a:pt x="219" y="415"/>
                  <a:pt x="217" y="414"/>
                </a:cubicBezTo>
                <a:cubicBezTo>
                  <a:pt x="169" y="384"/>
                  <a:pt x="141" y="310"/>
                  <a:pt x="138" y="303"/>
                </a:cubicBezTo>
                <a:cubicBezTo>
                  <a:pt x="131" y="287"/>
                  <a:pt x="133" y="266"/>
                  <a:pt x="149" y="258"/>
                </a:cubicBezTo>
                <a:cubicBezTo>
                  <a:pt x="157" y="254"/>
                  <a:pt x="165" y="253"/>
                  <a:pt x="174" y="256"/>
                </a:cubicBezTo>
                <a:cubicBezTo>
                  <a:pt x="182" y="259"/>
                  <a:pt x="189" y="265"/>
                  <a:pt x="192" y="272"/>
                </a:cubicBezTo>
                <a:cubicBezTo>
                  <a:pt x="195" y="278"/>
                  <a:pt x="199" y="285"/>
                  <a:pt x="202" y="293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185"/>
                  <a:pt x="217" y="170"/>
                  <a:pt x="234" y="170"/>
                </a:cubicBezTo>
                <a:cubicBezTo>
                  <a:pt x="252" y="170"/>
                  <a:pt x="266" y="185"/>
                  <a:pt x="266" y="202"/>
                </a:cubicBezTo>
                <a:cubicBezTo>
                  <a:pt x="266" y="226"/>
                  <a:pt x="266" y="226"/>
                  <a:pt x="266" y="226"/>
                </a:cubicBezTo>
                <a:cubicBezTo>
                  <a:pt x="270" y="224"/>
                  <a:pt x="273" y="224"/>
                  <a:pt x="277" y="224"/>
                </a:cubicBezTo>
                <a:cubicBezTo>
                  <a:pt x="292" y="224"/>
                  <a:pt x="304" y="234"/>
                  <a:pt x="308" y="247"/>
                </a:cubicBezTo>
                <a:cubicBezTo>
                  <a:pt x="311" y="246"/>
                  <a:pt x="315" y="245"/>
                  <a:pt x="320" y="245"/>
                </a:cubicBezTo>
                <a:cubicBezTo>
                  <a:pt x="331" y="245"/>
                  <a:pt x="341" y="251"/>
                  <a:pt x="347" y="260"/>
                </a:cubicBezTo>
                <a:cubicBezTo>
                  <a:pt x="351" y="257"/>
                  <a:pt x="357" y="256"/>
                  <a:pt x="362" y="256"/>
                </a:cubicBezTo>
                <a:cubicBezTo>
                  <a:pt x="380" y="256"/>
                  <a:pt x="394" y="270"/>
                  <a:pt x="394" y="288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332"/>
                  <a:pt x="397" y="380"/>
                  <a:pt x="371" y="4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2" name="Group 1020"/>
          <p:cNvGrpSpPr>
            <a:grpSpLocks noChangeAspect="1"/>
          </p:cNvGrpSpPr>
          <p:nvPr/>
        </p:nvGrpSpPr>
        <p:grpSpPr bwMode="auto">
          <a:xfrm>
            <a:off x="3933091" y="2916225"/>
            <a:ext cx="367631" cy="367631"/>
            <a:chOff x="3497" y="3995"/>
            <a:chExt cx="340" cy="340"/>
          </a:xfrm>
          <a:solidFill>
            <a:schemeClr val="accent5"/>
          </a:solidFill>
        </p:grpSpPr>
        <p:sp>
          <p:nvSpPr>
            <p:cNvPr id="323" name="Freeform 1021"/>
            <p:cNvSpPr>
              <a:spLocks noEditPoints="1"/>
            </p:cNvSpPr>
            <p:nvPr/>
          </p:nvSpPr>
          <p:spPr bwMode="auto">
            <a:xfrm>
              <a:off x="3497" y="39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1022"/>
            <p:cNvSpPr>
              <a:spLocks noEditPoints="1"/>
            </p:cNvSpPr>
            <p:nvPr/>
          </p:nvSpPr>
          <p:spPr bwMode="auto">
            <a:xfrm>
              <a:off x="3561" y="4070"/>
              <a:ext cx="200" cy="201"/>
            </a:xfrm>
            <a:custGeom>
              <a:avLst/>
              <a:gdLst>
                <a:gd name="T0" fmla="*/ 48 w 300"/>
                <a:gd name="T1" fmla="*/ 98 h 303"/>
                <a:gd name="T2" fmla="*/ 87 w 300"/>
                <a:gd name="T3" fmla="*/ 43 h 303"/>
                <a:gd name="T4" fmla="*/ 94 w 300"/>
                <a:gd name="T5" fmla="*/ 59 h 303"/>
                <a:gd name="T6" fmla="*/ 107 w 300"/>
                <a:gd name="T7" fmla="*/ 51 h 303"/>
                <a:gd name="T8" fmla="*/ 107 w 300"/>
                <a:gd name="T9" fmla="*/ 9 h 303"/>
                <a:gd name="T10" fmla="*/ 65 w 300"/>
                <a:gd name="T11" fmla="*/ 9 h 303"/>
                <a:gd name="T12" fmla="*/ 78 w 300"/>
                <a:gd name="T13" fmla="*/ 23 h 303"/>
                <a:gd name="T14" fmla="*/ 22 w 300"/>
                <a:gd name="T15" fmla="*/ 90 h 303"/>
                <a:gd name="T16" fmla="*/ 3 w 300"/>
                <a:gd name="T17" fmla="*/ 101 h 303"/>
                <a:gd name="T18" fmla="*/ 25 w 300"/>
                <a:gd name="T19" fmla="*/ 132 h 303"/>
                <a:gd name="T20" fmla="*/ 33 w 300"/>
                <a:gd name="T21" fmla="*/ 131 h 303"/>
                <a:gd name="T22" fmla="*/ 63 w 300"/>
                <a:gd name="T23" fmla="*/ 102 h 303"/>
                <a:gd name="T24" fmla="*/ 297 w 300"/>
                <a:gd name="T25" fmla="*/ 175 h 303"/>
                <a:gd name="T26" fmla="*/ 250 w 300"/>
                <a:gd name="T27" fmla="*/ 147 h 303"/>
                <a:gd name="T28" fmla="*/ 211 w 300"/>
                <a:gd name="T29" fmla="*/ 134 h 303"/>
                <a:gd name="T30" fmla="*/ 169 w 300"/>
                <a:gd name="T31" fmla="*/ 113 h 303"/>
                <a:gd name="T32" fmla="*/ 137 w 300"/>
                <a:gd name="T33" fmla="*/ 57 h 303"/>
                <a:gd name="T34" fmla="*/ 105 w 300"/>
                <a:gd name="T35" fmla="*/ 180 h 303"/>
                <a:gd name="T36" fmla="*/ 77 w 300"/>
                <a:gd name="T37" fmla="*/ 143 h 303"/>
                <a:gd name="T38" fmla="*/ 41 w 300"/>
                <a:gd name="T39" fmla="*/ 190 h 303"/>
                <a:gd name="T40" fmla="*/ 126 w 300"/>
                <a:gd name="T41" fmla="*/ 303 h 303"/>
                <a:gd name="T42" fmla="*/ 132 w 300"/>
                <a:gd name="T43" fmla="*/ 283 h 303"/>
                <a:gd name="T44" fmla="*/ 60 w 300"/>
                <a:gd name="T45" fmla="*/ 181 h 303"/>
                <a:gd name="T46" fmla="*/ 70 w 300"/>
                <a:gd name="T47" fmla="*/ 163 h 303"/>
                <a:gd name="T48" fmla="*/ 108 w 300"/>
                <a:gd name="T49" fmla="*/ 225 h 303"/>
                <a:gd name="T50" fmla="*/ 127 w 300"/>
                <a:gd name="T51" fmla="*/ 217 h 303"/>
                <a:gd name="T52" fmla="*/ 137 w 300"/>
                <a:gd name="T53" fmla="*/ 79 h 303"/>
                <a:gd name="T54" fmla="*/ 148 w 300"/>
                <a:gd name="T55" fmla="*/ 175 h 303"/>
                <a:gd name="T56" fmla="*/ 169 w 300"/>
                <a:gd name="T57" fmla="*/ 175 h 303"/>
                <a:gd name="T58" fmla="*/ 180 w 300"/>
                <a:gd name="T59" fmla="*/ 132 h 303"/>
                <a:gd name="T60" fmla="*/ 191 w 300"/>
                <a:gd name="T61" fmla="*/ 175 h 303"/>
                <a:gd name="T62" fmla="*/ 212 w 300"/>
                <a:gd name="T63" fmla="*/ 175 h 303"/>
                <a:gd name="T64" fmla="*/ 223 w 300"/>
                <a:gd name="T65" fmla="*/ 153 h 303"/>
                <a:gd name="T66" fmla="*/ 233 w 300"/>
                <a:gd name="T67" fmla="*/ 175 h 303"/>
                <a:gd name="T68" fmla="*/ 244 w 300"/>
                <a:gd name="T69" fmla="*/ 185 h 303"/>
                <a:gd name="T70" fmla="*/ 255 w 300"/>
                <a:gd name="T71" fmla="*/ 175 h 303"/>
                <a:gd name="T72" fmla="*/ 276 w 300"/>
                <a:gd name="T73" fmla="*/ 175 h 303"/>
                <a:gd name="T74" fmla="*/ 257 w 300"/>
                <a:gd name="T75" fmla="*/ 285 h 303"/>
                <a:gd name="T76" fmla="*/ 265 w 300"/>
                <a:gd name="T77" fmla="*/ 303 h 303"/>
                <a:gd name="T78" fmla="*/ 297 w 300"/>
                <a:gd name="T79" fmla="*/ 217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0" h="303">
                  <a:moveTo>
                    <a:pt x="63" y="102"/>
                  </a:moveTo>
                  <a:cubicBezTo>
                    <a:pt x="60" y="97"/>
                    <a:pt x="54" y="95"/>
                    <a:pt x="48" y="98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51" y="76"/>
                    <a:pt x="66" y="56"/>
                    <a:pt x="87" y="43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5" y="51"/>
                    <a:pt x="88" y="57"/>
                    <a:pt x="94" y="59"/>
                  </a:cubicBezTo>
                  <a:cubicBezTo>
                    <a:pt x="95" y="59"/>
                    <a:pt x="96" y="59"/>
                    <a:pt x="97" y="59"/>
                  </a:cubicBezTo>
                  <a:cubicBezTo>
                    <a:pt x="101" y="59"/>
                    <a:pt x="106" y="56"/>
                    <a:pt x="107" y="51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6" y="16"/>
                    <a:pt x="113" y="10"/>
                    <a:pt x="107" y="9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2" y="0"/>
                    <a:pt x="66" y="3"/>
                    <a:pt x="65" y="9"/>
                  </a:cubicBezTo>
                  <a:cubicBezTo>
                    <a:pt x="63" y="14"/>
                    <a:pt x="67" y="20"/>
                    <a:pt x="72" y="2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51" y="39"/>
                    <a:pt x="32" y="64"/>
                    <a:pt x="24" y="95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19" y="85"/>
                    <a:pt x="12" y="83"/>
                    <a:pt x="7" y="86"/>
                  </a:cubicBezTo>
                  <a:cubicBezTo>
                    <a:pt x="2" y="89"/>
                    <a:pt x="0" y="96"/>
                    <a:pt x="3" y="101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9" y="130"/>
                    <a:pt x="22" y="131"/>
                    <a:pt x="25" y="132"/>
                  </a:cubicBezTo>
                  <a:cubicBezTo>
                    <a:pt x="25" y="132"/>
                    <a:pt x="26" y="133"/>
                    <a:pt x="27" y="133"/>
                  </a:cubicBezTo>
                  <a:cubicBezTo>
                    <a:pt x="29" y="133"/>
                    <a:pt x="31" y="132"/>
                    <a:pt x="33" y="13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4" y="113"/>
                    <a:pt x="66" y="107"/>
                    <a:pt x="63" y="102"/>
                  </a:cubicBezTo>
                  <a:close/>
                  <a:moveTo>
                    <a:pt x="297" y="217"/>
                  </a:moveTo>
                  <a:cubicBezTo>
                    <a:pt x="297" y="175"/>
                    <a:pt x="297" y="175"/>
                    <a:pt x="297" y="175"/>
                  </a:cubicBezTo>
                  <a:cubicBezTo>
                    <a:pt x="297" y="157"/>
                    <a:pt x="283" y="143"/>
                    <a:pt x="265" y="143"/>
                  </a:cubicBezTo>
                  <a:cubicBezTo>
                    <a:pt x="260" y="143"/>
                    <a:pt x="254" y="144"/>
                    <a:pt x="250" y="147"/>
                  </a:cubicBezTo>
                  <a:cubicBezTo>
                    <a:pt x="244" y="138"/>
                    <a:pt x="234" y="132"/>
                    <a:pt x="223" y="132"/>
                  </a:cubicBezTo>
                  <a:cubicBezTo>
                    <a:pt x="218" y="132"/>
                    <a:pt x="214" y="133"/>
                    <a:pt x="211" y="134"/>
                  </a:cubicBezTo>
                  <a:cubicBezTo>
                    <a:pt x="207" y="121"/>
                    <a:pt x="195" y="111"/>
                    <a:pt x="180" y="111"/>
                  </a:cubicBezTo>
                  <a:cubicBezTo>
                    <a:pt x="176" y="111"/>
                    <a:pt x="173" y="111"/>
                    <a:pt x="169" y="113"/>
                  </a:cubicBezTo>
                  <a:cubicBezTo>
                    <a:pt x="169" y="89"/>
                    <a:pt x="169" y="89"/>
                    <a:pt x="169" y="89"/>
                  </a:cubicBezTo>
                  <a:cubicBezTo>
                    <a:pt x="169" y="72"/>
                    <a:pt x="155" y="57"/>
                    <a:pt x="137" y="57"/>
                  </a:cubicBezTo>
                  <a:cubicBezTo>
                    <a:pt x="120" y="57"/>
                    <a:pt x="105" y="72"/>
                    <a:pt x="105" y="89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2" y="172"/>
                    <a:pt x="98" y="165"/>
                    <a:pt x="95" y="159"/>
                  </a:cubicBezTo>
                  <a:cubicBezTo>
                    <a:pt x="92" y="152"/>
                    <a:pt x="85" y="146"/>
                    <a:pt x="77" y="143"/>
                  </a:cubicBezTo>
                  <a:cubicBezTo>
                    <a:pt x="68" y="140"/>
                    <a:pt x="60" y="141"/>
                    <a:pt x="52" y="145"/>
                  </a:cubicBezTo>
                  <a:cubicBezTo>
                    <a:pt x="36" y="153"/>
                    <a:pt x="34" y="174"/>
                    <a:pt x="41" y="190"/>
                  </a:cubicBezTo>
                  <a:cubicBezTo>
                    <a:pt x="44" y="197"/>
                    <a:pt x="72" y="271"/>
                    <a:pt x="120" y="301"/>
                  </a:cubicBezTo>
                  <a:cubicBezTo>
                    <a:pt x="122" y="302"/>
                    <a:pt x="124" y="303"/>
                    <a:pt x="126" y="303"/>
                  </a:cubicBezTo>
                  <a:cubicBezTo>
                    <a:pt x="130" y="303"/>
                    <a:pt x="133" y="301"/>
                    <a:pt x="135" y="298"/>
                  </a:cubicBezTo>
                  <a:cubicBezTo>
                    <a:pt x="138" y="293"/>
                    <a:pt x="137" y="286"/>
                    <a:pt x="132" y="283"/>
                  </a:cubicBezTo>
                  <a:cubicBezTo>
                    <a:pt x="88" y="256"/>
                    <a:pt x="61" y="182"/>
                    <a:pt x="61" y="182"/>
                  </a:cubicBezTo>
                  <a:cubicBezTo>
                    <a:pt x="61" y="181"/>
                    <a:pt x="61" y="181"/>
                    <a:pt x="60" y="181"/>
                  </a:cubicBezTo>
                  <a:cubicBezTo>
                    <a:pt x="57" y="175"/>
                    <a:pt x="57" y="166"/>
                    <a:pt x="62" y="164"/>
                  </a:cubicBezTo>
                  <a:cubicBezTo>
                    <a:pt x="64" y="163"/>
                    <a:pt x="67" y="163"/>
                    <a:pt x="70" y="163"/>
                  </a:cubicBezTo>
                  <a:cubicBezTo>
                    <a:pt x="73" y="164"/>
                    <a:pt x="75" y="166"/>
                    <a:pt x="76" y="168"/>
                  </a:cubicBezTo>
                  <a:cubicBezTo>
                    <a:pt x="78" y="173"/>
                    <a:pt x="97" y="213"/>
                    <a:pt x="108" y="225"/>
                  </a:cubicBezTo>
                  <a:cubicBezTo>
                    <a:pt x="111" y="228"/>
                    <a:pt x="116" y="229"/>
                    <a:pt x="120" y="227"/>
                  </a:cubicBezTo>
                  <a:cubicBezTo>
                    <a:pt x="124" y="226"/>
                    <a:pt x="127" y="222"/>
                    <a:pt x="127" y="217"/>
                  </a:cubicBezTo>
                  <a:cubicBezTo>
                    <a:pt x="127" y="89"/>
                    <a:pt x="127" y="89"/>
                    <a:pt x="127" y="89"/>
                  </a:cubicBezTo>
                  <a:cubicBezTo>
                    <a:pt x="127" y="83"/>
                    <a:pt x="131" y="79"/>
                    <a:pt x="137" y="79"/>
                  </a:cubicBezTo>
                  <a:cubicBezTo>
                    <a:pt x="143" y="79"/>
                    <a:pt x="148" y="83"/>
                    <a:pt x="148" y="89"/>
                  </a:cubicBezTo>
                  <a:cubicBezTo>
                    <a:pt x="148" y="175"/>
                    <a:pt x="148" y="175"/>
                    <a:pt x="148" y="175"/>
                  </a:cubicBezTo>
                  <a:cubicBezTo>
                    <a:pt x="148" y="181"/>
                    <a:pt x="153" y="185"/>
                    <a:pt x="159" y="185"/>
                  </a:cubicBezTo>
                  <a:cubicBezTo>
                    <a:pt x="165" y="185"/>
                    <a:pt x="169" y="181"/>
                    <a:pt x="169" y="175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37"/>
                    <a:pt x="174" y="132"/>
                    <a:pt x="180" y="132"/>
                  </a:cubicBezTo>
                  <a:cubicBezTo>
                    <a:pt x="186" y="132"/>
                    <a:pt x="191" y="137"/>
                    <a:pt x="191" y="143"/>
                  </a:cubicBezTo>
                  <a:cubicBezTo>
                    <a:pt x="191" y="175"/>
                    <a:pt x="191" y="175"/>
                    <a:pt x="191" y="175"/>
                  </a:cubicBezTo>
                  <a:cubicBezTo>
                    <a:pt x="191" y="181"/>
                    <a:pt x="195" y="185"/>
                    <a:pt x="201" y="185"/>
                  </a:cubicBezTo>
                  <a:cubicBezTo>
                    <a:pt x="207" y="185"/>
                    <a:pt x="212" y="181"/>
                    <a:pt x="212" y="175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2" y="158"/>
                    <a:pt x="217" y="153"/>
                    <a:pt x="223" y="153"/>
                  </a:cubicBezTo>
                  <a:cubicBezTo>
                    <a:pt x="228" y="153"/>
                    <a:pt x="233" y="158"/>
                    <a:pt x="233" y="164"/>
                  </a:cubicBezTo>
                  <a:cubicBezTo>
                    <a:pt x="233" y="175"/>
                    <a:pt x="233" y="175"/>
                    <a:pt x="233" y="175"/>
                  </a:cubicBezTo>
                  <a:cubicBezTo>
                    <a:pt x="233" y="181"/>
                    <a:pt x="238" y="185"/>
                    <a:pt x="244" y="185"/>
                  </a:cubicBezTo>
                  <a:cubicBezTo>
                    <a:pt x="244" y="185"/>
                    <a:pt x="244" y="185"/>
                    <a:pt x="244" y="185"/>
                  </a:cubicBezTo>
                  <a:cubicBezTo>
                    <a:pt x="244" y="185"/>
                    <a:pt x="244" y="185"/>
                    <a:pt x="244" y="185"/>
                  </a:cubicBezTo>
                  <a:cubicBezTo>
                    <a:pt x="250" y="185"/>
                    <a:pt x="255" y="181"/>
                    <a:pt x="255" y="175"/>
                  </a:cubicBezTo>
                  <a:cubicBezTo>
                    <a:pt x="255" y="169"/>
                    <a:pt x="260" y="164"/>
                    <a:pt x="265" y="164"/>
                  </a:cubicBezTo>
                  <a:cubicBezTo>
                    <a:pt x="271" y="164"/>
                    <a:pt x="276" y="169"/>
                    <a:pt x="276" y="175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8" y="259"/>
                    <a:pt x="257" y="285"/>
                  </a:cubicBezTo>
                  <a:cubicBezTo>
                    <a:pt x="253" y="290"/>
                    <a:pt x="254" y="297"/>
                    <a:pt x="259" y="300"/>
                  </a:cubicBezTo>
                  <a:cubicBezTo>
                    <a:pt x="261" y="302"/>
                    <a:pt x="263" y="303"/>
                    <a:pt x="265" y="303"/>
                  </a:cubicBezTo>
                  <a:cubicBezTo>
                    <a:pt x="268" y="303"/>
                    <a:pt x="272" y="301"/>
                    <a:pt x="274" y="299"/>
                  </a:cubicBezTo>
                  <a:cubicBezTo>
                    <a:pt x="300" y="267"/>
                    <a:pt x="297" y="219"/>
                    <a:pt x="297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5" name="Freeform 1026"/>
          <p:cNvSpPr>
            <a:spLocks noChangeAspect="1" noEditPoints="1"/>
          </p:cNvSpPr>
          <p:nvPr/>
        </p:nvSpPr>
        <p:spPr bwMode="auto">
          <a:xfrm>
            <a:off x="4432655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13 w 512"/>
              <a:gd name="T5" fmla="*/ 96 h 512"/>
              <a:gd name="T6" fmla="*/ 256 w 512"/>
              <a:gd name="T7" fmla="*/ 106 h 512"/>
              <a:gd name="T8" fmla="*/ 245 w 512"/>
              <a:gd name="T9" fmla="*/ 149 h 512"/>
              <a:gd name="T10" fmla="*/ 234 w 512"/>
              <a:gd name="T11" fmla="*/ 131 h 512"/>
              <a:gd name="T12" fmla="*/ 226 w 512"/>
              <a:gd name="T13" fmla="*/ 154 h 512"/>
              <a:gd name="T14" fmla="*/ 267 w 512"/>
              <a:gd name="T15" fmla="*/ 144 h 512"/>
              <a:gd name="T16" fmla="*/ 288 w 512"/>
              <a:gd name="T17" fmla="*/ 139 h 512"/>
              <a:gd name="T18" fmla="*/ 246 w 512"/>
              <a:gd name="T19" fmla="*/ 192 h 512"/>
              <a:gd name="T20" fmla="*/ 210 w 512"/>
              <a:gd name="T21" fmla="*/ 127 h 512"/>
              <a:gd name="T22" fmla="*/ 213 w 512"/>
              <a:gd name="T23" fmla="*/ 117 h 512"/>
              <a:gd name="T24" fmla="*/ 213 w 512"/>
              <a:gd name="T25" fmla="*/ 96 h 512"/>
              <a:gd name="T26" fmla="*/ 372 w 512"/>
              <a:gd name="T27" fmla="*/ 350 h 512"/>
              <a:gd name="T28" fmla="*/ 361 w 512"/>
              <a:gd name="T29" fmla="*/ 337 h 512"/>
              <a:gd name="T30" fmla="*/ 326 w 512"/>
              <a:gd name="T31" fmla="*/ 231 h 512"/>
              <a:gd name="T32" fmla="*/ 311 w 512"/>
              <a:gd name="T33" fmla="*/ 227 h 512"/>
              <a:gd name="T34" fmla="*/ 307 w 512"/>
              <a:gd name="T35" fmla="*/ 241 h 512"/>
              <a:gd name="T36" fmla="*/ 303 w 512"/>
              <a:gd name="T37" fmla="*/ 256 h 512"/>
              <a:gd name="T38" fmla="*/ 288 w 512"/>
              <a:gd name="T39" fmla="*/ 251 h 512"/>
              <a:gd name="T40" fmla="*/ 277 w 512"/>
              <a:gd name="T41" fmla="*/ 237 h 512"/>
              <a:gd name="T42" fmla="*/ 264 w 512"/>
              <a:gd name="T43" fmla="*/ 252 h 512"/>
              <a:gd name="T44" fmla="*/ 269 w 512"/>
              <a:gd name="T45" fmla="*/ 261 h 512"/>
              <a:gd name="T46" fmla="*/ 260 w 512"/>
              <a:gd name="T47" fmla="*/ 277 h 512"/>
              <a:gd name="T48" fmla="*/ 235 w 512"/>
              <a:gd name="T49" fmla="*/ 243 h 512"/>
              <a:gd name="T50" fmla="*/ 221 w 512"/>
              <a:gd name="T51" fmla="*/ 239 h 512"/>
              <a:gd name="T52" fmla="*/ 217 w 512"/>
              <a:gd name="T53" fmla="*/ 253 h 512"/>
              <a:gd name="T54" fmla="*/ 227 w 512"/>
              <a:gd name="T55" fmla="*/ 296 h 512"/>
              <a:gd name="T56" fmla="*/ 173 w 512"/>
              <a:gd name="T57" fmla="*/ 216 h 512"/>
              <a:gd name="T58" fmla="*/ 158 w 512"/>
              <a:gd name="T59" fmla="*/ 212 h 512"/>
              <a:gd name="T60" fmla="*/ 154 w 512"/>
              <a:gd name="T61" fmla="*/ 226 h 512"/>
              <a:gd name="T62" fmla="*/ 213 w 512"/>
              <a:gd name="T63" fmla="*/ 351 h 512"/>
              <a:gd name="T64" fmla="*/ 147 w 512"/>
              <a:gd name="T65" fmla="*/ 319 h 512"/>
              <a:gd name="T66" fmla="*/ 133 w 512"/>
              <a:gd name="T67" fmla="*/ 322 h 512"/>
              <a:gd name="T68" fmla="*/ 140 w 512"/>
              <a:gd name="T69" fmla="*/ 338 h 512"/>
              <a:gd name="T70" fmla="*/ 260 w 512"/>
              <a:gd name="T71" fmla="*/ 406 h 512"/>
              <a:gd name="T72" fmla="*/ 249 w 512"/>
              <a:gd name="T73" fmla="*/ 416 h 512"/>
              <a:gd name="T74" fmla="*/ 115 w 512"/>
              <a:gd name="T75" fmla="*/ 310 h 512"/>
              <a:gd name="T76" fmla="*/ 160 w 512"/>
              <a:gd name="T77" fmla="*/ 302 h 512"/>
              <a:gd name="T78" fmla="*/ 135 w 512"/>
              <a:gd name="T79" fmla="*/ 236 h 512"/>
              <a:gd name="T80" fmla="*/ 148 w 512"/>
              <a:gd name="T81" fmla="*/ 193 h 512"/>
              <a:gd name="T82" fmla="*/ 191 w 512"/>
              <a:gd name="T83" fmla="*/ 206 h 512"/>
              <a:gd name="T84" fmla="*/ 211 w 512"/>
              <a:gd name="T85" fmla="*/ 220 h 512"/>
              <a:gd name="T86" fmla="*/ 249 w 512"/>
              <a:gd name="T87" fmla="*/ 226 h 512"/>
              <a:gd name="T88" fmla="*/ 283 w 512"/>
              <a:gd name="T89" fmla="*/ 216 h 512"/>
              <a:gd name="T90" fmla="*/ 301 w 512"/>
              <a:gd name="T91" fmla="*/ 208 h 512"/>
              <a:gd name="T92" fmla="*/ 345 w 512"/>
              <a:gd name="T93" fmla="*/ 221 h 512"/>
              <a:gd name="T94" fmla="*/ 382 w 512"/>
              <a:gd name="T95" fmla="*/ 34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13" y="96"/>
                </a:moveTo>
                <a:cubicBezTo>
                  <a:pt x="245" y="96"/>
                  <a:pt x="245" y="96"/>
                  <a:pt x="245" y="96"/>
                </a:cubicBezTo>
                <a:cubicBezTo>
                  <a:pt x="251" y="96"/>
                  <a:pt x="256" y="100"/>
                  <a:pt x="256" y="106"/>
                </a:cubicBezTo>
                <a:cubicBezTo>
                  <a:pt x="256" y="138"/>
                  <a:pt x="256" y="138"/>
                  <a:pt x="256" y="138"/>
                </a:cubicBezTo>
                <a:cubicBezTo>
                  <a:pt x="256" y="144"/>
                  <a:pt x="251" y="149"/>
                  <a:pt x="245" y="149"/>
                </a:cubicBezTo>
                <a:cubicBezTo>
                  <a:pt x="239" y="149"/>
                  <a:pt x="234" y="144"/>
                  <a:pt x="234" y="138"/>
                </a:cubicBezTo>
                <a:cubicBezTo>
                  <a:pt x="234" y="131"/>
                  <a:pt x="234" y="131"/>
                  <a:pt x="234" y="131"/>
                </a:cubicBezTo>
                <a:cubicBezTo>
                  <a:pt x="232" y="133"/>
                  <a:pt x="230" y="135"/>
                  <a:pt x="228" y="138"/>
                </a:cubicBezTo>
                <a:cubicBezTo>
                  <a:pt x="225" y="143"/>
                  <a:pt x="224" y="148"/>
                  <a:pt x="226" y="154"/>
                </a:cubicBezTo>
                <a:cubicBezTo>
                  <a:pt x="228" y="165"/>
                  <a:pt x="240" y="172"/>
                  <a:pt x="251" y="170"/>
                </a:cubicBezTo>
                <a:cubicBezTo>
                  <a:pt x="263" y="167"/>
                  <a:pt x="270" y="155"/>
                  <a:pt x="267" y="144"/>
                </a:cubicBezTo>
                <a:cubicBezTo>
                  <a:pt x="266" y="138"/>
                  <a:pt x="269" y="132"/>
                  <a:pt x="275" y="131"/>
                </a:cubicBezTo>
                <a:cubicBezTo>
                  <a:pt x="281" y="129"/>
                  <a:pt x="286" y="133"/>
                  <a:pt x="288" y="139"/>
                </a:cubicBezTo>
                <a:cubicBezTo>
                  <a:pt x="293" y="162"/>
                  <a:pt x="279" y="185"/>
                  <a:pt x="257" y="190"/>
                </a:cubicBezTo>
                <a:cubicBezTo>
                  <a:pt x="253" y="191"/>
                  <a:pt x="250" y="192"/>
                  <a:pt x="246" y="192"/>
                </a:cubicBezTo>
                <a:cubicBezTo>
                  <a:pt x="227" y="192"/>
                  <a:pt x="210" y="178"/>
                  <a:pt x="205" y="159"/>
                </a:cubicBezTo>
                <a:cubicBezTo>
                  <a:pt x="202" y="148"/>
                  <a:pt x="204" y="136"/>
                  <a:pt x="210" y="127"/>
                </a:cubicBezTo>
                <a:cubicBezTo>
                  <a:pt x="212" y="123"/>
                  <a:pt x="215" y="120"/>
                  <a:pt x="218" y="117"/>
                </a:cubicBezTo>
                <a:cubicBezTo>
                  <a:pt x="213" y="117"/>
                  <a:pt x="213" y="117"/>
                  <a:pt x="213" y="117"/>
                </a:cubicBezTo>
                <a:cubicBezTo>
                  <a:pt x="207" y="117"/>
                  <a:pt x="202" y="112"/>
                  <a:pt x="202" y="106"/>
                </a:cubicBezTo>
                <a:cubicBezTo>
                  <a:pt x="202" y="100"/>
                  <a:pt x="207" y="96"/>
                  <a:pt x="213" y="96"/>
                </a:cubicBezTo>
                <a:close/>
                <a:moveTo>
                  <a:pt x="382" y="342"/>
                </a:moveTo>
                <a:cubicBezTo>
                  <a:pt x="381" y="347"/>
                  <a:pt x="377" y="350"/>
                  <a:pt x="372" y="350"/>
                </a:cubicBezTo>
                <a:cubicBezTo>
                  <a:pt x="371" y="350"/>
                  <a:pt x="370" y="350"/>
                  <a:pt x="369" y="350"/>
                </a:cubicBezTo>
                <a:cubicBezTo>
                  <a:pt x="364" y="349"/>
                  <a:pt x="360" y="343"/>
                  <a:pt x="361" y="337"/>
                </a:cubicBezTo>
                <a:cubicBezTo>
                  <a:pt x="368" y="305"/>
                  <a:pt x="346" y="270"/>
                  <a:pt x="346" y="269"/>
                </a:cubicBezTo>
                <a:cubicBezTo>
                  <a:pt x="326" y="231"/>
                  <a:pt x="326" y="231"/>
                  <a:pt x="326" y="231"/>
                </a:cubicBezTo>
                <a:cubicBezTo>
                  <a:pt x="324" y="229"/>
                  <a:pt x="322" y="227"/>
                  <a:pt x="319" y="226"/>
                </a:cubicBezTo>
                <a:cubicBezTo>
                  <a:pt x="317" y="225"/>
                  <a:pt x="314" y="225"/>
                  <a:pt x="311" y="227"/>
                </a:cubicBezTo>
                <a:cubicBezTo>
                  <a:pt x="309" y="228"/>
                  <a:pt x="307" y="230"/>
                  <a:pt x="306" y="233"/>
                </a:cubicBezTo>
                <a:cubicBezTo>
                  <a:pt x="305" y="236"/>
                  <a:pt x="306" y="239"/>
                  <a:pt x="307" y="241"/>
                </a:cubicBezTo>
                <a:cubicBezTo>
                  <a:pt x="309" y="245"/>
                  <a:pt x="308" y="250"/>
                  <a:pt x="306" y="253"/>
                </a:cubicBezTo>
                <a:cubicBezTo>
                  <a:pt x="305" y="254"/>
                  <a:pt x="304" y="255"/>
                  <a:pt x="303" y="256"/>
                </a:cubicBezTo>
                <a:cubicBezTo>
                  <a:pt x="298" y="258"/>
                  <a:pt x="292" y="257"/>
                  <a:pt x="289" y="252"/>
                </a:cubicBezTo>
                <a:cubicBezTo>
                  <a:pt x="289" y="252"/>
                  <a:pt x="288" y="252"/>
                  <a:pt x="288" y="251"/>
                </a:cubicBezTo>
                <a:cubicBezTo>
                  <a:pt x="283" y="242"/>
                  <a:pt x="283" y="242"/>
                  <a:pt x="283" y="242"/>
                </a:cubicBezTo>
                <a:cubicBezTo>
                  <a:pt x="282" y="239"/>
                  <a:pt x="279" y="237"/>
                  <a:pt x="277" y="237"/>
                </a:cubicBezTo>
                <a:cubicBezTo>
                  <a:pt x="274" y="236"/>
                  <a:pt x="271" y="236"/>
                  <a:pt x="268" y="237"/>
                </a:cubicBezTo>
                <a:cubicBezTo>
                  <a:pt x="263" y="240"/>
                  <a:pt x="261" y="247"/>
                  <a:pt x="264" y="252"/>
                </a:cubicBezTo>
                <a:cubicBezTo>
                  <a:pt x="264" y="252"/>
                  <a:pt x="264" y="252"/>
                  <a:pt x="264" y="252"/>
                </a:cubicBezTo>
                <a:cubicBezTo>
                  <a:pt x="269" y="261"/>
                  <a:pt x="269" y="261"/>
                  <a:pt x="269" y="261"/>
                </a:cubicBezTo>
                <a:cubicBezTo>
                  <a:pt x="272" y="266"/>
                  <a:pt x="270" y="273"/>
                  <a:pt x="265" y="276"/>
                </a:cubicBezTo>
                <a:cubicBezTo>
                  <a:pt x="263" y="277"/>
                  <a:pt x="261" y="277"/>
                  <a:pt x="260" y="277"/>
                </a:cubicBezTo>
                <a:cubicBezTo>
                  <a:pt x="256" y="277"/>
                  <a:pt x="252" y="275"/>
                  <a:pt x="250" y="271"/>
                </a:cubicBezTo>
                <a:cubicBezTo>
                  <a:pt x="235" y="243"/>
                  <a:pt x="235" y="243"/>
                  <a:pt x="235" y="243"/>
                </a:cubicBezTo>
                <a:cubicBezTo>
                  <a:pt x="234" y="241"/>
                  <a:pt x="232" y="239"/>
                  <a:pt x="229" y="238"/>
                </a:cubicBezTo>
                <a:cubicBezTo>
                  <a:pt x="226" y="237"/>
                  <a:pt x="223" y="237"/>
                  <a:pt x="221" y="239"/>
                </a:cubicBezTo>
                <a:cubicBezTo>
                  <a:pt x="218" y="240"/>
                  <a:pt x="217" y="242"/>
                  <a:pt x="216" y="245"/>
                </a:cubicBezTo>
                <a:cubicBezTo>
                  <a:pt x="215" y="248"/>
                  <a:pt x="215" y="251"/>
                  <a:pt x="217" y="253"/>
                </a:cubicBezTo>
                <a:cubicBezTo>
                  <a:pt x="232" y="281"/>
                  <a:pt x="232" y="281"/>
                  <a:pt x="232" y="281"/>
                </a:cubicBezTo>
                <a:cubicBezTo>
                  <a:pt x="234" y="287"/>
                  <a:pt x="232" y="293"/>
                  <a:pt x="227" y="296"/>
                </a:cubicBezTo>
                <a:cubicBezTo>
                  <a:pt x="222" y="299"/>
                  <a:pt x="216" y="297"/>
                  <a:pt x="213" y="291"/>
                </a:cubicBezTo>
                <a:cubicBezTo>
                  <a:pt x="173" y="216"/>
                  <a:pt x="173" y="216"/>
                  <a:pt x="173" y="216"/>
                </a:cubicBezTo>
                <a:cubicBezTo>
                  <a:pt x="171" y="214"/>
                  <a:pt x="169" y="212"/>
                  <a:pt x="166" y="211"/>
                </a:cubicBezTo>
                <a:cubicBezTo>
                  <a:pt x="164" y="210"/>
                  <a:pt x="161" y="210"/>
                  <a:pt x="158" y="212"/>
                </a:cubicBezTo>
                <a:cubicBezTo>
                  <a:pt x="156" y="213"/>
                  <a:pt x="154" y="215"/>
                  <a:pt x="153" y="218"/>
                </a:cubicBezTo>
                <a:cubicBezTo>
                  <a:pt x="152" y="221"/>
                  <a:pt x="152" y="224"/>
                  <a:pt x="154" y="226"/>
                </a:cubicBezTo>
                <a:cubicBezTo>
                  <a:pt x="214" y="339"/>
                  <a:pt x="214" y="339"/>
                  <a:pt x="214" y="339"/>
                </a:cubicBezTo>
                <a:cubicBezTo>
                  <a:pt x="216" y="343"/>
                  <a:pt x="216" y="347"/>
                  <a:pt x="213" y="351"/>
                </a:cubicBezTo>
                <a:cubicBezTo>
                  <a:pt x="211" y="354"/>
                  <a:pt x="206" y="355"/>
                  <a:pt x="202" y="355"/>
                </a:cubicBezTo>
                <a:cubicBezTo>
                  <a:pt x="184" y="350"/>
                  <a:pt x="153" y="324"/>
                  <a:pt x="147" y="319"/>
                </a:cubicBezTo>
                <a:cubicBezTo>
                  <a:pt x="145" y="318"/>
                  <a:pt x="142" y="317"/>
                  <a:pt x="139" y="318"/>
                </a:cubicBezTo>
                <a:cubicBezTo>
                  <a:pt x="137" y="318"/>
                  <a:pt x="134" y="320"/>
                  <a:pt x="133" y="322"/>
                </a:cubicBezTo>
                <a:cubicBezTo>
                  <a:pt x="130" y="326"/>
                  <a:pt x="134" y="334"/>
                  <a:pt x="139" y="337"/>
                </a:cubicBezTo>
                <a:cubicBezTo>
                  <a:pt x="140" y="338"/>
                  <a:pt x="140" y="338"/>
                  <a:pt x="140" y="338"/>
                </a:cubicBezTo>
                <a:cubicBezTo>
                  <a:pt x="141" y="339"/>
                  <a:pt x="199" y="391"/>
                  <a:pt x="250" y="394"/>
                </a:cubicBezTo>
                <a:cubicBezTo>
                  <a:pt x="256" y="395"/>
                  <a:pt x="260" y="400"/>
                  <a:pt x="260" y="406"/>
                </a:cubicBezTo>
                <a:cubicBezTo>
                  <a:pt x="260" y="411"/>
                  <a:pt x="255" y="416"/>
                  <a:pt x="249" y="416"/>
                </a:cubicBezTo>
                <a:cubicBezTo>
                  <a:pt x="249" y="416"/>
                  <a:pt x="249" y="416"/>
                  <a:pt x="249" y="416"/>
                </a:cubicBezTo>
                <a:cubicBezTo>
                  <a:pt x="192" y="412"/>
                  <a:pt x="133" y="360"/>
                  <a:pt x="126" y="354"/>
                </a:cubicBezTo>
                <a:cubicBezTo>
                  <a:pt x="113" y="344"/>
                  <a:pt x="105" y="325"/>
                  <a:pt x="115" y="310"/>
                </a:cubicBezTo>
                <a:cubicBezTo>
                  <a:pt x="120" y="303"/>
                  <a:pt x="127" y="298"/>
                  <a:pt x="136" y="297"/>
                </a:cubicBezTo>
                <a:cubicBezTo>
                  <a:pt x="144" y="295"/>
                  <a:pt x="153" y="297"/>
                  <a:pt x="160" y="302"/>
                </a:cubicBezTo>
                <a:cubicBezTo>
                  <a:pt x="165" y="307"/>
                  <a:pt x="171" y="312"/>
                  <a:pt x="178" y="317"/>
                </a:cubicBezTo>
                <a:cubicBezTo>
                  <a:pt x="135" y="236"/>
                  <a:pt x="135" y="236"/>
                  <a:pt x="135" y="236"/>
                </a:cubicBezTo>
                <a:cubicBezTo>
                  <a:pt x="131" y="229"/>
                  <a:pt x="130" y="220"/>
                  <a:pt x="133" y="212"/>
                </a:cubicBezTo>
                <a:cubicBezTo>
                  <a:pt x="135" y="204"/>
                  <a:pt x="141" y="197"/>
                  <a:pt x="148" y="193"/>
                </a:cubicBezTo>
                <a:cubicBezTo>
                  <a:pt x="156" y="189"/>
                  <a:pt x="164" y="188"/>
                  <a:pt x="172" y="191"/>
                </a:cubicBezTo>
                <a:cubicBezTo>
                  <a:pt x="181" y="193"/>
                  <a:pt x="187" y="199"/>
                  <a:pt x="191" y="206"/>
                </a:cubicBezTo>
                <a:cubicBezTo>
                  <a:pt x="202" y="227"/>
                  <a:pt x="202" y="227"/>
                  <a:pt x="202" y="227"/>
                </a:cubicBezTo>
                <a:cubicBezTo>
                  <a:pt x="205" y="224"/>
                  <a:pt x="208" y="222"/>
                  <a:pt x="211" y="220"/>
                </a:cubicBezTo>
                <a:cubicBezTo>
                  <a:pt x="218" y="216"/>
                  <a:pt x="227" y="215"/>
                  <a:pt x="235" y="218"/>
                </a:cubicBezTo>
                <a:cubicBezTo>
                  <a:pt x="241" y="219"/>
                  <a:pt x="245" y="222"/>
                  <a:pt x="249" y="226"/>
                </a:cubicBezTo>
                <a:cubicBezTo>
                  <a:pt x="252" y="223"/>
                  <a:pt x="255" y="221"/>
                  <a:pt x="259" y="219"/>
                </a:cubicBezTo>
                <a:cubicBezTo>
                  <a:pt x="266" y="215"/>
                  <a:pt x="275" y="214"/>
                  <a:pt x="283" y="216"/>
                </a:cubicBezTo>
                <a:cubicBezTo>
                  <a:pt x="285" y="217"/>
                  <a:pt x="287" y="218"/>
                  <a:pt x="289" y="219"/>
                </a:cubicBezTo>
                <a:cubicBezTo>
                  <a:pt x="292" y="214"/>
                  <a:pt x="296" y="211"/>
                  <a:pt x="301" y="208"/>
                </a:cubicBezTo>
                <a:cubicBezTo>
                  <a:pt x="309" y="204"/>
                  <a:pt x="317" y="203"/>
                  <a:pt x="326" y="206"/>
                </a:cubicBezTo>
                <a:cubicBezTo>
                  <a:pt x="334" y="208"/>
                  <a:pt x="341" y="214"/>
                  <a:pt x="345" y="221"/>
                </a:cubicBezTo>
                <a:cubicBezTo>
                  <a:pt x="365" y="259"/>
                  <a:pt x="365" y="259"/>
                  <a:pt x="365" y="259"/>
                </a:cubicBezTo>
                <a:cubicBezTo>
                  <a:pt x="365" y="260"/>
                  <a:pt x="391" y="300"/>
                  <a:pt x="382" y="3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6" name="Group 1029"/>
          <p:cNvGrpSpPr>
            <a:grpSpLocks noChangeAspect="1"/>
          </p:cNvGrpSpPr>
          <p:nvPr/>
        </p:nvGrpSpPr>
        <p:grpSpPr bwMode="auto">
          <a:xfrm>
            <a:off x="4932219" y="2916225"/>
            <a:ext cx="367631" cy="367631"/>
            <a:chOff x="4294" y="3991"/>
            <a:chExt cx="340" cy="340"/>
          </a:xfrm>
          <a:solidFill>
            <a:schemeClr val="accent5"/>
          </a:solidFill>
        </p:grpSpPr>
        <p:sp>
          <p:nvSpPr>
            <p:cNvPr id="327" name="Freeform 1030"/>
            <p:cNvSpPr>
              <a:spLocks noEditPoints="1"/>
            </p:cNvSpPr>
            <p:nvPr/>
          </p:nvSpPr>
          <p:spPr bwMode="auto">
            <a:xfrm>
              <a:off x="4294" y="39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1031"/>
            <p:cNvSpPr>
              <a:spLocks noEditPoints="1"/>
            </p:cNvSpPr>
            <p:nvPr/>
          </p:nvSpPr>
          <p:spPr bwMode="auto">
            <a:xfrm>
              <a:off x="4364" y="4055"/>
              <a:ext cx="190" cy="212"/>
            </a:xfrm>
            <a:custGeom>
              <a:avLst/>
              <a:gdLst>
                <a:gd name="T0" fmla="*/ 267 w 286"/>
                <a:gd name="T1" fmla="*/ 254 h 320"/>
                <a:gd name="T2" fmla="*/ 256 w 286"/>
                <a:gd name="T3" fmla="*/ 241 h 320"/>
                <a:gd name="T4" fmla="*/ 221 w 286"/>
                <a:gd name="T5" fmla="*/ 135 h 320"/>
                <a:gd name="T6" fmla="*/ 206 w 286"/>
                <a:gd name="T7" fmla="*/ 131 h 320"/>
                <a:gd name="T8" fmla="*/ 202 w 286"/>
                <a:gd name="T9" fmla="*/ 145 h 320"/>
                <a:gd name="T10" fmla="*/ 198 w 286"/>
                <a:gd name="T11" fmla="*/ 160 h 320"/>
                <a:gd name="T12" fmla="*/ 183 w 286"/>
                <a:gd name="T13" fmla="*/ 155 h 320"/>
                <a:gd name="T14" fmla="*/ 172 w 286"/>
                <a:gd name="T15" fmla="*/ 141 h 320"/>
                <a:gd name="T16" fmla="*/ 159 w 286"/>
                <a:gd name="T17" fmla="*/ 156 h 320"/>
                <a:gd name="T18" fmla="*/ 164 w 286"/>
                <a:gd name="T19" fmla="*/ 165 h 320"/>
                <a:gd name="T20" fmla="*/ 155 w 286"/>
                <a:gd name="T21" fmla="*/ 181 h 320"/>
                <a:gd name="T22" fmla="*/ 130 w 286"/>
                <a:gd name="T23" fmla="*/ 147 h 320"/>
                <a:gd name="T24" fmla="*/ 116 w 286"/>
                <a:gd name="T25" fmla="*/ 143 h 320"/>
                <a:gd name="T26" fmla="*/ 112 w 286"/>
                <a:gd name="T27" fmla="*/ 157 h 320"/>
                <a:gd name="T28" fmla="*/ 122 w 286"/>
                <a:gd name="T29" fmla="*/ 200 h 320"/>
                <a:gd name="T30" fmla="*/ 68 w 286"/>
                <a:gd name="T31" fmla="*/ 120 h 320"/>
                <a:gd name="T32" fmla="*/ 53 w 286"/>
                <a:gd name="T33" fmla="*/ 116 h 320"/>
                <a:gd name="T34" fmla="*/ 49 w 286"/>
                <a:gd name="T35" fmla="*/ 130 h 320"/>
                <a:gd name="T36" fmla="*/ 108 w 286"/>
                <a:gd name="T37" fmla="*/ 255 h 320"/>
                <a:gd name="T38" fmla="*/ 42 w 286"/>
                <a:gd name="T39" fmla="*/ 223 h 320"/>
                <a:gd name="T40" fmla="*/ 28 w 286"/>
                <a:gd name="T41" fmla="*/ 226 h 320"/>
                <a:gd name="T42" fmla="*/ 35 w 286"/>
                <a:gd name="T43" fmla="*/ 242 h 320"/>
                <a:gd name="T44" fmla="*/ 155 w 286"/>
                <a:gd name="T45" fmla="*/ 310 h 320"/>
                <a:gd name="T46" fmla="*/ 144 w 286"/>
                <a:gd name="T47" fmla="*/ 320 h 320"/>
                <a:gd name="T48" fmla="*/ 10 w 286"/>
                <a:gd name="T49" fmla="*/ 214 h 320"/>
                <a:gd name="T50" fmla="*/ 55 w 286"/>
                <a:gd name="T51" fmla="*/ 206 h 320"/>
                <a:gd name="T52" fmla="*/ 30 w 286"/>
                <a:gd name="T53" fmla="*/ 140 h 320"/>
                <a:gd name="T54" fmla="*/ 43 w 286"/>
                <a:gd name="T55" fmla="*/ 97 h 320"/>
                <a:gd name="T56" fmla="*/ 86 w 286"/>
                <a:gd name="T57" fmla="*/ 110 h 320"/>
                <a:gd name="T58" fmla="*/ 106 w 286"/>
                <a:gd name="T59" fmla="*/ 124 h 320"/>
                <a:gd name="T60" fmla="*/ 144 w 286"/>
                <a:gd name="T61" fmla="*/ 130 h 320"/>
                <a:gd name="T62" fmla="*/ 178 w 286"/>
                <a:gd name="T63" fmla="*/ 120 h 320"/>
                <a:gd name="T64" fmla="*/ 196 w 286"/>
                <a:gd name="T65" fmla="*/ 112 h 320"/>
                <a:gd name="T66" fmla="*/ 240 w 286"/>
                <a:gd name="T67" fmla="*/ 125 h 320"/>
                <a:gd name="T68" fmla="*/ 277 w 286"/>
                <a:gd name="T69" fmla="*/ 246 h 320"/>
                <a:gd name="T70" fmla="*/ 108 w 286"/>
                <a:gd name="T71" fmla="*/ 0 h 320"/>
                <a:gd name="T72" fmla="*/ 151 w 286"/>
                <a:gd name="T73" fmla="*/ 10 h 320"/>
                <a:gd name="T74" fmla="*/ 140 w 286"/>
                <a:gd name="T75" fmla="*/ 53 h 320"/>
                <a:gd name="T76" fmla="*/ 129 w 286"/>
                <a:gd name="T77" fmla="*/ 35 h 320"/>
                <a:gd name="T78" fmla="*/ 121 w 286"/>
                <a:gd name="T79" fmla="*/ 58 h 320"/>
                <a:gd name="T80" fmla="*/ 162 w 286"/>
                <a:gd name="T81" fmla="*/ 48 h 320"/>
                <a:gd name="T82" fmla="*/ 183 w 286"/>
                <a:gd name="T83" fmla="*/ 43 h 320"/>
                <a:gd name="T84" fmla="*/ 141 w 286"/>
                <a:gd name="T85" fmla="*/ 96 h 320"/>
                <a:gd name="T86" fmla="*/ 105 w 286"/>
                <a:gd name="T87" fmla="*/ 31 h 320"/>
                <a:gd name="T88" fmla="*/ 108 w 286"/>
                <a:gd name="T89" fmla="*/ 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6" h="320">
                  <a:moveTo>
                    <a:pt x="277" y="246"/>
                  </a:moveTo>
                  <a:cubicBezTo>
                    <a:pt x="276" y="251"/>
                    <a:pt x="272" y="254"/>
                    <a:pt x="267" y="254"/>
                  </a:cubicBezTo>
                  <a:cubicBezTo>
                    <a:pt x="266" y="254"/>
                    <a:pt x="265" y="254"/>
                    <a:pt x="264" y="254"/>
                  </a:cubicBezTo>
                  <a:cubicBezTo>
                    <a:pt x="259" y="253"/>
                    <a:pt x="255" y="247"/>
                    <a:pt x="256" y="241"/>
                  </a:cubicBezTo>
                  <a:cubicBezTo>
                    <a:pt x="263" y="209"/>
                    <a:pt x="241" y="174"/>
                    <a:pt x="241" y="173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19" y="133"/>
                    <a:pt x="217" y="131"/>
                    <a:pt x="214" y="130"/>
                  </a:cubicBezTo>
                  <a:cubicBezTo>
                    <a:pt x="212" y="129"/>
                    <a:pt x="209" y="129"/>
                    <a:pt x="206" y="131"/>
                  </a:cubicBezTo>
                  <a:cubicBezTo>
                    <a:pt x="204" y="132"/>
                    <a:pt x="202" y="134"/>
                    <a:pt x="201" y="137"/>
                  </a:cubicBezTo>
                  <a:cubicBezTo>
                    <a:pt x="200" y="140"/>
                    <a:pt x="201" y="143"/>
                    <a:pt x="202" y="145"/>
                  </a:cubicBezTo>
                  <a:cubicBezTo>
                    <a:pt x="204" y="149"/>
                    <a:pt x="203" y="154"/>
                    <a:pt x="201" y="157"/>
                  </a:cubicBezTo>
                  <a:cubicBezTo>
                    <a:pt x="200" y="158"/>
                    <a:pt x="199" y="159"/>
                    <a:pt x="198" y="160"/>
                  </a:cubicBezTo>
                  <a:cubicBezTo>
                    <a:pt x="193" y="162"/>
                    <a:pt x="187" y="161"/>
                    <a:pt x="184" y="156"/>
                  </a:cubicBezTo>
                  <a:cubicBezTo>
                    <a:pt x="184" y="156"/>
                    <a:pt x="183" y="156"/>
                    <a:pt x="183" y="155"/>
                  </a:cubicBezTo>
                  <a:cubicBezTo>
                    <a:pt x="178" y="146"/>
                    <a:pt x="178" y="146"/>
                    <a:pt x="178" y="146"/>
                  </a:cubicBezTo>
                  <a:cubicBezTo>
                    <a:pt x="177" y="143"/>
                    <a:pt x="174" y="141"/>
                    <a:pt x="172" y="141"/>
                  </a:cubicBezTo>
                  <a:cubicBezTo>
                    <a:pt x="169" y="140"/>
                    <a:pt x="166" y="140"/>
                    <a:pt x="163" y="141"/>
                  </a:cubicBezTo>
                  <a:cubicBezTo>
                    <a:pt x="158" y="144"/>
                    <a:pt x="156" y="151"/>
                    <a:pt x="159" y="156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4" y="165"/>
                    <a:pt x="164" y="165"/>
                    <a:pt x="164" y="165"/>
                  </a:cubicBezTo>
                  <a:cubicBezTo>
                    <a:pt x="167" y="170"/>
                    <a:pt x="165" y="177"/>
                    <a:pt x="160" y="180"/>
                  </a:cubicBezTo>
                  <a:cubicBezTo>
                    <a:pt x="158" y="181"/>
                    <a:pt x="156" y="181"/>
                    <a:pt x="155" y="181"/>
                  </a:cubicBezTo>
                  <a:cubicBezTo>
                    <a:pt x="151" y="181"/>
                    <a:pt x="147" y="179"/>
                    <a:pt x="145" y="175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7" y="143"/>
                    <a:pt x="124" y="142"/>
                  </a:cubicBezTo>
                  <a:cubicBezTo>
                    <a:pt x="121" y="141"/>
                    <a:pt x="118" y="141"/>
                    <a:pt x="116" y="143"/>
                  </a:cubicBezTo>
                  <a:cubicBezTo>
                    <a:pt x="113" y="144"/>
                    <a:pt x="112" y="146"/>
                    <a:pt x="111" y="149"/>
                  </a:cubicBezTo>
                  <a:cubicBezTo>
                    <a:pt x="110" y="152"/>
                    <a:pt x="110" y="155"/>
                    <a:pt x="112" y="157"/>
                  </a:cubicBezTo>
                  <a:cubicBezTo>
                    <a:pt x="127" y="185"/>
                    <a:pt x="127" y="185"/>
                    <a:pt x="127" y="185"/>
                  </a:cubicBezTo>
                  <a:cubicBezTo>
                    <a:pt x="129" y="191"/>
                    <a:pt x="127" y="197"/>
                    <a:pt x="122" y="200"/>
                  </a:cubicBezTo>
                  <a:cubicBezTo>
                    <a:pt x="117" y="203"/>
                    <a:pt x="111" y="201"/>
                    <a:pt x="108" y="195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66" y="118"/>
                    <a:pt x="64" y="116"/>
                    <a:pt x="61" y="115"/>
                  </a:cubicBezTo>
                  <a:cubicBezTo>
                    <a:pt x="59" y="114"/>
                    <a:pt x="56" y="114"/>
                    <a:pt x="53" y="116"/>
                  </a:cubicBezTo>
                  <a:cubicBezTo>
                    <a:pt x="51" y="117"/>
                    <a:pt x="49" y="119"/>
                    <a:pt x="48" y="122"/>
                  </a:cubicBezTo>
                  <a:cubicBezTo>
                    <a:pt x="47" y="125"/>
                    <a:pt x="47" y="128"/>
                    <a:pt x="49" y="130"/>
                  </a:cubicBezTo>
                  <a:cubicBezTo>
                    <a:pt x="109" y="243"/>
                    <a:pt x="109" y="243"/>
                    <a:pt x="109" y="243"/>
                  </a:cubicBezTo>
                  <a:cubicBezTo>
                    <a:pt x="111" y="247"/>
                    <a:pt x="111" y="251"/>
                    <a:pt x="108" y="255"/>
                  </a:cubicBezTo>
                  <a:cubicBezTo>
                    <a:pt x="106" y="258"/>
                    <a:pt x="101" y="259"/>
                    <a:pt x="97" y="259"/>
                  </a:cubicBezTo>
                  <a:cubicBezTo>
                    <a:pt x="79" y="254"/>
                    <a:pt x="48" y="228"/>
                    <a:pt x="42" y="223"/>
                  </a:cubicBezTo>
                  <a:cubicBezTo>
                    <a:pt x="40" y="222"/>
                    <a:pt x="37" y="221"/>
                    <a:pt x="34" y="222"/>
                  </a:cubicBezTo>
                  <a:cubicBezTo>
                    <a:pt x="32" y="222"/>
                    <a:pt x="29" y="224"/>
                    <a:pt x="28" y="226"/>
                  </a:cubicBezTo>
                  <a:cubicBezTo>
                    <a:pt x="25" y="230"/>
                    <a:pt x="29" y="238"/>
                    <a:pt x="34" y="241"/>
                  </a:cubicBezTo>
                  <a:cubicBezTo>
                    <a:pt x="35" y="242"/>
                    <a:pt x="35" y="242"/>
                    <a:pt x="35" y="242"/>
                  </a:cubicBezTo>
                  <a:cubicBezTo>
                    <a:pt x="36" y="243"/>
                    <a:pt x="94" y="295"/>
                    <a:pt x="145" y="298"/>
                  </a:cubicBezTo>
                  <a:cubicBezTo>
                    <a:pt x="151" y="299"/>
                    <a:pt x="155" y="304"/>
                    <a:pt x="155" y="310"/>
                  </a:cubicBezTo>
                  <a:cubicBezTo>
                    <a:pt x="155" y="315"/>
                    <a:pt x="150" y="320"/>
                    <a:pt x="144" y="320"/>
                  </a:cubicBezTo>
                  <a:cubicBezTo>
                    <a:pt x="144" y="320"/>
                    <a:pt x="144" y="320"/>
                    <a:pt x="144" y="320"/>
                  </a:cubicBezTo>
                  <a:cubicBezTo>
                    <a:pt x="87" y="316"/>
                    <a:pt x="28" y="264"/>
                    <a:pt x="21" y="258"/>
                  </a:cubicBezTo>
                  <a:cubicBezTo>
                    <a:pt x="8" y="248"/>
                    <a:pt x="0" y="229"/>
                    <a:pt x="10" y="214"/>
                  </a:cubicBezTo>
                  <a:cubicBezTo>
                    <a:pt x="15" y="207"/>
                    <a:pt x="22" y="202"/>
                    <a:pt x="31" y="201"/>
                  </a:cubicBezTo>
                  <a:cubicBezTo>
                    <a:pt x="39" y="199"/>
                    <a:pt x="48" y="201"/>
                    <a:pt x="55" y="206"/>
                  </a:cubicBezTo>
                  <a:cubicBezTo>
                    <a:pt x="60" y="211"/>
                    <a:pt x="66" y="216"/>
                    <a:pt x="73" y="221"/>
                  </a:cubicBezTo>
                  <a:cubicBezTo>
                    <a:pt x="30" y="140"/>
                    <a:pt x="30" y="140"/>
                    <a:pt x="30" y="140"/>
                  </a:cubicBezTo>
                  <a:cubicBezTo>
                    <a:pt x="26" y="133"/>
                    <a:pt x="25" y="124"/>
                    <a:pt x="28" y="116"/>
                  </a:cubicBezTo>
                  <a:cubicBezTo>
                    <a:pt x="30" y="108"/>
                    <a:pt x="36" y="101"/>
                    <a:pt x="43" y="97"/>
                  </a:cubicBezTo>
                  <a:cubicBezTo>
                    <a:pt x="51" y="93"/>
                    <a:pt x="59" y="92"/>
                    <a:pt x="67" y="95"/>
                  </a:cubicBezTo>
                  <a:cubicBezTo>
                    <a:pt x="76" y="97"/>
                    <a:pt x="82" y="103"/>
                    <a:pt x="86" y="110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100" y="128"/>
                    <a:pt x="103" y="126"/>
                    <a:pt x="106" y="124"/>
                  </a:cubicBezTo>
                  <a:cubicBezTo>
                    <a:pt x="113" y="120"/>
                    <a:pt x="122" y="119"/>
                    <a:pt x="130" y="122"/>
                  </a:cubicBezTo>
                  <a:cubicBezTo>
                    <a:pt x="136" y="123"/>
                    <a:pt x="140" y="126"/>
                    <a:pt x="144" y="130"/>
                  </a:cubicBezTo>
                  <a:cubicBezTo>
                    <a:pt x="147" y="127"/>
                    <a:pt x="150" y="125"/>
                    <a:pt x="154" y="123"/>
                  </a:cubicBezTo>
                  <a:cubicBezTo>
                    <a:pt x="161" y="119"/>
                    <a:pt x="170" y="118"/>
                    <a:pt x="178" y="120"/>
                  </a:cubicBezTo>
                  <a:cubicBezTo>
                    <a:pt x="180" y="121"/>
                    <a:pt x="182" y="122"/>
                    <a:pt x="184" y="123"/>
                  </a:cubicBezTo>
                  <a:cubicBezTo>
                    <a:pt x="187" y="118"/>
                    <a:pt x="191" y="115"/>
                    <a:pt x="196" y="112"/>
                  </a:cubicBezTo>
                  <a:cubicBezTo>
                    <a:pt x="204" y="108"/>
                    <a:pt x="212" y="107"/>
                    <a:pt x="221" y="110"/>
                  </a:cubicBezTo>
                  <a:cubicBezTo>
                    <a:pt x="229" y="112"/>
                    <a:pt x="236" y="118"/>
                    <a:pt x="240" y="125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60" y="164"/>
                    <a:pt x="286" y="204"/>
                    <a:pt x="277" y="246"/>
                  </a:cubicBezTo>
                  <a:close/>
                  <a:moveTo>
                    <a:pt x="97" y="10"/>
                  </a:moveTo>
                  <a:cubicBezTo>
                    <a:pt x="97" y="4"/>
                    <a:pt x="102" y="0"/>
                    <a:pt x="108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6" y="0"/>
                    <a:pt x="151" y="4"/>
                    <a:pt x="151" y="10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48"/>
                    <a:pt x="146" y="53"/>
                    <a:pt x="140" y="53"/>
                  </a:cubicBezTo>
                  <a:cubicBezTo>
                    <a:pt x="134" y="53"/>
                    <a:pt x="129" y="48"/>
                    <a:pt x="129" y="42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27" y="37"/>
                    <a:pt x="125" y="39"/>
                    <a:pt x="123" y="42"/>
                  </a:cubicBezTo>
                  <a:cubicBezTo>
                    <a:pt x="120" y="47"/>
                    <a:pt x="119" y="52"/>
                    <a:pt x="121" y="58"/>
                  </a:cubicBezTo>
                  <a:cubicBezTo>
                    <a:pt x="123" y="69"/>
                    <a:pt x="135" y="76"/>
                    <a:pt x="146" y="74"/>
                  </a:cubicBezTo>
                  <a:cubicBezTo>
                    <a:pt x="158" y="71"/>
                    <a:pt x="165" y="59"/>
                    <a:pt x="162" y="48"/>
                  </a:cubicBezTo>
                  <a:cubicBezTo>
                    <a:pt x="161" y="42"/>
                    <a:pt x="164" y="36"/>
                    <a:pt x="170" y="35"/>
                  </a:cubicBezTo>
                  <a:cubicBezTo>
                    <a:pt x="176" y="33"/>
                    <a:pt x="181" y="37"/>
                    <a:pt x="183" y="43"/>
                  </a:cubicBezTo>
                  <a:cubicBezTo>
                    <a:pt x="188" y="66"/>
                    <a:pt x="174" y="89"/>
                    <a:pt x="152" y="94"/>
                  </a:cubicBezTo>
                  <a:cubicBezTo>
                    <a:pt x="148" y="95"/>
                    <a:pt x="145" y="96"/>
                    <a:pt x="141" y="96"/>
                  </a:cubicBezTo>
                  <a:cubicBezTo>
                    <a:pt x="122" y="96"/>
                    <a:pt x="105" y="82"/>
                    <a:pt x="100" y="63"/>
                  </a:cubicBezTo>
                  <a:cubicBezTo>
                    <a:pt x="97" y="52"/>
                    <a:pt x="99" y="40"/>
                    <a:pt x="105" y="31"/>
                  </a:cubicBezTo>
                  <a:cubicBezTo>
                    <a:pt x="107" y="27"/>
                    <a:pt x="110" y="24"/>
                    <a:pt x="113" y="21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2" y="21"/>
                    <a:pt x="97" y="16"/>
                    <a:pt x="9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9" name="Freeform 1035"/>
          <p:cNvSpPr>
            <a:spLocks noChangeAspect="1" noEditPoints="1"/>
          </p:cNvSpPr>
          <p:nvPr/>
        </p:nvSpPr>
        <p:spPr bwMode="auto">
          <a:xfrm>
            <a:off x="5431783" y="2916225"/>
            <a:ext cx="368713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49 w 512"/>
              <a:gd name="T5" fmla="*/ 117 h 512"/>
              <a:gd name="T6" fmla="*/ 170 w 512"/>
              <a:gd name="T7" fmla="*/ 117 h 512"/>
              <a:gd name="T8" fmla="*/ 256 w 512"/>
              <a:gd name="T9" fmla="*/ 96 h 512"/>
              <a:gd name="T10" fmla="*/ 359 w 512"/>
              <a:gd name="T11" fmla="*/ 157 h 512"/>
              <a:gd name="T12" fmla="*/ 344 w 512"/>
              <a:gd name="T13" fmla="*/ 156 h 512"/>
              <a:gd name="T14" fmla="*/ 189 w 512"/>
              <a:gd name="T15" fmla="*/ 138 h 512"/>
              <a:gd name="T16" fmla="*/ 202 w 512"/>
              <a:gd name="T17" fmla="*/ 149 h 512"/>
              <a:gd name="T18" fmla="*/ 160 w 512"/>
              <a:gd name="T19" fmla="*/ 160 h 512"/>
              <a:gd name="T20" fmla="*/ 149 w 512"/>
              <a:gd name="T21" fmla="*/ 117 h 512"/>
              <a:gd name="T22" fmla="*/ 341 w 512"/>
              <a:gd name="T23" fmla="*/ 416 h 512"/>
              <a:gd name="T24" fmla="*/ 333 w 512"/>
              <a:gd name="T25" fmla="*/ 398 h 512"/>
              <a:gd name="T26" fmla="*/ 351 w 512"/>
              <a:gd name="T27" fmla="*/ 288 h 512"/>
              <a:gd name="T28" fmla="*/ 330 w 512"/>
              <a:gd name="T29" fmla="*/ 286 h 512"/>
              <a:gd name="T30" fmla="*/ 320 w 512"/>
              <a:gd name="T31" fmla="*/ 298 h 512"/>
              <a:gd name="T32" fmla="*/ 320 w 512"/>
              <a:gd name="T33" fmla="*/ 298 h 512"/>
              <a:gd name="T34" fmla="*/ 309 w 512"/>
              <a:gd name="T35" fmla="*/ 277 h 512"/>
              <a:gd name="T36" fmla="*/ 288 w 512"/>
              <a:gd name="T37" fmla="*/ 277 h 512"/>
              <a:gd name="T38" fmla="*/ 277 w 512"/>
              <a:gd name="T39" fmla="*/ 298 h 512"/>
              <a:gd name="T40" fmla="*/ 266 w 512"/>
              <a:gd name="T41" fmla="*/ 256 h 512"/>
              <a:gd name="T42" fmla="*/ 245 w 512"/>
              <a:gd name="T43" fmla="*/ 256 h 512"/>
              <a:gd name="T44" fmla="*/ 234 w 512"/>
              <a:gd name="T45" fmla="*/ 298 h 512"/>
              <a:gd name="T46" fmla="*/ 224 w 512"/>
              <a:gd name="T47" fmla="*/ 202 h 512"/>
              <a:gd name="T48" fmla="*/ 202 w 512"/>
              <a:gd name="T49" fmla="*/ 202 h 512"/>
              <a:gd name="T50" fmla="*/ 196 w 512"/>
              <a:gd name="T51" fmla="*/ 340 h 512"/>
              <a:gd name="T52" fmla="*/ 152 w 512"/>
              <a:gd name="T53" fmla="*/ 281 h 512"/>
              <a:gd name="T54" fmla="*/ 138 w 512"/>
              <a:gd name="T55" fmla="*/ 277 h 512"/>
              <a:gd name="T56" fmla="*/ 138 w 512"/>
              <a:gd name="T57" fmla="*/ 295 h 512"/>
              <a:gd name="T58" fmla="*/ 211 w 512"/>
              <a:gd name="T59" fmla="*/ 411 h 512"/>
              <a:gd name="T60" fmla="*/ 197 w 512"/>
              <a:gd name="T61" fmla="*/ 414 h 512"/>
              <a:gd name="T62" fmla="*/ 129 w 512"/>
              <a:gd name="T63" fmla="*/ 258 h 512"/>
              <a:gd name="T64" fmla="*/ 172 w 512"/>
              <a:gd name="T65" fmla="*/ 272 h 512"/>
              <a:gd name="T66" fmla="*/ 181 w 512"/>
              <a:gd name="T67" fmla="*/ 202 h 512"/>
              <a:gd name="T68" fmla="*/ 245 w 512"/>
              <a:gd name="T69" fmla="*/ 202 h 512"/>
              <a:gd name="T70" fmla="*/ 256 w 512"/>
              <a:gd name="T71" fmla="*/ 224 h 512"/>
              <a:gd name="T72" fmla="*/ 298 w 512"/>
              <a:gd name="T73" fmla="*/ 245 h 512"/>
              <a:gd name="T74" fmla="*/ 341 w 512"/>
              <a:gd name="T75" fmla="*/ 256 h 512"/>
              <a:gd name="T76" fmla="*/ 373 w 512"/>
              <a:gd name="T7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49" y="117"/>
                </a:moveTo>
                <a:cubicBezTo>
                  <a:pt x="149" y="111"/>
                  <a:pt x="154" y="106"/>
                  <a:pt x="160" y="106"/>
                </a:cubicBezTo>
                <a:cubicBezTo>
                  <a:pt x="166" y="106"/>
                  <a:pt x="170" y="111"/>
                  <a:pt x="170" y="117"/>
                </a:cubicBezTo>
                <a:cubicBezTo>
                  <a:pt x="170" y="126"/>
                  <a:pt x="170" y="126"/>
                  <a:pt x="170" y="126"/>
                </a:cubicBezTo>
                <a:cubicBezTo>
                  <a:pt x="195" y="106"/>
                  <a:pt x="225" y="96"/>
                  <a:pt x="256" y="96"/>
                </a:cubicBezTo>
                <a:cubicBezTo>
                  <a:pt x="296" y="96"/>
                  <a:pt x="333" y="113"/>
                  <a:pt x="360" y="142"/>
                </a:cubicBezTo>
                <a:cubicBezTo>
                  <a:pt x="364" y="146"/>
                  <a:pt x="363" y="153"/>
                  <a:pt x="359" y="157"/>
                </a:cubicBezTo>
                <a:cubicBezTo>
                  <a:pt x="357" y="159"/>
                  <a:pt x="354" y="160"/>
                  <a:pt x="352" y="160"/>
                </a:cubicBezTo>
                <a:cubicBezTo>
                  <a:pt x="349" y="160"/>
                  <a:pt x="346" y="158"/>
                  <a:pt x="344" y="156"/>
                </a:cubicBezTo>
                <a:cubicBezTo>
                  <a:pt x="321" y="131"/>
                  <a:pt x="290" y="117"/>
                  <a:pt x="256" y="117"/>
                </a:cubicBezTo>
                <a:cubicBezTo>
                  <a:pt x="232" y="117"/>
                  <a:pt x="209" y="125"/>
                  <a:pt x="189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98" y="138"/>
                  <a:pt x="202" y="143"/>
                  <a:pt x="202" y="149"/>
                </a:cubicBezTo>
                <a:cubicBezTo>
                  <a:pt x="202" y="155"/>
                  <a:pt x="198" y="160"/>
                  <a:pt x="192" y="160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54" y="160"/>
                  <a:pt x="149" y="155"/>
                  <a:pt x="149" y="149"/>
                </a:cubicBezTo>
                <a:lnTo>
                  <a:pt x="149" y="117"/>
                </a:ln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3"/>
                  <a:pt x="351" y="332"/>
                  <a:pt x="351" y="331"/>
                </a:cubicBezTo>
                <a:cubicBezTo>
                  <a:pt x="351" y="288"/>
                  <a:pt x="351" y="288"/>
                  <a:pt x="351" y="288"/>
                </a:cubicBezTo>
                <a:cubicBezTo>
                  <a:pt x="351" y="282"/>
                  <a:pt x="346" y="277"/>
                  <a:pt x="341" y="277"/>
                </a:cubicBezTo>
                <a:cubicBezTo>
                  <a:pt x="335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ubicBezTo>
                  <a:pt x="250" y="245"/>
                  <a:pt x="245" y="250"/>
                  <a:pt x="245" y="256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31" y="170"/>
                  <a:pt x="245" y="185"/>
                  <a:pt x="245" y="202"/>
                </a:cubicBezTo>
                <a:cubicBezTo>
                  <a:pt x="245" y="226"/>
                  <a:pt x="245" y="226"/>
                  <a:pt x="245" y="226"/>
                </a:cubicBezTo>
                <a:cubicBezTo>
                  <a:pt x="248" y="224"/>
                  <a:pt x="252" y="224"/>
                  <a:pt x="256" y="224"/>
                </a:cubicBezTo>
                <a:cubicBezTo>
                  <a:pt x="270" y="224"/>
                  <a:pt x="283" y="234"/>
                  <a:pt x="286" y="247"/>
                </a:cubicBezTo>
                <a:cubicBezTo>
                  <a:pt x="290" y="246"/>
                  <a:pt x="294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8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0" name="Group 1038"/>
          <p:cNvGrpSpPr>
            <a:grpSpLocks noChangeAspect="1"/>
          </p:cNvGrpSpPr>
          <p:nvPr/>
        </p:nvGrpSpPr>
        <p:grpSpPr bwMode="auto">
          <a:xfrm>
            <a:off x="5932429" y="2916225"/>
            <a:ext cx="367631" cy="367631"/>
            <a:chOff x="4995" y="3988"/>
            <a:chExt cx="340" cy="340"/>
          </a:xfrm>
          <a:solidFill>
            <a:schemeClr val="accent5"/>
          </a:solidFill>
        </p:grpSpPr>
        <p:sp>
          <p:nvSpPr>
            <p:cNvPr id="331" name="Freeform 1039"/>
            <p:cNvSpPr>
              <a:spLocks noEditPoints="1"/>
            </p:cNvSpPr>
            <p:nvPr/>
          </p:nvSpPr>
          <p:spPr bwMode="auto">
            <a:xfrm>
              <a:off x="4995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1040"/>
            <p:cNvSpPr>
              <a:spLocks noEditPoints="1"/>
            </p:cNvSpPr>
            <p:nvPr/>
          </p:nvSpPr>
          <p:spPr bwMode="auto">
            <a:xfrm>
              <a:off x="5069" y="4052"/>
              <a:ext cx="176" cy="212"/>
            </a:xfrm>
            <a:custGeom>
              <a:avLst/>
              <a:gdLst>
                <a:gd name="T0" fmla="*/ 230 w 265"/>
                <a:gd name="T1" fmla="*/ 320 h 320"/>
                <a:gd name="T2" fmla="*/ 222 w 265"/>
                <a:gd name="T3" fmla="*/ 302 h 320"/>
                <a:gd name="T4" fmla="*/ 240 w 265"/>
                <a:gd name="T5" fmla="*/ 192 h 320"/>
                <a:gd name="T6" fmla="*/ 219 w 265"/>
                <a:gd name="T7" fmla="*/ 190 h 320"/>
                <a:gd name="T8" fmla="*/ 209 w 265"/>
                <a:gd name="T9" fmla="*/ 202 h 320"/>
                <a:gd name="T10" fmla="*/ 209 w 265"/>
                <a:gd name="T11" fmla="*/ 202 h 320"/>
                <a:gd name="T12" fmla="*/ 198 w 265"/>
                <a:gd name="T13" fmla="*/ 181 h 320"/>
                <a:gd name="T14" fmla="*/ 177 w 265"/>
                <a:gd name="T15" fmla="*/ 181 h 320"/>
                <a:gd name="T16" fmla="*/ 166 w 265"/>
                <a:gd name="T17" fmla="*/ 202 h 320"/>
                <a:gd name="T18" fmla="*/ 155 w 265"/>
                <a:gd name="T19" fmla="*/ 160 h 320"/>
                <a:gd name="T20" fmla="*/ 134 w 265"/>
                <a:gd name="T21" fmla="*/ 160 h 320"/>
                <a:gd name="T22" fmla="*/ 123 w 265"/>
                <a:gd name="T23" fmla="*/ 202 h 320"/>
                <a:gd name="T24" fmla="*/ 113 w 265"/>
                <a:gd name="T25" fmla="*/ 106 h 320"/>
                <a:gd name="T26" fmla="*/ 91 w 265"/>
                <a:gd name="T27" fmla="*/ 106 h 320"/>
                <a:gd name="T28" fmla="*/ 85 w 265"/>
                <a:gd name="T29" fmla="*/ 244 h 320"/>
                <a:gd name="T30" fmla="*/ 41 w 265"/>
                <a:gd name="T31" fmla="*/ 185 h 320"/>
                <a:gd name="T32" fmla="*/ 27 w 265"/>
                <a:gd name="T33" fmla="*/ 181 h 320"/>
                <a:gd name="T34" fmla="*/ 27 w 265"/>
                <a:gd name="T35" fmla="*/ 199 h 320"/>
                <a:gd name="T36" fmla="*/ 100 w 265"/>
                <a:gd name="T37" fmla="*/ 315 h 320"/>
                <a:gd name="T38" fmla="*/ 86 w 265"/>
                <a:gd name="T39" fmla="*/ 318 h 320"/>
                <a:gd name="T40" fmla="*/ 18 w 265"/>
                <a:gd name="T41" fmla="*/ 162 h 320"/>
                <a:gd name="T42" fmla="*/ 61 w 265"/>
                <a:gd name="T43" fmla="*/ 176 h 320"/>
                <a:gd name="T44" fmla="*/ 70 w 265"/>
                <a:gd name="T45" fmla="*/ 106 h 320"/>
                <a:gd name="T46" fmla="*/ 134 w 265"/>
                <a:gd name="T47" fmla="*/ 106 h 320"/>
                <a:gd name="T48" fmla="*/ 145 w 265"/>
                <a:gd name="T49" fmla="*/ 128 h 320"/>
                <a:gd name="T50" fmla="*/ 187 w 265"/>
                <a:gd name="T51" fmla="*/ 149 h 320"/>
                <a:gd name="T52" fmla="*/ 230 w 265"/>
                <a:gd name="T53" fmla="*/ 160 h 320"/>
                <a:gd name="T54" fmla="*/ 262 w 265"/>
                <a:gd name="T55" fmla="*/ 234 h 320"/>
                <a:gd name="T56" fmla="*/ 49 w 265"/>
                <a:gd name="T57" fmla="*/ 64 h 320"/>
                <a:gd name="T58" fmla="*/ 91 w 265"/>
                <a:gd name="T59" fmla="*/ 53 h 320"/>
                <a:gd name="T60" fmla="*/ 78 w 265"/>
                <a:gd name="T61" fmla="*/ 42 h 320"/>
                <a:gd name="T62" fmla="*/ 233 w 265"/>
                <a:gd name="T63" fmla="*/ 60 h 320"/>
                <a:gd name="T64" fmla="*/ 248 w 265"/>
                <a:gd name="T65" fmla="*/ 61 h 320"/>
                <a:gd name="T66" fmla="*/ 145 w 265"/>
                <a:gd name="T67" fmla="*/ 0 h 320"/>
                <a:gd name="T68" fmla="*/ 59 w 265"/>
                <a:gd name="T69" fmla="*/ 21 h 320"/>
                <a:gd name="T70" fmla="*/ 38 w 265"/>
                <a:gd name="T71" fmla="*/ 21 h 320"/>
                <a:gd name="T72" fmla="*/ 49 w 265"/>
                <a:gd name="T73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5" h="320">
                  <a:moveTo>
                    <a:pt x="238" y="316"/>
                  </a:moveTo>
                  <a:cubicBezTo>
                    <a:pt x="236" y="318"/>
                    <a:pt x="233" y="320"/>
                    <a:pt x="230" y="320"/>
                  </a:cubicBezTo>
                  <a:cubicBezTo>
                    <a:pt x="227" y="320"/>
                    <a:pt x="225" y="319"/>
                    <a:pt x="223" y="317"/>
                  </a:cubicBezTo>
                  <a:cubicBezTo>
                    <a:pt x="218" y="313"/>
                    <a:pt x="218" y="307"/>
                    <a:pt x="222" y="302"/>
                  </a:cubicBezTo>
                  <a:cubicBezTo>
                    <a:pt x="243" y="277"/>
                    <a:pt x="240" y="236"/>
                    <a:pt x="240" y="235"/>
                  </a:cubicBezTo>
                  <a:cubicBezTo>
                    <a:pt x="240" y="192"/>
                    <a:pt x="240" y="192"/>
                    <a:pt x="240" y="192"/>
                  </a:cubicBezTo>
                  <a:cubicBezTo>
                    <a:pt x="240" y="186"/>
                    <a:pt x="235" y="181"/>
                    <a:pt x="230" y="181"/>
                  </a:cubicBezTo>
                  <a:cubicBezTo>
                    <a:pt x="224" y="181"/>
                    <a:pt x="220" y="185"/>
                    <a:pt x="219" y="190"/>
                  </a:cubicBezTo>
                  <a:cubicBezTo>
                    <a:pt x="219" y="192"/>
                    <a:pt x="219" y="192"/>
                    <a:pt x="219" y="192"/>
                  </a:cubicBezTo>
                  <a:cubicBezTo>
                    <a:pt x="219" y="198"/>
                    <a:pt x="215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9" y="202"/>
                    <a:pt x="209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3" y="170"/>
                    <a:pt x="187" y="170"/>
                  </a:cubicBezTo>
                  <a:cubicBezTo>
                    <a:pt x="181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5" y="198"/>
                    <a:pt x="155" y="192"/>
                  </a:cubicBezTo>
                  <a:cubicBezTo>
                    <a:pt x="155" y="160"/>
                    <a:pt x="155" y="160"/>
                    <a:pt x="155" y="160"/>
                  </a:cubicBezTo>
                  <a:cubicBezTo>
                    <a:pt x="155" y="154"/>
                    <a:pt x="151" y="149"/>
                    <a:pt x="145" y="149"/>
                  </a:cubicBezTo>
                  <a:cubicBezTo>
                    <a:pt x="139" y="149"/>
                    <a:pt x="134" y="154"/>
                    <a:pt x="134" y="160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29" y="202"/>
                    <a:pt x="123" y="202"/>
                  </a:cubicBezTo>
                  <a:cubicBezTo>
                    <a:pt x="117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1" y="100"/>
                    <a:pt x="91" y="106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1" y="239"/>
                    <a:pt x="89" y="242"/>
                    <a:pt x="85" y="244"/>
                  </a:cubicBezTo>
                  <a:cubicBezTo>
                    <a:pt x="81" y="246"/>
                    <a:pt x="77" y="245"/>
                    <a:pt x="74" y="242"/>
                  </a:cubicBezTo>
                  <a:cubicBezTo>
                    <a:pt x="60" y="230"/>
                    <a:pt x="44" y="192"/>
                    <a:pt x="41" y="185"/>
                  </a:cubicBezTo>
                  <a:cubicBezTo>
                    <a:pt x="40" y="183"/>
                    <a:pt x="38" y="181"/>
                    <a:pt x="35" y="180"/>
                  </a:cubicBezTo>
                  <a:cubicBezTo>
                    <a:pt x="33" y="180"/>
                    <a:pt x="30" y="180"/>
                    <a:pt x="27" y="181"/>
                  </a:cubicBezTo>
                  <a:cubicBezTo>
                    <a:pt x="23" y="183"/>
                    <a:pt x="23" y="192"/>
                    <a:pt x="26" y="198"/>
                  </a:cubicBezTo>
                  <a:cubicBezTo>
                    <a:pt x="26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3" y="310"/>
                    <a:pt x="100" y="315"/>
                  </a:cubicBezTo>
                  <a:cubicBezTo>
                    <a:pt x="98" y="318"/>
                    <a:pt x="95" y="320"/>
                    <a:pt x="91" y="320"/>
                  </a:cubicBezTo>
                  <a:cubicBezTo>
                    <a:pt x="89" y="320"/>
                    <a:pt x="87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5" y="158"/>
                    <a:pt x="34" y="157"/>
                    <a:pt x="42" y="160"/>
                  </a:cubicBezTo>
                  <a:cubicBezTo>
                    <a:pt x="50" y="163"/>
                    <a:pt x="57" y="169"/>
                    <a:pt x="61" y="176"/>
                  </a:cubicBezTo>
                  <a:cubicBezTo>
                    <a:pt x="63" y="183"/>
                    <a:pt x="66" y="190"/>
                    <a:pt x="70" y="197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4" y="74"/>
                    <a:pt x="102" y="74"/>
                  </a:cubicBezTo>
                  <a:cubicBezTo>
                    <a:pt x="120" y="74"/>
                    <a:pt x="134" y="89"/>
                    <a:pt x="134" y="106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37" y="128"/>
                    <a:pt x="141" y="128"/>
                    <a:pt x="145" y="128"/>
                  </a:cubicBezTo>
                  <a:cubicBezTo>
                    <a:pt x="159" y="128"/>
                    <a:pt x="172" y="138"/>
                    <a:pt x="175" y="151"/>
                  </a:cubicBezTo>
                  <a:cubicBezTo>
                    <a:pt x="179" y="150"/>
                    <a:pt x="183" y="149"/>
                    <a:pt x="187" y="149"/>
                  </a:cubicBezTo>
                  <a:cubicBezTo>
                    <a:pt x="199" y="149"/>
                    <a:pt x="209" y="155"/>
                    <a:pt x="214" y="164"/>
                  </a:cubicBezTo>
                  <a:cubicBezTo>
                    <a:pt x="219" y="161"/>
                    <a:pt x="224" y="160"/>
                    <a:pt x="230" y="160"/>
                  </a:cubicBezTo>
                  <a:cubicBezTo>
                    <a:pt x="247" y="160"/>
                    <a:pt x="262" y="174"/>
                    <a:pt x="262" y="192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6"/>
                    <a:pt x="265" y="284"/>
                    <a:pt x="238" y="316"/>
                  </a:cubicBezTo>
                  <a:close/>
                  <a:moveTo>
                    <a:pt x="49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7" y="64"/>
                    <a:pt x="91" y="59"/>
                    <a:pt x="91" y="53"/>
                  </a:cubicBezTo>
                  <a:cubicBezTo>
                    <a:pt x="91" y="47"/>
                    <a:pt x="87" y="42"/>
                    <a:pt x="81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98" y="29"/>
                    <a:pt x="121" y="21"/>
                    <a:pt x="145" y="21"/>
                  </a:cubicBezTo>
                  <a:cubicBezTo>
                    <a:pt x="179" y="21"/>
                    <a:pt x="210" y="35"/>
                    <a:pt x="233" y="60"/>
                  </a:cubicBezTo>
                  <a:cubicBezTo>
                    <a:pt x="235" y="62"/>
                    <a:pt x="238" y="64"/>
                    <a:pt x="241" y="64"/>
                  </a:cubicBezTo>
                  <a:cubicBezTo>
                    <a:pt x="243" y="64"/>
                    <a:pt x="246" y="63"/>
                    <a:pt x="248" y="61"/>
                  </a:cubicBezTo>
                  <a:cubicBezTo>
                    <a:pt x="252" y="57"/>
                    <a:pt x="253" y="50"/>
                    <a:pt x="249" y="46"/>
                  </a:cubicBezTo>
                  <a:cubicBezTo>
                    <a:pt x="222" y="17"/>
                    <a:pt x="185" y="0"/>
                    <a:pt x="145" y="0"/>
                  </a:cubicBezTo>
                  <a:cubicBezTo>
                    <a:pt x="114" y="0"/>
                    <a:pt x="84" y="10"/>
                    <a:pt x="59" y="30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15"/>
                    <a:pt x="55" y="10"/>
                    <a:pt x="49" y="10"/>
                  </a:cubicBezTo>
                  <a:cubicBezTo>
                    <a:pt x="43" y="10"/>
                    <a:pt x="38" y="15"/>
                    <a:pt x="38" y="21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9"/>
                    <a:pt x="43" y="64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3" name="Freeform 1044"/>
          <p:cNvSpPr>
            <a:spLocks noChangeAspect="1" noEditPoints="1"/>
          </p:cNvSpPr>
          <p:nvPr/>
        </p:nvSpPr>
        <p:spPr bwMode="auto">
          <a:xfrm>
            <a:off x="6431993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38 w 512"/>
              <a:gd name="T5" fmla="*/ 117 h 512"/>
              <a:gd name="T6" fmla="*/ 160 w 512"/>
              <a:gd name="T7" fmla="*/ 117 h 512"/>
              <a:gd name="T8" fmla="*/ 256 w 512"/>
              <a:gd name="T9" fmla="*/ 96 h 512"/>
              <a:gd name="T10" fmla="*/ 341 w 512"/>
              <a:gd name="T11" fmla="*/ 117 h 512"/>
              <a:gd name="T12" fmla="*/ 362 w 512"/>
              <a:gd name="T13" fmla="*/ 117 h 512"/>
              <a:gd name="T14" fmla="*/ 352 w 512"/>
              <a:gd name="T15" fmla="*/ 160 h 512"/>
              <a:gd name="T16" fmla="*/ 309 w 512"/>
              <a:gd name="T17" fmla="*/ 149 h 512"/>
              <a:gd name="T18" fmla="*/ 323 w 512"/>
              <a:gd name="T19" fmla="*/ 138 h 512"/>
              <a:gd name="T20" fmla="*/ 175 w 512"/>
              <a:gd name="T21" fmla="*/ 138 h 512"/>
              <a:gd name="T22" fmla="*/ 192 w 512"/>
              <a:gd name="T23" fmla="*/ 149 h 512"/>
              <a:gd name="T24" fmla="*/ 149 w 512"/>
              <a:gd name="T25" fmla="*/ 160 h 512"/>
              <a:gd name="T26" fmla="*/ 138 w 512"/>
              <a:gd name="T27" fmla="*/ 117 h 512"/>
              <a:gd name="T28" fmla="*/ 341 w 512"/>
              <a:gd name="T29" fmla="*/ 416 h 512"/>
              <a:gd name="T30" fmla="*/ 333 w 512"/>
              <a:gd name="T31" fmla="*/ 398 h 512"/>
              <a:gd name="T32" fmla="*/ 352 w 512"/>
              <a:gd name="T33" fmla="*/ 288 h 512"/>
              <a:gd name="T34" fmla="*/ 330 w 512"/>
              <a:gd name="T35" fmla="*/ 288 h 512"/>
              <a:gd name="T36" fmla="*/ 309 w 512"/>
              <a:gd name="T37" fmla="*/ 288 h 512"/>
              <a:gd name="T38" fmla="*/ 298 w 512"/>
              <a:gd name="T39" fmla="*/ 266 h 512"/>
              <a:gd name="T40" fmla="*/ 288 w 512"/>
              <a:gd name="T41" fmla="*/ 288 h 512"/>
              <a:gd name="T42" fmla="*/ 266 w 512"/>
              <a:gd name="T43" fmla="*/ 288 h 512"/>
              <a:gd name="T44" fmla="*/ 256 w 512"/>
              <a:gd name="T45" fmla="*/ 245 h 512"/>
              <a:gd name="T46" fmla="*/ 245 w 512"/>
              <a:gd name="T47" fmla="*/ 288 h 512"/>
              <a:gd name="T48" fmla="*/ 224 w 512"/>
              <a:gd name="T49" fmla="*/ 288 h 512"/>
              <a:gd name="T50" fmla="*/ 213 w 512"/>
              <a:gd name="T51" fmla="*/ 192 h 512"/>
              <a:gd name="T52" fmla="*/ 202 w 512"/>
              <a:gd name="T53" fmla="*/ 330 h 512"/>
              <a:gd name="T54" fmla="*/ 185 w 512"/>
              <a:gd name="T55" fmla="*/ 338 h 512"/>
              <a:gd name="T56" fmla="*/ 146 w 512"/>
              <a:gd name="T57" fmla="*/ 276 h 512"/>
              <a:gd name="T58" fmla="*/ 137 w 512"/>
              <a:gd name="T59" fmla="*/ 294 h 512"/>
              <a:gd name="T60" fmla="*/ 208 w 512"/>
              <a:gd name="T61" fmla="*/ 396 h 512"/>
              <a:gd name="T62" fmla="*/ 202 w 512"/>
              <a:gd name="T63" fmla="*/ 416 h 512"/>
              <a:gd name="T64" fmla="*/ 118 w 512"/>
              <a:gd name="T65" fmla="*/ 303 h 512"/>
              <a:gd name="T66" fmla="*/ 153 w 512"/>
              <a:gd name="T67" fmla="*/ 256 h 512"/>
              <a:gd name="T68" fmla="*/ 181 w 512"/>
              <a:gd name="T69" fmla="*/ 293 h 512"/>
              <a:gd name="T70" fmla="*/ 213 w 512"/>
              <a:gd name="T71" fmla="*/ 170 h 512"/>
              <a:gd name="T72" fmla="*/ 245 w 512"/>
              <a:gd name="T73" fmla="*/ 226 h 512"/>
              <a:gd name="T74" fmla="*/ 286 w 512"/>
              <a:gd name="T75" fmla="*/ 247 h 512"/>
              <a:gd name="T76" fmla="*/ 325 w 512"/>
              <a:gd name="T77" fmla="*/ 260 h 512"/>
              <a:gd name="T78" fmla="*/ 373 w 512"/>
              <a:gd name="T79" fmla="*/ 288 h 512"/>
              <a:gd name="T80" fmla="*/ 349 w 512"/>
              <a:gd name="T81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38" y="117"/>
                </a:moveTo>
                <a:cubicBezTo>
                  <a:pt x="138" y="111"/>
                  <a:pt x="143" y="106"/>
                  <a:pt x="149" y="106"/>
                </a:cubicBezTo>
                <a:cubicBezTo>
                  <a:pt x="155" y="106"/>
                  <a:pt x="160" y="111"/>
                  <a:pt x="160" y="117"/>
                </a:cubicBezTo>
                <a:cubicBezTo>
                  <a:pt x="160" y="123"/>
                  <a:pt x="160" y="123"/>
                  <a:pt x="160" y="123"/>
                </a:cubicBezTo>
                <a:cubicBezTo>
                  <a:pt x="187" y="99"/>
                  <a:pt x="225" y="96"/>
                  <a:pt x="256" y="96"/>
                </a:cubicBezTo>
                <a:cubicBezTo>
                  <a:pt x="287" y="96"/>
                  <a:pt x="317" y="106"/>
                  <a:pt x="341" y="125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41" y="111"/>
                  <a:pt x="346" y="106"/>
                  <a:pt x="352" y="106"/>
                </a:cubicBezTo>
                <a:cubicBezTo>
                  <a:pt x="358" y="106"/>
                  <a:pt x="362" y="111"/>
                  <a:pt x="362" y="117"/>
                </a:cubicBezTo>
                <a:cubicBezTo>
                  <a:pt x="362" y="149"/>
                  <a:pt x="362" y="149"/>
                  <a:pt x="362" y="149"/>
                </a:cubicBezTo>
                <a:cubicBezTo>
                  <a:pt x="362" y="155"/>
                  <a:pt x="358" y="160"/>
                  <a:pt x="352" y="16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314" y="160"/>
                  <a:pt x="309" y="155"/>
                  <a:pt x="309" y="149"/>
                </a:cubicBezTo>
                <a:cubicBezTo>
                  <a:pt x="309" y="143"/>
                  <a:pt x="314" y="138"/>
                  <a:pt x="320" y="138"/>
                </a:cubicBezTo>
                <a:cubicBezTo>
                  <a:pt x="323" y="138"/>
                  <a:pt x="323" y="138"/>
                  <a:pt x="323" y="138"/>
                </a:cubicBezTo>
                <a:cubicBezTo>
                  <a:pt x="303" y="125"/>
                  <a:pt x="280" y="117"/>
                  <a:pt x="256" y="117"/>
                </a:cubicBezTo>
                <a:cubicBezTo>
                  <a:pt x="217" y="117"/>
                  <a:pt x="193" y="123"/>
                  <a:pt x="175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7" y="138"/>
                  <a:pt x="192" y="143"/>
                  <a:pt x="192" y="149"/>
                </a:cubicBezTo>
                <a:cubicBezTo>
                  <a:pt x="192" y="155"/>
                  <a:pt x="187" y="160"/>
                  <a:pt x="181" y="160"/>
                </a:cubicBezTo>
                <a:cubicBezTo>
                  <a:pt x="149" y="160"/>
                  <a:pt x="149" y="160"/>
                  <a:pt x="149" y="160"/>
                </a:cubicBezTo>
                <a:cubicBezTo>
                  <a:pt x="143" y="160"/>
                  <a:pt x="138" y="155"/>
                  <a:pt x="138" y="149"/>
                </a:cubicBezTo>
                <a:lnTo>
                  <a:pt x="138" y="117"/>
                </a:ln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9" y="416"/>
                  <a:pt x="336" y="415"/>
                  <a:pt x="334" y="413"/>
                </a:cubicBezTo>
                <a:cubicBezTo>
                  <a:pt x="330" y="409"/>
                  <a:pt x="329" y="403"/>
                  <a:pt x="333" y="398"/>
                </a:cubicBezTo>
                <a:cubicBezTo>
                  <a:pt x="355" y="373"/>
                  <a:pt x="352" y="332"/>
                  <a:pt x="352" y="331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82"/>
                  <a:pt x="347" y="277"/>
                  <a:pt x="341" y="277"/>
                </a:cubicBezTo>
                <a:cubicBezTo>
                  <a:pt x="335" y="277"/>
                  <a:pt x="330" y="282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ubicBezTo>
                  <a:pt x="250" y="245"/>
                  <a:pt x="245" y="250"/>
                  <a:pt x="245" y="256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31" y="170"/>
                  <a:pt x="245" y="185"/>
                  <a:pt x="245" y="202"/>
                </a:cubicBezTo>
                <a:cubicBezTo>
                  <a:pt x="245" y="226"/>
                  <a:pt x="245" y="226"/>
                  <a:pt x="245" y="226"/>
                </a:cubicBezTo>
                <a:cubicBezTo>
                  <a:pt x="248" y="224"/>
                  <a:pt x="252" y="224"/>
                  <a:pt x="256" y="224"/>
                </a:cubicBezTo>
                <a:cubicBezTo>
                  <a:pt x="270" y="224"/>
                  <a:pt x="283" y="234"/>
                  <a:pt x="286" y="247"/>
                </a:cubicBezTo>
                <a:cubicBezTo>
                  <a:pt x="290" y="246"/>
                  <a:pt x="294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9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7" y="380"/>
                  <a:pt x="349" y="4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4" name="Group 1047"/>
          <p:cNvGrpSpPr>
            <a:grpSpLocks noChangeAspect="1"/>
          </p:cNvGrpSpPr>
          <p:nvPr/>
        </p:nvGrpSpPr>
        <p:grpSpPr bwMode="auto">
          <a:xfrm>
            <a:off x="6931557" y="2916225"/>
            <a:ext cx="367631" cy="367631"/>
            <a:chOff x="5824" y="3955"/>
            <a:chExt cx="340" cy="340"/>
          </a:xfrm>
          <a:solidFill>
            <a:schemeClr val="accent5"/>
          </a:solidFill>
        </p:grpSpPr>
        <p:sp>
          <p:nvSpPr>
            <p:cNvPr id="335" name="Freeform 1048"/>
            <p:cNvSpPr>
              <a:spLocks noEditPoints="1"/>
            </p:cNvSpPr>
            <p:nvPr/>
          </p:nvSpPr>
          <p:spPr bwMode="auto">
            <a:xfrm>
              <a:off x="5824" y="3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Freeform 1049"/>
            <p:cNvSpPr>
              <a:spLocks noEditPoints="1"/>
            </p:cNvSpPr>
            <p:nvPr/>
          </p:nvSpPr>
          <p:spPr bwMode="auto">
            <a:xfrm>
              <a:off x="5898" y="4019"/>
              <a:ext cx="176" cy="212"/>
            </a:xfrm>
            <a:custGeom>
              <a:avLst/>
              <a:gdLst>
                <a:gd name="T0" fmla="*/ 230 w 266"/>
                <a:gd name="T1" fmla="*/ 320 h 320"/>
                <a:gd name="T2" fmla="*/ 222 w 266"/>
                <a:gd name="T3" fmla="*/ 302 h 320"/>
                <a:gd name="T4" fmla="*/ 241 w 266"/>
                <a:gd name="T5" fmla="*/ 192 h 320"/>
                <a:gd name="T6" fmla="*/ 219 w 266"/>
                <a:gd name="T7" fmla="*/ 192 h 320"/>
                <a:gd name="T8" fmla="*/ 198 w 266"/>
                <a:gd name="T9" fmla="*/ 192 h 320"/>
                <a:gd name="T10" fmla="*/ 187 w 266"/>
                <a:gd name="T11" fmla="*/ 170 h 320"/>
                <a:gd name="T12" fmla="*/ 177 w 266"/>
                <a:gd name="T13" fmla="*/ 192 h 320"/>
                <a:gd name="T14" fmla="*/ 155 w 266"/>
                <a:gd name="T15" fmla="*/ 192 h 320"/>
                <a:gd name="T16" fmla="*/ 145 w 266"/>
                <a:gd name="T17" fmla="*/ 149 h 320"/>
                <a:gd name="T18" fmla="*/ 134 w 266"/>
                <a:gd name="T19" fmla="*/ 192 h 320"/>
                <a:gd name="T20" fmla="*/ 113 w 266"/>
                <a:gd name="T21" fmla="*/ 192 h 320"/>
                <a:gd name="T22" fmla="*/ 102 w 266"/>
                <a:gd name="T23" fmla="*/ 96 h 320"/>
                <a:gd name="T24" fmla="*/ 91 w 266"/>
                <a:gd name="T25" fmla="*/ 234 h 320"/>
                <a:gd name="T26" fmla="*/ 74 w 266"/>
                <a:gd name="T27" fmla="*/ 242 h 320"/>
                <a:gd name="T28" fmla="*/ 35 w 266"/>
                <a:gd name="T29" fmla="*/ 180 h 320"/>
                <a:gd name="T30" fmla="*/ 26 w 266"/>
                <a:gd name="T31" fmla="*/ 198 h 320"/>
                <a:gd name="T32" fmla="*/ 97 w 266"/>
                <a:gd name="T33" fmla="*/ 300 h 320"/>
                <a:gd name="T34" fmla="*/ 91 w 266"/>
                <a:gd name="T35" fmla="*/ 320 h 320"/>
                <a:gd name="T36" fmla="*/ 7 w 266"/>
                <a:gd name="T37" fmla="*/ 207 h 320"/>
                <a:gd name="T38" fmla="*/ 42 w 266"/>
                <a:gd name="T39" fmla="*/ 160 h 320"/>
                <a:gd name="T40" fmla="*/ 70 w 266"/>
                <a:gd name="T41" fmla="*/ 197 h 320"/>
                <a:gd name="T42" fmla="*/ 102 w 266"/>
                <a:gd name="T43" fmla="*/ 74 h 320"/>
                <a:gd name="T44" fmla="*/ 134 w 266"/>
                <a:gd name="T45" fmla="*/ 130 h 320"/>
                <a:gd name="T46" fmla="*/ 175 w 266"/>
                <a:gd name="T47" fmla="*/ 151 h 320"/>
                <a:gd name="T48" fmla="*/ 214 w 266"/>
                <a:gd name="T49" fmla="*/ 164 h 320"/>
                <a:gd name="T50" fmla="*/ 262 w 266"/>
                <a:gd name="T51" fmla="*/ 192 h 320"/>
                <a:gd name="T52" fmla="*/ 238 w 266"/>
                <a:gd name="T53" fmla="*/ 316 h 320"/>
                <a:gd name="T54" fmla="*/ 70 w 266"/>
                <a:gd name="T55" fmla="*/ 64 h 320"/>
                <a:gd name="T56" fmla="*/ 70 w 266"/>
                <a:gd name="T57" fmla="*/ 42 h 320"/>
                <a:gd name="T58" fmla="*/ 145 w 266"/>
                <a:gd name="T59" fmla="*/ 21 h 320"/>
                <a:gd name="T60" fmla="*/ 209 w 266"/>
                <a:gd name="T61" fmla="*/ 42 h 320"/>
                <a:gd name="T62" fmla="*/ 209 w 266"/>
                <a:gd name="T63" fmla="*/ 64 h 320"/>
                <a:gd name="T64" fmla="*/ 251 w 266"/>
                <a:gd name="T65" fmla="*/ 53 h 320"/>
                <a:gd name="T66" fmla="*/ 241 w 266"/>
                <a:gd name="T67" fmla="*/ 10 h 320"/>
                <a:gd name="T68" fmla="*/ 230 w 266"/>
                <a:gd name="T69" fmla="*/ 29 h 320"/>
                <a:gd name="T70" fmla="*/ 49 w 266"/>
                <a:gd name="T71" fmla="*/ 27 h 320"/>
                <a:gd name="T72" fmla="*/ 38 w 266"/>
                <a:gd name="T73" fmla="*/ 10 h 320"/>
                <a:gd name="T74" fmla="*/ 27 w 266"/>
                <a:gd name="T75" fmla="*/ 5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6" h="320">
                  <a:moveTo>
                    <a:pt x="238" y="316"/>
                  </a:moveTo>
                  <a:cubicBezTo>
                    <a:pt x="236" y="318"/>
                    <a:pt x="233" y="320"/>
                    <a:pt x="230" y="320"/>
                  </a:cubicBezTo>
                  <a:cubicBezTo>
                    <a:pt x="228" y="320"/>
                    <a:pt x="225" y="319"/>
                    <a:pt x="223" y="317"/>
                  </a:cubicBezTo>
                  <a:cubicBezTo>
                    <a:pt x="219" y="313"/>
                    <a:pt x="218" y="307"/>
                    <a:pt x="222" y="302"/>
                  </a:cubicBezTo>
                  <a:cubicBezTo>
                    <a:pt x="244" y="277"/>
                    <a:pt x="241" y="236"/>
                    <a:pt x="241" y="235"/>
                  </a:cubicBezTo>
                  <a:cubicBezTo>
                    <a:pt x="241" y="192"/>
                    <a:pt x="241" y="192"/>
                    <a:pt x="241" y="192"/>
                  </a:cubicBezTo>
                  <a:cubicBezTo>
                    <a:pt x="241" y="186"/>
                    <a:pt x="236" y="181"/>
                    <a:pt x="230" y="181"/>
                  </a:cubicBezTo>
                  <a:cubicBezTo>
                    <a:pt x="224" y="181"/>
                    <a:pt x="219" y="186"/>
                    <a:pt x="219" y="192"/>
                  </a:cubicBezTo>
                  <a:cubicBezTo>
                    <a:pt x="219" y="198"/>
                    <a:pt x="215" y="202"/>
                    <a:pt x="209" y="202"/>
                  </a:cubicBezTo>
                  <a:cubicBezTo>
                    <a:pt x="203" y="202"/>
                    <a:pt x="198" y="198"/>
                    <a:pt x="198" y="192"/>
                  </a:cubicBezTo>
                  <a:cubicBezTo>
                    <a:pt x="198" y="181"/>
                    <a:pt x="198" y="181"/>
                    <a:pt x="198" y="181"/>
                  </a:cubicBezTo>
                  <a:cubicBezTo>
                    <a:pt x="198" y="175"/>
                    <a:pt x="193" y="170"/>
                    <a:pt x="187" y="170"/>
                  </a:cubicBezTo>
                  <a:cubicBezTo>
                    <a:pt x="181" y="170"/>
                    <a:pt x="177" y="175"/>
                    <a:pt x="177" y="181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7" y="198"/>
                    <a:pt x="172" y="202"/>
                    <a:pt x="166" y="202"/>
                  </a:cubicBezTo>
                  <a:cubicBezTo>
                    <a:pt x="160" y="202"/>
                    <a:pt x="155" y="198"/>
                    <a:pt x="155" y="192"/>
                  </a:cubicBezTo>
                  <a:cubicBezTo>
                    <a:pt x="155" y="160"/>
                    <a:pt x="155" y="160"/>
                    <a:pt x="155" y="160"/>
                  </a:cubicBezTo>
                  <a:cubicBezTo>
                    <a:pt x="155" y="154"/>
                    <a:pt x="151" y="149"/>
                    <a:pt x="145" y="149"/>
                  </a:cubicBezTo>
                  <a:cubicBezTo>
                    <a:pt x="139" y="149"/>
                    <a:pt x="134" y="154"/>
                    <a:pt x="134" y="160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98"/>
                    <a:pt x="129" y="202"/>
                    <a:pt x="123" y="202"/>
                  </a:cubicBezTo>
                  <a:cubicBezTo>
                    <a:pt x="117" y="202"/>
                    <a:pt x="113" y="198"/>
                    <a:pt x="113" y="192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13" y="100"/>
                    <a:pt x="108" y="96"/>
                    <a:pt x="102" y="96"/>
                  </a:cubicBezTo>
                  <a:cubicBezTo>
                    <a:pt x="96" y="96"/>
                    <a:pt x="91" y="100"/>
                    <a:pt x="91" y="106"/>
                  </a:cubicBezTo>
                  <a:cubicBezTo>
                    <a:pt x="91" y="234"/>
                    <a:pt x="91" y="234"/>
                    <a:pt x="91" y="234"/>
                  </a:cubicBezTo>
                  <a:cubicBezTo>
                    <a:pt x="91" y="239"/>
                    <a:pt x="89" y="242"/>
                    <a:pt x="85" y="244"/>
                  </a:cubicBezTo>
                  <a:cubicBezTo>
                    <a:pt x="81" y="246"/>
                    <a:pt x="77" y="245"/>
                    <a:pt x="74" y="242"/>
                  </a:cubicBezTo>
                  <a:cubicBezTo>
                    <a:pt x="60" y="230"/>
                    <a:pt x="44" y="192"/>
                    <a:pt x="41" y="185"/>
                  </a:cubicBezTo>
                  <a:cubicBezTo>
                    <a:pt x="40" y="183"/>
                    <a:pt x="38" y="181"/>
                    <a:pt x="35" y="180"/>
                  </a:cubicBezTo>
                  <a:cubicBezTo>
                    <a:pt x="33" y="180"/>
                    <a:pt x="30" y="180"/>
                    <a:pt x="27" y="181"/>
                  </a:cubicBezTo>
                  <a:cubicBezTo>
                    <a:pt x="23" y="183"/>
                    <a:pt x="23" y="192"/>
                    <a:pt x="26" y="198"/>
                  </a:cubicBezTo>
                  <a:cubicBezTo>
                    <a:pt x="26" y="198"/>
                    <a:pt x="27" y="198"/>
                    <a:pt x="27" y="199"/>
                  </a:cubicBezTo>
                  <a:cubicBezTo>
                    <a:pt x="27" y="199"/>
                    <a:pt x="54" y="273"/>
                    <a:pt x="97" y="300"/>
                  </a:cubicBezTo>
                  <a:cubicBezTo>
                    <a:pt x="102" y="303"/>
                    <a:pt x="103" y="310"/>
                    <a:pt x="100" y="315"/>
                  </a:cubicBezTo>
                  <a:cubicBezTo>
                    <a:pt x="98" y="318"/>
                    <a:pt x="95" y="320"/>
                    <a:pt x="91" y="320"/>
                  </a:cubicBezTo>
                  <a:cubicBezTo>
                    <a:pt x="89" y="320"/>
                    <a:pt x="87" y="319"/>
                    <a:pt x="86" y="318"/>
                  </a:cubicBezTo>
                  <a:cubicBezTo>
                    <a:pt x="38" y="288"/>
                    <a:pt x="10" y="214"/>
                    <a:pt x="7" y="207"/>
                  </a:cubicBezTo>
                  <a:cubicBezTo>
                    <a:pt x="0" y="191"/>
                    <a:pt x="2" y="170"/>
                    <a:pt x="18" y="162"/>
                  </a:cubicBezTo>
                  <a:cubicBezTo>
                    <a:pt x="25" y="158"/>
                    <a:pt x="34" y="157"/>
                    <a:pt x="42" y="160"/>
                  </a:cubicBezTo>
                  <a:cubicBezTo>
                    <a:pt x="50" y="163"/>
                    <a:pt x="57" y="169"/>
                    <a:pt x="61" y="176"/>
                  </a:cubicBezTo>
                  <a:cubicBezTo>
                    <a:pt x="63" y="183"/>
                    <a:pt x="66" y="190"/>
                    <a:pt x="70" y="197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89"/>
                    <a:pt x="84" y="74"/>
                    <a:pt x="102" y="74"/>
                  </a:cubicBezTo>
                  <a:cubicBezTo>
                    <a:pt x="120" y="74"/>
                    <a:pt x="134" y="89"/>
                    <a:pt x="134" y="106"/>
                  </a:cubicBezTo>
                  <a:cubicBezTo>
                    <a:pt x="134" y="130"/>
                    <a:pt x="134" y="130"/>
                    <a:pt x="134" y="130"/>
                  </a:cubicBezTo>
                  <a:cubicBezTo>
                    <a:pt x="137" y="128"/>
                    <a:pt x="141" y="128"/>
                    <a:pt x="145" y="128"/>
                  </a:cubicBezTo>
                  <a:cubicBezTo>
                    <a:pt x="159" y="128"/>
                    <a:pt x="172" y="138"/>
                    <a:pt x="175" y="151"/>
                  </a:cubicBezTo>
                  <a:cubicBezTo>
                    <a:pt x="179" y="150"/>
                    <a:pt x="183" y="149"/>
                    <a:pt x="187" y="149"/>
                  </a:cubicBezTo>
                  <a:cubicBezTo>
                    <a:pt x="199" y="149"/>
                    <a:pt x="209" y="155"/>
                    <a:pt x="214" y="164"/>
                  </a:cubicBezTo>
                  <a:cubicBezTo>
                    <a:pt x="219" y="161"/>
                    <a:pt x="224" y="160"/>
                    <a:pt x="230" y="160"/>
                  </a:cubicBezTo>
                  <a:cubicBezTo>
                    <a:pt x="248" y="160"/>
                    <a:pt x="262" y="174"/>
                    <a:pt x="262" y="192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6"/>
                    <a:pt x="266" y="284"/>
                    <a:pt x="238" y="316"/>
                  </a:cubicBezTo>
                  <a:close/>
                  <a:moveTo>
                    <a:pt x="38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6" y="64"/>
                    <a:pt x="81" y="59"/>
                    <a:pt x="81" y="53"/>
                  </a:cubicBezTo>
                  <a:cubicBezTo>
                    <a:pt x="81" y="47"/>
                    <a:pt x="76" y="42"/>
                    <a:pt x="70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82" y="27"/>
                    <a:pt x="106" y="21"/>
                    <a:pt x="145" y="21"/>
                  </a:cubicBezTo>
                  <a:cubicBezTo>
                    <a:pt x="169" y="21"/>
                    <a:pt x="192" y="29"/>
                    <a:pt x="212" y="42"/>
                  </a:cubicBezTo>
                  <a:cubicBezTo>
                    <a:pt x="209" y="42"/>
                    <a:pt x="209" y="42"/>
                    <a:pt x="209" y="42"/>
                  </a:cubicBezTo>
                  <a:cubicBezTo>
                    <a:pt x="203" y="42"/>
                    <a:pt x="198" y="47"/>
                    <a:pt x="198" y="53"/>
                  </a:cubicBezTo>
                  <a:cubicBezTo>
                    <a:pt x="198" y="59"/>
                    <a:pt x="203" y="64"/>
                    <a:pt x="209" y="64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47" y="64"/>
                    <a:pt x="251" y="59"/>
                    <a:pt x="251" y="53"/>
                  </a:cubicBezTo>
                  <a:cubicBezTo>
                    <a:pt x="251" y="21"/>
                    <a:pt x="251" y="21"/>
                    <a:pt x="251" y="21"/>
                  </a:cubicBezTo>
                  <a:cubicBezTo>
                    <a:pt x="251" y="15"/>
                    <a:pt x="247" y="10"/>
                    <a:pt x="241" y="10"/>
                  </a:cubicBezTo>
                  <a:cubicBezTo>
                    <a:pt x="235" y="10"/>
                    <a:pt x="230" y="15"/>
                    <a:pt x="230" y="21"/>
                  </a:cubicBezTo>
                  <a:cubicBezTo>
                    <a:pt x="230" y="29"/>
                    <a:pt x="230" y="29"/>
                    <a:pt x="230" y="29"/>
                  </a:cubicBezTo>
                  <a:cubicBezTo>
                    <a:pt x="206" y="10"/>
                    <a:pt x="176" y="0"/>
                    <a:pt x="145" y="0"/>
                  </a:cubicBezTo>
                  <a:cubicBezTo>
                    <a:pt x="114" y="0"/>
                    <a:pt x="76" y="3"/>
                    <a:pt x="49" y="27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15"/>
                    <a:pt x="44" y="10"/>
                    <a:pt x="38" y="10"/>
                  </a:cubicBezTo>
                  <a:cubicBezTo>
                    <a:pt x="32" y="10"/>
                    <a:pt x="27" y="15"/>
                    <a:pt x="27" y="21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9"/>
                    <a:pt x="32" y="64"/>
                    <a:pt x="3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2" name="Freeform 1063"/>
          <p:cNvSpPr>
            <a:spLocks noChangeAspect="1" noEditPoints="1"/>
          </p:cNvSpPr>
          <p:nvPr/>
        </p:nvSpPr>
        <p:spPr bwMode="auto">
          <a:xfrm>
            <a:off x="7431121" y="2916225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13 w 512"/>
              <a:gd name="T5" fmla="*/ 128 h 512"/>
              <a:gd name="T6" fmla="*/ 277 w 512"/>
              <a:gd name="T7" fmla="*/ 213 h 512"/>
              <a:gd name="T8" fmla="*/ 213 w 512"/>
              <a:gd name="T9" fmla="*/ 149 h 512"/>
              <a:gd name="T10" fmla="*/ 167 w 512"/>
              <a:gd name="T11" fmla="*/ 229 h 512"/>
              <a:gd name="T12" fmla="*/ 158 w 512"/>
              <a:gd name="T13" fmla="*/ 245 h 512"/>
              <a:gd name="T14" fmla="*/ 138 w 512"/>
              <a:gd name="T15" fmla="*/ 202 h 512"/>
              <a:gd name="T16" fmla="*/ 349 w 512"/>
              <a:gd name="T17" fmla="*/ 412 h 512"/>
              <a:gd name="T18" fmla="*/ 334 w 512"/>
              <a:gd name="T19" fmla="*/ 413 h 512"/>
              <a:gd name="T20" fmla="*/ 351 w 512"/>
              <a:gd name="T21" fmla="*/ 331 h 512"/>
              <a:gd name="T22" fmla="*/ 341 w 512"/>
              <a:gd name="T23" fmla="*/ 277 h 512"/>
              <a:gd name="T24" fmla="*/ 330 w 512"/>
              <a:gd name="T25" fmla="*/ 288 h 512"/>
              <a:gd name="T26" fmla="*/ 320 w 512"/>
              <a:gd name="T27" fmla="*/ 298 h 512"/>
              <a:gd name="T28" fmla="*/ 309 w 512"/>
              <a:gd name="T29" fmla="*/ 288 h 512"/>
              <a:gd name="T30" fmla="*/ 298 w 512"/>
              <a:gd name="T31" fmla="*/ 266 h 512"/>
              <a:gd name="T32" fmla="*/ 288 w 512"/>
              <a:gd name="T33" fmla="*/ 288 h 512"/>
              <a:gd name="T34" fmla="*/ 266 w 512"/>
              <a:gd name="T35" fmla="*/ 288 h 512"/>
              <a:gd name="T36" fmla="*/ 256 w 512"/>
              <a:gd name="T37" fmla="*/ 245 h 512"/>
              <a:gd name="T38" fmla="*/ 245 w 512"/>
              <a:gd name="T39" fmla="*/ 288 h 512"/>
              <a:gd name="T40" fmla="*/ 224 w 512"/>
              <a:gd name="T41" fmla="*/ 288 h 512"/>
              <a:gd name="T42" fmla="*/ 213 w 512"/>
              <a:gd name="T43" fmla="*/ 192 h 512"/>
              <a:gd name="T44" fmla="*/ 202 w 512"/>
              <a:gd name="T45" fmla="*/ 330 h 512"/>
              <a:gd name="T46" fmla="*/ 185 w 512"/>
              <a:gd name="T47" fmla="*/ 338 h 512"/>
              <a:gd name="T48" fmla="*/ 146 w 512"/>
              <a:gd name="T49" fmla="*/ 276 h 512"/>
              <a:gd name="T50" fmla="*/ 137 w 512"/>
              <a:gd name="T51" fmla="*/ 294 h 512"/>
              <a:gd name="T52" fmla="*/ 208 w 512"/>
              <a:gd name="T53" fmla="*/ 396 h 512"/>
              <a:gd name="T54" fmla="*/ 202 w 512"/>
              <a:gd name="T55" fmla="*/ 416 h 512"/>
              <a:gd name="T56" fmla="*/ 118 w 512"/>
              <a:gd name="T57" fmla="*/ 303 h 512"/>
              <a:gd name="T58" fmla="*/ 153 w 512"/>
              <a:gd name="T59" fmla="*/ 256 h 512"/>
              <a:gd name="T60" fmla="*/ 181 w 512"/>
              <a:gd name="T61" fmla="*/ 293 h 512"/>
              <a:gd name="T62" fmla="*/ 213 w 512"/>
              <a:gd name="T63" fmla="*/ 170 h 512"/>
              <a:gd name="T64" fmla="*/ 245 w 512"/>
              <a:gd name="T65" fmla="*/ 226 h 512"/>
              <a:gd name="T66" fmla="*/ 286 w 512"/>
              <a:gd name="T67" fmla="*/ 247 h 512"/>
              <a:gd name="T68" fmla="*/ 325 w 512"/>
              <a:gd name="T69" fmla="*/ 260 h 512"/>
              <a:gd name="T70" fmla="*/ 373 w 512"/>
              <a:gd name="T71" fmla="*/ 288 h 512"/>
              <a:gd name="T72" fmla="*/ 349 w 512"/>
              <a:gd name="T73" fmla="*/ 41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13" y="128"/>
                </a:moveTo>
                <a:cubicBezTo>
                  <a:pt x="254" y="128"/>
                  <a:pt x="288" y="161"/>
                  <a:pt x="288" y="202"/>
                </a:cubicBezTo>
                <a:cubicBezTo>
                  <a:pt x="288" y="208"/>
                  <a:pt x="283" y="213"/>
                  <a:pt x="277" y="213"/>
                </a:cubicBezTo>
                <a:cubicBezTo>
                  <a:pt x="271" y="213"/>
                  <a:pt x="266" y="208"/>
                  <a:pt x="266" y="202"/>
                </a:cubicBezTo>
                <a:cubicBezTo>
                  <a:pt x="266" y="173"/>
                  <a:pt x="242" y="149"/>
                  <a:pt x="213" y="149"/>
                </a:cubicBezTo>
                <a:cubicBezTo>
                  <a:pt x="184" y="149"/>
                  <a:pt x="160" y="173"/>
                  <a:pt x="160" y="202"/>
                </a:cubicBezTo>
                <a:cubicBezTo>
                  <a:pt x="160" y="212"/>
                  <a:pt x="162" y="221"/>
                  <a:pt x="167" y="229"/>
                </a:cubicBezTo>
                <a:cubicBezTo>
                  <a:pt x="170" y="234"/>
                  <a:pt x="168" y="241"/>
                  <a:pt x="163" y="244"/>
                </a:cubicBezTo>
                <a:cubicBezTo>
                  <a:pt x="161" y="245"/>
                  <a:pt x="159" y="245"/>
                  <a:pt x="158" y="245"/>
                </a:cubicBezTo>
                <a:cubicBezTo>
                  <a:pt x="154" y="245"/>
                  <a:pt x="150" y="243"/>
                  <a:pt x="148" y="240"/>
                </a:cubicBezTo>
                <a:cubicBezTo>
                  <a:pt x="142" y="228"/>
                  <a:pt x="138" y="215"/>
                  <a:pt x="138" y="202"/>
                </a:cubicBezTo>
                <a:cubicBezTo>
                  <a:pt x="138" y="161"/>
                  <a:pt x="172" y="128"/>
                  <a:pt x="213" y="128"/>
                </a:cubicBez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3"/>
                  <a:pt x="351" y="332"/>
                  <a:pt x="351" y="331"/>
                </a:cubicBezTo>
                <a:cubicBezTo>
                  <a:pt x="351" y="288"/>
                  <a:pt x="351" y="288"/>
                  <a:pt x="351" y="288"/>
                </a:cubicBezTo>
                <a:cubicBezTo>
                  <a:pt x="351" y="282"/>
                  <a:pt x="346" y="277"/>
                  <a:pt x="341" y="277"/>
                </a:cubicBezTo>
                <a:cubicBezTo>
                  <a:pt x="335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ubicBezTo>
                  <a:pt x="250" y="245"/>
                  <a:pt x="245" y="250"/>
                  <a:pt x="245" y="256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31" y="170"/>
                  <a:pt x="245" y="185"/>
                  <a:pt x="245" y="202"/>
                </a:cubicBezTo>
                <a:cubicBezTo>
                  <a:pt x="245" y="226"/>
                  <a:pt x="245" y="226"/>
                  <a:pt x="245" y="226"/>
                </a:cubicBezTo>
                <a:cubicBezTo>
                  <a:pt x="248" y="224"/>
                  <a:pt x="252" y="224"/>
                  <a:pt x="256" y="224"/>
                </a:cubicBezTo>
                <a:cubicBezTo>
                  <a:pt x="270" y="224"/>
                  <a:pt x="283" y="234"/>
                  <a:pt x="286" y="247"/>
                </a:cubicBezTo>
                <a:cubicBezTo>
                  <a:pt x="290" y="246"/>
                  <a:pt x="294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8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3" name="Group 1066"/>
          <p:cNvGrpSpPr>
            <a:grpSpLocks noChangeAspect="1"/>
          </p:cNvGrpSpPr>
          <p:nvPr/>
        </p:nvGrpSpPr>
        <p:grpSpPr bwMode="auto">
          <a:xfrm>
            <a:off x="7930685" y="2916225"/>
            <a:ext cx="367631" cy="367631"/>
            <a:chOff x="5614" y="6060"/>
            <a:chExt cx="340" cy="340"/>
          </a:xfrm>
          <a:solidFill>
            <a:schemeClr val="accent5"/>
          </a:solidFill>
        </p:grpSpPr>
        <p:sp>
          <p:nvSpPr>
            <p:cNvPr id="344" name="Freeform 1067"/>
            <p:cNvSpPr>
              <a:spLocks noEditPoints="1"/>
            </p:cNvSpPr>
            <p:nvPr/>
          </p:nvSpPr>
          <p:spPr bwMode="auto">
            <a:xfrm>
              <a:off x="5614" y="60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1068"/>
            <p:cNvSpPr>
              <a:spLocks noEditPoints="1"/>
            </p:cNvSpPr>
            <p:nvPr/>
          </p:nvSpPr>
          <p:spPr bwMode="auto">
            <a:xfrm>
              <a:off x="5688" y="6145"/>
              <a:ext cx="176" cy="191"/>
            </a:xfrm>
            <a:custGeom>
              <a:avLst/>
              <a:gdLst>
                <a:gd name="T0" fmla="*/ 230 w 265"/>
                <a:gd name="T1" fmla="*/ 288 h 288"/>
                <a:gd name="T2" fmla="*/ 222 w 265"/>
                <a:gd name="T3" fmla="*/ 270 h 288"/>
                <a:gd name="T4" fmla="*/ 240 w 265"/>
                <a:gd name="T5" fmla="*/ 160 h 288"/>
                <a:gd name="T6" fmla="*/ 219 w 265"/>
                <a:gd name="T7" fmla="*/ 158 h 288"/>
                <a:gd name="T8" fmla="*/ 209 w 265"/>
                <a:gd name="T9" fmla="*/ 170 h 288"/>
                <a:gd name="T10" fmla="*/ 209 w 265"/>
                <a:gd name="T11" fmla="*/ 170 h 288"/>
                <a:gd name="T12" fmla="*/ 198 w 265"/>
                <a:gd name="T13" fmla="*/ 149 h 288"/>
                <a:gd name="T14" fmla="*/ 177 w 265"/>
                <a:gd name="T15" fmla="*/ 149 h 288"/>
                <a:gd name="T16" fmla="*/ 166 w 265"/>
                <a:gd name="T17" fmla="*/ 170 h 288"/>
                <a:gd name="T18" fmla="*/ 155 w 265"/>
                <a:gd name="T19" fmla="*/ 128 h 288"/>
                <a:gd name="T20" fmla="*/ 134 w 265"/>
                <a:gd name="T21" fmla="*/ 128 h 288"/>
                <a:gd name="T22" fmla="*/ 123 w 265"/>
                <a:gd name="T23" fmla="*/ 170 h 288"/>
                <a:gd name="T24" fmla="*/ 113 w 265"/>
                <a:gd name="T25" fmla="*/ 74 h 288"/>
                <a:gd name="T26" fmla="*/ 91 w 265"/>
                <a:gd name="T27" fmla="*/ 74 h 288"/>
                <a:gd name="T28" fmla="*/ 85 w 265"/>
                <a:gd name="T29" fmla="*/ 212 h 288"/>
                <a:gd name="T30" fmla="*/ 41 w 265"/>
                <a:gd name="T31" fmla="*/ 153 h 288"/>
                <a:gd name="T32" fmla="*/ 27 w 265"/>
                <a:gd name="T33" fmla="*/ 149 h 288"/>
                <a:gd name="T34" fmla="*/ 27 w 265"/>
                <a:gd name="T35" fmla="*/ 167 h 288"/>
                <a:gd name="T36" fmla="*/ 100 w 265"/>
                <a:gd name="T37" fmla="*/ 283 h 288"/>
                <a:gd name="T38" fmla="*/ 86 w 265"/>
                <a:gd name="T39" fmla="*/ 286 h 288"/>
                <a:gd name="T40" fmla="*/ 18 w 265"/>
                <a:gd name="T41" fmla="*/ 130 h 288"/>
                <a:gd name="T42" fmla="*/ 61 w 265"/>
                <a:gd name="T43" fmla="*/ 144 h 288"/>
                <a:gd name="T44" fmla="*/ 70 w 265"/>
                <a:gd name="T45" fmla="*/ 74 h 288"/>
                <a:gd name="T46" fmla="*/ 134 w 265"/>
                <a:gd name="T47" fmla="*/ 74 h 288"/>
                <a:gd name="T48" fmla="*/ 145 w 265"/>
                <a:gd name="T49" fmla="*/ 96 h 288"/>
                <a:gd name="T50" fmla="*/ 187 w 265"/>
                <a:gd name="T51" fmla="*/ 117 h 288"/>
                <a:gd name="T52" fmla="*/ 230 w 265"/>
                <a:gd name="T53" fmla="*/ 128 h 288"/>
                <a:gd name="T54" fmla="*/ 262 w 265"/>
                <a:gd name="T55" fmla="*/ 202 h 288"/>
                <a:gd name="T56" fmla="*/ 47 w 265"/>
                <a:gd name="T57" fmla="*/ 117 h 288"/>
                <a:gd name="T58" fmla="*/ 56 w 265"/>
                <a:gd name="T59" fmla="*/ 101 h 288"/>
                <a:gd name="T60" fmla="*/ 102 w 265"/>
                <a:gd name="T61" fmla="*/ 21 h 288"/>
                <a:gd name="T62" fmla="*/ 166 w 265"/>
                <a:gd name="T63" fmla="*/ 85 h 288"/>
                <a:gd name="T64" fmla="*/ 102 w 265"/>
                <a:gd name="T65" fmla="*/ 0 h 288"/>
                <a:gd name="T66" fmla="*/ 37 w 265"/>
                <a:gd name="T67" fmla="*/ 1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5" h="288">
                  <a:moveTo>
                    <a:pt x="238" y="284"/>
                  </a:moveTo>
                  <a:cubicBezTo>
                    <a:pt x="236" y="286"/>
                    <a:pt x="233" y="288"/>
                    <a:pt x="230" y="288"/>
                  </a:cubicBezTo>
                  <a:cubicBezTo>
                    <a:pt x="227" y="288"/>
                    <a:pt x="225" y="287"/>
                    <a:pt x="223" y="285"/>
                  </a:cubicBezTo>
                  <a:cubicBezTo>
                    <a:pt x="218" y="281"/>
                    <a:pt x="218" y="275"/>
                    <a:pt x="222" y="270"/>
                  </a:cubicBezTo>
                  <a:cubicBezTo>
                    <a:pt x="243" y="245"/>
                    <a:pt x="240" y="204"/>
                    <a:pt x="240" y="203"/>
                  </a:cubicBezTo>
                  <a:cubicBezTo>
                    <a:pt x="240" y="160"/>
                    <a:pt x="240" y="160"/>
                    <a:pt x="240" y="160"/>
                  </a:cubicBezTo>
                  <a:cubicBezTo>
                    <a:pt x="240" y="154"/>
                    <a:pt x="235" y="149"/>
                    <a:pt x="230" y="149"/>
                  </a:cubicBezTo>
                  <a:cubicBezTo>
                    <a:pt x="224" y="149"/>
                    <a:pt x="220" y="153"/>
                    <a:pt x="219" y="158"/>
                  </a:cubicBezTo>
                  <a:cubicBezTo>
                    <a:pt x="219" y="160"/>
                    <a:pt x="219" y="160"/>
                    <a:pt x="219" y="160"/>
                  </a:cubicBezTo>
                  <a:cubicBezTo>
                    <a:pt x="219" y="166"/>
                    <a:pt x="215" y="170"/>
                    <a:pt x="209" y="170"/>
                  </a:cubicBezTo>
                  <a:cubicBezTo>
                    <a:pt x="209" y="170"/>
                    <a:pt x="209" y="170"/>
                    <a:pt x="209" y="170"/>
                  </a:cubicBezTo>
                  <a:cubicBezTo>
                    <a:pt x="209" y="170"/>
                    <a:pt x="209" y="170"/>
                    <a:pt x="209" y="170"/>
                  </a:cubicBezTo>
                  <a:cubicBezTo>
                    <a:pt x="203" y="170"/>
                    <a:pt x="198" y="166"/>
                    <a:pt x="198" y="160"/>
                  </a:cubicBezTo>
                  <a:cubicBezTo>
                    <a:pt x="198" y="149"/>
                    <a:pt x="198" y="149"/>
                    <a:pt x="198" y="149"/>
                  </a:cubicBezTo>
                  <a:cubicBezTo>
                    <a:pt x="198" y="143"/>
                    <a:pt x="193" y="138"/>
                    <a:pt x="187" y="138"/>
                  </a:cubicBezTo>
                  <a:cubicBezTo>
                    <a:pt x="181" y="138"/>
                    <a:pt x="177" y="143"/>
                    <a:pt x="177" y="149"/>
                  </a:cubicBezTo>
                  <a:cubicBezTo>
                    <a:pt x="177" y="160"/>
                    <a:pt x="177" y="160"/>
                    <a:pt x="177" y="160"/>
                  </a:cubicBezTo>
                  <a:cubicBezTo>
                    <a:pt x="177" y="166"/>
                    <a:pt x="172" y="170"/>
                    <a:pt x="166" y="170"/>
                  </a:cubicBezTo>
                  <a:cubicBezTo>
                    <a:pt x="160" y="170"/>
                    <a:pt x="155" y="166"/>
                    <a:pt x="155" y="160"/>
                  </a:cubicBezTo>
                  <a:cubicBezTo>
                    <a:pt x="155" y="128"/>
                    <a:pt x="155" y="128"/>
                    <a:pt x="155" y="128"/>
                  </a:cubicBezTo>
                  <a:cubicBezTo>
                    <a:pt x="155" y="122"/>
                    <a:pt x="151" y="117"/>
                    <a:pt x="145" y="117"/>
                  </a:cubicBezTo>
                  <a:cubicBezTo>
                    <a:pt x="139" y="117"/>
                    <a:pt x="134" y="122"/>
                    <a:pt x="134" y="128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4" y="166"/>
                    <a:pt x="129" y="170"/>
                    <a:pt x="123" y="170"/>
                  </a:cubicBezTo>
                  <a:cubicBezTo>
                    <a:pt x="117" y="170"/>
                    <a:pt x="113" y="166"/>
                    <a:pt x="113" y="160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3" y="68"/>
                    <a:pt x="108" y="64"/>
                    <a:pt x="102" y="64"/>
                  </a:cubicBezTo>
                  <a:cubicBezTo>
                    <a:pt x="96" y="64"/>
                    <a:pt x="91" y="68"/>
                    <a:pt x="91" y="74"/>
                  </a:cubicBezTo>
                  <a:cubicBezTo>
                    <a:pt x="91" y="202"/>
                    <a:pt x="91" y="202"/>
                    <a:pt x="91" y="202"/>
                  </a:cubicBezTo>
                  <a:cubicBezTo>
                    <a:pt x="91" y="207"/>
                    <a:pt x="89" y="210"/>
                    <a:pt x="85" y="212"/>
                  </a:cubicBezTo>
                  <a:cubicBezTo>
                    <a:pt x="81" y="214"/>
                    <a:pt x="77" y="213"/>
                    <a:pt x="74" y="210"/>
                  </a:cubicBezTo>
                  <a:cubicBezTo>
                    <a:pt x="60" y="198"/>
                    <a:pt x="44" y="160"/>
                    <a:pt x="41" y="153"/>
                  </a:cubicBezTo>
                  <a:cubicBezTo>
                    <a:pt x="40" y="151"/>
                    <a:pt x="38" y="149"/>
                    <a:pt x="35" y="148"/>
                  </a:cubicBezTo>
                  <a:cubicBezTo>
                    <a:pt x="33" y="148"/>
                    <a:pt x="30" y="148"/>
                    <a:pt x="27" y="149"/>
                  </a:cubicBezTo>
                  <a:cubicBezTo>
                    <a:pt x="23" y="151"/>
                    <a:pt x="23" y="160"/>
                    <a:pt x="26" y="166"/>
                  </a:cubicBezTo>
                  <a:cubicBezTo>
                    <a:pt x="26" y="166"/>
                    <a:pt x="27" y="166"/>
                    <a:pt x="27" y="167"/>
                  </a:cubicBezTo>
                  <a:cubicBezTo>
                    <a:pt x="27" y="167"/>
                    <a:pt x="54" y="241"/>
                    <a:pt x="97" y="268"/>
                  </a:cubicBezTo>
                  <a:cubicBezTo>
                    <a:pt x="102" y="271"/>
                    <a:pt x="103" y="278"/>
                    <a:pt x="100" y="283"/>
                  </a:cubicBezTo>
                  <a:cubicBezTo>
                    <a:pt x="98" y="286"/>
                    <a:pt x="95" y="288"/>
                    <a:pt x="91" y="288"/>
                  </a:cubicBezTo>
                  <a:cubicBezTo>
                    <a:pt x="89" y="288"/>
                    <a:pt x="87" y="287"/>
                    <a:pt x="86" y="286"/>
                  </a:cubicBezTo>
                  <a:cubicBezTo>
                    <a:pt x="38" y="256"/>
                    <a:pt x="10" y="182"/>
                    <a:pt x="7" y="175"/>
                  </a:cubicBezTo>
                  <a:cubicBezTo>
                    <a:pt x="0" y="159"/>
                    <a:pt x="2" y="138"/>
                    <a:pt x="18" y="130"/>
                  </a:cubicBezTo>
                  <a:cubicBezTo>
                    <a:pt x="25" y="126"/>
                    <a:pt x="34" y="125"/>
                    <a:pt x="42" y="128"/>
                  </a:cubicBezTo>
                  <a:cubicBezTo>
                    <a:pt x="50" y="131"/>
                    <a:pt x="57" y="137"/>
                    <a:pt x="61" y="144"/>
                  </a:cubicBezTo>
                  <a:cubicBezTo>
                    <a:pt x="63" y="151"/>
                    <a:pt x="66" y="158"/>
                    <a:pt x="70" y="165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0" y="57"/>
                    <a:pt x="84" y="42"/>
                    <a:pt x="102" y="42"/>
                  </a:cubicBezTo>
                  <a:cubicBezTo>
                    <a:pt x="120" y="42"/>
                    <a:pt x="134" y="57"/>
                    <a:pt x="134" y="74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7" y="96"/>
                    <a:pt x="141" y="96"/>
                    <a:pt x="145" y="96"/>
                  </a:cubicBezTo>
                  <a:cubicBezTo>
                    <a:pt x="159" y="96"/>
                    <a:pt x="172" y="106"/>
                    <a:pt x="175" y="119"/>
                  </a:cubicBezTo>
                  <a:cubicBezTo>
                    <a:pt x="179" y="118"/>
                    <a:pt x="183" y="117"/>
                    <a:pt x="187" y="117"/>
                  </a:cubicBezTo>
                  <a:cubicBezTo>
                    <a:pt x="199" y="117"/>
                    <a:pt x="209" y="123"/>
                    <a:pt x="214" y="132"/>
                  </a:cubicBezTo>
                  <a:cubicBezTo>
                    <a:pt x="219" y="129"/>
                    <a:pt x="224" y="128"/>
                    <a:pt x="230" y="128"/>
                  </a:cubicBezTo>
                  <a:cubicBezTo>
                    <a:pt x="247" y="128"/>
                    <a:pt x="262" y="142"/>
                    <a:pt x="262" y="160"/>
                  </a:cubicBezTo>
                  <a:cubicBezTo>
                    <a:pt x="262" y="202"/>
                    <a:pt x="262" y="202"/>
                    <a:pt x="262" y="202"/>
                  </a:cubicBezTo>
                  <a:cubicBezTo>
                    <a:pt x="262" y="204"/>
                    <a:pt x="265" y="252"/>
                    <a:pt x="238" y="284"/>
                  </a:cubicBezTo>
                  <a:close/>
                  <a:moveTo>
                    <a:pt x="47" y="117"/>
                  </a:moveTo>
                  <a:cubicBezTo>
                    <a:pt x="48" y="117"/>
                    <a:pt x="50" y="117"/>
                    <a:pt x="52" y="116"/>
                  </a:cubicBezTo>
                  <a:cubicBezTo>
                    <a:pt x="57" y="113"/>
                    <a:pt x="59" y="106"/>
                    <a:pt x="56" y="101"/>
                  </a:cubicBezTo>
                  <a:cubicBezTo>
                    <a:pt x="51" y="93"/>
                    <a:pt x="49" y="84"/>
                    <a:pt x="49" y="74"/>
                  </a:cubicBezTo>
                  <a:cubicBezTo>
                    <a:pt x="49" y="45"/>
                    <a:pt x="73" y="21"/>
                    <a:pt x="102" y="21"/>
                  </a:cubicBezTo>
                  <a:cubicBezTo>
                    <a:pt x="131" y="21"/>
                    <a:pt x="155" y="45"/>
                    <a:pt x="155" y="74"/>
                  </a:cubicBezTo>
                  <a:cubicBezTo>
                    <a:pt x="155" y="80"/>
                    <a:pt x="160" y="85"/>
                    <a:pt x="166" y="85"/>
                  </a:cubicBezTo>
                  <a:cubicBezTo>
                    <a:pt x="172" y="85"/>
                    <a:pt x="177" y="80"/>
                    <a:pt x="177" y="74"/>
                  </a:cubicBezTo>
                  <a:cubicBezTo>
                    <a:pt x="177" y="33"/>
                    <a:pt x="143" y="0"/>
                    <a:pt x="102" y="0"/>
                  </a:cubicBezTo>
                  <a:cubicBezTo>
                    <a:pt x="61" y="0"/>
                    <a:pt x="27" y="33"/>
                    <a:pt x="27" y="74"/>
                  </a:cubicBezTo>
                  <a:cubicBezTo>
                    <a:pt x="27" y="87"/>
                    <a:pt x="31" y="100"/>
                    <a:pt x="37" y="112"/>
                  </a:cubicBezTo>
                  <a:cubicBezTo>
                    <a:pt x="39" y="115"/>
                    <a:pt x="43" y="117"/>
                    <a:pt x="47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8863541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Education/tal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60220" y="2468197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n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44515" y="2468197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ncil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43627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ofile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35501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intbrush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31438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 err="1"/>
              <a:t>Maths</a:t>
            </a:r>
            <a:endParaRPr lang="en-US" sz="1000" dirty="0"/>
          </a:p>
        </p:txBody>
      </p:sp>
      <p:sp>
        <p:nvSpPr>
          <p:cNvPr id="427" name="TextBox 426"/>
          <p:cNvSpPr txBox="1"/>
          <p:nvPr/>
        </p:nvSpPr>
        <p:spPr>
          <a:xfrm>
            <a:off x="3439564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ofile 2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27375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rtarboard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19249" y="24681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ploma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23312" y="2468200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ading (glasses)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9415188" y="2468197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uzzle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440339" y="3331952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ophy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1434169" y="33319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D badge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3415478" y="33319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sette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424824" y="33319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ok closed</a:t>
            </a:r>
          </a:p>
        </p:txBody>
      </p:sp>
      <p:sp>
        <p:nvSpPr>
          <p:cNvPr id="256" name="Freeform 240"/>
          <p:cNvSpPr>
            <a:spLocks noChangeAspect="1" noEditPoints="1"/>
          </p:cNvSpPr>
          <p:nvPr/>
        </p:nvSpPr>
        <p:spPr bwMode="auto">
          <a:xfrm>
            <a:off x="440339" y="2044606"/>
            <a:ext cx="369021" cy="369021"/>
          </a:xfrm>
          <a:custGeom>
            <a:avLst/>
            <a:gdLst>
              <a:gd name="T0" fmla="*/ 359 w 512"/>
              <a:gd name="T1" fmla="*/ 182 h 512"/>
              <a:gd name="T2" fmla="*/ 374 w 512"/>
              <a:gd name="T3" fmla="*/ 197 h 512"/>
              <a:gd name="T4" fmla="*/ 329 w 512"/>
              <a:gd name="T5" fmla="*/ 242 h 512"/>
              <a:gd name="T6" fmla="*/ 313 w 512"/>
              <a:gd name="T7" fmla="*/ 227 h 512"/>
              <a:gd name="T8" fmla="*/ 359 w 512"/>
              <a:gd name="T9" fmla="*/ 182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143 w 512"/>
              <a:gd name="T21" fmla="*/ 327 h 512"/>
              <a:gd name="T22" fmla="*/ 153 w 512"/>
              <a:gd name="T23" fmla="*/ 319 h 512"/>
              <a:gd name="T24" fmla="*/ 194 w 512"/>
              <a:gd name="T25" fmla="*/ 263 h 512"/>
              <a:gd name="T26" fmla="*/ 105 w 512"/>
              <a:gd name="T27" fmla="*/ 234 h 512"/>
              <a:gd name="T28" fmla="*/ 96 w 512"/>
              <a:gd name="T29" fmla="*/ 246 h 512"/>
              <a:gd name="T30" fmla="*/ 107 w 512"/>
              <a:gd name="T31" fmla="*/ 256 h 512"/>
              <a:gd name="T32" fmla="*/ 174 w 512"/>
              <a:gd name="T33" fmla="*/ 269 h 512"/>
              <a:gd name="T34" fmla="*/ 145 w 512"/>
              <a:gd name="T35" fmla="*/ 299 h 512"/>
              <a:gd name="T36" fmla="*/ 122 w 512"/>
              <a:gd name="T37" fmla="*/ 326 h 512"/>
              <a:gd name="T38" fmla="*/ 143 w 512"/>
              <a:gd name="T39" fmla="*/ 360 h 512"/>
              <a:gd name="T40" fmla="*/ 149 w 512"/>
              <a:gd name="T41" fmla="*/ 362 h 512"/>
              <a:gd name="T42" fmla="*/ 158 w 512"/>
              <a:gd name="T43" fmla="*/ 358 h 512"/>
              <a:gd name="T44" fmla="*/ 155 w 512"/>
              <a:gd name="T45" fmla="*/ 343 h 512"/>
              <a:gd name="T46" fmla="*/ 143 w 512"/>
              <a:gd name="T47" fmla="*/ 327 h 512"/>
              <a:gd name="T48" fmla="*/ 396 w 512"/>
              <a:gd name="T49" fmla="*/ 205 h 512"/>
              <a:gd name="T50" fmla="*/ 400 w 512"/>
              <a:gd name="T51" fmla="*/ 197 h 512"/>
              <a:gd name="T52" fmla="*/ 396 w 512"/>
              <a:gd name="T53" fmla="*/ 190 h 512"/>
              <a:gd name="T54" fmla="*/ 366 w 512"/>
              <a:gd name="T55" fmla="*/ 159 h 512"/>
              <a:gd name="T56" fmla="*/ 351 w 512"/>
              <a:gd name="T57" fmla="*/ 159 h 512"/>
              <a:gd name="T58" fmla="*/ 200 w 512"/>
              <a:gd name="T59" fmla="*/ 310 h 512"/>
              <a:gd name="T60" fmla="*/ 198 w 512"/>
              <a:gd name="T61" fmla="*/ 314 h 512"/>
              <a:gd name="T62" fmla="*/ 183 w 512"/>
              <a:gd name="T63" fmla="*/ 360 h 512"/>
              <a:gd name="T64" fmla="*/ 185 w 512"/>
              <a:gd name="T65" fmla="*/ 371 h 512"/>
              <a:gd name="T66" fmla="*/ 193 w 512"/>
              <a:gd name="T67" fmla="*/ 374 h 512"/>
              <a:gd name="T68" fmla="*/ 196 w 512"/>
              <a:gd name="T69" fmla="*/ 373 h 512"/>
              <a:gd name="T70" fmla="*/ 241 w 512"/>
              <a:gd name="T71" fmla="*/ 358 h 512"/>
              <a:gd name="T72" fmla="*/ 246 w 512"/>
              <a:gd name="T73" fmla="*/ 356 h 512"/>
              <a:gd name="T74" fmla="*/ 396 w 512"/>
              <a:gd name="T75" fmla="*/ 205 h 512"/>
              <a:gd name="T76" fmla="*/ 413 w 512"/>
              <a:gd name="T77" fmla="*/ 237 h 512"/>
              <a:gd name="T78" fmla="*/ 397 w 512"/>
              <a:gd name="T79" fmla="*/ 237 h 512"/>
              <a:gd name="T80" fmla="*/ 355 w 512"/>
              <a:gd name="T81" fmla="*/ 280 h 512"/>
              <a:gd name="T82" fmla="*/ 355 w 512"/>
              <a:gd name="T83" fmla="*/ 295 h 512"/>
              <a:gd name="T84" fmla="*/ 362 w 512"/>
              <a:gd name="T85" fmla="*/ 298 h 512"/>
              <a:gd name="T86" fmla="*/ 370 w 512"/>
              <a:gd name="T87" fmla="*/ 295 h 512"/>
              <a:gd name="T88" fmla="*/ 413 w 512"/>
              <a:gd name="T89" fmla="*/ 253 h 512"/>
              <a:gd name="T90" fmla="*/ 413 w 512"/>
              <a:gd name="T91" fmla="*/ 237 h 512"/>
              <a:gd name="T92" fmla="*/ 217 w 512"/>
              <a:gd name="T93" fmla="*/ 324 h 512"/>
              <a:gd name="T94" fmla="*/ 210 w 512"/>
              <a:gd name="T95" fmla="*/ 346 h 512"/>
              <a:gd name="T96" fmla="*/ 232 w 512"/>
              <a:gd name="T97" fmla="*/ 339 h 512"/>
              <a:gd name="T98" fmla="*/ 313 w 512"/>
              <a:gd name="T99" fmla="*/ 257 h 512"/>
              <a:gd name="T100" fmla="*/ 298 w 512"/>
              <a:gd name="T101" fmla="*/ 242 h 512"/>
              <a:gd name="T102" fmla="*/ 217 w 512"/>
              <a:gd name="T103" fmla="*/ 3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359" y="182"/>
                </a:moveTo>
                <a:cubicBezTo>
                  <a:pt x="374" y="197"/>
                  <a:pt x="374" y="197"/>
                  <a:pt x="374" y="197"/>
                </a:cubicBezTo>
                <a:cubicBezTo>
                  <a:pt x="329" y="242"/>
                  <a:pt x="329" y="242"/>
                  <a:pt x="329" y="242"/>
                </a:cubicBezTo>
                <a:cubicBezTo>
                  <a:pt x="313" y="227"/>
                  <a:pt x="313" y="227"/>
                  <a:pt x="313" y="227"/>
                </a:cubicBezTo>
                <a:lnTo>
                  <a:pt x="359" y="18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3" y="327"/>
                </a:moveTo>
                <a:cubicBezTo>
                  <a:pt x="143" y="325"/>
                  <a:pt x="147" y="322"/>
                  <a:pt x="153" y="319"/>
                </a:cubicBezTo>
                <a:cubicBezTo>
                  <a:pt x="183" y="305"/>
                  <a:pt x="200" y="283"/>
                  <a:pt x="194" y="263"/>
                </a:cubicBezTo>
                <a:cubicBezTo>
                  <a:pt x="191" y="250"/>
                  <a:pt x="175" y="228"/>
                  <a:pt x="105" y="234"/>
                </a:cubicBezTo>
                <a:cubicBezTo>
                  <a:pt x="100" y="235"/>
                  <a:pt x="95" y="240"/>
                  <a:pt x="96" y="246"/>
                </a:cubicBezTo>
                <a:cubicBezTo>
                  <a:pt x="96" y="252"/>
                  <a:pt x="101" y="256"/>
                  <a:pt x="107" y="256"/>
                </a:cubicBezTo>
                <a:cubicBezTo>
                  <a:pt x="156" y="251"/>
                  <a:pt x="172" y="262"/>
                  <a:pt x="174" y="269"/>
                </a:cubicBezTo>
                <a:cubicBezTo>
                  <a:pt x="176" y="276"/>
                  <a:pt x="165" y="290"/>
                  <a:pt x="145" y="299"/>
                </a:cubicBezTo>
                <a:cubicBezTo>
                  <a:pt x="130" y="306"/>
                  <a:pt x="123" y="315"/>
                  <a:pt x="122" y="326"/>
                </a:cubicBezTo>
                <a:cubicBezTo>
                  <a:pt x="120" y="344"/>
                  <a:pt x="141" y="359"/>
                  <a:pt x="143" y="360"/>
                </a:cubicBezTo>
                <a:cubicBezTo>
                  <a:pt x="145" y="362"/>
                  <a:pt x="147" y="362"/>
                  <a:pt x="149" y="362"/>
                </a:cubicBezTo>
                <a:cubicBezTo>
                  <a:pt x="152" y="362"/>
                  <a:pt x="156" y="361"/>
                  <a:pt x="158" y="358"/>
                </a:cubicBezTo>
                <a:cubicBezTo>
                  <a:pt x="161" y="353"/>
                  <a:pt x="160" y="346"/>
                  <a:pt x="155" y="343"/>
                </a:cubicBezTo>
                <a:cubicBezTo>
                  <a:pt x="151" y="340"/>
                  <a:pt x="143" y="332"/>
                  <a:pt x="143" y="327"/>
                </a:cubicBezTo>
                <a:close/>
                <a:moveTo>
                  <a:pt x="396" y="205"/>
                </a:moveTo>
                <a:cubicBezTo>
                  <a:pt x="398" y="203"/>
                  <a:pt x="400" y="200"/>
                  <a:pt x="400" y="197"/>
                </a:cubicBezTo>
                <a:cubicBezTo>
                  <a:pt x="400" y="194"/>
                  <a:pt x="398" y="192"/>
                  <a:pt x="396" y="190"/>
                </a:cubicBezTo>
                <a:cubicBezTo>
                  <a:pt x="366" y="159"/>
                  <a:pt x="366" y="159"/>
                  <a:pt x="366" y="159"/>
                </a:cubicBezTo>
                <a:cubicBezTo>
                  <a:pt x="362" y="155"/>
                  <a:pt x="355" y="155"/>
                  <a:pt x="351" y="159"/>
                </a:cubicBezTo>
                <a:cubicBezTo>
                  <a:pt x="200" y="310"/>
                  <a:pt x="200" y="310"/>
                  <a:pt x="200" y="310"/>
                </a:cubicBezTo>
                <a:cubicBezTo>
                  <a:pt x="199" y="311"/>
                  <a:pt x="198" y="313"/>
                  <a:pt x="198" y="314"/>
                </a:cubicBezTo>
                <a:cubicBezTo>
                  <a:pt x="183" y="360"/>
                  <a:pt x="183" y="360"/>
                  <a:pt x="183" y="360"/>
                </a:cubicBezTo>
                <a:cubicBezTo>
                  <a:pt x="181" y="364"/>
                  <a:pt x="182" y="368"/>
                  <a:pt x="185" y="371"/>
                </a:cubicBezTo>
                <a:cubicBezTo>
                  <a:pt x="187" y="373"/>
                  <a:pt x="190" y="374"/>
                  <a:pt x="193" y="374"/>
                </a:cubicBezTo>
                <a:cubicBezTo>
                  <a:pt x="194" y="374"/>
                  <a:pt x="195" y="374"/>
                  <a:pt x="196" y="373"/>
                </a:cubicBezTo>
                <a:cubicBezTo>
                  <a:pt x="241" y="358"/>
                  <a:pt x="241" y="358"/>
                  <a:pt x="241" y="358"/>
                </a:cubicBezTo>
                <a:cubicBezTo>
                  <a:pt x="243" y="358"/>
                  <a:pt x="244" y="357"/>
                  <a:pt x="246" y="356"/>
                </a:cubicBezTo>
                <a:lnTo>
                  <a:pt x="396" y="205"/>
                </a:lnTo>
                <a:close/>
                <a:moveTo>
                  <a:pt x="413" y="237"/>
                </a:moveTo>
                <a:cubicBezTo>
                  <a:pt x="408" y="233"/>
                  <a:pt x="402" y="233"/>
                  <a:pt x="397" y="237"/>
                </a:cubicBezTo>
                <a:cubicBezTo>
                  <a:pt x="355" y="280"/>
                  <a:pt x="355" y="280"/>
                  <a:pt x="355" y="280"/>
                </a:cubicBezTo>
                <a:cubicBezTo>
                  <a:pt x="351" y="284"/>
                  <a:pt x="351" y="291"/>
                  <a:pt x="355" y="295"/>
                </a:cubicBezTo>
                <a:cubicBezTo>
                  <a:pt x="357" y="297"/>
                  <a:pt x="360" y="298"/>
                  <a:pt x="362" y="298"/>
                </a:cubicBezTo>
                <a:cubicBezTo>
                  <a:pt x="365" y="298"/>
                  <a:pt x="368" y="297"/>
                  <a:pt x="370" y="295"/>
                </a:cubicBezTo>
                <a:cubicBezTo>
                  <a:pt x="413" y="253"/>
                  <a:pt x="413" y="253"/>
                  <a:pt x="413" y="253"/>
                </a:cubicBezTo>
                <a:cubicBezTo>
                  <a:pt x="417" y="248"/>
                  <a:pt x="417" y="242"/>
                  <a:pt x="413" y="237"/>
                </a:cubicBezTo>
                <a:close/>
                <a:moveTo>
                  <a:pt x="217" y="324"/>
                </a:moveTo>
                <a:cubicBezTo>
                  <a:pt x="210" y="346"/>
                  <a:pt x="210" y="346"/>
                  <a:pt x="210" y="346"/>
                </a:cubicBezTo>
                <a:cubicBezTo>
                  <a:pt x="232" y="339"/>
                  <a:pt x="232" y="339"/>
                  <a:pt x="232" y="339"/>
                </a:cubicBezTo>
                <a:cubicBezTo>
                  <a:pt x="313" y="257"/>
                  <a:pt x="313" y="257"/>
                  <a:pt x="313" y="257"/>
                </a:cubicBezTo>
                <a:cubicBezTo>
                  <a:pt x="298" y="242"/>
                  <a:pt x="298" y="242"/>
                  <a:pt x="298" y="242"/>
                </a:cubicBezTo>
                <a:lnTo>
                  <a:pt x="217" y="3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243"/>
          <p:cNvGrpSpPr>
            <a:grpSpLocks noChangeAspect="1"/>
          </p:cNvGrpSpPr>
          <p:nvPr/>
        </p:nvGrpSpPr>
        <p:grpSpPr bwMode="auto">
          <a:xfrm>
            <a:off x="939244" y="2044606"/>
            <a:ext cx="369021" cy="370106"/>
            <a:chOff x="3476" y="785"/>
            <a:chExt cx="340" cy="341"/>
          </a:xfrm>
          <a:solidFill>
            <a:schemeClr val="accent3"/>
          </a:solidFill>
        </p:grpSpPr>
        <p:sp>
          <p:nvSpPr>
            <p:cNvPr id="258" name="Freeform 244"/>
            <p:cNvSpPr>
              <a:spLocks noEditPoints="1"/>
            </p:cNvSpPr>
            <p:nvPr/>
          </p:nvSpPr>
          <p:spPr bwMode="auto">
            <a:xfrm>
              <a:off x="3539" y="888"/>
              <a:ext cx="214" cy="146"/>
            </a:xfrm>
            <a:custGeom>
              <a:avLst/>
              <a:gdLst>
                <a:gd name="T0" fmla="*/ 48 w 322"/>
                <a:gd name="T1" fmla="*/ 172 h 219"/>
                <a:gd name="T2" fmla="*/ 60 w 322"/>
                <a:gd name="T3" fmla="*/ 188 h 219"/>
                <a:gd name="T4" fmla="*/ 63 w 322"/>
                <a:gd name="T5" fmla="*/ 203 h 219"/>
                <a:gd name="T6" fmla="*/ 54 w 322"/>
                <a:gd name="T7" fmla="*/ 207 h 219"/>
                <a:gd name="T8" fmla="*/ 48 w 322"/>
                <a:gd name="T9" fmla="*/ 205 h 219"/>
                <a:gd name="T10" fmla="*/ 27 w 322"/>
                <a:gd name="T11" fmla="*/ 171 h 219"/>
                <a:gd name="T12" fmla="*/ 50 w 322"/>
                <a:gd name="T13" fmla="*/ 144 h 219"/>
                <a:gd name="T14" fmla="*/ 79 w 322"/>
                <a:gd name="T15" fmla="*/ 114 h 219"/>
                <a:gd name="T16" fmla="*/ 12 w 322"/>
                <a:gd name="T17" fmla="*/ 101 h 219"/>
                <a:gd name="T18" fmla="*/ 1 w 322"/>
                <a:gd name="T19" fmla="*/ 91 h 219"/>
                <a:gd name="T20" fmla="*/ 10 w 322"/>
                <a:gd name="T21" fmla="*/ 79 h 219"/>
                <a:gd name="T22" fmla="*/ 99 w 322"/>
                <a:gd name="T23" fmla="*/ 108 h 219"/>
                <a:gd name="T24" fmla="*/ 58 w 322"/>
                <a:gd name="T25" fmla="*/ 164 h 219"/>
                <a:gd name="T26" fmla="*/ 48 w 322"/>
                <a:gd name="T27" fmla="*/ 172 h 219"/>
                <a:gd name="T28" fmla="*/ 301 w 322"/>
                <a:gd name="T29" fmla="*/ 50 h 219"/>
                <a:gd name="T30" fmla="*/ 151 w 322"/>
                <a:gd name="T31" fmla="*/ 201 h 219"/>
                <a:gd name="T32" fmla="*/ 146 w 322"/>
                <a:gd name="T33" fmla="*/ 203 h 219"/>
                <a:gd name="T34" fmla="*/ 101 w 322"/>
                <a:gd name="T35" fmla="*/ 218 h 219"/>
                <a:gd name="T36" fmla="*/ 98 w 322"/>
                <a:gd name="T37" fmla="*/ 219 h 219"/>
                <a:gd name="T38" fmla="*/ 90 w 322"/>
                <a:gd name="T39" fmla="*/ 216 h 219"/>
                <a:gd name="T40" fmla="*/ 88 w 322"/>
                <a:gd name="T41" fmla="*/ 205 h 219"/>
                <a:gd name="T42" fmla="*/ 103 w 322"/>
                <a:gd name="T43" fmla="*/ 159 h 219"/>
                <a:gd name="T44" fmla="*/ 105 w 322"/>
                <a:gd name="T45" fmla="*/ 155 h 219"/>
                <a:gd name="T46" fmla="*/ 256 w 322"/>
                <a:gd name="T47" fmla="*/ 4 h 219"/>
                <a:gd name="T48" fmla="*/ 271 w 322"/>
                <a:gd name="T49" fmla="*/ 4 h 219"/>
                <a:gd name="T50" fmla="*/ 301 w 322"/>
                <a:gd name="T51" fmla="*/ 35 h 219"/>
                <a:gd name="T52" fmla="*/ 305 w 322"/>
                <a:gd name="T53" fmla="*/ 42 h 219"/>
                <a:gd name="T54" fmla="*/ 301 w 322"/>
                <a:gd name="T55" fmla="*/ 50 h 219"/>
                <a:gd name="T56" fmla="*/ 218 w 322"/>
                <a:gd name="T57" fmla="*/ 102 h 219"/>
                <a:gd name="T58" fmla="*/ 203 w 322"/>
                <a:gd name="T59" fmla="*/ 87 h 219"/>
                <a:gd name="T60" fmla="*/ 122 w 322"/>
                <a:gd name="T61" fmla="*/ 169 h 219"/>
                <a:gd name="T62" fmla="*/ 115 w 322"/>
                <a:gd name="T63" fmla="*/ 191 h 219"/>
                <a:gd name="T64" fmla="*/ 137 w 322"/>
                <a:gd name="T65" fmla="*/ 184 h 219"/>
                <a:gd name="T66" fmla="*/ 218 w 322"/>
                <a:gd name="T67" fmla="*/ 102 h 219"/>
                <a:gd name="T68" fmla="*/ 279 w 322"/>
                <a:gd name="T69" fmla="*/ 42 h 219"/>
                <a:gd name="T70" fmla="*/ 264 w 322"/>
                <a:gd name="T71" fmla="*/ 27 h 219"/>
                <a:gd name="T72" fmla="*/ 218 w 322"/>
                <a:gd name="T73" fmla="*/ 72 h 219"/>
                <a:gd name="T74" fmla="*/ 234 w 322"/>
                <a:gd name="T75" fmla="*/ 87 h 219"/>
                <a:gd name="T76" fmla="*/ 279 w 322"/>
                <a:gd name="T77" fmla="*/ 42 h 219"/>
                <a:gd name="T78" fmla="*/ 318 w 322"/>
                <a:gd name="T79" fmla="*/ 82 h 219"/>
                <a:gd name="T80" fmla="*/ 302 w 322"/>
                <a:gd name="T81" fmla="*/ 82 h 219"/>
                <a:gd name="T82" fmla="*/ 260 w 322"/>
                <a:gd name="T83" fmla="*/ 125 h 219"/>
                <a:gd name="T84" fmla="*/ 260 w 322"/>
                <a:gd name="T85" fmla="*/ 140 h 219"/>
                <a:gd name="T86" fmla="*/ 267 w 322"/>
                <a:gd name="T87" fmla="*/ 143 h 219"/>
                <a:gd name="T88" fmla="*/ 275 w 322"/>
                <a:gd name="T89" fmla="*/ 140 h 219"/>
                <a:gd name="T90" fmla="*/ 318 w 322"/>
                <a:gd name="T91" fmla="*/ 98 h 219"/>
                <a:gd name="T92" fmla="*/ 318 w 322"/>
                <a:gd name="T93" fmla="*/ 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2" h="219">
                  <a:moveTo>
                    <a:pt x="48" y="172"/>
                  </a:moveTo>
                  <a:cubicBezTo>
                    <a:pt x="48" y="177"/>
                    <a:pt x="56" y="185"/>
                    <a:pt x="60" y="188"/>
                  </a:cubicBezTo>
                  <a:cubicBezTo>
                    <a:pt x="65" y="191"/>
                    <a:pt x="66" y="198"/>
                    <a:pt x="63" y="203"/>
                  </a:cubicBezTo>
                  <a:cubicBezTo>
                    <a:pt x="61" y="206"/>
                    <a:pt x="57" y="207"/>
                    <a:pt x="54" y="207"/>
                  </a:cubicBezTo>
                  <a:cubicBezTo>
                    <a:pt x="52" y="207"/>
                    <a:pt x="50" y="207"/>
                    <a:pt x="48" y="205"/>
                  </a:cubicBezTo>
                  <a:cubicBezTo>
                    <a:pt x="46" y="204"/>
                    <a:pt x="25" y="189"/>
                    <a:pt x="27" y="171"/>
                  </a:cubicBezTo>
                  <a:cubicBezTo>
                    <a:pt x="28" y="160"/>
                    <a:pt x="35" y="151"/>
                    <a:pt x="50" y="144"/>
                  </a:cubicBezTo>
                  <a:cubicBezTo>
                    <a:pt x="70" y="135"/>
                    <a:pt x="81" y="121"/>
                    <a:pt x="79" y="114"/>
                  </a:cubicBezTo>
                  <a:cubicBezTo>
                    <a:pt x="77" y="107"/>
                    <a:pt x="61" y="96"/>
                    <a:pt x="12" y="101"/>
                  </a:cubicBezTo>
                  <a:cubicBezTo>
                    <a:pt x="6" y="101"/>
                    <a:pt x="1" y="97"/>
                    <a:pt x="1" y="91"/>
                  </a:cubicBezTo>
                  <a:cubicBezTo>
                    <a:pt x="0" y="85"/>
                    <a:pt x="5" y="80"/>
                    <a:pt x="10" y="79"/>
                  </a:cubicBezTo>
                  <a:cubicBezTo>
                    <a:pt x="80" y="73"/>
                    <a:pt x="96" y="95"/>
                    <a:pt x="99" y="108"/>
                  </a:cubicBezTo>
                  <a:cubicBezTo>
                    <a:pt x="105" y="128"/>
                    <a:pt x="88" y="150"/>
                    <a:pt x="58" y="164"/>
                  </a:cubicBezTo>
                  <a:cubicBezTo>
                    <a:pt x="52" y="167"/>
                    <a:pt x="48" y="170"/>
                    <a:pt x="48" y="172"/>
                  </a:cubicBezTo>
                  <a:close/>
                  <a:moveTo>
                    <a:pt x="301" y="50"/>
                  </a:moveTo>
                  <a:cubicBezTo>
                    <a:pt x="151" y="201"/>
                    <a:pt x="151" y="201"/>
                    <a:pt x="151" y="201"/>
                  </a:cubicBezTo>
                  <a:cubicBezTo>
                    <a:pt x="149" y="202"/>
                    <a:pt x="148" y="203"/>
                    <a:pt x="146" y="203"/>
                  </a:cubicBezTo>
                  <a:cubicBezTo>
                    <a:pt x="101" y="218"/>
                    <a:pt x="101" y="218"/>
                    <a:pt x="101" y="218"/>
                  </a:cubicBezTo>
                  <a:cubicBezTo>
                    <a:pt x="100" y="219"/>
                    <a:pt x="99" y="219"/>
                    <a:pt x="98" y="219"/>
                  </a:cubicBezTo>
                  <a:cubicBezTo>
                    <a:pt x="95" y="219"/>
                    <a:pt x="92" y="218"/>
                    <a:pt x="90" y="216"/>
                  </a:cubicBezTo>
                  <a:cubicBezTo>
                    <a:pt x="87" y="213"/>
                    <a:pt x="86" y="209"/>
                    <a:pt x="88" y="205"/>
                  </a:cubicBezTo>
                  <a:cubicBezTo>
                    <a:pt x="103" y="159"/>
                    <a:pt x="103" y="159"/>
                    <a:pt x="103" y="159"/>
                  </a:cubicBezTo>
                  <a:cubicBezTo>
                    <a:pt x="103" y="158"/>
                    <a:pt x="104" y="156"/>
                    <a:pt x="105" y="155"/>
                  </a:cubicBezTo>
                  <a:cubicBezTo>
                    <a:pt x="256" y="4"/>
                    <a:pt x="256" y="4"/>
                    <a:pt x="256" y="4"/>
                  </a:cubicBezTo>
                  <a:cubicBezTo>
                    <a:pt x="260" y="0"/>
                    <a:pt x="267" y="0"/>
                    <a:pt x="271" y="4"/>
                  </a:cubicBezTo>
                  <a:cubicBezTo>
                    <a:pt x="301" y="35"/>
                    <a:pt x="301" y="35"/>
                    <a:pt x="301" y="35"/>
                  </a:cubicBezTo>
                  <a:cubicBezTo>
                    <a:pt x="303" y="37"/>
                    <a:pt x="305" y="39"/>
                    <a:pt x="305" y="42"/>
                  </a:cubicBezTo>
                  <a:cubicBezTo>
                    <a:pt x="305" y="45"/>
                    <a:pt x="303" y="48"/>
                    <a:pt x="301" y="50"/>
                  </a:cubicBezTo>
                  <a:close/>
                  <a:moveTo>
                    <a:pt x="218" y="102"/>
                  </a:moveTo>
                  <a:cubicBezTo>
                    <a:pt x="203" y="87"/>
                    <a:pt x="203" y="87"/>
                    <a:pt x="203" y="87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5" y="191"/>
                    <a:pt x="115" y="191"/>
                    <a:pt x="115" y="191"/>
                  </a:cubicBezTo>
                  <a:cubicBezTo>
                    <a:pt x="137" y="184"/>
                    <a:pt x="137" y="184"/>
                    <a:pt x="137" y="184"/>
                  </a:cubicBezTo>
                  <a:lnTo>
                    <a:pt x="218" y="102"/>
                  </a:lnTo>
                  <a:close/>
                  <a:moveTo>
                    <a:pt x="279" y="42"/>
                  </a:moveTo>
                  <a:cubicBezTo>
                    <a:pt x="264" y="27"/>
                    <a:pt x="264" y="27"/>
                    <a:pt x="264" y="27"/>
                  </a:cubicBezTo>
                  <a:cubicBezTo>
                    <a:pt x="218" y="72"/>
                    <a:pt x="218" y="72"/>
                    <a:pt x="218" y="72"/>
                  </a:cubicBezTo>
                  <a:cubicBezTo>
                    <a:pt x="234" y="87"/>
                    <a:pt x="234" y="87"/>
                    <a:pt x="234" y="87"/>
                  </a:cubicBezTo>
                  <a:lnTo>
                    <a:pt x="279" y="42"/>
                  </a:lnTo>
                  <a:close/>
                  <a:moveTo>
                    <a:pt x="318" y="82"/>
                  </a:moveTo>
                  <a:cubicBezTo>
                    <a:pt x="313" y="78"/>
                    <a:pt x="307" y="78"/>
                    <a:pt x="302" y="82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6" y="129"/>
                    <a:pt x="256" y="136"/>
                    <a:pt x="260" y="140"/>
                  </a:cubicBezTo>
                  <a:cubicBezTo>
                    <a:pt x="262" y="142"/>
                    <a:pt x="265" y="143"/>
                    <a:pt x="267" y="143"/>
                  </a:cubicBezTo>
                  <a:cubicBezTo>
                    <a:pt x="270" y="143"/>
                    <a:pt x="273" y="142"/>
                    <a:pt x="275" y="140"/>
                  </a:cubicBezTo>
                  <a:cubicBezTo>
                    <a:pt x="318" y="98"/>
                    <a:pt x="318" y="98"/>
                    <a:pt x="318" y="98"/>
                  </a:cubicBezTo>
                  <a:cubicBezTo>
                    <a:pt x="322" y="93"/>
                    <a:pt x="322" y="87"/>
                    <a:pt x="318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245"/>
            <p:cNvSpPr>
              <a:spLocks noEditPoints="1"/>
            </p:cNvSpPr>
            <p:nvPr/>
          </p:nvSpPr>
          <p:spPr bwMode="auto">
            <a:xfrm>
              <a:off x="3476" y="78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249"/>
          <p:cNvSpPr>
            <a:spLocks noChangeAspect="1" noEditPoints="1"/>
          </p:cNvSpPr>
          <p:nvPr/>
        </p:nvSpPr>
        <p:spPr bwMode="auto">
          <a:xfrm>
            <a:off x="1438149" y="2044610"/>
            <a:ext cx="369021" cy="369021"/>
          </a:xfrm>
          <a:custGeom>
            <a:avLst/>
            <a:gdLst>
              <a:gd name="T0" fmla="*/ 359 w 512"/>
              <a:gd name="T1" fmla="*/ 182 h 512"/>
              <a:gd name="T2" fmla="*/ 374 w 512"/>
              <a:gd name="T3" fmla="*/ 197 h 512"/>
              <a:gd name="T4" fmla="*/ 329 w 512"/>
              <a:gd name="T5" fmla="*/ 242 h 512"/>
              <a:gd name="T6" fmla="*/ 313 w 512"/>
              <a:gd name="T7" fmla="*/ 227 h 512"/>
              <a:gd name="T8" fmla="*/ 359 w 512"/>
              <a:gd name="T9" fmla="*/ 182 h 512"/>
              <a:gd name="T10" fmla="*/ 217 w 512"/>
              <a:gd name="T11" fmla="*/ 324 h 512"/>
              <a:gd name="T12" fmla="*/ 210 w 512"/>
              <a:gd name="T13" fmla="*/ 346 h 512"/>
              <a:gd name="T14" fmla="*/ 232 w 512"/>
              <a:gd name="T15" fmla="*/ 339 h 512"/>
              <a:gd name="T16" fmla="*/ 313 w 512"/>
              <a:gd name="T17" fmla="*/ 257 h 512"/>
              <a:gd name="T18" fmla="*/ 298 w 512"/>
              <a:gd name="T19" fmla="*/ 242 h 512"/>
              <a:gd name="T20" fmla="*/ 217 w 512"/>
              <a:gd name="T21" fmla="*/ 324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143 w 512"/>
              <a:gd name="T33" fmla="*/ 327 h 512"/>
              <a:gd name="T34" fmla="*/ 153 w 512"/>
              <a:gd name="T35" fmla="*/ 319 h 512"/>
              <a:gd name="T36" fmla="*/ 194 w 512"/>
              <a:gd name="T37" fmla="*/ 263 h 512"/>
              <a:gd name="T38" fmla="*/ 105 w 512"/>
              <a:gd name="T39" fmla="*/ 234 h 512"/>
              <a:gd name="T40" fmla="*/ 96 w 512"/>
              <a:gd name="T41" fmla="*/ 246 h 512"/>
              <a:gd name="T42" fmla="*/ 107 w 512"/>
              <a:gd name="T43" fmla="*/ 256 h 512"/>
              <a:gd name="T44" fmla="*/ 174 w 512"/>
              <a:gd name="T45" fmla="*/ 269 h 512"/>
              <a:gd name="T46" fmla="*/ 145 w 512"/>
              <a:gd name="T47" fmla="*/ 299 h 512"/>
              <a:gd name="T48" fmla="*/ 122 w 512"/>
              <a:gd name="T49" fmla="*/ 326 h 512"/>
              <a:gd name="T50" fmla="*/ 143 w 512"/>
              <a:gd name="T51" fmla="*/ 360 h 512"/>
              <a:gd name="T52" fmla="*/ 149 w 512"/>
              <a:gd name="T53" fmla="*/ 362 h 512"/>
              <a:gd name="T54" fmla="*/ 158 w 512"/>
              <a:gd name="T55" fmla="*/ 358 h 512"/>
              <a:gd name="T56" fmla="*/ 155 w 512"/>
              <a:gd name="T57" fmla="*/ 343 h 512"/>
              <a:gd name="T58" fmla="*/ 143 w 512"/>
              <a:gd name="T59" fmla="*/ 327 h 512"/>
              <a:gd name="T60" fmla="*/ 400 w 512"/>
              <a:gd name="T61" fmla="*/ 197 h 512"/>
              <a:gd name="T62" fmla="*/ 396 w 512"/>
              <a:gd name="T63" fmla="*/ 190 h 512"/>
              <a:gd name="T64" fmla="*/ 366 w 512"/>
              <a:gd name="T65" fmla="*/ 159 h 512"/>
              <a:gd name="T66" fmla="*/ 351 w 512"/>
              <a:gd name="T67" fmla="*/ 159 h 512"/>
              <a:gd name="T68" fmla="*/ 291 w 512"/>
              <a:gd name="T69" fmla="*/ 220 h 512"/>
              <a:gd name="T70" fmla="*/ 200 w 512"/>
              <a:gd name="T71" fmla="*/ 310 h 512"/>
              <a:gd name="T72" fmla="*/ 198 w 512"/>
              <a:gd name="T73" fmla="*/ 314 h 512"/>
              <a:gd name="T74" fmla="*/ 183 w 512"/>
              <a:gd name="T75" fmla="*/ 360 h 512"/>
              <a:gd name="T76" fmla="*/ 185 w 512"/>
              <a:gd name="T77" fmla="*/ 371 h 512"/>
              <a:gd name="T78" fmla="*/ 193 w 512"/>
              <a:gd name="T79" fmla="*/ 374 h 512"/>
              <a:gd name="T80" fmla="*/ 196 w 512"/>
              <a:gd name="T81" fmla="*/ 373 h 512"/>
              <a:gd name="T82" fmla="*/ 241 w 512"/>
              <a:gd name="T83" fmla="*/ 358 h 512"/>
              <a:gd name="T84" fmla="*/ 246 w 512"/>
              <a:gd name="T85" fmla="*/ 356 h 512"/>
              <a:gd name="T86" fmla="*/ 336 w 512"/>
              <a:gd name="T87" fmla="*/ 265 h 512"/>
              <a:gd name="T88" fmla="*/ 396 w 512"/>
              <a:gd name="T89" fmla="*/ 205 h 512"/>
              <a:gd name="T90" fmla="*/ 400 w 512"/>
              <a:gd name="T91" fmla="*/ 19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359" y="182"/>
                </a:moveTo>
                <a:cubicBezTo>
                  <a:pt x="374" y="197"/>
                  <a:pt x="374" y="197"/>
                  <a:pt x="374" y="197"/>
                </a:cubicBezTo>
                <a:cubicBezTo>
                  <a:pt x="329" y="242"/>
                  <a:pt x="329" y="242"/>
                  <a:pt x="329" y="242"/>
                </a:cubicBezTo>
                <a:cubicBezTo>
                  <a:pt x="313" y="227"/>
                  <a:pt x="313" y="227"/>
                  <a:pt x="313" y="227"/>
                </a:cubicBezTo>
                <a:lnTo>
                  <a:pt x="359" y="182"/>
                </a:lnTo>
                <a:close/>
                <a:moveTo>
                  <a:pt x="217" y="324"/>
                </a:moveTo>
                <a:cubicBezTo>
                  <a:pt x="210" y="346"/>
                  <a:pt x="210" y="346"/>
                  <a:pt x="210" y="346"/>
                </a:cubicBezTo>
                <a:cubicBezTo>
                  <a:pt x="232" y="339"/>
                  <a:pt x="232" y="339"/>
                  <a:pt x="232" y="339"/>
                </a:cubicBezTo>
                <a:cubicBezTo>
                  <a:pt x="313" y="257"/>
                  <a:pt x="313" y="257"/>
                  <a:pt x="313" y="257"/>
                </a:cubicBezTo>
                <a:cubicBezTo>
                  <a:pt x="298" y="242"/>
                  <a:pt x="298" y="242"/>
                  <a:pt x="298" y="242"/>
                </a:cubicBezTo>
                <a:lnTo>
                  <a:pt x="217" y="32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3" y="327"/>
                </a:moveTo>
                <a:cubicBezTo>
                  <a:pt x="143" y="325"/>
                  <a:pt x="147" y="322"/>
                  <a:pt x="153" y="319"/>
                </a:cubicBezTo>
                <a:cubicBezTo>
                  <a:pt x="183" y="305"/>
                  <a:pt x="200" y="283"/>
                  <a:pt x="194" y="263"/>
                </a:cubicBezTo>
                <a:cubicBezTo>
                  <a:pt x="191" y="250"/>
                  <a:pt x="175" y="228"/>
                  <a:pt x="105" y="234"/>
                </a:cubicBezTo>
                <a:cubicBezTo>
                  <a:pt x="100" y="235"/>
                  <a:pt x="95" y="240"/>
                  <a:pt x="96" y="246"/>
                </a:cubicBezTo>
                <a:cubicBezTo>
                  <a:pt x="96" y="252"/>
                  <a:pt x="101" y="256"/>
                  <a:pt x="107" y="256"/>
                </a:cubicBezTo>
                <a:cubicBezTo>
                  <a:pt x="156" y="251"/>
                  <a:pt x="172" y="262"/>
                  <a:pt x="174" y="269"/>
                </a:cubicBezTo>
                <a:cubicBezTo>
                  <a:pt x="176" y="276"/>
                  <a:pt x="165" y="290"/>
                  <a:pt x="145" y="299"/>
                </a:cubicBezTo>
                <a:cubicBezTo>
                  <a:pt x="130" y="306"/>
                  <a:pt x="123" y="315"/>
                  <a:pt x="122" y="326"/>
                </a:cubicBezTo>
                <a:cubicBezTo>
                  <a:pt x="120" y="344"/>
                  <a:pt x="141" y="359"/>
                  <a:pt x="143" y="360"/>
                </a:cubicBezTo>
                <a:cubicBezTo>
                  <a:pt x="145" y="362"/>
                  <a:pt x="147" y="362"/>
                  <a:pt x="149" y="362"/>
                </a:cubicBezTo>
                <a:cubicBezTo>
                  <a:pt x="152" y="362"/>
                  <a:pt x="156" y="361"/>
                  <a:pt x="158" y="358"/>
                </a:cubicBezTo>
                <a:cubicBezTo>
                  <a:pt x="161" y="353"/>
                  <a:pt x="160" y="346"/>
                  <a:pt x="155" y="343"/>
                </a:cubicBezTo>
                <a:cubicBezTo>
                  <a:pt x="151" y="340"/>
                  <a:pt x="143" y="332"/>
                  <a:pt x="143" y="327"/>
                </a:cubicBezTo>
                <a:close/>
                <a:moveTo>
                  <a:pt x="400" y="197"/>
                </a:moveTo>
                <a:cubicBezTo>
                  <a:pt x="400" y="194"/>
                  <a:pt x="398" y="192"/>
                  <a:pt x="396" y="190"/>
                </a:cubicBezTo>
                <a:cubicBezTo>
                  <a:pt x="366" y="159"/>
                  <a:pt x="366" y="159"/>
                  <a:pt x="366" y="159"/>
                </a:cubicBezTo>
                <a:cubicBezTo>
                  <a:pt x="362" y="155"/>
                  <a:pt x="355" y="155"/>
                  <a:pt x="351" y="159"/>
                </a:cubicBezTo>
                <a:cubicBezTo>
                  <a:pt x="291" y="220"/>
                  <a:pt x="291" y="220"/>
                  <a:pt x="291" y="220"/>
                </a:cubicBezTo>
                <a:cubicBezTo>
                  <a:pt x="200" y="310"/>
                  <a:pt x="200" y="310"/>
                  <a:pt x="200" y="310"/>
                </a:cubicBezTo>
                <a:cubicBezTo>
                  <a:pt x="199" y="311"/>
                  <a:pt x="198" y="313"/>
                  <a:pt x="198" y="314"/>
                </a:cubicBezTo>
                <a:cubicBezTo>
                  <a:pt x="183" y="360"/>
                  <a:pt x="183" y="360"/>
                  <a:pt x="183" y="360"/>
                </a:cubicBezTo>
                <a:cubicBezTo>
                  <a:pt x="181" y="364"/>
                  <a:pt x="182" y="368"/>
                  <a:pt x="185" y="371"/>
                </a:cubicBezTo>
                <a:cubicBezTo>
                  <a:pt x="187" y="373"/>
                  <a:pt x="190" y="374"/>
                  <a:pt x="193" y="374"/>
                </a:cubicBezTo>
                <a:cubicBezTo>
                  <a:pt x="194" y="374"/>
                  <a:pt x="195" y="374"/>
                  <a:pt x="196" y="373"/>
                </a:cubicBezTo>
                <a:cubicBezTo>
                  <a:pt x="241" y="358"/>
                  <a:pt x="241" y="358"/>
                  <a:pt x="241" y="358"/>
                </a:cubicBezTo>
                <a:cubicBezTo>
                  <a:pt x="243" y="358"/>
                  <a:pt x="244" y="357"/>
                  <a:pt x="246" y="356"/>
                </a:cubicBezTo>
                <a:cubicBezTo>
                  <a:pt x="336" y="265"/>
                  <a:pt x="336" y="265"/>
                  <a:pt x="336" y="265"/>
                </a:cubicBezTo>
                <a:cubicBezTo>
                  <a:pt x="396" y="205"/>
                  <a:pt x="396" y="205"/>
                  <a:pt x="396" y="205"/>
                </a:cubicBezTo>
                <a:cubicBezTo>
                  <a:pt x="398" y="203"/>
                  <a:pt x="400" y="200"/>
                  <a:pt x="400" y="19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252"/>
          <p:cNvGrpSpPr>
            <a:grpSpLocks noChangeAspect="1"/>
          </p:cNvGrpSpPr>
          <p:nvPr/>
        </p:nvGrpSpPr>
        <p:grpSpPr bwMode="auto">
          <a:xfrm>
            <a:off x="1937054" y="2044610"/>
            <a:ext cx="369021" cy="369021"/>
            <a:chOff x="4251" y="799"/>
            <a:chExt cx="340" cy="340"/>
          </a:xfrm>
          <a:solidFill>
            <a:schemeClr val="accent3"/>
          </a:solidFill>
        </p:grpSpPr>
        <p:sp>
          <p:nvSpPr>
            <p:cNvPr id="262" name="Freeform 253"/>
            <p:cNvSpPr>
              <a:spLocks/>
            </p:cNvSpPr>
            <p:nvPr/>
          </p:nvSpPr>
          <p:spPr bwMode="auto">
            <a:xfrm>
              <a:off x="4314" y="950"/>
              <a:ext cx="70" cy="89"/>
            </a:xfrm>
            <a:custGeom>
              <a:avLst/>
              <a:gdLst>
                <a:gd name="T0" fmla="*/ 58 w 105"/>
                <a:gd name="T1" fmla="*/ 91 h 134"/>
                <a:gd name="T2" fmla="*/ 99 w 105"/>
                <a:gd name="T3" fmla="*/ 35 h 134"/>
                <a:gd name="T4" fmla="*/ 10 w 105"/>
                <a:gd name="T5" fmla="*/ 6 h 134"/>
                <a:gd name="T6" fmla="*/ 1 w 105"/>
                <a:gd name="T7" fmla="*/ 18 h 134"/>
                <a:gd name="T8" fmla="*/ 12 w 105"/>
                <a:gd name="T9" fmla="*/ 28 h 134"/>
                <a:gd name="T10" fmla="*/ 79 w 105"/>
                <a:gd name="T11" fmla="*/ 41 h 134"/>
                <a:gd name="T12" fmla="*/ 50 w 105"/>
                <a:gd name="T13" fmla="*/ 71 h 134"/>
                <a:gd name="T14" fmla="*/ 27 w 105"/>
                <a:gd name="T15" fmla="*/ 98 h 134"/>
                <a:gd name="T16" fmla="*/ 48 w 105"/>
                <a:gd name="T17" fmla="*/ 132 h 134"/>
                <a:gd name="T18" fmla="*/ 54 w 105"/>
                <a:gd name="T19" fmla="*/ 134 h 134"/>
                <a:gd name="T20" fmla="*/ 63 w 105"/>
                <a:gd name="T21" fmla="*/ 130 h 134"/>
                <a:gd name="T22" fmla="*/ 60 w 105"/>
                <a:gd name="T23" fmla="*/ 115 h 134"/>
                <a:gd name="T24" fmla="*/ 48 w 105"/>
                <a:gd name="T25" fmla="*/ 99 h 134"/>
                <a:gd name="T26" fmla="*/ 58 w 105"/>
                <a:gd name="T27" fmla="*/ 9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34">
                  <a:moveTo>
                    <a:pt x="58" y="91"/>
                  </a:moveTo>
                  <a:cubicBezTo>
                    <a:pt x="88" y="77"/>
                    <a:pt x="105" y="55"/>
                    <a:pt x="99" y="35"/>
                  </a:cubicBezTo>
                  <a:cubicBezTo>
                    <a:pt x="96" y="22"/>
                    <a:pt x="80" y="0"/>
                    <a:pt x="10" y="6"/>
                  </a:cubicBezTo>
                  <a:cubicBezTo>
                    <a:pt x="5" y="7"/>
                    <a:pt x="0" y="12"/>
                    <a:pt x="1" y="18"/>
                  </a:cubicBezTo>
                  <a:cubicBezTo>
                    <a:pt x="1" y="24"/>
                    <a:pt x="6" y="28"/>
                    <a:pt x="12" y="28"/>
                  </a:cubicBezTo>
                  <a:cubicBezTo>
                    <a:pt x="61" y="23"/>
                    <a:pt x="77" y="34"/>
                    <a:pt x="79" y="41"/>
                  </a:cubicBezTo>
                  <a:cubicBezTo>
                    <a:pt x="81" y="48"/>
                    <a:pt x="70" y="62"/>
                    <a:pt x="50" y="71"/>
                  </a:cubicBezTo>
                  <a:cubicBezTo>
                    <a:pt x="35" y="78"/>
                    <a:pt x="28" y="87"/>
                    <a:pt x="27" y="98"/>
                  </a:cubicBezTo>
                  <a:cubicBezTo>
                    <a:pt x="25" y="116"/>
                    <a:pt x="46" y="131"/>
                    <a:pt x="48" y="132"/>
                  </a:cubicBezTo>
                  <a:cubicBezTo>
                    <a:pt x="50" y="134"/>
                    <a:pt x="52" y="134"/>
                    <a:pt x="54" y="134"/>
                  </a:cubicBezTo>
                  <a:cubicBezTo>
                    <a:pt x="57" y="134"/>
                    <a:pt x="61" y="133"/>
                    <a:pt x="63" y="130"/>
                  </a:cubicBezTo>
                  <a:cubicBezTo>
                    <a:pt x="66" y="125"/>
                    <a:pt x="65" y="118"/>
                    <a:pt x="60" y="115"/>
                  </a:cubicBezTo>
                  <a:cubicBezTo>
                    <a:pt x="56" y="112"/>
                    <a:pt x="48" y="104"/>
                    <a:pt x="48" y="99"/>
                  </a:cubicBezTo>
                  <a:cubicBezTo>
                    <a:pt x="48" y="97"/>
                    <a:pt x="52" y="94"/>
                    <a:pt x="58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54"/>
            <p:cNvSpPr>
              <a:spLocks noEditPoints="1"/>
            </p:cNvSpPr>
            <p:nvPr/>
          </p:nvSpPr>
          <p:spPr bwMode="auto">
            <a:xfrm>
              <a:off x="4371" y="902"/>
              <a:ext cx="146" cy="145"/>
            </a:xfrm>
            <a:custGeom>
              <a:avLst/>
              <a:gdLst>
                <a:gd name="T0" fmla="*/ 215 w 219"/>
                <a:gd name="T1" fmla="*/ 35 h 219"/>
                <a:gd name="T2" fmla="*/ 185 w 219"/>
                <a:gd name="T3" fmla="*/ 4 h 219"/>
                <a:gd name="T4" fmla="*/ 170 w 219"/>
                <a:gd name="T5" fmla="*/ 4 h 219"/>
                <a:gd name="T6" fmla="*/ 110 w 219"/>
                <a:gd name="T7" fmla="*/ 65 h 219"/>
                <a:gd name="T8" fmla="*/ 19 w 219"/>
                <a:gd name="T9" fmla="*/ 155 h 219"/>
                <a:gd name="T10" fmla="*/ 17 w 219"/>
                <a:gd name="T11" fmla="*/ 159 h 219"/>
                <a:gd name="T12" fmla="*/ 2 w 219"/>
                <a:gd name="T13" fmla="*/ 205 h 219"/>
                <a:gd name="T14" fmla="*/ 4 w 219"/>
                <a:gd name="T15" fmla="*/ 216 h 219"/>
                <a:gd name="T16" fmla="*/ 12 w 219"/>
                <a:gd name="T17" fmla="*/ 219 h 219"/>
                <a:gd name="T18" fmla="*/ 15 w 219"/>
                <a:gd name="T19" fmla="*/ 218 h 219"/>
                <a:gd name="T20" fmla="*/ 60 w 219"/>
                <a:gd name="T21" fmla="*/ 203 h 219"/>
                <a:gd name="T22" fmla="*/ 65 w 219"/>
                <a:gd name="T23" fmla="*/ 201 h 219"/>
                <a:gd name="T24" fmla="*/ 155 w 219"/>
                <a:gd name="T25" fmla="*/ 110 h 219"/>
                <a:gd name="T26" fmla="*/ 215 w 219"/>
                <a:gd name="T27" fmla="*/ 50 h 219"/>
                <a:gd name="T28" fmla="*/ 219 w 219"/>
                <a:gd name="T29" fmla="*/ 42 h 219"/>
                <a:gd name="T30" fmla="*/ 215 w 219"/>
                <a:gd name="T31" fmla="*/ 35 h 219"/>
                <a:gd name="T32" fmla="*/ 51 w 219"/>
                <a:gd name="T33" fmla="*/ 184 h 219"/>
                <a:gd name="T34" fmla="*/ 29 w 219"/>
                <a:gd name="T35" fmla="*/ 191 h 219"/>
                <a:gd name="T36" fmla="*/ 36 w 219"/>
                <a:gd name="T37" fmla="*/ 169 h 219"/>
                <a:gd name="T38" fmla="*/ 117 w 219"/>
                <a:gd name="T39" fmla="*/ 87 h 219"/>
                <a:gd name="T40" fmla="*/ 132 w 219"/>
                <a:gd name="T41" fmla="*/ 102 h 219"/>
                <a:gd name="T42" fmla="*/ 51 w 219"/>
                <a:gd name="T43" fmla="*/ 184 h 219"/>
                <a:gd name="T44" fmla="*/ 148 w 219"/>
                <a:gd name="T45" fmla="*/ 87 h 219"/>
                <a:gd name="T46" fmla="*/ 132 w 219"/>
                <a:gd name="T47" fmla="*/ 72 h 219"/>
                <a:gd name="T48" fmla="*/ 178 w 219"/>
                <a:gd name="T49" fmla="*/ 27 h 219"/>
                <a:gd name="T50" fmla="*/ 193 w 219"/>
                <a:gd name="T51" fmla="*/ 42 h 219"/>
                <a:gd name="T52" fmla="*/ 148 w 219"/>
                <a:gd name="T53" fmla="*/ 8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9" h="219">
                  <a:moveTo>
                    <a:pt x="215" y="35"/>
                  </a:moveTo>
                  <a:cubicBezTo>
                    <a:pt x="185" y="4"/>
                    <a:pt x="185" y="4"/>
                    <a:pt x="185" y="4"/>
                  </a:cubicBezTo>
                  <a:cubicBezTo>
                    <a:pt x="181" y="0"/>
                    <a:pt x="174" y="0"/>
                    <a:pt x="170" y="4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9" y="155"/>
                    <a:pt x="19" y="155"/>
                    <a:pt x="19" y="155"/>
                  </a:cubicBezTo>
                  <a:cubicBezTo>
                    <a:pt x="18" y="156"/>
                    <a:pt x="17" y="158"/>
                    <a:pt x="17" y="159"/>
                  </a:cubicBezTo>
                  <a:cubicBezTo>
                    <a:pt x="2" y="205"/>
                    <a:pt x="2" y="205"/>
                    <a:pt x="2" y="205"/>
                  </a:cubicBezTo>
                  <a:cubicBezTo>
                    <a:pt x="0" y="209"/>
                    <a:pt x="1" y="213"/>
                    <a:pt x="4" y="216"/>
                  </a:cubicBezTo>
                  <a:cubicBezTo>
                    <a:pt x="6" y="218"/>
                    <a:pt x="9" y="219"/>
                    <a:pt x="12" y="219"/>
                  </a:cubicBezTo>
                  <a:cubicBezTo>
                    <a:pt x="13" y="219"/>
                    <a:pt x="14" y="219"/>
                    <a:pt x="15" y="218"/>
                  </a:cubicBezTo>
                  <a:cubicBezTo>
                    <a:pt x="60" y="203"/>
                    <a:pt x="60" y="203"/>
                    <a:pt x="60" y="203"/>
                  </a:cubicBezTo>
                  <a:cubicBezTo>
                    <a:pt x="62" y="203"/>
                    <a:pt x="63" y="202"/>
                    <a:pt x="65" y="201"/>
                  </a:cubicBezTo>
                  <a:cubicBezTo>
                    <a:pt x="155" y="110"/>
                    <a:pt x="155" y="110"/>
                    <a:pt x="155" y="110"/>
                  </a:cubicBezTo>
                  <a:cubicBezTo>
                    <a:pt x="215" y="50"/>
                    <a:pt x="215" y="50"/>
                    <a:pt x="215" y="50"/>
                  </a:cubicBezTo>
                  <a:cubicBezTo>
                    <a:pt x="217" y="48"/>
                    <a:pt x="219" y="45"/>
                    <a:pt x="219" y="42"/>
                  </a:cubicBezTo>
                  <a:cubicBezTo>
                    <a:pt x="219" y="39"/>
                    <a:pt x="217" y="37"/>
                    <a:pt x="215" y="35"/>
                  </a:cubicBezTo>
                  <a:close/>
                  <a:moveTo>
                    <a:pt x="51" y="184"/>
                  </a:moveTo>
                  <a:cubicBezTo>
                    <a:pt x="29" y="191"/>
                    <a:pt x="29" y="191"/>
                    <a:pt x="29" y="191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32" y="102"/>
                    <a:pt x="132" y="102"/>
                    <a:pt x="132" y="102"/>
                  </a:cubicBezTo>
                  <a:lnTo>
                    <a:pt x="51" y="184"/>
                  </a:lnTo>
                  <a:close/>
                  <a:moveTo>
                    <a:pt x="148" y="87"/>
                  </a:moveTo>
                  <a:cubicBezTo>
                    <a:pt x="132" y="72"/>
                    <a:pt x="132" y="72"/>
                    <a:pt x="132" y="72"/>
                  </a:cubicBezTo>
                  <a:cubicBezTo>
                    <a:pt x="178" y="27"/>
                    <a:pt x="178" y="27"/>
                    <a:pt x="178" y="27"/>
                  </a:cubicBezTo>
                  <a:cubicBezTo>
                    <a:pt x="193" y="42"/>
                    <a:pt x="193" y="42"/>
                    <a:pt x="193" y="42"/>
                  </a:cubicBezTo>
                  <a:lnTo>
                    <a:pt x="148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255"/>
            <p:cNvSpPr>
              <a:spLocks noEditPoints="1"/>
            </p:cNvSpPr>
            <p:nvPr/>
          </p:nvSpPr>
          <p:spPr bwMode="auto">
            <a:xfrm>
              <a:off x="4251" y="79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5" name="Group 545"/>
          <p:cNvGrpSpPr>
            <a:grpSpLocks noChangeAspect="1"/>
          </p:cNvGrpSpPr>
          <p:nvPr/>
        </p:nvGrpSpPr>
        <p:grpSpPr bwMode="auto">
          <a:xfrm>
            <a:off x="2934864" y="2044610"/>
            <a:ext cx="369021" cy="369021"/>
            <a:chOff x="1885" y="1944"/>
            <a:chExt cx="340" cy="340"/>
          </a:xfrm>
          <a:solidFill>
            <a:schemeClr val="accent6"/>
          </a:solidFill>
        </p:grpSpPr>
        <p:sp>
          <p:nvSpPr>
            <p:cNvPr id="266" name="Freeform 546"/>
            <p:cNvSpPr>
              <a:spLocks noEditPoints="1"/>
            </p:cNvSpPr>
            <p:nvPr/>
          </p:nvSpPr>
          <p:spPr bwMode="auto">
            <a:xfrm>
              <a:off x="1885" y="19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547"/>
            <p:cNvSpPr>
              <a:spLocks/>
            </p:cNvSpPr>
            <p:nvPr/>
          </p:nvSpPr>
          <p:spPr bwMode="auto">
            <a:xfrm>
              <a:off x="1947" y="2007"/>
              <a:ext cx="215" cy="185"/>
            </a:xfrm>
            <a:custGeom>
              <a:avLst/>
              <a:gdLst>
                <a:gd name="T0" fmla="*/ 318 w 323"/>
                <a:gd name="T1" fmla="*/ 259 h 278"/>
                <a:gd name="T2" fmla="*/ 257 w 323"/>
                <a:gd name="T3" fmla="*/ 241 h 278"/>
                <a:gd name="T4" fmla="*/ 229 w 323"/>
                <a:gd name="T5" fmla="*/ 236 h 278"/>
                <a:gd name="T6" fmla="*/ 212 w 323"/>
                <a:gd name="T7" fmla="*/ 223 h 278"/>
                <a:gd name="T8" fmla="*/ 213 w 323"/>
                <a:gd name="T9" fmla="*/ 220 h 278"/>
                <a:gd name="T10" fmla="*/ 246 w 323"/>
                <a:gd name="T11" fmla="*/ 142 h 278"/>
                <a:gd name="T12" fmla="*/ 233 w 323"/>
                <a:gd name="T13" fmla="*/ 33 h 278"/>
                <a:gd name="T14" fmla="*/ 161 w 323"/>
                <a:gd name="T15" fmla="*/ 1 h 278"/>
                <a:gd name="T16" fmla="*/ 161 w 323"/>
                <a:gd name="T17" fmla="*/ 1 h 278"/>
                <a:gd name="T18" fmla="*/ 90 w 323"/>
                <a:gd name="T19" fmla="*/ 33 h 278"/>
                <a:gd name="T20" fmla="*/ 77 w 323"/>
                <a:gd name="T21" fmla="*/ 142 h 278"/>
                <a:gd name="T22" fmla="*/ 110 w 323"/>
                <a:gd name="T23" fmla="*/ 220 h 278"/>
                <a:gd name="T24" fmla="*/ 111 w 323"/>
                <a:gd name="T25" fmla="*/ 223 h 278"/>
                <a:gd name="T26" fmla="*/ 94 w 323"/>
                <a:gd name="T27" fmla="*/ 236 h 278"/>
                <a:gd name="T28" fmla="*/ 66 w 323"/>
                <a:gd name="T29" fmla="*/ 241 h 278"/>
                <a:gd name="T30" fmla="*/ 5 w 323"/>
                <a:gd name="T31" fmla="*/ 259 h 278"/>
                <a:gd name="T32" fmla="*/ 4 w 323"/>
                <a:gd name="T33" fmla="*/ 274 h 278"/>
                <a:gd name="T34" fmla="*/ 12 w 323"/>
                <a:gd name="T35" fmla="*/ 278 h 278"/>
                <a:gd name="T36" fmla="*/ 19 w 323"/>
                <a:gd name="T37" fmla="*/ 275 h 278"/>
                <a:gd name="T38" fmla="*/ 69 w 323"/>
                <a:gd name="T39" fmla="*/ 263 h 278"/>
                <a:gd name="T40" fmla="*/ 101 w 323"/>
                <a:gd name="T41" fmla="*/ 256 h 278"/>
                <a:gd name="T42" fmla="*/ 131 w 323"/>
                <a:gd name="T43" fmla="*/ 229 h 278"/>
                <a:gd name="T44" fmla="*/ 128 w 323"/>
                <a:gd name="T45" fmla="*/ 208 h 278"/>
                <a:gd name="T46" fmla="*/ 97 w 323"/>
                <a:gd name="T47" fmla="*/ 137 h 278"/>
                <a:gd name="T48" fmla="*/ 106 w 323"/>
                <a:gd name="T49" fmla="*/ 46 h 278"/>
                <a:gd name="T50" fmla="*/ 161 w 323"/>
                <a:gd name="T51" fmla="*/ 22 h 278"/>
                <a:gd name="T52" fmla="*/ 162 w 323"/>
                <a:gd name="T53" fmla="*/ 22 h 278"/>
                <a:gd name="T54" fmla="*/ 162 w 323"/>
                <a:gd name="T55" fmla="*/ 22 h 278"/>
                <a:gd name="T56" fmla="*/ 162 w 323"/>
                <a:gd name="T57" fmla="*/ 22 h 278"/>
                <a:gd name="T58" fmla="*/ 217 w 323"/>
                <a:gd name="T59" fmla="*/ 46 h 278"/>
                <a:gd name="T60" fmla="*/ 226 w 323"/>
                <a:gd name="T61" fmla="*/ 137 h 278"/>
                <a:gd name="T62" fmla="*/ 195 w 323"/>
                <a:gd name="T63" fmla="*/ 208 h 278"/>
                <a:gd name="T64" fmla="*/ 192 w 323"/>
                <a:gd name="T65" fmla="*/ 229 h 278"/>
                <a:gd name="T66" fmla="*/ 222 w 323"/>
                <a:gd name="T67" fmla="*/ 256 h 278"/>
                <a:gd name="T68" fmla="*/ 254 w 323"/>
                <a:gd name="T69" fmla="*/ 263 h 278"/>
                <a:gd name="T70" fmla="*/ 304 w 323"/>
                <a:gd name="T71" fmla="*/ 275 h 278"/>
                <a:gd name="T72" fmla="*/ 311 w 323"/>
                <a:gd name="T73" fmla="*/ 278 h 278"/>
                <a:gd name="T74" fmla="*/ 319 w 323"/>
                <a:gd name="T75" fmla="*/ 274 h 278"/>
                <a:gd name="T76" fmla="*/ 318 w 323"/>
                <a:gd name="T77" fmla="*/ 2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" h="278">
                  <a:moveTo>
                    <a:pt x="318" y="259"/>
                  </a:moveTo>
                  <a:cubicBezTo>
                    <a:pt x="306" y="249"/>
                    <a:pt x="281" y="245"/>
                    <a:pt x="257" y="241"/>
                  </a:cubicBezTo>
                  <a:cubicBezTo>
                    <a:pt x="246" y="240"/>
                    <a:pt x="235" y="238"/>
                    <a:pt x="229" y="236"/>
                  </a:cubicBezTo>
                  <a:cubicBezTo>
                    <a:pt x="220" y="232"/>
                    <a:pt x="214" y="226"/>
                    <a:pt x="212" y="223"/>
                  </a:cubicBezTo>
                  <a:cubicBezTo>
                    <a:pt x="212" y="221"/>
                    <a:pt x="212" y="221"/>
                    <a:pt x="213" y="220"/>
                  </a:cubicBezTo>
                  <a:cubicBezTo>
                    <a:pt x="226" y="202"/>
                    <a:pt x="240" y="170"/>
                    <a:pt x="246" y="142"/>
                  </a:cubicBezTo>
                  <a:cubicBezTo>
                    <a:pt x="258" y="95"/>
                    <a:pt x="253" y="58"/>
                    <a:pt x="233" y="33"/>
                  </a:cubicBezTo>
                  <a:cubicBezTo>
                    <a:pt x="207" y="0"/>
                    <a:pt x="163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58" y="1"/>
                    <a:pt x="116" y="1"/>
                    <a:pt x="90" y="33"/>
                  </a:cubicBezTo>
                  <a:cubicBezTo>
                    <a:pt x="70" y="58"/>
                    <a:pt x="65" y="95"/>
                    <a:pt x="77" y="142"/>
                  </a:cubicBezTo>
                  <a:cubicBezTo>
                    <a:pt x="83" y="170"/>
                    <a:pt x="97" y="202"/>
                    <a:pt x="110" y="220"/>
                  </a:cubicBezTo>
                  <a:cubicBezTo>
                    <a:pt x="111" y="221"/>
                    <a:pt x="111" y="221"/>
                    <a:pt x="111" y="223"/>
                  </a:cubicBezTo>
                  <a:cubicBezTo>
                    <a:pt x="110" y="226"/>
                    <a:pt x="103" y="232"/>
                    <a:pt x="94" y="236"/>
                  </a:cubicBezTo>
                  <a:cubicBezTo>
                    <a:pt x="88" y="238"/>
                    <a:pt x="77" y="240"/>
                    <a:pt x="66" y="241"/>
                  </a:cubicBezTo>
                  <a:cubicBezTo>
                    <a:pt x="42" y="245"/>
                    <a:pt x="17" y="249"/>
                    <a:pt x="5" y="259"/>
                  </a:cubicBezTo>
                  <a:cubicBezTo>
                    <a:pt x="1" y="263"/>
                    <a:pt x="0" y="270"/>
                    <a:pt x="4" y="274"/>
                  </a:cubicBezTo>
                  <a:cubicBezTo>
                    <a:pt x="6" y="277"/>
                    <a:pt x="9" y="278"/>
                    <a:pt x="12" y="278"/>
                  </a:cubicBezTo>
                  <a:cubicBezTo>
                    <a:pt x="15" y="278"/>
                    <a:pt x="17" y="277"/>
                    <a:pt x="19" y="275"/>
                  </a:cubicBezTo>
                  <a:cubicBezTo>
                    <a:pt x="27" y="269"/>
                    <a:pt x="51" y="265"/>
                    <a:pt x="69" y="263"/>
                  </a:cubicBezTo>
                  <a:cubicBezTo>
                    <a:pt x="82" y="261"/>
                    <a:pt x="94" y="259"/>
                    <a:pt x="101" y="256"/>
                  </a:cubicBezTo>
                  <a:cubicBezTo>
                    <a:pt x="117" y="250"/>
                    <a:pt x="128" y="240"/>
                    <a:pt x="131" y="229"/>
                  </a:cubicBezTo>
                  <a:cubicBezTo>
                    <a:pt x="133" y="221"/>
                    <a:pt x="132" y="214"/>
                    <a:pt x="128" y="208"/>
                  </a:cubicBezTo>
                  <a:cubicBezTo>
                    <a:pt x="116" y="192"/>
                    <a:pt x="103" y="162"/>
                    <a:pt x="97" y="137"/>
                  </a:cubicBezTo>
                  <a:cubicBezTo>
                    <a:pt x="88" y="96"/>
                    <a:pt x="91" y="66"/>
                    <a:pt x="106" y="46"/>
                  </a:cubicBezTo>
                  <a:cubicBezTo>
                    <a:pt x="126" y="22"/>
                    <a:pt x="160" y="22"/>
                    <a:pt x="161" y="22"/>
                  </a:cubicBezTo>
                  <a:cubicBezTo>
                    <a:pt x="161" y="22"/>
                    <a:pt x="161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97" y="22"/>
                    <a:pt x="217" y="46"/>
                  </a:cubicBezTo>
                  <a:cubicBezTo>
                    <a:pt x="232" y="66"/>
                    <a:pt x="235" y="96"/>
                    <a:pt x="226" y="137"/>
                  </a:cubicBezTo>
                  <a:cubicBezTo>
                    <a:pt x="220" y="162"/>
                    <a:pt x="207" y="192"/>
                    <a:pt x="195" y="208"/>
                  </a:cubicBezTo>
                  <a:cubicBezTo>
                    <a:pt x="191" y="214"/>
                    <a:pt x="190" y="221"/>
                    <a:pt x="192" y="229"/>
                  </a:cubicBezTo>
                  <a:cubicBezTo>
                    <a:pt x="195" y="240"/>
                    <a:pt x="206" y="250"/>
                    <a:pt x="222" y="256"/>
                  </a:cubicBezTo>
                  <a:cubicBezTo>
                    <a:pt x="229" y="259"/>
                    <a:pt x="241" y="261"/>
                    <a:pt x="254" y="263"/>
                  </a:cubicBezTo>
                  <a:cubicBezTo>
                    <a:pt x="272" y="265"/>
                    <a:pt x="296" y="269"/>
                    <a:pt x="304" y="275"/>
                  </a:cubicBezTo>
                  <a:cubicBezTo>
                    <a:pt x="306" y="277"/>
                    <a:pt x="308" y="278"/>
                    <a:pt x="311" y="278"/>
                  </a:cubicBezTo>
                  <a:cubicBezTo>
                    <a:pt x="314" y="278"/>
                    <a:pt x="317" y="277"/>
                    <a:pt x="319" y="274"/>
                  </a:cubicBezTo>
                  <a:cubicBezTo>
                    <a:pt x="323" y="270"/>
                    <a:pt x="322" y="263"/>
                    <a:pt x="318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8" name="Group 550"/>
          <p:cNvGrpSpPr>
            <a:grpSpLocks noChangeAspect="1"/>
          </p:cNvGrpSpPr>
          <p:nvPr/>
        </p:nvGrpSpPr>
        <p:grpSpPr bwMode="auto">
          <a:xfrm>
            <a:off x="2435959" y="2044610"/>
            <a:ext cx="369021" cy="369021"/>
            <a:chOff x="1520" y="1938"/>
            <a:chExt cx="340" cy="340"/>
          </a:xfrm>
          <a:solidFill>
            <a:schemeClr val="accent6"/>
          </a:solidFill>
        </p:grpSpPr>
        <p:sp>
          <p:nvSpPr>
            <p:cNvPr id="269" name="Freeform 551"/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552"/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71" name="Group 555"/>
          <p:cNvGrpSpPr>
            <a:grpSpLocks noChangeAspect="1"/>
          </p:cNvGrpSpPr>
          <p:nvPr/>
        </p:nvGrpSpPr>
        <p:grpSpPr bwMode="auto">
          <a:xfrm>
            <a:off x="3933759" y="2044610"/>
            <a:ext cx="370106" cy="369021"/>
            <a:chOff x="1130" y="1948"/>
            <a:chExt cx="341" cy="340"/>
          </a:xfrm>
          <a:solidFill>
            <a:schemeClr val="accent6"/>
          </a:solidFill>
        </p:grpSpPr>
        <p:sp>
          <p:nvSpPr>
            <p:cNvPr id="272" name="Freeform 556"/>
            <p:cNvSpPr>
              <a:spLocks noEditPoints="1"/>
            </p:cNvSpPr>
            <p:nvPr/>
          </p:nvSpPr>
          <p:spPr bwMode="auto">
            <a:xfrm>
              <a:off x="1130" y="194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557"/>
            <p:cNvSpPr>
              <a:spLocks/>
            </p:cNvSpPr>
            <p:nvPr/>
          </p:nvSpPr>
          <p:spPr bwMode="auto">
            <a:xfrm>
              <a:off x="1322" y="2068"/>
              <a:ext cx="85" cy="14"/>
            </a:xfrm>
            <a:custGeom>
              <a:avLst/>
              <a:gdLst>
                <a:gd name="T0" fmla="*/ 10 w 128"/>
                <a:gd name="T1" fmla="*/ 21 h 21"/>
                <a:gd name="T2" fmla="*/ 117 w 128"/>
                <a:gd name="T3" fmla="*/ 21 h 21"/>
                <a:gd name="T4" fmla="*/ 128 w 128"/>
                <a:gd name="T5" fmla="*/ 11 h 21"/>
                <a:gd name="T6" fmla="*/ 117 w 128"/>
                <a:gd name="T7" fmla="*/ 0 h 21"/>
                <a:gd name="T8" fmla="*/ 10 w 128"/>
                <a:gd name="T9" fmla="*/ 0 h 21"/>
                <a:gd name="T10" fmla="*/ 0 w 128"/>
                <a:gd name="T11" fmla="*/ 11 h 21"/>
                <a:gd name="T12" fmla="*/ 10 w 12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0" y="21"/>
                  </a:move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558"/>
            <p:cNvSpPr>
              <a:spLocks/>
            </p:cNvSpPr>
            <p:nvPr/>
          </p:nvSpPr>
          <p:spPr bwMode="auto">
            <a:xfrm>
              <a:off x="1322" y="2097"/>
              <a:ext cx="85" cy="14"/>
            </a:xfrm>
            <a:custGeom>
              <a:avLst/>
              <a:gdLst>
                <a:gd name="T0" fmla="*/ 117 w 128"/>
                <a:gd name="T1" fmla="*/ 0 h 21"/>
                <a:gd name="T2" fmla="*/ 10 w 128"/>
                <a:gd name="T3" fmla="*/ 0 h 21"/>
                <a:gd name="T4" fmla="*/ 0 w 128"/>
                <a:gd name="T5" fmla="*/ 10 h 21"/>
                <a:gd name="T6" fmla="*/ 10 w 128"/>
                <a:gd name="T7" fmla="*/ 21 h 21"/>
                <a:gd name="T8" fmla="*/ 117 w 128"/>
                <a:gd name="T9" fmla="*/ 21 h 21"/>
                <a:gd name="T10" fmla="*/ 128 w 128"/>
                <a:gd name="T11" fmla="*/ 10 h 21"/>
                <a:gd name="T12" fmla="*/ 117 w 128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6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559"/>
            <p:cNvSpPr>
              <a:spLocks/>
            </p:cNvSpPr>
            <p:nvPr/>
          </p:nvSpPr>
          <p:spPr bwMode="auto">
            <a:xfrm>
              <a:off x="1322" y="2125"/>
              <a:ext cx="85" cy="14"/>
            </a:xfrm>
            <a:custGeom>
              <a:avLst/>
              <a:gdLst>
                <a:gd name="T0" fmla="*/ 117 w 128"/>
                <a:gd name="T1" fmla="*/ 0 h 22"/>
                <a:gd name="T2" fmla="*/ 10 w 128"/>
                <a:gd name="T3" fmla="*/ 0 h 22"/>
                <a:gd name="T4" fmla="*/ 0 w 128"/>
                <a:gd name="T5" fmla="*/ 11 h 22"/>
                <a:gd name="T6" fmla="*/ 10 w 128"/>
                <a:gd name="T7" fmla="*/ 22 h 22"/>
                <a:gd name="T8" fmla="*/ 117 w 128"/>
                <a:gd name="T9" fmla="*/ 22 h 22"/>
                <a:gd name="T10" fmla="*/ 128 w 128"/>
                <a:gd name="T11" fmla="*/ 11 h 22"/>
                <a:gd name="T12" fmla="*/ 117 w 12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2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23" y="22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560"/>
            <p:cNvSpPr>
              <a:spLocks/>
            </p:cNvSpPr>
            <p:nvPr/>
          </p:nvSpPr>
          <p:spPr bwMode="auto">
            <a:xfrm>
              <a:off x="1193" y="2051"/>
              <a:ext cx="143" cy="139"/>
            </a:xfrm>
            <a:custGeom>
              <a:avLst/>
              <a:gdLst>
                <a:gd name="T0" fmla="*/ 209 w 216"/>
                <a:gd name="T1" fmla="*/ 187 h 209"/>
                <a:gd name="T2" fmla="*/ 173 w 216"/>
                <a:gd name="T3" fmla="*/ 179 h 209"/>
                <a:gd name="T4" fmla="*/ 156 w 216"/>
                <a:gd name="T5" fmla="*/ 176 h 209"/>
                <a:gd name="T6" fmla="*/ 145 w 216"/>
                <a:gd name="T7" fmla="*/ 147 h 209"/>
                <a:gd name="T8" fmla="*/ 167 w 216"/>
                <a:gd name="T9" fmla="*/ 96 h 209"/>
                <a:gd name="T10" fmla="*/ 157 w 216"/>
                <a:gd name="T11" fmla="*/ 22 h 209"/>
                <a:gd name="T12" fmla="*/ 109 w 216"/>
                <a:gd name="T13" fmla="*/ 0 h 209"/>
                <a:gd name="T14" fmla="*/ 59 w 216"/>
                <a:gd name="T15" fmla="*/ 22 h 209"/>
                <a:gd name="T16" fmla="*/ 50 w 216"/>
                <a:gd name="T17" fmla="*/ 96 h 209"/>
                <a:gd name="T18" fmla="*/ 72 w 216"/>
                <a:gd name="T19" fmla="*/ 147 h 209"/>
                <a:gd name="T20" fmla="*/ 61 w 216"/>
                <a:gd name="T21" fmla="*/ 176 h 209"/>
                <a:gd name="T22" fmla="*/ 43 w 216"/>
                <a:gd name="T23" fmla="*/ 179 h 209"/>
                <a:gd name="T24" fmla="*/ 7 w 216"/>
                <a:gd name="T25" fmla="*/ 187 h 209"/>
                <a:gd name="T26" fmla="*/ 3 w 216"/>
                <a:gd name="T27" fmla="*/ 202 h 209"/>
                <a:gd name="T28" fmla="*/ 17 w 216"/>
                <a:gd name="T29" fmla="*/ 206 h 209"/>
                <a:gd name="T30" fmla="*/ 45 w 216"/>
                <a:gd name="T31" fmla="*/ 201 h 209"/>
                <a:gd name="T32" fmla="*/ 70 w 216"/>
                <a:gd name="T33" fmla="*/ 196 h 209"/>
                <a:gd name="T34" fmla="*/ 91 w 216"/>
                <a:gd name="T35" fmla="*/ 163 h 209"/>
                <a:gd name="T36" fmla="*/ 90 w 216"/>
                <a:gd name="T37" fmla="*/ 135 h 209"/>
                <a:gd name="T38" fmla="*/ 71 w 216"/>
                <a:gd name="T39" fmla="*/ 91 h 209"/>
                <a:gd name="T40" fmla="*/ 76 w 216"/>
                <a:gd name="T41" fmla="*/ 36 h 209"/>
                <a:gd name="T42" fmla="*/ 109 w 216"/>
                <a:gd name="T43" fmla="*/ 22 h 209"/>
                <a:gd name="T44" fmla="*/ 141 w 216"/>
                <a:gd name="T45" fmla="*/ 36 h 209"/>
                <a:gd name="T46" fmla="*/ 146 w 216"/>
                <a:gd name="T47" fmla="*/ 91 h 209"/>
                <a:gd name="T48" fmla="*/ 127 w 216"/>
                <a:gd name="T49" fmla="*/ 135 h 209"/>
                <a:gd name="T50" fmla="*/ 125 w 216"/>
                <a:gd name="T51" fmla="*/ 163 h 209"/>
                <a:gd name="T52" fmla="*/ 146 w 216"/>
                <a:gd name="T53" fmla="*/ 196 h 209"/>
                <a:gd name="T54" fmla="*/ 171 w 216"/>
                <a:gd name="T55" fmla="*/ 201 h 209"/>
                <a:gd name="T56" fmla="*/ 199 w 216"/>
                <a:gd name="T57" fmla="*/ 206 h 209"/>
                <a:gd name="T58" fmla="*/ 204 w 216"/>
                <a:gd name="T59" fmla="*/ 207 h 209"/>
                <a:gd name="T60" fmla="*/ 214 w 216"/>
                <a:gd name="T61" fmla="*/ 202 h 209"/>
                <a:gd name="T62" fmla="*/ 209 w 216"/>
                <a:gd name="T63" fmla="*/ 18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209">
                  <a:moveTo>
                    <a:pt x="209" y="187"/>
                  </a:moveTo>
                  <a:cubicBezTo>
                    <a:pt x="199" y="182"/>
                    <a:pt x="185" y="180"/>
                    <a:pt x="173" y="179"/>
                  </a:cubicBezTo>
                  <a:cubicBezTo>
                    <a:pt x="166" y="179"/>
                    <a:pt x="158" y="178"/>
                    <a:pt x="156" y="176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09" y="0"/>
                    <a:pt x="109" y="0"/>
                  </a:cubicBezTo>
                  <a:cubicBezTo>
                    <a:pt x="107" y="0"/>
                    <a:pt x="78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6"/>
                  </a:cubicBezTo>
                  <a:cubicBezTo>
                    <a:pt x="58" y="178"/>
                    <a:pt x="50" y="179"/>
                    <a:pt x="43" y="179"/>
                  </a:cubicBezTo>
                  <a:cubicBezTo>
                    <a:pt x="31" y="180"/>
                    <a:pt x="18" y="182"/>
                    <a:pt x="7" y="187"/>
                  </a:cubicBezTo>
                  <a:cubicBezTo>
                    <a:pt x="2" y="190"/>
                    <a:pt x="0" y="196"/>
                    <a:pt x="3" y="202"/>
                  </a:cubicBezTo>
                  <a:cubicBezTo>
                    <a:pt x="6" y="207"/>
                    <a:pt x="12" y="209"/>
                    <a:pt x="17" y="206"/>
                  </a:cubicBezTo>
                  <a:cubicBezTo>
                    <a:pt x="24" y="202"/>
                    <a:pt x="35" y="201"/>
                    <a:pt x="45" y="201"/>
                  </a:cubicBezTo>
                  <a:cubicBezTo>
                    <a:pt x="55" y="200"/>
                    <a:pt x="64" y="199"/>
                    <a:pt x="70" y="196"/>
                  </a:cubicBezTo>
                  <a:cubicBezTo>
                    <a:pt x="84" y="189"/>
                    <a:pt x="90" y="169"/>
                    <a:pt x="91" y="163"/>
                  </a:cubicBezTo>
                  <a:cubicBezTo>
                    <a:pt x="93" y="154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1"/>
                    <a:pt x="109" y="22"/>
                  </a:cubicBezTo>
                  <a:cubicBezTo>
                    <a:pt x="109" y="21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4"/>
                    <a:pt x="125" y="163"/>
                  </a:cubicBezTo>
                  <a:cubicBezTo>
                    <a:pt x="127" y="169"/>
                    <a:pt x="133" y="189"/>
                    <a:pt x="146" y="196"/>
                  </a:cubicBezTo>
                  <a:cubicBezTo>
                    <a:pt x="153" y="199"/>
                    <a:pt x="161" y="200"/>
                    <a:pt x="171" y="201"/>
                  </a:cubicBezTo>
                  <a:cubicBezTo>
                    <a:pt x="181" y="201"/>
                    <a:pt x="192" y="202"/>
                    <a:pt x="199" y="206"/>
                  </a:cubicBezTo>
                  <a:cubicBezTo>
                    <a:pt x="201" y="207"/>
                    <a:pt x="202" y="207"/>
                    <a:pt x="204" y="207"/>
                  </a:cubicBezTo>
                  <a:cubicBezTo>
                    <a:pt x="208" y="207"/>
                    <a:pt x="212" y="205"/>
                    <a:pt x="214" y="202"/>
                  </a:cubicBezTo>
                  <a:cubicBezTo>
                    <a:pt x="216" y="196"/>
                    <a:pt x="214" y="190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564"/>
          <p:cNvSpPr>
            <a:spLocks noChangeAspect="1" noEditPoints="1"/>
          </p:cNvSpPr>
          <p:nvPr/>
        </p:nvSpPr>
        <p:spPr bwMode="auto">
          <a:xfrm>
            <a:off x="3433769" y="2044610"/>
            <a:ext cx="370106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08 w 512"/>
              <a:gd name="T11" fmla="*/ 357 h 512"/>
              <a:gd name="T12" fmla="*/ 298 w 512"/>
              <a:gd name="T13" fmla="*/ 362 h 512"/>
              <a:gd name="T14" fmla="*/ 293 w 512"/>
              <a:gd name="T15" fmla="*/ 361 h 512"/>
              <a:gd name="T16" fmla="*/ 265 w 512"/>
              <a:gd name="T17" fmla="*/ 356 h 512"/>
              <a:gd name="T18" fmla="*/ 240 w 512"/>
              <a:gd name="T19" fmla="*/ 351 h 512"/>
              <a:gd name="T20" fmla="*/ 219 w 512"/>
              <a:gd name="T21" fmla="*/ 318 h 512"/>
              <a:gd name="T22" fmla="*/ 221 w 512"/>
              <a:gd name="T23" fmla="*/ 290 h 512"/>
              <a:gd name="T24" fmla="*/ 240 w 512"/>
              <a:gd name="T25" fmla="*/ 246 h 512"/>
              <a:gd name="T26" fmla="*/ 235 w 512"/>
              <a:gd name="T27" fmla="*/ 191 h 512"/>
              <a:gd name="T28" fmla="*/ 203 w 512"/>
              <a:gd name="T29" fmla="*/ 177 h 512"/>
              <a:gd name="T30" fmla="*/ 170 w 512"/>
              <a:gd name="T31" fmla="*/ 191 h 512"/>
              <a:gd name="T32" fmla="*/ 165 w 512"/>
              <a:gd name="T33" fmla="*/ 246 h 512"/>
              <a:gd name="T34" fmla="*/ 184 w 512"/>
              <a:gd name="T35" fmla="*/ 290 h 512"/>
              <a:gd name="T36" fmla="*/ 185 w 512"/>
              <a:gd name="T37" fmla="*/ 318 h 512"/>
              <a:gd name="T38" fmla="*/ 164 w 512"/>
              <a:gd name="T39" fmla="*/ 351 h 512"/>
              <a:gd name="T40" fmla="*/ 139 w 512"/>
              <a:gd name="T41" fmla="*/ 356 h 512"/>
              <a:gd name="T42" fmla="*/ 111 w 512"/>
              <a:gd name="T43" fmla="*/ 361 h 512"/>
              <a:gd name="T44" fmla="*/ 97 w 512"/>
              <a:gd name="T45" fmla="*/ 357 h 512"/>
              <a:gd name="T46" fmla="*/ 101 w 512"/>
              <a:gd name="T47" fmla="*/ 342 h 512"/>
              <a:gd name="T48" fmla="*/ 137 w 512"/>
              <a:gd name="T49" fmla="*/ 334 h 512"/>
              <a:gd name="T50" fmla="*/ 155 w 512"/>
              <a:gd name="T51" fmla="*/ 331 h 512"/>
              <a:gd name="T52" fmla="*/ 166 w 512"/>
              <a:gd name="T53" fmla="*/ 302 h 512"/>
              <a:gd name="T54" fmla="*/ 144 w 512"/>
              <a:gd name="T55" fmla="*/ 251 h 512"/>
              <a:gd name="T56" fmla="*/ 153 w 512"/>
              <a:gd name="T57" fmla="*/ 177 h 512"/>
              <a:gd name="T58" fmla="*/ 203 w 512"/>
              <a:gd name="T59" fmla="*/ 155 h 512"/>
              <a:gd name="T60" fmla="*/ 251 w 512"/>
              <a:gd name="T61" fmla="*/ 177 h 512"/>
              <a:gd name="T62" fmla="*/ 261 w 512"/>
              <a:gd name="T63" fmla="*/ 251 h 512"/>
              <a:gd name="T64" fmla="*/ 239 w 512"/>
              <a:gd name="T65" fmla="*/ 302 h 512"/>
              <a:gd name="T66" fmla="*/ 250 w 512"/>
              <a:gd name="T67" fmla="*/ 331 h 512"/>
              <a:gd name="T68" fmla="*/ 267 w 512"/>
              <a:gd name="T69" fmla="*/ 334 h 512"/>
              <a:gd name="T70" fmla="*/ 303 w 512"/>
              <a:gd name="T71" fmla="*/ 342 h 512"/>
              <a:gd name="T72" fmla="*/ 308 w 512"/>
              <a:gd name="T73" fmla="*/ 357 h 512"/>
              <a:gd name="T74" fmla="*/ 405 w 512"/>
              <a:gd name="T75" fmla="*/ 288 h 512"/>
              <a:gd name="T76" fmla="*/ 298 w 512"/>
              <a:gd name="T77" fmla="*/ 288 h 512"/>
              <a:gd name="T78" fmla="*/ 288 w 512"/>
              <a:gd name="T79" fmla="*/ 277 h 512"/>
              <a:gd name="T80" fmla="*/ 298 w 512"/>
              <a:gd name="T81" fmla="*/ 266 h 512"/>
              <a:gd name="T82" fmla="*/ 405 w 512"/>
              <a:gd name="T83" fmla="*/ 266 h 512"/>
              <a:gd name="T84" fmla="*/ 416 w 512"/>
              <a:gd name="T85" fmla="*/ 277 h 512"/>
              <a:gd name="T86" fmla="*/ 405 w 512"/>
              <a:gd name="T87" fmla="*/ 288 h 512"/>
              <a:gd name="T88" fmla="*/ 405 w 512"/>
              <a:gd name="T89" fmla="*/ 245 h 512"/>
              <a:gd name="T90" fmla="*/ 298 w 512"/>
              <a:gd name="T91" fmla="*/ 245 h 512"/>
              <a:gd name="T92" fmla="*/ 288 w 512"/>
              <a:gd name="T93" fmla="*/ 234 h 512"/>
              <a:gd name="T94" fmla="*/ 298 w 512"/>
              <a:gd name="T95" fmla="*/ 224 h 512"/>
              <a:gd name="T96" fmla="*/ 405 w 512"/>
              <a:gd name="T97" fmla="*/ 224 h 512"/>
              <a:gd name="T98" fmla="*/ 416 w 512"/>
              <a:gd name="T99" fmla="*/ 234 h 512"/>
              <a:gd name="T100" fmla="*/ 405 w 512"/>
              <a:gd name="T101" fmla="*/ 245 h 512"/>
              <a:gd name="T102" fmla="*/ 405 w 512"/>
              <a:gd name="T103" fmla="*/ 202 h 512"/>
              <a:gd name="T104" fmla="*/ 298 w 512"/>
              <a:gd name="T105" fmla="*/ 202 h 512"/>
              <a:gd name="T106" fmla="*/ 288 w 512"/>
              <a:gd name="T107" fmla="*/ 192 h 512"/>
              <a:gd name="T108" fmla="*/ 298 w 512"/>
              <a:gd name="T109" fmla="*/ 181 h 512"/>
              <a:gd name="T110" fmla="*/ 405 w 512"/>
              <a:gd name="T111" fmla="*/ 181 h 512"/>
              <a:gd name="T112" fmla="*/ 416 w 512"/>
              <a:gd name="T113" fmla="*/ 192 h 512"/>
              <a:gd name="T114" fmla="*/ 405 w 512"/>
              <a:gd name="T11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8" y="357"/>
                </a:moveTo>
                <a:cubicBezTo>
                  <a:pt x="306" y="360"/>
                  <a:pt x="302" y="362"/>
                  <a:pt x="298" y="362"/>
                </a:cubicBezTo>
                <a:cubicBezTo>
                  <a:pt x="296" y="362"/>
                  <a:pt x="295" y="362"/>
                  <a:pt x="293" y="361"/>
                </a:cubicBezTo>
                <a:cubicBezTo>
                  <a:pt x="286" y="357"/>
                  <a:pt x="275" y="356"/>
                  <a:pt x="265" y="356"/>
                </a:cubicBezTo>
                <a:cubicBezTo>
                  <a:pt x="255" y="355"/>
                  <a:pt x="247" y="354"/>
                  <a:pt x="240" y="351"/>
                </a:cubicBezTo>
                <a:cubicBezTo>
                  <a:pt x="227" y="344"/>
                  <a:pt x="221" y="324"/>
                  <a:pt x="219" y="318"/>
                </a:cubicBezTo>
                <a:cubicBezTo>
                  <a:pt x="217" y="309"/>
                  <a:pt x="216" y="297"/>
                  <a:pt x="221" y="290"/>
                </a:cubicBezTo>
                <a:cubicBezTo>
                  <a:pt x="228" y="280"/>
                  <a:pt x="236" y="261"/>
                  <a:pt x="240" y="246"/>
                </a:cubicBezTo>
                <a:cubicBezTo>
                  <a:pt x="246" y="221"/>
                  <a:pt x="244" y="202"/>
                  <a:pt x="235" y="191"/>
                </a:cubicBezTo>
                <a:cubicBezTo>
                  <a:pt x="223" y="176"/>
                  <a:pt x="203" y="176"/>
                  <a:pt x="203" y="177"/>
                </a:cubicBezTo>
                <a:cubicBezTo>
                  <a:pt x="202" y="176"/>
                  <a:pt x="181" y="176"/>
                  <a:pt x="170" y="191"/>
                </a:cubicBezTo>
                <a:cubicBezTo>
                  <a:pt x="160" y="202"/>
                  <a:pt x="159" y="221"/>
                  <a:pt x="165" y="246"/>
                </a:cubicBezTo>
                <a:cubicBezTo>
                  <a:pt x="168" y="261"/>
                  <a:pt x="176" y="280"/>
                  <a:pt x="184" y="290"/>
                </a:cubicBezTo>
                <a:cubicBezTo>
                  <a:pt x="189" y="297"/>
                  <a:pt x="187" y="309"/>
                  <a:pt x="185" y="318"/>
                </a:cubicBezTo>
                <a:cubicBezTo>
                  <a:pt x="184" y="324"/>
                  <a:pt x="178" y="344"/>
                  <a:pt x="164" y="351"/>
                </a:cubicBezTo>
                <a:cubicBezTo>
                  <a:pt x="158" y="354"/>
                  <a:pt x="149" y="355"/>
                  <a:pt x="139" y="356"/>
                </a:cubicBezTo>
                <a:cubicBezTo>
                  <a:pt x="129" y="356"/>
                  <a:pt x="118" y="357"/>
                  <a:pt x="111" y="361"/>
                </a:cubicBezTo>
                <a:cubicBezTo>
                  <a:pt x="106" y="364"/>
                  <a:pt x="100" y="362"/>
                  <a:pt x="97" y="357"/>
                </a:cubicBezTo>
                <a:cubicBezTo>
                  <a:pt x="94" y="351"/>
                  <a:pt x="96" y="345"/>
                  <a:pt x="101" y="342"/>
                </a:cubicBezTo>
                <a:cubicBezTo>
                  <a:pt x="112" y="337"/>
                  <a:pt x="125" y="335"/>
                  <a:pt x="137" y="334"/>
                </a:cubicBezTo>
                <a:cubicBezTo>
                  <a:pt x="144" y="334"/>
                  <a:pt x="152" y="333"/>
                  <a:pt x="155" y="331"/>
                </a:cubicBezTo>
                <a:cubicBezTo>
                  <a:pt x="161" y="328"/>
                  <a:pt x="167" y="308"/>
                  <a:pt x="166" y="302"/>
                </a:cubicBezTo>
                <a:cubicBezTo>
                  <a:pt x="157" y="289"/>
                  <a:pt x="148" y="269"/>
                  <a:pt x="144" y="251"/>
                </a:cubicBezTo>
                <a:cubicBezTo>
                  <a:pt x="136" y="219"/>
                  <a:pt x="139" y="194"/>
                  <a:pt x="153" y="177"/>
                </a:cubicBezTo>
                <a:cubicBezTo>
                  <a:pt x="172" y="155"/>
                  <a:pt x="201" y="155"/>
                  <a:pt x="203" y="155"/>
                </a:cubicBezTo>
                <a:cubicBezTo>
                  <a:pt x="203" y="155"/>
                  <a:pt x="233" y="155"/>
                  <a:pt x="251" y="177"/>
                </a:cubicBezTo>
                <a:cubicBezTo>
                  <a:pt x="265" y="194"/>
                  <a:pt x="268" y="219"/>
                  <a:pt x="261" y="251"/>
                </a:cubicBezTo>
                <a:cubicBezTo>
                  <a:pt x="256" y="269"/>
                  <a:pt x="247" y="289"/>
                  <a:pt x="239" y="302"/>
                </a:cubicBezTo>
                <a:cubicBezTo>
                  <a:pt x="237" y="308"/>
                  <a:pt x="243" y="328"/>
                  <a:pt x="250" y="331"/>
                </a:cubicBezTo>
                <a:cubicBezTo>
                  <a:pt x="252" y="333"/>
                  <a:pt x="260" y="334"/>
                  <a:pt x="267" y="334"/>
                </a:cubicBezTo>
                <a:cubicBezTo>
                  <a:pt x="279" y="335"/>
                  <a:pt x="293" y="337"/>
                  <a:pt x="303" y="342"/>
                </a:cubicBezTo>
                <a:cubicBezTo>
                  <a:pt x="308" y="345"/>
                  <a:pt x="310" y="351"/>
                  <a:pt x="308" y="357"/>
                </a:cubicBezTo>
                <a:close/>
                <a:moveTo>
                  <a:pt x="405" y="288"/>
                </a:moveTo>
                <a:cubicBezTo>
                  <a:pt x="298" y="288"/>
                  <a:pt x="298" y="288"/>
                  <a:pt x="298" y="288"/>
                </a:cubicBezTo>
                <a:cubicBezTo>
                  <a:pt x="292" y="288"/>
                  <a:pt x="288" y="283"/>
                  <a:pt x="288" y="277"/>
                </a:cubicBezTo>
                <a:cubicBezTo>
                  <a:pt x="288" y="271"/>
                  <a:pt x="292" y="266"/>
                  <a:pt x="298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71"/>
                  <a:pt x="416" y="277"/>
                </a:cubicBezTo>
                <a:cubicBezTo>
                  <a:pt x="416" y="283"/>
                  <a:pt x="411" y="288"/>
                  <a:pt x="405" y="288"/>
                </a:cubicBezTo>
                <a:close/>
                <a:moveTo>
                  <a:pt x="405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2" y="245"/>
                  <a:pt x="288" y="240"/>
                  <a:pt x="288" y="234"/>
                </a:cubicBezTo>
                <a:cubicBezTo>
                  <a:pt x="288" y="228"/>
                  <a:pt x="292" y="224"/>
                  <a:pt x="298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28"/>
                  <a:pt x="416" y="234"/>
                </a:cubicBezTo>
                <a:cubicBezTo>
                  <a:pt x="416" y="240"/>
                  <a:pt x="411" y="245"/>
                  <a:pt x="405" y="245"/>
                </a:cubicBezTo>
                <a:close/>
                <a:moveTo>
                  <a:pt x="405" y="202"/>
                </a:moveTo>
                <a:cubicBezTo>
                  <a:pt x="298" y="202"/>
                  <a:pt x="298" y="202"/>
                  <a:pt x="298" y="202"/>
                </a:cubicBezTo>
                <a:cubicBezTo>
                  <a:pt x="292" y="202"/>
                  <a:pt x="288" y="198"/>
                  <a:pt x="288" y="192"/>
                </a:cubicBezTo>
                <a:cubicBezTo>
                  <a:pt x="288" y="186"/>
                  <a:pt x="292" y="181"/>
                  <a:pt x="298" y="181"/>
                </a:cubicBezTo>
                <a:cubicBezTo>
                  <a:pt x="405" y="181"/>
                  <a:pt x="405" y="181"/>
                  <a:pt x="405" y="181"/>
                </a:cubicBezTo>
                <a:cubicBezTo>
                  <a:pt x="411" y="181"/>
                  <a:pt x="416" y="186"/>
                  <a:pt x="416" y="192"/>
                </a:cubicBezTo>
                <a:cubicBezTo>
                  <a:pt x="416" y="198"/>
                  <a:pt x="411" y="202"/>
                  <a:pt x="405" y="20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8" name="Freeform 173"/>
          <p:cNvSpPr>
            <a:spLocks noChangeAspect="1" noEditPoints="1"/>
          </p:cNvSpPr>
          <p:nvPr/>
        </p:nvSpPr>
        <p:spPr bwMode="auto">
          <a:xfrm>
            <a:off x="4433749" y="2044610"/>
            <a:ext cx="369021" cy="369021"/>
          </a:xfrm>
          <a:custGeom>
            <a:avLst/>
            <a:gdLst>
              <a:gd name="T0" fmla="*/ 392 w 512"/>
              <a:gd name="T1" fmla="*/ 188 h 512"/>
              <a:gd name="T2" fmla="*/ 394 w 512"/>
              <a:gd name="T3" fmla="*/ 193 h 512"/>
              <a:gd name="T4" fmla="*/ 393 w 512"/>
              <a:gd name="T5" fmla="*/ 196 h 512"/>
              <a:gd name="T6" fmla="*/ 267 w 512"/>
              <a:gd name="T7" fmla="*/ 325 h 512"/>
              <a:gd name="T8" fmla="*/ 266 w 512"/>
              <a:gd name="T9" fmla="*/ 323 h 512"/>
              <a:gd name="T10" fmla="*/ 254 w 512"/>
              <a:gd name="T11" fmla="*/ 315 h 512"/>
              <a:gd name="T12" fmla="*/ 383 w 512"/>
              <a:gd name="T13" fmla="*/ 186 h 512"/>
              <a:gd name="T14" fmla="*/ 392 w 512"/>
              <a:gd name="T15" fmla="*/ 18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143 w 512"/>
              <a:gd name="T27" fmla="*/ 360 h 512"/>
              <a:gd name="T28" fmla="*/ 149 w 512"/>
              <a:gd name="T29" fmla="*/ 362 h 512"/>
              <a:gd name="T30" fmla="*/ 158 w 512"/>
              <a:gd name="T31" fmla="*/ 358 h 512"/>
              <a:gd name="T32" fmla="*/ 155 w 512"/>
              <a:gd name="T33" fmla="*/ 343 h 512"/>
              <a:gd name="T34" fmla="*/ 143 w 512"/>
              <a:gd name="T35" fmla="*/ 327 h 512"/>
              <a:gd name="T36" fmla="*/ 153 w 512"/>
              <a:gd name="T37" fmla="*/ 319 h 512"/>
              <a:gd name="T38" fmla="*/ 194 w 512"/>
              <a:gd name="T39" fmla="*/ 263 h 512"/>
              <a:gd name="T40" fmla="*/ 105 w 512"/>
              <a:gd name="T41" fmla="*/ 234 h 512"/>
              <a:gd name="T42" fmla="*/ 96 w 512"/>
              <a:gd name="T43" fmla="*/ 246 h 512"/>
              <a:gd name="T44" fmla="*/ 107 w 512"/>
              <a:gd name="T45" fmla="*/ 256 h 512"/>
              <a:gd name="T46" fmla="*/ 174 w 512"/>
              <a:gd name="T47" fmla="*/ 269 h 512"/>
              <a:gd name="T48" fmla="*/ 145 w 512"/>
              <a:gd name="T49" fmla="*/ 299 h 512"/>
              <a:gd name="T50" fmla="*/ 122 w 512"/>
              <a:gd name="T51" fmla="*/ 326 h 512"/>
              <a:gd name="T52" fmla="*/ 143 w 512"/>
              <a:gd name="T53" fmla="*/ 360 h 512"/>
              <a:gd name="T54" fmla="*/ 416 w 512"/>
              <a:gd name="T55" fmla="*/ 191 h 512"/>
              <a:gd name="T56" fmla="*/ 407 w 512"/>
              <a:gd name="T57" fmla="*/ 173 h 512"/>
              <a:gd name="T58" fmla="*/ 368 w 512"/>
              <a:gd name="T59" fmla="*/ 171 h 512"/>
              <a:gd name="T60" fmla="*/ 230 w 512"/>
              <a:gd name="T61" fmla="*/ 309 h 512"/>
              <a:gd name="T62" fmla="*/ 182 w 512"/>
              <a:gd name="T63" fmla="*/ 348 h 512"/>
              <a:gd name="T64" fmla="*/ 150 w 512"/>
              <a:gd name="T65" fmla="*/ 373 h 512"/>
              <a:gd name="T66" fmla="*/ 139 w 512"/>
              <a:gd name="T67" fmla="*/ 381 h 512"/>
              <a:gd name="T68" fmla="*/ 145 w 512"/>
              <a:gd name="T69" fmla="*/ 394 h 512"/>
              <a:gd name="T70" fmla="*/ 212 w 512"/>
              <a:gd name="T71" fmla="*/ 406 h 512"/>
              <a:gd name="T72" fmla="*/ 255 w 512"/>
              <a:gd name="T73" fmla="*/ 395 h 512"/>
              <a:gd name="T74" fmla="*/ 277 w 512"/>
              <a:gd name="T75" fmla="*/ 352 h 512"/>
              <a:gd name="T76" fmla="*/ 277 w 512"/>
              <a:gd name="T77" fmla="*/ 346 h 512"/>
              <a:gd name="T78" fmla="*/ 409 w 512"/>
              <a:gd name="T79" fmla="*/ 211 h 512"/>
              <a:gd name="T80" fmla="*/ 416 w 512"/>
              <a:gd name="T81" fmla="*/ 191 h 512"/>
              <a:gd name="T82" fmla="*/ 234 w 512"/>
              <a:gd name="T83" fmla="*/ 330 h 512"/>
              <a:gd name="T84" fmla="*/ 202 w 512"/>
              <a:gd name="T85" fmla="*/ 355 h 512"/>
              <a:gd name="T86" fmla="*/ 185 w 512"/>
              <a:gd name="T87" fmla="*/ 382 h 512"/>
              <a:gd name="T88" fmla="*/ 243 w 512"/>
              <a:gd name="T89" fmla="*/ 377 h 512"/>
              <a:gd name="T90" fmla="*/ 256 w 512"/>
              <a:gd name="T91" fmla="*/ 351 h 512"/>
              <a:gd name="T92" fmla="*/ 250 w 512"/>
              <a:gd name="T93" fmla="*/ 338 h 512"/>
              <a:gd name="T94" fmla="*/ 234 w 512"/>
              <a:gd name="T95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92" y="188"/>
                </a:moveTo>
                <a:cubicBezTo>
                  <a:pt x="393" y="189"/>
                  <a:pt x="394" y="191"/>
                  <a:pt x="394" y="193"/>
                </a:cubicBezTo>
                <a:cubicBezTo>
                  <a:pt x="394" y="194"/>
                  <a:pt x="394" y="195"/>
                  <a:pt x="393" y="196"/>
                </a:cubicBezTo>
                <a:cubicBezTo>
                  <a:pt x="267" y="325"/>
                  <a:pt x="267" y="325"/>
                  <a:pt x="267" y="325"/>
                </a:cubicBezTo>
                <a:cubicBezTo>
                  <a:pt x="267" y="324"/>
                  <a:pt x="266" y="324"/>
                  <a:pt x="266" y="323"/>
                </a:cubicBezTo>
                <a:cubicBezTo>
                  <a:pt x="263" y="320"/>
                  <a:pt x="259" y="317"/>
                  <a:pt x="254" y="315"/>
                </a:cubicBezTo>
                <a:cubicBezTo>
                  <a:pt x="383" y="186"/>
                  <a:pt x="383" y="186"/>
                  <a:pt x="383" y="186"/>
                </a:cubicBezTo>
                <a:cubicBezTo>
                  <a:pt x="385" y="184"/>
                  <a:pt x="389" y="185"/>
                  <a:pt x="392" y="18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3" y="360"/>
                </a:moveTo>
                <a:cubicBezTo>
                  <a:pt x="145" y="362"/>
                  <a:pt x="147" y="362"/>
                  <a:pt x="149" y="362"/>
                </a:cubicBezTo>
                <a:cubicBezTo>
                  <a:pt x="152" y="362"/>
                  <a:pt x="156" y="361"/>
                  <a:pt x="158" y="358"/>
                </a:cubicBezTo>
                <a:cubicBezTo>
                  <a:pt x="161" y="353"/>
                  <a:pt x="160" y="346"/>
                  <a:pt x="155" y="343"/>
                </a:cubicBezTo>
                <a:cubicBezTo>
                  <a:pt x="151" y="340"/>
                  <a:pt x="143" y="332"/>
                  <a:pt x="143" y="327"/>
                </a:cubicBezTo>
                <a:cubicBezTo>
                  <a:pt x="143" y="325"/>
                  <a:pt x="147" y="322"/>
                  <a:pt x="153" y="319"/>
                </a:cubicBezTo>
                <a:cubicBezTo>
                  <a:pt x="183" y="305"/>
                  <a:pt x="200" y="283"/>
                  <a:pt x="194" y="263"/>
                </a:cubicBezTo>
                <a:cubicBezTo>
                  <a:pt x="191" y="250"/>
                  <a:pt x="175" y="228"/>
                  <a:pt x="105" y="234"/>
                </a:cubicBezTo>
                <a:cubicBezTo>
                  <a:pt x="100" y="235"/>
                  <a:pt x="95" y="240"/>
                  <a:pt x="96" y="246"/>
                </a:cubicBezTo>
                <a:cubicBezTo>
                  <a:pt x="96" y="252"/>
                  <a:pt x="101" y="256"/>
                  <a:pt x="107" y="256"/>
                </a:cubicBezTo>
                <a:cubicBezTo>
                  <a:pt x="156" y="251"/>
                  <a:pt x="172" y="262"/>
                  <a:pt x="174" y="269"/>
                </a:cubicBezTo>
                <a:cubicBezTo>
                  <a:pt x="176" y="276"/>
                  <a:pt x="165" y="290"/>
                  <a:pt x="145" y="299"/>
                </a:cubicBezTo>
                <a:cubicBezTo>
                  <a:pt x="130" y="306"/>
                  <a:pt x="123" y="315"/>
                  <a:pt x="122" y="326"/>
                </a:cubicBezTo>
                <a:cubicBezTo>
                  <a:pt x="120" y="344"/>
                  <a:pt x="141" y="359"/>
                  <a:pt x="143" y="360"/>
                </a:cubicBezTo>
                <a:close/>
                <a:moveTo>
                  <a:pt x="416" y="191"/>
                </a:moveTo>
                <a:cubicBezTo>
                  <a:pt x="415" y="185"/>
                  <a:pt x="412" y="178"/>
                  <a:pt x="407" y="173"/>
                </a:cubicBezTo>
                <a:cubicBezTo>
                  <a:pt x="396" y="162"/>
                  <a:pt x="378" y="161"/>
                  <a:pt x="368" y="171"/>
                </a:cubicBezTo>
                <a:cubicBezTo>
                  <a:pt x="230" y="309"/>
                  <a:pt x="230" y="309"/>
                  <a:pt x="230" y="309"/>
                </a:cubicBezTo>
                <a:cubicBezTo>
                  <a:pt x="217" y="310"/>
                  <a:pt x="193" y="314"/>
                  <a:pt x="182" y="348"/>
                </a:cubicBezTo>
                <a:cubicBezTo>
                  <a:pt x="173" y="374"/>
                  <a:pt x="152" y="373"/>
                  <a:pt x="150" y="373"/>
                </a:cubicBezTo>
                <a:cubicBezTo>
                  <a:pt x="145" y="372"/>
                  <a:pt x="140" y="376"/>
                  <a:pt x="139" y="381"/>
                </a:cubicBezTo>
                <a:cubicBezTo>
                  <a:pt x="137" y="386"/>
                  <a:pt x="140" y="392"/>
                  <a:pt x="145" y="394"/>
                </a:cubicBezTo>
                <a:cubicBezTo>
                  <a:pt x="147" y="394"/>
                  <a:pt x="179" y="406"/>
                  <a:pt x="212" y="406"/>
                </a:cubicBezTo>
                <a:cubicBezTo>
                  <a:pt x="227" y="406"/>
                  <a:pt x="243" y="403"/>
                  <a:pt x="255" y="395"/>
                </a:cubicBezTo>
                <a:cubicBezTo>
                  <a:pt x="269" y="386"/>
                  <a:pt x="276" y="372"/>
                  <a:pt x="277" y="352"/>
                </a:cubicBezTo>
                <a:cubicBezTo>
                  <a:pt x="277" y="350"/>
                  <a:pt x="277" y="348"/>
                  <a:pt x="277" y="346"/>
                </a:cubicBezTo>
                <a:cubicBezTo>
                  <a:pt x="409" y="211"/>
                  <a:pt x="409" y="211"/>
                  <a:pt x="409" y="211"/>
                </a:cubicBezTo>
                <a:cubicBezTo>
                  <a:pt x="414" y="206"/>
                  <a:pt x="416" y="199"/>
                  <a:pt x="416" y="191"/>
                </a:cubicBezTo>
                <a:close/>
                <a:moveTo>
                  <a:pt x="234" y="330"/>
                </a:moveTo>
                <a:cubicBezTo>
                  <a:pt x="222" y="331"/>
                  <a:pt x="209" y="334"/>
                  <a:pt x="202" y="355"/>
                </a:cubicBezTo>
                <a:cubicBezTo>
                  <a:pt x="198" y="367"/>
                  <a:pt x="192" y="376"/>
                  <a:pt x="185" y="382"/>
                </a:cubicBezTo>
                <a:cubicBezTo>
                  <a:pt x="205" y="386"/>
                  <a:pt x="229" y="387"/>
                  <a:pt x="243" y="377"/>
                </a:cubicBezTo>
                <a:cubicBezTo>
                  <a:pt x="251" y="372"/>
                  <a:pt x="255" y="364"/>
                  <a:pt x="256" y="351"/>
                </a:cubicBezTo>
                <a:cubicBezTo>
                  <a:pt x="256" y="346"/>
                  <a:pt x="254" y="342"/>
                  <a:pt x="250" y="338"/>
                </a:cubicBezTo>
                <a:cubicBezTo>
                  <a:pt x="246" y="333"/>
                  <a:pt x="239" y="330"/>
                  <a:pt x="234" y="33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9" name="Group 176"/>
          <p:cNvGrpSpPr>
            <a:grpSpLocks noChangeAspect="1"/>
          </p:cNvGrpSpPr>
          <p:nvPr/>
        </p:nvGrpSpPr>
        <p:grpSpPr bwMode="auto">
          <a:xfrm>
            <a:off x="4932654" y="2044606"/>
            <a:ext cx="369021" cy="370106"/>
            <a:chOff x="5821" y="411"/>
            <a:chExt cx="340" cy="341"/>
          </a:xfrm>
          <a:solidFill>
            <a:schemeClr val="accent2"/>
          </a:solidFill>
        </p:grpSpPr>
        <p:sp>
          <p:nvSpPr>
            <p:cNvPr id="280" name="Freeform 177"/>
            <p:cNvSpPr>
              <a:spLocks noEditPoints="1"/>
            </p:cNvSpPr>
            <p:nvPr/>
          </p:nvSpPr>
          <p:spPr bwMode="auto">
            <a:xfrm>
              <a:off x="5821" y="41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178"/>
            <p:cNvSpPr>
              <a:spLocks/>
            </p:cNvSpPr>
            <p:nvPr/>
          </p:nvSpPr>
          <p:spPr bwMode="auto">
            <a:xfrm>
              <a:off x="5884" y="563"/>
              <a:ext cx="70" cy="89"/>
            </a:xfrm>
            <a:custGeom>
              <a:avLst/>
              <a:gdLst>
                <a:gd name="T0" fmla="*/ 54 w 105"/>
                <a:gd name="T1" fmla="*/ 134 h 134"/>
                <a:gd name="T2" fmla="*/ 63 w 105"/>
                <a:gd name="T3" fmla="*/ 130 h 134"/>
                <a:gd name="T4" fmla="*/ 60 w 105"/>
                <a:gd name="T5" fmla="*/ 115 h 134"/>
                <a:gd name="T6" fmla="*/ 48 w 105"/>
                <a:gd name="T7" fmla="*/ 99 h 134"/>
                <a:gd name="T8" fmla="*/ 58 w 105"/>
                <a:gd name="T9" fmla="*/ 91 h 134"/>
                <a:gd name="T10" fmla="*/ 99 w 105"/>
                <a:gd name="T11" fmla="*/ 35 h 134"/>
                <a:gd name="T12" fmla="*/ 10 w 105"/>
                <a:gd name="T13" fmla="*/ 6 h 134"/>
                <a:gd name="T14" fmla="*/ 1 w 105"/>
                <a:gd name="T15" fmla="*/ 18 h 134"/>
                <a:gd name="T16" fmla="*/ 12 w 105"/>
                <a:gd name="T17" fmla="*/ 28 h 134"/>
                <a:gd name="T18" fmla="*/ 79 w 105"/>
                <a:gd name="T19" fmla="*/ 41 h 134"/>
                <a:gd name="T20" fmla="*/ 50 w 105"/>
                <a:gd name="T21" fmla="*/ 71 h 134"/>
                <a:gd name="T22" fmla="*/ 27 w 105"/>
                <a:gd name="T23" fmla="*/ 98 h 134"/>
                <a:gd name="T24" fmla="*/ 48 w 105"/>
                <a:gd name="T25" fmla="*/ 132 h 134"/>
                <a:gd name="T26" fmla="*/ 54 w 105"/>
                <a:gd name="T27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34">
                  <a:moveTo>
                    <a:pt x="54" y="134"/>
                  </a:moveTo>
                  <a:cubicBezTo>
                    <a:pt x="57" y="134"/>
                    <a:pt x="61" y="133"/>
                    <a:pt x="63" y="130"/>
                  </a:cubicBezTo>
                  <a:cubicBezTo>
                    <a:pt x="66" y="125"/>
                    <a:pt x="65" y="118"/>
                    <a:pt x="60" y="115"/>
                  </a:cubicBezTo>
                  <a:cubicBezTo>
                    <a:pt x="56" y="112"/>
                    <a:pt x="48" y="104"/>
                    <a:pt x="48" y="99"/>
                  </a:cubicBezTo>
                  <a:cubicBezTo>
                    <a:pt x="48" y="97"/>
                    <a:pt x="52" y="94"/>
                    <a:pt x="58" y="91"/>
                  </a:cubicBezTo>
                  <a:cubicBezTo>
                    <a:pt x="88" y="77"/>
                    <a:pt x="105" y="55"/>
                    <a:pt x="99" y="35"/>
                  </a:cubicBezTo>
                  <a:cubicBezTo>
                    <a:pt x="96" y="22"/>
                    <a:pt x="80" y="0"/>
                    <a:pt x="10" y="6"/>
                  </a:cubicBezTo>
                  <a:cubicBezTo>
                    <a:pt x="5" y="7"/>
                    <a:pt x="0" y="12"/>
                    <a:pt x="1" y="18"/>
                  </a:cubicBezTo>
                  <a:cubicBezTo>
                    <a:pt x="1" y="24"/>
                    <a:pt x="6" y="28"/>
                    <a:pt x="12" y="28"/>
                  </a:cubicBezTo>
                  <a:cubicBezTo>
                    <a:pt x="61" y="23"/>
                    <a:pt x="77" y="34"/>
                    <a:pt x="79" y="41"/>
                  </a:cubicBezTo>
                  <a:cubicBezTo>
                    <a:pt x="81" y="48"/>
                    <a:pt x="70" y="62"/>
                    <a:pt x="50" y="71"/>
                  </a:cubicBezTo>
                  <a:cubicBezTo>
                    <a:pt x="35" y="78"/>
                    <a:pt x="28" y="87"/>
                    <a:pt x="27" y="98"/>
                  </a:cubicBezTo>
                  <a:cubicBezTo>
                    <a:pt x="25" y="116"/>
                    <a:pt x="46" y="131"/>
                    <a:pt x="48" y="132"/>
                  </a:cubicBezTo>
                  <a:cubicBezTo>
                    <a:pt x="50" y="134"/>
                    <a:pt x="52" y="134"/>
                    <a:pt x="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reeform 179"/>
            <p:cNvSpPr>
              <a:spLocks noEditPoints="1"/>
            </p:cNvSpPr>
            <p:nvPr/>
          </p:nvSpPr>
          <p:spPr bwMode="auto">
            <a:xfrm>
              <a:off x="5912" y="518"/>
              <a:ext cx="185" cy="163"/>
            </a:xfrm>
            <a:custGeom>
              <a:avLst/>
              <a:gdLst>
                <a:gd name="T0" fmla="*/ 279 w 279"/>
                <a:gd name="T1" fmla="*/ 30 h 245"/>
                <a:gd name="T2" fmla="*/ 270 w 279"/>
                <a:gd name="T3" fmla="*/ 12 h 245"/>
                <a:gd name="T4" fmla="*/ 231 w 279"/>
                <a:gd name="T5" fmla="*/ 10 h 245"/>
                <a:gd name="T6" fmla="*/ 93 w 279"/>
                <a:gd name="T7" fmla="*/ 148 h 245"/>
                <a:gd name="T8" fmla="*/ 45 w 279"/>
                <a:gd name="T9" fmla="*/ 187 h 245"/>
                <a:gd name="T10" fmla="*/ 13 w 279"/>
                <a:gd name="T11" fmla="*/ 212 h 245"/>
                <a:gd name="T12" fmla="*/ 2 w 279"/>
                <a:gd name="T13" fmla="*/ 220 h 245"/>
                <a:gd name="T14" fmla="*/ 8 w 279"/>
                <a:gd name="T15" fmla="*/ 233 h 245"/>
                <a:gd name="T16" fmla="*/ 75 w 279"/>
                <a:gd name="T17" fmla="*/ 245 h 245"/>
                <a:gd name="T18" fmla="*/ 118 w 279"/>
                <a:gd name="T19" fmla="*/ 234 h 245"/>
                <a:gd name="T20" fmla="*/ 140 w 279"/>
                <a:gd name="T21" fmla="*/ 191 h 245"/>
                <a:gd name="T22" fmla="*/ 140 w 279"/>
                <a:gd name="T23" fmla="*/ 185 h 245"/>
                <a:gd name="T24" fmla="*/ 272 w 279"/>
                <a:gd name="T25" fmla="*/ 50 h 245"/>
                <a:gd name="T26" fmla="*/ 279 w 279"/>
                <a:gd name="T27" fmla="*/ 30 h 245"/>
                <a:gd name="T28" fmla="*/ 106 w 279"/>
                <a:gd name="T29" fmla="*/ 216 h 245"/>
                <a:gd name="T30" fmla="*/ 48 w 279"/>
                <a:gd name="T31" fmla="*/ 221 h 245"/>
                <a:gd name="T32" fmla="*/ 65 w 279"/>
                <a:gd name="T33" fmla="*/ 194 h 245"/>
                <a:gd name="T34" fmla="*/ 97 w 279"/>
                <a:gd name="T35" fmla="*/ 169 h 245"/>
                <a:gd name="T36" fmla="*/ 113 w 279"/>
                <a:gd name="T37" fmla="*/ 177 h 245"/>
                <a:gd name="T38" fmla="*/ 119 w 279"/>
                <a:gd name="T39" fmla="*/ 190 h 245"/>
                <a:gd name="T40" fmla="*/ 106 w 279"/>
                <a:gd name="T41" fmla="*/ 216 h 245"/>
                <a:gd name="T42" fmla="*/ 256 w 279"/>
                <a:gd name="T43" fmla="*/ 35 h 245"/>
                <a:gd name="T44" fmla="*/ 130 w 279"/>
                <a:gd name="T45" fmla="*/ 164 h 245"/>
                <a:gd name="T46" fmla="*/ 129 w 279"/>
                <a:gd name="T47" fmla="*/ 162 h 245"/>
                <a:gd name="T48" fmla="*/ 117 w 279"/>
                <a:gd name="T49" fmla="*/ 154 h 245"/>
                <a:gd name="T50" fmla="*/ 246 w 279"/>
                <a:gd name="T51" fmla="*/ 25 h 245"/>
                <a:gd name="T52" fmla="*/ 255 w 279"/>
                <a:gd name="T53" fmla="*/ 27 h 245"/>
                <a:gd name="T54" fmla="*/ 257 w 279"/>
                <a:gd name="T55" fmla="*/ 32 h 245"/>
                <a:gd name="T56" fmla="*/ 256 w 279"/>
                <a:gd name="T57" fmla="*/ 3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9" h="245">
                  <a:moveTo>
                    <a:pt x="279" y="30"/>
                  </a:moveTo>
                  <a:cubicBezTo>
                    <a:pt x="278" y="24"/>
                    <a:pt x="275" y="17"/>
                    <a:pt x="270" y="12"/>
                  </a:cubicBezTo>
                  <a:cubicBezTo>
                    <a:pt x="259" y="1"/>
                    <a:pt x="241" y="0"/>
                    <a:pt x="231" y="10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80" y="149"/>
                    <a:pt x="56" y="153"/>
                    <a:pt x="45" y="187"/>
                  </a:cubicBezTo>
                  <a:cubicBezTo>
                    <a:pt x="36" y="213"/>
                    <a:pt x="15" y="212"/>
                    <a:pt x="13" y="212"/>
                  </a:cubicBezTo>
                  <a:cubicBezTo>
                    <a:pt x="8" y="211"/>
                    <a:pt x="3" y="215"/>
                    <a:pt x="2" y="220"/>
                  </a:cubicBezTo>
                  <a:cubicBezTo>
                    <a:pt x="0" y="225"/>
                    <a:pt x="3" y="231"/>
                    <a:pt x="8" y="233"/>
                  </a:cubicBezTo>
                  <a:cubicBezTo>
                    <a:pt x="10" y="233"/>
                    <a:pt x="42" y="245"/>
                    <a:pt x="75" y="245"/>
                  </a:cubicBezTo>
                  <a:cubicBezTo>
                    <a:pt x="90" y="245"/>
                    <a:pt x="106" y="242"/>
                    <a:pt x="118" y="234"/>
                  </a:cubicBezTo>
                  <a:cubicBezTo>
                    <a:pt x="132" y="225"/>
                    <a:pt x="139" y="211"/>
                    <a:pt x="140" y="191"/>
                  </a:cubicBezTo>
                  <a:cubicBezTo>
                    <a:pt x="140" y="189"/>
                    <a:pt x="140" y="187"/>
                    <a:pt x="140" y="185"/>
                  </a:cubicBezTo>
                  <a:cubicBezTo>
                    <a:pt x="272" y="50"/>
                    <a:pt x="272" y="50"/>
                    <a:pt x="272" y="50"/>
                  </a:cubicBezTo>
                  <a:cubicBezTo>
                    <a:pt x="277" y="45"/>
                    <a:pt x="279" y="38"/>
                    <a:pt x="279" y="30"/>
                  </a:cubicBezTo>
                  <a:close/>
                  <a:moveTo>
                    <a:pt x="106" y="216"/>
                  </a:moveTo>
                  <a:cubicBezTo>
                    <a:pt x="92" y="226"/>
                    <a:pt x="68" y="225"/>
                    <a:pt x="48" y="221"/>
                  </a:cubicBezTo>
                  <a:cubicBezTo>
                    <a:pt x="55" y="215"/>
                    <a:pt x="61" y="206"/>
                    <a:pt x="65" y="194"/>
                  </a:cubicBezTo>
                  <a:cubicBezTo>
                    <a:pt x="72" y="173"/>
                    <a:pt x="85" y="170"/>
                    <a:pt x="97" y="169"/>
                  </a:cubicBezTo>
                  <a:cubicBezTo>
                    <a:pt x="102" y="169"/>
                    <a:pt x="109" y="172"/>
                    <a:pt x="113" y="177"/>
                  </a:cubicBezTo>
                  <a:cubicBezTo>
                    <a:pt x="117" y="181"/>
                    <a:pt x="119" y="185"/>
                    <a:pt x="119" y="190"/>
                  </a:cubicBezTo>
                  <a:cubicBezTo>
                    <a:pt x="118" y="203"/>
                    <a:pt x="114" y="211"/>
                    <a:pt x="106" y="216"/>
                  </a:cubicBezTo>
                  <a:close/>
                  <a:moveTo>
                    <a:pt x="256" y="35"/>
                  </a:moveTo>
                  <a:cubicBezTo>
                    <a:pt x="130" y="164"/>
                    <a:pt x="130" y="164"/>
                    <a:pt x="130" y="164"/>
                  </a:cubicBezTo>
                  <a:cubicBezTo>
                    <a:pt x="130" y="163"/>
                    <a:pt x="129" y="163"/>
                    <a:pt x="129" y="162"/>
                  </a:cubicBezTo>
                  <a:cubicBezTo>
                    <a:pt x="126" y="159"/>
                    <a:pt x="122" y="156"/>
                    <a:pt x="117" y="154"/>
                  </a:cubicBezTo>
                  <a:cubicBezTo>
                    <a:pt x="246" y="25"/>
                    <a:pt x="246" y="25"/>
                    <a:pt x="246" y="25"/>
                  </a:cubicBezTo>
                  <a:cubicBezTo>
                    <a:pt x="248" y="23"/>
                    <a:pt x="252" y="24"/>
                    <a:pt x="255" y="27"/>
                  </a:cubicBezTo>
                  <a:cubicBezTo>
                    <a:pt x="256" y="28"/>
                    <a:pt x="257" y="30"/>
                    <a:pt x="257" y="32"/>
                  </a:cubicBezTo>
                  <a:cubicBezTo>
                    <a:pt x="257" y="33"/>
                    <a:pt x="257" y="34"/>
                    <a:pt x="25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3" name="Freeform 795"/>
          <p:cNvSpPr>
            <a:spLocks noChangeAspect="1" noEditPoints="1"/>
          </p:cNvSpPr>
          <p:nvPr/>
        </p:nvSpPr>
        <p:spPr bwMode="auto">
          <a:xfrm>
            <a:off x="5431559" y="2044610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21 w 512"/>
              <a:gd name="T5" fmla="*/ 392 h 512"/>
              <a:gd name="T6" fmla="*/ 206 w 512"/>
              <a:gd name="T7" fmla="*/ 392 h 512"/>
              <a:gd name="T8" fmla="*/ 135 w 512"/>
              <a:gd name="T9" fmla="*/ 391 h 512"/>
              <a:gd name="T10" fmla="*/ 120 w 512"/>
              <a:gd name="T11" fmla="*/ 391 h 512"/>
              <a:gd name="T12" fmla="*/ 155 w 512"/>
              <a:gd name="T13" fmla="*/ 341 h 512"/>
              <a:gd name="T14" fmla="*/ 120 w 512"/>
              <a:gd name="T15" fmla="*/ 290 h 512"/>
              <a:gd name="T16" fmla="*/ 170 w 512"/>
              <a:gd name="T17" fmla="*/ 326 h 512"/>
              <a:gd name="T18" fmla="*/ 221 w 512"/>
              <a:gd name="T19" fmla="*/ 291 h 512"/>
              <a:gd name="T20" fmla="*/ 185 w 512"/>
              <a:gd name="T21" fmla="*/ 341 h 512"/>
              <a:gd name="T22" fmla="*/ 221 w 512"/>
              <a:gd name="T23" fmla="*/ 392 h 512"/>
              <a:gd name="T24" fmla="*/ 181 w 512"/>
              <a:gd name="T25" fmla="*/ 181 h 512"/>
              <a:gd name="T26" fmla="*/ 170 w 512"/>
              <a:gd name="T27" fmla="*/ 234 h 512"/>
              <a:gd name="T28" fmla="*/ 160 w 512"/>
              <a:gd name="T29" fmla="*/ 181 h 512"/>
              <a:gd name="T30" fmla="*/ 106 w 512"/>
              <a:gd name="T31" fmla="*/ 170 h 512"/>
              <a:gd name="T32" fmla="*/ 160 w 512"/>
              <a:gd name="T33" fmla="*/ 160 h 512"/>
              <a:gd name="T34" fmla="*/ 170 w 512"/>
              <a:gd name="T35" fmla="*/ 106 h 512"/>
              <a:gd name="T36" fmla="*/ 181 w 512"/>
              <a:gd name="T37" fmla="*/ 160 h 512"/>
              <a:gd name="T38" fmla="*/ 234 w 512"/>
              <a:gd name="T39" fmla="*/ 170 h 512"/>
              <a:gd name="T40" fmla="*/ 344 w 512"/>
              <a:gd name="T41" fmla="*/ 120 h 512"/>
              <a:gd name="T42" fmla="*/ 362 w 512"/>
              <a:gd name="T43" fmla="*/ 128 h 512"/>
              <a:gd name="T44" fmla="*/ 352 w 512"/>
              <a:gd name="T45" fmla="*/ 138 h 512"/>
              <a:gd name="T46" fmla="*/ 341 w 512"/>
              <a:gd name="T47" fmla="*/ 128 h 512"/>
              <a:gd name="T48" fmla="*/ 405 w 512"/>
              <a:gd name="T49" fmla="*/ 352 h 512"/>
              <a:gd name="T50" fmla="*/ 288 w 512"/>
              <a:gd name="T51" fmla="*/ 341 h 512"/>
              <a:gd name="T52" fmla="*/ 405 w 512"/>
              <a:gd name="T53" fmla="*/ 330 h 512"/>
              <a:gd name="T54" fmla="*/ 405 w 512"/>
              <a:gd name="T55" fmla="*/ 352 h 512"/>
              <a:gd name="T56" fmla="*/ 344 w 512"/>
              <a:gd name="T57" fmla="*/ 205 h 512"/>
              <a:gd name="T58" fmla="*/ 362 w 512"/>
              <a:gd name="T59" fmla="*/ 213 h 512"/>
              <a:gd name="T60" fmla="*/ 352 w 512"/>
              <a:gd name="T61" fmla="*/ 224 h 512"/>
              <a:gd name="T62" fmla="*/ 341 w 512"/>
              <a:gd name="T63" fmla="*/ 213 h 512"/>
              <a:gd name="T64" fmla="*/ 298 w 512"/>
              <a:gd name="T65" fmla="*/ 181 h 512"/>
              <a:gd name="T66" fmla="*/ 298 w 512"/>
              <a:gd name="T67" fmla="*/ 160 h 512"/>
              <a:gd name="T68" fmla="*/ 416 w 512"/>
              <a:gd name="T69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1" y="392"/>
                </a:moveTo>
                <a:cubicBezTo>
                  <a:pt x="219" y="394"/>
                  <a:pt x="216" y="395"/>
                  <a:pt x="213" y="395"/>
                </a:cubicBezTo>
                <a:cubicBezTo>
                  <a:pt x="211" y="395"/>
                  <a:pt x="208" y="394"/>
                  <a:pt x="206" y="392"/>
                </a:cubicBezTo>
                <a:cubicBezTo>
                  <a:pt x="170" y="356"/>
                  <a:pt x="170" y="356"/>
                  <a:pt x="170" y="356"/>
                </a:cubicBezTo>
                <a:cubicBezTo>
                  <a:pt x="135" y="391"/>
                  <a:pt x="135" y="391"/>
                  <a:pt x="135" y="391"/>
                </a:cubicBezTo>
                <a:cubicBezTo>
                  <a:pt x="133" y="393"/>
                  <a:pt x="130" y="394"/>
                  <a:pt x="128" y="394"/>
                </a:cubicBezTo>
                <a:cubicBezTo>
                  <a:pt x="125" y="394"/>
                  <a:pt x="122" y="393"/>
                  <a:pt x="120" y="391"/>
                </a:cubicBezTo>
                <a:cubicBezTo>
                  <a:pt x="116" y="387"/>
                  <a:pt x="116" y="380"/>
                  <a:pt x="120" y="376"/>
                </a:cubicBezTo>
                <a:cubicBezTo>
                  <a:pt x="155" y="341"/>
                  <a:pt x="155" y="341"/>
                  <a:pt x="155" y="341"/>
                </a:cubicBezTo>
                <a:cubicBezTo>
                  <a:pt x="120" y="306"/>
                  <a:pt x="120" y="306"/>
                  <a:pt x="120" y="306"/>
                </a:cubicBezTo>
                <a:cubicBezTo>
                  <a:pt x="116" y="301"/>
                  <a:pt x="116" y="295"/>
                  <a:pt x="120" y="290"/>
                </a:cubicBezTo>
                <a:cubicBezTo>
                  <a:pt x="124" y="286"/>
                  <a:pt x="131" y="286"/>
                  <a:pt x="135" y="290"/>
                </a:cubicBezTo>
                <a:cubicBezTo>
                  <a:pt x="170" y="326"/>
                  <a:pt x="170" y="326"/>
                  <a:pt x="170" y="326"/>
                </a:cubicBezTo>
                <a:cubicBezTo>
                  <a:pt x="205" y="291"/>
                  <a:pt x="205" y="291"/>
                  <a:pt x="205" y="291"/>
                </a:cubicBezTo>
                <a:cubicBezTo>
                  <a:pt x="210" y="287"/>
                  <a:pt x="216" y="287"/>
                  <a:pt x="221" y="291"/>
                </a:cubicBezTo>
                <a:cubicBezTo>
                  <a:pt x="225" y="295"/>
                  <a:pt x="225" y="302"/>
                  <a:pt x="221" y="306"/>
                </a:cubicBezTo>
                <a:cubicBezTo>
                  <a:pt x="185" y="341"/>
                  <a:pt x="185" y="341"/>
                  <a:pt x="185" y="341"/>
                </a:cubicBezTo>
                <a:cubicBezTo>
                  <a:pt x="221" y="377"/>
                  <a:pt x="221" y="377"/>
                  <a:pt x="221" y="377"/>
                </a:cubicBezTo>
                <a:cubicBezTo>
                  <a:pt x="225" y="381"/>
                  <a:pt x="225" y="387"/>
                  <a:pt x="221" y="392"/>
                </a:cubicBezTo>
                <a:close/>
                <a:moveTo>
                  <a:pt x="224" y="181"/>
                </a:moveTo>
                <a:cubicBezTo>
                  <a:pt x="181" y="181"/>
                  <a:pt x="181" y="181"/>
                  <a:pt x="181" y="181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81" y="230"/>
                  <a:pt x="176" y="234"/>
                  <a:pt x="170" y="234"/>
                </a:cubicBezTo>
                <a:cubicBezTo>
                  <a:pt x="164" y="234"/>
                  <a:pt x="160" y="230"/>
                  <a:pt x="160" y="224"/>
                </a:cubicBezTo>
                <a:cubicBezTo>
                  <a:pt x="160" y="181"/>
                  <a:pt x="160" y="181"/>
                  <a:pt x="160" y="181"/>
                </a:cubicBezTo>
                <a:cubicBezTo>
                  <a:pt x="117" y="181"/>
                  <a:pt x="117" y="181"/>
                  <a:pt x="117" y="181"/>
                </a:cubicBezTo>
                <a:cubicBezTo>
                  <a:pt x="111" y="181"/>
                  <a:pt x="106" y="176"/>
                  <a:pt x="106" y="170"/>
                </a:cubicBezTo>
                <a:cubicBezTo>
                  <a:pt x="106" y="164"/>
                  <a:pt x="111" y="160"/>
                  <a:pt x="117" y="160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160" y="111"/>
                  <a:pt x="164" y="106"/>
                  <a:pt x="170" y="106"/>
                </a:cubicBezTo>
                <a:cubicBezTo>
                  <a:pt x="176" y="106"/>
                  <a:pt x="181" y="111"/>
                  <a:pt x="181" y="117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30" y="160"/>
                  <a:pt x="234" y="164"/>
                  <a:pt x="234" y="170"/>
                </a:cubicBezTo>
                <a:cubicBezTo>
                  <a:pt x="234" y="176"/>
                  <a:pt x="230" y="181"/>
                  <a:pt x="224" y="181"/>
                </a:cubicBezTo>
                <a:close/>
                <a:moveTo>
                  <a:pt x="344" y="120"/>
                </a:moveTo>
                <a:cubicBezTo>
                  <a:pt x="348" y="116"/>
                  <a:pt x="355" y="116"/>
                  <a:pt x="359" y="120"/>
                </a:cubicBezTo>
                <a:cubicBezTo>
                  <a:pt x="361" y="122"/>
                  <a:pt x="362" y="125"/>
                  <a:pt x="362" y="128"/>
                </a:cubicBezTo>
                <a:cubicBezTo>
                  <a:pt x="362" y="130"/>
                  <a:pt x="361" y="133"/>
                  <a:pt x="359" y="135"/>
                </a:cubicBezTo>
                <a:cubicBezTo>
                  <a:pt x="357" y="137"/>
                  <a:pt x="354" y="138"/>
                  <a:pt x="352" y="138"/>
                </a:cubicBezTo>
                <a:cubicBezTo>
                  <a:pt x="349" y="138"/>
                  <a:pt x="346" y="137"/>
                  <a:pt x="344" y="135"/>
                </a:cubicBezTo>
                <a:cubicBezTo>
                  <a:pt x="342" y="133"/>
                  <a:pt x="341" y="130"/>
                  <a:pt x="341" y="128"/>
                </a:cubicBezTo>
                <a:cubicBezTo>
                  <a:pt x="341" y="125"/>
                  <a:pt x="342" y="122"/>
                  <a:pt x="344" y="120"/>
                </a:cubicBezTo>
                <a:close/>
                <a:moveTo>
                  <a:pt x="405" y="352"/>
                </a:moveTo>
                <a:cubicBezTo>
                  <a:pt x="298" y="352"/>
                  <a:pt x="298" y="352"/>
                  <a:pt x="298" y="352"/>
                </a:cubicBezTo>
                <a:cubicBezTo>
                  <a:pt x="292" y="352"/>
                  <a:pt x="288" y="347"/>
                  <a:pt x="288" y="341"/>
                </a:cubicBezTo>
                <a:cubicBezTo>
                  <a:pt x="288" y="335"/>
                  <a:pt x="292" y="330"/>
                  <a:pt x="298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11" y="330"/>
                  <a:pt x="416" y="335"/>
                  <a:pt x="416" y="341"/>
                </a:cubicBezTo>
                <a:cubicBezTo>
                  <a:pt x="416" y="347"/>
                  <a:pt x="411" y="352"/>
                  <a:pt x="405" y="352"/>
                </a:cubicBezTo>
                <a:close/>
                <a:moveTo>
                  <a:pt x="341" y="213"/>
                </a:moveTo>
                <a:cubicBezTo>
                  <a:pt x="341" y="210"/>
                  <a:pt x="342" y="207"/>
                  <a:pt x="344" y="205"/>
                </a:cubicBezTo>
                <a:cubicBezTo>
                  <a:pt x="348" y="201"/>
                  <a:pt x="355" y="201"/>
                  <a:pt x="359" y="205"/>
                </a:cubicBezTo>
                <a:cubicBezTo>
                  <a:pt x="361" y="207"/>
                  <a:pt x="362" y="210"/>
                  <a:pt x="362" y="213"/>
                </a:cubicBezTo>
                <a:cubicBezTo>
                  <a:pt x="362" y="216"/>
                  <a:pt x="361" y="219"/>
                  <a:pt x="359" y="221"/>
                </a:cubicBezTo>
                <a:cubicBezTo>
                  <a:pt x="357" y="222"/>
                  <a:pt x="354" y="224"/>
                  <a:pt x="352" y="224"/>
                </a:cubicBezTo>
                <a:cubicBezTo>
                  <a:pt x="349" y="224"/>
                  <a:pt x="346" y="222"/>
                  <a:pt x="344" y="221"/>
                </a:cubicBezTo>
                <a:cubicBezTo>
                  <a:pt x="342" y="219"/>
                  <a:pt x="341" y="216"/>
                  <a:pt x="341" y="213"/>
                </a:cubicBezTo>
                <a:close/>
                <a:moveTo>
                  <a:pt x="405" y="181"/>
                </a:moveTo>
                <a:cubicBezTo>
                  <a:pt x="298" y="181"/>
                  <a:pt x="298" y="181"/>
                  <a:pt x="298" y="181"/>
                </a:cubicBezTo>
                <a:cubicBezTo>
                  <a:pt x="292" y="181"/>
                  <a:pt x="288" y="176"/>
                  <a:pt x="288" y="170"/>
                </a:cubicBezTo>
                <a:cubicBezTo>
                  <a:pt x="288" y="164"/>
                  <a:pt x="292" y="160"/>
                  <a:pt x="298" y="160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11" y="160"/>
                  <a:pt x="416" y="164"/>
                  <a:pt x="416" y="170"/>
                </a:cubicBezTo>
                <a:cubicBezTo>
                  <a:pt x="416" y="176"/>
                  <a:pt x="411" y="181"/>
                  <a:pt x="405" y="18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Freeform 799"/>
          <p:cNvSpPr>
            <a:spLocks noChangeAspect="1" noEditPoints="1"/>
          </p:cNvSpPr>
          <p:nvPr/>
        </p:nvSpPr>
        <p:spPr bwMode="auto">
          <a:xfrm>
            <a:off x="5928484" y="2044610"/>
            <a:ext cx="367041" cy="36704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181 w 512"/>
              <a:gd name="T11" fmla="*/ 160 h 512"/>
              <a:gd name="T12" fmla="*/ 170 w 512"/>
              <a:gd name="T13" fmla="*/ 106 h 512"/>
              <a:gd name="T14" fmla="*/ 160 w 512"/>
              <a:gd name="T15" fmla="*/ 160 h 512"/>
              <a:gd name="T16" fmla="*/ 106 w 512"/>
              <a:gd name="T17" fmla="*/ 170 h 512"/>
              <a:gd name="T18" fmla="*/ 160 w 512"/>
              <a:gd name="T19" fmla="*/ 181 h 512"/>
              <a:gd name="T20" fmla="*/ 170 w 512"/>
              <a:gd name="T21" fmla="*/ 234 h 512"/>
              <a:gd name="T22" fmla="*/ 181 w 512"/>
              <a:gd name="T23" fmla="*/ 181 h 512"/>
              <a:gd name="T24" fmla="*/ 234 w 512"/>
              <a:gd name="T25" fmla="*/ 170 h 512"/>
              <a:gd name="T26" fmla="*/ 298 w 512"/>
              <a:gd name="T27" fmla="*/ 181 h 512"/>
              <a:gd name="T28" fmla="*/ 416 w 512"/>
              <a:gd name="T29" fmla="*/ 170 h 512"/>
              <a:gd name="T30" fmla="*/ 298 w 512"/>
              <a:gd name="T31" fmla="*/ 160 h 512"/>
              <a:gd name="T32" fmla="*/ 298 w 512"/>
              <a:gd name="T33" fmla="*/ 181 h 512"/>
              <a:gd name="T34" fmla="*/ 298 w 512"/>
              <a:gd name="T35" fmla="*/ 330 h 512"/>
              <a:gd name="T36" fmla="*/ 298 w 512"/>
              <a:gd name="T37" fmla="*/ 352 h 512"/>
              <a:gd name="T38" fmla="*/ 416 w 512"/>
              <a:gd name="T39" fmla="*/ 341 h 512"/>
              <a:gd name="T40" fmla="*/ 185 w 512"/>
              <a:gd name="T41" fmla="*/ 341 h 512"/>
              <a:gd name="T42" fmla="*/ 221 w 512"/>
              <a:gd name="T43" fmla="*/ 291 h 512"/>
              <a:gd name="T44" fmla="*/ 170 w 512"/>
              <a:gd name="T45" fmla="*/ 326 h 512"/>
              <a:gd name="T46" fmla="*/ 120 w 512"/>
              <a:gd name="T47" fmla="*/ 290 h 512"/>
              <a:gd name="T48" fmla="*/ 155 w 512"/>
              <a:gd name="T49" fmla="*/ 341 h 512"/>
              <a:gd name="T50" fmla="*/ 120 w 512"/>
              <a:gd name="T51" fmla="*/ 391 h 512"/>
              <a:gd name="T52" fmla="*/ 135 w 512"/>
              <a:gd name="T53" fmla="*/ 391 h 512"/>
              <a:gd name="T54" fmla="*/ 206 w 512"/>
              <a:gd name="T55" fmla="*/ 392 h 512"/>
              <a:gd name="T56" fmla="*/ 221 w 512"/>
              <a:gd name="T57" fmla="*/ 392 h 512"/>
              <a:gd name="T58" fmla="*/ 185 w 512"/>
              <a:gd name="T59" fmla="*/ 341 h 512"/>
              <a:gd name="T60" fmla="*/ 359 w 512"/>
              <a:gd name="T61" fmla="*/ 135 h 512"/>
              <a:gd name="T62" fmla="*/ 359 w 512"/>
              <a:gd name="T63" fmla="*/ 120 h 512"/>
              <a:gd name="T64" fmla="*/ 341 w 512"/>
              <a:gd name="T65" fmla="*/ 128 h 512"/>
              <a:gd name="T66" fmla="*/ 352 w 512"/>
              <a:gd name="T67" fmla="*/ 138 h 512"/>
              <a:gd name="T68" fmla="*/ 341 w 512"/>
              <a:gd name="T69" fmla="*/ 213 h 512"/>
              <a:gd name="T70" fmla="*/ 352 w 512"/>
              <a:gd name="T71" fmla="*/ 224 h 512"/>
              <a:gd name="T72" fmla="*/ 362 w 512"/>
              <a:gd name="T73" fmla="*/ 213 h 512"/>
              <a:gd name="T74" fmla="*/ 344 w 512"/>
              <a:gd name="T75" fmla="*/ 2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4" y="160"/>
                </a:moveTo>
                <a:cubicBezTo>
                  <a:pt x="181" y="160"/>
                  <a:pt x="181" y="160"/>
                  <a:pt x="181" y="160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11"/>
                  <a:pt x="176" y="106"/>
                  <a:pt x="170" y="106"/>
                </a:cubicBezTo>
                <a:cubicBezTo>
                  <a:pt x="164" y="106"/>
                  <a:pt x="160" y="111"/>
                  <a:pt x="160" y="117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11" y="160"/>
                  <a:pt x="106" y="164"/>
                  <a:pt x="106" y="170"/>
                </a:cubicBezTo>
                <a:cubicBezTo>
                  <a:pt x="106" y="176"/>
                  <a:pt x="111" y="181"/>
                  <a:pt x="117" y="181"/>
                </a:cubicBezTo>
                <a:cubicBezTo>
                  <a:pt x="160" y="181"/>
                  <a:pt x="160" y="181"/>
                  <a:pt x="160" y="181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30"/>
                  <a:pt x="164" y="234"/>
                  <a:pt x="170" y="234"/>
                </a:cubicBezTo>
                <a:cubicBezTo>
                  <a:pt x="176" y="234"/>
                  <a:pt x="181" y="230"/>
                  <a:pt x="181" y="224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30" y="181"/>
                  <a:pt x="234" y="176"/>
                  <a:pt x="234" y="170"/>
                </a:cubicBezTo>
                <a:cubicBezTo>
                  <a:pt x="234" y="164"/>
                  <a:pt x="230" y="160"/>
                  <a:pt x="224" y="160"/>
                </a:cubicBezTo>
                <a:close/>
                <a:moveTo>
                  <a:pt x="298" y="181"/>
                </a:moveTo>
                <a:cubicBezTo>
                  <a:pt x="405" y="181"/>
                  <a:pt x="405" y="181"/>
                  <a:pt x="405" y="181"/>
                </a:cubicBezTo>
                <a:cubicBezTo>
                  <a:pt x="411" y="181"/>
                  <a:pt x="416" y="176"/>
                  <a:pt x="416" y="170"/>
                </a:cubicBezTo>
                <a:cubicBezTo>
                  <a:pt x="416" y="164"/>
                  <a:pt x="411" y="160"/>
                  <a:pt x="405" y="160"/>
                </a:cubicBezTo>
                <a:cubicBezTo>
                  <a:pt x="298" y="160"/>
                  <a:pt x="298" y="160"/>
                  <a:pt x="298" y="160"/>
                </a:cubicBezTo>
                <a:cubicBezTo>
                  <a:pt x="292" y="160"/>
                  <a:pt x="288" y="164"/>
                  <a:pt x="288" y="170"/>
                </a:cubicBezTo>
                <a:cubicBezTo>
                  <a:pt x="288" y="176"/>
                  <a:pt x="292" y="181"/>
                  <a:pt x="298" y="181"/>
                </a:cubicBezTo>
                <a:close/>
                <a:moveTo>
                  <a:pt x="405" y="330"/>
                </a:moveTo>
                <a:cubicBezTo>
                  <a:pt x="298" y="330"/>
                  <a:pt x="298" y="330"/>
                  <a:pt x="298" y="330"/>
                </a:cubicBezTo>
                <a:cubicBezTo>
                  <a:pt x="292" y="330"/>
                  <a:pt x="288" y="335"/>
                  <a:pt x="288" y="341"/>
                </a:cubicBezTo>
                <a:cubicBezTo>
                  <a:pt x="288" y="347"/>
                  <a:pt x="292" y="352"/>
                  <a:pt x="298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47"/>
                  <a:pt x="416" y="341"/>
                </a:cubicBezTo>
                <a:cubicBezTo>
                  <a:pt x="416" y="335"/>
                  <a:pt x="411" y="330"/>
                  <a:pt x="405" y="330"/>
                </a:cubicBezTo>
                <a:close/>
                <a:moveTo>
                  <a:pt x="185" y="341"/>
                </a:moveTo>
                <a:cubicBezTo>
                  <a:pt x="221" y="306"/>
                  <a:pt x="221" y="306"/>
                  <a:pt x="221" y="306"/>
                </a:cubicBezTo>
                <a:cubicBezTo>
                  <a:pt x="225" y="302"/>
                  <a:pt x="225" y="295"/>
                  <a:pt x="221" y="291"/>
                </a:cubicBezTo>
                <a:cubicBezTo>
                  <a:pt x="216" y="287"/>
                  <a:pt x="210" y="287"/>
                  <a:pt x="205" y="291"/>
                </a:cubicBezTo>
                <a:cubicBezTo>
                  <a:pt x="170" y="326"/>
                  <a:pt x="170" y="326"/>
                  <a:pt x="170" y="326"/>
                </a:cubicBezTo>
                <a:cubicBezTo>
                  <a:pt x="135" y="290"/>
                  <a:pt x="135" y="290"/>
                  <a:pt x="135" y="290"/>
                </a:cubicBezTo>
                <a:cubicBezTo>
                  <a:pt x="131" y="286"/>
                  <a:pt x="124" y="286"/>
                  <a:pt x="120" y="290"/>
                </a:cubicBezTo>
                <a:cubicBezTo>
                  <a:pt x="116" y="295"/>
                  <a:pt x="116" y="301"/>
                  <a:pt x="120" y="306"/>
                </a:cubicBezTo>
                <a:cubicBezTo>
                  <a:pt x="155" y="341"/>
                  <a:pt x="155" y="341"/>
                  <a:pt x="155" y="341"/>
                </a:cubicBezTo>
                <a:cubicBezTo>
                  <a:pt x="120" y="376"/>
                  <a:pt x="120" y="376"/>
                  <a:pt x="120" y="376"/>
                </a:cubicBezTo>
                <a:cubicBezTo>
                  <a:pt x="116" y="380"/>
                  <a:pt x="116" y="387"/>
                  <a:pt x="120" y="391"/>
                </a:cubicBezTo>
                <a:cubicBezTo>
                  <a:pt x="122" y="393"/>
                  <a:pt x="125" y="394"/>
                  <a:pt x="128" y="394"/>
                </a:cubicBezTo>
                <a:cubicBezTo>
                  <a:pt x="130" y="394"/>
                  <a:pt x="133" y="393"/>
                  <a:pt x="135" y="391"/>
                </a:cubicBezTo>
                <a:cubicBezTo>
                  <a:pt x="170" y="356"/>
                  <a:pt x="170" y="356"/>
                  <a:pt x="170" y="356"/>
                </a:cubicBezTo>
                <a:cubicBezTo>
                  <a:pt x="206" y="392"/>
                  <a:pt x="206" y="392"/>
                  <a:pt x="206" y="392"/>
                </a:cubicBezTo>
                <a:cubicBezTo>
                  <a:pt x="208" y="394"/>
                  <a:pt x="211" y="395"/>
                  <a:pt x="213" y="395"/>
                </a:cubicBezTo>
                <a:cubicBezTo>
                  <a:pt x="216" y="395"/>
                  <a:pt x="219" y="394"/>
                  <a:pt x="221" y="392"/>
                </a:cubicBezTo>
                <a:cubicBezTo>
                  <a:pt x="225" y="387"/>
                  <a:pt x="225" y="381"/>
                  <a:pt x="221" y="377"/>
                </a:cubicBezTo>
                <a:lnTo>
                  <a:pt x="185" y="341"/>
                </a:lnTo>
                <a:close/>
                <a:moveTo>
                  <a:pt x="352" y="138"/>
                </a:moveTo>
                <a:cubicBezTo>
                  <a:pt x="354" y="138"/>
                  <a:pt x="357" y="137"/>
                  <a:pt x="359" y="135"/>
                </a:cubicBezTo>
                <a:cubicBezTo>
                  <a:pt x="361" y="133"/>
                  <a:pt x="362" y="130"/>
                  <a:pt x="362" y="128"/>
                </a:cubicBezTo>
                <a:cubicBezTo>
                  <a:pt x="362" y="125"/>
                  <a:pt x="361" y="122"/>
                  <a:pt x="359" y="120"/>
                </a:cubicBezTo>
                <a:cubicBezTo>
                  <a:pt x="355" y="116"/>
                  <a:pt x="348" y="116"/>
                  <a:pt x="344" y="120"/>
                </a:cubicBezTo>
                <a:cubicBezTo>
                  <a:pt x="342" y="122"/>
                  <a:pt x="341" y="125"/>
                  <a:pt x="341" y="128"/>
                </a:cubicBezTo>
                <a:cubicBezTo>
                  <a:pt x="341" y="130"/>
                  <a:pt x="342" y="133"/>
                  <a:pt x="344" y="135"/>
                </a:cubicBezTo>
                <a:cubicBezTo>
                  <a:pt x="346" y="137"/>
                  <a:pt x="349" y="138"/>
                  <a:pt x="352" y="138"/>
                </a:cubicBezTo>
                <a:close/>
                <a:moveTo>
                  <a:pt x="344" y="205"/>
                </a:moveTo>
                <a:cubicBezTo>
                  <a:pt x="342" y="207"/>
                  <a:pt x="341" y="210"/>
                  <a:pt x="341" y="213"/>
                </a:cubicBezTo>
                <a:cubicBezTo>
                  <a:pt x="341" y="216"/>
                  <a:pt x="342" y="219"/>
                  <a:pt x="344" y="221"/>
                </a:cubicBezTo>
                <a:cubicBezTo>
                  <a:pt x="346" y="222"/>
                  <a:pt x="349" y="224"/>
                  <a:pt x="352" y="224"/>
                </a:cubicBezTo>
                <a:cubicBezTo>
                  <a:pt x="354" y="224"/>
                  <a:pt x="357" y="222"/>
                  <a:pt x="359" y="221"/>
                </a:cubicBezTo>
                <a:cubicBezTo>
                  <a:pt x="361" y="219"/>
                  <a:pt x="362" y="216"/>
                  <a:pt x="362" y="213"/>
                </a:cubicBezTo>
                <a:cubicBezTo>
                  <a:pt x="362" y="210"/>
                  <a:pt x="361" y="207"/>
                  <a:pt x="359" y="205"/>
                </a:cubicBezTo>
                <a:cubicBezTo>
                  <a:pt x="355" y="201"/>
                  <a:pt x="348" y="201"/>
                  <a:pt x="344" y="20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5" name="Group 927"/>
          <p:cNvGrpSpPr>
            <a:grpSpLocks noChangeAspect="1"/>
          </p:cNvGrpSpPr>
          <p:nvPr/>
        </p:nvGrpSpPr>
        <p:grpSpPr bwMode="auto">
          <a:xfrm>
            <a:off x="6425409" y="2044610"/>
            <a:ext cx="367041" cy="367041"/>
            <a:chOff x="5432" y="3568"/>
            <a:chExt cx="340" cy="340"/>
          </a:xfrm>
          <a:solidFill>
            <a:schemeClr val="accent4"/>
          </a:solidFill>
        </p:grpSpPr>
        <p:sp>
          <p:nvSpPr>
            <p:cNvPr id="56" name="Freeform 928"/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929"/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8" name="Group 932"/>
          <p:cNvGrpSpPr>
            <a:grpSpLocks noChangeAspect="1"/>
          </p:cNvGrpSpPr>
          <p:nvPr/>
        </p:nvGrpSpPr>
        <p:grpSpPr bwMode="auto">
          <a:xfrm>
            <a:off x="6922334" y="2044610"/>
            <a:ext cx="367041" cy="367041"/>
            <a:chOff x="5795" y="3560"/>
            <a:chExt cx="340" cy="340"/>
          </a:xfrm>
          <a:solidFill>
            <a:schemeClr val="accent4"/>
          </a:solidFill>
        </p:grpSpPr>
        <p:sp>
          <p:nvSpPr>
            <p:cNvPr id="59" name="Freeform 933"/>
            <p:cNvSpPr>
              <a:spLocks noEditPoints="1"/>
            </p:cNvSpPr>
            <p:nvPr/>
          </p:nvSpPr>
          <p:spPr bwMode="auto">
            <a:xfrm>
              <a:off x="5859" y="3652"/>
              <a:ext cx="212" cy="148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934"/>
            <p:cNvSpPr>
              <a:spLocks noEditPoints="1"/>
            </p:cNvSpPr>
            <p:nvPr/>
          </p:nvSpPr>
          <p:spPr bwMode="auto">
            <a:xfrm>
              <a:off x="5795" y="35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" name="Group 62"/>
          <p:cNvGrpSpPr>
            <a:grpSpLocks noChangeAspect="1"/>
          </p:cNvGrpSpPr>
          <p:nvPr/>
        </p:nvGrpSpPr>
        <p:grpSpPr bwMode="auto">
          <a:xfrm>
            <a:off x="7916184" y="2044610"/>
            <a:ext cx="368121" cy="367041"/>
            <a:chOff x="5096" y="917"/>
            <a:chExt cx="341" cy="340"/>
          </a:xfrm>
          <a:solidFill>
            <a:schemeClr val="accent1"/>
          </a:solidFill>
        </p:grpSpPr>
        <p:sp>
          <p:nvSpPr>
            <p:cNvPr id="62" name="Freeform 63"/>
            <p:cNvSpPr>
              <a:spLocks noEditPoints="1"/>
            </p:cNvSpPr>
            <p:nvPr/>
          </p:nvSpPr>
          <p:spPr bwMode="auto">
            <a:xfrm>
              <a:off x="5096" y="91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4"/>
            <p:cNvSpPr>
              <a:spLocks noEditPoints="1"/>
            </p:cNvSpPr>
            <p:nvPr/>
          </p:nvSpPr>
          <p:spPr bwMode="auto">
            <a:xfrm>
              <a:off x="5160" y="1044"/>
              <a:ext cx="213" cy="85"/>
            </a:xfrm>
            <a:custGeom>
              <a:avLst/>
              <a:gdLst>
                <a:gd name="T0" fmla="*/ 309 w 320"/>
                <a:gd name="T1" fmla="*/ 53 h 128"/>
                <a:gd name="T2" fmla="*/ 308 w 320"/>
                <a:gd name="T3" fmla="*/ 53 h 128"/>
                <a:gd name="T4" fmla="*/ 245 w 320"/>
                <a:gd name="T5" fmla="*/ 0 h 128"/>
                <a:gd name="T6" fmla="*/ 183 w 320"/>
                <a:gd name="T7" fmla="*/ 48 h 128"/>
                <a:gd name="T8" fmla="*/ 160 w 320"/>
                <a:gd name="T9" fmla="*/ 42 h 128"/>
                <a:gd name="T10" fmla="*/ 136 w 320"/>
                <a:gd name="T11" fmla="*/ 48 h 128"/>
                <a:gd name="T12" fmla="*/ 74 w 320"/>
                <a:gd name="T13" fmla="*/ 0 h 128"/>
                <a:gd name="T14" fmla="*/ 11 w 320"/>
                <a:gd name="T15" fmla="*/ 53 h 128"/>
                <a:gd name="T16" fmla="*/ 10 w 320"/>
                <a:gd name="T17" fmla="*/ 53 h 128"/>
                <a:gd name="T18" fmla="*/ 0 w 320"/>
                <a:gd name="T19" fmla="*/ 64 h 128"/>
                <a:gd name="T20" fmla="*/ 10 w 320"/>
                <a:gd name="T21" fmla="*/ 74 h 128"/>
                <a:gd name="T22" fmla="*/ 11 w 320"/>
                <a:gd name="T23" fmla="*/ 74 h 128"/>
                <a:gd name="T24" fmla="*/ 74 w 320"/>
                <a:gd name="T25" fmla="*/ 128 h 128"/>
                <a:gd name="T26" fmla="*/ 138 w 320"/>
                <a:gd name="T27" fmla="*/ 73 h 128"/>
                <a:gd name="T28" fmla="*/ 160 w 320"/>
                <a:gd name="T29" fmla="*/ 64 h 128"/>
                <a:gd name="T30" fmla="*/ 182 w 320"/>
                <a:gd name="T31" fmla="*/ 73 h 128"/>
                <a:gd name="T32" fmla="*/ 245 w 320"/>
                <a:gd name="T33" fmla="*/ 128 h 128"/>
                <a:gd name="T34" fmla="*/ 308 w 320"/>
                <a:gd name="T35" fmla="*/ 74 h 128"/>
                <a:gd name="T36" fmla="*/ 309 w 320"/>
                <a:gd name="T37" fmla="*/ 74 h 128"/>
                <a:gd name="T38" fmla="*/ 320 w 320"/>
                <a:gd name="T39" fmla="*/ 64 h 128"/>
                <a:gd name="T40" fmla="*/ 309 w 320"/>
                <a:gd name="T41" fmla="*/ 53 h 128"/>
                <a:gd name="T42" fmla="*/ 74 w 320"/>
                <a:gd name="T43" fmla="*/ 106 h 128"/>
                <a:gd name="T44" fmla="*/ 32 w 320"/>
                <a:gd name="T45" fmla="*/ 64 h 128"/>
                <a:gd name="T46" fmla="*/ 74 w 320"/>
                <a:gd name="T47" fmla="*/ 21 h 128"/>
                <a:gd name="T48" fmla="*/ 117 w 320"/>
                <a:gd name="T49" fmla="*/ 64 h 128"/>
                <a:gd name="T50" fmla="*/ 74 w 320"/>
                <a:gd name="T51" fmla="*/ 106 h 128"/>
                <a:gd name="T52" fmla="*/ 245 w 320"/>
                <a:gd name="T53" fmla="*/ 106 h 128"/>
                <a:gd name="T54" fmla="*/ 202 w 320"/>
                <a:gd name="T55" fmla="*/ 64 h 128"/>
                <a:gd name="T56" fmla="*/ 245 w 320"/>
                <a:gd name="T57" fmla="*/ 21 h 128"/>
                <a:gd name="T58" fmla="*/ 288 w 320"/>
                <a:gd name="T59" fmla="*/ 64 h 128"/>
                <a:gd name="T60" fmla="*/ 245 w 320"/>
                <a:gd name="T61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308" y="53"/>
                    <a:pt x="308" y="53"/>
                    <a:pt x="308" y="53"/>
                  </a:cubicBezTo>
                  <a:cubicBezTo>
                    <a:pt x="303" y="23"/>
                    <a:pt x="277" y="0"/>
                    <a:pt x="245" y="0"/>
                  </a:cubicBezTo>
                  <a:cubicBezTo>
                    <a:pt x="215" y="0"/>
                    <a:pt x="190" y="20"/>
                    <a:pt x="183" y="48"/>
                  </a:cubicBezTo>
                  <a:cubicBezTo>
                    <a:pt x="176" y="44"/>
                    <a:pt x="168" y="42"/>
                    <a:pt x="160" y="42"/>
                  </a:cubicBezTo>
                  <a:cubicBezTo>
                    <a:pt x="151" y="42"/>
                    <a:pt x="143" y="44"/>
                    <a:pt x="136" y="48"/>
                  </a:cubicBezTo>
                  <a:cubicBezTo>
                    <a:pt x="129" y="20"/>
                    <a:pt x="104" y="0"/>
                    <a:pt x="74" y="0"/>
                  </a:cubicBezTo>
                  <a:cubicBezTo>
                    <a:pt x="43" y="0"/>
                    <a:pt x="16" y="23"/>
                    <a:pt x="11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4" y="53"/>
                    <a:pt x="0" y="58"/>
                    <a:pt x="0" y="64"/>
                  </a:cubicBezTo>
                  <a:cubicBezTo>
                    <a:pt x="0" y="70"/>
                    <a:pt x="4" y="74"/>
                    <a:pt x="10" y="74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6" y="105"/>
                    <a:pt x="43" y="128"/>
                    <a:pt x="74" y="128"/>
                  </a:cubicBezTo>
                  <a:cubicBezTo>
                    <a:pt x="107" y="128"/>
                    <a:pt x="133" y="104"/>
                    <a:pt x="138" y="73"/>
                  </a:cubicBezTo>
                  <a:cubicBezTo>
                    <a:pt x="144" y="67"/>
                    <a:pt x="151" y="64"/>
                    <a:pt x="160" y="64"/>
                  </a:cubicBezTo>
                  <a:cubicBezTo>
                    <a:pt x="168" y="64"/>
                    <a:pt x="176" y="67"/>
                    <a:pt x="182" y="73"/>
                  </a:cubicBezTo>
                  <a:cubicBezTo>
                    <a:pt x="186" y="104"/>
                    <a:pt x="213" y="128"/>
                    <a:pt x="245" y="128"/>
                  </a:cubicBezTo>
                  <a:cubicBezTo>
                    <a:pt x="277" y="128"/>
                    <a:pt x="303" y="105"/>
                    <a:pt x="308" y="74"/>
                  </a:cubicBezTo>
                  <a:cubicBezTo>
                    <a:pt x="309" y="74"/>
                    <a:pt x="309" y="74"/>
                    <a:pt x="309" y="74"/>
                  </a:cubicBezTo>
                  <a:cubicBezTo>
                    <a:pt x="315" y="74"/>
                    <a:pt x="320" y="70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74" y="106"/>
                  </a:moveTo>
                  <a:cubicBezTo>
                    <a:pt x="51" y="106"/>
                    <a:pt x="32" y="87"/>
                    <a:pt x="32" y="64"/>
                  </a:cubicBezTo>
                  <a:cubicBezTo>
                    <a:pt x="32" y="40"/>
                    <a:pt x="51" y="21"/>
                    <a:pt x="74" y="21"/>
                  </a:cubicBezTo>
                  <a:cubicBezTo>
                    <a:pt x="98" y="21"/>
                    <a:pt x="117" y="40"/>
                    <a:pt x="117" y="64"/>
                  </a:cubicBezTo>
                  <a:cubicBezTo>
                    <a:pt x="117" y="87"/>
                    <a:pt x="98" y="106"/>
                    <a:pt x="74" y="106"/>
                  </a:cubicBezTo>
                  <a:close/>
                  <a:moveTo>
                    <a:pt x="245" y="106"/>
                  </a:moveTo>
                  <a:cubicBezTo>
                    <a:pt x="221" y="106"/>
                    <a:pt x="202" y="87"/>
                    <a:pt x="202" y="64"/>
                  </a:cubicBezTo>
                  <a:cubicBezTo>
                    <a:pt x="202" y="40"/>
                    <a:pt x="221" y="21"/>
                    <a:pt x="245" y="21"/>
                  </a:cubicBezTo>
                  <a:cubicBezTo>
                    <a:pt x="269" y="21"/>
                    <a:pt x="288" y="40"/>
                    <a:pt x="288" y="64"/>
                  </a:cubicBezTo>
                  <a:cubicBezTo>
                    <a:pt x="288" y="87"/>
                    <a:pt x="269" y="106"/>
                    <a:pt x="245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65"/>
            <p:cNvSpPr>
              <a:spLocks noEditPoints="1"/>
            </p:cNvSpPr>
            <p:nvPr/>
          </p:nvSpPr>
          <p:spPr bwMode="auto">
            <a:xfrm>
              <a:off x="5096" y="91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5" name="Freeform 69"/>
          <p:cNvSpPr>
            <a:spLocks noChangeAspect="1" noEditPoints="1"/>
          </p:cNvSpPr>
          <p:nvPr/>
        </p:nvSpPr>
        <p:spPr bwMode="auto">
          <a:xfrm>
            <a:off x="7419259" y="2044610"/>
            <a:ext cx="367041" cy="367041"/>
          </a:xfrm>
          <a:custGeom>
            <a:avLst/>
            <a:gdLst>
              <a:gd name="T0" fmla="*/ 213 w 512"/>
              <a:gd name="T1" fmla="*/ 256 h 512"/>
              <a:gd name="T2" fmla="*/ 170 w 512"/>
              <a:gd name="T3" fmla="*/ 298 h 512"/>
              <a:gd name="T4" fmla="*/ 128 w 512"/>
              <a:gd name="T5" fmla="*/ 256 h 512"/>
              <a:gd name="T6" fmla="*/ 170 w 512"/>
              <a:gd name="T7" fmla="*/ 213 h 512"/>
              <a:gd name="T8" fmla="*/ 213 w 512"/>
              <a:gd name="T9" fmla="*/ 256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416 w 512"/>
              <a:gd name="T21" fmla="*/ 256 h 512"/>
              <a:gd name="T22" fmla="*/ 405 w 512"/>
              <a:gd name="T23" fmla="*/ 245 h 512"/>
              <a:gd name="T24" fmla="*/ 404 w 512"/>
              <a:gd name="T25" fmla="*/ 245 h 512"/>
              <a:gd name="T26" fmla="*/ 341 w 512"/>
              <a:gd name="T27" fmla="*/ 192 h 512"/>
              <a:gd name="T28" fmla="*/ 279 w 512"/>
              <a:gd name="T29" fmla="*/ 240 h 512"/>
              <a:gd name="T30" fmla="*/ 256 w 512"/>
              <a:gd name="T31" fmla="*/ 234 h 512"/>
              <a:gd name="T32" fmla="*/ 232 w 512"/>
              <a:gd name="T33" fmla="*/ 240 h 512"/>
              <a:gd name="T34" fmla="*/ 170 w 512"/>
              <a:gd name="T35" fmla="*/ 192 h 512"/>
              <a:gd name="T36" fmla="*/ 107 w 512"/>
              <a:gd name="T37" fmla="*/ 245 h 512"/>
              <a:gd name="T38" fmla="*/ 106 w 512"/>
              <a:gd name="T39" fmla="*/ 245 h 512"/>
              <a:gd name="T40" fmla="*/ 96 w 512"/>
              <a:gd name="T41" fmla="*/ 256 h 512"/>
              <a:gd name="T42" fmla="*/ 106 w 512"/>
              <a:gd name="T43" fmla="*/ 266 h 512"/>
              <a:gd name="T44" fmla="*/ 107 w 512"/>
              <a:gd name="T45" fmla="*/ 266 h 512"/>
              <a:gd name="T46" fmla="*/ 170 w 512"/>
              <a:gd name="T47" fmla="*/ 320 h 512"/>
              <a:gd name="T48" fmla="*/ 234 w 512"/>
              <a:gd name="T49" fmla="*/ 265 h 512"/>
              <a:gd name="T50" fmla="*/ 256 w 512"/>
              <a:gd name="T51" fmla="*/ 256 h 512"/>
              <a:gd name="T52" fmla="*/ 278 w 512"/>
              <a:gd name="T53" fmla="*/ 265 h 512"/>
              <a:gd name="T54" fmla="*/ 341 w 512"/>
              <a:gd name="T55" fmla="*/ 320 h 512"/>
              <a:gd name="T56" fmla="*/ 404 w 512"/>
              <a:gd name="T57" fmla="*/ 266 h 512"/>
              <a:gd name="T58" fmla="*/ 405 w 512"/>
              <a:gd name="T59" fmla="*/ 266 h 512"/>
              <a:gd name="T60" fmla="*/ 416 w 512"/>
              <a:gd name="T61" fmla="*/ 256 h 512"/>
              <a:gd name="T62" fmla="*/ 341 w 512"/>
              <a:gd name="T63" fmla="*/ 213 h 512"/>
              <a:gd name="T64" fmla="*/ 298 w 512"/>
              <a:gd name="T65" fmla="*/ 256 h 512"/>
              <a:gd name="T66" fmla="*/ 341 w 512"/>
              <a:gd name="T67" fmla="*/ 298 h 512"/>
              <a:gd name="T68" fmla="*/ 384 w 512"/>
              <a:gd name="T69" fmla="*/ 256 h 512"/>
              <a:gd name="T70" fmla="*/ 341 w 512"/>
              <a:gd name="T71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13" y="256"/>
                </a:moveTo>
                <a:cubicBezTo>
                  <a:pt x="213" y="279"/>
                  <a:pt x="194" y="298"/>
                  <a:pt x="170" y="298"/>
                </a:cubicBezTo>
                <a:cubicBezTo>
                  <a:pt x="147" y="298"/>
                  <a:pt x="128" y="279"/>
                  <a:pt x="128" y="256"/>
                </a:cubicBezTo>
                <a:cubicBezTo>
                  <a:pt x="128" y="232"/>
                  <a:pt x="147" y="213"/>
                  <a:pt x="170" y="213"/>
                </a:cubicBezTo>
                <a:cubicBezTo>
                  <a:pt x="194" y="213"/>
                  <a:pt x="213" y="232"/>
                  <a:pt x="213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250"/>
                  <a:pt x="411" y="245"/>
                  <a:pt x="405" y="245"/>
                </a:cubicBezTo>
                <a:cubicBezTo>
                  <a:pt x="404" y="245"/>
                  <a:pt x="404" y="245"/>
                  <a:pt x="404" y="245"/>
                </a:cubicBezTo>
                <a:cubicBezTo>
                  <a:pt x="399" y="215"/>
                  <a:pt x="373" y="192"/>
                  <a:pt x="341" y="192"/>
                </a:cubicBezTo>
                <a:cubicBezTo>
                  <a:pt x="311" y="192"/>
                  <a:pt x="286" y="212"/>
                  <a:pt x="279" y="240"/>
                </a:cubicBezTo>
                <a:cubicBezTo>
                  <a:pt x="272" y="236"/>
                  <a:pt x="264" y="234"/>
                  <a:pt x="256" y="234"/>
                </a:cubicBezTo>
                <a:cubicBezTo>
                  <a:pt x="247" y="234"/>
                  <a:pt x="239" y="236"/>
                  <a:pt x="232" y="240"/>
                </a:cubicBezTo>
                <a:cubicBezTo>
                  <a:pt x="225" y="212"/>
                  <a:pt x="200" y="192"/>
                  <a:pt x="170" y="192"/>
                </a:cubicBezTo>
                <a:cubicBezTo>
                  <a:pt x="139" y="192"/>
                  <a:pt x="112" y="215"/>
                  <a:pt x="107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07" y="266"/>
                  <a:pt x="107" y="266"/>
                  <a:pt x="107" y="266"/>
                </a:cubicBezTo>
                <a:cubicBezTo>
                  <a:pt x="112" y="297"/>
                  <a:pt x="139" y="320"/>
                  <a:pt x="170" y="320"/>
                </a:cubicBezTo>
                <a:cubicBezTo>
                  <a:pt x="203" y="320"/>
                  <a:pt x="229" y="296"/>
                  <a:pt x="234" y="265"/>
                </a:cubicBezTo>
                <a:cubicBezTo>
                  <a:pt x="240" y="259"/>
                  <a:pt x="247" y="256"/>
                  <a:pt x="256" y="256"/>
                </a:cubicBezTo>
                <a:cubicBezTo>
                  <a:pt x="264" y="256"/>
                  <a:pt x="272" y="259"/>
                  <a:pt x="278" y="265"/>
                </a:cubicBezTo>
                <a:cubicBezTo>
                  <a:pt x="282" y="296"/>
                  <a:pt x="309" y="320"/>
                  <a:pt x="341" y="320"/>
                </a:cubicBezTo>
                <a:cubicBezTo>
                  <a:pt x="373" y="320"/>
                  <a:pt x="399" y="297"/>
                  <a:pt x="404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close/>
                <a:moveTo>
                  <a:pt x="341" y="213"/>
                </a:moveTo>
                <a:cubicBezTo>
                  <a:pt x="317" y="213"/>
                  <a:pt x="298" y="232"/>
                  <a:pt x="298" y="256"/>
                </a:cubicBezTo>
                <a:cubicBezTo>
                  <a:pt x="298" y="279"/>
                  <a:pt x="317" y="298"/>
                  <a:pt x="341" y="298"/>
                </a:cubicBezTo>
                <a:cubicBezTo>
                  <a:pt x="365" y="298"/>
                  <a:pt x="384" y="279"/>
                  <a:pt x="384" y="256"/>
                </a:cubicBezTo>
                <a:cubicBezTo>
                  <a:pt x="384" y="232"/>
                  <a:pt x="365" y="213"/>
                  <a:pt x="341" y="2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" name="Freeform 241"/>
          <p:cNvSpPr>
            <a:spLocks noChangeAspect="1" noEditPoints="1"/>
          </p:cNvSpPr>
          <p:nvPr/>
        </p:nvSpPr>
        <p:spPr bwMode="auto">
          <a:xfrm>
            <a:off x="8414189" y="2044606"/>
            <a:ext cx="367631" cy="368712"/>
          </a:xfrm>
          <a:custGeom>
            <a:avLst/>
            <a:gdLst>
              <a:gd name="T0" fmla="*/ 275 w 512"/>
              <a:gd name="T1" fmla="*/ 330 h 512"/>
              <a:gd name="T2" fmla="*/ 271 w 512"/>
              <a:gd name="T3" fmla="*/ 342 h 512"/>
              <a:gd name="T4" fmla="*/ 269 w 512"/>
              <a:gd name="T5" fmla="*/ 348 h 512"/>
              <a:gd name="T6" fmla="*/ 256 w 512"/>
              <a:gd name="T7" fmla="*/ 352 h 512"/>
              <a:gd name="T8" fmla="*/ 253 w 512"/>
              <a:gd name="T9" fmla="*/ 350 h 512"/>
              <a:gd name="T10" fmla="*/ 250 w 512"/>
              <a:gd name="T11" fmla="*/ 349 h 512"/>
              <a:gd name="T12" fmla="*/ 243 w 512"/>
              <a:gd name="T13" fmla="*/ 348 h 512"/>
              <a:gd name="T14" fmla="*/ 234 w 512"/>
              <a:gd name="T15" fmla="*/ 338 h 512"/>
              <a:gd name="T16" fmla="*/ 235 w 512"/>
              <a:gd name="T17" fmla="*/ 324 h 512"/>
              <a:gd name="T18" fmla="*/ 243 w 512"/>
              <a:gd name="T19" fmla="*/ 313 h 512"/>
              <a:gd name="T20" fmla="*/ 256 w 512"/>
              <a:gd name="T21" fmla="*/ 309 h 512"/>
              <a:gd name="T22" fmla="*/ 258 w 512"/>
              <a:gd name="T23" fmla="*/ 310 h 512"/>
              <a:gd name="T24" fmla="*/ 262 w 512"/>
              <a:gd name="T25" fmla="*/ 312 h 512"/>
              <a:gd name="T26" fmla="*/ 268 w 512"/>
              <a:gd name="T27" fmla="*/ 313 h 512"/>
              <a:gd name="T28" fmla="*/ 277 w 512"/>
              <a:gd name="T29" fmla="*/ 324 h 512"/>
              <a:gd name="T30" fmla="*/ 352 w 512"/>
              <a:gd name="T31" fmla="*/ 117 h 512"/>
              <a:gd name="T32" fmla="*/ 160 w 512"/>
              <a:gd name="T33" fmla="*/ 394 h 512"/>
              <a:gd name="T34" fmla="*/ 297 w 512"/>
              <a:gd name="T35" fmla="*/ 330 h 512"/>
              <a:gd name="T36" fmla="*/ 298 w 512"/>
              <a:gd name="T37" fmla="*/ 317 h 512"/>
              <a:gd name="T38" fmla="*/ 289 w 512"/>
              <a:gd name="T39" fmla="*/ 306 h 512"/>
              <a:gd name="T40" fmla="*/ 282 w 512"/>
              <a:gd name="T41" fmla="*/ 294 h 512"/>
              <a:gd name="T42" fmla="*/ 268 w 512"/>
              <a:gd name="T43" fmla="*/ 291 h 512"/>
              <a:gd name="T44" fmla="*/ 256 w 512"/>
              <a:gd name="T45" fmla="*/ 286 h 512"/>
              <a:gd name="T46" fmla="*/ 243 w 512"/>
              <a:gd name="T47" fmla="*/ 291 h 512"/>
              <a:gd name="T48" fmla="*/ 229 w 512"/>
              <a:gd name="T49" fmla="*/ 294 h 512"/>
              <a:gd name="T50" fmla="*/ 223 w 512"/>
              <a:gd name="T51" fmla="*/ 306 h 512"/>
              <a:gd name="T52" fmla="*/ 213 w 512"/>
              <a:gd name="T53" fmla="*/ 317 h 512"/>
              <a:gd name="T54" fmla="*/ 215 w 512"/>
              <a:gd name="T55" fmla="*/ 330 h 512"/>
              <a:gd name="T56" fmla="*/ 213 w 512"/>
              <a:gd name="T57" fmla="*/ 344 h 512"/>
              <a:gd name="T58" fmla="*/ 223 w 512"/>
              <a:gd name="T59" fmla="*/ 354 h 512"/>
              <a:gd name="T60" fmla="*/ 229 w 512"/>
              <a:gd name="T61" fmla="*/ 366 h 512"/>
              <a:gd name="T62" fmla="*/ 243 w 512"/>
              <a:gd name="T63" fmla="*/ 369 h 512"/>
              <a:gd name="T64" fmla="*/ 256 w 512"/>
              <a:gd name="T65" fmla="*/ 375 h 512"/>
              <a:gd name="T66" fmla="*/ 268 w 512"/>
              <a:gd name="T67" fmla="*/ 369 h 512"/>
              <a:gd name="T68" fmla="*/ 282 w 512"/>
              <a:gd name="T69" fmla="*/ 366 h 512"/>
              <a:gd name="T70" fmla="*/ 289 w 512"/>
              <a:gd name="T71" fmla="*/ 354 h 512"/>
              <a:gd name="T72" fmla="*/ 298 w 512"/>
              <a:gd name="T73" fmla="*/ 344 h 512"/>
              <a:gd name="T74" fmla="*/ 297 w 512"/>
              <a:gd name="T75" fmla="*/ 330 h 512"/>
              <a:gd name="T76" fmla="*/ 192 w 512"/>
              <a:gd name="T77" fmla="*/ 170 h 512"/>
              <a:gd name="T78" fmla="*/ 330 w 512"/>
              <a:gd name="T79" fmla="*/ 160 h 512"/>
              <a:gd name="T80" fmla="*/ 192 w 512"/>
              <a:gd name="T81" fmla="*/ 149 h 512"/>
              <a:gd name="T82" fmla="*/ 181 w 512"/>
              <a:gd name="T83" fmla="*/ 202 h 512"/>
              <a:gd name="T84" fmla="*/ 320 w 512"/>
              <a:gd name="T85" fmla="*/ 213 h 512"/>
              <a:gd name="T86" fmla="*/ 320 w 512"/>
              <a:gd name="T87" fmla="*/ 192 h 512"/>
              <a:gd name="T88" fmla="*/ 181 w 512"/>
              <a:gd name="T89" fmla="*/ 202 h 512"/>
              <a:gd name="T90" fmla="*/ 192 w 512"/>
              <a:gd name="T91" fmla="*/ 256 h 512"/>
              <a:gd name="T92" fmla="*/ 330 w 512"/>
              <a:gd name="T93" fmla="*/ 245 h 512"/>
              <a:gd name="T94" fmla="*/ 192 w 512"/>
              <a:gd name="T95" fmla="*/ 234 h 512"/>
              <a:gd name="T96" fmla="*/ 512 w 512"/>
              <a:gd name="T97" fmla="*/ 256 h 512"/>
              <a:gd name="T98" fmla="*/ 0 w 512"/>
              <a:gd name="T99" fmla="*/ 256 h 512"/>
              <a:gd name="T100" fmla="*/ 512 w 512"/>
              <a:gd name="T101" fmla="*/ 256 h 512"/>
              <a:gd name="T102" fmla="*/ 362 w 512"/>
              <a:gd name="T103" fmla="*/ 96 h 512"/>
              <a:gd name="T104" fmla="*/ 138 w 512"/>
              <a:gd name="T105" fmla="*/ 106 h 512"/>
              <a:gd name="T106" fmla="*/ 149 w 512"/>
              <a:gd name="T107" fmla="*/ 416 h 512"/>
              <a:gd name="T108" fmla="*/ 373 w 512"/>
              <a:gd name="T109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77" y="324"/>
                </a:moveTo>
                <a:cubicBezTo>
                  <a:pt x="277" y="325"/>
                  <a:pt x="275" y="327"/>
                  <a:pt x="275" y="330"/>
                </a:cubicBezTo>
                <a:cubicBezTo>
                  <a:pt x="275" y="333"/>
                  <a:pt x="276" y="335"/>
                  <a:pt x="277" y="337"/>
                </a:cubicBezTo>
                <a:cubicBezTo>
                  <a:pt x="275" y="338"/>
                  <a:pt x="273" y="340"/>
                  <a:pt x="271" y="342"/>
                </a:cubicBezTo>
                <a:cubicBezTo>
                  <a:pt x="270" y="344"/>
                  <a:pt x="269" y="346"/>
                  <a:pt x="269" y="348"/>
                </a:cubicBezTo>
                <a:cubicBezTo>
                  <a:pt x="269" y="348"/>
                  <a:pt x="269" y="348"/>
                  <a:pt x="269" y="348"/>
                </a:cubicBezTo>
                <a:cubicBezTo>
                  <a:pt x="267" y="348"/>
                  <a:pt x="264" y="348"/>
                  <a:pt x="262" y="349"/>
                </a:cubicBezTo>
                <a:cubicBezTo>
                  <a:pt x="259" y="350"/>
                  <a:pt x="257" y="351"/>
                  <a:pt x="256" y="352"/>
                </a:cubicBezTo>
                <a:cubicBezTo>
                  <a:pt x="255" y="352"/>
                  <a:pt x="255" y="351"/>
                  <a:pt x="254" y="351"/>
                </a:cubicBezTo>
                <a:cubicBezTo>
                  <a:pt x="254" y="351"/>
                  <a:pt x="253" y="351"/>
                  <a:pt x="253" y="350"/>
                </a:cubicBezTo>
                <a:cubicBezTo>
                  <a:pt x="252" y="350"/>
                  <a:pt x="251" y="349"/>
                  <a:pt x="250" y="349"/>
                </a:cubicBezTo>
                <a:cubicBezTo>
                  <a:pt x="250" y="349"/>
                  <a:pt x="250" y="349"/>
                  <a:pt x="250" y="349"/>
                </a:cubicBezTo>
                <a:cubicBezTo>
                  <a:pt x="249" y="349"/>
                  <a:pt x="249" y="349"/>
                  <a:pt x="248" y="348"/>
                </a:cubicBezTo>
                <a:cubicBezTo>
                  <a:pt x="246" y="348"/>
                  <a:pt x="244" y="348"/>
                  <a:pt x="243" y="348"/>
                </a:cubicBezTo>
                <a:cubicBezTo>
                  <a:pt x="242" y="346"/>
                  <a:pt x="241" y="344"/>
                  <a:pt x="240" y="342"/>
                </a:cubicBezTo>
                <a:cubicBezTo>
                  <a:pt x="238" y="340"/>
                  <a:pt x="236" y="339"/>
                  <a:pt x="234" y="338"/>
                </a:cubicBezTo>
                <a:cubicBezTo>
                  <a:pt x="235" y="336"/>
                  <a:pt x="236" y="333"/>
                  <a:pt x="236" y="331"/>
                </a:cubicBezTo>
                <a:cubicBezTo>
                  <a:pt x="236" y="328"/>
                  <a:pt x="235" y="326"/>
                  <a:pt x="235" y="324"/>
                </a:cubicBezTo>
                <a:cubicBezTo>
                  <a:pt x="236" y="323"/>
                  <a:pt x="238" y="321"/>
                  <a:pt x="239" y="319"/>
                </a:cubicBezTo>
                <a:cubicBezTo>
                  <a:pt x="241" y="317"/>
                  <a:pt x="242" y="315"/>
                  <a:pt x="243" y="313"/>
                </a:cubicBezTo>
                <a:cubicBezTo>
                  <a:pt x="245" y="313"/>
                  <a:pt x="247" y="313"/>
                  <a:pt x="250" y="312"/>
                </a:cubicBezTo>
                <a:cubicBezTo>
                  <a:pt x="252" y="311"/>
                  <a:pt x="254" y="310"/>
                  <a:pt x="256" y="309"/>
                </a:cubicBezTo>
                <a:cubicBezTo>
                  <a:pt x="256" y="309"/>
                  <a:pt x="257" y="309"/>
                  <a:pt x="257" y="310"/>
                </a:cubicBezTo>
                <a:cubicBezTo>
                  <a:pt x="258" y="310"/>
                  <a:pt x="258" y="310"/>
                  <a:pt x="258" y="310"/>
                </a:cubicBezTo>
                <a:cubicBezTo>
                  <a:pt x="259" y="311"/>
                  <a:pt x="260" y="311"/>
                  <a:pt x="261" y="312"/>
                </a:cubicBezTo>
                <a:cubicBezTo>
                  <a:pt x="261" y="312"/>
                  <a:pt x="261" y="312"/>
                  <a:pt x="262" y="312"/>
                </a:cubicBezTo>
                <a:cubicBezTo>
                  <a:pt x="262" y="312"/>
                  <a:pt x="263" y="312"/>
                  <a:pt x="263" y="312"/>
                </a:cubicBezTo>
                <a:cubicBezTo>
                  <a:pt x="265" y="313"/>
                  <a:pt x="267" y="313"/>
                  <a:pt x="268" y="313"/>
                </a:cubicBezTo>
                <a:cubicBezTo>
                  <a:pt x="269" y="315"/>
                  <a:pt x="270" y="317"/>
                  <a:pt x="271" y="319"/>
                </a:cubicBezTo>
                <a:cubicBezTo>
                  <a:pt x="273" y="321"/>
                  <a:pt x="276" y="322"/>
                  <a:pt x="277" y="324"/>
                </a:cubicBezTo>
                <a:close/>
                <a:moveTo>
                  <a:pt x="160" y="117"/>
                </a:moveTo>
                <a:cubicBezTo>
                  <a:pt x="352" y="117"/>
                  <a:pt x="352" y="117"/>
                  <a:pt x="352" y="117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lnTo>
                  <a:pt x="160" y="117"/>
                </a:lnTo>
                <a:close/>
                <a:moveTo>
                  <a:pt x="297" y="330"/>
                </a:moveTo>
                <a:cubicBezTo>
                  <a:pt x="297" y="330"/>
                  <a:pt x="297" y="330"/>
                  <a:pt x="297" y="329"/>
                </a:cubicBezTo>
                <a:cubicBezTo>
                  <a:pt x="298" y="327"/>
                  <a:pt x="300" y="322"/>
                  <a:pt x="298" y="317"/>
                </a:cubicBezTo>
                <a:cubicBezTo>
                  <a:pt x="296" y="311"/>
                  <a:pt x="292" y="308"/>
                  <a:pt x="289" y="307"/>
                </a:cubicBezTo>
                <a:cubicBezTo>
                  <a:pt x="289" y="307"/>
                  <a:pt x="289" y="306"/>
                  <a:pt x="289" y="306"/>
                </a:cubicBezTo>
                <a:cubicBezTo>
                  <a:pt x="289" y="306"/>
                  <a:pt x="289" y="306"/>
                  <a:pt x="289" y="306"/>
                </a:cubicBezTo>
                <a:cubicBezTo>
                  <a:pt x="288" y="303"/>
                  <a:pt x="286" y="298"/>
                  <a:pt x="282" y="294"/>
                </a:cubicBezTo>
                <a:cubicBezTo>
                  <a:pt x="277" y="291"/>
                  <a:pt x="272" y="291"/>
                  <a:pt x="269" y="291"/>
                </a:cubicBezTo>
                <a:cubicBezTo>
                  <a:pt x="269" y="291"/>
                  <a:pt x="269" y="291"/>
                  <a:pt x="268" y="291"/>
                </a:cubicBezTo>
                <a:cubicBezTo>
                  <a:pt x="268" y="291"/>
                  <a:pt x="268" y="291"/>
                  <a:pt x="268" y="291"/>
                </a:cubicBezTo>
                <a:cubicBezTo>
                  <a:pt x="265" y="289"/>
                  <a:pt x="261" y="286"/>
                  <a:pt x="256" y="286"/>
                </a:cubicBezTo>
                <a:cubicBezTo>
                  <a:pt x="250" y="286"/>
                  <a:pt x="246" y="289"/>
                  <a:pt x="243" y="291"/>
                </a:cubicBezTo>
                <a:cubicBezTo>
                  <a:pt x="243" y="291"/>
                  <a:pt x="243" y="291"/>
                  <a:pt x="243" y="291"/>
                </a:cubicBezTo>
                <a:cubicBezTo>
                  <a:pt x="243" y="291"/>
                  <a:pt x="242" y="291"/>
                  <a:pt x="242" y="291"/>
                </a:cubicBezTo>
                <a:cubicBezTo>
                  <a:pt x="239" y="291"/>
                  <a:pt x="234" y="291"/>
                  <a:pt x="229" y="294"/>
                </a:cubicBezTo>
                <a:cubicBezTo>
                  <a:pt x="225" y="298"/>
                  <a:pt x="224" y="303"/>
                  <a:pt x="223" y="306"/>
                </a:cubicBezTo>
                <a:cubicBezTo>
                  <a:pt x="223" y="306"/>
                  <a:pt x="223" y="306"/>
                  <a:pt x="223" y="306"/>
                </a:cubicBezTo>
                <a:cubicBezTo>
                  <a:pt x="222" y="306"/>
                  <a:pt x="222" y="307"/>
                  <a:pt x="222" y="307"/>
                </a:cubicBezTo>
                <a:cubicBezTo>
                  <a:pt x="219" y="308"/>
                  <a:pt x="215" y="311"/>
                  <a:pt x="213" y="317"/>
                </a:cubicBezTo>
                <a:cubicBezTo>
                  <a:pt x="212" y="322"/>
                  <a:pt x="213" y="327"/>
                  <a:pt x="214" y="329"/>
                </a:cubicBezTo>
                <a:cubicBezTo>
                  <a:pt x="215" y="330"/>
                  <a:pt x="215" y="330"/>
                  <a:pt x="215" y="330"/>
                </a:cubicBezTo>
                <a:cubicBezTo>
                  <a:pt x="215" y="331"/>
                  <a:pt x="215" y="331"/>
                  <a:pt x="214" y="331"/>
                </a:cubicBezTo>
                <a:cubicBezTo>
                  <a:pt x="213" y="334"/>
                  <a:pt x="212" y="339"/>
                  <a:pt x="213" y="344"/>
                </a:cubicBezTo>
                <a:cubicBezTo>
                  <a:pt x="215" y="350"/>
                  <a:pt x="219" y="352"/>
                  <a:pt x="222" y="354"/>
                </a:cubicBezTo>
                <a:cubicBezTo>
                  <a:pt x="222" y="354"/>
                  <a:pt x="222" y="354"/>
                  <a:pt x="223" y="354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4" y="358"/>
                  <a:pt x="225" y="363"/>
                  <a:pt x="229" y="366"/>
                </a:cubicBezTo>
                <a:cubicBezTo>
                  <a:pt x="234" y="370"/>
                  <a:pt x="239" y="370"/>
                  <a:pt x="242" y="369"/>
                </a:cubicBezTo>
                <a:cubicBezTo>
                  <a:pt x="242" y="369"/>
                  <a:pt x="243" y="369"/>
                  <a:pt x="243" y="369"/>
                </a:cubicBezTo>
                <a:cubicBezTo>
                  <a:pt x="243" y="369"/>
                  <a:pt x="243" y="370"/>
                  <a:pt x="243" y="370"/>
                </a:cubicBezTo>
                <a:cubicBezTo>
                  <a:pt x="246" y="372"/>
                  <a:pt x="250" y="375"/>
                  <a:pt x="256" y="375"/>
                </a:cubicBezTo>
                <a:cubicBezTo>
                  <a:pt x="261" y="375"/>
                  <a:pt x="265" y="372"/>
                  <a:pt x="268" y="370"/>
                </a:cubicBezTo>
                <a:cubicBezTo>
                  <a:pt x="268" y="370"/>
                  <a:pt x="268" y="369"/>
                  <a:pt x="268" y="369"/>
                </a:cubicBezTo>
                <a:cubicBezTo>
                  <a:pt x="269" y="369"/>
                  <a:pt x="269" y="369"/>
                  <a:pt x="269" y="369"/>
                </a:cubicBezTo>
                <a:cubicBezTo>
                  <a:pt x="272" y="370"/>
                  <a:pt x="277" y="370"/>
                  <a:pt x="282" y="366"/>
                </a:cubicBezTo>
                <a:cubicBezTo>
                  <a:pt x="286" y="363"/>
                  <a:pt x="288" y="358"/>
                  <a:pt x="289" y="355"/>
                </a:cubicBezTo>
                <a:cubicBezTo>
                  <a:pt x="289" y="355"/>
                  <a:pt x="289" y="355"/>
                  <a:pt x="289" y="354"/>
                </a:cubicBezTo>
                <a:cubicBezTo>
                  <a:pt x="289" y="354"/>
                  <a:pt x="289" y="354"/>
                  <a:pt x="289" y="354"/>
                </a:cubicBezTo>
                <a:cubicBezTo>
                  <a:pt x="292" y="352"/>
                  <a:pt x="296" y="350"/>
                  <a:pt x="298" y="344"/>
                </a:cubicBezTo>
                <a:cubicBezTo>
                  <a:pt x="300" y="339"/>
                  <a:pt x="298" y="334"/>
                  <a:pt x="297" y="331"/>
                </a:cubicBezTo>
                <a:cubicBezTo>
                  <a:pt x="297" y="331"/>
                  <a:pt x="297" y="331"/>
                  <a:pt x="297" y="330"/>
                </a:cubicBezTo>
                <a:close/>
                <a:moveTo>
                  <a:pt x="181" y="160"/>
                </a:moveTo>
                <a:cubicBezTo>
                  <a:pt x="181" y="166"/>
                  <a:pt x="186" y="170"/>
                  <a:pt x="192" y="170"/>
                </a:cubicBezTo>
                <a:cubicBezTo>
                  <a:pt x="320" y="170"/>
                  <a:pt x="320" y="170"/>
                  <a:pt x="320" y="170"/>
                </a:cubicBezTo>
                <a:cubicBezTo>
                  <a:pt x="326" y="170"/>
                  <a:pt x="330" y="166"/>
                  <a:pt x="330" y="160"/>
                </a:cubicBezTo>
                <a:cubicBezTo>
                  <a:pt x="330" y="154"/>
                  <a:pt x="326" y="149"/>
                  <a:pt x="320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86" y="149"/>
                  <a:pt x="181" y="154"/>
                  <a:pt x="181" y="160"/>
                </a:cubicBezTo>
                <a:close/>
                <a:moveTo>
                  <a:pt x="181" y="202"/>
                </a:moveTo>
                <a:cubicBezTo>
                  <a:pt x="181" y="208"/>
                  <a:pt x="186" y="213"/>
                  <a:pt x="192" y="213"/>
                </a:cubicBezTo>
                <a:cubicBezTo>
                  <a:pt x="320" y="213"/>
                  <a:pt x="320" y="213"/>
                  <a:pt x="320" y="213"/>
                </a:cubicBezTo>
                <a:cubicBezTo>
                  <a:pt x="326" y="213"/>
                  <a:pt x="330" y="208"/>
                  <a:pt x="330" y="202"/>
                </a:cubicBezTo>
                <a:cubicBezTo>
                  <a:pt x="330" y="196"/>
                  <a:pt x="326" y="192"/>
                  <a:pt x="32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86" y="192"/>
                  <a:pt x="181" y="196"/>
                  <a:pt x="181" y="202"/>
                </a:cubicBezTo>
                <a:close/>
                <a:moveTo>
                  <a:pt x="181" y="245"/>
                </a:moveTo>
                <a:cubicBezTo>
                  <a:pt x="181" y="251"/>
                  <a:pt x="186" y="256"/>
                  <a:pt x="192" y="256"/>
                </a:cubicBezTo>
                <a:cubicBezTo>
                  <a:pt x="320" y="256"/>
                  <a:pt x="320" y="256"/>
                  <a:pt x="320" y="256"/>
                </a:cubicBezTo>
                <a:cubicBezTo>
                  <a:pt x="326" y="256"/>
                  <a:pt x="330" y="251"/>
                  <a:pt x="330" y="245"/>
                </a:cubicBezTo>
                <a:cubicBezTo>
                  <a:pt x="330" y="239"/>
                  <a:pt x="326" y="234"/>
                  <a:pt x="320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86" y="234"/>
                  <a:pt x="181" y="239"/>
                  <a:pt x="181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06"/>
                </a:moveTo>
                <a:cubicBezTo>
                  <a:pt x="373" y="100"/>
                  <a:pt x="368" y="96"/>
                  <a:pt x="362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0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7" name="Group 244"/>
          <p:cNvGrpSpPr>
            <a:grpSpLocks noChangeAspect="1"/>
          </p:cNvGrpSpPr>
          <p:nvPr/>
        </p:nvGrpSpPr>
        <p:grpSpPr bwMode="auto">
          <a:xfrm>
            <a:off x="8911704" y="2044610"/>
            <a:ext cx="367631" cy="367631"/>
            <a:chOff x="4646" y="1397"/>
            <a:chExt cx="340" cy="340"/>
          </a:xfrm>
          <a:solidFill>
            <a:schemeClr val="accent3"/>
          </a:solidFill>
        </p:grpSpPr>
        <p:sp>
          <p:nvSpPr>
            <p:cNvPr id="68" name="Freeform 245"/>
            <p:cNvSpPr>
              <a:spLocks noEditPoints="1"/>
            </p:cNvSpPr>
            <p:nvPr/>
          </p:nvSpPr>
          <p:spPr bwMode="auto">
            <a:xfrm>
              <a:off x="4646" y="13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46"/>
            <p:cNvSpPr>
              <a:spLocks noEditPoints="1"/>
            </p:cNvSpPr>
            <p:nvPr/>
          </p:nvSpPr>
          <p:spPr bwMode="auto">
            <a:xfrm>
              <a:off x="4738" y="1461"/>
              <a:ext cx="156" cy="212"/>
            </a:xfrm>
            <a:custGeom>
              <a:avLst/>
              <a:gdLst>
                <a:gd name="T0" fmla="*/ 54 w 235"/>
                <a:gd name="T1" fmla="*/ 53 h 320"/>
                <a:gd name="T2" fmla="*/ 192 w 235"/>
                <a:gd name="T3" fmla="*/ 64 h 320"/>
                <a:gd name="T4" fmla="*/ 54 w 235"/>
                <a:gd name="T5" fmla="*/ 74 h 320"/>
                <a:gd name="T6" fmla="*/ 235 w 235"/>
                <a:gd name="T7" fmla="*/ 10 h 320"/>
                <a:gd name="T8" fmla="*/ 224 w 235"/>
                <a:gd name="T9" fmla="*/ 320 h 320"/>
                <a:gd name="T10" fmla="*/ 0 w 235"/>
                <a:gd name="T11" fmla="*/ 309 h 320"/>
                <a:gd name="T12" fmla="*/ 11 w 235"/>
                <a:gd name="T13" fmla="*/ 0 h 320"/>
                <a:gd name="T14" fmla="*/ 235 w 235"/>
                <a:gd name="T15" fmla="*/ 10 h 320"/>
                <a:gd name="T16" fmla="*/ 22 w 235"/>
                <a:gd name="T17" fmla="*/ 21 h 320"/>
                <a:gd name="T18" fmla="*/ 214 w 235"/>
                <a:gd name="T19" fmla="*/ 298 h 320"/>
                <a:gd name="T20" fmla="*/ 54 w 235"/>
                <a:gd name="T21" fmla="*/ 160 h 320"/>
                <a:gd name="T22" fmla="*/ 192 w 235"/>
                <a:gd name="T23" fmla="*/ 149 h 320"/>
                <a:gd name="T24" fmla="*/ 54 w 235"/>
                <a:gd name="T25" fmla="*/ 138 h 320"/>
                <a:gd name="T26" fmla="*/ 54 w 235"/>
                <a:gd name="T27" fmla="*/ 160 h 320"/>
                <a:gd name="T28" fmla="*/ 182 w 235"/>
                <a:gd name="T29" fmla="*/ 117 h 320"/>
                <a:gd name="T30" fmla="*/ 182 w 235"/>
                <a:gd name="T31" fmla="*/ 96 h 320"/>
                <a:gd name="T32" fmla="*/ 43 w 235"/>
                <a:gd name="T33" fmla="*/ 106 h 320"/>
                <a:gd name="T34" fmla="*/ 159 w 235"/>
                <a:gd name="T35" fmla="*/ 233 h 320"/>
                <a:gd name="T36" fmla="*/ 159 w 235"/>
                <a:gd name="T37" fmla="*/ 235 h 320"/>
                <a:gd name="T38" fmla="*/ 151 w 235"/>
                <a:gd name="T39" fmla="*/ 258 h 320"/>
                <a:gd name="T40" fmla="*/ 151 w 235"/>
                <a:gd name="T41" fmla="*/ 259 h 320"/>
                <a:gd name="T42" fmla="*/ 131 w 235"/>
                <a:gd name="T43" fmla="*/ 273 h 320"/>
                <a:gd name="T44" fmla="*/ 130 w 235"/>
                <a:gd name="T45" fmla="*/ 274 h 320"/>
                <a:gd name="T46" fmla="*/ 105 w 235"/>
                <a:gd name="T47" fmla="*/ 274 h 320"/>
                <a:gd name="T48" fmla="*/ 104 w 235"/>
                <a:gd name="T49" fmla="*/ 273 h 320"/>
                <a:gd name="T50" fmla="*/ 85 w 235"/>
                <a:gd name="T51" fmla="*/ 259 h 320"/>
                <a:gd name="T52" fmla="*/ 84 w 235"/>
                <a:gd name="T53" fmla="*/ 258 h 320"/>
                <a:gd name="T54" fmla="*/ 76 w 235"/>
                <a:gd name="T55" fmla="*/ 235 h 320"/>
                <a:gd name="T56" fmla="*/ 76 w 235"/>
                <a:gd name="T57" fmla="*/ 233 h 320"/>
                <a:gd name="T58" fmla="*/ 84 w 235"/>
                <a:gd name="T59" fmla="*/ 211 h 320"/>
                <a:gd name="T60" fmla="*/ 85 w 235"/>
                <a:gd name="T61" fmla="*/ 210 h 320"/>
                <a:gd name="T62" fmla="*/ 104 w 235"/>
                <a:gd name="T63" fmla="*/ 195 h 320"/>
                <a:gd name="T64" fmla="*/ 105 w 235"/>
                <a:gd name="T65" fmla="*/ 195 h 320"/>
                <a:gd name="T66" fmla="*/ 130 w 235"/>
                <a:gd name="T67" fmla="*/ 195 h 320"/>
                <a:gd name="T68" fmla="*/ 131 w 235"/>
                <a:gd name="T69" fmla="*/ 195 h 320"/>
                <a:gd name="T70" fmla="*/ 151 w 235"/>
                <a:gd name="T71" fmla="*/ 210 h 320"/>
                <a:gd name="T72" fmla="*/ 151 w 235"/>
                <a:gd name="T73" fmla="*/ 211 h 320"/>
                <a:gd name="T74" fmla="*/ 159 w 235"/>
                <a:gd name="T75" fmla="*/ 233 h 320"/>
                <a:gd name="T76" fmla="*/ 139 w 235"/>
                <a:gd name="T77" fmla="*/ 228 h 320"/>
                <a:gd name="T78" fmla="*/ 130 w 235"/>
                <a:gd name="T79" fmla="*/ 217 h 320"/>
                <a:gd name="T80" fmla="*/ 124 w 235"/>
                <a:gd name="T81" fmla="*/ 216 h 320"/>
                <a:gd name="T82" fmla="*/ 120 w 235"/>
                <a:gd name="T83" fmla="*/ 214 h 320"/>
                <a:gd name="T84" fmla="*/ 118 w 235"/>
                <a:gd name="T85" fmla="*/ 213 h 320"/>
                <a:gd name="T86" fmla="*/ 105 w 235"/>
                <a:gd name="T87" fmla="*/ 217 h 320"/>
                <a:gd name="T88" fmla="*/ 97 w 235"/>
                <a:gd name="T89" fmla="*/ 228 h 320"/>
                <a:gd name="T90" fmla="*/ 96 w 235"/>
                <a:gd name="T91" fmla="*/ 242 h 320"/>
                <a:gd name="T92" fmla="*/ 105 w 235"/>
                <a:gd name="T93" fmla="*/ 252 h 320"/>
                <a:gd name="T94" fmla="*/ 112 w 235"/>
                <a:gd name="T95" fmla="*/ 253 h 320"/>
                <a:gd name="T96" fmla="*/ 115 w 235"/>
                <a:gd name="T97" fmla="*/ 254 h 320"/>
                <a:gd name="T98" fmla="*/ 118 w 235"/>
                <a:gd name="T99" fmla="*/ 256 h 320"/>
                <a:gd name="T100" fmla="*/ 131 w 235"/>
                <a:gd name="T101" fmla="*/ 252 h 320"/>
                <a:gd name="T102" fmla="*/ 133 w 235"/>
                <a:gd name="T103" fmla="*/ 246 h 320"/>
                <a:gd name="T104" fmla="*/ 137 w 235"/>
                <a:gd name="T10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320">
                  <a:moveTo>
                    <a:pt x="43" y="64"/>
                  </a:moveTo>
                  <a:cubicBezTo>
                    <a:pt x="43" y="58"/>
                    <a:pt x="48" y="53"/>
                    <a:pt x="54" y="53"/>
                  </a:cubicBezTo>
                  <a:cubicBezTo>
                    <a:pt x="182" y="53"/>
                    <a:pt x="182" y="53"/>
                    <a:pt x="182" y="53"/>
                  </a:cubicBezTo>
                  <a:cubicBezTo>
                    <a:pt x="188" y="53"/>
                    <a:pt x="192" y="58"/>
                    <a:pt x="192" y="64"/>
                  </a:cubicBezTo>
                  <a:cubicBezTo>
                    <a:pt x="192" y="70"/>
                    <a:pt x="188" y="74"/>
                    <a:pt x="182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48" y="74"/>
                    <a:pt x="43" y="70"/>
                    <a:pt x="43" y="64"/>
                  </a:cubicBezTo>
                  <a:close/>
                  <a:moveTo>
                    <a:pt x="235" y="10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30" y="0"/>
                    <a:pt x="235" y="4"/>
                    <a:pt x="235" y="10"/>
                  </a:cubicBezTo>
                  <a:close/>
                  <a:moveTo>
                    <a:pt x="214" y="21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2" y="298"/>
                    <a:pt x="22" y="298"/>
                    <a:pt x="2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21"/>
                  </a:lnTo>
                  <a:close/>
                  <a:moveTo>
                    <a:pt x="54" y="160"/>
                  </a:moveTo>
                  <a:cubicBezTo>
                    <a:pt x="182" y="160"/>
                    <a:pt x="182" y="160"/>
                    <a:pt x="182" y="160"/>
                  </a:cubicBezTo>
                  <a:cubicBezTo>
                    <a:pt x="188" y="160"/>
                    <a:pt x="192" y="155"/>
                    <a:pt x="192" y="149"/>
                  </a:cubicBezTo>
                  <a:cubicBezTo>
                    <a:pt x="192" y="143"/>
                    <a:pt x="188" y="138"/>
                    <a:pt x="182" y="138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8" y="138"/>
                    <a:pt x="43" y="143"/>
                    <a:pt x="43" y="149"/>
                  </a:cubicBezTo>
                  <a:cubicBezTo>
                    <a:pt x="43" y="155"/>
                    <a:pt x="48" y="160"/>
                    <a:pt x="54" y="160"/>
                  </a:cubicBezTo>
                  <a:close/>
                  <a:moveTo>
                    <a:pt x="54" y="117"/>
                  </a:moveTo>
                  <a:cubicBezTo>
                    <a:pt x="182" y="117"/>
                    <a:pt x="182" y="117"/>
                    <a:pt x="182" y="117"/>
                  </a:cubicBezTo>
                  <a:cubicBezTo>
                    <a:pt x="188" y="117"/>
                    <a:pt x="192" y="112"/>
                    <a:pt x="192" y="106"/>
                  </a:cubicBezTo>
                  <a:cubicBezTo>
                    <a:pt x="192" y="100"/>
                    <a:pt x="188" y="96"/>
                    <a:pt x="18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48" y="96"/>
                    <a:pt x="43" y="100"/>
                    <a:pt x="43" y="106"/>
                  </a:cubicBezTo>
                  <a:cubicBezTo>
                    <a:pt x="43" y="112"/>
                    <a:pt x="48" y="117"/>
                    <a:pt x="54" y="117"/>
                  </a:cubicBezTo>
                  <a:close/>
                  <a:moveTo>
                    <a:pt x="159" y="233"/>
                  </a:moveTo>
                  <a:cubicBezTo>
                    <a:pt x="159" y="234"/>
                    <a:pt x="159" y="234"/>
                    <a:pt x="159" y="234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60" y="238"/>
                    <a:pt x="162" y="243"/>
                    <a:pt x="160" y="248"/>
                  </a:cubicBezTo>
                  <a:cubicBezTo>
                    <a:pt x="158" y="254"/>
                    <a:pt x="154" y="256"/>
                    <a:pt x="151" y="258"/>
                  </a:cubicBezTo>
                  <a:cubicBezTo>
                    <a:pt x="151" y="258"/>
                    <a:pt x="151" y="258"/>
                    <a:pt x="151" y="258"/>
                  </a:cubicBezTo>
                  <a:cubicBezTo>
                    <a:pt x="151" y="259"/>
                    <a:pt x="151" y="259"/>
                    <a:pt x="151" y="259"/>
                  </a:cubicBezTo>
                  <a:cubicBezTo>
                    <a:pt x="150" y="262"/>
                    <a:pt x="148" y="267"/>
                    <a:pt x="144" y="270"/>
                  </a:cubicBezTo>
                  <a:cubicBezTo>
                    <a:pt x="139" y="274"/>
                    <a:pt x="134" y="274"/>
                    <a:pt x="131" y="273"/>
                  </a:cubicBezTo>
                  <a:cubicBezTo>
                    <a:pt x="131" y="273"/>
                    <a:pt x="131" y="273"/>
                    <a:pt x="130" y="273"/>
                  </a:cubicBezTo>
                  <a:cubicBezTo>
                    <a:pt x="130" y="273"/>
                    <a:pt x="130" y="274"/>
                    <a:pt x="130" y="274"/>
                  </a:cubicBezTo>
                  <a:cubicBezTo>
                    <a:pt x="127" y="276"/>
                    <a:pt x="123" y="279"/>
                    <a:pt x="118" y="279"/>
                  </a:cubicBezTo>
                  <a:cubicBezTo>
                    <a:pt x="112" y="279"/>
                    <a:pt x="108" y="276"/>
                    <a:pt x="105" y="274"/>
                  </a:cubicBezTo>
                  <a:cubicBezTo>
                    <a:pt x="105" y="274"/>
                    <a:pt x="105" y="273"/>
                    <a:pt x="105" y="273"/>
                  </a:cubicBezTo>
                  <a:cubicBezTo>
                    <a:pt x="105" y="273"/>
                    <a:pt x="104" y="273"/>
                    <a:pt x="104" y="273"/>
                  </a:cubicBezTo>
                  <a:cubicBezTo>
                    <a:pt x="101" y="274"/>
                    <a:pt x="96" y="274"/>
                    <a:pt x="91" y="270"/>
                  </a:cubicBezTo>
                  <a:cubicBezTo>
                    <a:pt x="87" y="267"/>
                    <a:pt x="86" y="262"/>
                    <a:pt x="85" y="259"/>
                  </a:cubicBezTo>
                  <a:cubicBezTo>
                    <a:pt x="85" y="259"/>
                    <a:pt x="85" y="259"/>
                    <a:pt x="85" y="258"/>
                  </a:cubicBezTo>
                  <a:cubicBezTo>
                    <a:pt x="84" y="258"/>
                    <a:pt x="84" y="258"/>
                    <a:pt x="84" y="258"/>
                  </a:cubicBezTo>
                  <a:cubicBezTo>
                    <a:pt x="81" y="256"/>
                    <a:pt x="77" y="254"/>
                    <a:pt x="75" y="248"/>
                  </a:cubicBezTo>
                  <a:cubicBezTo>
                    <a:pt x="74" y="243"/>
                    <a:pt x="75" y="238"/>
                    <a:pt x="76" y="235"/>
                  </a:cubicBezTo>
                  <a:cubicBezTo>
                    <a:pt x="77" y="235"/>
                    <a:pt x="77" y="235"/>
                    <a:pt x="77" y="234"/>
                  </a:cubicBezTo>
                  <a:cubicBezTo>
                    <a:pt x="77" y="234"/>
                    <a:pt x="77" y="234"/>
                    <a:pt x="76" y="233"/>
                  </a:cubicBezTo>
                  <a:cubicBezTo>
                    <a:pt x="75" y="231"/>
                    <a:pt x="74" y="226"/>
                    <a:pt x="75" y="221"/>
                  </a:cubicBezTo>
                  <a:cubicBezTo>
                    <a:pt x="77" y="215"/>
                    <a:pt x="81" y="212"/>
                    <a:pt x="84" y="211"/>
                  </a:cubicBezTo>
                  <a:cubicBezTo>
                    <a:pt x="84" y="211"/>
                    <a:pt x="84" y="210"/>
                    <a:pt x="85" y="210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6" y="207"/>
                    <a:pt x="87" y="202"/>
                    <a:pt x="91" y="198"/>
                  </a:cubicBezTo>
                  <a:cubicBezTo>
                    <a:pt x="96" y="195"/>
                    <a:pt x="101" y="195"/>
                    <a:pt x="104" y="195"/>
                  </a:cubicBezTo>
                  <a:cubicBezTo>
                    <a:pt x="104" y="195"/>
                    <a:pt x="105" y="195"/>
                    <a:pt x="105" y="195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8" y="193"/>
                    <a:pt x="112" y="190"/>
                    <a:pt x="118" y="190"/>
                  </a:cubicBezTo>
                  <a:cubicBezTo>
                    <a:pt x="123" y="190"/>
                    <a:pt x="127" y="193"/>
                    <a:pt x="130" y="195"/>
                  </a:cubicBezTo>
                  <a:cubicBezTo>
                    <a:pt x="130" y="195"/>
                    <a:pt x="130" y="195"/>
                    <a:pt x="130" y="195"/>
                  </a:cubicBezTo>
                  <a:cubicBezTo>
                    <a:pt x="131" y="195"/>
                    <a:pt x="131" y="195"/>
                    <a:pt x="131" y="195"/>
                  </a:cubicBezTo>
                  <a:cubicBezTo>
                    <a:pt x="134" y="195"/>
                    <a:pt x="139" y="195"/>
                    <a:pt x="144" y="198"/>
                  </a:cubicBezTo>
                  <a:cubicBezTo>
                    <a:pt x="148" y="202"/>
                    <a:pt x="150" y="207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1"/>
                    <a:pt x="151" y="211"/>
                  </a:cubicBezTo>
                  <a:cubicBezTo>
                    <a:pt x="154" y="212"/>
                    <a:pt x="158" y="215"/>
                    <a:pt x="160" y="221"/>
                  </a:cubicBezTo>
                  <a:cubicBezTo>
                    <a:pt x="162" y="226"/>
                    <a:pt x="160" y="231"/>
                    <a:pt x="159" y="233"/>
                  </a:cubicBezTo>
                  <a:close/>
                  <a:moveTo>
                    <a:pt x="137" y="234"/>
                  </a:moveTo>
                  <a:cubicBezTo>
                    <a:pt x="137" y="231"/>
                    <a:pt x="139" y="229"/>
                    <a:pt x="139" y="228"/>
                  </a:cubicBezTo>
                  <a:cubicBezTo>
                    <a:pt x="138" y="226"/>
                    <a:pt x="135" y="225"/>
                    <a:pt x="133" y="223"/>
                  </a:cubicBezTo>
                  <a:cubicBezTo>
                    <a:pt x="132" y="221"/>
                    <a:pt x="131" y="219"/>
                    <a:pt x="130" y="217"/>
                  </a:cubicBezTo>
                  <a:cubicBezTo>
                    <a:pt x="129" y="217"/>
                    <a:pt x="127" y="217"/>
                    <a:pt x="125" y="216"/>
                  </a:cubicBezTo>
                  <a:cubicBezTo>
                    <a:pt x="125" y="216"/>
                    <a:pt x="124" y="216"/>
                    <a:pt x="124" y="216"/>
                  </a:cubicBezTo>
                  <a:cubicBezTo>
                    <a:pt x="123" y="216"/>
                    <a:pt x="123" y="216"/>
                    <a:pt x="123" y="216"/>
                  </a:cubicBezTo>
                  <a:cubicBezTo>
                    <a:pt x="122" y="215"/>
                    <a:pt x="121" y="215"/>
                    <a:pt x="120" y="214"/>
                  </a:cubicBezTo>
                  <a:cubicBezTo>
                    <a:pt x="120" y="214"/>
                    <a:pt x="120" y="214"/>
                    <a:pt x="119" y="214"/>
                  </a:cubicBezTo>
                  <a:cubicBezTo>
                    <a:pt x="119" y="213"/>
                    <a:pt x="118" y="213"/>
                    <a:pt x="118" y="213"/>
                  </a:cubicBezTo>
                  <a:cubicBezTo>
                    <a:pt x="116" y="214"/>
                    <a:pt x="114" y="215"/>
                    <a:pt x="112" y="216"/>
                  </a:cubicBezTo>
                  <a:cubicBezTo>
                    <a:pt x="109" y="217"/>
                    <a:pt x="107" y="217"/>
                    <a:pt x="105" y="217"/>
                  </a:cubicBezTo>
                  <a:cubicBezTo>
                    <a:pt x="104" y="219"/>
                    <a:pt x="103" y="221"/>
                    <a:pt x="101" y="223"/>
                  </a:cubicBezTo>
                  <a:cubicBezTo>
                    <a:pt x="100" y="225"/>
                    <a:pt x="98" y="227"/>
                    <a:pt x="97" y="228"/>
                  </a:cubicBezTo>
                  <a:cubicBezTo>
                    <a:pt x="97" y="230"/>
                    <a:pt x="98" y="232"/>
                    <a:pt x="98" y="235"/>
                  </a:cubicBezTo>
                  <a:cubicBezTo>
                    <a:pt x="98" y="237"/>
                    <a:pt x="97" y="240"/>
                    <a:pt x="96" y="242"/>
                  </a:cubicBezTo>
                  <a:cubicBezTo>
                    <a:pt x="98" y="243"/>
                    <a:pt x="100" y="244"/>
                    <a:pt x="102" y="246"/>
                  </a:cubicBezTo>
                  <a:cubicBezTo>
                    <a:pt x="103" y="248"/>
                    <a:pt x="104" y="250"/>
                    <a:pt x="105" y="252"/>
                  </a:cubicBezTo>
                  <a:cubicBezTo>
                    <a:pt x="106" y="252"/>
                    <a:pt x="108" y="252"/>
                    <a:pt x="110" y="252"/>
                  </a:cubicBezTo>
                  <a:cubicBezTo>
                    <a:pt x="111" y="253"/>
                    <a:pt x="111" y="253"/>
                    <a:pt x="112" y="253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13" y="253"/>
                    <a:pt x="114" y="254"/>
                    <a:pt x="115" y="254"/>
                  </a:cubicBezTo>
                  <a:cubicBezTo>
                    <a:pt x="115" y="255"/>
                    <a:pt x="116" y="255"/>
                    <a:pt x="116" y="255"/>
                  </a:cubicBezTo>
                  <a:cubicBezTo>
                    <a:pt x="117" y="255"/>
                    <a:pt x="117" y="256"/>
                    <a:pt x="118" y="256"/>
                  </a:cubicBezTo>
                  <a:cubicBezTo>
                    <a:pt x="119" y="255"/>
                    <a:pt x="121" y="254"/>
                    <a:pt x="124" y="253"/>
                  </a:cubicBezTo>
                  <a:cubicBezTo>
                    <a:pt x="126" y="252"/>
                    <a:pt x="129" y="252"/>
                    <a:pt x="131" y="252"/>
                  </a:cubicBezTo>
                  <a:cubicBezTo>
                    <a:pt x="131" y="252"/>
                    <a:pt x="131" y="252"/>
                    <a:pt x="131" y="252"/>
                  </a:cubicBezTo>
                  <a:cubicBezTo>
                    <a:pt x="131" y="250"/>
                    <a:pt x="132" y="248"/>
                    <a:pt x="133" y="246"/>
                  </a:cubicBezTo>
                  <a:cubicBezTo>
                    <a:pt x="135" y="244"/>
                    <a:pt x="137" y="242"/>
                    <a:pt x="139" y="241"/>
                  </a:cubicBezTo>
                  <a:cubicBezTo>
                    <a:pt x="138" y="239"/>
                    <a:pt x="137" y="237"/>
                    <a:pt x="137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9" name="Group 508"/>
          <p:cNvGrpSpPr>
            <a:grpSpLocks noChangeAspect="1"/>
          </p:cNvGrpSpPr>
          <p:nvPr/>
        </p:nvGrpSpPr>
        <p:grpSpPr bwMode="auto">
          <a:xfrm>
            <a:off x="9908132" y="2044606"/>
            <a:ext cx="369021" cy="369021"/>
            <a:chOff x="5047" y="1955"/>
            <a:chExt cx="340" cy="340"/>
          </a:xfrm>
          <a:solidFill>
            <a:schemeClr val="accent6"/>
          </a:solidFill>
        </p:grpSpPr>
        <p:sp>
          <p:nvSpPr>
            <p:cNvPr id="80" name="Freeform 509"/>
            <p:cNvSpPr>
              <a:spLocks noEditPoints="1"/>
            </p:cNvSpPr>
            <p:nvPr/>
          </p:nvSpPr>
          <p:spPr bwMode="auto">
            <a:xfrm>
              <a:off x="5047" y="1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510"/>
            <p:cNvSpPr>
              <a:spLocks noEditPoints="1"/>
            </p:cNvSpPr>
            <p:nvPr/>
          </p:nvSpPr>
          <p:spPr bwMode="auto">
            <a:xfrm>
              <a:off x="5117" y="2054"/>
              <a:ext cx="206" cy="156"/>
            </a:xfrm>
            <a:custGeom>
              <a:avLst/>
              <a:gdLst>
                <a:gd name="T0" fmla="*/ 283 w 310"/>
                <a:gd name="T1" fmla="*/ 45 h 235"/>
                <a:gd name="T2" fmla="*/ 239 w 310"/>
                <a:gd name="T3" fmla="*/ 57 h 235"/>
                <a:gd name="T4" fmla="*/ 235 w 310"/>
                <a:gd name="T5" fmla="*/ 61 h 235"/>
                <a:gd name="T6" fmla="*/ 235 w 310"/>
                <a:gd name="T7" fmla="*/ 11 h 235"/>
                <a:gd name="T8" fmla="*/ 224 w 310"/>
                <a:gd name="T9" fmla="*/ 0 h 235"/>
                <a:gd name="T10" fmla="*/ 140 w 310"/>
                <a:gd name="T11" fmla="*/ 0 h 235"/>
                <a:gd name="T12" fmla="*/ 131 w 310"/>
                <a:gd name="T13" fmla="*/ 7 h 235"/>
                <a:gd name="T14" fmla="*/ 153 w 310"/>
                <a:gd name="T15" fmla="*/ 41 h 235"/>
                <a:gd name="T16" fmla="*/ 159 w 310"/>
                <a:gd name="T17" fmla="*/ 62 h 235"/>
                <a:gd name="T18" fmla="*/ 134 w 310"/>
                <a:gd name="T19" fmla="*/ 75 h 235"/>
                <a:gd name="T20" fmla="*/ 102 w 310"/>
                <a:gd name="T21" fmla="*/ 75 h 235"/>
                <a:gd name="T22" fmla="*/ 76 w 310"/>
                <a:gd name="T23" fmla="*/ 62 h 235"/>
                <a:gd name="T24" fmla="*/ 83 w 310"/>
                <a:gd name="T25" fmla="*/ 41 h 235"/>
                <a:gd name="T26" fmla="*/ 105 w 310"/>
                <a:gd name="T27" fmla="*/ 7 h 235"/>
                <a:gd name="T28" fmla="*/ 95 w 310"/>
                <a:gd name="T29" fmla="*/ 0 h 235"/>
                <a:gd name="T30" fmla="*/ 11 w 310"/>
                <a:gd name="T31" fmla="*/ 0 h 235"/>
                <a:gd name="T32" fmla="*/ 0 w 310"/>
                <a:gd name="T33" fmla="*/ 11 h 235"/>
                <a:gd name="T34" fmla="*/ 0 w 310"/>
                <a:gd name="T35" fmla="*/ 224 h 235"/>
                <a:gd name="T36" fmla="*/ 11 w 310"/>
                <a:gd name="T37" fmla="*/ 235 h 235"/>
                <a:gd name="T38" fmla="*/ 224 w 310"/>
                <a:gd name="T39" fmla="*/ 235 h 235"/>
                <a:gd name="T40" fmla="*/ 235 w 310"/>
                <a:gd name="T41" fmla="*/ 224 h 235"/>
                <a:gd name="T42" fmla="*/ 235 w 310"/>
                <a:gd name="T43" fmla="*/ 152 h 235"/>
                <a:gd name="T44" fmla="*/ 239 w 310"/>
                <a:gd name="T45" fmla="*/ 156 h 235"/>
                <a:gd name="T46" fmla="*/ 283 w 310"/>
                <a:gd name="T47" fmla="*/ 168 h 235"/>
                <a:gd name="T48" fmla="*/ 310 w 310"/>
                <a:gd name="T49" fmla="*/ 123 h 235"/>
                <a:gd name="T50" fmla="*/ 310 w 310"/>
                <a:gd name="T51" fmla="*/ 91 h 235"/>
                <a:gd name="T52" fmla="*/ 283 w 310"/>
                <a:gd name="T53" fmla="*/ 45 h 235"/>
                <a:gd name="T54" fmla="*/ 288 w 310"/>
                <a:gd name="T55" fmla="*/ 123 h 235"/>
                <a:gd name="T56" fmla="*/ 276 w 310"/>
                <a:gd name="T57" fmla="*/ 148 h 235"/>
                <a:gd name="T58" fmla="*/ 255 w 310"/>
                <a:gd name="T59" fmla="*/ 142 h 235"/>
                <a:gd name="T60" fmla="*/ 220 w 310"/>
                <a:gd name="T61" fmla="*/ 119 h 235"/>
                <a:gd name="T62" fmla="*/ 214 w 310"/>
                <a:gd name="T63" fmla="*/ 129 h 235"/>
                <a:gd name="T64" fmla="*/ 214 w 310"/>
                <a:gd name="T65" fmla="*/ 213 h 235"/>
                <a:gd name="T66" fmla="*/ 22 w 310"/>
                <a:gd name="T67" fmla="*/ 213 h 235"/>
                <a:gd name="T68" fmla="*/ 22 w 310"/>
                <a:gd name="T69" fmla="*/ 21 h 235"/>
                <a:gd name="T70" fmla="*/ 73 w 310"/>
                <a:gd name="T71" fmla="*/ 21 h 235"/>
                <a:gd name="T72" fmla="*/ 68 w 310"/>
                <a:gd name="T73" fmla="*/ 25 h 235"/>
                <a:gd name="T74" fmla="*/ 56 w 310"/>
                <a:gd name="T75" fmla="*/ 70 h 235"/>
                <a:gd name="T76" fmla="*/ 102 w 310"/>
                <a:gd name="T77" fmla="*/ 96 h 235"/>
                <a:gd name="T78" fmla="*/ 134 w 310"/>
                <a:gd name="T79" fmla="*/ 96 h 235"/>
                <a:gd name="T80" fmla="*/ 179 w 310"/>
                <a:gd name="T81" fmla="*/ 70 h 235"/>
                <a:gd name="T82" fmla="*/ 167 w 310"/>
                <a:gd name="T83" fmla="*/ 25 h 235"/>
                <a:gd name="T84" fmla="*/ 163 w 310"/>
                <a:gd name="T85" fmla="*/ 21 h 235"/>
                <a:gd name="T86" fmla="*/ 214 w 310"/>
                <a:gd name="T87" fmla="*/ 21 h 235"/>
                <a:gd name="T88" fmla="*/ 214 w 310"/>
                <a:gd name="T89" fmla="*/ 84 h 235"/>
                <a:gd name="T90" fmla="*/ 220 w 310"/>
                <a:gd name="T91" fmla="*/ 94 h 235"/>
                <a:gd name="T92" fmla="*/ 255 w 310"/>
                <a:gd name="T93" fmla="*/ 72 h 235"/>
                <a:gd name="T94" fmla="*/ 276 w 310"/>
                <a:gd name="T95" fmla="*/ 65 h 235"/>
                <a:gd name="T96" fmla="*/ 288 w 310"/>
                <a:gd name="T97" fmla="*/ 91 h 235"/>
                <a:gd name="T98" fmla="*/ 288 w 310"/>
                <a:gd name="T99" fmla="*/ 1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0" h="235">
                  <a:moveTo>
                    <a:pt x="283" y="45"/>
                  </a:moveTo>
                  <a:cubicBezTo>
                    <a:pt x="268" y="39"/>
                    <a:pt x="251" y="44"/>
                    <a:pt x="239" y="57"/>
                  </a:cubicBezTo>
                  <a:cubicBezTo>
                    <a:pt x="237" y="59"/>
                    <a:pt x="236" y="60"/>
                    <a:pt x="235" y="61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6" y="0"/>
                    <a:pt x="132" y="3"/>
                    <a:pt x="131" y="7"/>
                  </a:cubicBezTo>
                  <a:cubicBezTo>
                    <a:pt x="128" y="14"/>
                    <a:pt x="130" y="21"/>
                    <a:pt x="153" y="41"/>
                  </a:cubicBezTo>
                  <a:cubicBezTo>
                    <a:pt x="159" y="47"/>
                    <a:pt x="162" y="55"/>
                    <a:pt x="159" y="62"/>
                  </a:cubicBezTo>
                  <a:cubicBezTo>
                    <a:pt x="156" y="70"/>
                    <a:pt x="147" y="75"/>
                    <a:pt x="134" y="75"/>
                  </a:cubicBezTo>
                  <a:cubicBezTo>
                    <a:pt x="102" y="75"/>
                    <a:pt x="102" y="75"/>
                    <a:pt x="102" y="75"/>
                  </a:cubicBezTo>
                  <a:cubicBezTo>
                    <a:pt x="88" y="75"/>
                    <a:pt x="79" y="70"/>
                    <a:pt x="76" y="62"/>
                  </a:cubicBezTo>
                  <a:cubicBezTo>
                    <a:pt x="73" y="55"/>
                    <a:pt x="76" y="47"/>
                    <a:pt x="83" y="41"/>
                  </a:cubicBezTo>
                  <a:cubicBezTo>
                    <a:pt x="105" y="21"/>
                    <a:pt x="108" y="14"/>
                    <a:pt x="105" y="7"/>
                  </a:cubicBezTo>
                  <a:cubicBezTo>
                    <a:pt x="103" y="3"/>
                    <a:pt x="99" y="0"/>
                    <a:pt x="9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0" y="235"/>
                    <a:pt x="235" y="230"/>
                    <a:pt x="235" y="224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6" y="153"/>
                    <a:pt x="237" y="154"/>
                    <a:pt x="239" y="156"/>
                  </a:cubicBezTo>
                  <a:cubicBezTo>
                    <a:pt x="251" y="169"/>
                    <a:pt x="268" y="174"/>
                    <a:pt x="283" y="168"/>
                  </a:cubicBezTo>
                  <a:cubicBezTo>
                    <a:pt x="300" y="162"/>
                    <a:pt x="310" y="145"/>
                    <a:pt x="310" y="123"/>
                  </a:cubicBezTo>
                  <a:cubicBezTo>
                    <a:pt x="310" y="91"/>
                    <a:pt x="310" y="91"/>
                    <a:pt x="310" y="91"/>
                  </a:cubicBezTo>
                  <a:cubicBezTo>
                    <a:pt x="310" y="68"/>
                    <a:pt x="300" y="51"/>
                    <a:pt x="283" y="45"/>
                  </a:cubicBezTo>
                  <a:close/>
                  <a:moveTo>
                    <a:pt x="288" y="123"/>
                  </a:moveTo>
                  <a:cubicBezTo>
                    <a:pt x="288" y="136"/>
                    <a:pt x="284" y="145"/>
                    <a:pt x="276" y="148"/>
                  </a:cubicBezTo>
                  <a:cubicBezTo>
                    <a:pt x="269" y="151"/>
                    <a:pt x="261" y="148"/>
                    <a:pt x="255" y="142"/>
                  </a:cubicBezTo>
                  <a:cubicBezTo>
                    <a:pt x="235" y="120"/>
                    <a:pt x="227" y="117"/>
                    <a:pt x="220" y="119"/>
                  </a:cubicBezTo>
                  <a:cubicBezTo>
                    <a:pt x="216" y="121"/>
                    <a:pt x="214" y="125"/>
                    <a:pt x="214" y="129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1" y="23"/>
                    <a:pt x="70" y="24"/>
                    <a:pt x="68" y="25"/>
                  </a:cubicBezTo>
                  <a:cubicBezTo>
                    <a:pt x="55" y="37"/>
                    <a:pt x="50" y="55"/>
                    <a:pt x="56" y="70"/>
                  </a:cubicBezTo>
                  <a:cubicBezTo>
                    <a:pt x="62" y="86"/>
                    <a:pt x="79" y="96"/>
                    <a:pt x="102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56" y="96"/>
                    <a:pt x="173" y="86"/>
                    <a:pt x="179" y="70"/>
                  </a:cubicBezTo>
                  <a:cubicBezTo>
                    <a:pt x="185" y="55"/>
                    <a:pt x="180" y="37"/>
                    <a:pt x="167" y="25"/>
                  </a:cubicBezTo>
                  <a:cubicBezTo>
                    <a:pt x="166" y="24"/>
                    <a:pt x="164" y="22"/>
                    <a:pt x="163" y="21"/>
                  </a:cubicBezTo>
                  <a:cubicBezTo>
                    <a:pt x="214" y="21"/>
                    <a:pt x="214" y="21"/>
                    <a:pt x="214" y="21"/>
                  </a:cubicBezTo>
                  <a:cubicBezTo>
                    <a:pt x="214" y="84"/>
                    <a:pt x="214" y="84"/>
                    <a:pt x="214" y="84"/>
                  </a:cubicBezTo>
                  <a:cubicBezTo>
                    <a:pt x="214" y="88"/>
                    <a:pt x="216" y="92"/>
                    <a:pt x="220" y="94"/>
                  </a:cubicBezTo>
                  <a:cubicBezTo>
                    <a:pt x="227" y="97"/>
                    <a:pt x="234" y="94"/>
                    <a:pt x="255" y="72"/>
                  </a:cubicBezTo>
                  <a:cubicBezTo>
                    <a:pt x="261" y="65"/>
                    <a:pt x="269" y="62"/>
                    <a:pt x="276" y="65"/>
                  </a:cubicBezTo>
                  <a:cubicBezTo>
                    <a:pt x="284" y="68"/>
                    <a:pt x="288" y="77"/>
                    <a:pt x="288" y="91"/>
                  </a:cubicBezTo>
                  <a:lnTo>
                    <a:pt x="288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2" name="Freeform 514"/>
          <p:cNvSpPr>
            <a:spLocks noChangeAspect="1" noEditPoints="1"/>
          </p:cNvSpPr>
          <p:nvPr/>
        </p:nvSpPr>
        <p:spPr bwMode="auto">
          <a:xfrm>
            <a:off x="9409219" y="2044610"/>
            <a:ext cx="369021" cy="369021"/>
          </a:xfrm>
          <a:custGeom>
            <a:avLst/>
            <a:gdLst>
              <a:gd name="T0" fmla="*/ 394 w 512"/>
              <a:gd name="T1" fmla="*/ 240 h 512"/>
              <a:gd name="T2" fmla="*/ 394 w 512"/>
              <a:gd name="T3" fmla="*/ 272 h 512"/>
              <a:gd name="T4" fmla="*/ 382 w 512"/>
              <a:gd name="T5" fmla="*/ 297 h 512"/>
              <a:gd name="T6" fmla="*/ 361 w 512"/>
              <a:gd name="T7" fmla="*/ 291 h 512"/>
              <a:gd name="T8" fmla="*/ 326 w 512"/>
              <a:gd name="T9" fmla="*/ 268 h 512"/>
              <a:gd name="T10" fmla="*/ 320 w 512"/>
              <a:gd name="T11" fmla="*/ 278 h 512"/>
              <a:gd name="T12" fmla="*/ 320 w 512"/>
              <a:gd name="T13" fmla="*/ 362 h 512"/>
              <a:gd name="T14" fmla="*/ 128 w 512"/>
              <a:gd name="T15" fmla="*/ 362 h 512"/>
              <a:gd name="T16" fmla="*/ 128 w 512"/>
              <a:gd name="T17" fmla="*/ 170 h 512"/>
              <a:gd name="T18" fmla="*/ 179 w 512"/>
              <a:gd name="T19" fmla="*/ 170 h 512"/>
              <a:gd name="T20" fmla="*/ 174 w 512"/>
              <a:gd name="T21" fmla="*/ 174 h 512"/>
              <a:gd name="T22" fmla="*/ 162 w 512"/>
              <a:gd name="T23" fmla="*/ 219 h 512"/>
              <a:gd name="T24" fmla="*/ 208 w 512"/>
              <a:gd name="T25" fmla="*/ 245 h 512"/>
              <a:gd name="T26" fmla="*/ 240 w 512"/>
              <a:gd name="T27" fmla="*/ 245 h 512"/>
              <a:gd name="T28" fmla="*/ 285 w 512"/>
              <a:gd name="T29" fmla="*/ 219 h 512"/>
              <a:gd name="T30" fmla="*/ 273 w 512"/>
              <a:gd name="T31" fmla="*/ 174 h 512"/>
              <a:gd name="T32" fmla="*/ 269 w 512"/>
              <a:gd name="T33" fmla="*/ 170 h 512"/>
              <a:gd name="T34" fmla="*/ 320 w 512"/>
              <a:gd name="T35" fmla="*/ 170 h 512"/>
              <a:gd name="T36" fmla="*/ 320 w 512"/>
              <a:gd name="T37" fmla="*/ 233 h 512"/>
              <a:gd name="T38" fmla="*/ 326 w 512"/>
              <a:gd name="T39" fmla="*/ 243 h 512"/>
              <a:gd name="T40" fmla="*/ 361 w 512"/>
              <a:gd name="T41" fmla="*/ 221 h 512"/>
              <a:gd name="T42" fmla="*/ 382 w 512"/>
              <a:gd name="T43" fmla="*/ 214 h 512"/>
              <a:gd name="T44" fmla="*/ 394 w 512"/>
              <a:gd name="T45" fmla="*/ 240 h 512"/>
              <a:gd name="T46" fmla="*/ 512 w 512"/>
              <a:gd name="T47" fmla="*/ 256 h 512"/>
              <a:gd name="T48" fmla="*/ 256 w 512"/>
              <a:gd name="T49" fmla="*/ 512 h 512"/>
              <a:gd name="T50" fmla="*/ 0 w 512"/>
              <a:gd name="T51" fmla="*/ 256 h 512"/>
              <a:gd name="T52" fmla="*/ 256 w 512"/>
              <a:gd name="T53" fmla="*/ 0 h 512"/>
              <a:gd name="T54" fmla="*/ 512 w 512"/>
              <a:gd name="T55" fmla="*/ 256 h 512"/>
              <a:gd name="T56" fmla="*/ 416 w 512"/>
              <a:gd name="T57" fmla="*/ 240 h 512"/>
              <a:gd name="T58" fmla="*/ 389 w 512"/>
              <a:gd name="T59" fmla="*/ 194 h 512"/>
              <a:gd name="T60" fmla="*/ 345 w 512"/>
              <a:gd name="T61" fmla="*/ 206 h 512"/>
              <a:gd name="T62" fmla="*/ 341 w 512"/>
              <a:gd name="T63" fmla="*/ 210 h 512"/>
              <a:gd name="T64" fmla="*/ 341 w 512"/>
              <a:gd name="T65" fmla="*/ 160 h 512"/>
              <a:gd name="T66" fmla="*/ 330 w 512"/>
              <a:gd name="T67" fmla="*/ 149 h 512"/>
              <a:gd name="T68" fmla="*/ 246 w 512"/>
              <a:gd name="T69" fmla="*/ 149 h 512"/>
              <a:gd name="T70" fmla="*/ 237 w 512"/>
              <a:gd name="T71" fmla="*/ 156 h 512"/>
              <a:gd name="T72" fmla="*/ 259 w 512"/>
              <a:gd name="T73" fmla="*/ 190 h 512"/>
              <a:gd name="T74" fmla="*/ 265 w 512"/>
              <a:gd name="T75" fmla="*/ 211 h 512"/>
              <a:gd name="T76" fmla="*/ 240 w 512"/>
              <a:gd name="T77" fmla="*/ 224 h 512"/>
              <a:gd name="T78" fmla="*/ 208 w 512"/>
              <a:gd name="T79" fmla="*/ 224 h 512"/>
              <a:gd name="T80" fmla="*/ 182 w 512"/>
              <a:gd name="T81" fmla="*/ 211 h 512"/>
              <a:gd name="T82" fmla="*/ 189 w 512"/>
              <a:gd name="T83" fmla="*/ 190 h 512"/>
              <a:gd name="T84" fmla="*/ 211 w 512"/>
              <a:gd name="T85" fmla="*/ 156 h 512"/>
              <a:gd name="T86" fmla="*/ 201 w 512"/>
              <a:gd name="T87" fmla="*/ 149 h 512"/>
              <a:gd name="T88" fmla="*/ 117 w 512"/>
              <a:gd name="T89" fmla="*/ 149 h 512"/>
              <a:gd name="T90" fmla="*/ 106 w 512"/>
              <a:gd name="T91" fmla="*/ 160 h 512"/>
              <a:gd name="T92" fmla="*/ 106 w 512"/>
              <a:gd name="T93" fmla="*/ 373 h 512"/>
              <a:gd name="T94" fmla="*/ 117 w 512"/>
              <a:gd name="T95" fmla="*/ 384 h 512"/>
              <a:gd name="T96" fmla="*/ 330 w 512"/>
              <a:gd name="T97" fmla="*/ 384 h 512"/>
              <a:gd name="T98" fmla="*/ 341 w 512"/>
              <a:gd name="T99" fmla="*/ 373 h 512"/>
              <a:gd name="T100" fmla="*/ 341 w 512"/>
              <a:gd name="T101" fmla="*/ 301 h 512"/>
              <a:gd name="T102" fmla="*/ 345 w 512"/>
              <a:gd name="T103" fmla="*/ 305 h 512"/>
              <a:gd name="T104" fmla="*/ 389 w 512"/>
              <a:gd name="T105" fmla="*/ 317 h 512"/>
              <a:gd name="T106" fmla="*/ 416 w 512"/>
              <a:gd name="T107" fmla="*/ 272 h 512"/>
              <a:gd name="T108" fmla="*/ 416 w 512"/>
              <a:gd name="T109" fmla="*/ 24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394" y="240"/>
                </a:moveTo>
                <a:cubicBezTo>
                  <a:pt x="394" y="272"/>
                  <a:pt x="394" y="272"/>
                  <a:pt x="394" y="272"/>
                </a:cubicBezTo>
                <a:cubicBezTo>
                  <a:pt x="394" y="285"/>
                  <a:pt x="390" y="294"/>
                  <a:pt x="382" y="297"/>
                </a:cubicBezTo>
                <a:cubicBezTo>
                  <a:pt x="375" y="300"/>
                  <a:pt x="367" y="297"/>
                  <a:pt x="361" y="291"/>
                </a:cubicBezTo>
                <a:cubicBezTo>
                  <a:pt x="341" y="269"/>
                  <a:pt x="333" y="266"/>
                  <a:pt x="326" y="268"/>
                </a:cubicBezTo>
                <a:cubicBezTo>
                  <a:pt x="322" y="270"/>
                  <a:pt x="320" y="274"/>
                  <a:pt x="320" y="278"/>
                </a:cubicBezTo>
                <a:cubicBezTo>
                  <a:pt x="320" y="362"/>
                  <a:pt x="320" y="362"/>
                  <a:pt x="320" y="362"/>
                </a:cubicBezTo>
                <a:cubicBezTo>
                  <a:pt x="128" y="362"/>
                  <a:pt x="128" y="362"/>
                  <a:pt x="128" y="362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79" y="170"/>
                  <a:pt x="179" y="170"/>
                  <a:pt x="179" y="170"/>
                </a:cubicBezTo>
                <a:cubicBezTo>
                  <a:pt x="177" y="172"/>
                  <a:pt x="176" y="173"/>
                  <a:pt x="174" y="174"/>
                </a:cubicBezTo>
                <a:cubicBezTo>
                  <a:pt x="161" y="186"/>
                  <a:pt x="156" y="204"/>
                  <a:pt x="162" y="219"/>
                </a:cubicBezTo>
                <a:cubicBezTo>
                  <a:pt x="168" y="235"/>
                  <a:pt x="185" y="245"/>
                  <a:pt x="208" y="245"/>
                </a:cubicBezTo>
                <a:cubicBezTo>
                  <a:pt x="240" y="245"/>
                  <a:pt x="240" y="245"/>
                  <a:pt x="240" y="245"/>
                </a:cubicBezTo>
                <a:cubicBezTo>
                  <a:pt x="262" y="245"/>
                  <a:pt x="279" y="235"/>
                  <a:pt x="285" y="219"/>
                </a:cubicBezTo>
                <a:cubicBezTo>
                  <a:pt x="291" y="204"/>
                  <a:pt x="286" y="186"/>
                  <a:pt x="273" y="174"/>
                </a:cubicBezTo>
                <a:cubicBezTo>
                  <a:pt x="272" y="173"/>
                  <a:pt x="270" y="171"/>
                  <a:pt x="269" y="170"/>
                </a:cubicBezTo>
                <a:cubicBezTo>
                  <a:pt x="320" y="170"/>
                  <a:pt x="320" y="170"/>
                  <a:pt x="320" y="170"/>
                </a:cubicBezTo>
                <a:cubicBezTo>
                  <a:pt x="320" y="233"/>
                  <a:pt x="320" y="233"/>
                  <a:pt x="320" y="233"/>
                </a:cubicBezTo>
                <a:cubicBezTo>
                  <a:pt x="320" y="237"/>
                  <a:pt x="322" y="241"/>
                  <a:pt x="326" y="243"/>
                </a:cubicBezTo>
                <a:cubicBezTo>
                  <a:pt x="333" y="246"/>
                  <a:pt x="340" y="243"/>
                  <a:pt x="361" y="221"/>
                </a:cubicBezTo>
                <a:cubicBezTo>
                  <a:pt x="367" y="214"/>
                  <a:pt x="375" y="211"/>
                  <a:pt x="382" y="214"/>
                </a:cubicBezTo>
                <a:cubicBezTo>
                  <a:pt x="390" y="217"/>
                  <a:pt x="394" y="226"/>
                  <a:pt x="394" y="24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40"/>
                </a:moveTo>
                <a:cubicBezTo>
                  <a:pt x="416" y="217"/>
                  <a:pt x="406" y="200"/>
                  <a:pt x="389" y="194"/>
                </a:cubicBezTo>
                <a:cubicBezTo>
                  <a:pt x="374" y="188"/>
                  <a:pt x="357" y="193"/>
                  <a:pt x="345" y="206"/>
                </a:cubicBezTo>
                <a:cubicBezTo>
                  <a:pt x="343" y="208"/>
                  <a:pt x="342" y="209"/>
                  <a:pt x="341" y="210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1" y="154"/>
                  <a:pt x="336" y="149"/>
                  <a:pt x="330" y="149"/>
                </a:cubicBezTo>
                <a:cubicBezTo>
                  <a:pt x="246" y="149"/>
                  <a:pt x="246" y="149"/>
                  <a:pt x="246" y="149"/>
                </a:cubicBezTo>
                <a:cubicBezTo>
                  <a:pt x="242" y="149"/>
                  <a:pt x="238" y="152"/>
                  <a:pt x="237" y="156"/>
                </a:cubicBezTo>
                <a:cubicBezTo>
                  <a:pt x="234" y="163"/>
                  <a:pt x="236" y="170"/>
                  <a:pt x="259" y="190"/>
                </a:cubicBezTo>
                <a:cubicBezTo>
                  <a:pt x="265" y="196"/>
                  <a:pt x="268" y="204"/>
                  <a:pt x="265" y="211"/>
                </a:cubicBezTo>
                <a:cubicBezTo>
                  <a:pt x="262" y="219"/>
                  <a:pt x="253" y="224"/>
                  <a:pt x="240" y="22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94" y="224"/>
                  <a:pt x="185" y="219"/>
                  <a:pt x="182" y="211"/>
                </a:cubicBezTo>
                <a:cubicBezTo>
                  <a:pt x="179" y="204"/>
                  <a:pt x="182" y="196"/>
                  <a:pt x="189" y="190"/>
                </a:cubicBezTo>
                <a:cubicBezTo>
                  <a:pt x="211" y="170"/>
                  <a:pt x="214" y="163"/>
                  <a:pt x="211" y="156"/>
                </a:cubicBezTo>
                <a:cubicBezTo>
                  <a:pt x="209" y="152"/>
                  <a:pt x="205" y="149"/>
                  <a:pt x="201" y="149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1" y="149"/>
                  <a:pt x="106" y="154"/>
                  <a:pt x="106" y="160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6" y="379"/>
                  <a:pt x="111" y="384"/>
                  <a:pt x="117" y="384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6" y="384"/>
                  <a:pt x="341" y="379"/>
                  <a:pt x="341" y="373"/>
                </a:cubicBezTo>
                <a:cubicBezTo>
                  <a:pt x="341" y="301"/>
                  <a:pt x="341" y="301"/>
                  <a:pt x="341" y="301"/>
                </a:cubicBezTo>
                <a:cubicBezTo>
                  <a:pt x="342" y="302"/>
                  <a:pt x="343" y="303"/>
                  <a:pt x="345" y="305"/>
                </a:cubicBezTo>
                <a:cubicBezTo>
                  <a:pt x="357" y="318"/>
                  <a:pt x="374" y="323"/>
                  <a:pt x="389" y="317"/>
                </a:cubicBezTo>
                <a:cubicBezTo>
                  <a:pt x="406" y="311"/>
                  <a:pt x="416" y="294"/>
                  <a:pt x="416" y="272"/>
                </a:cubicBezTo>
                <a:lnTo>
                  <a:pt x="416" y="24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3" name="Group 669"/>
          <p:cNvGrpSpPr>
            <a:grpSpLocks noChangeAspect="1"/>
          </p:cNvGrpSpPr>
          <p:nvPr/>
        </p:nvGrpSpPr>
        <p:grpSpPr bwMode="auto">
          <a:xfrm>
            <a:off x="934660" y="2909183"/>
            <a:ext cx="369676" cy="369676"/>
            <a:chOff x="1910" y="2326"/>
            <a:chExt cx="340" cy="340"/>
          </a:xfrm>
          <a:solidFill>
            <a:schemeClr val="accent1"/>
          </a:solidFill>
        </p:grpSpPr>
        <p:sp>
          <p:nvSpPr>
            <p:cNvPr id="84" name="Freeform 670"/>
            <p:cNvSpPr>
              <a:spLocks noEditPoints="1"/>
            </p:cNvSpPr>
            <p:nvPr/>
          </p:nvSpPr>
          <p:spPr bwMode="auto">
            <a:xfrm>
              <a:off x="1910" y="232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671"/>
            <p:cNvSpPr>
              <a:spLocks noEditPoints="1"/>
            </p:cNvSpPr>
            <p:nvPr/>
          </p:nvSpPr>
          <p:spPr bwMode="auto">
            <a:xfrm>
              <a:off x="1973" y="2390"/>
              <a:ext cx="214" cy="212"/>
            </a:xfrm>
            <a:custGeom>
              <a:avLst/>
              <a:gdLst>
                <a:gd name="T0" fmla="*/ 298 w 322"/>
                <a:gd name="T1" fmla="*/ 67 h 320"/>
                <a:gd name="T2" fmla="*/ 246 w 322"/>
                <a:gd name="T3" fmla="*/ 55 h 320"/>
                <a:gd name="T4" fmla="*/ 246 w 322"/>
                <a:gd name="T5" fmla="*/ 10 h 320"/>
                <a:gd name="T6" fmla="*/ 235 w 322"/>
                <a:gd name="T7" fmla="*/ 0 h 320"/>
                <a:gd name="T8" fmla="*/ 86 w 322"/>
                <a:gd name="T9" fmla="*/ 0 h 320"/>
                <a:gd name="T10" fmla="*/ 75 w 322"/>
                <a:gd name="T11" fmla="*/ 10 h 320"/>
                <a:gd name="T12" fmla="*/ 76 w 322"/>
                <a:gd name="T13" fmla="*/ 55 h 320"/>
                <a:gd name="T14" fmla="*/ 23 w 322"/>
                <a:gd name="T15" fmla="*/ 67 h 320"/>
                <a:gd name="T16" fmla="*/ 52 w 322"/>
                <a:gd name="T17" fmla="*/ 177 h 320"/>
                <a:gd name="T18" fmla="*/ 104 w 322"/>
                <a:gd name="T19" fmla="*/ 213 h 320"/>
                <a:gd name="T20" fmla="*/ 107 w 322"/>
                <a:gd name="T21" fmla="*/ 213 h 320"/>
                <a:gd name="T22" fmla="*/ 109 w 322"/>
                <a:gd name="T23" fmla="*/ 213 h 320"/>
                <a:gd name="T24" fmla="*/ 121 w 322"/>
                <a:gd name="T25" fmla="*/ 227 h 320"/>
                <a:gd name="T26" fmla="*/ 146 w 322"/>
                <a:gd name="T27" fmla="*/ 243 h 320"/>
                <a:gd name="T28" fmla="*/ 119 w 322"/>
                <a:gd name="T29" fmla="*/ 305 h 320"/>
                <a:gd name="T30" fmla="*/ 120 w 322"/>
                <a:gd name="T31" fmla="*/ 315 h 320"/>
                <a:gd name="T32" fmla="*/ 129 w 322"/>
                <a:gd name="T33" fmla="*/ 320 h 320"/>
                <a:gd name="T34" fmla="*/ 193 w 322"/>
                <a:gd name="T35" fmla="*/ 320 h 320"/>
                <a:gd name="T36" fmla="*/ 202 w 322"/>
                <a:gd name="T37" fmla="*/ 315 h 320"/>
                <a:gd name="T38" fmla="*/ 202 w 322"/>
                <a:gd name="T39" fmla="*/ 305 h 320"/>
                <a:gd name="T40" fmla="*/ 176 w 322"/>
                <a:gd name="T41" fmla="*/ 243 h 320"/>
                <a:gd name="T42" fmla="*/ 201 w 322"/>
                <a:gd name="T43" fmla="*/ 227 h 320"/>
                <a:gd name="T44" fmla="*/ 212 w 322"/>
                <a:gd name="T45" fmla="*/ 213 h 320"/>
                <a:gd name="T46" fmla="*/ 214 w 322"/>
                <a:gd name="T47" fmla="*/ 213 h 320"/>
                <a:gd name="T48" fmla="*/ 217 w 322"/>
                <a:gd name="T49" fmla="*/ 213 h 320"/>
                <a:gd name="T50" fmla="*/ 270 w 322"/>
                <a:gd name="T51" fmla="*/ 177 h 320"/>
                <a:gd name="T52" fmla="*/ 298 w 322"/>
                <a:gd name="T53" fmla="*/ 67 h 320"/>
                <a:gd name="T54" fmla="*/ 66 w 322"/>
                <a:gd name="T55" fmla="*/ 161 h 320"/>
                <a:gd name="T56" fmla="*/ 39 w 322"/>
                <a:gd name="T57" fmla="*/ 81 h 320"/>
                <a:gd name="T58" fmla="*/ 77 w 322"/>
                <a:gd name="T59" fmla="*/ 77 h 320"/>
                <a:gd name="T60" fmla="*/ 97 w 322"/>
                <a:gd name="T61" fmla="*/ 186 h 320"/>
                <a:gd name="T62" fmla="*/ 66 w 322"/>
                <a:gd name="T63" fmla="*/ 161 h 320"/>
                <a:gd name="T64" fmla="*/ 145 w 322"/>
                <a:gd name="T65" fmla="*/ 298 h 320"/>
                <a:gd name="T66" fmla="*/ 161 w 322"/>
                <a:gd name="T67" fmla="*/ 262 h 320"/>
                <a:gd name="T68" fmla="*/ 176 w 322"/>
                <a:gd name="T69" fmla="*/ 298 h 320"/>
                <a:gd name="T70" fmla="*/ 145 w 322"/>
                <a:gd name="T71" fmla="*/ 298 h 320"/>
                <a:gd name="T72" fmla="*/ 185 w 322"/>
                <a:gd name="T73" fmla="*/ 213 h 320"/>
                <a:gd name="T74" fmla="*/ 161 w 322"/>
                <a:gd name="T75" fmla="*/ 224 h 320"/>
                <a:gd name="T76" fmla="*/ 136 w 322"/>
                <a:gd name="T77" fmla="*/ 213 h 320"/>
                <a:gd name="T78" fmla="*/ 96 w 322"/>
                <a:gd name="T79" fmla="*/ 21 h 320"/>
                <a:gd name="T80" fmla="*/ 225 w 322"/>
                <a:gd name="T81" fmla="*/ 21 h 320"/>
                <a:gd name="T82" fmla="*/ 185 w 322"/>
                <a:gd name="T83" fmla="*/ 213 h 320"/>
                <a:gd name="T84" fmla="*/ 255 w 322"/>
                <a:gd name="T85" fmla="*/ 161 h 320"/>
                <a:gd name="T86" fmla="*/ 225 w 322"/>
                <a:gd name="T87" fmla="*/ 186 h 320"/>
                <a:gd name="T88" fmla="*/ 245 w 322"/>
                <a:gd name="T89" fmla="*/ 77 h 320"/>
                <a:gd name="T90" fmla="*/ 283 w 322"/>
                <a:gd name="T91" fmla="*/ 81 h 320"/>
                <a:gd name="T92" fmla="*/ 255 w 322"/>
                <a:gd name="T93" fmla="*/ 16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2" h="320">
                  <a:moveTo>
                    <a:pt x="298" y="67"/>
                  </a:moveTo>
                  <a:cubicBezTo>
                    <a:pt x="286" y="54"/>
                    <a:pt x="268" y="50"/>
                    <a:pt x="246" y="55"/>
                  </a:cubicBezTo>
                  <a:cubicBezTo>
                    <a:pt x="247" y="30"/>
                    <a:pt x="246" y="12"/>
                    <a:pt x="246" y="10"/>
                  </a:cubicBezTo>
                  <a:cubicBezTo>
                    <a:pt x="246" y="4"/>
                    <a:pt x="241" y="0"/>
                    <a:pt x="235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0" y="0"/>
                    <a:pt x="76" y="4"/>
                    <a:pt x="75" y="10"/>
                  </a:cubicBezTo>
                  <a:cubicBezTo>
                    <a:pt x="75" y="12"/>
                    <a:pt x="75" y="30"/>
                    <a:pt x="76" y="55"/>
                  </a:cubicBezTo>
                  <a:cubicBezTo>
                    <a:pt x="54" y="50"/>
                    <a:pt x="35" y="54"/>
                    <a:pt x="23" y="67"/>
                  </a:cubicBezTo>
                  <a:cubicBezTo>
                    <a:pt x="0" y="92"/>
                    <a:pt x="12" y="140"/>
                    <a:pt x="52" y="177"/>
                  </a:cubicBezTo>
                  <a:cubicBezTo>
                    <a:pt x="67" y="191"/>
                    <a:pt x="85" y="207"/>
                    <a:pt x="104" y="213"/>
                  </a:cubicBezTo>
                  <a:cubicBezTo>
                    <a:pt x="105" y="213"/>
                    <a:pt x="106" y="213"/>
                    <a:pt x="107" y="213"/>
                  </a:cubicBezTo>
                  <a:cubicBezTo>
                    <a:pt x="108" y="213"/>
                    <a:pt x="109" y="213"/>
                    <a:pt x="109" y="213"/>
                  </a:cubicBezTo>
                  <a:cubicBezTo>
                    <a:pt x="113" y="218"/>
                    <a:pt x="117" y="223"/>
                    <a:pt x="121" y="227"/>
                  </a:cubicBezTo>
                  <a:cubicBezTo>
                    <a:pt x="128" y="235"/>
                    <a:pt x="136" y="240"/>
                    <a:pt x="146" y="243"/>
                  </a:cubicBezTo>
                  <a:cubicBezTo>
                    <a:pt x="119" y="305"/>
                    <a:pt x="119" y="305"/>
                    <a:pt x="119" y="305"/>
                  </a:cubicBezTo>
                  <a:cubicBezTo>
                    <a:pt x="117" y="308"/>
                    <a:pt x="118" y="312"/>
                    <a:pt x="120" y="315"/>
                  </a:cubicBezTo>
                  <a:cubicBezTo>
                    <a:pt x="122" y="318"/>
                    <a:pt x="125" y="320"/>
                    <a:pt x="129" y="320"/>
                  </a:cubicBezTo>
                  <a:cubicBezTo>
                    <a:pt x="193" y="320"/>
                    <a:pt x="193" y="320"/>
                    <a:pt x="193" y="320"/>
                  </a:cubicBezTo>
                  <a:cubicBezTo>
                    <a:pt x="196" y="320"/>
                    <a:pt x="200" y="318"/>
                    <a:pt x="202" y="315"/>
                  </a:cubicBezTo>
                  <a:cubicBezTo>
                    <a:pt x="204" y="312"/>
                    <a:pt x="204" y="308"/>
                    <a:pt x="202" y="305"/>
                  </a:cubicBezTo>
                  <a:cubicBezTo>
                    <a:pt x="176" y="243"/>
                    <a:pt x="176" y="243"/>
                    <a:pt x="176" y="243"/>
                  </a:cubicBezTo>
                  <a:cubicBezTo>
                    <a:pt x="185" y="240"/>
                    <a:pt x="193" y="235"/>
                    <a:pt x="201" y="227"/>
                  </a:cubicBezTo>
                  <a:cubicBezTo>
                    <a:pt x="205" y="223"/>
                    <a:pt x="209" y="218"/>
                    <a:pt x="212" y="213"/>
                  </a:cubicBezTo>
                  <a:cubicBezTo>
                    <a:pt x="213" y="213"/>
                    <a:pt x="213" y="213"/>
                    <a:pt x="214" y="213"/>
                  </a:cubicBezTo>
                  <a:cubicBezTo>
                    <a:pt x="215" y="213"/>
                    <a:pt x="216" y="213"/>
                    <a:pt x="217" y="213"/>
                  </a:cubicBezTo>
                  <a:cubicBezTo>
                    <a:pt x="236" y="207"/>
                    <a:pt x="254" y="191"/>
                    <a:pt x="270" y="177"/>
                  </a:cubicBezTo>
                  <a:cubicBezTo>
                    <a:pt x="309" y="140"/>
                    <a:pt x="322" y="92"/>
                    <a:pt x="298" y="67"/>
                  </a:cubicBezTo>
                  <a:close/>
                  <a:moveTo>
                    <a:pt x="66" y="161"/>
                  </a:moveTo>
                  <a:cubicBezTo>
                    <a:pt x="37" y="134"/>
                    <a:pt x="24" y="97"/>
                    <a:pt x="39" y="81"/>
                  </a:cubicBezTo>
                  <a:cubicBezTo>
                    <a:pt x="46" y="74"/>
                    <a:pt x="60" y="72"/>
                    <a:pt x="77" y="77"/>
                  </a:cubicBezTo>
                  <a:cubicBezTo>
                    <a:pt x="79" y="112"/>
                    <a:pt x="85" y="153"/>
                    <a:pt x="97" y="186"/>
                  </a:cubicBezTo>
                  <a:cubicBezTo>
                    <a:pt x="86" y="179"/>
                    <a:pt x="76" y="170"/>
                    <a:pt x="66" y="161"/>
                  </a:cubicBezTo>
                  <a:close/>
                  <a:moveTo>
                    <a:pt x="145" y="298"/>
                  </a:moveTo>
                  <a:cubicBezTo>
                    <a:pt x="161" y="262"/>
                    <a:pt x="161" y="262"/>
                    <a:pt x="161" y="262"/>
                  </a:cubicBezTo>
                  <a:cubicBezTo>
                    <a:pt x="176" y="298"/>
                    <a:pt x="176" y="298"/>
                    <a:pt x="176" y="298"/>
                  </a:cubicBezTo>
                  <a:lnTo>
                    <a:pt x="145" y="298"/>
                  </a:lnTo>
                  <a:close/>
                  <a:moveTo>
                    <a:pt x="185" y="213"/>
                  </a:moveTo>
                  <a:cubicBezTo>
                    <a:pt x="178" y="220"/>
                    <a:pt x="170" y="224"/>
                    <a:pt x="161" y="224"/>
                  </a:cubicBezTo>
                  <a:cubicBezTo>
                    <a:pt x="151" y="224"/>
                    <a:pt x="143" y="220"/>
                    <a:pt x="136" y="213"/>
                  </a:cubicBezTo>
                  <a:cubicBezTo>
                    <a:pt x="102" y="177"/>
                    <a:pt x="96" y="70"/>
                    <a:pt x="96" y="21"/>
                  </a:cubicBezTo>
                  <a:cubicBezTo>
                    <a:pt x="225" y="21"/>
                    <a:pt x="225" y="21"/>
                    <a:pt x="225" y="21"/>
                  </a:cubicBezTo>
                  <a:cubicBezTo>
                    <a:pt x="225" y="70"/>
                    <a:pt x="220" y="177"/>
                    <a:pt x="185" y="213"/>
                  </a:cubicBezTo>
                  <a:close/>
                  <a:moveTo>
                    <a:pt x="255" y="161"/>
                  </a:moveTo>
                  <a:cubicBezTo>
                    <a:pt x="246" y="170"/>
                    <a:pt x="235" y="179"/>
                    <a:pt x="225" y="186"/>
                  </a:cubicBezTo>
                  <a:cubicBezTo>
                    <a:pt x="237" y="153"/>
                    <a:pt x="242" y="112"/>
                    <a:pt x="245" y="77"/>
                  </a:cubicBezTo>
                  <a:cubicBezTo>
                    <a:pt x="261" y="72"/>
                    <a:pt x="275" y="74"/>
                    <a:pt x="283" y="81"/>
                  </a:cubicBezTo>
                  <a:cubicBezTo>
                    <a:pt x="297" y="97"/>
                    <a:pt x="284" y="134"/>
                    <a:pt x="255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6" name="Group 674"/>
          <p:cNvGrpSpPr>
            <a:grpSpLocks noChangeAspect="1"/>
          </p:cNvGrpSpPr>
          <p:nvPr/>
        </p:nvGrpSpPr>
        <p:grpSpPr bwMode="auto">
          <a:xfrm>
            <a:off x="439680" y="2909179"/>
            <a:ext cx="369676" cy="369676"/>
            <a:chOff x="1549" y="2327"/>
            <a:chExt cx="340" cy="340"/>
          </a:xfrm>
          <a:solidFill>
            <a:schemeClr val="accent1"/>
          </a:solidFill>
        </p:grpSpPr>
        <p:sp>
          <p:nvSpPr>
            <p:cNvPr id="87" name="Freeform 675"/>
            <p:cNvSpPr>
              <a:spLocks/>
            </p:cNvSpPr>
            <p:nvPr/>
          </p:nvSpPr>
          <p:spPr bwMode="auto">
            <a:xfrm>
              <a:off x="1708" y="2565"/>
              <a:ext cx="21" cy="24"/>
            </a:xfrm>
            <a:custGeom>
              <a:avLst/>
              <a:gdLst>
                <a:gd name="T0" fmla="*/ 0 w 21"/>
                <a:gd name="T1" fmla="*/ 24 h 24"/>
                <a:gd name="T2" fmla="*/ 21 w 21"/>
                <a:gd name="T3" fmla="*/ 24 h 24"/>
                <a:gd name="T4" fmla="*/ 11 w 21"/>
                <a:gd name="T5" fmla="*/ 0 h 24"/>
                <a:gd name="T6" fmla="*/ 0 w 21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4">
                  <a:moveTo>
                    <a:pt x="0" y="24"/>
                  </a:moveTo>
                  <a:lnTo>
                    <a:pt x="21" y="24"/>
                  </a:lnTo>
                  <a:lnTo>
                    <a:pt x="11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676"/>
            <p:cNvSpPr>
              <a:spLocks/>
            </p:cNvSpPr>
            <p:nvPr/>
          </p:nvSpPr>
          <p:spPr bwMode="auto">
            <a:xfrm>
              <a:off x="1628" y="2439"/>
              <a:ext cx="48" cy="75"/>
            </a:xfrm>
            <a:custGeom>
              <a:avLst/>
              <a:gdLst>
                <a:gd name="T0" fmla="*/ 15 w 73"/>
                <a:gd name="T1" fmla="*/ 9 h 114"/>
                <a:gd name="T2" fmla="*/ 42 w 73"/>
                <a:gd name="T3" fmla="*/ 89 h 114"/>
                <a:gd name="T4" fmla="*/ 73 w 73"/>
                <a:gd name="T5" fmla="*/ 114 h 114"/>
                <a:gd name="T6" fmla="*/ 53 w 73"/>
                <a:gd name="T7" fmla="*/ 5 h 114"/>
                <a:gd name="T8" fmla="*/ 15 w 73"/>
                <a:gd name="T9" fmla="*/ 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14">
                  <a:moveTo>
                    <a:pt x="15" y="9"/>
                  </a:moveTo>
                  <a:cubicBezTo>
                    <a:pt x="0" y="25"/>
                    <a:pt x="13" y="62"/>
                    <a:pt x="42" y="89"/>
                  </a:cubicBezTo>
                  <a:cubicBezTo>
                    <a:pt x="52" y="98"/>
                    <a:pt x="62" y="107"/>
                    <a:pt x="73" y="114"/>
                  </a:cubicBezTo>
                  <a:cubicBezTo>
                    <a:pt x="61" y="81"/>
                    <a:pt x="55" y="40"/>
                    <a:pt x="53" y="5"/>
                  </a:cubicBezTo>
                  <a:cubicBezTo>
                    <a:pt x="36" y="0"/>
                    <a:pt x="22" y="2"/>
                    <a:pt x="1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677"/>
            <p:cNvSpPr>
              <a:spLocks/>
            </p:cNvSpPr>
            <p:nvPr/>
          </p:nvSpPr>
          <p:spPr bwMode="auto">
            <a:xfrm>
              <a:off x="1676" y="2405"/>
              <a:ext cx="85" cy="134"/>
            </a:xfrm>
            <a:custGeom>
              <a:avLst/>
              <a:gdLst>
                <a:gd name="T0" fmla="*/ 129 w 129"/>
                <a:gd name="T1" fmla="*/ 0 h 203"/>
                <a:gd name="T2" fmla="*/ 0 w 129"/>
                <a:gd name="T3" fmla="*/ 0 h 203"/>
                <a:gd name="T4" fmla="*/ 40 w 129"/>
                <a:gd name="T5" fmla="*/ 192 h 203"/>
                <a:gd name="T6" fmla="*/ 65 w 129"/>
                <a:gd name="T7" fmla="*/ 203 h 203"/>
                <a:gd name="T8" fmla="*/ 89 w 129"/>
                <a:gd name="T9" fmla="*/ 192 h 203"/>
                <a:gd name="T10" fmla="*/ 129 w 129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203">
                  <a:moveTo>
                    <a:pt x="12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6" y="156"/>
                    <a:pt x="40" y="192"/>
                  </a:cubicBezTo>
                  <a:cubicBezTo>
                    <a:pt x="47" y="199"/>
                    <a:pt x="55" y="203"/>
                    <a:pt x="65" y="203"/>
                  </a:cubicBezTo>
                  <a:cubicBezTo>
                    <a:pt x="74" y="203"/>
                    <a:pt x="82" y="199"/>
                    <a:pt x="89" y="192"/>
                  </a:cubicBezTo>
                  <a:cubicBezTo>
                    <a:pt x="124" y="156"/>
                    <a:pt x="129" y="49"/>
                    <a:pt x="1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678"/>
            <p:cNvSpPr>
              <a:spLocks noEditPoints="1"/>
            </p:cNvSpPr>
            <p:nvPr/>
          </p:nvSpPr>
          <p:spPr bwMode="auto">
            <a:xfrm>
              <a:off x="1549" y="2327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65 w 512"/>
                <a:gd name="T11" fmla="*/ 273 h 512"/>
                <a:gd name="T12" fmla="*/ 312 w 512"/>
                <a:gd name="T13" fmla="*/ 309 h 512"/>
                <a:gd name="T14" fmla="*/ 309 w 512"/>
                <a:gd name="T15" fmla="*/ 309 h 512"/>
                <a:gd name="T16" fmla="*/ 307 w 512"/>
                <a:gd name="T17" fmla="*/ 309 h 512"/>
                <a:gd name="T18" fmla="*/ 296 w 512"/>
                <a:gd name="T19" fmla="*/ 323 h 512"/>
                <a:gd name="T20" fmla="*/ 271 w 512"/>
                <a:gd name="T21" fmla="*/ 339 h 512"/>
                <a:gd name="T22" fmla="*/ 297 w 512"/>
                <a:gd name="T23" fmla="*/ 401 h 512"/>
                <a:gd name="T24" fmla="*/ 297 w 512"/>
                <a:gd name="T25" fmla="*/ 411 h 512"/>
                <a:gd name="T26" fmla="*/ 288 w 512"/>
                <a:gd name="T27" fmla="*/ 416 h 512"/>
                <a:gd name="T28" fmla="*/ 224 w 512"/>
                <a:gd name="T29" fmla="*/ 416 h 512"/>
                <a:gd name="T30" fmla="*/ 215 w 512"/>
                <a:gd name="T31" fmla="*/ 411 h 512"/>
                <a:gd name="T32" fmla="*/ 214 w 512"/>
                <a:gd name="T33" fmla="*/ 401 h 512"/>
                <a:gd name="T34" fmla="*/ 241 w 512"/>
                <a:gd name="T35" fmla="*/ 339 h 512"/>
                <a:gd name="T36" fmla="*/ 216 w 512"/>
                <a:gd name="T37" fmla="*/ 323 h 512"/>
                <a:gd name="T38" fmla="*/ 204 w 512"/>
                <a:gd name="T39" fmla="*/ 309 h 512"/>
                <a:gd name="T40" fmla="*/ 202 w 512"/>
                <a:gd name="T41" fmla="*/ 309 h 512"/>
                <a:gd name="T42" fmla="*/ 199 w 512"/>
                <a:gd name="T43" fmla="*/ 309 h 512"/>
                <a:gd name="T44" fmla="*/ 147 w 512"/>
                <a:gd name="T45" fmla="*/ 273 h 512"/>
                <a:gd name="T46" fmla="*/ 118 w 512"/>
                <a:gd name="T47" fmla="*/ 163 h 512"/>
                <a:gd name="T48" fmla="*/ 171 w 512"/>
                <a:gd name="T49" fmla="*/ 151 h 512"/>
                <a:gd name="T50" fmla="*/ 170 w 512"/>
                <a:gd name="T51" fmla="*/ 106 h 512"/>
                <a:gd name="T52" fmla="*/ 181 w 512"/>
                <a:gd name="T53" fmla="*/ 96 h 512"/>
                <a:gd name="T54" fmla="*/ 330 w 512"/>
                <a:gd name="T55" fmla="*/ 96 h 512"/>
                <a:gd name="T56" fmla="*/ 341 w 512"/>
                <a:gd name="T57" fmla="*/ 106 h 512"/>
                <a:gd name="T58" fmla="*/ 341 w 512"/>
                <a:gd name="T59" fmla="*/ 151 h 512"/>
                <a:gd name="T60" fmla="*/ 393 w 512"/>
                <a:gd name="T61" fmla="*/ 163 h 512"/>
                <a:gd name="T62" fmla="*/ 365 w 512"/>
                <a:gd name="T63" fmla="*/ 2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65" y="273"/>
                  </a:moveTo>
                  <a:cubicBezTo>
                    <a:pt x="349" y="287"/>
                    <a:pt x="331" y="303"/>
                    <a:pt x="312" y="309"/>
                  </a:cubicBezTo>
                  <a:cubicBezTo>
                    <a:pt x="311" y="309"/>
                    <a:pt x="310" y="309"/>
                    <a:pt x="309" y="309"/>
                  </a:cubicBezTo>
                  <a:cubicBezTo>
                    <a:pt x="308" y="309"/>
                    <a:pt x="308" y="309"/>
                    <a:pt x="307" y="309"/>
                  </a:cubicBezTo>
                  <a:cubicBezTo>
                    <a:pt x="304" y="314"/>
                    <a:pt x="300" y="319"/>
                    <a:pt x="296" y="323"/>
                  </a:cubicBezTo>
                  <a:cubicBezTo>
                    <a:pt x="288" y="331"/>
                    <a:pt x="280" y="336"/>
                    <a:pt x="271" y="339"/>
                  </a:cubicBezTo>
                  <a:cubicBezTo>
                    <a:pt x="297" y="401"/>
                    <a:pt x="297" y="401"/>
                    <a:pt x="297" y="401"/>
                  </a:cubicBezTo>
                  <a:cubicBezTo>
                    <a:pt x="299" y="404"/>
                    <a:pt x="299" y="408"/>
                    <a:pt x="297" y="411"/>
                  </a:cubicBezTo>
                  <a:cubicBezTo>
                    <a:pt x="295" y="414"/>
                    <a:pt x="291" y="416"/>
                    <a:pt x="288" y="416"/>
                  </a:cubicBezTo>
                  <a:cubicBezTo>
                    <a:pt x="224" y="416"/>
                    <a:pt x="224" y="416"/>
                    <a:pt x="224" y="416"/>
                  </a:cubicBezTo>
                  <a:cubicBezTo>
                    <a:pt x="220" y="416"/>
                    <a:pt x="217" y="414"/>
                    <a:pt x="215" y="411"/>
                  </a:cubicBezTo>
                  <a:cubicBezTo>
                    <a:pt x="213" y="408"/>
                    <a:pt x="212" y="404"/>
                    <a:pt x="214" y="401"/>
                  </a:cubicBezTo>
                  <a:cubicBezTo>
                    <a:pt x="241" y="339"/>
                    <a:pt x="241" y="339"/>
                    <a:pt x="241" y="339"/>
                  </a:cubicBezTo>
                  <a:cubicBezTo>
                    <a:pt x="231" y="336"/>
                    <a:pt x="223" y="331"/>
                    <a:pt x="216" y="323"/>
                  </a:cubicBezTo>
                  <a:cubicBezTo>
                    <a:pt x="212" y="319"/>
                    <a:pt x="208" y="314"/>
                    <a:pt x="204" y="309"/>
                  </a:cubicBezTo>
                  <a:cubicBezTo>
                    <a:pt x="204" y="309"/>
                    <a:pt x="203" y="309"/>
                    <a:pt x="202" y="309"/>
                  </a:cubicBezTo>
                  <a:cubicBezTo>
                    <a:pt x="201" y="309"/>
                    <a:pt x="200" y="309"/>
                    <a:pt x="199" y="309"/>
                  </a:cubicBezTo>
                  <a:cubicBezTo>
                    <a:pt x="180" y="303"/>
                    <a:pt x="162" y="287"/>
                    <a:pt x="147" y="273"/>
                  </a:cubicBezTo>
                  <a:cubicBezTo>
                    <a:pt x="107" y="236"/>
                    <a:pt x="95" y="188"/>
                    <a:pt x="118" y="163"/>
                  </a:cubicBezTo>
                  <a:cubicBezTo>
                    <a:pt x="130" y="150"/>
                    <a:pt x="149" y="146"/>
                    <a:pt x="171" y="151"/>
                  </a:cubicBezTo>
                  <a:cubicBezTo>
                    <a:pt x="170" y="126"/>
                    <a:pt x="170" y="108"/>
                    <a:pt x="170" y="106"/>
                  </a:cubicBezTo>
                  <a:cubicBezTo>
                    <a:pt x="171" y="100"/>
                    <a:pt x="175" y="96"/>
                    <a:pt x="181" y="96"/>
                  </a:cubicBezTo>
                  <a:cubicBezTo>
                    <a:pt x="330" y="96"/>
                    <a:pt x="330" y="96"/>
                    <a:pt x="330" y="96"/>
                  </a:cubicBezTo>
                  <a:cubicBezTo>
                    <a:pt x="336" y="96"/>
                    <a:pt x="341" y="100"/>
                    <a:pt x="341" y="106"/>
                  </a:cubicBezTo>
                  <a:cubicBezTo>
                    <a:pt x="341" y="108"/>
                    <a:pt x="342" y="126"/>
                    <a:pt x="341" y="151"/>
                  </a:cubicBezTo>
                  <a:cubicBezTo>
                    <a:pt x="363" y="146"/>
                    <a:pt x="381" y="150"/>
                    <a:pt x="393" y="163"/>
                  </a:cubicBezTo>
                  <a:cubicBezTo>
                    <a:pt x="417" y="188"/>
                    <a:pt x="404" y="236"/>
                    <a:pt x="365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679"/>
            <p:cNvSpPr>
              <a:spLocks/>
            </p:cNvSpPr>
            <p:nvPr/>
          </p:nvSpPr>
          <p:spPr bwMode="auto">
            <a:xfrm>
              <a:off x="1761" y="2439"/>
              <a:ext cx="48" cy="75"/>
            </a:xfrm>
            <a:custGeom>
              <a:avLst/>
              <a:gdLst>
                <a:gd name="T0" fmla="*/ 20 w 72"/>
                <a:gd name="T1" fmla="*/ 5 h 114"/>
                <a:gd name="T2" fmla="*/ 0 w 72"/>
                <a:gd name="T3" fmla="*/ 114 h 114"/>
                <a:gd name="T4" fmla="*/ 30 w 72"/>
                <a:gd name="T5" fmla="*/ 89 h 114"/>
                <a:gd name="T6" fmla="*/ 58 w 72"/>
                <a:gd name="T7" fmla="*/ 9 h 114"/>
                <a:gd name="T8" fmla="*/ 20 w 72"/>
                <a:gd name="T9" fmla="*/ 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14">
                  <a:moveTo>
                    <a:pt x="20" y="5"/>
                  </a:moveTo>
                  <a:cubicBezTo>
                    <a:pt x="17" y="40"/>
                    <a:pt x="12" y="81"/>
                    <a:pt x="0" y="114"/>
                  </a:cubicBezTo>
                  <a:cubicBezTo>
                    <a:pt x="10" y="107"/>
                    <a:pt x="21" y="98"/>
                    <a:pt x="30" y="89"/>
                  </a:cubicBezTo>
                  <a:cubicBezTo>
                    <a:pt x="59" y="62"/>
                    <a:pt x="72" y="25"/>
                    <a:pt x="58" y="9"/>
                  </a:cubicBezTo>
                  <a:cubicBezTo>
                    <a:pt x="50" y="2"/>
                    <a:pt x="36" y="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2" name="Freeform 355"/>
          <p:cNvSpPr>
            <a:spLocks noChangeAspect="1" noEditPoints="1"/>
          </p:cNvSpPr>
          <p:nvPr/>
        </p:nvSpPr>
        <p:spPr bwMode="auto">
          <a:xfrm>
            <a:off x="1429640" y="2911822"/>
            <a:ext cx="367041" cy="367041"/>
          </a:xfrm>
          <a:custGeom>
            <a:avLst/>
            <a:gdLst>
              <a:gd name="T0" fmla="*/ 320 w 512"/>
              <a:gd name="T1" fmla="*/ 192 h 512"/>
              <a:gd name="T2" fmla="*/ 181 w 512"/>
              <a:gd name="T3" fmla="*/ 181 h 512"/>
              <a:gd name="T4" fmla="*/ 117 w 512"/>
              <a:gd name="T5" fmla="*/ 170 h 512"/>
              <a:gd name="T6" fmla="*/ 394 w 512"/>
              <a:gd name="T7" fmla="*/ 352 h 512"/>
              <a:gd name="T8" fmla="*/ 330 w 512"/>
              <a:gd name="T9" fmla="*/ 170 h 512"/>
              <a:gd name="T10" fmla="*/ 234 w 512"/>
              <a:gd name="T11" fmla="*/ 298 h 512"/>
              <a:gd name="T12" fmla="*/ 149 w 512"/>
              <a:gd name="T13" fmla="*/ 309 h 512"/>
              <a:gd name="T14" fmla="*/ 138 w 512"/>
              <a:gd name="T15" fmla="*/ 224 h 512"/>
              <a:gd name="T16" fmla="*/ 224 w 512"/>
              <a:gd name="T17" fmla="*/ 213 h 512"/>
              <a:gd name="T18" fmla="*/ 234 w 512"/>
              <a:gd name="T19" fmla="*/ 298 h 512"/>
              <a:gd name="T20" fmla="*/ 277 w 512"/>
              <a:gd name="T21" fmla="*/ 320 h 512"/>
              <a:gd name="T22" fmla="*/ 277 w 512"/>
              <a:gd name="T23" fmla="*/ 298 h 512"/>
              <a:gd name="T24" fmla="*/ 373 w 512"/>
              <a:gd name="T25" fmla="*/ 309 h 512"/>
              <a:gd name="T26" fmla="*/ 362 w 512"/>
              <a:gd name="T27" fmla="*/ 277 h 512"/>
              <a:gd name="T28" fmla="*/ 266 w 512"/>
              <a:gd name="T29" fmla="*/ 266 h 512"/>
              <a:gd name="T30" fmla="*/ 362 w 512"/>
              <a:gd name="T31" fmla="*/ 256 h 512"/>
              <a:gd name="T32" fmla="*/ 362 w 512"/>
              <a:gd name="T33" fmla="*/ 277 h 512"/>
              <a:gd name="T34" fmla="*/ 362 w 512"/>
              <a:gd name="T35" fmla="*/ 234 h 512"/>
              <a:gd name="T36" fmla="*/ 266 w 512"/>
              <a:gd name="T37" fmla="*/ 224 h 512"/>
              <a:gd name="T38" fmla="*/ 362 w 512"/>
              <a:gd name="T39" fmla="*/ 213 h 512"/>
              <a:gd name="T40" fmla="*/ 160 w 512"/>
              <a:gd name="T41" fmla="*/ 234 h 512"/>
              <a:gd name="T42" fmla="*/ 213 w 512"/>
              <a:gd name="T43" fmla="*/ 288 h 512"/>
              <a:gd name="T44" fmla="*/ 160 w 512"/>
              <a:gd name="T45" fmla="*/ 234 h 512"/>
              <a:gd name="T46" fmla="*/ 0 w 512"/>
              <a:gd name="T47" fmla="*/ 256 h 512"/>
              <a:gd name="T48" fmla="*/ 512 w 512"/>
              <a:gd name="T49" fmla="*/ 256 h 512"/>
              <a:gd name="T50" fmla="*/ 416 w 512"/>
              <a:gd name="T51" fmla="*/ 362 h 512"/>
              <a:gd name="T52" fmla="*/ 106 w 512"/>
              <a:gd name="T53" fmla="*/ 373 h 512"/>
              <a:gd name="T54" fmla="*/ 96 w 512"/>
              <a:gd name="T55" fmla="*/ 160 h 512"/>
              <a:gd name="T56" fmla="*/ 181 w 512"/>
              <a:gd name="T57" fmla="*/ 149 h 512"/>
              <a:gd name="T58" fmla="*/ 192 w 512"/>
              <a:gd name="T59" fmla="*/ 128 h 512"/>
              <a:gd name="T60" fmla="*/ 330 w 512"/>
              <a:gd name="T61" fmla="*/ 138 h 512"/>
              <a:gd name="T62" fmla="*/ 405 w 512"/>
              <a:gd name="T63" fmla="*/ 149 h 512"/>
              <a:gd name="T64" fmla="*/ 416 w 512"/>
              <a:gd name="T65" fmla="*/ 362 h 512"/>
              <a:gd name="T66" fmla="*/ 202 w 512"/>
              <a:gd name="T67" fmla="*/ 170 h 512"/>
              <a:gd name="T68" fmla="*/ 202 w 512"/>
              <a:gd name="T69" fmla="*/ 160 h 512"/>
              <a:gd name="T70" fmla="*/ 202 w 512"/>
              <a:gd name="T71" fmla="*/ 149 h 512"/>
              <a:gd name="T72" fmla="*/ 309 w 512"/>
              <a:gd name="T73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330" y="181"/>
                </a:moveTo>
                <a:cubicBezTo>
                  <a:pt x="330" y="187"/>
                  <a:pt x="326" y="192"/>
                  <a:pt x="32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86" y="192"/>
                  <a:pt x="181" y="187"/>
                  <a:pt x="181" y="181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94" y="170"/>
                  <a:pt x="394" y="170"/>
                  <a:pt x="394" y="170"/>
                </a:cubicBezTo>
                <a:cubicBezTo>
                  <a:pt x="330" y="170"/>
                  <a:pt x="330" y="170"/>
                  <a:pt x="330" y="170"/>
                </a:cubicBezTo>
                <a:lnTo>
                  <a:pt x="330" y="181"/>
                </a:lnTo>
                <a:close/>
                <a:moveTo>
                  <a:pt x="234" y="298"/>
                </a:moveTo>
                <a:cubicBezTo>
                  <a:pt x="234" y="304"/>
                  <a:pt x="230" y="309"/>
                  <a:pt x="224" y="309"/>
                </a:cubicBezTo>
                <a:cubicBezTo>
                  <a:pt x="149" y="309"/>
                  <a:pt x="149" y="309"/>
                  <a:pt x="149" y="309"/>
                </a:cubicBezTo>
                <a:cubicBezTo>
                  <a:pt x="143" y="309"/>
                  <a:pt x="138" y="304"/>
                  <a:pt x="138" y="298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38" y="218"/>
                  <a:pt x="143" y="213"/>
                  <a:pt x="149" y="213"/>
                </a:cubicBezTo>
                <a:cubicBezTo>
                  <a:pt x="224" y="213"/>
                  <a:pt x="224" y="213"/>
                  <a:pt x="224" y="213"/>
                </a:cubicBezTo>
                <a:cubicBezTo>
                  <a:pt x="230" y="213"/>
                  <a:pt x="234" y="218"/>
                  <a:pt x="234" y="224"/>
                </a:cubicBezTo>
                <a:lnTo>
                  <a:pt x="234" y="298"/>
                </a:lnTo>
                <a:close/>
                <a:moveTo>
                  <a:pt x="362" y="320"/>
                </a:moveTo>
                <a:cubicBezTo>
                  <a:pt x="277" y="320"/>
                  <a:pt x="277" y="320"/>
                  <a:pt x="277" y="320"/>
                </a:cubicBezTo>
                <a:cubicBezTo>
                  <a:pt x="271" y="320"/>
                  <a:pt x="266" y="315"/>
                  <a:pt x="266" y="309"/>
                </a:cubicBezTo>
                <a:cubicBezTo>
                  <a:pt x="266" y="303"/>
                  <a:pt x="271" y="298"/>
                  <a:pt x="277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8" y="298"/>
                  <a:pt x="373" y="303"/>
                  <a:pt x="373" y="309"/>
                </a:cubicBezTo>
                <a:cubicBezTo>
                  <a:pt x="373" y="315"/>
                  <a:pt x="368" y="320"/>
                  <a:pt x="362" y="320"/>
                </a:cubicBezTo>
                <a:close/>
                <a:moveTo>
                  <a:pt x="362" y="277"/>
                </a:moveTo>
                <a:cubicBezTo>
                  <a:pt x="277" y="277"/>
                  <a:pt x="277" y="277"/>
                  <a:pt x="277" y="277"/>
                </a:cubicBezTo>
                <a:cubicBezTo>
                  <a:pt x="271" y="277"/>
                  <a:pt x="266" y="272"/>
                  <a:pt x="266" y="266"/>
                </a:cubicBezTo>
                <a:cubicBezTo>
                  <a:pt x="266" y="260"/>
                  <a:pt x="271" y="256"/>
                  <a:pt x="277" y="256"/>
                </a:cubicBezTo>
                <a:cubicBezTo>
                  <a:pt x="362" y="256"/>
                  <a:pt x="362" y="256"/>
                  <a:pt x="362" y="256"/>
                </a:cubicBezTo>
                <a:cubicBezTo>
                  <a:pt x="368" y="256"/>
                  <a:pt x="373" y="260"/>
                  <a:pt x="373" y="266"/>
                </a:cubicBezTo>
                <a:cubicBezTo>
                  <a:pt x="373" y="272"/>
                  <a:pt x="368" y="277"/>
                  <a:pt x="362" y="277"/>
                </a:cubicBezTo>
                <a:close/>
                <a:moveTo>
                  <a:pt x="373" y="224"/>
                </a:moveTo>
                <a:cubicBezTo>
                  <a:pt x="373" y="230"/>
                  <a:pt x="368" y="234"/>
                  <a:pt x="362" y="234"/>
                </a:cubicBezTo>
                <a:cubicBezTo>
                  <a:pt x="277" y="234"/>
                  <a:pt x="277" y="234"/>
                  <a:pt x="277" y="234"/>
                </a:cubicBezTo>
                <a:cubicBezTo>
                  <a:pt x="271" y="234"/>
                  <a:pt x="266" y="230"/>
                  <a:pt x="266" y="224"/>
                </a:cubicBezTo>
                <a:cubicBezTo>
                  <a:pt x="266" y="218"/>
                  <a:pt x="271" y="213"/>
                  <a:pt x="277" y="213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8" y="213"/>
                  <a:pt x="373" y="218"/>
                  <a:pt x="373" y="224"/>
                </a:cubicBezTo>
                <a:close/>
                <a:moveTo>
                  <a:pt x="160" y="234"/>
                </a:moveTo>
                <a:cubicBezTo>
                  <a:pt x="213" y="234"/>
                  <a:pt x="213" y="234"/>
                  <a:pt x="213" y="234"/>
                </a:cubicBezTo>
                <a:cubicBezTo>
                  <a:pt x="213" y="288"/>
                  <a:pt x="213" y="288"/>
                  <a:pt x="213" y="288"/>
                </a:cubicBezTo>
                <a:cubicBezTo>
                  <a:pt x="160" y="288"/>
                  <a:pt x="160" y="288"/>
                  <a:pt x="160" y="288"/>
                </a:cubicBezTo>
                <a:lnTo>
                  <a:pt x="160" y="234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1" y="132"/>
                  <a:pt x="186" y="128"/>
                  <a:pt x="192" y="128"/>
                </a:cubicBezTo>
                <a:cubicBezTo>
                  <a:pt x="320" y="128"/>
                  <a:pt x="320" y="128"/>
                  <a:pt x="320" y="128"/>
                </a:cubicBezTo>
                <a:cubicBezTo>
                  <a:pt x="326" y="128"/>
                  <a:pt x="330" y="132"/>
                  <a:pt x="330" y="138"/>
                </a:cubicBezTo>
                <a:cubicBezTo>
                  <a:pt x="330" y="149"/>
                  <a:pt x="330" y="149"/>
                  <a:pt x="330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lnTo>
                  <a:pt x="416" y="362"/>
                </a:lnTo>
                <a:close/>
                <a:moveTo>
                  <a:pt x="309" y="170"/>
                </a:moveTo>
                <a:cubicBezTo>
                  <a:pt x="202" y="170"/>
                  <a:pt x="202" y="170"/>
                  <a:pt x="202" y="17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309" y="149"/>
                  <a:pt x="309" y="149"/>
                  <a:pt x="309" y="149"/>
                </a:cubicBezTo>
                <a:lnTo>
                  <a:pt x="309" y="17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3" name="Freeform 359"/>
          <p:cNvSpPr>
            <a:spLocks noChangeAspect="1" noEditPoints="1"/>
          </p:cNvSpPr>
          <p:nvPr/>
        </p:nvSpPr>
        <p:spPr bwMode="auto">
          <a:xfrm>
            <a:off x="1921985" y="2911822"/>
            <a:ext cx="367041" cy="36704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330 w 512"/>
              <a:gd name="T11" fmla="*/ 149 h 512"/>
              <a:gd name="T12" fmla="*/ 320 w 512"/>
              <a:gd name="T13" fmla="*/ 128 h 512"/>
              <a:gd name="T14" fmla="*/ 181 w 512"/>
              <a:gd name="T15" fmla="*/ 138 h 512"/>
              <a:gd name="T16" fmla="*/ 106 w 512"/>
              <a:gd name="T17" fmla="*/ 149 h 512"/>
              <a:gd name="T18" fmla="*/ 96 w 512"/>
              <a:gd name="T19" fmla="*/ 362 h 512"/>
              <a:gd name="T20" fmla="*/ 405 w 512"/>
              <a:gd name="T21" fmla="*/ 373 h 512"/>
              <a:gd name="T22" fmla="*/ 416 w 512"/>
              <a:gd name="T23" fmla="*/ 160 h 512"/>
              <a:gd name="T24" fmla="*/ 309 w 512"/>
              <a:gd name="T25" fmla="*/ 149 h 512"/>
              <a:gd name="T26" fmla="*/ 202 w 512"/>
              <a:gd name="T27" fmla="*/ 170 h 512"/>
              <a:gd name="T28" fmla="*/ 202 w 512"/>
              <a:gd name="T29" fmla="*/ 160 h 512"/>
              <a:gd name="T30" fmla="*/ 202 w 512"/>
              <a:gd name="T31" fmla="*/ 149 h 512"/>
              <a:gd name="T32" fmla="*/ 394 w 512"/>
              <a:gd name="T33" fmla="*/ 352 h 512"/>
              <a:gd name="T34" fmla="*/ 117 w 512"/>
              <a:gd name="T35" fmla="*/ 170 h 512"/>
              <a:gd name="T36" fmla="*/ 181 w 512"/>
              <a:gd name="T37" fmla="*/ 181 h 512"/>
              <a:gd name="T38" fmla="*/ 320 w 512"/>
              <a:gd name="T39" fmla="*/ 192 h 512"/>
              <a:gd name="T40" fmla="*/ 330 w 512"/>
              <a:gd name="T41" fmla="*/ 170 h 512"/>
              <a:gd name="T42" fmla="*/ 394 w 512"/>
              <a:gd name="T43" fmla="*/ 352 h 512"/>
              <a:gd name="T44" fmla="*/ 149 w 512"/>
              <a:gd name="T45" fmla="*/ 213 h 512"/>
              <a:gd name="T46" fmla="*/ 138 w 512"/>
              <a:gd name="T47" fmla="*/ 298 h 512"/>
              <a:gd name="T48" fmla="*/ 224 w 512"/>
              <a:gd name="T49" fmla="*/ 309 h 512"/>
              <a:gd name="T50" fmla="*/ 234 w 512"/>
              <a:gd name="T51" fmla="*/ 224 h 512"/>
              <a:gd name="T52" fmla="*/ 213 w 512"/>
              <a:gd name="T53" fmla="*/ 288 h 512"/>
              <a:gd name="T54" fmla="*/ 160 w 512"/>
              <a:gd name="T55" fmla="*/ 234 h 512"/>
              <a:gd name="T56" fmla="*/ 213 w 512"/>
              <a:gd name="T57" fmla="*/ 288 h 512"/>
              <a:gd name="T58" fmla="*/ 373 w 512"/>
              <a:gd name="T59" fmla="*/ 224 h 512"/>
              <a:gd name="T60" fmla="*/ 277 w 512"/>
              <a:gd name="T61" fmla="*/ 234 h 512"/>
              <a:gd name="T62" fmla="*/ 277 w 512"/>
              <a:gd name="T63" fmla="*/ 213 h 512"/>
              <a:gd name="T64" fmla="*/ 373 w 512"/>
              <a:gd name="T65" fmla="*/ 266 h 512"/>
              <a:gd name="T66" fmla="*/ 277 w 512"/>
              <a:gd name="T67" fmla="*/ 277 h 512"/>
              <a:gd name="T68" fmla="*/ 277 w 512"/>
              <a:gd name="T69" fmla="*/ 256 h 512"/>
              <a:gd name="T70" fmla="*/ 373 w 512"/>
              <a:gd name="T71" fmla="*/ 266 h 512"/>
              <a:gd name="T72" fmla="*/ 362 w 512"/>
              <a:gd name="T73" fmla="*/ 320 h 512"/>
              <a:gd name="T74" fmla="*/ 266 w 512"/>
              <a:gd name="T75" fmla="*/ 309 h 512"/>
              <a:gd name="T76" fmla="*/ 362 w 512"/>
              <a:gd name="T77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149"/>
                </a:moveTo>
                <a:cubicBezTo>
                  <a:pt x="330" y="149"/>
                  <a:pt x="330" y="149"/>
                  <a:pt x="330" y="149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0" y="132"/>
                  <a:pt x="326" y="128"/>
                  <a:pt x="320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06" y="149"/>
                  <a:pt x="106" y="149"/>
                  <a:pt x="106" y="149"/>
                </a:cubicBezTo>
                <a:cubicBezTo>
                  <a:pt x="100" y="149"/>
                  <a:pt x="96" y="154"/>
                  <a:pt x="96" y="160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cubicBezTo>
                  <a:pt x="416" y="160"/>
                  <a:pt x="416" y="160"/>
                  <a:pt x="416" y="160"/>
                </a:cubicBezTo>
                <a:cubicBezTo>
                  <a:pt x="416" y="154"/>
                  <a:pt x="411" y="149"/>
                  <a:pt x="405" y="149"/>
                </a:cubicBezTo>
                <a:close/>
                <a:moveTo>
                  <a:pt x="309" y="149"/>
                </a:moveTo>
                <a:cubicBezTo>
                  <a:pt x="309" y="170"/>
                  <a:pt x="309" y="170"/>
                  <a:pt x="309" y="170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202" y="149"/>
                  <a:pt x="202" y="149"/>
                  <a:pt x="202" y="149"/>
                </a:cubicBezTo>
                <a:lnTo>
                  <a:pt x="309" y="149"/>
                </a:lnTo>
                <a:close/>
                <a:moveTo>
                  <a:pt x="394" y="352"/>
                </a:moveTo>
                <a:cubicBezTo>
                  <a:pt x="117" y="352"/>
                  <a:pt x="117" y="352"/>
                  <a:pt x="117" y="352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181" y="187"/>
                  <a:pt x="186" y="192"/>
                  <a:pt x="192" y="192"/>
                </a:cubicBezTo>
                <a:cubicBezTo>
                  <a:pt x="320" y="192"/>
                  <a:pt x="320" y="192"/>
                  <a:pt x="320" y="192"/>
                </a:cubicBezTo>
                <a:cubicBezTo>
                  <a:pt x="326" y="192"/>
                  <a:pt x="330" y="187"/>
                  <a:pt x="330" y="181"/>
                </a:cubicBezTo>
                <a:cubicBezTo>
                  <a:pt x="330" y="170"/>
                  <a:pt x="330" y="170"/>
                  <a:pt x="330" y="170"/>
                </a:cubicBezTo>
                <a:cubicBezTo>
                  <a:pt x="394" y="170"/>
                  <a:pt x="394" y="170"/>
                  <a:pt x="394" y="170"/>
                </a:cubicBezTo>
                <a:lnTo>
                  <a:pt x="394" y="352"/>
                </a:lnTo>
                <a:close/>
                <a:moveTo>
                  <a:pt x="224" y="213"/>
                </a:moveTo>
                <a:cubicBezTo>
                  <a:pt x="149" y="213"/>
                  <a:pt x="149" y="213"/>
                  <a:pt x="149" y="213"/>
                </a:cubicBezTo>
                <a:cubicBezTo>
                  <a:pt x="143" y="213"/>
                  <a:pt x="138" y="218"/>
                  <a:pt x="138" y="224"/>
                </a:cubicBezTo>
                <a:cubicBezTo>
                  <a:pt x="138" y="298"/>
                  <a:pt x="138" y="298"/>
                  <a:pt x="138" y="298"/>
                </a:cubicBezTo>
                <a:cubicBezTo>
                  <a:pt x="138" y="304"/>
                  <a:pt x="143" y="309"/>
                  <a:pt x="149" y="309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30" y="309"/>
                  <a:pt x="234" y="304"/>
                  <a:pt x="234" y="298"/>
                </a:cubicBezTo>
                <a:cubicBezTo>
                  <a:pt x="234" y="224"/>
                  <a:pt x="234" y="224"/>
                  <a:pt x="234" y="224"/>
                </a:cubicBezTo>
                <a:cubicBezTo>
                  <a:pt x="234" y="218"/>
                  <a:pt x="230" y="213"/>
                  <a:pt x="224" y="213"/>
                </a:cubicBezTo>
                <a:close/>
                <a:moveTo>
                  <a:pt x="213" y="288"/>
                </a:moveTo>
                <a:cubicBezTo>
                  <a:pt x="160" y="288"/>
                  <a:pt x="160" y="288"/>
                  <a:pt x="160" y="288"/>
                </a:cubicBezTo>
                <a:cubicBezTo>
                  <a:pt x="160" y="234"/>
                  <a:pt x="160" y="234"/>
                  <a:pt x="160" y="234"/>
                </a:cubicBezTo>
                <a:cubicBezTo>
                  <a:pt x="213" y="234"/>
                  <a:pt x="213" y="234"/>
                  <a:pt x="213" y="234"/>
                </a:cubicBezTo>
                <a:lnTo>
                  <a:pt x="213" y="288"/>
                </a:lnTo>
                <a:close/>
                <a:moveTo>
                  <a:pt x="362" y="213"/>
                </a:moveTo>
                <a:cubicBezTo>
                  <a:pt x="368" y="213"/>
                  <a:pt x="373" y="218"/>
                  <a:pt x="373" y="224"/>
                </a:cubicBezTo>
                <a:cubicBezTo>
                  <a:pt x="373" y="230"/>
                  <a:pt x="368" y="234"/>
                  <a:pt x="362" y="234"/>
                </a:cubicBezTo>
                <a:cubicBezTo>
                  <a:pt x="277" y="234"/>
                  <a:pt x="277" y="234"/>
                  <a:pt x="277" y="234"/>
                </a:cubicBezTo>
                <a:cubicBezTo>
                  <a:pt x="271" y="234"/>
                  <a:pt x="266" y="230"/>
                  <a:pt x="266" y="224"/>
                </a:cubicBezTo>
                <a:cubicBezTo>
                  <a:pt x="266" y="218"/>
                  <a:pt x="271" y="213"/>
                  <a:pt x="277" y="213"/>
                </a:cubicBezTo>
                <a:lnTo>
                  <a:pt x="362" y="213"/>
                </a:lnTo>
                <a:close/>
                <a:moveTo>
                  <a:pt x="373" y="266"/>
                </a:moveTo>
                <a:cubicBezTo>
                  <a:pt x="373" y="272"/>
                  <a:pt x="368" y="277"/>
                  <a:pt x="362" y="277"/>
                </a:cubicBezTo>
                <a:cubicBezTo>
                  <a:pt x="277" y="277"/>
                  <a:pt x="277" y="277"/>
                  <a:pt x="277" y="277"/>
                </a:cubicBezTo>
                <a:cubicBezTo>
                  <a:pt x="271" y="277"/>
                  <a:pt x="266" y="272"/>
                  <a:pt x="266" y="266"/>
                </a:cubicBezTo>
                <a:cubicBezTo>
                  <a:pt x="266" y="260"/>
                  <a:pt x="271" y="256"/>
                  <a:pt x="277" y="256"/>
                </a:cubicBezTo>
                <a:cubicBezTo>
                  <a:pt x="362" y="256"/>
                  <a:pt x="362" y="256"/>
                  <a:pt x="362" y="256"/>
                </a:cubicBezTo>
                <a:cubicBezTo>
                  <a:pt x="368" y="256"/>
                  <a:pt x="373" y="260"/>
                  <a:pt x="373" y="266"/>
                </a:cubicBezTo>
                <a:close/>
                <a:moveTo>
                  <a:pt x="373" y="309"/>
                </a:moveTo>
                <a:cubicBezTo>
                  <a:pt x="373" y="315"/>
                  <a:pt x="368" y="320"/>
                  <a:pt x="362" y="320"/>
                </a:cubicBezTo>
                <a:cubicBezTo>
                  <a:pt x="277" y="320"/>
                  <a:pt x="277" y="320"/>
                  <a:pt x="277" y="320"/>
                </a:cubicBezTo>
                <a:cubicBezTo>
                  <a:pt x="271" y="320"/>
                  <a:pt x="266" y="315"/>
                  <a:pt x="266" y="309"/>
                </a:cubicBezTo>
                <a:cubicBezTo>
                  <a:pt x="266" y="303"/>
                  <a:pt x="271" y="298"/>
                  <a:pt x="277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8" y="298"/>
                  <a:pt x="373" y="303"/>
                  <a:pt x="373" y="30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4" name="Freeform 580"/>
          <p:cNvSpPr>
            <a:spLocks noChangeAspect="1" noEditPoints="1"/>
          </p:cNvSpPr>
          <p:nvPr/>
        </p:nvSpPr>
        <p:spPr bwMode="auto">
          <a:xfrm>
            <a:off x="2414330" y="2910877"/>
            <a:ext cx="367982" cy="367982"/>
          </a:xfrm>
          <a:custGeom>
            <a:avLst/>
            <a:gdLst>
              <a:gd name="T0" fmla="*/ 176 w 512"/>
              <a:gd name="T1" fmla="*/ 170 h 512"/>
              <a:gd name="T2" fmla="*/ 352 w 512"/>
              <a:gd name="T3" fmla="*/ 170 h 512"/>
              <a:gd name="T4" fmla="*/ 352 w 512"/>
              <a:gd name="T5" fmla="*/ 394 h 512"/>
              <a:gd name="T6" fmla="*/ 176 w 512"/>
              <a:gd name="T7" fmla="*/ 394 h 512"/>
              <a:gd name="T8" fmla="*/ 160 w 512"/>
              <a:gd name="T9" fmla="*/ 378 h 512"/>
              <a:gd name="T10" fmla="*/ 160 w 512"/>
              <a:gd name="T11" fmla="*/ 167 h 512"/>
              <a:gd name="T12" fmla="*/ 176 w 512"/>
              <a:gd name="T13" fmla="*/ 170 h 512"/>
              <a:gd name="T14" fmla="*/ 176 w 512"/>
              <a:gd name="T15" fmla="*/ 149 h 512"/>
              <a:gd name="T16" fmla="*/ 323 w 512"/>
              <a:gd name="T17" fmla="*/ 149 h 512"/>
              <a:gd name="T18" fmla="*/ 320 w 512"/>
              <a:gd name="T19" fmla="*/ 133 h 512"/>
              <a:gd name="T20" fmla="*/ 323 w 512"/>
              <a:gd name="T21" fmla="*/ 117 h 512"/>
              <a:gd name="T22" fmla="*/ 176 w 512"/>
              <a:gd name="T23" fmla="*/ 117 h 512"/>
              <a:gd name="T24" fmla="*/ 160 w 512"/>
              <a:gd name="T25" fmla="*/ 133 h 512"/>
              <a:gd name="T26" fmla="*/ 176 w 512"/>
              <a:gd name="T27" fmla="*/ 149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41 w 512"/>
              <a:gd name="T39" fmla="*/ 133 h 512"/>
              <a:gd name="T40" fmla="*/ 346 w 512"/>
              <a:gd name="T41" fmla="*/ 117 h 512"/>
              <a:gd name="T42" fmla="*/ 364 w 512"/>
              <a:gd name="T43" fmla="*/ 117 h 512"/>
              <a:gd name="T44" fmla="*/ 373 w 512"/>
              <a:gd name="T45" fmla="*/ 106 h 512"/>
              <a:gd name="T46" fmla="*/ 364 w 512"/>
              <a:gd name="T47" fmla="*/ 96 h 512"/>
              <a:gd name="T48" fmla="*/ 176 w 512"/>
              <a:gd name="T49" fmla="*/ 96 h 512"/>
              <a:gd name="T50" fmla="*/ 138 w 512"/>
              <a:gd name="T51" fmla="*/ 133 h 512"/>
              <a:gd name="T52" fmla="*/ 138 w 512"/>
              <a:gd name="T53" fmla="*/ 378 h 512"/>
              <a:gd name="T54" fmla="*/ 176 w 512"/>
              <a:gd name="T55" fmla="*/ 416 h 512"/>
              <a:gd name="T56" fmla="*/ 362 w 512"/>
              <a:gd name="T57" fmla="*/ 416 h 512"/>
              <a:gd name="T58" fmla="*/ 373 w 512"/>
              <a:gd name="T59" fmla="*/ 405 h 512"/>
              <a:gd name="T60" fmla="*/ 373 w 512"/>
              <a:gd name="T61" fmla="*/ 160 h 512"/>
              <a:gd name="T62" fmla="*/ 362 w 512"/>
              <a:gd name="T63" fmla="*/ 149 h 512"/>
              <a:gd name="T64" fmla="*/ 346 w 512"/>
              <a:gd name="T65" fmla="*/ 149 h 512"/>
              <a:gd name="T66" fmla="*/ 341 w 512"/>
              <a:gd name="T67" fmla="*/ 13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76" y="170"/>
                </a:moveTo>
                <a:cubicBezTo>
                  <a:pt x="178" y="170"/>
                  <a:pt x="352" y="170"/>
                  <a:pt x="352" y="170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76" y="394"/>
                  <a:pt x="176" y="394"/>
                  <a:pt x="176" y="394"/>
                </a:cubicBezTo>
                <a:cubicBezTo>
                  <a:pt x="167" y="394"/>
                  <a:pt x="160" y="387"/>
                  <a:pt x="160" y="378"/>
                </a:cubicBezTo>
                <a:cubicBezTo>
                  <a:pt x="160" y="167"/>
                  <a:pt x="160" y="167"/>
                  <a:pt x="160" y="167"/>
                </a:cubicBezTo>
                <a:cubicBezTo>
                  <a:pt x="165" y="169"/>
                  <a:pt x="170" y="170"/>
                  <a:pt x="176" y="170"/>
                </a:cubicBezTo>
                <a:close/>
                <a:moveTo>
                  <a:pt x="176" y="149"/>
                </a:moveTo>
                <a:cubicBezTo>
                  <a:pt x="177" y="149"/>
                  <a:pt x="268" y="149"/>
                  <a:pt x="323" y="149"/>
                </a:cubicBezTo>
                <a:cubicBezTo>
                  <a:pt x="321" y="144"/>
                  <a:pt x="320" y="139"/>
                  <a:pt x="320" y="133"/>
                </a:cubicBezTo>
                <a:cubicBezTo>
                  <a:pt x="320" y="127"/>
                  <a:pt x="321" y="122"/>
                  <a:pt x="323" y="117"/>
                </a:cubicBezTo>
                <a:cubicBezTo>
                  <a:pt x="176" y="117"/>
                  <a:pt x="176" y="117"/>
                  <a:pt x="176" y="117"/>
                </a:cubicBezTo>
                <a:cubicBezTo>
                  <a:pt x="167" y="117"/>
                  <a:pt x="160" y="124"/>
                  <a:pt x="160" y="133"/>
                </a:cubicBezTo>
                <a:cubicBezTo>
                  <a:pt x="160" y="142"/>
                  <a:pt x="167" y="149"/>
                  <a:pt x="176" y="14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133"/>
                </a:moveTo>
                <a:cubicBezTo>
                  <a:pt x="341" y="127"/>
                  <a:pt x="343" y="122"/>
                  <a:pt x="346" y="117"/>
                </a:cubicBezTo>
                <a:cubicBezTo>
                  <a:pt x="364" y="117"/>
                  <a:pt x="364" y="117"/>
                  <a:pt x="364" y="117"/>
                </a:cubicBezTo>
                <a:cubicBezTo>
                  <a:pt x="369" y="117"/>
                  <a:pt x="373" y="112"/>
                  <a:pt x="373" y="106"/>
                </a:cubicBezTo>
                <a:cubicBezTo>
                  <a:pt x="373" y="100"/>
                  <a:pt x="369" y="96"/>
                  <a:pt x="364" y="96"/>
                </a:cubicBezTo>
                <a:cubicBezTo>
                  <a:pt x="176" y="96"/>
                  <a:pt x="176" y="96"/>
                  <a:pt x="176" y="96"/>
                </a:cubicBezTo>
                <a:cubicBezTo>
                  <a:pt x="155" y="96"/>
                  <a:pt x="138" y="112"/>
                  <a:pt x="138" y="133"/>
                </a:cubicBezTo>
                <a:cubicBezTo>
                  <a:pt x="138" y="378"/>
                  <a:pt x="138" y="378"/>
                  <a:pt x="138" y="378"/>
                </a:cubicBezTo>
                <a:cubicBezTo>
                  <a:pt x="138" y="399"/>
                  <a:pt x="155" y="416"/>
                  <a:pt x="176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60"/>
                  <a:pt x="373" y="160"/>
                  <a:pt x="373" y="160"/>
                </a:cubicBezTo>
                <a:cubicBezTo>
                  <a:pt x="373" y="154"/>
                  <a:pt x="368" y="149"/>
                  <a:pt x="362" y="149"/>
                </a:cubicBezTo>
                <a:cubicBezTo>
                  <a:pt x="362" y="149"/>
                  <a:pt x="356" y="149"/>
                  <a:pt x="346" y="149"/>
                </a:cubicBezTo>
                <a:cubicBezTo>
                  <a:pt x="343" y="144"/>
                  <a:pt x="341" y="139"/>
                  <a:pt x="341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5" name="Group 583"/>
          <p:cNvGrpSpPr>
            <a:grpSpLocks noChangeAspect="1"/>
          </p:cNvGrpSpPr>
          <p:nvPr/>
        </p:nvGrpSpPr>
        <p:grpSpPr bwMode="auto">
          <a:xfrm>
            <a:off x="2907616" y="2910877"/>
            <a:ext cx="367982" cy="367982"/>
            <a:chOff x="3390" y="3000"/>
            <a:chExt cx="340" cy="340"/>
          </a:xfrm>
          <a:solidFill>
            <a:schemeClr val="accent1"/>
          </a:solidFill>
        </p:grpSpPr>
        <p:sp>
          <p:nvSpPr>
            <p:cNvPr id="96" name="Freeform 584"/>
            <p:cNvSpPr>
              <a:spLocks noEditPoints="1"/>
            </p:cNvSpPr>
            <p:nvPr/>
          </p:nvSpPr>
          <p:spPr bwMode="auto">
            <a:xfrm>
              <a:off x="3390" y="300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585"/>
            <p:cNvSpPr>
              <a:spLocks noEditPoints="1"/>
            </p:cNvSpPr>
            <p:nvPr/>
          </p:nvSpPr>
          <p:spPr bwMode="auto">
            <a:xfrm>
              <a:off x="3482" y="3064"/>
              <a:ext cx="156" cy="212"/>
            </a:xfrm>
            <a:custGeom>
              <a:avLst/>
              <a:gdLst>
                <a:gd name="T0" fmla="*/ 224 w 235"/>
                <a:gd name="T1" fmla="*/ 53 h 320"/>
                <a:gd name="T2" fmla="*/ 208 w 235"/>
                <a:gd name="T3" fmla="*/ 53 h 320"/>
                <a:gd name="T4" fmla="*/ 203 w 235"/>
                <a:gd name="T5" fmla="*/ 37 h 320"/>
                <a:gd name="T6" fmla="*/ 208 w 235"/>
                <a:gd name="T7" fmla="*/ 21 h 320"/>
                <a:gd name="T8" fmla="*/ 226 w 235"/>
                <a:gd name="T9" fmla="*/ 21 h 320"/>
                <a:gd name="T10" fmla="*/ 235 w 235"/>
                <a:gd name="T11" fmla="*/ 10 h 320"/>
                <a:gd name="T12" fmla="*/ 226 w 235"/>
                <a:gd name="T13" fmla="*/ 0 h 320"/>
                <a:gd name="T14" fmla="*/ 38 w 235"/>
                <a:gd name="T15" fmla="*/ 0 h 320"/>
                <a:gd name="T16" fmla="*/ 0 w 235"/>
                <a:gd name="T17" fmla="*/ 37 h 320"/>
                <a:gd name="T18" fmla="*/ 0 w 235"/>
                <a:gd name="T19" fmla="*/ 282 h 320"/>
                <a:gd name="T20" fmla="*/ 38 w 235"/>
                <a:gd name="T21" fmla="*/ 320 h 320"/>
                <a:gd name="T22" fmla="*/ 224 w 235"/>
                <a:gd name="T23" fmla="*/ 320 h 320"/>
                <a:gd name="T24" fmla="*/ 235 w 235"/>
                <a:gd name="T25" fmla="*/ 309 h 320"/>
                <a:gd name="T26" fmla="*/ 235 w 235"/>
                <a:gd name="T27" fmla="*/ 64 h 320"/>
                <a:gd name="T28" fmla="*/ 224 w 235"/>
                <a:gd name="T29" fmla="*/ 53 h 320"/>
                <a:gd name="T30" fmla="*/ 38 w 235"/>
                <a:gd name="T31" fmla="*/ 21 h 320"/>
                <a:gd name="T32" fmla="*/ 185 w 235"/>
                <a:gd name="T33" fmla="*/ 21 h 320"/>
                <a:gd name="T34" fmla="*/ 182 w 235"/>
                <a:gd name="T35" fmla="*/ 37 h 320"/>
                <a:gd name="T36" fmla="*/ 185 w 235"/>
                <a:gd name="T37" fmla="*/ 53 h 320"/>
                <a:gd name="T38" fmla="*/ 38 w 235"/>
                <a:gd name="T39" fmla="*/ 53 h 320"/>
                <a:gd name="T40" fmla="*/ 22 w 235"/>
                <a:gd name="T41" fmla="*/ 37 h 320"/>
                <a:gd name="T42" fmla="*/ 38 w 235"/>
                <a:gd name="T43" fmla="*/ 21 h 320"/>
                <a:gd name="T44" fmla="*/ 214 w 235"/>
                <a:gd name="T45" fmla="*/ 298 h 320"/>
                <a:gd name="T46" fmla="*/ 38 w 235"/>
                <a:gd name="T47" fmla="*/ 298 h 320"/>
                <a:gd name="T48" fmla="*/ 22 w 235"/>
                <a:gd name="T49" fmla="*/ 282 h 320"/>
                <a:gd name="T50" fmla="*/ 22 w 235"/>
                <a:gd name="T51" fmla="*/ 71 h 320"/>
                <a:gd name="T52" fmla="*/ 38 w 235"/>
                <a:gd name="T53" fmla="*/ 74 h 320"/>
                <a:gd name="T54" fmla="*/ 214 w 235"/>
                <a:gd name="T55" fmla="*/ 74 h 320"/>
                <a:gd name="T56" fmla="*/ 214 w 235"/>
                <a:gd name="T57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5" h="320">
                  <a:moveTo>
                    <a:pt x="224" y="53"/>
                  </a:moveTo>
                  <a:cubicBezTo>
                    <a:pt x="224" y="53"/>
                    <a:pt x="218" y="53"/>
                    <a:pt x="208" y="53"/>
                  </a:cubicBezTo>
                  <a:cubicBezTo>
                    <a:pt x="205" y="48"/>
                    <a:pt x="203" y="43"/>
                    <a:pt x="203" y="37"/>
                  </a:cubicBezTo>
                  <a:cubicBezTo>
                    <a:pt x="203" y="31"/>
                    <a:pt x="205" y="26"/>
                    <a:pt x="208" y="21"/>
                  </a:cubicBezTo>
                  <a:cubicBezTo>
                    <a:pt x="226" y="21"/>
                    <a:pt x="226" y="21"/>
                    <a:pt x="226" y="21"/>
                  </a:cubicBezTo>
                  <a:cubicBezTo>
                    <a:pt x="231" y="21"/>
                    <a:pt x="235" y="16"/>
                    <a:pt x="235" y="10"/>
                  </a:cubicBezTo>
                  <a:cubicBezTo>
                    <a:pt x="235" y="4"/>
                    <a:pt x="231" y="0"/>
                    <a:pt x="22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6"/>
                    <a:pt x="0" y="37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303"/>
                    <a:pt x="17" y="320"/>
                    <a:pt x="38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64"/>
                    <a:pt x="235" y="64"/>
                    <a:pt x="235" y="64"/>
                  </a:cubicBezTo>
                  <a:cubicBezTo>
                    <a:pt x="235" y="58"/>
                    <a:pt x="230" y="53"/>
                    <a:pt x="224" y="53"/>
                  </a:cubicBezTo>
                  <a:close/>
                  <a:moveTo>
                    <a:pt x="38" y="21"/>
                  </a:moveTo>
                  <a:cubicBezTo>
                    <a:pt x="185" y="21"/>
                    <a:pt x="185" y="21"/>
                    <a:pt x="185" y="21"/>
                  </a:cubicBezTo>
                  <a:cubicBezTo>
                    <a:pt x="183" y="26"/>
                    <a:pt x="182" y="31"/>
                    <a:pt x="182" y="37"/>
                  </a:cubicBezTo>
                  <a:cubicBezTo>
                    <a:pt x="182" y="43"/>
                    <a:pt x="183" y="48"/>
                    <a:pt x="185" y="53"/>
                  </a:cubicBezTo>
                  <a:cubicBezTo>
                    <a:pt x="130" y="53"/>
                    <a:pt x="39" y="53"/>
                    <a:pt x="38" y="53"/>
                  </a:cubicBezTo>
                  <a:cubicBezTo>
                    <a:pt x="29" y="53"/>
                    <a:pt x="22" y="46"/>
                    <a:pt x="22" y="37"/>
                  </a:cubicBezTo>
                  <a:cubicBezTo>
                    <a:pt x="22" y="28"/>
                    <a:pt x="29" y="21"/>
                    <a:pt x="38" y="21"/>
                  </a:cubicBezTo>
                  <a:close/>
                  <a:moveTo>
                    <a:pt x="214" y="298"/>
                  </a:moveTo>
                  <a:cubicBezTo>
                    <a:pt x="38" y="298"/>
                    <a:pt x="38" y="298"/>
                    <a:pt x="38" y="298"/>
                  </a:cubicBezTo>
                  <a:cubicBezTo>
                    <a:pt x="29" y="298"/>
                    <a:pt x="22" y="291"/>
                    <a:pt x="22" y="282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7" y="73"/>
                    <a:pt x="32" y="74"/>
                    <a:pt x="38" y="74"/>
                  </a:cubicBezTo>
                  <a:cubicBezTo>
                    <a:pt x="40" y="74"/>
                    <a:pt x="214" y="74"/>
                    <a:pt x="214" y="74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8" name="Group 675"/>
          <p:cNvGrpSpPr>
            <a:grpSpLocks noChangeAspect="1"/>
          </p:cNvGrpSpPr>
          <p:nvPr/>
        </p:nvGrpSpPr>
        <p:grpSpPr bwMode="auto">
          <a:xfrm>
            <a:off x="3895228" y="2909834"/>
            <a:ext cx="369021" cy="369021"/>
            <a:chOff x="6583" y="2681"/>
            <a:chExt cx="340" cy="340"/>
          </a:xfrm>
          <a:solidFill>
            <a:schemeClr val="accent2"/>
          </a:solidFill>
        </p:grpSpPr>
        <p:sp>
          <p:nvSpPr>
            <p:cNvPr id="99" name="Freeform 676"/>
            <p:cNvSpPr>
              <a:spLocks noEditPoints="1"/>
            </p:cNvSpPr>
            <p:nvPr/>
          </p:nvSpPr>
          <p:spPr bwMode="auto">
            <a:xfrm>
              <a:off x="6583" y="268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677"/>
            <p:cNvSpPr>
              <a:spLocks noEditPoints="1"/>
            </p:cNvSpPr>
            <p:nvPr/>
          </p:nvSpPr>
          <p:spPr bwMode="auto">
            <a:xfrm>
              <a:off x="6672" y="2741"/>
              <a:ext cx="162" cy="224"/>
            </a:xfrm>
            <a:custGeom>
              <a:avLst/>
              <a:gdLst>
                <a:gd name="T0" fmla="*/ 233 w 244"/>
                <a:gd name="T1" fmla="*/ 122 h 336"/>
                <a:gd name="T2" fmla="*/ 241 w 244"/>
                <a:gd name="T3" fmla="*/ 90 h 336"/>
                <a:gd name="T4" fmla="*/ 218 w 244"/>
                <a:gd name="T5" fmla="*/ 67 h 336"/>
                <a:gd name="T6" fmla="*/ 209 w 244"/>
                <a:gd name="T7" fmla="*/ 35 h 336"/>
                <a:gd name="T8" fmla="*/ 177 w 244"/>
                <a:gd name="T9" fmla="*/ 26 h 336"/>
                <a:gd name="T10" fmla="*/ 154 w 244"/>
                <a:gd name="T11" fmla="*/ 2 h 336"/>
                <a:gd name="T12" fmla="*/ 122 w 244"/>
                <a:gd name="T13" fmla="*/ 11 h 336"/>
                <a:gd name="T14" fmla="*/ 90 w 244"/>
                <a:gd name="T15" fmla="*/ 2 h 336"/>
                <a:gd name="T16" fmla="*/ 66 w 244"/>
                <a:gd name="T17" fmla="*/ 26 h 336"/>
                <a:gd name="T18" fmla="*/ 34 w 244"/>
                <a:gd name="T19" fmla="*/ 35 h 336"/>
                <a:gd name="T20" fmla="*/ 26 w 244"/>
                <a:gd name="T21" fmla="*/ 67 h 336"/>
                <a:gd name="T22" fmla="*/ 2 w 244"/>
                <a:gd name="T23" fmla="*/ 90 h 336"/>
                <a:gd name="T24" fmla="*/ 11 w 244"/>
                <a:gd name="T25" fmla="*/ 122 h 336"/>
                <a:gd name="T26" fmla="*/ 2 w 244"/>
                <a:gd name="T27" fmla="*/ 154 h 336"/>
                <a:gd name="T28" fmla="*/ 26 w 244"/>
                <a:gd name="T29" fmla="*/ 177 h 336"/>
                <a:gd name="T30" fmla="*/ 34 w 244"/>
                <a:gd name="T31" fmla="*/ 209 h 336"/>
                <a:gd name="T32" fmla="*/ 58 w 244"/>
                <a:gd name="T33" fmla="*/ 217 h 336"/>
                <a:gd name="T34" fmla="*/ 63 w 244"/>
                <a:gd name="T35" fmla="*/ 334 h 336"/>
                <a:gd name="T36" fmla="*/ 122 w 244"/>
                <a:gd name="T37" fmla="*/ 305 h 336"/>
                <a:gd name="T38" fmla="*/ 175 w 244"/>
                <a:gd name="T39" fmla="*/ 335 h 336"/>
                <a:gd name="T40" fmla="*/ 186 w 244"/>
                <a:gd name="T41" fmla="*/ 325 h 336"/>
                <a:gd name="T42" fmla="*/ 186 w 244"/>
                <a:gd name="T43" fmla="*/ 217 h 336"/>
                <a:gd name="T44" fmla="*/ 217 w 244"/>
                <a:gd name="T45" fmla="*/ 187 h 336"/>
                <a:gd name="T46" fmla="*/ 225 w 244"/>
                <a:gd name="T47" fmla="*/ 172 h 336"/>
                <a:gd name="T48" fmla="*/ 236 w 244"/>
                <a:gd name="T49" fmla="*/ 131 h 336"/>
                <a:gd name="T50" fmla="*/ 116 w 244"/>
                <a:gd name="T51" fmla="*/ 284 h 336"/>
                <a:gd name="T52" fmla="*/ 79 w 244"/>
                <a:gd name="T53" fmla="*/ 235 h 336"/>
                <a:gd name="T54" fmla="*/ 95 w 244"/>
                <a:gd name="T55" fmla="*/ 242 h 336"/>
                <a:gd name="T56" fmla="*/ 122 w 244"/>
                <a:gd name="T57" fmla="*/ 233 h 336"/>
                <a:gd name="T58" fmla="*/ 154 w 244"/>
                <a:gd name="T59" fmla="*/ 242 h 336"/>
                <a:gd name="T60" fmla="*/ 164 w 244"/>
                <a:gd name="T61" fmla="*/ 306 h 336"/>
                <a:gd name="T62" fmla="*/ 213 w 244"/>
                <a:gd name="T63" fmla="*/ 154 h 336"/>
                <a:gd name="T64" fmla="*/ 195 w 244"/>
                <a:gd name="T65" fmla="*/ 185 h 336"/>
                <a:gd name="T66" fmla="*/ 185 w 244"/>
                <a:gd name="T67" fmla="*/ 195 h 336"/>
                <a:gd name="T68" fmla="*/ 154 w 244"/>
                <a:gd name="T69" fmla="*/ 212 h 336"/>
                <a:gd name="T70" fmla="*/ 148 w 244"/>
                <a:gd name="T71" fmla="*/ 218 h 336"/>
                <a:gd name="T72" fmla="*/ 122 w 244"/>
                <a:gd name="T73" fmla="*/ 212 h 336"/>
                <a:gd name="T74" fmla="*/ 95 w 244"/>
                <a:gd name="T75" fmla="*/ 221 h 336"/>
                <a:gd name="T76" fmla="*/ 77 w 244"/>
                <a:gd name="T77" fmla="*/ 200 h 336"/>
                <a:gd name="T78" fmla="*/ 49 w 244"/>
                <a:gd name="T79" fmla="*/ 195 h 336"/>
                <a:gd name="T80" fmla="*/ 44 w 244"/>
                <a:gd name="T81" fmla="*/ 167 h 336"/>
                <a:gd name="T82" fmla="*/ 23 w 244"/>
                <a:gd name="T83" fmla="*/ 149 h 336"/>
                <a:gd name="T84" fmla="*/ 32 w 244"/>
                <a:gd name="T85" fmla="*/ 122 h 336"/>
                <a:gd name="T86" fmla="*/ 23 w 244"/>
                <a:gd name="T87" fmla="*/ 96 h 336"/>
                <a:gd name="T88" fmla="*/ 44 w 244"/>
                <a:gd name="T89" fmla="*/ 77 h 336"/>
                <a:gd name="T90" fmla="*/ 49 w 244"/>
                <a:gd name="T91" fmla="*/ 50 h 336"/>
                <a:gd name="T92" fmla="*/ 77 w 244"/>
                <a:gd name="T93" fmla="*/ 45 h 336"/>
                <a:gd name="T94" fmla="*/ 95 w 244"/>
                <a:gd name="T95" fmla="*/ 26 h 336"/>
                <a:gd name="T96" fmla="*/ 103 w 244"/>
                <a:gd name="T97" fmla="*/ 28 h 336"/>
                <a:gd name="T98" fmla="*/ 140 w 244"/>
                <a:gd name="T99" fmla="*/ 27 h 336"/>
                <a:gd name="T100" fmla="*/ 154 w 244"/>
                <a:gd name="T101" fmla="*/ 30 h 336"/>
                <a:gd name="T102" fmla="*/ 185 w 244"/>
                <a:gd name="T103" fmla="*/ 48 h 336"/>
                <a:gd name="T104" fmla="*/ 195 w 244"/>
                <a:gd name="T105" fmla="*/ 59 h 336"/>
                <a:gd name="T106" fmla="*/ 213 w 244"/>
                <a:gd name="T107" fmla="*/ 90 h 336"/>
                <a:gd name="T108" fmla="*/ 217 w 244"/>
                <a:gd name="T109" fmla="*/ 104 h 336"/>
                <a:gd name="T110" fmla="*/ 217 w 244"/>
                <a:gd name="T111" fmla="*/ 140 h 336"/>
                <a:gd name="T112" fmla="*/ 213 w 244"/>
                <a:gd name="T113" fmla="*/ 15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36">
                  <a:moveTo>
                    <a:pt x="236" y="131"/>
                  </a:moveTo>
                  <a:cubicBezTo>
                    <a:pt x="235" y="128"/>
                    <a:pt x="233" y="124"/>
                    <a:pt x="233" y="122"/>
                  </a:cubicBezTo>
                  <a:cubicBezTo>
                    <a:pt x="233" y="120"/>
                    <a:pt x="235" y="116"/>
                    <a:pt x="236" y="113"/>
                  </a:cubicBezTo>
                  <a:cubicBezTo>
                    <a:pt x="239" y="107"/>
                    <a:pt x="244" y="99"/>
                    <a:pt x="241" y="90"/>
                  </a:cubicBezTo>
                  <a:cubicBezTo>
                    <a:pt x="239" y="81"/>
                    <a:pt x="231" y="76"/>
                    <a:pt x="225" y="72"/>
                  </a:cubicBezTo>
                  <a:cubicBezTo>
                    <a:pt x="222" y="70"/>
                    <a:pt x="219" y="68"/>
                    <a:pt x="218" y="67"/>
                  </a:cubicBezTo>
                  <a:cubicBezTo>
                    <a:pt x="217" y="65"/>
                    <a:pt x="217" y="61"/>
                    <a:pt x="217" y="57"/>
                  </a:cubicBezTo>
                  <a:cubicBezTo>
                    <a:pt x="216" y="50"/>
                    <a:pt x="216" y="41"/>
                    <a:pt x="209" y="35"/>
                  </a:cubicBezTo>
                  <a:cubicBezTo>
                    <a:pt x="203" y="28"/>
                    <a:pt x="194" y="28"/>
                    <a:pt x="186" y="27"/>
                  </a:cubicBezTo>
                  <a:cubicBezTo>
                    <a:pt x="183" y="27"/>
                    <a:pt x="179" y="27"/>
                    <a:pt x="177" y="26"/>
                  </a:cubicBezTo>
                  <a:cubicBezTo>
                    <a:pt x="176" y="25"/>
                    <a:pt x="173" y="21"/>
                    <a:pt x="172" y="19"/>
                  </a:cubicBezTo>
                  <a:cubicBezTo>
                    <a:pt x="168" y="13"/>
                    <a:pt x="163" y="5"/>
                    <a:pt x="154" y="2"/>
                  </a:cubicBezTo>
                  <a:cubicBezTo>
                    <a:pt x="145" y="0"/>
                    <a:pt x="137" y="4"/>
                    <a:pt x="130" y="8"/>
                  </a:cubicBezTo>
                  <a:cubicBezTo>
                    <a:pt x="128" y="9"/>
                    <a:pt x="123" y="11"/>
                    <a:pt x="122" y="11"/>
                  </a:cubicBezTo>
                  <a:cubicBezTo>
                    <a:pt x="120" y="11"/>
                    <a:pt x="116" y="9"/>
                    <a:pt x="113" y="8"/>
                  </a:cubicBezTo>
                  <a:cubicBezTo>
                    <a:pt x="106" y="4"/>
                    <a:pt x="98" y="0"/>
                    <a:pt x="90" y="2"/>
                  </a:cubicBezTo>
                  <a:cubicBezTo>
                    <a:pt x="81" y="5"/>
                    <a:pt x="76" y="13"/>
                    <a:pt x="72" y="19"/>
                  </a:cubicBezTo>
                  <a:cubicBezTo>
                    <a:pt x="70" y="21"/>
                    <a:pt x="68" y="25"/>
                    <a:pt x="66" y="26"/>
                  </a:cubicBezTo>
                  <a:cubicBezTo>
                    <a:pt x="65" y="27"/>
                    <a:pt x="60" y="27"/>
                    <a:pt x="57" y="27"/>
                  </a:cubicBezTo>
                  <a:cubicBezTo>
                    <a:pt x="50" y="28"/>
                    <a:pt x="41" y="28"/>
                    <a:pt x="34" y="35"/>
                  </a:cubicBezTo>
                  <a:cubicBezTo>
                    <a:pt x="28" y="41"/>
                    <a:pt x="27" y="50"/>
                    <a:pt x="27" y="57"/>
                  </a:cubicBezTo>
                  <a:cubicBezTo>
                    <a:pt x="27" y="61"/>
                    <a:pt x="26" y="65"/>
                    <a:pt x="26" y="67"/>
                  </a:cubicBezTo>
                  <a:cubicBezTo>
                    <a:pt x="25" y="68"/>
                    <a:pt x="21" y="70"/>
                    <a:pt x="18" y="72"/>
                  </a:cubicBezTo>
                  <a:cubicBezTo>
                    <a:pt x="12" y="76"/>
                    <a:pt x="5" y="81"/>
                    <a:pt x="2" y="90"/>
                  </a:cubicBezTo>
                  <a:cubicBezTo>
                    <a:pt x="0" y="99"/>
                    <a:pt x="4" y="107"/>
                    <a:pt x="7" y="113"/>
                  </a:cubicBezTo>
                  <a:cubicBezTo>
                    <a:pt x="9" y="116"/>
                    <a:pt x="11" y="120"/>
                    <a:pt x="11" y="122"/>
                  </a:cubicBezTo>
                  <a:cubicBezTo>
                    <a:pt x="11" y="124"/>
                    <a:pt x="9" y="128"/>
                    <a:pt x="7" y="131"/>
                  </a:cubicBezTo>
                  <a:cubicBezTo>
                    <a:pt x="4" y="137"/>
                    <a:pt x="0" y="145"/>
                    <a:pt x="2" y="154"/>
                  </a:cubicBezTo>
                  <a:cubicBezTo>
                    <a:pt x="5" y="163"/>
                    <a:pt x="12" y="168"/>
                    <a:pt x="18" y="172"/>
                  </a:cubicBezTo>
                  <a:cubicBezTo>
                    <a:pt x="21" y="174"/>
                    <a:pt x="25" y="176"/>
                    <a:pt x="26" y="177"/>
                  </a:cubicBezTo>
                  <a:cubicBezTo>
                    <a:pt x="26" y="179"/>
                    <a:pt x="27" y="183"/>
                    <a:pt x="27" y="187"/>
                  </a:cubicBezTo>
                  <a:cubicBezTo>
                    <a:pt x="27" y="194"/>
                    <a:pt x="28" y="203"/>
                    <a:pt x="34" y="209"/>
                  </a:cubicBezTo>
                  <a:cubicBezTo>
                    <a:pt x="41" y="216"/>
                    <a:pt x="50" y="216"/>
                    <a:pt x="57" y="217"/>
                  </a:cubicBezTo>
                  <a:cubicBezTo>
                    <a:pt x="57" y="217"/>
                    <a:pt x="57" y="217"/>
                    <a:pt x="58" y="217"/>
                  </a:cubicBezTo>
                  <a:cubicBezTo>
                    <a:pt x="58" y="325"/>
                    <a:pt x="58" y="325"/>
                    <a:pt x="58" y="325"/>
                  </a:cubicBezTo>
                  <a:cubicBezTo>
                    <a:pt x="58" y="329"/>
                    <a:pt x="60" y="332"/>
                    <a:pt x="63" y="334"/>
                  </a:cubicBezTo>
                  <a:cubicBezTo>
                    <a:pt x="66" y="336"/>
                    <a:pt x="71" y="336"/>
                    <a:pt x="74" y="334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70" y="334"/>
                    <a:pt x="170" y="334"/>
                    <a:pt x="170" y="334"/>
                  </a:cubicBezTo>
                  <a:cubicBezTo>
                    <a:pt x="171" y="335"/>
                    <a:pt x="173" y="335"/>
                    <a:pt x="175" y="335"/>
                  </a:cubicBezTo>
                  <a:cubicBezTo>
                    <a:pt x="177" y="335"/>
                    <a:pt x="179" y="335"/>
                    <a:pt x="180" y="334"/>
                  </a:cubicBezTo>
                  <a:cubicBezTo>
                    <a:pt x="184" y="332"/>
                    <a:pt x="186" y="329"/>
                    <a:pt x="186" y="325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94" y="216"/>
                    <a:pt x="203" y="216"/>
                    <a:pt x="209" y="209"/>
                  </a:cubicBezTo>
                  <a:cubicBezTo>
                    <a:pt x="216" y="203"/>
                    <a:pt x="216" y="194"/>
                    <a:pt x="217" y="187"/>
                  </a:cubicBezTo>
                  <a:cubicBezTo>
                    <a:pt x="217" y="183"/>
                    <a:pt x="217" y="179"/>
                    <a:pt x="218" y="177"/>
                  </a:cubicBezTo>
                  <a:cubicBezTo>
                    <a:pt x="219" y="176"/>
                    <a:pt x="222" y="174"/>
                    <a:pt x="225" y="172"/>
                  </a:cubicBezTo>
                  <a:cubicBezTo>
                    <a:pt x="231" y="168"/>
                    <a:pt x="239" y="163"/>
                    <a:pt x="241" y="154"/>
                  </a:cubicBezTo>
                  <a:cubicBezTo>
                    <a:pt x="244" y="145"/>
                    <a:pt x="239" y="137"/>
                    <a:pt x="236" y="131"/>
                  </a:cubicBezTo>
                  <a:close/>
                  <a:moveTo>
                    <a:pt x="127" y="284"/>
                  </a:moveTo>
                  <a:cubicBezTo>
                    <a:pt x="124" y="282"/>
                    <a:pt x="120" y="282"/>
                    <a:pt x="116" y="284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79" y="235"/>
                    <a:pt x="79" y="235"/>
                    <a:pt x="79" y="235"/>
                  </a:cubicBezTo>
                  <a:cubicBezTo>
                    <a:pt x="82" y="238"/>
                    <a:pt x="85" y="240"/>
                    <a:pt x="90" y="242"/>
                  </a:cubicBezTo>
                  <a:cubicBezTo>
                    <a:pt x="91" y="242"/>
                    <a:pt x="93" y="242"/>
                    <a:pt x="95" y="242"/>
                  </a:cubicBezTo>
                  <a:cubicBezTo>
                    <a:pt x="102" y="242"/>
                    <a:pt x="108" y="239"/>
                    <a:pt x="113" y="236"/>
                  </a:cubicBezTo>
                  <a:cubicBezTo>
                    <a:pt x="116" y="235"/>
                    <a:pt x="120" y="233"/>
                    <a:pt x="122" y="233"/>
                  </a:cubicBezTo>
                  <a:cubicBezTo>
                    <a:pt x="123" y="233"/>
                    <a:pt x="128" y="235"/>
                    <a:pt x="130" y="236"/>
                  </a:cubicBezTo>
                  <a:cubicBezTo>
                    <a:pt x="137" y="240"/>
                    <a:pt x="145" y="244"/>
                    <a:pt x="154" y="242"/>
                  </a:cubicBezTo>
                  <a:cubicBezTo>
                    <a:pt x="158" y="240"/>
                    <a:pt x="161" y="238"/>
                    <a:pt x="164" y="235"/>
                  </a:cubicBezTo>
                  <a:cubicBezTo>
                    <a:pt x="164" y="306"/>
                    <a:pt x="164" y="306"/>
                    <a:pt x="164" y="306"/>
                  </a:cubicBezTo>
                  <a:lnTo>
                    <a:pt x="127" y="284"/>
                  </a:lnTo>
                  <a:close/>
                  <a:moveTo>
                    <a:pt x="213" y="154"/>
                  </a:moveTo>
                  <a:cubicBezTo>
                    <a:pt x="208" y="157"/>
                    <a:pt x="203" y="161"/>
                    <a:pt x="199" y="167"/>
                  </a:cubicBezTo>
                  <a:cubicBezTo>
                    <a:pt x="196" y="173"/>
                    <a:pt x="196" y="179"/>
                    <a:pt x="195" y="185"/>
                  </a:cubicBezTo>
                  <a:cubicBezTo>
                    <a:pt x="195" y="188"/>
                    <a:pt x="195" y="193"/>
                    <a:pt x="194" y="194"/>
                  </a:cubicBezTo>
                  <a:cubicBezTo>
                    <a:pt x="193" y="195"/>
                    <a:pt x="188" y="195"/>
                    <a:pt x="185" y="195"/>
                  </a:cubicBezTo>
                  <a:cubicBezTo>
                    <a:pt x="179" y="195"/>
                    <a:pt x="172" y="195"/>
                    <a:pt x="166" y="199"/>
                  </a:cubicBezTo>
                  <a:cubicBezTo>
                    <a:pt x="161" y="202"/>
                    <a:pt x="157" y="207"/>
                    <a:pt x="154" y="212"/>
                  </a:cubicBezTo>
                  <a:cubicBezTo>
                    <a:pt x="152" y="215"/>
                    <a:pt x="149" y="218"/>
                    <a:pt x="148" y="218"/>
                  </a:cubicBezTo>
                  <a:cubicBezTo>
                    <a:pt x="148" y="218"/>
                    <a:pt x="148" y="218"/>
                    <a:pt x="148" y="218"/>
                  </a:cubicBezTo>
                  <a:cubicBezTo>
                    <a:pt x="147" y="218"/>
                    <a:pt x="143" y="217"/>
                    <a:pt x="140" y="216"/>
                  </a:cubicBezTo>
                  <a:cubicBezTo>
                    <a:pt x="135" y="213"/>
                    <a:pt x="129" y="212"/>
                    <a:pt x="122" y="212"/>
                  </a:cubicBezTo>
                  <a:cubicBezTo>
                    <a:pt x="115" y="212"/>
                    <a:pt x="109" y="215"/>
                    <a:pt x="103" y="217"/>
                  </a:cubicBezTo>
                  <a:cubicBezTo>
                    <a:pt x="101" y="219"/>
                    <a:pt x="96" y="221"/>
                    <a:pt x="95" y="221"/>
                  </a:cubicBezTo>
                  <a:cubicBezTo>
                    <a:pt x="94" y="220"/>
                    <a:pt x="91" y="216"/>
                    <a:pt x="90" y="214"/>
                  </a:cubicBezTo>
                  <a:cubicBezTo>
                    <a:pt x="86" y="209"/>
                    <a:pt x="83" y="203"/>
                    <a:pt x="77" y="200"/>
                  </a:cubicBezTo>
                  <a:cubicBezTo>
                    <a:pt x="71" y="196"/>
                    <a:pt x="64" y="196"/>
                    <a:pt x="58" y="196"/>
                  </a:cubicBezTo>
                  <a:cubicBezTo>
                    <a:pt x="55" y="195"/>
                    <a:pt x="50" y="195"/>
                    <a:pt x="49" y="195"/>
                  </a:cubicBezTo>
                  <a:cubicBezTo>
                    <a:pt x="49" y="193"/>
                    <a:pt x="48" y="188"/>
                    <a:pt x="48" y="185"/>
                  </a:cubicBezTo>
                  <a:cubicBezTo>
                    <a:pt x="48" y="179"/>
                    <a:pt x="47" y="173"/>
                    <a:pt x="44" y="167"/>
                  </a:cubicBezTo>
                  <a:cubicBezTo>
                    <a:pt x="41" y="161"/>
                    <a:pt x="35" y="157"/>
                    <a:pt x="30" y="154"/>
                  </a:cubicBezTo>
                  <a:cubicBezTo>
                    <a:pt x="28" y="152"/>
                    <a:pt x="23" y="150"/>
                    <a:pt x="23" y="149"/>
                  </a:cubicBezTo>
                  <a:cubicBezTo>
                    <a:pt x="23" y="147"/>
                    <a:pt x="25" y="143"/>
                    <a:pt x="26" y="140"/>
                  </a:cubicBezTo>
                  <a:cubicBezTo>
                    <a:pt x="29" y="135"/>
                    <a:pt x="32" y="129"/>
                    <a:pt x="32" y="122"/>
                  </a:cubicBezTo>
                  <a:cubicBezTo>
                    <a:pt x="32" y="115"/>
                    <a:pt x="29" y="109"/>
                    <a:pt x="26" y="104"/>
                  </a:cubicBezTo>
                  <a:cubicBezTo>
                    <a:pt x="25" y="101"/>
                    <a:pt x="23" y="97"/>
                    <a:pt x="23" y="96"/>
                  </a:cubicBezTo>
                  <a:cubicBezTo>
                    <a:pt x="23" y="94"/>
                    <a:pt x="28" y="92"/>
                    <a:pt x="30" y="90"/>
                  </a:cubicBezTo>
                  <a:cubicBezTo>
                    <a:pt x="35" y="87"/>
                    <a:pt x="41" y="83"/>
                    <a:pt x="44" y="77"/>
                  </a:cubicBezTo>
                  <a:cubicBezTo>
                    <a:pt x="47" y="71"/>
                    <a:pt x="48" y="65"/>
                    <a:pt x="48" y="59"/>
                  </a:cubicBezTo>
                  <a:cubicBezTo>
                    <a:pt x="48" y="56"/>
                    <a:pt x="49" y="51"/>
                    <a:pt x="49" y="50"/>
                  </a:cubicBezTo>
                  <a:cubicBezTo>
                    <a:pt x="50" y="49"/>
                    <a:pt x="55" y="49"/>
                    <a:pt x="58" y="49"/>
                  </a:cubicBezTo>
                  <a:cubicBezTo>
                    <a:pt x="64" y="49"/>
                    <a:pt x="71" y="49"/>
                    <a:pt x="77" y="45"/>
                  </a:cubicBezTo>
                  <a:cubicBezTo>
                    <a:pt x="83" y="42"/>
                    <a:pt x="86" y="37"/>
                    <a:pt x="90" y="32"/>
                  </a:cubicBezTo>
                  <a:cubicBezTo>
                    <a:pt x="91" y="29"/>
                    <a:pt x="94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6" y="26"/>
                    <a:pt x="101" y="27"/>
                    <a:pt x="103" y="28"/>
                  </a:cubicBezTo>
                  <a:cubicBezTo>
                    <a:pt x="109" y="31"/>
                    <a:pt x="115" y="32"/>
                    <a:pt x="122" y="32"/>
                  </a:cubicBezTo>
                  <a:cubicBezTo>
                    <a:pt x="129" y="32"/>
                    <a:pt x="135" y="29"/>
                    <a:pt x="140" y="27"/>
                  </a:cubicBezTo>
                  <a:cubicBezTo>
                    <a:pt x="143" y="25"/>
                    <a:pt x="147" y="23"/>
                    <a:pt x="148" y="23"/>
                  </a:cubicBezTo>
                  <a:cubicBezTo>
                    <a:pt x="149" y="24"/>
                    <a:pt x="152" y="28"/>
                    <a:pt x="154" y="30"/>
                  </a:cubicBezTo>
                  <a:cubicBezTo>
                    <a:pt x="157" y="35"/>
                    <a:pt x="161" y="41"/>
                    <a:pt x="166" y="44"/>
                  </a:cubicBezTo>
                  <a:cubicBezTo>
                    <a:pt x="172" y="48"/>
                    <a:pt x="179" y="48"/>
                    <a:pt x="185" y="48"/>
                  </a:cubicBezTo>
                  <a:cubicBezTo>
                    <a:pt x="188" y="49"/>
                    <a:pt x="193" y="49"/>
                    <a:pt x="194" y="49"/>
                  </a:cubicBezTo>
                  <a:cubicBezTo>
                    <a:pt x="195" y="51"/>
                    <a:pt x="195" y="56"/>
                    <a:pt x="195" y="59"/>
                  </a:cubicBezTo>
                  <a:cubicBezTo>
                    <a:pt x="196" y="65"/>
                    <a:pt x="196" y="71"/>
                    <a:pt x="199" y="77"/>
                  </a:cubicBezTo>
                  <a:cubicBezTo>
                    <a:pt x="203" y="83"/>
                    <a:pt x="208" y="87"/>
                    <a:pt x="213" y="90"/>
                  </a:cubicBezTo>
                  <a:cubicBezTo>
                    <a:pt x="216" y="92"/>
                    <a:pt x="220" y="94"/>
                    <a:pt x="221" y="95"/>
                  </a:cubicBezTo>
                  <a:cubicBezTo>
                    <a:pt x="221" y="97"/>
                    <a:pt x="218" y="101"/>
                    <a:pt x="217" y="104"/>
                  </a:cubicBezTo>
                  <a:cubicBezTo>
                    <a:pt x="214" y="109"/>
                    <a:pt x="211" y="115"/>
                    <a:pt x="211" y="122"/>
                  </a:cubicBezTo>
                  <a:cubicBezTo>
                    <a:pt x="211" y="129"/>
                    <a:pt x="214" y="135"/>
                    <a:pt x="217" y="140"/>
                  </a:cubicBezTo>
                  <a:cubicBezTo>
                    <a:pt x="218" y="143"/>
                    <a:pt x="221" y="147"/>
                    <a:pt x="221" y="148"/>
                  </a:cubicBezTo>
                  <a:cubicBezTo>
                    <a:pt x="220" y="150"/>
                    <a:pt x="216" y="152"/>
                    <a:pt x="213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678"/>
            <p:cNvSpPr>
              <a:spLocks noEditPoints="1"/>
            </p:cNvSpPr>
            <p:nvPr/>
          </p:nvSpPr>
          <p:spPr bwMode="auto">
            <a:xfrm>
              <a:off x="6717" y="2787"/>
              <a:ext cx="71" cy="71"/>
            </a:xfrm>
            <a:custGeom>
              <a:avLst/>
              <a:gdLst>
                <a:gd name="T0" fmla="*/ 54 w 107"/>
                <a:gd name="T1" fmla="*/ 0 h 106"/>
                <a:gd name="T2" fmla="*/ 0 w 107"/>
                <a:gd name="T3" fmla="*/ 53 h 106"/>
                <a:gd name="T4" fmla="*/ 54 w 107"/>
                <a:gd name="T5" fmla="*/ 106 h 106"/>
                <a:gd name="T6" fmla="*/ 107 w 107"/>
                <a:gd name="T7" fmla="*/ 53 h 106"/>
                <a:gd name="T8" fmla="*/ 54 w 107"/>
                <a:gd name="T9" fmla="*/ 0 h 106"/>
                <a:gd name="T10" fmla="*/ 54 w 107"/>
                <a:gd name="T11" fmla="*/ 85 h 106"/>
                <a:gd name="T12" fmla="*/ 22 w 107"/>
                <a:gd name="T13" fmla="*/ 53 h 106"/>
                <a:gd name="T14" fmla="*/ 54 w 107"/>
                <a:gd name="T15" fmla="*/ 21 h 106"/>
                <a:gd name="T16" fmla="*/ 86 w 107"/>
                <a:gd name="T17" fmla="*/ 53 h 106"/>
                <a:gd name="T18" fmla="*/ 54 w 107"/>
                <a:gd name="T19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4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4" y="106"/>
                  </a:cubicBez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5"/>
                    <a:pt x="36" y="21"/>
                    <a:pt x="54" y="21"/>
                  </a:cubicBezTo>
                  <a:cubicBezTo>
                    <a:pt x="71" y="21"/>
                    <a:pt x="86" y="35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2" name="Group 681"/>
          <p:cNvGrpSpPr>
            <a:grpSpLocks noChangeAspect="1"/>
          </p:cNvGrpSpPr>
          <p:nvPr/>
        </p:nvGrpSpPr>
        <p:grpSpPr bwMode="auto">
          <a:xfrm>
            <a:off x="3400902" y="2909842"/>
            <a:ext cx="369021" cy="369021"/>
            <a:chOff x="6210" y="2696"/>
            <a:chExt cx="340" cy="340"/>
          </a:xfrm>
          <a:solidFill>
            <a:schemeClr val="accent2"/>
          </a:solidFill>
        </p:grpSpPr>
        <p:sp>
          <p:nvSpPr>
            <p:cNvPr id="103" name="Freeform 682"/>
            <p:cNvSpPr>
              <a:spLocks/>
            </p:cNvSpPr>
            <p:nvPr/>
          </p:nvSpPr>
          <p:spPr bwMode="auto">
            <a:xfrm>
              <a:off x="6351" y="2911"/>
              <a:ext cx="57" cy="49"/>
            </a:xfrm>
            <a:custGeom>
              <a:avLst/>
              <a:gdLst>
                <a:gd name="T0" fmla="*/ 51 w 85"/>
                <a:gd name="T1" fmla="*/ 3 h 73"/>
                <a:gd name="T2" fmla="*/ 43 w 85"/>
                <a:gd name="T3" fmla="*/ 0 h 73"/>
                <a:gd name="T4" fmla="*/ 34 w 85"/>
                <a:gd name="T5" fmla="*/ 3 h 73"/>
                <a:gd name="T6" fmla="*/ 16 w 85"/>
                <a:gd name="T7" fmla="*/ 9 h 73"/>
                <a:gd name="T8" fmla="*/ 11 w 85"/>
                <a:gd name="T9" fmla="*/ 9 h 73"/>
                <a:gd name="T10" fmla="*/ 0 w 85"/>
                <a:gd name="T11" fmla="*/ 2 h 73"/>
                <a:gd name="T12" fmla="*/ 0 w 85"/>
                <a:gd name="T13" fmla="*/ 73 h 73"/>
                <a:gd name="T14" fmla="*/ 37 w 85"/>
                <a:gd name="T15" fmla="*/ 51 h 73"/>
                <a:gd name="T16" fmla="*/ 48 w 85"/>
                <a:gd name="T17" fmla="*/ 51 h 73"/>
                <a:gd name="T18" fmla="*/ 85 w 85"/>
                <a:gd name="T19" fmla="*/ 73 h 73"/>
                <a:gd name="T20" fmla="*/ 85 w 85"/>
                <a:gd name="T21" fmla="*/ 2 h 73"/>
                <a:gd name="T22" fmla="*/ 75 w 85"/>
                <a:gd name="T23" fmla="*/ 9 h 73"/>
                <a:gd name="T24" fmla="*/ 51 w 85"/>
                <a:gd name="T2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73">
                  <a:moveTo>
                    <a:pt x="51" y="3"/>
                  </a:moveTo>
                  <a:cubicBezTo>
                    <a:pt x="49" y="2"/>
                    <a:pt x="44" y="0"/>
                    <a:pt x="43" y="0"/>
                  </a:cubicBezTo>
                  <a:cubicBezTo>
                    <a:pt x="41" y="0"/>
                    <a:pt x="37" y="2"/>
                    <a:pt x="34" y="3"/>
                  </a:cubicBezTo>
                  <a:cubicBezTo>
                    <a:pt x="29" y="6"/>
                    <a:pt x="23" y="9"/>
                    <a:pt x="16" y="9"/>
                  </a:cubicBezTo>
                  <a:cubicBezTo>
                    <a:pt x="14" y="9"/>
                    <a:pt x="12" y="9"/>
                    <a:pt x="11" y="9"/>
                  </a:cubicBezTo>
                  <a:cubicBezTo>
                    <a:pt x="6" y="7"/>
                    <a:pt x="3" y="5"/>
                    <a:pt x="0" y="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41" y="49"/>
                    <a:pt x="45" y="49"/>
                    <a:pt x="48" y="51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2" y="5"/>
                    <a:pt x="79" y="7"/>
                    <a:pt x="75" y="9"/>
                  </a:cubicBezTo>
                  <a:cubicBezTo>
                    <a:pt x="66" y="11"/>
                    <a:pt x="58" y="7"/>
                    <a:pt x="5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683"/>
            <p:cNvSpPr>
              <a:spLocks noEditPoints="1"/>
            </p:cNvSpPr>
            <p:nvPr/>
          </p:nvSpPr>
          <p:spPr bwMode="auto">
            <a:xfrm>
              <a:off x="6314" y="2772"/>
              <a:ext cx="132" cy="131"/>
            </a:xfrm>
            <a:custGeom>
              <a:avLst/>
              <a:gdLst>
                <a:gd name="T0" fmla="*/ 188 w 198"/>
                <a:gd name="T1" fmla="*/ 99 h 198"/>
                <a:gd name="T2" fmla="*/ 194 w 198"/>
                <a:gd name="T3" fmla="*/ 81 h 198"/>
                <a:gd name="T4" fmla="*/ 198 w 198"/>
                <a:gd name="T5" fmla="*/ 72 h 198"/>
                <a:gd name="T6" fmla="*/ 190 w 198"/>
                <a:gd name="T7" fmla="*/ 67 h 198"/>
                <a:gd name="T8" fmla="*/ 176 w 198"/>
                <a:gd name="T9" fmla="*/ 54 h 198"/>
                <a:gd name="T10" fmla="*/ 172 w 198"/>
                <a:gd name="T11" fmla="*/ 36 h 198"/>
                <a:gd name="T12" fmla="*/ 171 w 198"/>
                <a:gd name="T13" fmla="*/ 26 h 198"/>
                <a:gd name="T14" fmla="*/ 162 w 198"/>
                <a:gd name="T15" fmla="*/ 25 h 198"/>
                <a:gd name="T16" fmla="*/ 143 w 198"/>
                <a:gd name="T17" fmla="*/ 21 h 198"/>
                <a:gd name="T18" fmla="*/ 131 w 198"/>
                <a:gd name="T19" fmla="*/ 7 h 198"/>
                <a:gd name="T20" fmla="*/ 125 w 198"/>
                <a:gd name="T21" fmla="*/ 0 h 198"/>
                <a:gd name="T22" fmla="*/ 117 w 198"/>
                <a:gd name="T23" fmla="*/ 4 h 198"/>
                <a:gd name="T24" fmla="*/ 99 w 198"/>
                <a:gd name="T25" fmla="*/ 9 h 198"/>
                <a:gd name="T26" fmla="*/ 80 w 198"/>
                <a:gd name="T27" fmla="*/ 5 h 198"/>
                <a:gd name="T28" fmla="*/ 72 w 198"/>
                <a:gd name="T29" fmla="*/ 3 h 198"/>
                <a:gd name="T30" fmla="*/ 72 w 198"/>
                <a:gd name="T31" fmla="*/ 3 h 198"/>
                <a:gd name="T32" fmla="*/ 67 w 198"/>
                <a:gd name="T33" fmla="*/ 9 h 198"/>
                <a:gd name="T34" fmla="*/ 54 w 198"/>
                <a:gd name="T35" fmla="*/ 22 h 198"/>
                <a:gd name="T36" fmla="*/ 35 w 198"/>
                <a:gd name="T37" fmla="*/ 26 h 198"/>
                <a:gd name="T38" fmla="*/ 26 w 198"/>
                <a:gd name="T39" fmla="*/ 27 h 198"/>
                <a:gd name="T40" fmla="*/ 25 w 198"/>
                <a:gd name="T41" fmla="*/ 36 h 198"/>
                <a:gd name="T42" fmla="*/ 21 w 198"/>
                <a:gd name="T43" fmla="*/ 54 h 198"/>
                <a:gd name="T44" fmla="*/ 7 w 198"/>
                <a:gd name="T45" fmla="*/ 67 h 198"/>
                <a:gd name="T46" fmla="*/ 0 w 198"/>
                <a:gd name="T47" fmla="*/ 73 h 198"/>
                <a:gd name="T48" fmla="*/ 3 w 198"/>
                <a:gd name="T49" fmla="*/ 81 h 198"/>
                <a:gd name="T50" fmla="*/ 9 w 198"/>
                <a:gd name="T51" fmla="*/ 99 h 198"/>
                <a:gd name="T52" fmla="*/ 3 w 198"/>
                <a:gd name="T53" fmla="*/ 117 h 198"/>
                <a:gd name="T54" fmla="*/ 0 w 198"/>
                <a:gd name="T55" fmla="*/ 126 h 198"/>
                <a:gd name="T56" fmla="*/ 7 w 198"/>
                <a:gd name="T57" fmla="*/ 131 h 198"/>
                <a:gd name="T58" fmla="*/ 21 w 198"/>
                <a:gd name="T59" fmla="*/ 144 h 198"/>
                <a:gd name="T60" fmla="*/ 25 w 198"/>
                <a:gd name="T61" fmla="*/ 162 h 198"/>
                <a:gd name="T62" fmla="*/ 26 w 198"/>
                <a:gd name="T63" fmla="*/ 172 h 198"/>
                <a:gd name="T64" fmla="*/ 35 w 198"/>
                <a:gd name="T65" fmla="*/ 173 h 198"/>
                <a:gd name="T66" fmla="*/ 54 w 198"/>
                <a:gd name="T67" fmla="*/ 177 h 198"/>
                <a:gd name="T68" fmla="*/ 67 w 198"/>
                <a:gd name="T69" fmla="*/ 191 h 198"/>
                <a:gd name="T70" fmla="*/ 72 w 198"/>
                <a:gd name="T71" fmla="*/ 198 h 198"/>
                <a:gd name="T72" fmla="*/ 80 w 198"/>
                <a:gd name="T73" fmla="*/ 194 h 198"/>
                <a:gd name="T74" fmla="*/ 99 w 198"/>
                <a:gd name="T75" fmla="*/ 189 h 198"/>
                <a:gd name="T76" fmla="*/ 117 w 198"/>
                <a:gd name="T77" fmla="*/ 193 h 198"/>
                <a:gd name="T78" fmla="*/ 125 w 198"/>
                <a:gd name="T79" fmla="*/ 195 h 198"/>
                <a:gd name="T80" fmla="*/ 125 w 198"/>
                <a:gd name="T81" fmla="*/ 195 h 198"/>
                <a:gd name="T82" fmla="*/ 131 w 198"/>
                <a:gd name="T83" fmla="*/ 189 h 198"/>
                <a:gd name="T84" fmla="*/ 143 w 198"/>
                <a:gd name="T85" fmla="*/ 176 h 198"/>
                <a:gd name="T86" fmla="*/ 162 w 198"/>
                <a:gd name="T87" fmla="*/ 172 h 198"/>
                <a:gd name="T88" fmla="*/ 171 w 198"/>
                <a:gd name="T89" fmla="*/ 171 h 198"/>
                <a:gd name="T90" fmla="*/ 172 w 198"/>
                <a:gd name="T91" fmla="*/ 162 h 198"/>
                <a:gd name="T92" fmla="*/ 176 w 198"/>
                <a:gd name="T93" fmla="*/ 144 h 198"/>
                <a:gd name="T94" fmla="*/ 190 w 198"/>
                <a:gd name="T95" fmla="*/ 131 h 198"/>
                <a:gd name="T96" fmla="*/ 198 w 198"/>
                <a:gd name="T97" fmla="*/ 125 h 198"/>
                <a:gd name="T98" fmla="*/ 194 w 198"/>
                <a:gd name="T99" fmla="*/ 117 h 198"/>
                <a:gd name="T100" fmla="*/ 188 w 198"/>
                <a:gd name="T101" fmla="*/ 99 h 198"/>
                <a:gd name="T102" fmla="*/ 99 w 198"/>
                <a:gd name="T103" fmla="*/ 152 h 198"/>
                <a:gd name="T104" fmla="*/ 45 w 198"/>
                <a:gd name="T105" fmla="*/ 99 h 198"/>
                <a:gd name="T106" fmla="*/ 99 w 198"/>
                <a:gd name="T107" fmla="*/ 46 h 198"/>
                <a:gd name="T108" fmla="*/ 152 w 198"/>
                <a:gd name="T109" fmla="*/ 99 h 198"/>
                <a:gd name="T110" fmla="*/ 99 w 198"/>
                <a:gd name="T111" fmla="*/ 15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8" h="198">
                  <a:moveTo>
                    <a:pt x="188" y="99"/>
                  </a:moveTo>
                  <a:cubicBezTo>
                    <a:pt x="188" y="92"/>
                    <a:pt x="191" y="86"/>
                    <a:pt x="194" y="81"/>
                  </a:cubicBezTo>
                  <a:cubicBezTo>
                    <a:pt x="195" y="78"/>
                    <a:pt x="198" y="74"/>
                    <a:pt x="198" y="72"/>
                  </a:cubicBezTo>
                  <a:cubicBezTo>
                    <a:pt x="197" y="71"/>
                    <a:pt x="193" y="69"/>
                    <a:pt x="190" y="67"/>
                  </a:cubicBezTo>
                  <a:cubicBezTo>
                    <a:pt x="185" y="64"/>
                    <a:pt x="180" y="60"/>
                    <a:pt x="176" y="54"/>
                  </a:cubicBezTo>
                  <a:cubicBezTo>
                    <a:pt x="173" y="48"/>
                    <a:pt x="173" y="42"/>
                    <a:pt x="172" y="36"/>
                  </a:cubicBezTo>
                  <a:cubicBezTo>
                    <a:pt x="172" y="33"/>
                    <a:pt x="172" y="28"/>
                    <a:pt x="171" y="26"/>
                  </a:cubicBezTo>
                  <a:cubicBezTo>
                    <a:pt x="170" y="26"/>
                    <a:pt x="165" y="26"/>
                    <a:pt x="162" y="25"/>
                  </a:cubicBezTo>
                  <a:cubicBezTo>
                    <a:pt x="156" y="25"/>
                    <a:pt x="149" y="25"/>
                    <a:pt x="143" y="21"/>
                  </a:cubicBezTo>
                  <a:cubicBezTo>
                    <a:pt x="138" y="18"/>
                    <a:pt x="134" y="12"/>
                    <a:pt x="131" y="7"/>
                  </a:cubicBezTo>
                  <a:cubicBezTo>
                    <a:pt x="129" y="5"/>
                    <a:pt x="126" y="1"/>
                    <a:pt x="125" y="0"/>
                  </a:cubicBezTo>
                  <a:cubicBezTo>
                    <a:pt x="124" y="0"/>
                    <a:pt x="120" y="2"/>
                    <a:pt x="117" y="4"/>
                  </a:cubicBezTo>
                  <a:cubicBezTo>
                    <a:pt x="112" y="6"/>
                    <a:pt x="106" y="9"/>
                    <a:pt x="99" y="9"/>
                  </a:cubicBezTo>
                  <a:cubicBezTo>
                    <a:pt x="92" y="9"/>
                    <a:pt x="86" y="8"/>
                    <a:pt x="80" y="5"/>
                  </a:cubicBezTo>
                  <a:cubicBezTo>
                    <a:pt x="78" y="4"/>
                    <a:pt x="73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3"/>
                    <a:pt x="68" y="6"/>
                    <a:pt x="67" y="9"/>
                  </a:cubicBezTo>
                  <a:cubicBezTo>
                    <a:pt x="63" y="14"/>
                    <a:pt x="60" y="19"/>
                    <a:pt x="54" y="22"/>
                  </a:cubicBezTo>
                  <a:cubicBezTo>
                    <a:pt x="48" y="26"/>
                    <a:pt x="41" y="26"/>
                    <a:pt x="35" y="26"/>
                  </a:cubicBezTo>
                  <a:cubicBezTo>
                    <a:pt x="32" y="26"/>
                    <a:pt x="27" y="26"/>
                    <a:pt x="26" y="27"/>
                  </a:cubicBezTo>
                  <a:cubicBezTo>
                    <a:pt x="26" y="28"/>
                    <a:pt x="25" y="33"/>
                    <a:pt x="25" y="36"/>
                  </a:cubicBezTo>
                  <a:cubicBezTo>
                    <a:pt x="25" y="42"/>
                    <a:pt x="24" y="48"/>
                    <a:pt x="21" y="54"/>
                  </a:cubicBezTo>
                  <a:cubicBezTo>
                    <a:pt x="18" y="60"/>
                    <a:pt x="12" y="64"/>
                    <a:pt x="7" y="67"/>
                  </a:cubicBezTo>
                  <a:cubicBezTo>
                    <a:pt x="5" y="69"/>
                    <a:pt x="0" y="71"/>
                    <a:pt x="0" y="73"/>
                  </a:cubicBezTo>
                  <a:cubicBezTo>
                    <a:pt x="0" y="74"/>
                    <a:pt x="2" y="78"/>
                    <a:pt x="3" y="81"/>
                  </a:cubicBezTo>
                  <a:cubicBezTo>
                    <a:pt x="6" y="86"/>
                    <a:pt x="9" y="92"/>
                    <a:pt x="9" y="99"/>
                  </a:cubicBezTo>
                  <a:cubicBezTo>
                    <a:pt x="9" y="106"/>
                    <a:pt x="6" y="112"/>
                    <a:pt x="3" y="117"/>
                  </a:cubicBezTo>
                  <a:cubicBezTo>
                    <a:pt x="2" y="120"/>
                    <a:pt x="0" y="124"/>
                    <a:pt x="0" y="126"/>
                  </a:cubicBezTo>
                  <a:cubicBezTo>
                    <a:pt x="0" y="127"/>
                    <a:pt x="5" y="129"/>
                    <a:pt x="7" y="131"/>
                  </a:cubicBezTo>
                  <a:cubicBezTo>
                    <a:pt x="12" y="134"/>
                    <a:pt x="18" y="138"/>
                    <a:pt x="21" y="144"/>
                  </a:cubicBezTo>
                  <a:cubicBezTo>
                    <a:pt x="24" y="150"/>
                    <a:pt x="25" y="156"/>
                    <a:pt x="25" y="162"/>
                  </a:cubicBezTo>
                  <a:cubicBezTo>
                    <a:pt x="25" y="165"/>
                    <a:pt x="26" y="170"/>
                    <a:pt x="26" y="172"/>
                  </a:cubicBezTo>
                  <a:cubicBezTo>
                    <a:pt x="27" y="172"/>
                    <a:pt x="32" y="172"/>
                    <a:pt x="35" y="173"/>
                  </a:cubicBezTo>
                  <a:cubicBezTo>
                    <a:pt x="41" y="173"/>
                    <a:pt x="48" y="173"/>
                    <a:pt x="54" y="177"/>
                  </a:cubicBezTo>
                  <a:cubicBezTo>
                    <a:pt x="60" y="180"/>
                    <a:pt x="63" y="186"/>
                    <a:pt x="67" y="191"/>
                  </a:cubicBezTo>
                  <a:cubicBezTo>
                    <a:pt x="68" y="193"/>
                    <a:pt x="71" y="197"/>
                    <a:pt x="72" y="198"/>
                  </a:cubicBezTo>
                  <a:cubicBezTo>
                    <a:pt x="73" y="198"/>
                    <a:pt x="78" y="196"/>
                    <a:pt x="80" y="194"/>
                  </a:cubicBezTo>
                  <a:cubicBezTo>
                    <a:pt x="86" y="192"/>
                    <a:pt x="92" y="189"/>
                    <a:pt x="99" y="189"/>
                  </a:cubicBezTo>
                  <a:cubicBezTo>
                    <a:pt x="106" y="189"/>
                    <a:pt x="112" y="190"/>
                    <a:pt x="117" y="193"/>
                  </a:cubicBezTo>
                  <a:cubicBezTo>
                    <a:pt x="120" y="194"/>
                    <a:pt x="124" y="195"/>
                    <a:pt x="125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6" y="195"/>
                    <a:pt x="129" y="192"/>
                    <a:pt x="131" y="189"/>
                  </a:cubicBezTo>
                  <a:cubicBezTo>
                    <a:pt x="134" y="184"/>
                    <a:pt x="138" y="179"/>
                    <a:pt x="143" y="176"/>
                  </a:cubicBezTo>
                  <a:cubicBezTo>
                    <a:pt x="149" y="172"/>
                    <a:pt x="156" y="172"/>
                    <a:pt x="162" y="172"/>
                  </a:cubicBezTo>
                  <a:cubicBezTo>
                    <a:pt x="165" y="172"/>
                    <a:pt x="170" y="172"/>
                    <a:pt x="171" y="171"/>
                  </a:cubicBezTo>
                  <a:cubicBezTo>
                    <a:pt x="172" y="170"/>
                    <a:pt x="172" y="165"/>
                    <a:pt x="172" y="162"/>
                  </a:cubicBezTo>
                  <a:cubicBezTo>
                    <a:pt x="173" y="156"/>
                    <a:pt x="173" y="150"/>
                    <a:pt x="176" y="144"/>
                  </a:cubicBezTo>
                  <a:cubicBezTo>
                    <a:pt x="180" y="138"/>
                    <a:pt x="185" y="134"/>
                    <a:pt x="190" y="131"/>
                  </a:cubicBezTo>
                  <a:cubicBezTo>
                    <a:pt x="193" y="129"/>
                    <a:pt x="197" y="127"/>
                    <a:pt x="198" y="125"/>
                  </a:cubicBezTo>
                  <a:cubicBezTo>
                    <a:pt x="198" y="124"/>
                    <a:pt x="195" y="120"/>
                    <a:pt x="194" y="117"/>
                  </a:cubicBezTo>
                  <a:cubicBezTo>
                    <a:pt x="191" y="112"/>
                    <a:pt x="188" y="106"/>
                    <a:pt x="188" y="99"/>
                  </a:cubicBezTo>
                  <a:close/>
                  <a:moveTo>
                    <a:pt x="99" y="152"/>
                  </a:moveTo>
                  <a:cubicBezTo>
                    <a:pt x="69" y="152"/>
                    <a:pt x="45" y="128"/>
                    <a:pt x="45" y="99"/>
                  </a:cubicBezTo>
                  <a:cubicBezTo>
                    <a:pt x="45" y="70"/>
                    <a:pt x="69" y="46"/>
                    <a:pt x="99" y="46"/>
                  </a:cubicBezTo>
                  <a:cubicBezTo>
                    <a:pt x="128" y="46"/>
                    <a:pt x="152" y="70"/>
                    <a:pt x="152" y="99"/>
                  </a:cubicBezTo>
                  <a:cubicBezTo>
                    <a:pt x="152" y="128"/>
                    <a:pt x="128" y="152"/>
                    <a:pt x="99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684"/>
            <p:cNvSpPr>
              <a:spLocks noChangeArrowheads="1"/>
            </p:cNvSpPr>
            <p:nvPr/>
          </p:nvSpPr>
          <p:spPr bwMode="auto">
            <a:xfrm>
              <a:off x="6359" y="2816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685"/>
            <p:cNvSpPr>
              <a:spLocks noEditPoints="1"/>
            </p:cNvSpPr>
            <p:nvPr/>
          </p:nvSpPr>
          <p:spPr bwMode="auto">
            <a:xfrm>
              <a:off x="6210" y="269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5 w 512"/>
                <a:gd name="T11" fmla="*/ 245 h 512"/>
                <a:gd name="T12" fmla="*/ 359 w 512"/>
                <a:gd name="T13" fmla="*/ 263 h 512"/>
                <a:gd name="T14" fmla="*/ 352 w 512"/>
                <a:gd name="T15" fmla="*/ 268 h 512"/>
                <a:gd name="T16" fmla="*/ 351 w 512"/>
                <a:gd name="T17" fmla="*/ 278 h 512"/>
                <a:gd name="T18" fmla="*/ 343 w 512"/>
                <a:gd name="T19" fmla="*/ 300 h 512"/>
                <a:gd name="T20" fmla="*/ 320 w 512"/>
                <a:gd name="T21" fmla="*/ 308 h 512"/>
                <a:gd name="T22" fmla="*/ 320 w 512"/>
                <a:gd name="T23" fmla="*/ 308 h 512"/>
                <a:gd name="T24" fmla="*/ 320 w 512"/>
                <a:gd name="T25" fmla="*/ 416 h 512"/>
                <a:gd name="T26" fmla="*/ 314 w 512"/>
                <a:gd name="T27" fmla="*/ 425 h 512"/>
                <a:gd name="T28" fmla="*/ 309 w 512"/>
                <a:gd name="T29" fmla="*/ 426 h 512"/>
                <a:gd name="T30" fmla="*/ 304 w 512"/>
                <a:gd name="T31" fmla="*/ 425 h 512"/>
                <a:gd name="T32" fmla="*/ 256 w 512"/>
                <a:gd name="T33" fmla="*/ 396 h 512"/>
                <a:gd name="T34" fmla="*/ 208 w 512"/>
                <a:gd name="T35" fmla="*/ 425 h 512"/>
                <a:gd name="T36" fmla="*/ 197 w 512"/>
                <a:gd name="T37" fmla="*/ 425 h 512"/>
                <a:gd name="T38" fmla="*/ 192 w 512"/>
                <a:gd name="T39" fmla="*/ 416 h 512"/>
                <a:gd name="T40" fmla="*/ 192 w 512"/>
                <a:gd name="T41" fmla="*/ 308 h 512"/>
                <a:gd name="T42" fmla="*/ 191 w 512"/>
                <a:gd name="T43" fmla="*/ 308 h 512"/>
                <a:gd name="T44" fmla="*/ 168 w 512"/>
                <a:gd name="T45" fmla="*/ 300 h 512"/>
                <a:gd name="T46" fmla="*/ 161 w 512"/>
                <a:gd name="T47" fmla="*/ 278 h 512"/>
                <a:gd name="T48" fmla="*/ 160 w 512"/>
                <a:gd name="T49" fmla="*/ 268 h 512"/>
                <a:gd name="T50" fmla="*/ 152 w 512"/>
                <a:gd name="T51" fmla="*/ 263 h 512"/>
                <a:gd name="T52" fmla="*/ 136 w 512"/>
                <a:gd name="T53" fmla="*/ 245 h 512"/>
                <a:gd name="T54" fmla="*/ 141 w 512"/>
                <a:gd name="T55" fmla="*/ 222 h 512"/>
                <a:gd name="T56" fmla="*/ 145 w 512"/>
                <a:gd name="T57" fmla="*/ 213 h 512"/>
                <a:gd name="T58" fmla="*/ 141 w 512"/>
                <a:gd name="T59" fmla="*/ 204 h 512"/>
                <a:gd name="T60" fmla="*/ 136 w 512"/>
                <a:gd name="T61" fmla="*/ 181 h 512"/>
                <a:gd name="T62" fmla="*/ 152 w 512"/>
                <a:gd name="T63" fmla="*/ 163 h 512"/>
                <a:gd name="T64" fmla="*/ 160 w 512"/>
                <a:gd name="T65" fmla="*/ 158 h 512"/>
                <a:gd name="T66" fmla="*/ 161 w 512"/>
                <a:gd name="T67" fmla="*/ 148 h 512"/>
                <a:gd name="T68" fmla="*/ 168 w 512"/>
                <a:gd name="T69" fmla="*/ 126 h 512"/>
                <a:gd name="T70" fmla="*/ 191 w 512"/>
                <a:gd name="T71" fmla="*/ 118 h 512"/>
                <a:gd name="T72" fmla="*/ 200 w 512"/>
                <a:gd name="T73" fmla="*/ 117 h 512"/>
                <a:gd name="T74" fmla="*/ 206 w 512"/>
                <a:gd name="T75" fmla="*/ 110 h 512"/>
                <a:gd name="T76" fmla="*/ 224 w 512"/>
                <a:gd name="T77" fmla="*/ 93 h 512"/>
                <a:gd name="T78" fmla="*/ 247 w 512"/>
                <a:gd name="T79" fmla="*/ 99 h 512"/>
                <a:gd name="T80" fmla="*/ 256 w 512"/>
                <a:gd name="T81" fmla="*/ 102 h 512"/>
                <a:gd name="T82" fmla="*/ 264 w 512"/>
                <a:gd name="T83" fmla="*/ 99 h 512"/>
                <a:gd name="T84" fmla="*/ 288 w 512"/>
                <a:gd name="T85" fmla="*/ 93 h 512"/>
                <a:gd name="T86" fmla="*/ 306 w 512"/>
                <a:gd name="T87" fmla="*/ 110 h 512"/>
                <a:gd name="T88" fmla="*/ 311 w 512"/>
                <a:gd name="T89" fmla="*/ 117 h 512"/>
                <a:gd name="T90" fmla="*/ 320 w 512"/>
                <a:gd name="T91" fmla="*/ 118 h 512"/>
                <a:gd name="T92" fmla="*/ 343 w 512"/>
                <a:gd name="T93" fmla="*/ 126 h 512"/>
                <a:gd name="T94" fmla="*/ 351 w 512"/>
                <a:gd name="T95" fmla="*/ 148 h 512"/>
                <a:gd name="T96" fmla="*/ 352 w 512"/>
                <a:gd name="T97" fmla="*/ 158 h 512"/>
                <a:gd name="T98" fmla="*/ 359 w 512"/>
                <a:gd name="T99" fmla="*/ 163 h 512"/>
                <a:gd name="T100" fmla="*/ 375 w 512"/>
                <a:gd name="T101" fmla="*/ 181 h 512"/>
                <a:gd name="T102" fmla="*/ 370 w 512"/>
                <a:gd name="T103" fmla="*/ 204 h 512"/>
                <a:gd name="T104" fmla="*/ 367 w 512"/>
                <a:gd name="T105" fmla="*/ 213 h 512"/>
                <a:gd name="T106" fmla="*/ 370 w 512"/>
                <a:gd name="T107" fmla="*/ 222 h 512"/>
                <a:gd name="T108" fmla="*/ 375 w 512"/>
                <a:gd name="T109" fmla="*/ 24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5" y="245"/>
                  </a:moveTo>
                  <a:cubicBezTo>
                    <a:pt x="373" y="254"/>
                    <a:pt x="365" y="259"/>
                    <a:pt x="359" y="263"/>
                  </a:cubicBezTo>
                  <a:cubicBezTo>
                    <a:pt x="356" y="265"/>
                    <a:pt x="353" y="267"/>
                    <a:pt x="352" y="268"/>
                  </a:cubicBezTo>
                  <a:cubicBezTo>
                    <a:pt x="351" y="270"/>
                    <a:pt x="351" y="274"/>
                    <a:pt x="351" y="278"/>
                  </a:cubicBezTo>
                  <a:cubicBezTo>
                    <a:pt x="350" y="285"/>
                    <a:pt x="350" y="294"/>
                    <a:pt x="343" y="300"/>
                  </a:cubicBezTo>
                  <a:cubicBezTo>
                    <a:pt x="337" y="307"/>
                    <a:pt x="328" y="307"/>
                    <a:pt x="320" y="308"/>
                  </a:cubicBezTo>
                  <a:cubicBezTo>
                    <a:pt x="320" y="308"/>
                    <a:pt x="320" y="308"/>
                    <a:pt x="320" y="308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0" y="420"/>
                    <a:pt x="318" y="423"/>
                    <a:pt x="314" y="425"/>
                  </a:cubicBezTo>
                  <a:cubicBezTo>
                    <a:pt x="313" y="426"/>
                    <a:pt x="311" y="426"/>
                    <a:pt x="309" y="426"/>
                  </a:cubicBezTo>
                  <a:cubicBezTo>
                    <a:pt x="307" y="426"/>
                    <a:pt x="305" y="426"/>
                    <a:pt x="304" y="425"/>
                  </a:cubicBezTo>
                  <a:cubicBezTo>
                    <a:pt x="256" y="396"/>
                    <a:pt x="256" y="396"/>
                    <a:pt x="256" y="396"/>
                  </a:cubicBezTo>
                  <a:cubicBezTo>
                    <a:pt x="208" y="425"/>
                    <a:pt x="208" y="425"/>
                    <a:pt x="208" y="425"/>
                  </a:cubicBezTo>
                  <a:cubicBezTo>
                    <a:pt x="205" y="427"/>
                    <a:pt x="200" y="427"/>
                    <a:pt x="197" y="425"/>
                  </a:cubicBezTo>
                  <a:cubicBezTo>
                    <a:pt x="194" y="423"/>
                    <a:pt x="192" y="420"/>
                    <a:pt x="192" y="416"/>
                  </a:cubicBezTo>
                  <a:cubicBezTo>
                    <a:pt x="192" y="308"/>
                    <a:pt x="192" y="308"/>
                    <a:pt x="192" y="308"/>
                  </a:cubicBezTo>
                  <a:cubicBezTo>
                    <a:pt x="191" y="308"/>
                    <a:pt x="191" y="308"/>
                    <a:pt x="191" y="308"/>
                  </a:cubicBezTo>
                  <a:cubicBezTo>
                    <a:pt x="184" y="307"/>
                    <a:pt x="175" y="307"/>
                    <a:pt x="168" y="300"/>
                  </a:cubicBezTo>
                  <a:cubicBezTo>
                    <a:pt x="162" y="294"/>
                    <a:pt x="161" y="285"/>
                    <a:pt x="161" y="278"/>
                  </a:cubicBezTo>
                  <a:cubicBezTo>
                    <a:pt x="161" y="274"/>
                    <a:pt x="160" y="270"/>
                    <a:pt x="160" y="268"/>
                  </a:cubicBezTo>
                  <a:cubicBezTo>
                    <a:pt x="159" y="267"/>
                    <a:pt x="155" y="265"/>
                    <a:pt x="152" y="263"/>
                  </a:cubicBezTo>
                  <a:cubicBezTo>
                    <a:pt x="146" y="259"/>
                    <a:pt x="139" y="254"/>
                    <a:pt x="136" y="245"/>
                  </a:cubicBezTo>
                  <a:cubicBezTo>
                    <a:pt x="134" y="236"/>
                    <a:pt x="138" y="228"/>
                    <a:pt x="141" y="222"/>
                  </a:cubicBezTo>
                  <a:cubicBezTo>
                    <a:pt x="143" y="219"/>
                    <a:pt x="145" y="215"/>
                    <a:pt x="145" y="213"/>
                  </a:cubicBezTo>
                  <a:cubicBezTo>
                    <a:pt x="145" y="211"/>
                    <a:pt x="143" y="207"/>
                    <a:pt x="141" y="204"/>
                  </a:cubicBezTo>
                  <a:cubicBezTo>
                    <a:pt x="138" y="198"/>
                    <a:pt x="134" y="190"/>
                    <a:pt x="136" y="181"/>
                  </a:cubicBezTo>
                  <a:cubicBezTo>
                    <a:pt x="139" y="172"/>
                    <a:pt x="146" y="167"/>
                    <a:pt x="152" y="163"/>
                  </a:cubicBezTo>
                  <a:cubicBezTo>
                    <a:pt x="155" y="161"/>
                    <a:pt x="159" y="159"/>
                    <a:pt x="160" y="158"/>
                  </a:cubicBezTo>
                  <a:cubicBezTo>
                    <a:pt x="160" y="156"/>
                    <a:pt x="161" y="152"/>
                    <a:pt x="161" y="148"/>
                  </a:cubicBezTo>
                  <a:cubicBezTo>
                    <a:pt x="161" y="141"/>
                    <a:pt x="162" y="132"/>
                    <a:pt x="168" y="126"/>
                  </a:cubicBezTo>
                  <a:cubicBezTo>
                    <a:pt x="175" y="119"/>
                    <a:pt x="184" y="119"/>
                    <a:pt x="191" y="118"/>
                  </a:cubicBezTo>
                  <a:cubicBezTo>
                    <a:pt x="194" y="118"/>
                    <a:pt x="199" y="118"/>
                    <a:pt x="200" y="117"/>
                  </a:cubicBezTo>
                  <a:cubicBezTo>
                    <a:pt x="202" y="116"/>
                    <a:pt x="204" y="112"/>
                    <a:pt x="206" y="110"/>
                  </a:cubicBezTo>
                  <a:cubicBezTo>
                    <a:pt x="210" y="104"/>
                    <a:pt x="215" y="96"/>
                    <a:pt x="224" y="93"/>
                  </a:cubicBezTo>
                  <a:cubicBezTo>
                    <a:pt x="232" y="91"/>
                    <a:pt x="240" y="95"/>
                    <a:pt x="247" y="99"/>
                  </a:cubicBezTo>
                  <a:cubicBezTo>
                    <a:pt x="250" y="100"/>
                    <a:pt x="254" y="102"/>
                    <a:pt x="256" y="102"/>
                  </a:cubicBezTo>
                  <a:cubicBezTo>
                    <a:pt x="257" y="102"/>
                    <a:pt x="262" y="100"/>
                    <a:pt x="264" y="99"/>
                  </a:cubicBezTo>
                  <a:cubicBezTo>
                    <a:pt x="271" y="95"/>
                    <a:pt x="279" y="91"/>
                    <a:pt x="288" y="93"/>
                  </a:cubicBezTo>
                  <a:cubicBezTo>
                    <a:pt x="297" y="96"/>
                    <a:pt x="302" y="104"/>
                    <a:pt x="306" y="110"/>
                  </a:cubicBezTo>
                  <a:cubicBezTo>
                    <a:pt x="307" y="112"/>
                    <a:pt x="310" y="116"/>
                    <a:pt x="311" y="117"/>
                  </a:cubicBezTo>
                  <a:cubicBezTo>
                    <a:pt x="313" y="118"/>
                    <a:pt x="317" y="118"/>
                    <a:pt x="320" y="118"/>
                  </a:cubicBezTo>
                  <a:cubicBezTo>
                    <a:pt x="328" y="119"/>
                    <a:pt x="337" y="119"/>
                    <a:pt x="343" y="126"/>
                  </a:cubicBezTo>
                  <a:cubicBezTo>
                    <a:pt x="350" y="132"/>
                    <a:pt x="350" y="141"/>
                    <a:pt x="351" y="148"/>
                  </a:cubicBezTo>
                  <a:cubicBezTo>
                    <a:pt x="351" y="152"/>
                    <a:pt x="351" y="156"/>
                    <a:pt x="352" y="158"/>
                  </a:cubicBezTo>
                  <a:cubicBezTo>
                    <a:pt x="353" y="159"/>
                    <a:pt x="356" y="161"/>
                    <a:pt x="359" y="163"/>
                  </a:cubicBezTo>
                  <a:cubicBezTo>
                    <a:pt x="365" y="167"/>
                    <a:pt x="373" y="172"/>
                    <a:pt x="375" y="181"/>
                  </a:cubicBezTo>
                  <a:cubicBezTo>
                    <a:pt x="378" y="190"/>
                    <a:pt x="373" y="198"/>
                    <a:pt x="370" y="204"/>
                  </a:cubicBezTo>
                  <a:cubicBezTo>
                    <a:pt x="369" y="207"/>
                    <a:pt x="367" y="211"/>
                    <a:pt x="367" y="213"/>
                  </a:cubicBezTo>
                  <a:cubicBezTo>
                    <a:pt x="367" y="215"/>
                    <a:pt x="369" y="219"/>
                    <a:pt x="370" y="222"/>
                  </a:cubicBezTo>
                  <a:cubicBezTo>
                    <a:pt x="373" y="228"/>
                    <a:pt x="378" y="236"/>
                    <a:pt x="375" y="2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426546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33388" y="349989"/>
            <a:ext cx="9823450" cy="368282"/>
          </a:xfrm>
        </p:spPr>
        <p:txBody>
          <a:bodyPr/>
          <a:lstStyle/>
          <a:p>
            <a:r>
              <a:rPr lang="en-US" noProof="0" dirty="0" err="1"/>
              <a:t>Foreward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3388" y="1845447"/>
            <a:ext cx="9823450" cy="5195147"/>
          </a:xfrm>
        </p:spPr>
        <p:txBody>
          <a:bodyPr/>
          <a:lstStyle/>
          <a:p>
            <a:r>
              <a:rPr lang="en-US" noProof="0" dirty="0"/>
              <a:t>	</a:t>
            </a:r>
            <a:r>
              <a:rPr lang="en-U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le many of us are working on version control systems such as GIT we often undergo a great deal of dilemma to address a particular issue at hand. This guide focuses on several such problem areas and addresses the pain points from most of the perspectives. While I tried my self to give the best of the knowledge possible there is still some scope of improvement with frequent updates in GIT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0FE3B0-1668-41C8-A507-D720ED3A1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38560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Financial servi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52883" y="245824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uro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40722" y="2458245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lls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43378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und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42340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ggy bank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41821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llar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42859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Yen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41302" y="245824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ublic building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40264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t-coin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40783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in stack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505414" y="3323930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lculator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86153" y="3329863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bacus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81709" y="3329866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pital Dome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66471" y="332986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ney bag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58852" y="332986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nger push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74090" y="332986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rcent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451234" y="332986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fe</a:t>
            </a:r>
          </a:p>
        </p:txBody>
      </p:sp>
      <p:sp>
        <p:nvSpPr>
          <p:cNvPr id="682" name="TextBox 681"/>
          <p:cNvSpPr txBox="1"/>
          <p:nvPr/>
        </p:nvSpPr>
        <p:spPr>
          <a:xfrm>
            <a:off x="9439748" y="245824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ield</a:t>
            </a:r>
          </a:p>
        </p:txBody>
      </p:sp>
      <p:sp>
        <p:nvSpPr>
          <p:cNvPr id="256" name="Freeform 509"/>
          <p:cNvSpPr>
            <a:spLocks noChangeAspect="1" noEditPoints="1"/>
          </p:cNvSpPr>
          <p:nvPr/>
        </p:nvSpPr>
        <p:spPr bwMode="auto">
          <a:xfrm>
            <a:off x="452888" y="205105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88 w 512"/>
              <a:gd name="T11" fmla="*/ 224 h 512"/>
              <a:gd name="T12" fmla="*/ 298 w 512"/>
              <a:gd name="T13" fmla="*/ 234 h 512"/>
              <a:gd name="T14" fmla="*/ 288 w 512"/>
              <a:gd name="T15" fmla="*/ 245 h 512"/>
              <a:gd name="T16" fmla="*/ 149 w 512"/>
              <a:gd name="T17" fmla="*/ 245 h 512"/>
              <a:gd name="T18" fmla="*/ 149 w 512"/>
              <a:gd name="T19" fmla="*/ 256 h 512"/>
              <a:gd name="T20" fmla="*/ 149 w 512"/>
              <a:gd name="T21" fmla="*/ 266 h 512"/>
              <a:gd name="T22" fmla="*/ 288 w 512"/>
              <a:gd name="T23" fmla="*/ 266 h 512"/>
              <a:gd name="T24" fmla="*/ 298 w 512"/>
              <a:gd name="T25" fmla="*/ 277 h 512"/>
              <a:gd name="T26" fmla="*/ 288 w 512"/>
              <a:gd name="T27" fmla="*/ 288 h 512"/>
              <a:gd name="T28" fmla="*/ 152 w 512"/>
              <a:gd name="T29" fmla="*/ 288 h 512"/>
              <a:gd name="T30" fmla="*/ 266 w 512"/>
              <a:gd name="T31" fmla="*/ 394 h 512"/>
              <a:gd name="T32" fmla="*/ 324 w 512"/>
              <a:gd name="T33" fmla="*/ 376 h 512"/>
              <a:gd name="T34" fmla="*/ 339 w 512"/>
              <a:gd name="T35" fmla="*/ 379 h 512"/>
              <a:gd name="T36" fmla="*/ 336 w 512"/>
              <a:gd name="T37" fmla="*/ 394 h 512"/>
              <a:gd name="T38" fmla="*/ 266 w 512"/>
              <a:gd name="T39" fmla="*/ 416 h 512"/>
              <a:gd name="T40" fmla="*/ 130 w 512"/>
              <a:gd name="T41" fmla="*/ 288 h 512"/>
              <a:gd name="T42" fmla="*/ 106 w 512"/>
              <a:gd name="T43" fmla="*/ 288 h 512"/>
              <a:gd name="T44" fmla="*/ 96 w 512"/>
              <a:gd name="T45" fmla="*/ 277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56 h 512"/>
              <a:gd name="T52" fmla="*/ 128 w 512"/>
              <a:gd name="T53" fmla="*/ 245 h 512"/>
              <a:gd name="T54" fmla="*/ 106 w 512"/>
              <a:gd name="T55" fmla="*/ 245 h 512"/>
              <a:gd name="T56" fmla="*/ 96 w 512"/>
              <a:gd name="T57" fmla="*/ 234 h 512"/>
              <a:gd name="T58" fmla="*/ 106 w 512"/>
              <a:gd name="T59" fmla="*/ 224 h 512"/>
              <a:gd name="T60" fmla="*/ 130 w 512"/>
              <a:gd name="T61" fmla="*/ 224 h 512"/>
              <a:gd name="T62" fmla="*/ 266 w 512"/>
              <a:gd name="T63" fmla="*/ 96 h 512"/>
              <a:gd name="T64" fmla="*/ 336 w 512"/>
              <a:gd name="T65" fmla="*/ 117 h 512"/>
              <a:gd name="T66" fmla="*/ 339 w 512"/>
              <a:gd name="T67" fmla="*/ 132 h 512"/>
              <a:gd name="T68" fmla="*/ 324 w 512"/>
              <a:gd name="T69" fmla="*/ 135 h 512"/>
              <a:gd name="T70" fmla="*/ 266 w 512"/>
              <a:gd name="T71" fmla="*/ 117 h 512"/>
              <a:gd name="T72" fmla="*/ 152 w 512"/>
              <a:gd name="T73" fmla="*/ 224 h 512"/>
              <a:gd name="T74" fmla="*/ 288 w 512"/>
              <a:gd name="T75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88" y="224"/>
                </a:moveTo>
                <a:cubicBezTo>
                  <a:pt x="294" y="224"/>
                  <a:pt x="298" y="228"/>
                  <a:pt x="298" y="234"/>
                </a:cubicBezTo>
                <a:cubicBezTo>
                  <a:pt x="298" y="240"/>
                  <a:pt x="294" y="245"/>
                  <a:pt x="288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49" y="249"/>
                  <a:pt x="149" y="252"/>
                  <a:pt x="149" y="256"/>
                </a:cubicBezTo>
                <a:cubicBezTo>
                  <a:pt x="149" y="259"/>
                  <a:pt x="149" y="263"/>
                  <a:pt x="149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71"/>
                  <a:pt x="298" y="277"/>
                </a:cubicBezTo>
                <a:cubicBezTo>
                  <a:pt x="298" y="283"/>
                  <a:pt x="294" y="288"/>
                  <a:pt x="288" y="288"/>
                </a:cubicBezTo>
                <a:cubicBezTo>
                  <a:pt x="152" y="288"/>
                  <a:pt x="152" y="288"/>
                  <a:pt x="152" y="288"/>
                </a:cubicBezTo>
                <a:cubicBezTo>
                  <a:pt x="165" y="349"/>
                  <a:pt x="211" y="394"/>
                  <a:pt x="266" y="394"/>
                </a:cubicBezTo>
                <a:cubicBezTo>
                  <a:pt x="287" y="394"/>
                  <a:pt x="307" y="388"/>
                  <a:pt x="324" y="376"/>
                </a:cubicBezTo>
                <a:cubicBezTo>
                  <a:pt x="329" y="373"/>
                  <a:pt x="336" y="374"/>
                  <a:pt x="339" y="379"/>
                </a:cubicBezTo>
                <a:cubicBezTo>
                  <a:pt x="342" y="384"/>
                  <a:pt x="341" y="391"/>
                  <a:pt x="336" y="394"/>
                </a:cubicBezTo>
                <a:cubicBezTo>
                  <a:pt x="315" y="408"/>
                  <a:pt x="291" y="416"/>
                  <a:pt x="266" y="416"/>
                </a:cubicBezTo>
                <a:cubicBezTo>
                  <a:pt x="199" y="416"/>
                  <a:pt x="143" y="361"/>
                  <a:pt x="130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83"/>
                  <a:pt x="96" y="277"/>
                </a:cubicBezTo>
                <a:cubicBezTo>
                  <a:pt x="96" y="271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63"/>
                  <a:pt x="128" y="259"/>
                  <a:pt x="128" y="256"/>
                </a:cubicBezTo>
                <a:cubicBezTo>
                  <a:pt x="128" y="252"/>
                  <a:pt x="128" y="249"/>
                  <a:pt x="12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40"/>
                  <a:pt x="96" y="234"/>
                </a:cubicBezTo>
                <a:cubicBezTo>
                  <a:pt x="96" y="228"/>
                  <a:pt x="100" y="224"/>
                  <a:pt x="106" y="224"/>
                </a:cubicBezTo>
                <a:cubicBezTo>
                  <a:pt x="130" y="224"/>
                  <a:pt x="130" y="224"/>
                  <a:pt x="130" y="224"/>
                </a:cubicBezTo>
                <a:cubicBezTo>
                  <a:pt x="143" y="151"/>
                  <a:pt x="199" y="96"/>
                  <a:pt x="266" y="96"/>
                </a:cubicBezTo>
                <a:cubicBezTo>
                  <a:pt x="291" y="96"/>
                  <a:pt x="315" y="103"/>
                  <a:pt x="336" y="117"/>
                </a:cubicBezTo>
                <a:cubicBezTo>
                  <a:pt x="341" y="121"/>
                  <a:pt x="342" y="127"/>
                  <a:pt x="339" y="132"/>
                </a:cubicBezTo>
                <a:cubicBezTo>
                  <a:pt x="336" y="137"/>
                  <a:pt x="329" y="138"/>
                  <a:pt x="324" y="135"/>
                </a:cubicBezTo>
                <a:cubicBezTo>
                  <a:pt x="307" y="123"/>
                  <a:pt x="287" y="117"/>
                  <a:pt x="266" y="117"/>
                </a:cubicBezTo>
                <a:cubicBezTo>
                  <a:pt x="211" y="117"/>
                  <a:pt x="165" y="163"/>
                  <a:pt x="152" y="224"/>
                </a:cubicBezTo>
                <a:lnTo>
                  <a:pt x="288" y="22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512"/>
          <p:cNvGrpSpPr>
            <a:grpSpLocks noChangeAspect="1"/>
          </p:cNvGrpSpPr>
          <p:nvPr/>
        </p:nvGrpSpPr>
        <p:grpSpPr bwMode="auto">
          <a:xfrm>
            <a:off x="949420" y="2051054"/>
            <a:ext cx="367631" cy="367631"/>
            <a:chOff x="2728" y="2016"/>
            <a:chExt cx="340" cy="340"/>
          </a:xfrm>
          <a:solidFill>
            <a:schemeClr val="accent6"/>
          </a:solidFill>
        </p:grpSpPr>
        <p:sp>
          <p:nvSpPr>
            <p:cNvPr id="258" name="Freeform 513"/>
            <p:cNvSpPr>
              <a:spLocks/>
            </p:cNvSpPr>
            <p:nvPr/>
          </p:nvSpPr>
          <p:spPr bwMode="auto">
            <a:xfrm>
              <a:off x="2792" y="2080"/>
              <a:ext cx="163" cy="212"/>
            </a:xfrm>
            <a:custGeom>
              <a:avLst/>
              <a:gdLst>
                <a:gd name="T0" fmla="*/ 228 w 246"/>
                <a:gd name="T1" fmla="*/ 280 h 320"/>
                <a:gd name="T2" fmla="*/ 170 w 246"/>
                <a:gd name="T3" fmla="*/ 298 h 320"/>
                <a:gd name="T4" fmla="*/ 56 w 246"/>
                <a:gd name="T5" fmla="*/ 192 h 320"/>
                <a:gd name="T6" fmla="*/ 192 w 246"/>
                <a:gd name="T7" fmla="*/ 192 h 320"/>
                <a:gd name="T8" fmla="*/ 202 w 246"/>
                <a:gd name="T9" fmla="*/ 181 h 320"/>
                <a:gd name="T10" fmla="*/ 192 w 246"/>
                <a:gd name="T11" fmla="*/ 170 h 320"/>
                <a:gd name="T12" fmla="*/ 53 w 246"/>
                <a:gd name="T13" fmla="*/ 170 h 320"/>
                <a:gd name="T14" fmla="*/ 53 w 246"/>
                <a:gd name="T15" fmla="*/ 160 h 320"/>
                <a:gd name="T16" fmla="*/ 53 w 246"/>
                <a:gd name="T17" fmla="*/ 149 h 320"/>
                <a:gd name="T18" fmla="*/ 192 w 246"/>
                <a:gd name="T19" fmla="*/ 149 h 320"/>
                <a:gd name="T20" fmla="*/ 202 w 246"/>
                <a:gd name="T21" fmla="*/ 138 h 320"/>
                <a:gd name="T22" fmla="*/ 192 w 246"/>
                <a:gd name="T23" fmla="*/ 128 h 320"/>
                <a:gd name="T24" fmla="*/ 56 w 246"/>
                <a:gd name="T25" fmla="*/ 128 h 320"/>
                <a:gd name="T26" fmla="*/ 170 w 246"/>
                <a:gd name="T27" fmla="*/ 21 h 320"/>
                <a:gd name="T28" fmla="*/ 228 w 246"/>
                <a:gd name="T29" fmla="*/ 39 h 320"/>
                <a:gd name="T30" fmla="*/ 243 w 246"/>
                <a:gd name="T31" fmla="*/ 36 h 320"/>
                <a:gd name="T32" fmla="*/ 240 w 246"/>
                <a:gd name="T33" fmla="*/ 21 h 320"/>
                <a:gd name="T34" fmla="*/ 170 w 246"/>
                <a:gd name="T35" fmla="*/ 0 h 320"/>
                <a:gd name="T36" fmla="*/ 34 w 246"/>
                <a:gd name="T37" fmla="*/ 128 h 320"/>
                <a:gd name="T38" fmla="*/ 10 w 246"/>
                <a:gd name="T39" fmla="*/ 128 h 320"/>
                <a:gd name="T40" fmla="*/ 0 w 246"/>
                <a:gd name="T41" fmla="*/ 138 h 320"/>
                <a:gd name="T42" fmla="*/ 10 w 246"/>
                <a:gd name="T43" fmla="*/ 149 h 320"/>
                <a:gd name="T44" fmla="*/ 32 w 246"/>
                <a:gd name="T45" fmla="*/ 149 h 320"/>
                <a:gd name="T46" fmla="*/ 32 w 246"/>
                <a:gd name="T47" fmla="*/ 160 h 320"/>
                <a:gd name="T48" fmla="*/ 32 w 246"/>
                <a:gd name="T49" fmla="*/ 170 h 320"/>
                <a:gd name="T50" fmla="*/ 10 w 246"/>
                <a:gd name="T51" fmla="*/ 170 h 320"/>
                <a:gd name="T52" fmla="*/ 0 w 246"/>
                <a:gd name="T53" fmla="*/ 181 h 320"/>
                <a:gd name="T54" fmla="*/ 10 w 246"/>
                <a:gd name="T55" fmla="*/ 192 h 320"/>
                <a:gd name="T56" fmla="*/ 34 w 246"/>
                <a:gd name="T57" fmla="*/ 192 h 320"/>
                <a:gd name="T58" fmla="*/ 170 w 246"/>
                <a:gd name="T59" fmla="*/ 320 h 320"/>
                <a:gd name="T60" fmla="*/ 240 w 246"/>
                <a:gd name="T61" fmla="*/ 298 h 320"/>
                <a:gd name="T62" fmla="*/ 243 w 246"/>
                <a:gd name="T63" fmla="*/ 283 h 320"/>
                <a:gd name="T64" fmla="*/ 228 w 246"/>
                <a:gd name="T65" fmla="*/ 28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6" h="320">
                  <a:moveTo>
                    <a:pt x="228" y="280"/>
                  </a:moveTo>
                  <a:cubicBezTo>
                    <a:pt x="211" y="292"/>
                    <a:pt x="191" y="298"/>
                    <a:pt x="170" y="298"/>
                  </a:cubicBezTo>
                  <a:cubicBezTo>
                    <a:pt x="115" y="298"/>
                    <a:pt x="69" y="253"/>
                    <a:pt x="56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8" y="192"/>
                    <a:pt x="202" y="187"/>
                    <a:pt x="202" y="181"/>
                  </a:cubicBezTo>
                  <a:cubicBezTo>
                    <a:pt x="202" y="175"/>
                    <a:pt x="198" y="170"/>
                    <a:pt x="192" y="170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67"/>
                    <a:pt x="53" y="163"/>
                    <a:pt x="53" y="160"/>
                  </a:cubicBezTo>
                  <a:cubicBezTo>
                    <a:pt x="53" y="156"/>
                    <a:pt x="53" y="153"/>
                    <a:pt x="53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8" y="149"/>
                    <a:pt x="202" y="144"/>
                    <a:pt x="202" y="138"/>
                  </a:cubicBezTo>
                  <a:cubicBezTo>
                    <a:pt x="202" y="132"/>
                    <a:pt x="198" y="128"/>
                    <a:pt x="192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9" y="67"/>
                    <a:pt x="115" y="21"/>
                    <a:pt x="170" y="21"/>
                  </a:cubicBezTo>
                  <a:cubicBezTo>
                    <a:pt x="191" y="21"/>
                    <a:pt x="211" y="27"/>
                    <a:pt x="228" y="39"/>
                  </a:cubicBezTo>
                  <a:cubicBezTo>
                    <a:pt x="233" y="42"/>
                    <a:pt x="240" y="41"/>
                    <a:pt x="243" y="36"/>
                  </a:cubicBezTo>
                  <a:cubicBezTo>
                    <a:pt x="246" y="31"/>
                    <a:pt x="245" y="25"/>
                    <a:pt x="240" y="21"/>
                  </a:cubicBezTo>
                  <a:cubicBezTo>
                    <a:pt x="219" y="7"/>
                    <a:pt x="195" y="0"/>
                    <a:pt x="170" y="0"/>
                  </a:cubicBezTo>
                  <a:cubicBezTo>
                    <a:pt x="103" y="0"/>
                    <a:pt x="47" y="55"/>
                    <a:pt x="34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2"/>
                    <a:pt x="0" y="138"/>
                  </a:cubicBezTo>
                  <a:cubicBezTo>
                    <a:pt x="0" y="144"/>
                    <a:pt x="4" y="149"/>
                    <a:pt x="10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153"/>
                    <a:pt x="32" y="156"/>
                    <a:pt x="32" y="160"/>
                  </a:cubicBezTo>
                  <a:cubicBezTo>
                    <a:pt x="32" y="163"/>
                    <a:pt x="32" y="167"/>
                    <a:pt x="32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4" y="170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47" y="265"/>
                    <a:pt x="103" y="320"/>
                    <a:pt x="170" y="320"/>
                  </a:cubicBezTo>
                  <a:cubicBezTo>
                    <a:pt x="195" y="320"/>
                    <a:pt x="219" y="312"/>
                    <a:pt x="240" y="298"/>
                  </a:cubicBezTo>
                  <a:cubicBezTo>
                    <a:pt x="245" y="295"/>
                    <a:pt x="246" y="288"/>
                    <a:pt x="243" y="283"/>
                  </a:cubicBezTo>
                  <a:cubicBezTo>
                    <a:pt x="240" y="278"/>
                    <a:pt x="233" y="277"/>
                    <a:pt x="228" y="2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514"/>
            <p:cNvSpPr>
              <a:spLocks noEditPoints="1"/>
            </p:cNvSpPr>
            <p:nvPr/>
          </p:nvSpPr>
          <p:spPr bwMode="auto">
            <a:xfrm>
              <a:off x="2728" y="201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141"/>
          <p:cNvSpPr>
            <a:spLocks noChangeAspect="1" noEditPoints="1"/>
          </p:cNvSpPr>
          <p:nvPr/>
        </p:nvSpPr>
        <p:spPr bwMode="auto">
          <a:xfrm>
            <a:off x="1445952" y="2051054"/>
            <a:ext cx="367631" cy="367631"/>
          </a:xfrm>
          <a:custGeom>
            <a:avLst/>
            <a:gdLst>
              <a:gd name="T0" fmla="*/ 341 w 512"/>
              <a:gd name="T1" fmla="*/ 330 h 512"/>
              <a:gd name="T2" fmla="*/ 138 w 512"/>
              <a:gd name="T3" fmla="*/ 224 h 512"/>
              <a:gd name="T4" fmla="*/ 224 w 512"/>
              <a:gd name="T5" fmla="*/ 248 h 512"/>
              <a:gd name="T6" fmla="*/ 240 w 512"/>
              <a:gd name="T7" fmla="*/ 234 h 512"/>
              <a:gd name="T8" fmla="*/ 247 w 512"/>
              <a:gd name="T9" fmla="*/ 242 h 512"/>
              <a:gd name="T10" fmla="*/ 264 w 512"/>
              <a:gd name="T11" fmla="*/ 259 h 512"/>
              <a:gd name="T12" fmla="*/ 244 w 512"/>
              <a:gd name="T13" fmla="*/ 254 h 512"/>
              <a:gd name="T14" fmla="*/ 234 w 512"/>
              <a:gd name="T15" fmla="*/ 260 h 512"/>
              <a:gd name="T16" fmla="*/ 240 w 512"/>
              <a:gd name="T17" fmla="*/ 267 h 512"/>
              <a:gd name="T18" fmla="*/ 261 w 512"/>
              <a:gd name="T19" fmla="*/ 276 h 512"/>
              <a:gd name="T20" fmla="*/ 269 w 512"/>
              <a:gd name="T21" fmla="*/ 290 h 512"/>
              <a:gd name="T22" fmla="*/ 247 w 512"/>
              <a:gd name="T23" fmla="*/ 309 h 512"/>
              <a:gd name="T24" fmla="*/ 240 w 512"/>
              <a:gd name="T25" fmla="*/ 320 h 512"/>
              <a:gd name="T26" fmla="*/ 218 w 512"/>
              <a:gd name="T27" fmla="*/ 305 h 512"/>
              <a:gd name="T28" fmla="*/ 229 w 512"/>
              <a:gd name="T29" fmla="*/ 295 h 512"/>
              <a:gd name="T30" fmla="*/ 244 w 512"/>
              <a:gd name="T31" fmla="*/ 297 h 512"/>
              <a:gd name="T32" fmla="*/ 254 w 512"/>
              <a:gd name="T33" fmla="*/ 291 h 512"/>
              <a:gd name="T34" fmla="*/ 247 w 512"/>
              <a:gd name="T35" fmla="*/ 284 h 512"/>
              <a:gd name="T36" fmla="*/ 237 w 512"/>
              <a:gd name="T37" fmla="*/ 280 h 512"/>
              <a:gd name="T38" fmla="*/ 218 w 512"/>
              <a:gd name="T39" fmla="*/ 260 h 512"/>
              <a:gd name="T40" fmla="*/ 181 w 512"/>
              <a:gd name="T41" fmla="*/ 181 h 512"/>
              <a:gd name="T42" fmla="*/ 384 w 512"/>
              <a:gd name="T43" fmla="*/ 288 h 512"/>
              <a:gd name="T44" fmla="*/ 362 w 512"/>
              <a:gd name="T45" fmla="*/ 213 h 512"/>
              <a:gd name="T46" fmla="*/ 181 w 512"/>
              <a:gd name="T47" fmla="*/ 202 h 512"/>
              <a:gd name="T48" fmla="*/ 256 w 512"/>
              <a:gd name="T49" fmla="*/ 0 h 512"/>
              <a:gd name="T50" fmla="*/ 256 w 512"/>
              <a:gd name="T51" fmla="*/ 512 h 512"/>
              <a:gd name="T52" fmla="*/ 256 w 512"/>
              <a:gd name="T53" fmla="*/ 0 h 512"/>
              <a:gd name="T54" fmla="*/ 394 w 512"/>
              <a:gd name="T55" fmla="*/ 309 h 512"/>
              <a:gd name="T56" fmla="*/ 362 w 512"/>
              <a:gd name="T57" fmla="*/ 341 h 512"/>
              <a:gd name="T58" fmla="*/ 128 w 512"/>
              <a:gd name="T59" fmla="*/ 352 h 512"/>
              <a:gd name="T60" fmla="*/ 117 w 512"/>
              <a:gd name="T61" fmla="*/ 213 h 512"/>
              <a:gd name="T62" fmla="*/ 160 w 512"/>
              <a:gd name="T63" fmla="*/ 202 h 512"/>
              <a:gd name="T64" fmla="*/ 170 w 512"/>
              <a:gd name="T65" fmla="*/ 160 h 512"/>
              <a:gd name="T66" fmla="*/ 405 w 512"/>
              <a:gd name="T67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38" y="330"/>
                </a:moveTo>
                <a:cubicBezTo>
                  <a:pt x="341" y="330"/>
                  <a:pt x="341" y="330"/>
                  <a:pt x="341" y="330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138" y="224"/>
                  <a:pt x="138" y="224"/>
                  <a:pt x="138" y="224"/>
                </a:cubicBezTo>
                <a:lnTo>
                  <a:pt x="138" y="330"/>
                </a:lnTo>
                <a:close/>
                <a:moveTo>
                  <a:pt x="224" y="248"/>
                </a:moveTo>
                <a:cubicBezTo>
                  <a:pt x="228" y="245"/>
                  <a:pt x="233" y="243"/>
                  <a:pt x="240" y="242"/>
                </a:cubicBezTo>
                <a:cubicBezTo>
                  <a:pt x="240" y="234"/>
                  <a:pt x="240" y="234"/>
                  <a:pt x="240" y="234"/>
                </a:cubicBezTo>
                <a:cubicBezTo>
                  <a:pt x="247" y="234"/>
                  <a:pt x="247" y="234"/>
                  <a:pt x="247" y="234"/>
                </a:cubicBezTo>
                <a:cubicBezTo>
                  <a:pt x="247" y="242"/>
                  <a:pt x="247" y="242"/>
                  <a:pt x="247" y="242"/>
                </a:cubicBezTo>
                <a:cubicBezTo>
                  <a:pt x="255" y="242"/>
                  <a:pt x="262" y="244"/>
                  <a:pt x="268" y="247"/>
                </a:cubicBezTo>
                <a:cubicBezTo>
                  <a:pt x="264" y="259"/>
                  <a:pt x="264" y="259"/>
                  <a:pt x="264" y="259"/>
                </a:cubicBezTo>
                <a:cubicBezTo>
                  <a:pt x="258" y="256"/>
                  <a:pt x="253" y="255"/>
                  <a:pt x="247" y="255"/>
                </a:cubicBezTo>
                <a:cubicBezTo>
                  <a:pt x="247" y="255"/>
                  <a:pt x="246" y="254"/>
                  <a:pt x="244" y="254"/>
                </a:cubicBezTo>
                <a:cubicBezTo>
                  <a:pt x="242" y="254"/>
                  <a:pt x="240" y="255"/>
                  <a:pt x="240" y="255"/>
                </a:cubicBezTo>
                <a:cubicBezTo>
                  <a:pt x="236" y="255"/>
                  <a:pt x="234" y="257"/>
                  <a:pt x="234" y="260"/>
                </a:cubicBezTo>
                <a:cubicBezTo>
                  <a:pt x="234" y="262"/>
                  <a:pt x="234" y="263"/>
                  <a:pt x="235" y="264"/>
                </a:cubicBezTo>
                <a:cubicBezTo>
                  <a:pt x="236" y="265"/>
                  <a:pt x="238" y="266"/>
                  <a:pt x="240" y="267"/>
                </a:cubicBezTo>
                <a:cubicBezTo>
                  <a:pt x="247" y="270"/>
                  <a:pt x="247" y="270"/>
                  <a:pt x="247" y="270"/>
                </a:cubicBezTo>
                <a:cubicBezTo>
                  <a:pt x="254" y="272"/>
                  <a:pt x="259" y="274"/>
                  <a:pt x="261" y="276"/>
                </a:cubicBezTo>
                <a:cubicBezTo>
                  <a:pt x="264" y="278"/>
                  <a:pt x="266" y="280"/>
                  <a:pt x="268" y="282"/>
                </a:cubicBezTo>
                <a:cubicBezTo>
                  <a:pt x="269" y="285"/>
                  <a:pt x="269" y="287"/>
                  <a:pt x="269" y="290"/>
                </a:cubicBezTo>
                <a:cubicBezTo>
                  <a:pt x="269" y="296"/>
                  <a:pt x="268" y="300"/>
                  <a:pt x="264" y="303"/>
                </a:cubicBezTo>
                <a:cubicBezTo>
                  <a:pt x="260" y="307"/>
                  <a:pt x="254" y="309"/>
                  <a:pt x="247" y="309"/>
                </a:cubicBezTo>
                <a:cubicBezTo>
                  <a:pt x="247" y="320"/>
                  <a:pt x="247" y="320"/>
                  <a:pt x="247" y="320"/>
                </a:cubicBezTo>
                <a:cubicBezTo>
                  <a:pt x="240" y="320"/>
                  <a:pt x="240" y="320"/>
                  <a:pt x="240" y="320"/>
                </a:cubicBezTo>
                <a:cubicBezTo>
                  <a:pt x="240" y="309"/>
                  <a:pt x="240" y="309"/>
                  <a:pt x="240" y="309"/>
                </a:cubicBezTo>
                <a:cubicBezTo>
                  <a:pt x="232" y="309"/>
                  <a:pt x="225" y="308"/>
                  <a:pt x="218" y="305"/>
                </a:cubicBezTo>
                <a:cubicBezTo>
                  <a:pt x="218" y="292"/>
                  <a:pt x="218" y="292"/>
                  <a:pt x="218" y="292"/>
                </a:cubicBezTo>
                <a:cubicBezTo>
                  <a:pt x="221" y="293"/>
                  <a:pt x="225" y="294"/>
                  <a:pt x="229" y="295"/>
                </a:cubicBezTo>
                <a:cubicBezTo>
                  <a:pt x="233" y="297"/>
                  <a:pt x="237" y="297"/>
                  <a:pt x="240" y="297"/>
                </a:cubicBezTo>
                <a:cubicBezTo>
                  <a:pt x="240" y="297"/>
                  <a:pt x="242" y="297"/>
                  <a:pt x="244" y="297"/>
                </a:cubicBezTo>
                <a:cubicBezTo>
                  <a:pt x="246" y="297"/>
                  <a:pt x="247" y="297"/>
                  <a:pt x="247" y="297"/>
                </a:cubicBezTo>
                <a:cubicBezTo>
                  <a:pt x="252" y="296"/>
                  <a:pt x="254" y="294"/>
                  <a:pt x="254" y="291"/>
                </a:cubicBezTo>
                <a:cubicBezTo>
                  <a:pt x="254" y="290"/>
                  <a:pt x="254" y="288"/>
                  <a:pt x="252" y="287"/>
                </a:cubicBezTo>
                <a:cubicBezTo>
                  <a:pt x="251" y="286"/>
                  <a:pt x="250" y="285"/>
                  <a:pt x="247" y="284"/>
                </a:cubicBezTo>
                <a:cubicBezTo>
                  <a:pt x="240" y="282"/>
                  <a:pt x="240" y="282"/>
                  <a:pt x="240" y="282"/>
                </a:cubicBezTo>
                <a:cubicBezTo>
                  <a:pt x="237" y="280"/>
                  <a:pt x="237" y="280"/>
                  <a:pt x="237" y="280"/>
                </a:cubicBezTo>
                <a:cubicBezTo>
                  <a:pt x="230" y="278"/>
                  <a:pt x="225" y="275"/>
                  <a:pt x="222" y="272"/>
                </a:cubicBezTo>
                <a:cubicBezTo>
                  <a:pt x="220" y="269"/>
                  <a:pt x="218" y="265"/>
                  <a:pt x="218" y="260"/>
                </a:cubicBezTo>
                <a:cubicBezTo>
                  <a:pt x="218" y="255"/>
                  <a:pt x="220" y="251"/>
                  <a:pt x="224" y="248"/>
                </a:cubicBezTo>
                <a:close/>
                <a:moveTo>
                  <a:pt x="181" y="181"/>
                </a:moveTo>
                <a:cubicBezTo>
                  <a:pt x="384" y="181"/>
                  <a:pt x="384" y="181"/>
                  <a:pt x="384" y="181"/>
                </a:cubicBezTo>
                <a:cubicBezTo>
                  <a:pt x="384" y="288"/>
                  <a:pt x="384" y="288"/>
                  <a:pt x="384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2" y="207"/>
                  <a:pt x="358" y="202"/>
                  <a:pt x="352" y="202"/>
                </a:cubicBezTo>
                <a:cubicBezTo>
                  <a:pt x="181" y="202"/>
                  <a:pt x="181" y="202"/>
                  <a:pt x="181" y="202"/>
                </a:cubicBezTo>
                <a:lnTo>
                  <a:pt x="181" y="181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98"/>
                </a:moveTo>
                <a:cubicBezTo>
                  <a:pt x="405" y="304"/>
                  <a:pt x="400" y="309"/>
                  <a:pt x="394" y="309"/>
                </a:cubicBezTo>
                <a:cubicBezTo>
                  <a:pt x="362" y="309"/>
                  <a:pt x="362" y="309"/>
                  <a:pt x="362" y="309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2" y="347"/>
                  <a:pt x="358" y="352"/>
                  <a:pt x="352" y="352"/>
                </a:cubicBezTo>
                <a:cubicBezTo>
                  <a:pt x="128" y="352"/>
                  <a:pt x="128" y="352"/>
                  <a:pt x="128" y="352"/>
                </a:cubicBezTo>
                <a:cubicBezTo>
                  <a:pt x="122" y="352"/>
                  <a:pt x="117" y="347"/>
                  <a:pt x="117" y="341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117" y="207"/>
                  <a:pt x="122" y="202"/>
                  <a:pt x="128" y="202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60" y="170"/>
                  <a:pt x="160" y="170"/>
                  <a:pt x="160" y="170"/>
                </a:cubicBezTo>
                <a:cubicBezTo>
                  <a:pt x="160" y="164"/>
                  <a:pt x="164" y="160"/>
                  <a:pt x="170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64"/>
                  <a:pt x="405" y="170"/>
                </a:cubicBezTo>
                <a:lnTo>
                  <a:pt x="405" y="29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144"/>
          <p:cNvGrpSpPr>
            <a:grpSpLocks noChangeAspect="1"/>
          </p:cNvGrpSpPr>
          <p:nvPr/>
        </p:nvGrpSpPr>
        <p:grpSpPr bwMode="auto">
          <a:xfrm>
            <a:off x="1942484" y="2051054"/>
            <a:ext cx="367631" cy="367631"/>
            <a:chOff x="2963" y="1300"/>
            <a:chExt cx="340" cy="340"/>
          </a:xfrm>
          <a:solidFill>
            <a:schemeClr val="accent2"/>
          </a:solidFill>
        </p:grpSpPr>
        <p:sp>
          <p:nvSpPr>
            <p:cNvPr id="262" name="Freeform 145"/>
            <p:cNvSpPr>
              <a:spLocks noEditPoints="1"/>
            </p:cNvSpPr>
            <p:nvPr/>
          </p:nvSpPr>
          <p:spPr bwMode="auto">
            <a:xfrm>
              <a:off x="2963" y="130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146"/>
            <p:cNvSpPr>
              <a:spLocks noEditPoints="1"/>
            </p:cNvSpPr>
            <p:nvPr/>
          </p:nvSpPr>
          <p:spPr bwMode="auto">
            <a:xfrm>
              <a:off x="3041" y="1406"/>
              <a:ext cx="191" cy="128"/>
            </a:xfrm>
            <a:custGeom>
              <a:avLst/>
              <a:gdLst>
                <a:gd name="T0" fmla="*/ 53 w 288"/>
                <a:gd name="T1" fmla="*/ 0 h 192"/>
                <a:gd name="T2" fmla="*/ 43 w 288"/>
                <a:gd name="T3" fmla="*/ 42 h 192"/>
                <a:gd name="T4" fmla="*/ 0 w 288"/>
                <a:gd name="T5" fmla="*/ 53 h 192"/>
                <a:gd name="T6" fmla="*/ 11 w 288"/>
                <a:gd name="T7" fmla="*/ 192 h 192"/>
                <a:gd name="T8" fmla="*/ 245 w 288"/>
                <a:gd name="T9" fmla="*/ 181 h 192"/>
                <a:gd name="T10" fmla="*/ 277 w 288"/>
                <a:gd name="T11" fmla="*/ 149 h 192"/>
                <a:gd name="T12" fmla="*/ 288 w 288"/>
                <a:gd name="T13" fmla="*/ 10 h 192"/>
                <a:gd name="T14" fmla="*/ 224 w 288"/>
                <a:gd name="T15" fmla="*/ 170 h 192"/>
                <a:gd name="T16" fmla="*/ 21 w 288"/>
                <a:gd name="T17" fmla="*/ 64 h 192"/>
                <a:gd name="T18" fmla="*/ 224 w 288"/>
                <a:gd name="T19" fmla="*/ 170 h 192"/>
                <a:gd name="T20" fmla="*/ 245 w 288"/>
                <a:gd name="T21" fmla="*/ 128 h 192"/>
                <a:gd name="T22" fmla="*/ 235 w 288"/>
                <a:gd name="T23" fmla="*/ 42 h 192"/>
                <a:gd name="T24" fmla="*/ 64 w 288"/>
                <a:gd name="T25" fmla="*/ 21 h 192"/>
                <a:gd name="T26" fmla="*/ 267 w 288"/>
                <a:gd name="T27" fmla="*/ 128 h 192"/>
                <a:gd name="T28" fmla="*/ 101 w 288"/>
                <a:gd name="T29" fmla="*/ 100 h 192"/>
                <a:gd name="T30" fmla="*/ 123 w 288"/>
                <a:gd name="T31" fmla="*/ 82 h 192"/>
                <a:gd name="T32" fmla="*/ 130 w 288"/>
                <a:gd name="T33" fmla="*/ 74 h 192"/>
                <a:gd name="T34" fmla="*/ 151 w 288"/>
                <a:gd name="T35" fmla="*/ 87 h 192"/>
                <a:gd name="T36" fmla="*/ 130 w 288"/>
                <a:gd name="T37" fmla="*/ 95 h 192"/>
                <a:gd name="T38" fmla="*/ 123 w 288"/>
                <a:gd name="T39" fmla="*/ 95 h 192"/>
                <a:gd name="T40" fmla="*/ 118 w 288"/>
                <a:gd name="T41" fmla="*/ 104 h 192"/>
                <a:gd name="T42" fmla="*/ 130 w 288"/>
                <a:gd name="T43" fmla="*/ 110 h 192"/>
                <a:gd name="T44" fmla="*/ 151 w 288"/>
                <a:gd name="T45" fmla="*/ 122 h 192"/>
                <a:gd name="T46" fmla="*/ 147 w 288"/>
                <a:gd name="T47" fmla="*/ 143 h 192"/>
                <a:gd name="T48" fmla="*/ 130 w 288"/>
                <a:gd name="T49" fmla="*/ 160 h 192"/>
                <a:gd name="T50" fmla="*/ 123 w 288"/>
                <a:gd name="T51" fmla="*/ 149 h 192"/>
                <a:gd name="T52" fmla="*/ 101 w 288"/>
                <a:gd name="T53" fmla="*/ 132 h 192"/>
                <a:gd name="T54" fmla="*/ 123 w 288"/>
                <a:gd name="T55" fmla="*/ 137 h 192"/>
                <a:gd name="T56" fmla="*/ 130 w 288"/>
                <a:gd name="T57" fmla="*/ 137 h 192"/>
                <a:gd name="T58" fmla="*/ 135 w 288"/>
                <a:gd name="T59" fmla="*/ 127 h 192"/>
                <a:gd name="T60" fmla="*/ 123 w 288"/>
                <a:gd name="T61" fmla="*/ 122 h 192"/>
                <a:gd name="T62" fmla="*/ 105 w 288"/>
                <a:gd name="T63" fmla="*/ 1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8" h="192">
                  <a:moveTo>
                    <a:pt x="277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7" y="0"/>
                    <a:pt x="43" y="4"/>
                    <a:pt x="43" y="1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47"/>
                    <a:pt x="0" y="53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5" y="192"/>
                    <a:pt x="11" y="192"/>
                  </a:cubicBezTo>
                  <a:cubicBezTo>
                    <a:pt x="235" y="192"/>
                    <a:pt x="235" y="192"/>
                    <a:pt x="235" y="192"/>
                  </a:cubicBezTo>
                  <a:cubicBezTo>
                    <a:pt x="241" y="192"/>
                    <a:pt x="245" y="187"/>
                    <a:pt x="245" y="181"/>
                  </a:cubicBezTo>
                  <a:cubicBezTo>
                    <a:pt x="245" y="149"/>
                    <a:pt x="245" y="149"/>
                    <a:pt x="245" y="149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83" y="149"/>
                    <a:pt x="288" y="144"/>
                    <a:pt x="288" y="138"/>
                  </a:cubicBezTo>
                  <a:cubicBezTo>
                    <a:pt x="288" y="10"/>
                    <a:pt x="288" y="10"/>
                    <a:pt x="288" y="10"/>
                  </a:cubicBezTo>
                  <a:cubicBezTo>
                    <a:pt x="288" y="4"/>
                    <a:pt x="283" y="0"/>
                    <a:pt x="277" y="0"/>
                  </a:cubicBezTo>
                  <a:close/>
                  <a:moveTo>
                    <a:pt x="224" y="170"/>
                  </a:moveTo>
                  <a:cubicBezTo>
                    <a:pt x="21" y="170"/>
                    <a:pt x="21" y="170"/>
                    <a:pt x="21" y="170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24" y="64"/>
                    <a:pt x="224" y="64"/>
                    <a:pt x="224" y="64"/>
                  </a:cubicBezTo>
                  <a:lnTo>
                    <a:pt x="224" y="170"/>
                  </a:lnTo>
                  <a:close/>
                  <a:moveTo>
                    <a:pt x="267" y="128"/>
                  </a:moveTo>
                  <a:cubicBezTo>
                    <a:pt x="245" y="128"/>
                    <a:pt x="245" y="128"/>
                    <a:pt x="245" y="128"/>
                  </a:cubicBezTo>
                  <a:cubicBezTo>
                    <a:pt x="245" y="53"/>
                    <a:pt x="245" y="53"/>
                    <a:pt x="245" y="53"/>
                  </a:cubicBezTo>
                  <a:cubicBezTo>
                    <a:pt x="245" y="47"/>
                    <a:pt x="241" y="42"/>
                    <a:pt x="235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267" y="21"/>
                    <a:pt x="267" y="21"/>
                    <a:pt x="267" y="21"/>
                  </a:cubicBezTo>
                  <a:lnTo>
                    <a:pt x="267" y="128"/>
                  </a:lnTo>
                  <a:close/>
                  <a:moveTo>
                    <a:pt x="105" y="112"/>
                  </a:moveTo>
                  <a:cubicBezTo>
                    <a:pt x="103" y="109"/>
                    <a:pt x="101" y="105"/>
                    <a:pt x="101" y="100"/>
                  </a:cubicBezTo>
                  <a:cubicBezTo>
                    <a:pt x="101" y="95"/>
                    <a:pt x="103" y="91"/>
                    <a:pt x="107" y="88"/>
                  </a:cubicBezTo>
                  <a:cubicBezTo>
                    <a:pt x="111" y="85"/>
                    <a:pt x="116" y="83"/>
                    <a:pt x="123" y="82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8" y="82"/>
                    <a:pt x="145" y="84"/>
                    <a:pt x="151" y="87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1" y="96"/>
                    <a:pt x="136" y="95"/>
                    <a:pt x="130" y="95"/>
                  </a:cubicBezTo>
                  <a:cubicBezTo>
                    <a:pt x="130" y="95"/>
                    <a:pt x="129" y="94"/>
                    <a:pt x="127" y="94"/>
                  </a:cubicBezTo>
                  <a:cubicBezTo>
                    <a:pt x="125" y="94"/>
                    <a:pt x="123" y="95"/>
                    <a:pt x="123" y="95"/>
                  </a:cubicBezTo>
                  <a:cubicBezTo>
                    <a:pt x="119" y="95"/>
                    <a:pt x="117" y="97"/>
                    <a:pt x="117" y="100"/>
                  </a:cubicBezTo>
                  <a:cubicBezTo>
                    <a:pt x="117" y="102"/>
                    <a:pt x="117" y="103"/>
                    <a:pt x="118" y="104"/>
                  </a:cubicBezTo>
                  <a:cubicBezTo>
                    <a:pt x="119" y="105"/>
                    <a:pt x="121" y="106"/>
                    <a:pt x="123" y="107"/>
                  </a:cubicBezTo>
                  <a:cubicBezTo>
                    <a:pt x="130" y="110"/>
                    <a:pt x="130" y="110"/>
                    <a:pt x="130" y="110"/>
                  </a:cubicBezTo>
                  <a:cubicBezTo>
                    <a:pt x="137" y="112"/>
                    <a:pt x="142" y="114"/>
                    <a:pt x="144" y="116"/>
                  </a:cubicBezTo>
                  <a:cubicBezTo>
                    <a:pt x="147" y="118"/>
                    <a:pt x="149" y="120"/>
                    <a:pt x="151" y="122"/>
                  </a:cubicBezTo>
                  <a:cubicBezTo>
                    <a:pt x="152" y="125"/>
                    <a:pt x="152" y="127"/>
                    <a:pt x="152" y="130"/>
                  </a:cubicBezTo>
                  <a:cubicBezTo>
                    <a:pt x="152" y="136"/>
                    <a:pt x="151" y="140"/>
                    <a:pt x="147" y="143"/>
                  </a:cubicBezTo>
                  <a:cubicBezTo>
                    <a:pt x="143" y="147"/>
                    <a:pt x="137" y="149"/>
                    <a:pt x="130" y="149"/>
                  </a:cubicBezTo>
                  <a:cubicBezTo>
                    <a:pt x="130" y="160"/>
                    <a:pt x="130" y="160"/>
                    <a:pt x="130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49"/>
                    <a:pt x="123" y="149"/>
                    <a:pt x="123" y="149"/>
                  </a:cubicBezTo>
                  <a:cubicBezTo>
                    <a:pt x="115" y="149"/>
                    <a:pt x="108" y="148"/>
                    <a:pt x="101" y="145"/>
                  </a:cubicBezTo>
                  <a:cubicBezTo>
                    <a:pt x="101" y="132"/>
                    <a:pt x="101" y="132"/>
                    <a:pt x="101" y="132"/>
                  </a:cubicBezTo>
                  <a:cubicBezTo>
                    <a:pt x="104" y="133"/>
                    <a:pt x="108" y="134"/>
                    <a:pt x="112" y="135"/>
                  </a:cubicBezTo>
                  <a:cubicBezTo>
                    <a:pt x="116" y="137"/>
                    <a:pt x="120" y="137"/>
                    <a:pt x="123" y="137"/>
                  </a:cubicBezTo>
                  <a:cubicBezTo>
                    <a:pt x="123" y="137"/>
                    <a:pt x="125" y="137"/>
                    <a:pt x="127" y="137"/>
                  </a:cubicBezTo>
                  <a:cubicBezTo>
                    <a:pt x="129" y="137"/>
                    <a:pt x="130" y="137"/>
                    <a:pt x="130" y="137"/>
                  </a:cubicBezTo>
                  <a:cubicBezTo>
                    <a:pt x="135" y="136"/>
                    <a:pt x="137" y="134"/>
                    <a:pt x="137" y="131"/>
                  </a:cubicBezTo>
                  <a:cubicBezTo>
                    <a:pt x="137" y="130"/>
                    <a:pt x="137" y="128"/>
                    <a:pt x="135" y="127"/>
                  </a:cubicBezTo>
                  <a:cubicBezTo>
                    <a:pt x="134" y="126"/>
                    <a:pt x="133" y="125"/>
                    <a:pt x="130" y="124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120" y="120"/>
                    <a:pt x="120" y="120"/>
                    <a:pt x="120" y="120"/>
                  </a:cubicBezTo>
                  <a:cubicBezTo>
                    <a:pt x="113" y="118"/>
                    <a:pt x="108" y="115"/>
                    <a:pt x="10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4" name="Group 423"/>
          <p:cNvGrpSpPr>
            <a:grpSpLocks noChangeAspect="1"/>
          </p:cNvGrpSpPr>
          <p:nvPr/>
        </p:nvGrpSpPr>
        <p:grpSpPr bwMode="auto">
          <a:xfrm>
            <a:off x="2936938" y="2051054"/>
            <a:ext cx="369021" cy="369021"/>
            <a:chOff x="4263" y="1567"/>
            <a:chExt cx="340" cy="340"/>
          </a:xfrm>
          <a:solidFill>
            <a:schemeClr val="accent5"/>
          </a:solidFill>
        </p:grpSpPr>
        <p:sp>
          <p:nvSpPr>
            <p:cNvPr id="265" name="Freeform 424"/>
            <p:cNvSpPr>
              <a:spLocks/>
            </p:cNvSpPr>
            <p:nvPr/>
          </p:nvSpPr>
          <p:spPr bwMode="auto">
            <a:xfrm>
              <a:off x="4355" y="1631"/>
              <a:ext cx="142" cy="212"/>
            </a:xfrm>
            <a:custGeom>
              <a:avLst/>
              <a:gdLst>
                <a:gd name="T0" fmla="*/ 203 w 214"/>
                <a:gd name="T1" fmla="*/ 298 h 320"/>
                <a:gd name="T2" fmla="*/ 43 w 214"/>
                <a:gd name="T3" fmla="*/ 298 h 320"/>
                <a:gd name="T4" fmla="*/ 82 w 214"/>
                <a:gd name="T5" fmla="*/ 170 h 320"/>
                <a:gd name="T6" fmla="*/ 139 w 214"/>
                <a:gd name="T7" fmla="*/ 170 h 320"/>
                <a:gd name="T8" fmla="*/ 150 w 214"/>
                <a:gd name="T9" fmla="*/ 160 h 320"/>
                <a:gd name="T10" fmla="*/ 139 w 214"/>
                <a:gd name="T11" fmla="*/ 149 h 320"/>
                <a:gd name="T12" fmla="*/ 69 w 214"/>
                <a:gd name="T13" fmla="*/ 149 h 320"/>
                <a:gd name="T14" fmla="*/ 43 w 214"/>
                <a:gd name="T15" fmla="*/ 96 h 320"/>
                <a:gd name="T16" fmla="*/ 118 w 214"/>
                <a:gd name="T17" fmla="*/ 21 h 320"/>
                <a:gd name="T18" fmla="*/ 192 w 214"/>
                <a:gd name="T19" fmla="*/ 96 h 320"/>
                <a:gd name="T20" fmla="*/ 203 w 214"/>
                <a:gd name="T21" fmla="*/ 106 h 320"/>
                <a:gd name="T22" fmla="*/ 214 w 214"/>
                <a:gd name="T23" fmla="*/ 96 h 320"/>
                <a:gd name="T24" fmla="*/ 118 w 214"/>
                <a:gd name="T25" fmla="*/ 0 h 320"/>
                <a:gd name="T26" fmla="*/ 22 w 214"/>
                <a:gd name="T27" fmla="*/ 96 h 320"/>
                <a:gd name="T28" fmla="*/ 40 w 214"/>
                <a:gd name="T29" fmla="*/ 149 h 320"/>
                <a:gd name="T30" fmla="*/ 11 w 214"/>
                <a:gd name="T31" fmla="*/ 149 h 320"/>
                <a:gd name="T32" fmla="*/ 0 w 214"/>
                <a:gd name="T33" fmla="*/ 160 h 320"/>
                <a:gd name="T34" fmla="*/ 11 w 214"/>
                <a:gd name="T35" fmla="*/ 170 h 320"/>
                <a:gd name="T36" fmla="*/ 59 w 214"/>
                <a:gd name="T37" fmla="*/ 170 h 320"/>
                <a:gd name="T38" fmla="*/ 18 w 214"/>
                <a:gd name="T39" fmla="*/ 296 h 320"/>
                <a:gd name="T40" fmla="*/ 13 w 214"/>
                <a:gd name="T41" fmla="*/ 303 h 320"/>
                <a:gd name="T42" fmla="*/ 12 w 214"/>
                <a:gd name="T43" fmla="*/ 314 h 320"/>
                <a:gd name="T44" fmla="*/ 22 w 214"/>
                <a:gd name="T45" fmla="*/ 320 h 320"/>
                <a:gd name="T46" fmla="*/ 203 w 214"/>
                <a:gd name="T47" fmla="*/ 320 h 320"/>
                <a:gd name="T48" fmla="*/ 214 w 214"/>
                <a:gd name="T49" fmla="*/ 309 h 320"/>
                <a:gd name="T50" fmla="*/ 203 w 214"/>
                <a:gd name="T51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4" h="320">
                  <a:moveTo>
                    <a:pt x="203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65" y="270"/>
                    <a:pt x="100" y="216"/>
                    <a:pt x="82" y="170"/>
                  </a:cubicBezTo>
                  <a:cubicBezTo>
                    <a:pt x="139" y="170"/>
                    <a:pt x="139" y="170"/>
                    <a:pt x="139" y="170"/>
                  </a:cubicBezTo>
                  <a:cubicBezTo>
                    <a:pt x="145" y="170"/>
                    <a:pt x="150" y="166"/>
                    <a:pt x="150" y="160"/>
                  </a:cubicBezTo>
                  <a:cubicBezTo>
                    <a:pt x="150" y="154"/>
                    <a:pt x="145" y="149"/>
                    <a:pt x="13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52" y="134"/>
                    <a:pt x="43" y="114"/>
                    <a:pt x="43" y="96"/>
                  </a:cubicBez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02"/>
                    <a:pt x="197" y="106"/>
                    <a:pt x="203" y="106"/>
                  </a:cubicBezTo>
                  <a:cubicBezTo>
                    <a:pt x="209" y="106"/>
                    <a:pt x="214" y="102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14"/>
                    <a:pt x="28" y="133"/>
                    <a:pt x="40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166"/>
                    <a:pt x="5" y="170"/>
                    <a:pt x="11" y="170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76" y="198"/>
                    <a:pt x="62" y="241"/>
                    <a:pt x="18" y="296"/>
                  </a:cubicBezTo>
                  <a:cubicBezTo>
                    <a:pt x="15" y="300"/>
                    <a:pt x="14" y="302"/>
                    <a:pt x="13" y="303"/>
                  </a:cubicBezTo>
                  <a:cubicBezTo>
                    <a:pt x="11" y="306"/>
                    <a:pt x="10" y="311"/>
                    <a:pt x="12" y="314"/>
                  </a:cubicBezTo>
                  <a:cubicBezTo>
                    <a:pt x="14" y="318"/>
                    <a:pt x="18" y="320"/>
                    <a:pt x="22" y="320"/>
                  </a:cubicBezTo>
                  <a:cubicBezTo>
                    <a:pt x="203" y="320"/>
                    <a:pt x="203" y="320"/>
                    <a:pt x="203" y="320"/>
                  </a:cubicBezTo>
                  <a:cubicBezTo>
                    <a:pt x="209" y="320"/>
                    <a:pt x="214" y="315"/>
                    <a:pt x="214" y="309"/>
                  </a:cubicBezTo>
                  <a:cubicBezTo>
                    <a:pt x="214" y="303"/>
                    <a:pt x="209" y="298"/>
                    <a:pt x="203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425"/>
            <p:cNvSpPr>
              <a:spLocks noEditPoints="1"/>
            </p:cNvSpPr>
            <p:nvPr/>
          </p:nvSpPr>
          <p:spPr bwMode="auto">
            <a:xfrm>
              <a:off x="4263" y="156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7" name="Freeform 429"/>
          <p:cNvSpPr>
            <a:spLocks noChangeAspect="1" noEditPoints="1"/>
          </p:cNvSpPr>
          <p:nvPr/>
        </p:nvSpPr>
        <p:spPr bwMode="auto">
          <a:xfrm>
            <a:off x="2439016" y="2051051"/>
            <a:ext cx="369021" cy="37010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07 w 512"/>
              <a:gd name="T11" fmla="*/ 245 h 512"/>
              <a:gd name="T12" fmla="*/ 277 w 512"/>
              <a:gd name="T13" fmla="*/ 245 h 512"/>
              <a:gd name="T14" fmla="*/ 288 w 512"/>
              <a:gd name="T15" fmla="*/ 256 h 512"/>
              <a:gd name="T16" fmla="*/ 277 w 512"/>
              <a:gd name="T17" fmla="*/ 266 h 512"/>
              <a:gd name="T18" fmla="*/ 220 w 512"/>
              <a:gd name="T19" fmla="*/ 266 h 512"/>
              <a:gd name="T20" fmla="*/ 181 w 512"/>
              <a:gd name="T21" fmla="*/ 394 h 512"/>
              <a:gd name="T22" fmla="*/ 341 w 512"/>
              <a:gd name="T23" fmla="*/ 394 h 512"/>
              <a:gd name="T24" fmla="*/ 352 w 512"/>
              <a:gd name="T25" fmla="*/ 405 h 512"/>
              <a:gd name="T26" fmla="*/ 341 w 512"/>
              <a:gd name="T27" fmla="*/ 416 h 512"/>
              <a:gd name="T28" fmla="*/ 160 w 512"/>
              <a:gd name="T29" fmla="*/ 416 h 512"/>
              <a:gd name="T30" fmla="*/ 150 w 512"/>
              <a:gd name="T31" fmla="*/ 410 h 512"/>
              <a:gd name="T32" fmla="*/ 151 w 512"/>
              <a:gd name="T33" fmla="*/ 399 h 512"/>
              <a:gd name="T34" fmla="*/ 156 w 512"/>
              <a:gd name="T35" fmla="*/ 392 h 512"/>
              <a:gd name="T36" fmla="*/ 197 w 512"/>
              <a:gd name="T37" fmla="*/ 266 h 512"/>
              <a:gd name="T38" fmla="*/ 149 w 512"/>
              <a:gd name="T39" fmla="*/ 266 h 512"/>
              <a:gd name="T40" fmla="*/ 138 w 512"/>
              <a:gd name="T41" fmla="*/ 256 h 512"/>
              <a:gd name="T42" fmla="*/ 149 w 512"/>
              <a:gd name="T43" fmla="*/ 245 h 512"/>
              <a:gd name="T44" fmla="*/ 178 w 512"/>
              <a:gd name="T45" fmla="*/ 245 h 512"/>
              <a:gd name="T46" fmla="*/ 160 w 512"/>
              <a:gd name="T47" fmla="*/ 192 h 512"/>
              <a:gd name="T48" fmla="*/ 256 w 512"/>
              <a:gd name="T49" fmla="*/ 96 h 512"/>
              <a:gd name="T50" fmla="*/ 352 w 512"/>
              <a:gd name="T51" fmla="*/ 192 h 512"/>
              <a:gd name="T52" fmla="*/ 341 w 512"/>
              <a:gd name="T53" fmla="*/ 202 h 512"/>
              <a:gd name="T54" fmla="*/ 330 w 512"/>
              <a:gd name="T55" fmla="*/ 192 h 512"/>
              <a:gd name="T56" fmla="*/ 256 w 512"/>
              <a:gd name="T57" fmla="*/ 117 h 512"/>
              <a:gd name="T58" fmla="*/ 181 w 512"/>
              <a:gd name="T59" fmla="*/ 192 h 512"/>
              <a:gd name="T60" fmla="*/ 207 w 512"/>
              <a:gd name="T61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7" y="245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262"/>
                  <a:pt x="283" y="266"/>
                  <a:pt x="277" y="266"/>
                </a:cubicBezTo>
                <a:cubicBezTo>
                  <a:pt x="220" y="266"/>
                  <a:pt x="220" y="266"/>
                  <a:pt x="220" y="266"/>
                </a:cubicBezTo>
                <a:cubicBezTo>
                  <a:pt x="238" y="312"/>
                  <a:pt x="203" y="366"/>
                  <a:pt x="181" y="394"/>
                </a:cubicBezTo>
                <a:cubicBezTo>
                  <a:pt x="341" y="394"/>
                  <a:pt x="341" y="394"/>
                  <a:pt x="341" y="394"/>
                </a:cubicBezTo>
                <a:cubicBezTo>
                  <a:pt x="347" y="394"/>
                  <a:pt x="352" y="399"/>
                  <a:pt x="352" y="405"/>
                </a:cubicBezTo>
                <a:cubicBezTo>
                  <a:pt x="352" y="411"/>
                  <a:pt x="347" y="416"/>
                  <a:pt x="341" y="416"/>
                </a:cubicBezTo>
                <a:cubicBezTo>
                  <a:pt x="160" y="416"/>
                  <a:pt x="160" y="416"/>
                  <a:pt x="160" y="416"/>
                </a:cubicBezTo>
                <a:cubicBezTo>
                  <a:pt x="156" y="416"/>
                  <a:pt x="152" y="414"/>
                  <a:pt x="150" y="410"/>
                </a:cubicBezTo>
                <a:cubicBezTo>
                  <a:pt x="148" y="407"/>
                  <a:pt x="149" y="402"/>
                  <a:pt x="151" y="399"/>
                </a:cubicBezTo>
                <a:cubicBezTo>
                  <a:pt x="152" y="398"/>
                  <a:pt x="153" y="396"/>
                  <a:pt x="156" y="392"/>
                </a:cubicBezTo>
                <a:cubicBezTo>
                  <a:pt x="200" y="337"/>
                  <a:pt x="214" y="294"/>
                  <a:pt x="197" y="266"/>
                </a:cubicBezTo>
                <a:cubicBezTo>
                  <a:pt x="149" y="266"/>
                  <a:pt x="149" y="266"/>
                  <a:pt x="149" y="266"/>
                </a:cubicBezTo>
                <a:cubicBezTo>
                  <a:pt x="143" y="266"/>
                  <a:pt x="138" y="262"/>
                  <a:pt x="138" y="256"/>
                </a:cubicBezTo>
                <a:cubicBezTo>
                  <a:pt x="138" y="250"/>
                  <a:pt x="143" y="245"/>
                  <a:pt x="149" y="245"/>
                </a:cubicBezTo>
                <a:cubicBezTo>
                  <a:pt x="178" y="245"/>
                  <a:pt x="178" y="245"/>
                  <a:pt x="178" y="245"/>
                </a:cubicBezTo>
                <a:cubicBezTo>
                  <a:pt x="166" y="229"/>
                  <a:pt x="160" y="210"/>
                  <a:pt x="160" y="192"/>
                </a:cubicBezTo>
                <a:cubicBezTo>
                  <a:pt x="160" y="139"/>
                  <a:pt x="203" y="96"/>
                  <a:pt x="256" y="96"/>
                </a:cubicBezTo>
                <a:cubicBezTo>
                  <a:pt x="309" y="96"/>
                  <a:pt x="352" y="139"/>
                  <a:pt x="352" y="192"/>
                </a:cubicBezTo>
                <a:cubicBezTo>
                  <a:pt x="352" y="198"/>
                  <a:pt x="347" y="202"/>
                  <a:pt x="341" y="202"/>
                </a:cubicBezTo>
                <a:cubicBezTo>
                  <a:pt x="335" y="202"/>
                  <a:pt x="330" y="198"/>
                  <a:pt x="330" y="192"/>
                </a:cubicBezTo>
                <a:cubicBezTo>
                  <a:pt x="330" y="150"/>
                  <a:pt x="297" y="117"/>
                  <a:pt x="256" y="117"/>
                </a:cubicBezTo>
                <a:cubicBezTo>
                  <a:pt x="214" y="117"/>
                  <a:pt x="181" y="150"/>
                  <a:pt x="181" y="192"/>
                </a:cubicBezTo>
                <a:cubicBezTo>
                  <a:pt x="181" y="210"/>
                  <a:pt x="190" y="230"/>
                  <a:pt x="207" y="24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8" name="Freeform 941"/>
          <p:cNvSpPr>
            <a:spLocks noChangeAspect="1" noEditPoints="1"/>
          </p:cNvSpPr>
          <p:nvPr/>
        </p:nvSpPr>
        <p:spPr bwMode="auto">
          <a:xfrm>
            <a:off x="3434860" y="2051051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62 w 512"/>
              <a:gd name="T11" fmla="*/ 277 h 512"/>
              <a:gd name="T12" fmla="*/ 266 w 512"/>
              <a:gd name="T13" fmla="*/ 277 h 512"/>
              <a:gd name="T14" fmla="*/ 266 w 512"/>
              <a:gd name="T15" fmla="*/ 405 h 512"/>
              <a:gd name="T16" fmla="*/ 256 w 512"/>
              <a:gd name="T17" fmla="*/ 416 h 512"/>
              <a:gd name="T18" fmla="*/ 245 w 512"/>
              <a:gd name="T19" fmla="*/ 405 h 512"/>
              <a:gd name="T20" fmla="*/ 245 w 512"/>
              <a:gd name="T21" fmla="*/ 277 h 512"/>
              <a:gd name="T22" fmla="*/ 149 w 512"/>
              <a:gd name="T23" fmla="*/ 277 h 512"/>
              <a:gd name="T24" fmla="*/ 138 w 512"/>
              <a:gd name="T25" fmla="*/ 266 h 512"/>
              <a:gd name="T26" fmla="*/ 149 w 512"/>
              <a:gd name="T27" fmla="*/ 256 h 512"/>
              <a:gd name="T28" fmla="*/ 242 w 512"/>
              <a:gd name="T29" fmla="*/ 256 h 512"/>
              <a:gd name="T30" fmla="*/ 141 w 512"/>
              <a:gd name="T31" fmla="*/ 134 h 512"/>
              <a:gd name="T32" fmla="*/ 142 w 512"/>
              <a:gd name="T33" fmla="*/ 119 h 512"/>
              <a:gd name="T34" fmla="*/ 157 w 512"/>
              <a:gd name="T35" fmla="*/ 121 h 512"/>
              <a:gd name="T36" fmla="*/ 256 w 512"/>
              <a:gd name="T37" fmla="*/ 239 h 512"/>
              <a:gd name="T38" fmla="*/ 354 w 512"/>
              <a:gd name="T39" fmla="*/ 121 h 512"/>
              <a:gd name="T40" fmla="*/ 369 w 512"/>
              <a:gd name="T41" fmla="*/ 119 h 512"/>
              <a:gd name="T42" fmla="*/ 371 w 512"/>
              <a:gd name="T43" fmla="*/ 134 h 512"/>
              <a:gd name="T44" fmla="*/ 270 w 512"/>
              <a:gd name="T45" fmla="*/ 256 h 512"/>
              <a:gd name="T46" fmla="*/ 362 w 512"/>
              <a:gd name="T47" fmla="*/ 256 h 512"/>
              <a:gd name="T48" fmla="*/ 373 w 512"/>
              <a:gd name="T49" fmla="*/ 266 h 512"/>
              <a:gd name="T50" fmla="*/ 362 w 512"/>
              <a:gd name="T51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277"/>
                </a:moveTo>
                <a:cubicBezTo>
                  <a:pt x="266" y="277"/>
                  <a:pt x="266" y="277"/>
                  <a:pt x="266" y="277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43" y="277"/>
                  <a:pt x="138" y="272"/>
                  <a:pt x="138" y="266"/>
                </a:cubicBezTo>
                <a:cubicBezTo>
                  <a:pt x="138" y="260"/>
                  <a:pt x="143" y="256"/>
                  <a:pt x="149" y="256"/>
                </a:cubicBezTo>
                <a:cubicBezTo>
                  <a:pt x="242" y="256"/>
                  <a:pt x="242" y="256"/>
                  <a:pt x="242" y="256"/>
                </a:cubicBezTo>
                <a:cubicBezTo>
                  <a:pt x="141" y="134"/>
                  <a:pt x="141" y="134"/>
                  <a:pt x="141" y="134"/>
                </a:cubicBezTo>
                <a:cubicBezTo>
                  <a:pt x="137" y="130"/>
                  <a:pt x="138" y="123"/>
                  <a:pt x="142" y="119"/>
                </a:cubicBezTo>
                <a:cubicBezTo>
                  <a:pt x="147" y="116"/>
                  <a:pt x="153" y="116"/>
                  <a:pt x="157" y="121"/>
                </a:cubicBezTo>
                <a:cubicBezTo>
                  <a:pt x="256" y="239"/>
                  <a:pt x="256" y="239"/>
                  <a:pt x="256" y="239"/>
                </a:cubicBezTo>
                <a:cubicBezTo>
                  <a:pt x="354" y="121"/>
                  <a:pt x="354" y="121"/>
                  <a:pt x="354" y="121"/>
                </a:cubicBezTo>
                <a:cubicBezTo>
                  <a:pt x="358" y="116"/>
                  <a:pt x="365" y="116"/>
                  <a:pt x="369" y="119"/>
                </a:cubicBezTo>
                <a:cubicBezTo>
                  <a:pt x="374" y="123"/>
                  <a:pt x="374" y="130"/>
                  <a:pt x="371" y="134"/>
                </a:cubicBezTo>
                <a:cubicBezTo>
                  <a:pt x="270" y="256"/>
                  <a:pt x="270" y="256"/>
                  <a:pt x="270" y="256"/>
                </a:cubicBezTo>
                <a:cubicBezTo>
                  <a:pt x="362" y="256"/>
                  <a:pt x="362" y="256"/>
                  <a:pt x="362" y="256"/>
                </a:cubicBezTo>
                <a:cubicBezTo>
                  <a:pt x="368" y="256"/>
                  <a:pt x="373" y="260"/>
                  <a:pt x="373" y="266"/>
                </a:cubicBezTo>
                <a:cubicBezTo>
                  <a:pt x="373" y="272"/>
                  <a:pt x="368" y="277"/>
                  <a:pt x="362" y="27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935"/>
          <p:cNvGrpSpPr>
            <a:grpSpLocks noChangeAspect="1"/>
          </p:cNvGrpSpPr>
          <p:nvPr/>
        </p:nvGrpSpPr>
        <p:grpSpPr bwMode="auto">
          <a:xfrm>
            <a:off x="3933437" y="2051051"/>
            <a:ext cx="369676" cy="369676"/>
            <a:chOff x="418" y="3436"/>
            <a:chExt cx="340" cy="340"/>
          </a:xfrm>
          <a:solidFill>
            <a:schemeClr val="accent4"/>
          </a:solidFill>
        </p:grpSpPr>
        <p:sp>
          <p:nvSpPr>
            <p:cNvPr id="270" name="Freeform 269"/>
            <p:cNvSpPr>
              <a:spLocks/>
            </p:cNvSpPr>
            <p:nvPr/>
          </p:nvSpPr>
          <p:spPr bwMode="auto">
            <a:xfrm>
              <a:off x="509" y="3513"/>
              <a:ext cx="157" cy="199"/>
            </a:xfrm>
            <a:custGeom>
              <a:avLst/>
              <a:gdLst>
                <a:gd name="T0" fmla="*/ 225 w 237"/>
                <a:gd name="T1" fmla="*/ 140 h 300"/>
                <a:gd name="T2" fmla="*/ 133 w 237"/>
                <a:gd name="T3" fmla="*/ 140 h 300"/>
                <a:gd name="T4" fmla="*/ 234 w 237"/>
                <a:gd name="T5" fmla="*/ 18 h 300"/>
                <a:gd name="T6" fmla="*/ 232 w 237"/>
                <a:gd name="T7" fmla="*/ 3 h 300"/>
                <a:gd name="T8" fmla="*/ 217 w 237"/>
                <a:gd name="T9" fmla="*/ 5 h 300"/>
                <a:gd name="T10" fmla="*/ 119 w 237"/>
                <a:gd name="T11" fmla="*/ 123 h 300"/>
                <a:gd name="T12" fmla="*/ 20 w 237"/>
                <a:gd name="T13" fmla="*/ 5 h 300"/>
                <a:gd name="T14" fmla="*/ 5 w 237"/>
                <a:gd name="T15" fmla="*/ 3 h 300"/>
                <a:gd name="T16" fmla="*/ 4 w 237"/>
                <a:gd name="T17" fmla="*/ 18 h 300"/>
                <a:gd name="T18" fmla="*/ 105 w 237"/>
                <a:gd name="T19" fmla="*/ 140 h 300"/>
                <a:gd name="T20" fmla="*/ 12 w 237"/>
                <a:gd name="T21" fmla="*/ 140 h 300"/>
                <a:gd name="T22" fmla="*/ 1 w 237"/>
                <a:gd name="T23" fmla="*/ 150 h 300"/>
                <a:gd name="T24" fmla="*/ 12 w 237"/>
                <a:gd name="T25" fmla="*/ 161 h 300"/>
                <a:gd name="T26" fmla="*/ 108 w 237"/>
                <a:gd name="T27" fmla="*/ 161 h 300"/>
                <a:gd name="T28" fmla="*/ 108 w 237"/>
                <a:gd name="T29" fmla="*/ 289 h 300"/>
                <a:gd name="T30" fmla="*/ 119 w 237"/>
                <a:gd name="T31" fmla="*/ 300 h 300"/>
                <a:gd name="T32" fmla="*/ 129 w 237"/>
                <a:gd name="T33" fmla="*/ 289 h 300"/>
                <a:gd name="T34" fmla="*/ 129 w 237"/>
                <a:gd name="T35" fmla="*/ 161 h 300"/>
                <a:gd name="T36" fmla="*/ 225 w 237"/>
                <a:gd name="T37" fmla="*/ 161 h 300"/>
                <a:gd name="T38" fmla="*/ 236 w 237"/>
                <a:gd name="T39" fmla="*/ 150 h 300"/>
                <a:gd name="T40" fmla="*/ 225 w 237"/>
                <a:gd name="T41" fmla="*/ 14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7" h="300">
                  <a:moveTo>
                    <a:pt x="225" y="140"/>
                  </a:moveTo>
                  <a:cubicBezTo>
                    <a:pt x="133" y="140"/>
                    <a:pt x="133" y="140"/>
                    <a:pt x="133" y="140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7" y="14"/>
                    <a:pt x="237" y="7"/>
                    <a:pt x="232" y="3"/>
                  </a:cubicBezTo>
                  <a:cubicBezTo>
                    <a:pt x="228" y="0"/>
                    <a:pt x="221" y="0"/>
                    <a:pt x="217" y="5"/>
                  </a:cubicBezTo>
                  <a:cubicBezTo>
                    <a:pt x="119" y="123"/>
                    <a:pt x="119" y="123"/>
                    <a:pt x="119" y="12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1" y="7"/>
                    <a:pt x="0" y="14"/>
                    <a:pt x="4" y="18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2" y="140"/>
                    <a:pt x="12" y="140"/>
                    <a:pt x="12" y="140"/>
                  </a:cubicBezTo>
                  <a:cubicBezTo>
                    <a:pt x="6" y="140"/>
                    <a:pt x="1" y="144"/>
                    <a:pt x="1" y="150"/>
                  </a:cubicBezTo>
                  <a:cubicBezTo>
                    <a:pt x="1" y="156"/>
                    <a:pt x="6" y="161"/>
                    <a:pt x="12" y="161"/>
                  </a:cubicBezTo>
                  <a:cubicBezTo>
                    <a:pt x="108" y="161"/>
                    <a:pt x="108" y="161"/>
                    <a:pt x="108" y="161"/>
                  </a:cubicBezTo>
                  <a:cubicBezTo>
                    <a:pt x="108" y="289"/>
                    <a:pt x="108" y="289"/>
                    <a:pt x="108" y="289"/>
                  </a:cubicBezTo>
                  <a:cubicBezTo>
                    <a:pt x="108" y="295"/>
                    <a:pt x="113" y="300"/>
                    <a:pt x="119" y="300"/>
                  </a:cubicBezTo>
                  <a:cubicBezTo>
                    <a:pt x="125" y="300"/>
                    <a:pt x="129" y="295"/>
                    <a:pt x="129" y="289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225" y="161"/>
                    <a:pt x="225" y="161"/>
                    <a:pt x="225" y="161"/>
                  </a:cubicBezTo>
                  <a:cubicBezTo>
                    <a:pt x="231" y="161"/>
                    <a:pt x="236" y="156"/>
                    <a:pt x="236" y="150"/>
                  </a:cubicBezTo>
                  <a:cubicBezTo>
                    <a:pt x="236" y="144"/>
                    <a:pt x="231" y="140"/>
                    <a:pt x="225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270"/>
            <p:cNvSpPr>
              <a:spLocks noEditPoints="1"/>
            </p:cNvSpPr>
            <p:nvPr/>
          </p:nvSpPr>
          <p:spPr bwMode="auto">
            <a:xfrm>
              <a:off x="418" y="343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76" name="Group 345"/>
          <p:cNvGrpSpPr>
            <a:grpSpLocks noChangeAspect="1"/>
          </p:cNvGrpSpPr>
          <p:nvPr/>
        </p:nvGrpSpPr>
        <p:grpSpPr bwMode="auto">
          <a:xfrm>
            <a:off x="4929936" y="2051054"/>
            <a:ext cx="369021" cy="369021"/>
            <a:chOff x="3451" y="1171"/>
            <a:chExt cx="340" cy="340"/>
          </a:xfrm>
          <a:solidFill>
            <a:schemeClr val="accent4"/>
          </a:solidFill>
        </p:grpSpPr>
        <p:sp>
          <p:nvSpPr>
            <p:cNvPr id="277" name="Freeform 346"/>
            <p:cNvSpPr>
              <a:spLocks noEditPoints="1"/>
            </p:cNvSpPr>
            <p:nvPr/>
          </p:nvSpPr>
          <p:spPr bwMode="auto">
            <a:xfrm>
              <a:off x="3515" y="1241"/>
              <a:ext cx="212" cy="192"/>
            </a:xfrm>
            <a:custGeom>
              <a:avLst/>
              <a:gdLst>
                <a:gd name="T0" fmla="*/ 224 w 320"/>
                <a:gd name="T1" fmla="*/ 288 h 288"/>
                <a:gd name="T2" fmla="*/ 170 w 320"/>
                <a:gd name="T3" fmla="*/ 288 h 288"/>
                <a:gd name="T4" fmla="*/ 160 w 320"/>
                <a:gd name="T5" fmla="*/ 278 h 288"/>
                <a:gd name="T6" fmla="*/ 160 w 320"/>
                <a:gd name="T7" fmla="*/ 267 h 288"/>
                <a:gd name="T8" fmla="*/ 138 w 320"/>
                <a:gd name="T9" fmla="*/ 267 h 288"/>
                <a:gd name="T10" fmla="*/ 138 w 320"/>
                <a:gd name="T11" fmla="*/ 278 h 288"/>
                <a:gd name="T12" fmla="*/ 128 w 320"/>
                <a:gd name="T13" fmla="*/ 288 h 288"/>
                <a:gd name="T14" fmla="*/ 74 w 320"/>
                <a:gd name="T15" fmla="*/ 288 h 288"/>
                <a:gd name="T16" fmla="*/ 64 w 320"/>
                <a:gd name="T17" fmla="*/ 278 h 288"/>
                <a:gd name="T18" fmla="*/ 27 w 320"/>
                <a:gd name="T19" fmla="*/ 235 h 288"/>
                <a:gd name="T20" fmla="*/ 18 w 320"/>
                <a:gd name="T21" fmla="*/ 230 h 288"/>
                <a:gd name="T22" fmla="*/ 0 w 320"/>
                <a:gd name="T23" fmla="*/ 160 h 288"/>
                <a:gd name="T24" fmla="*/ 138 w 320"/>
                <a:gd name="T25" fmla="*/ 22 h 288"/>
                <a:gd name="T26" fmla="*/ 198 w 320"/>
                <a:gd name="T27" fmla="*/ 30 h 288"/>
                <a:gd name="T28" fmla="*/ 255 w 320"/>
                <a:gd name="T29" fmla="*/ 0 h 288"/>
                <a:gd name="T30" fmla="*/ 264 w 320"/>
                <a:gd name="T31" fmla="*/ 4 h 288"/>
                <a:gd name="T32" fmla="*/ 266 w 320"/>
                <a:gd name="T33" fmla="*/ 14 h 288"/>
                <a:gd name="T34" fmla="*/ 257 w 320"/>
                <a:gd name="T35" fmla="*/ 49 h 288"/>
                <a:gd name="T36" fmla="*/ 294 w 320"/>
                <a:gd name="T37" fmla="*/ 96 h 288"/>
                <a:gd name="T38" fmla="*/ 309 w 320"/>
                <a:gd name="T39" fmla="*/ 96 h 288"/>
                <a:gd name="T40" fmla="*/ 320 w 320"/>
                <a:gd name="T41" fmla="*/ 107 h 288"/>
                <a:gd name="T42" fmla="*/ 320 w 320"/>
                <a:gd name="T43" fmla="*/ 171 h 288"/>
                <a:gd name="T44" fmla="*/ 309 w 320"/>
                <a:gd name="T45" fmla="*/ 182 h 288"/>
                <a:gd name="T46" fmla="*/ 275 w 320"/>
                <a:gd name="T47" fmla="*/ 182 h 288"/>
                <a:gd name="T48" fmla="*/ 234 w 320"/>
                <a:gd name="T49" fmla="*/ 259 h 288"/>
                <a:gd name="T50" fmla="*/ 234 w 320"/>
                <a:gd name="T51" fmla="*/ 278 h 288"/>
                <a:gd name="T52" fmla="*/ 224 w 320"/>
                <a:gd name="T53" fmla="*/ 288 h 288"/>
                <a:gd name="T54" fmla="*/ 181 w 320"/>
                <a:gd name="T55" fmla="*/ 267 h 288"/>
                <a:gd name="T56" fmla="*/ 213 w 320"/>
                <a:gd name="T57" fmla="*/ 267 h 288"/>
                <a:gd name="T58" fmla="*/ 213 w 320"/>
                <a:gd name="T59" fmla="*/ 255 h 288"/>
                <a:gd name="T60" fmla="*/ 216 w 320"/>
                <a:gd name="T61" fmla="*/ 248 h 288"/>
                <a:gd name="T62" fmla="*/ 255 w 320"/>
                <a:gd name="T63" fmla="*/ 170 h 288"/>
                <a:gd name="T64" fmla="*/ 266 w 320"/>
                <a:gd name="T65" fmla="*/ 160 h 288"/>
                <a:gd name="T66" fmla="*/ 298 w 320"/>
                <a:gd name="T67" fmla="*/ 160 h 288"/>
                <a:gd name="T68" fmla="*/ 298 w 320"/>
                <a:gd name="T69" fmla="*/ 118 h 288"/>
                <a:gd name="T70" fmla="*/ 288 w 320"/>
                <a:gd name="T71" fmla="*/ 118 h 288"/>
                <a:gd name="T72" fmla="*/ 278 w 320"/>
                <a:gd name="T73" fmla="*/ 112 h 288"/>
                <a:gd name="T74" fmla="*/ 240 w 320"/>
                <a:gd name="T75" fmla="*/ 63 h 288"/>
                <a:gd name="T76" fmla="*/ 235 w 320"/>
                <a:gd name="T77" fmla="*/ 51 h 288"/>
                <a:gd name="T78" fmla="*/ 241 w 320"/>
                <a:gd name="T79" fmla="*/ 25 h 288"/>
                <a:gd name="T80" fmla="*/ 212 w 320"/>
                <a:gd name="T81" fmla="*/ 48 h 288"/>
                <a:gd name="T82" fmla="*/ 199 w 320"/>
                <a:gd name="T83" fmla="*/ 53 h 288"/>
                <a:gd name="T84" fmla="*/ 138 w 320"/>
                <a:gd name="T85" fmla="*/ 43 h 288"/>
                <a:gd name="T86" fmla="*/ 21 w 320"/>
                <a:gd name="T87" fmla="*/ 160 h 288"/>
                <a:gd name="T88" fmla="*/ 34 w 320"/>
                <a:gd name="T89" fmla="*/ 214 h 288"/>
                <a:gd name="T90" fmla="*/ 84 w 320"/>
                <a:gd name="T91" fmla="*/ 267 h 288"/>
                <a:gd name="T92" fmla="*/ 117 w 320"/>
                <a:gd name="T93" fmla="*/ 267 h 288"/>
                <a:gd name="T94" fmla="*/ 117 w 320"/>
                <a:gd name="T95" fmla="*/ 256 h 288"/>
                <a:gd name="T96" fmla="*/ 128 w 320"/>
                <a:gd name="T97" fmla="*/ 246 h 288"/>
                <a:gd name="T98" fmla="*/ 170 w 320"/>
                <a:gd name="T99" fmla="*/ 246 h 288"/>
                <a:gd name="T100" fmla="*/ 181 w 320"/>
                <a:gd name="T101" fmla="*/ 256 h 288"/>
                <a:gd name="T102" fmla="*/ 181 w 320"/>
                <a:gd name="T103" fmla="*/ 267 h 288"/>
                <a:gd name="T104" fmla="*/ 82 w 320"/>
                <a:gd name="T105" fmla="*/ 104 h 288"/>
                <a:gd name="T106" fmla="*/ 130 w 320"/>
                <a:gd name="T107" fmla="*/ 79 h 288"/>
                <a:gd name="T108" fmla="*/ 138 w 320"/>
                <a:gd name="T109" fmla="*/ 66 h 288"/>
                <a:gd name="T110" fmla="*/ 125 w 320"/>
                <a:gd name="T111" fmla="*/ 58 h 288"/>
                <a:gd name="T112" fmla="*/ 68 w 320"/>
                <a:gd name="T113" fmla="*/ 88 h 288"/>
                <a:gd name="T114" fmla="*/ 67 w 320"/>
                <a:gd name="T115" fmla="*/ 103 h 288"/>
                <a:gd name="T116" fmla="*/ 75 w 320"/>
                <a:gd name="T117" fmla="*/ 107 h 288"/>
                <a:gd name="T118" fmla="*/ 82 w 320"/>
                <a:gd name="T119" fmla="*/ 10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0" h="288">
                  <a:moveTo>
                    <a:pt x="224" y="288"/>
                  </a:moveTo>
                  <a:cubicBezTo>
                    <a:pt x="170" y="288"/>
                    <a:pt x="170" y="288"/>
                    <a:pt x="170" y="288"/>
                  </a:cubicBezTo>
                  <a:cubicBezTo>
                    <a:pt x="164" y="288"/>
                    <a:pt x="160" y="284"/>
                    <a:pt x="160" y="278"/>
                  </a:cubicBezTo>
                  <a:cubicBezTo>
                    <a:pt x="160" y="267"/>
                    <a:pt x="160" y="267"/>
                    <a:pt x="160" y="267"/>
                  </a:cubicBezTo>
                  <a:cubicBezTo>
                    <a:pt x="138" y="267"/>
                    <a:pt x="138" y="267"/>
                    <a:pt x="138" y="267"/>
                  </a:cubicBezTo>
                  <a:cubicBezTo>
                    <a:pt x="138" y="278"/>
                    <a:pt x="138" y="278"/>
                    <a:pt x="138" y="278"/>
                  </a:cubicBezTo>
                  <a:cubicBezTo>
                    <a:pt x="138" y="284"/>
                    <a:pt x="134" y="288"/>
                    <a:pt x="128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68" y="288"/>
                    <a:pt x="64" y="284"/>
                    <a:pt x="64" y="278"/>
                  </a:cubicBezTo>
                  <a:cubicBezTo>
                    <a:pt x="64" y="237"/>
                    <a:pt x="29" y="235"/>
                    <a:pt x="27" y="235"/>
                  </a:cubicBezTo>
                  <a:cubicBezTo>
                    <a:pt x="23" y="235"/>
                    <a:pt x="20" y="233"/>
                    <a:pt x="18" y="230"/>
                  </a:cubicBezTo>
                  <a:cubicBezTo>
                    <a:pt x="6" y="209"/>
                    <a:pt x="0" y="185"/>
                    <a:pt x="0" y="160"/>
                  </a:cubicBezTo>
                  <a:cubicBezTo>
                    <a:pt x="0" y="84"/>
                    <a:pt x="62" y="22"/>
                    <a:pt x="138" y="22"/>
                  </a:cubicBezTo>
                  <a:cubicBezTo>
                    <a:pt x="160" y="22"/>
                    <a:pt x="179" y="24"/>
                    <a:pt x="198" y="30"/>
                  </a:cubicBezTo>
                  <a:cubicBezTo>
                    <a:pt x="217" y="3"/>
                    <a:pt x="253" y="0"/>
                    <a:pt x="255" y="0"/>
                  </a:cubicBezTo>
                  <a:cubicBezTo>
                    <a:pt x="259" y="0"/>
                    <a:pt x="262" y="2"/>
                    <a:pt x="264" y="4"/>
                  </a:cubicBezTo>
                  <a:cubicBezTo>
                    <a:pt x="266" y="7"/>
                    <a:pt x="267" y="10"/>
                    <a:pt x="266" y="14"/>
                  </a:cubicBezTo>
                  <a:cubicBezTo>
                    <a:pt x="257" y="49"/>
                    <a:pt x="257" y="49"/>
                    <a:pt x="257" y="49"/>
                  </a:cubicBezTo>
                  <a:cubicBezTo>
                    <a:pt x="275" y="63"/>
                    <a:pt x="288" y="85"/>
                    <a:pt x="294" y="96"/>
                  </a:cubicBezTo>
                  <a:cubicBezTo>
                    <a:pt x="309" y="96"/>
                    <a:pt x="309" y="96"/>
                    <a:pt x="309" y="96"/>
                  </a:cubicBezTo>
                  <a:cubicBezTo>
                    <a:pt x="315" y="96"/>
                    <a:pt x="320" y="101"/>
                    <a:pt x="320" y="107"/>
                  </a:cubicBezTo>
                  <a:cubicBezTo>
                    <a:pt x="320" y="171"/>
                    <a:pt x="320" y="171"/>
                    <a:pt x="320" y="171"/>
                  </a:cubicBezTo>
                  <a:cubicBezTo>
                    <a:pt x="320" y="177"/>
                    <a:pt x="315" y="182"/>
                    <a:pt x="309" y="182"/>
                  </a:cubicBezTo>
                  <a:cubicBezTo>
                    <a:pt x="275" y="182"/>
                    <a:pt x="275" y="182"/>
                    <a:pt x="275" y="182"/>
                  </a:cubicBezTo>
                  <a:cubicBezTo>
                    <a:pt x="269" y="217"/>
                    <a:pt x="249" y="244"/>
                    <a:pt x="234" y="259"/>
                  </a:cubicBezTo>
                  <a:cubicBezTo>
                    <a:pt x="234" y="278"/>
                    <a:pt x="234" y="278"/>
                    <a:pt x="234" y="278"/>
                  </a:cubicBezTo>
                  <a:cubicBezTo>
                    <a:pt x="234" y="284"/>
                    <a:pt x="230" y="288"/>
                    <a:pt x="224" y="288"/>
                  </a:cubicBezTo>
                  <a:close/>
                  <a:moveTo>
                    <a:pt x="181" y="267"/>
                  </a:moveTo>
                  <a:cubicBezTo>
                    <a:pt x="213" y="267"/>
                    <a:pt x="213" y="267"/>
                    <a:pt x="213" y="267"/>
                  </a:cubicBezTo>
                  <a:cubicBezTo>
                    <a:pt x="213" y="255"/>
                    <a:pt x="213" y="255"/>
                    <a:pt x="213" y="255"/>
                  </a:cubicBezTo>
                  <a:cubicBezTo>
                    <a:pt x="213" y="252"/>
                    <a:pt x="214" y="250"/>
                    <a:pt x="216" y="248"/>
                  </a:cubicBezTo>
                  <a:cubicBezTo>
                    <a:pt x="239" y="225"/>
                    <a:pt x="253" y="197"/>
                    <a:pt x="255" y="170"/>
                  </a:cubicBezTo>
                  <a:cubicBezTo>
                    <a:pt x="256" y="165"/>
                    <a:pt x="260" y="160"/>
                    <a:pt x="266" y="160"/>
                  </a:cubicBezTo>
                  <a:cubicBezTo>
                    <a:pt x="298" y="160"/>
                    <a:pt x="298" y="160"/>
                    <a:pt x="298" y="160"/>
                  </a:cubicBezTo>
                  <a:cubicBezTo>
                    <a:pt x="298" y="118"/>
                    <a:pt x="298" y="118"/>
                    <a:pt x="298" y="118"/>
                  </a:cubicBezTo>
                  <a:cubicBezTo>
                    <a:pt x="288" y="118"/>
                    <a:pt x="288" y="118"/>
                    <a:pt x="288" y="118"/>
                  </a:cubicBezTo>
                  <a:cubicBezTo>
                    <a:pt x="284" y="118"/>
                    <a:pt x="280" y="115"/>
                    <a:pt x="278" y="112"/>
                  </a:cubicBezTo>
                  <a:cubicBezTo>
                    <a:pt x="278" y="111"/>
                    <a:pt x="261" y="76"/>
                    <a:pt x="240" y="63"/>
                  </a:cubicBezTo>
                  <a:cubicBezTo>
                    <a:pt x="236" y="60"/>
                    <a:pt x="234" y="56"/>
                    <a:pt x="235" y="51"/>
                  </a:cubicBezTo>
                  <a:cubicBezTo>
                    <a:pt x="241" y="25"/>
                    <a:pt x="241" y="25"/>
                    <a:pt x="241" y="25"/>
                  </a:cubicBezTo>
                  <a:cubicBezTo>
                    <a:pt x="231" y="28"/>
                    <a:pt x="218" y="35"/>
                    <a:pt x="212" y="48"/>
                  </a:cubicBezTo>
                  <a:cubicBezTo>
                    <a:pt x="210" y="53"/>
                    <a:pt x="204" y="55"/>
                    <a:pt x="199" y="53"/>
                  </a:cubicBezTo>
                  <a:cubicBezTo>
                    <a:pt x="180" y="46"/>
                    <a:pt x="161" y="43"/>
                    <a:pt x="138" y="43"/>
                  </a:cubicBezTo>
                  <a:cubicBezTo>
                    <a:pt x="74" y="43"/>
                    <a:pt x="21" y="96"/>
                    <a:pt x="21" y="160"/>
                  </a:cubicBezTo>
                  <a:cubicBezTo>
                    <a:pt x="21" y="179"/>
                    <a:pt x="26" y="198"/>
                    <a:pt x="34" y="214"/>
                  </a:cubicBezTo>
                  <a:cubicBezTo>
                    <a:pt x="53" y="217"/>
                    <a:pt x="80" y="231"/>
                    <a:pt x="84" y="267"/>
                  </a:cubicBezTo>
                  <a:cubicBezTo>
                    <a:pt x="117" y="267"/>
                    <a:pt x="117" y="267"/>
                    <a:pt x="117" y="267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0"/>
                    <a:pt x="122" y="246"/>
                    <a:pt x="128" y="246"/>
                  </a:cubicBezTo>
                  <a:cubicBezTo>
                    <a:pt x="170" y="246"/>
                    <a:pt x="170" y="246"/>
                    <a:pt x="170" y="246"/>
                  </a:cubicBezTo>
                  <a:cubicBezTo>
                    <a:pt x="176" y="246"/>
                    <a:pt x="181" y="250"/>
                    <a:pt x="181" y="256"/>
                  </a:cubicBezTo>
                  <a:lnTo>
                    <a:pt x="181" y="267"/>
                  </a:lnTo>
                  <a:close/>
                  <a:moveTo>
                    <a:pt x="82" y="104"/>
                  </a:moveTo>
                  <a:cubicBezTo>
                    <a:pt x="96" y="92"/>
                    <a:pt x="113" y="83"/>
                    <a:pt x="130" y="79"/>
                  </a:cubicBezTo>
                  <a:cubicBezTo>
                    <a:pt x="136" y="77"/>
                    <a:pt x="139" y="71"/>
                    <a:pt x="138" y="66"/>
                  </a:cubicBezTo>
                  <a:cubicBezTo>
                    <a:pt x="137" y="60"/>
                    <a:pt x="131" y="57"/>
                    <a:pt x="125" y="58"/>
                  </a:cubicBezTo>
                  <a:cubicBezTo>
                    <a:pt x="104" y="63"/>
                    <a:pt x="84" y="74"/>
                    <a:pt x="68" y="88"/>
                  </a:cubicBezTo>
                  <a:cubicBezTo>
                    <a:pt x="64" y="92"/>
                    <a:pt x="63" y="99"/>
                    <a:pt x="67" y="103"/>
                  </a:cubicBezTo>
                  <a:cubicBezTo>
                    <a:pt x="69" y="106"/>
                    <a:pt x="72" y="107"/>
                    <a:pt x="75" y="107"/>
                  </a:cubicBezTo>
                  <a:cubicBezTo>
                    <a:pt x="78" y="107"/>
                    <a:pt x="80" y="106"/>
                    <a:pt x="82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347"/>
            <p:cNvSpPr>
              <a:spLocks noEditPoints="1"/>
            </p:cNvSpPr>
            <p:nvPr/>
          </p:nvSpPr>
          <p:spPr bwMode="auto">
            <a:xfrm>
              <a:off x="3451" y="11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9" name="Freeform 351"/>
          <p:cNvSpPr>
            <a:spLocks noChangeAspect="1" noEditPoints="1"/>
          </p:cNvSpPr>
          <p:nvPr/>
        </p:nvSpPr>
        <p:spPr bwMode="auto">
          <a:xfrm>
            <a:off x="4432014" y="2051054"/>
            <a:ext cx="369021" cy="369021"/>
          </a:xfrm>
          <a:custGeom>
            <a:avLst/>
            <a:gdLst>
              <a:gd name="T0" fmla="*/ 336 w 512"/>
              <a:gd name="T1" fmla="*/ 169 h 512"/>
              <a:gd name="T2" fmla="*/ 337 w 512"/>
              <a:gd name="T3" fmla="*/ 131 h 512"/>
              <a:gd name="T4" fmla="*/ 295 w 512"/>
              <a:gd name="T5" fmla="*/ 159 h 512"/>
              <a:gd name="T6" fmla="*/ 117 w 512"/>
              <a:gd name="T7" fmla="*/ 266 h 512"/>
              <a:gd name="T8" fmla="*/ 180 w 512"/>
              <a:gd name="T9" fmla="*/ 373 h 512"/>
              <a:gd name="T10" fmla="*/ 213 w 512"/>
              <a:gd name="T11" fmla="*/ 362 h 512"/>
              <a:gd name="T12" fmla="*/ 266 w 512"/>
              <a:gd name="T13" fmla="*/ 352 h 512"/>
              <a:gd name="T14" fmla="*/ 277 w 512"/>
              <a:gd name="T15" fmla="*/ 373 h 512"/>
              <a:gd name="T16" fmla="*/ 309 w 512"/>
              <a:gd name="T17" fmla="*/ 361 h 512"/>
              <a:gd name="T18" fmla="*/ 351 w 512"/>
              <a:gd name="T19" fmla="*/ 276 h 512"/>
              <a:gd name="T20" fmla="*/ 394 w 512"/>
              <a:gd name="T21" fmla="*/ 266 h 512"/>
              <a:gd name="T22" fmla="*/ 384 w 512"/>
              <a:gd name="T23" fmla="*/ 224 h 512"/>
              <a:gd name="T24" fmla="*/ 226 w 512"/>
              <a:gd name="T25" fmla="*/ 185 h 512"/>
              <a:gd name="T26" fmla="*/ 171 w 512"/>
              <a:gd name="T27" fmla="*/ 213 h 512"/>
              <a:gd name="T28" fmla="*/ 164 w 512"/>
              <a:gd name="T29" fmla="*/ 194 h 512"/>
              <a:gd name="T30" fmla="*/ 234 w 512"/>
              <a:gd name="T31" fmla="*/ 17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405 w 512"/>
              <a:gd name="T39" fmla="*/ 288 h 512"/>
              <a:gd name="T40" fmla="*/ 330 w 512"/>
              <a:gd name="T41" fmla="*/ 365 h 512"/>
              <a:gd name="T42" fmla="*/ 320 w 512"/>
              <a:gd name="T43" fmla="*/ 394 h 512"/>
              <a:gd name="T44" fmla="*/ 256 w 512"/>
              <a:gd name="T45" fmla="*/ 384 h 512"/>
              <a:gd name="T46" fmla="*/ 234 w 512"/>
              <a:gd name="T47" fmla="*/ 373 h 512"/>
              <a:gd name="T48" fmla="*/ 224 w 512"/>
              <a:gd name="T49" fmla="*/ 394 h 512"/>
              <a:gd name="T50" fmla="*/ 160 w 512"/>
              <a:gd name="T51" fmla="*/ 384 h 512"/>
              <a:gd name="T52" fmla="*/ 114 w 512"/>
              <a:gd name="T53" fmla="*/ 336 h 512"/>
              <a:gd name="T54" fmla="*/ 234 w 512"/>
              <a:gd name="T55" fmla="*/ 128 h 512"/>
              <a:gd name="T56" fmla="*/ 351 w 512"/>
              <a:gd name="T57" fmla="*/ 106 h 512"/>
              <a:gd name="T58" fmla="*/ 362 w 512"/>
              <a:gd name="T59" fmla="*/ 120 h 512"/>
              <a:gd name="T60" fmla="*/ 390 w 512"/>
              <a:gd name="T61" fmla="*/ 202 h 512"/>
              <a:gd name="T62" fmla="*/ 416 w 512"/>
              <a:gd name="T63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374" y="218"/>
                </a:moveTo>
                <a:cubicBezTo>
                  <a:pt x="374" y="217"/>
                  <a:pt x="357" y="182"/>
                  <a:pt x="336" y="169"/>
                </a:cubicBezTo>
                <a:cubicBezTo>
                  <a:pt x="332" y="166"/>
                  <a:pt x="330" y="162"/>
                  <a:pt x="331" y="157"/>
                </a:cubicBezTo>
                <a:cubicBezTo>
                  <a:pt x="337" y="131"/>
                  <a:pt x="337" y="131"/>
                  <a:pt x="337" y="131"/>
                </a:cubicBezTo>
                <a:cubicBezTo>
                  <a:pt x="327" y="134"/>
                  <a:pt x="314" y="141"/>
                  <a:pt x="308" y="154"/>
                </a:cubicBezTo>
                <a:cubicBezTo>
                  <a:pt x="306" y="159"/>
                  <a:pt x="300" y="161"/>
                  <a:pt x="295" y="159"/>
                </a:cubicBezTo>
                <a:cubicBezTo>
                  <a:pt x="276" y="152"/>
                  <a:pt x="257" y="149"/>
                  <a:pt x="234" y="149"/>
                </a:cubicBezTo>
                <a:cubicBezTo>
                  <a:pt x="170" y="149"/>
                  <a:pt x="117" y="202"/>
                  <a:pt x="117" y="266"/>
                </a:cubicBezTo>
                <a:cubicBezTo>
                  <a:pt x="117" y="285"/>
                  <a:pt x="122" y="304"/>
                  <a:pt x="130" y="320"/>
                </a:cubicBezTo>
                <a:cubicBezTo>
                  <a:pt x="149" y="323"/>
                  <a:pt x="176" y="337"/>
                  <a:pt x="180" y="373"/>
                </a:cubicBezTo>
                <a:cubicBezTo>
                  <a:pt x="213" y="373"/>
                  <a:pt x="213" y="373"/>
                  <a:pt x="213" y="373"/>
                </a:cubicBezTo>
                <a:cubicBezTo>
                  <a:pt x="213" y="362"/>
                  <a:pt x="213" y="362"/>
                  <a:pt x="213" y="362"/>
                </a:cubicBezTo>
                <a:cubicBezTo>
                  <a:pt x="213" y="356"/>
                  <a:pt x="218" y="352"/>
                  <a:pt x="224" y="352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72" y="352"/>
                  <a:pt x="277" y="356"/>
                  <a:pt x="277" y="362"/>
                </a:cubicBezTo>
                <a:cubicBezTo>
                  <a:pt x="277" y="373"/>
                  <a:pt x="277" y="373"/>
                  <a:pt x="277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9" y="361"/>
                  <a:pt x="309" y="361"/>
                  <a:pt x="309" y="361"/>
                </a:cubicBezTo>
                <a:cubicBezTo>
                  <a:pt x="309" y="358"/>
                  <a:pt x="310" y="356"/>
                  <a:pt x="312" y="354"/>
                </a:cubicBezTo>
                <a:cubicBezTo>
                  <a:pt x="335" y="331"/>
                  <a:pt x="349" y="303"/>
                  <a:pt x="351" y="276"/>
                </a:cubicBezTo>
                <a:cubicBezTo>
                  <a:pt x="352" y="271"/>
                  <a:pt x="356" y="266"/>
                  <a:pt x="362" y="266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384" y="224"/>
                  <a:pt x="384" y="224"/>
                  <a:pt x="384" y="224"/>
                </a:cubicBezTo>
                <a:cubicBezTo>
                  <a:pt x="380" y="224"/>
                  <a:pt x="376" y="221"/>
                  <a:pt x="374" y="218"/>
                </a:cubicBezTo>
                <a:close/>
                <a:moveTo>
                  <a:pt x="226" y="185"/>
                </a:moveTo>
                <a:cubicBezTo>
                  <a:pt x="209" y="189"/>
                  <a:pt x="192" y="198"/>
                  <a:pt x="178" y="210"/>
                </a:cubicBezTo>
                <a:cubicBezTo>
                  <a:pt x="176" y="212"/>
                  <a:pt x="174" y="213"/>
                  <a:pt x="171" y="213"/>
                </a:cubicBezTo>
                <a:cubicBezTo>
                  <a:pt x="168" y="213"/>
                  <a:pt x="165" y="212"/>
                  <a:pt x="163" y="209"/>
                </a:cubicBezTo>
                <a:cubicBezTo>
                  <a:pt x="159" y="205"/>
                  <a:pt x="160" y="198"/>
                  <a:pt x="164" y="194"/>
                </a:cubicBezTo>
                <a:cubicBezTo>
                  <a:pt x="180" y="180"/>
                  <a:pt x="200" y="169"/>
                  <a:pt x="221" y="164"/>
                </a:cubicBezTo>
                <a:cubicBezTo>
                  <a:pt x="227" y="163"/>
                  <a:pt x="233" y="166"/>
                  <a:pt x="234" y="172"/>
                </a:cubicBezTo>
                <a:cubicBezTo>
                  <a:pt x="235" y="177"/>
                  <a:pt x="232" y="183"/>
                  <a:pt x="226" y="185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77"/>
                </a:moveTo>
                <a:cubicBezTo>
                  <a:pt x="416" y="283"/>
                  <a:pt x="411" y="288"/>
                  <a:pt x="405" y="288"/>
                </a:cubicBezTo>
                <a:cubicBezTo>
                  <a:pt x="371" y="288"/>
                  <a:pt x="371" y="288"/>
                  <a:pt x="371" y="288"/>
                </a:cubicBezTo>
                <a:cubicBezTo>
                  <a:pt x="365" y="323"/>
                  <a:pt x="345" y="350"/>
                  <a:pt x="330" y="365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26" y="394"/>
                  <a:pt x="320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0" y="394"/>
                  <a:pt x="256" y="390"/>
                  <a:pt x="256" y="384"/>
                </a:cubicBezTo>
                <a:cubicBezTo>
                  <a:pt x="256" y="373"/>
                  <a:pt x="256" y="373"/>
                  <a:pt x="256" y="373"/>
                </a:cubicBezTo>
                <a:cubicBezTo>
                  <a:pt x="234" y="373"/>
                  <a:pt x="234" y="373"/>
                  <a:pt x="234" y="373"/>
                </a:cubicBezTo>
                <a:cubicBezTo>
                  <a:pt x="234" y="384"/>
                  <a:pt x="234" y="384"/>
                  <a:pt x="234" y="384"/>
                </a:cubicBezTo>
                <a:cubicBezTo>
                  <a:pt x="234" y="390"/>
                  <a:pt x="230" y="394"/>
                  <a:pt x="224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43"/>
                  <a:pt x="125" y="341"/>
                  <a:pt x="123" y="341"/>
                </a:cubicBezTo>
                <a:cubicBezTo>
                  <a:pt x="119" y="341"/>
                  <a:pt x="116" y="339"/>
                  <a:pt x="114" y="336"/>
                </a:cubicBezTo>
                <a:cubicBezTo>
                  <a:pt x="102" y="315"/>
                  <a:pt x="96" y="291"/>
                  <a:pt x="96" y="266"/>
                </a:cubicBezTo>
                <a:cubicBezTo>
                  <a:pt x="96" y="190"/>
                  <a:pt x="158" y="128"/>
                  <a:pt x="234" y="128"/>
                </a:cubicBezTo>
                <a:cubicBezTo>
                  <a:pt x="256" y="128"/>
                  <a:pt x="275" y="130"/>
                  <a:pt x="294" y="136"/>
                </a:cubicBezTo>
                <a:cubicBezTo>
                  <a:pt x="313" y="109"/>
                  <a:pt x="349" y="106"/>
                  <a:pt x="351" y="106"/>
                </a:cubicBezTo>
                <a:cubicBezTo>
                  <a:pt x="355" y="106"/>
                  <a:pt x="358" y="108"/>
                  <a:pt x="360" y="110"/>
                </a:cubicBezTo>
                <a:cubicBezTo>
                  <a:pt x="362" y="113"/>
                  <a:pt x="363" y="116"/>
                  <a:pt x="362" y="120"/>
                </a:cubicBezTo>
                <a:cubicBezTo>
                  <a:pt x="353" y="155"/>
                  <a:pt x="353" y="155"/>
                  <a:pt x="353" y="155"/>
                </a:cubicBezTo>
                <a:cubicBezTo>
                  <a:pt x="371" y="169"/>
                  <a:pt x="384" y="191"/>
                  <a:pt x="390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lnTo>
                  <a:pt x="416" y="27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6" name="Group 374"/>
          <p:cNvGrpSpPr>
            <a:grpSpLocks noChangeAspect="1"/>
          </p:cNvGrpSpPr>
          <p:nvPr/>
        </p:nvGrpSpPr>
        <p:grpSpPr bwMode="auto">
          <a:xfrm>
            <a:off x="5427858" y="2051054"/>
            <a:ext cx="367631" cy="367631"/>
            <a:chOff x="6996" y="1195"/>
            <a:chExt cx="340" cy="340"/>
          </a:xfrm>
          <a:solidFill>
            <a:schemeClr val="accent4"/>
          </a:solidFill>
        </p:grpSpPr>
        <p:sp>
          <p:nvSpPr>
            <p:cNvPr id="47" name="Freeform 375"/>
            <p:cNvSpPr>
              <a:spLocks/>
            </p:cNvSpPr>
            <p:nvPr/>
          </p:nvSpPr>
          <p:spPr bwMode="auto">
            <a:xfrm>
              <a:off x="7130" y="1287"/>
              <a:ext cx="29" cy="70"/>
            </a:xfrm>
            <a:custGeom>
              <a:avLst/>
              <a:gdLst>
                <a:gd name="T0" fmla="*/ 0 w 43"/>
                <a:gd name="T1" fmla="*/ 53 h 105"/>
                <a:gd name="T2" fmla="*/ 43 w 43"/>
                <a:gd name="T3" fmla="*/ 105 h 105"/>
                <a:gd name="T4" fmla="*/ 43 w 43"/>
                <a:gd name="T5" fmla="*/ 0 h 105"/>
                <a:gd name="T6" fmla="*/ 0 w 43"/>
                <a:gd name="T7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105">
                  <a:moveTo>
                    <a:pt x="0" y="53"/>
                  </a:moveTo>
                  <a:cubicBezTo>
                    <a:pt x="0" y="78"/>
                    <a:pt x="19" y="100"/>
                    <a:pt x="43" y="10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19" y="5"/>
                    <a:pt x="0" y="27"/>
                    <a:pt x="0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76"/>
            <p:cNvSpPr>
              <a:spLocks/>
            </p:cNvSpPr>
            <p:nvPr/>
          </p:nvSpPr>
          <p:spPr bwMode="auto">
            <a:xfrm>
              <a:off x="7173" y="1372"/>
              <a:ext cx="28" cy="70"/>
            </a:xfrm>
            <a:custGeom>
              <a:avLst/>
              <a:gdLst>
                <a:gd name="T0" fmla="*/ 0 w 43"/>
                <a:gd name="T1" fmla="*/ 0 h 105"/>
                <a:gd name="T2" fmla="*/ 0 w 43"/>
                <a:gd name="T3" fmla="*/ 105 h 105"/>
                <a:gd name="T4" fmla="*/ 43 w 43"/>
                <a:gd name="T5" fmla="*/ 53 h 105"/>
                <a:gd name="T6" fmla="*/ 0 w 43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105">
                  <a:moveTo>
                    <a:pt x="0" y="0"/>
                  </a:moveTo>
                  <a:cubicBezTo>
                    <a:pt x="0" y="105"/>
                    <a:pt x="0" y="105"/>
                    <a:pt x="0" y="105"/>
                  </a:cubicBezTo>
                  <a:cubicBezTo>
                    <a:pt x="25" y="100"/>
                    <a:pt x="43" y="78"/>
                    <a:pt x="43" y="53"/>
                  </a:cubicBezTo>
                  <a:cubicBezTo>
                    <a:pt x="43" y="27"/>
                    <a:pt x="25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77"/>
            <p:cNvSpPr>
              <a:spLocks noEditPoints="1"/>
            </p:cNvSpPr>
            <p:nvPr/>
          </p:nvSpPr>
          <p:spPr bwMode="auto">
            <a:xfrm>
              <a:off x="6996" y="119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66 w 512"/>
                <a:gd name="T11" fmla="*/ 393 h 512"/>
                <a:gd name="T12" fmla="*/ 266 w 512"/>
                <a:gd name="T13" fmla="*/ 416 h 512"/>
                <a:gd name="T14" fmla="*/ 256 w 512"/>
                <a:gd name="T15" fmla="*/ 426 h 512"/>
                <a:gd name="T16" fmla="*/ 245 w 512"/>
                <a:gd name="T17" fmla="*/ 416 h 512"/>
                <a:gd name="T18" fmla="*/ 245 w 512"/>
                <a:gd name="T19" fmla="*/ 393 h 512"/>
                <a:gd name="T20" fmla="*/ 185 w 512"/>
                <a:gd name="T21" fmla="*/ 345 h 512"/>
                <a:gd name="T22" fmla="*/ 192 w 512"/>
                <a:gd name="T23" fmla="*/ 331 h 512"/>
                <a:gd name="T24" fmla="*/ 205 w 512"/>
                <a:gd name="T25" fmla="*/ 337 h 512"/>
                <a:gd name="T26" fmla="*/ 245 w 512"/>
                <a:gd name="T27" fmla="*/ 372 h 512"/>
                <a:gd name="T28" fmla="*/ 245 w 512"/>
                <a:gd name="T29" fmla="*/ 265 h 512"/>
                <a:gd name="T30" fmla="*/ 181 w 512"/>
                <a:gd name="T31" fmla="*/ 192 h 512"/>
                <a:gd name="T32" fmla="*/ 245 w 512"/>
                <a:gd name="T33" fmla="*/ 118 h 512"/>
                <a:gd name="T34" fmla="*/ 245 w 512"/>
                <a:gd name="T35" fmla="*/ 106 h 512"/>
                <a:gd name="T36" fmla="*/ 256 w 512"/>
                <a:gd name="T37" fmla="*/ 96 h 512"/>
                <a:gd name="T38" fmla="*/ 266 w 512"/>
                <a:gd name="T39" fmla="*/ 106 h 512"/>
                <a:gd name="T40" fmla="*/ 266 w 512"/>
                <a:gd name="T41" fmla="*/ 118 h 512"/>
                <a:gd name="T42" fmla="*/ 320 w 512"/>
                <a:gd name="T43" fmla="*/ 154 h 512"/>
                <a:gd name="T44" fmla="*/ 316 w 512"/>
                <a:gd name="T45" fmla="*/ 169 h 512"/>
                <a:gd name="T46" fmla="*/ 302 w 512"/>
                <a:gd name="T47" fmla="*/ 165 h 512"/>
                <a:gd name="T48" fmla="*/ 266 w 512"/>
                <a:gd name="T49" fmla="*/ 140 h 512"/>
                <a:gd name="T50" fmla="*/ 266 w 512"/>
                <a:gd name="T51" fmla="*/ 246 h 512"/>
                <a:gd name="T52" fmla="*/ 330 w 512"/>
                <a:gd name="T53" fmla="*/ 320 h 512"/>
                <a:gd name="T54" fmla="*/ 266 w 512"/>
                <a:gd name="T55" fmla="*/ 39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66" y="393"/>
                  </a:moveTo>
                  <a:cubicBezTo>
                    <a:pt x="266" y="416"/>
                    <a:pt x="266" y="416"/>
                    <a:pt x="266" y="416"/>
                  </a:cubicBezTo>
                  <a:cubicBezTo>
                    <a:pt x="266" y="422"/>
                    <a:pt x="262" y="426"/>
                    <a:pt x="256" y="426"/>
                  </a:cubicBezTo>
                  <a:cubicBezTo>
                    <a:pt x="250" y="426"/>
                    <a:pt x="245" y="422"/>
                    <a:pt x="245" y="416"/>
                  </a:cubicBezTo>
                  <a:cubicBezTo>
                    <a:pt x="245" y="393"/>
                    <a:pt x="245" y="393"/>
                    <a:pt x="245" y="393"/>
                  </a:cubicBezTo>
                  <a:cubicBezTo>
                    <a:pt x="218" y="390"/>
                    <a:pt x="195" y="371"/>
                    <a:pt x="185" y="345"/>
                  </a:cubicBezTo>
                  <a:cubicBezTo>
                    <a:pt x="183" y="339"/>
                    <a:pt x="186" y="333"/>
                    <a:pt x="192" y="331"/>
                  </a:cubicBezTo>
                  <a:cubicBezTo>
                    <a:pt x="197" y="329"/>
                    <a:pt x="203" y="332"/>
                    <a:pt x="205" y="337"/>
                  </a:cubicBezTo>
                  <a:cubicBezTo>
                    <a:pt x="212" y="355"/>
                    <a:pt x="227" y="368"/>
                    <a:pt x="245" y="372"/>
                  </a:cubicBezTo>
                  <a:cubicBezTo>
                    <a:pt x="245" y="265"/>
                    <a:pt x="245" y="265"/>
                    <a:pt x="245" y="265"/>
                  </a:cubicBezTo>
                  <a:cubicBezTo>
                    <a:pt x="209" y="260"/>
                    <a:pt x="181" y="229"/>
                    <a:pt x="181" y="192"/>
                  </a:cubicBezTo>
                  <a:cubicBezTo>
                    <a:pt x="181" y="154"/>
                    <a:pt x="209" y="123"/>
                    <a:pt x="245" y="118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18"/>
                    <a:pt x="266" y="118"/>
                    <a:pt x="266" y="118"/>
                  </a:cubicBezTo>
                  <a:cubicBezTo>
                    <a:pt x="289" y="121"/>
                    <a:pt x="309" y="134"/>
                    <a:pt x="320" y="154"/>
                  </a:cubicBezTo>
                  <a:cubicBezTo>
                    <a:pt x="323" y="159"/>
                    <a:pt x="322" y="166"/>
                    <a:pt x="316" y="169"/>
                  </a:cubicBezTo>
                  <a:cubicBezTo>
                    <a:pt x="311" y="172"/>
                    <a:pt x="305" y="170"/>
                    <a:pt x="302" y="165"/>
                  </a:cubicBezTo>
                  <a:cubicBezTo>
                    <a:pt x="294" y="152"/>
                    <a:pt x="281" y="143"/>
                    <a:pt x="266" y="140"/>
                  </a:cubicBezTo>
                  <a:cubicBezTo>
                    <a:pt x="266" y="246"/>
                    <a:pt x="266" y="246"/>
                    <a:pt x="266" y="246"/>
                  </a:cubicBezTo>
                  <a:cubicBezTo>
                    <a:pt x="302" y="251"/>
                    <a:pt x="330" y="282"/>
                    <a:pt x="330" y="320"/>
                  </a:cubicBezTo>
                  <a:cubicBezTo>
                    <a:pt x="330" y="357"/>
                    <a:pt x="302" y="388"/>
                    <a:pt x="266" y="3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" name="Group 380"/>
          <p:cNvGrpSpPr>
            <a:grpSpLocks noChangeAspect="1"/>
          </p:cNvGrpSpPr>
          <p:nvPr/>
        </p:nvGrpSpPr>
        <p:grpSpPr bwMode="auto">
          <a:xfrm>
            <a:off x="5924390" y="2051054"/>
            <a:ext cx="367631" cy="367631"/>
            <a:chOff x="7362" y="1207"/>
            <a:chExt cx="340" cy="340"/>
          </a:xfrm>
          <a:solidFill>
            <a:schemeClr val="accent4"/>
          </a:solidFill>
        </p:grpSpPr>
        <p:sp>
          <p:nvSpPr>
            <p:cNvPr id="51" name="Freeform 381"/>
            <p:cNvSpPr>
              <a:spLocks noEditPoints="1"/>
            </p:cNvSpPr>
            <p:nvPr/>
          </p:nvSpPr>
          <p:spPr bwMode="auto">
            <a:xfrm>
              <a:off x="7482" y="1271"/>
              <a:ext cx="99" cy="219"/>
            </a:xfrm>
            <a:custGeom>
              <a:avLst/>
              <a:gdLst>
                <a:gd name="T0" fmla="*/ 149 w 149"/>
                <a:gd name="T1" fmla="*/ 224 h 330"/>
                <a:gd name="T2" fmla="*/ 85 w 149"/>
                <a:gd name="T3" fmla="*/ 150 h 330"/>
                <a:gd name="T4" fmla="*/ 85 w 149"/>
                <a:gd name="T5" fmla="*/ 44 h 330"/>
                <a:gd name="T6" fmla="*/ 121 w 149"/>
                <a:gd name="T7" fmla="*/ 69 h 330"/>
                <a:gd name="T8" fmla="*/ 135 w 149"/>
                <a:gd name="T9" fmla="*/ 73 h 330"/>
                <a:gd name="T10" fmla="*/ 139 w 149"/>
                <a:gd name="T11" fmla="*/ 58 h 330"/>
                <a:gd name="T12" fmla="*/ 85 w 149"/>
                <a:gd name="T13" fmla="*/ 22 h 330"/>
                <a:gd name="T14" fmla="*/ 85 w 149"/>
                <a:gd name="T15" fmla="*/ 10 h 330"/>
                <a:gd name="T16" fmla="*/ 75 w 149"/>
                <a:gd name="T17" fmla="*/ 0 h 330"/>
                <a:gd name="T18" fmla="*/ 64 w 149"/>
                <a:gd name="T19" fmla="*/ 10 h 330"/>
                <a:gd name="T20" fmla="*/ 64 w 149"/>
                <a:gd name="T21" fmla="*/ 22 h 330"/>
                <a:gd name="T22" fmla="*/ 0 w 149"/>
                <a:gd name="T23" fmla="*/ 96 h 330"/>
                <a:gd name="T24" fmla="*/ 64 w 149"/>
                <a:gd name="T25" fmla="*/ 169 h 330"/>
                <a:gd name="T26" fmla="*/ 64 w 149"/>
                <a:gd name="T27" fmla="*/ 276 h 330"/>
                <a:gd name="T28" fmla="*/ 24 w 149"/>
                <a:gd name="T29" fmla="*/ 241 h 330"/>
                <a:gd name="T30" fmla="*/ 11 w 149"/>
                <a:gd name="T31" fmla="*/ 235 h 330"/>
                <a:gd name="T32" fmla="*/ 4 w 149"/>
                <a:gd name="T33" fmla="*/ 249 h 330"/>
                <a:gd name="T34" fmla="*/ 64 w 149"/>
                <a:gd name="T35" fmla="*/ 297 h 330"/>
                <a:gd name="T36" fmla="*/ 64 w 149"/>
                <a:gd name="T37" fmla="*/ 320 h 330"/>
                <a:gd name="T38" fmla="*/ 75 w 149"/>
                <a:gd name="T39" fmla="*/ 330 h 330"/>
                <a:gd name="T40" fmla="*/ 85 w 149"/>
                <a:gd name="T41" fmla="*/ 320 h 330"/>
                <a:gd name="T42" fmla="*/ 85 w 149"/>
                <a:gd name="T43" fmla="*/ 297 h 330"/>
                <a:gd name="T44" fmla="*/ 149 w 149"/>
                <a:gd name="T45" fmla="*/ 224 h 330"/>
                <a:gd name="T46" fmla="*/ 21 w 149"/>
                <a:gd name="T47" fmla="*/ 96 h 330"/>
                <a:gd name="T48" fmla="*/ 64 w 149"/>
                <a:gd name="T49" fmla="*/ 43 h 330"/>
                <a:gd name="T50" fmla="*/ 64 w 149"/>
                <a:gd name="T51" fmla="*/ 148 h 330"/>
                <a:gd name="T52" fmla="*/ 21 w 149"/>
                <a:gd name="T53" fmla="*/ 96 h 330"/>
                <a:gd name="T54" fmla="*/ 85 w 149"/>
                <a:gd name="T55" fmla="*/ 276 h 330"/>
                <a:gd name="T56" fmla="*/ 85 w 149"/>
                <a:gd name="T57" fmla="*/ 171 h 330"/>
                <a:gd name="T58" fmla="*/ 128 w 149"/>
                <a:gd name="T59" fmla="*/ 224 h 330"/>
                <a:gd name="T60" fmla="*/ 85 w 149"/>
                <a:gd name="T61" fmla="*/ 27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9" h="330">
                  <a:moveTo>
                    <a:pt x="149" y="224"/>
                  </a:moveTo>
                  <a:cubicBezTo>
                    <a:pt x="149" y="186"/>
                    <a:pt x="121" y="155"/>
                    <a:pt x="85" y="150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100" y="47"/>
                    <a:pt x="113" y="56"/>
                    <a:pt x="121" y="69"/>
                  </a:cubicBezTo>
                  <a:cubicBezTo>
                    <a:pt x="124" y="74"/>
                    <a:pt x="130" y="76"/>
                    <a:pt x="135" y="73"/>
                  </a:cubicBezTo>
                  <a:cubicBezTo>
                    <a:pt x="141" y="70"/>
                    <a:pt x="142" y="63"/>
                    <a:pt x="139" y="58"/>
                  </a:cubicBezTo>
                  <a:cubicBezTo>
                    <a:pt x="128" y="38"/>
                    <a:pt x="108" y="25"/>
                    <a:pt x="85" y="22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28" y="27"/>
                    <a:pt x="0" y="58"/>
                    <a:pt x="0" y="96"/>
                  </a:cubicBezTo>
                  <a:cubicBezTo>
                    <a:pt x="0" y="133"/>
                    <a:pt x="28" y="164"/>
                    <a:pt x="64" y="169"/>
                  </a:cubicBezTo>
                  <a:cubicBezTo>
                    <a:pt x="64" y="276"/>
                    <a:pt x="64" y="276"/>
                    <a:pt x="64" y="276"/>
                  </a:cubicBezTo>
                  <a:cubicBezTo>
                    <a:pt x="46" y="272"/>
                    <a:pt x="31" y="259"/>
                    <a:pt x="24" y="241"/>
                  </a:cubicBezTo>
                  <a:cubicBezTo>
                    <a:pt x="22" y="236"/>
                    <a:pt x="16" y="233"/>
                    <a:pt x="11" y="235"/>
                  </a:cubicBezTo>
                  <a:cubicBezTo>
                    <a:pt x="5" y="237"/>
                    <a:pt x="2" y="243"/>
                    <a:pt x="4" y="249"/>
                  </a:cubicBezTo>
                  <a:cubicBezTo>
                    <a:pt x="14" y="275"/>
                    <a:pt x="37" y="294"/>
                    <a:pt x="64" y="297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64" y="326"/>
                    <a:pt x="69" y="330"/>
                    <a:pt x="75" y="330"/>
                  </a:cubicBezTo>
                  <a:cubicBezTo>
                    <a:pt x="81" y="330"/>
                    <a:pt x="85" y="326"/>
                    <a:pt x="85" y="320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121" y="292"/>
                    <a:pt x="149" y="261"/>
                    <a:pt x="149" y="224"/>
                  </a:cubicBezTo>
                  <a:close/>
                  <a:moveTo>
                    <a:pt x="21" y="96"/>
                  </a:moveTo>
                  <a:cubicBezTo>
                    <a:pt x="21" y="70"/>
                    <a:pt x="40" y="48"/>
                    <a:pt x="64" y="43"/>
                  </a:cubicBezTo>
                  <a:cubicBezTo>
                    <a:pt x="64" y="148"/>
                    <a:pt x="64" y="148"/>
                    <a:pt x="64" y="148"/>
                  </a:cubicBezTo>
                  <a:cubicBezTo>
                    <a:pt x="40" y="143"/>
                    <a:pt x="21" y="121"/>
                    <a:pt x="21" y="96"/>
                  </a:cubicBezTo>
                  <a:close/>
                  <a:moveTo>
                    <a:pt x="85" y="276"/>
                  </a:moveTo>
                  <a:cubicBezTo>
                    <a:pt x="85" y="171"/>
                    <a:pt x="85" y="171"/>
                    <a:pt x="85" y="171"/>
                  </a:cubicBezTo>
                  <a:cubicBezTo>
                    <a:pt x="110" y="176"/>
                    <a:pt x="128" y="198"/>
                    <a:pt x="128" y="224"/>
                  </a:cubicBezTo>
                  <a:cubicBezTo>
                    <a:pt x="128" y="249"/>
                    <a:pt x="110" y="271"/>
                    <a:pt x="85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382"/>
            <p:cNvSpPr>
              <a:spLocks noEditPoints="1"/>
            </p:cNvSpPr>
            <p:nvPr/>
          </p:nvSpPr>
          <p:spPr bwMode="auto">
            <a:xfrm>
              <a:off x="7362" y="120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" name="Group 526"/>
          <p:cNvGrpSpPr>
            <a:grpSpLocks noChangeAspect="1"/>
          </p:cNvGrpSpPr>
          <p:nvPr/>
        </p:nvGrpSpPr>
        <p:grpSpPr bwMode="auto">
          <a:xfrm>
            <a:off x="6918844" y="2051054"/>
            <a:ext cx="369021" cy="369021"/>
            <a:chOff x="3464" y="1974"/>
            <a:chExt cx="340" cy="340"/>
          </a:xfrm>
          <a:solidFill>
            <a:schemeClr val="accent6"/>
          </a:solidFill>
        </p:grpSpPr>
        <p:sp>
          <p:nvSpPr>
            <p:cNvPr id="54" name="Freeform 527"/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28"/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6" name="Group 531"/>
          <p:cNvGrpSpPr>
            <a:grpSpLocks noChangeAspect="1"/>
          </p:cNvGrpSpPr>
          <p:nvPr/>
        </p:nvGrpSpPr>
        <p:grpSpPr bwMode="auto">
          <a:xfrm>
            <a:off x="6420922" y="2051054"/>
            <a:ext cx="369021" cy="369021"/>
            <a:chOff x="3061" y="1953"/>
            <a:chExt cx="340" cy="340"/>
          </a:xfrm>
          <a:solidFill>
            <a:schemeClr val="accent6"/>
          </a:solidFill>
        </p:grpSpPr>
        <p:sp>
          <p:nvSpPr>
            <p:cNvPr id="57" name="Freeform 532"/>
            <p:cNvSpPr>
              <a:spLocks noEditPoints="1"/>
            </p:cNvSpPr>
            <p:nvPr/>
          </p:nvSpPr>
          <p:spPr bwMode="auto">
            <a:xfrm>
              <a:off x="3061" y="1953"/>
              <a:ext cx="340" cy="340"/>
            </a:xfrm>
            <a:custGeom>
              <a:avLst/>
              <a:gdLst>
                <a:gd name="T0" fmla="*/ 356 w 512"/>
                <a:gd name="T1" fmla="*/ 352 h 512"/>
                <a:gd name="T2" fmla="*/ 366 w 512"/>
                <a:gd name="T3" fmla="*/ 373 h 512"/>
                <a:gd name="T4" fmla="*/ 145 w 512"/>
                <a:gd name="T5" fmla="*/ 373 h 512"/>
                <a:gd name="T6" fmla="*/ 156 w 512"/>
                <a:gd name="T7" fmla="*/ 352 h 512"/>
                <a:gd name="T8" fmla="*/ 356 w 512"/>
                <a:gd name="T9" fmla="*/ 352 h 512"/>
                <a:gd name="T10" fmla="*/ 256 w 512"/>
                <a:gd name="T11" fmla="*/ 118 h 512"/>
                <a:gd name="T12" fmla="*/ 180 w 512"/>
                <a:gd name="T13" fmla="*/ 160 h 512"/>
                <a:gd name="T14" fmla="*/ 331 w 512"/>
                <a:gd name="T15" fmla="*/ 160 h 512"/>
                <a:gd name="T16" fmla="*/ 256 w 512"/>
                <a:gd name="T17" fmla="*/ 118 h 512"/>
                <a:gd name="T18" fmla="*/ 512 w 512"/>
                <a:gd name="T19" fmla="*/ 256 h 512"/>
                <a:gd name="T20" fmla="*/ 256 w 512"/>
                <a:gd name="T21" fmla="*/ 512 h 512"/>
                <a:gd name="T22" fmla="*/ 0 w 512"/>
                <a:gd name="T23" fmla="*/ 256 h 512"/>
                <a:gd name="T24" fmla="*/ 256 w 512"/>
                <a:gd name="T25" fmla="*/ 0 h 512"/>
                <a:gd name="T26" fmla="*/ 512 w 512"/>
                <a:gd name="T27" fmla="*/ 256 h 512"/>
                <a:gd name="T28" fmla="*/ 128 w 512"/>
                <a:gd name="T29" fmla="*/ 173 h 512"/>
                <a:gd name="T30" fmla="*/ 138 w 512"/>
                <a:gd name="T31" fmla="*/ 181 h 512"/>
                <a:gd name="T32" fmla="*/ 373 w 512"/>
                <a:gd name="T33" fmla="*/ 181 h 512"/>
                <a:gd name="T34" fmla="*/ 383 w 512"/>
                <a:gd name="T35" fmla="*/ 173 h 512"/>
                <a:gd name="T36" fmla="*/ 378 w 512"/>
                <a:gd name="T37" fmla="*/ 161 h 512"/>
                <a:gd name="T38" fmla="*/ 261 w 512"/>
                <a:gd name="T39" fmla="*/ 97 h 512"/>
                <a:gd name="T40" fmla="*/ 251 w 512"/>
                <a:gd name="T41" fmla="*/ 97 h 512"/>
                <a:gd name="T42" fmla="*/ 133 w 512"/>
                <a:gd name="T43" fmla="*/ 161 h 512"/>
                <a:gd name="T44" fmla="*/ 128 w 512"/>
                <a:gd name="T45" fmla="*/ 173 h 512"/>
                <a:gd name="T46" fmla="*/ 352 w 512"/>
                <a:gd name="T47" fmla="*/ 202 h 512"/>
                <a:gd name="T48" fmla="*/ 341 w 512"/>
                <a:gd name="T49" fmla="*/ 213 h 512"/>
                <a:gd name="T50" fmla="*/ 341 w 512"/>
                <a:gd name="T51" fmla="*/ 298 h 512"/>
                <a:gd name="T52" fmla="*/ 352 w 512"/>
                <a:gd name="T53" fmla="*/ 309 h 512"/>
                <a:gd name="T54" fmla="*/ 362 w 512"/>
                <a:gd name="T55" fmla="*/ 298 h 512"/>
                <a:gd name="T56" fmla="*/ 362 w 512"/>
                <a:gd name="T57" fmla="*/ 213 h 512"/>
                <a:gd name="T58" fmla="*/ 352 w 512"/>
                <a:gd name="T59" fmla="*/ 202 h 512"/>
                <a:gd name="T60" fmla="*/ 288 w 512"/>
                <a:gd name="T61" fmla="*/ 202 h 512"/>
                <a:gd name="T62" fmla="*/ 277 w 512"/>
                <a:gd name="T63" fmla="*/ 213 h 512"/>
                <a:gd name="T64" fmla="*/ 277 w 512"/>
                <a:gd name="T65" fmla="*/ 298 h 512"/>
                <a:gd name="T66" fmla="*/ 288 w 512"/>
                <a:gd name="T67" fmla="*/ 309 h 512"/>
                <a:gd name="T68" fmla="*/ 298 w 512"/>
                <a:gd name="T69" fmla="*/ 298 h 512"/>
                <a:gd name="T70" fmla="*/ 298 w 512"/>
                <a:gd name="T71" fmla="*/ 213 h 512"/>
                <a:gd name="T72" fmla="*/ 288 w 512"/>
                <a:gd name="T73" fmla="*/ 202 h 512"/>
                <a:gd name="T74" fmla="*/ 224 w 512"/>
                <a:gd name="T75" fmla="*/ 202 h 512"/>
                <a:gd name="T76" fmla="*/ 213 w 512"/>
                <a:gd name="T77" fmla="*/ 213 h 512"/>
                <a:gd name="T78" fmla="*/ 213 w 512"/>
                <a:gd name="T79" fmla="*/ 298 h 512"/>
                <a:gd name="T80" fmla="*/ 224 w 512"/>
                <a:gd name="T81" fmla="*/ 309 h 512"/>
                <a:gd name="T82" fmla="*/ 234 w 512"/>
                <a:gd name="T83" fmla="*/ 298 h 512"/>
                <a:gd name="T84" fmla="*/ 234 w 512"/>
                <a:gd name="T85" fmla="*/ 213 h 512"/>
                <a:gd name="T86" fmla="*/ 224 w 512"/>
                <a:gd name="T87" fmla="*/ 202 h 512"/>
                <a:gd name="T88" fmla="*/ 160 w 512"/>
                <a:gd name="T89" fmla="*/ 202 h 512"/>
                <a:gd name="T90" fmla="*/ 149 w 512"/>
                <a:gd name="T91" fmla="*/ 213 h 512"/>
                <a:gd name="T92" fmla="*/ 149 w 512"/>
                <a:gd name="T93" fmla="*/ 298 h 512"/>
                <a:gd name="T94" fmla="*/ 160 w 512"/>
                <a:gd name="T95" fmla="*/ 309 h 512"/>
                <a:gd name="T96" fmla="*/ 170 w 512"/>
                <a:gd name="T97" fmla="*/ 298 h 512"/>
                <a:gd name="T98" fmla="*/ 170 w 512"/>
                <a:gd name="T99" fmla="*/ 213 h 512"/>
                <a:gd name="T100" fmla="*/ 160 w 512"/>
                <a:gd name="T101" fmla="*/ 202 h 512"/>
                <a:gd name="T102" fmla="*/ 393 w 512"/>
                <a:gd name="T103" fmla="*/ 379 h 512"/>
                <a:gd name="T104" fmla="*/ 372 w 512"/>
                <a:gd name="T105" fmla="*/ 336 h 512"/>
                <a:gd name="T106" fmla="*/ 362 w 512"/>
                <a:gd name="T107" fmla="*/ 330 h 512"/>
                <a:gd name="T108" fmla="*/ 149 w 512"/>
                <a:gd name="T109" fmla="*/ 330 h 512"/>
                <a:gd name="T110" fmla="*/ 139 w 512"/>
                <a:gd name="T111" fmla="*/ 336 h 512"/>
                <a:gd name="T112" fmla="*/ 118 w 512"/>
                <a:gd name="T113" fmla="*/ 379 h 512"/>
                <a:gd name="T114" fmla="*/ 119 w 512"/>
                <a:gd name="T115" fmla="*/ 389 h 512"/>
                <a:gd name="T116" fmla="*/ 128 w 512"/>
                <a:gd name="T117" fmla="*/ 394 h 512"/>
                <a:gd name="T118" fmla="*/ 384 w 512"/>
                <a:gd name="T119" fmla="*/ 394 h 512"/>
                <a:gd name="T120" fmla="*/ 393 w 512"/>
                <a:gd name="T121" fmla="*/ 389 h 512"/>
                <a:gd name="T122" fmla="*/ 393 w 512"/>
                <a:gd name="T123" fmla="*/ 37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2" h="512">
                  <a:moveTo>
                    <a:pt x="356" y="352"/>
                  </a:moveTo>
                  <a:cubicBezTo>
                    <a:pt x="366" y="373"/>
                    <a:pt x="366" y="373"/>
                    <a:pt x="366" y="373"/>
                  </a:cubicBezTo>
                  <a:cubicBezTo>
                    <a:pt x="145" y="373"/>
                    <a:pt x="145" y="373"/>
                    <a:pt x="145" y="373"/>
                  </a:cubicBezTo>
                  <a:cubicBezTo>
                    <a:pt x="156" y="352"/>
                    <a:pt x="156" y="352"/>
                    <a:pt x="156" y="352"/>
                  </a:cubicBezTo>
                  <a:lnTo>
                    <a:pt x="356" y="352"/>
                  </a:lnTo>
                  <a:close/>
                  <a:moveTo>
                    <a:pt x="256" y="118"/>
                  </a:moveTo>
                  <a:cubicBezTo>
                    <a:pt x="180" y="160"/>
                    <a:pt x="180" y="160"/>
                    <a:pt x="180" y="160"/>
                  </a:cubicBezTo>
                  <a:cubicBezTo>
                    <a:pt x="331" y="160"/>
                    <a:pt x="331" y="160"/>
                    <a:pt x="331" y="160"/>
                  </a:cubicBezTo>
                  <a:lnTo>
                    <a:pt x="256" y="118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28" y="173"/>
                  </a:moveTo>
                  <a:cubicBezTo>
                    <a:pt x="129" y="178"/>
                    <a:pt x="133" y="181"/>
                    <a:pt x="138" y="181"/>
                  </a:cubicBezTo>
                  <a:cubicBezTo>
                    <a:pt x="373" y="181"/>
                    <a:pt x="373" y="181"/>
                    <a:pt x="373" y="181"/>
                  </a:cubicBezTo>
                  <a:cubicBezTo>
                    <a:pt x="378" y="181"/>
                    <a:pt x="382" y="178"/>
                    <a:pt x="383" y="173"/>
                  </a:cubicBezTo>
                  <a:cubicBezTo>
                    <a:pt x="385" y="168"/>
                    <a:pt x="382" y="163"/>
                    <a:pt x="378" y="161"/>
                  </a:cubicBezTo>
                  <a:cubicBezTo>
                    <a:pt x="261" y="97"/>
                    <a:pt x="261" y="97"/>
                    <a:pt x="261" y="97"/>
                  </a:cubicBezTo>
                  <a:cubicBezTo>
                    <a:pt x="258" y="95"/>
                    <a:pt x="254" y="95"/>
                    <a:pt x="251" y="97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29" y="163"/>
                    <a:pt x="127" y="168"/>
                    <a:pt x="128" y="173"/>
                  </a:cubicBezTo>
                  <a:close/>
                  <a:moveTo>
                    <a:pt x="352" y="202"/>
                  </a:moveTo>
                  <a:cubicBezTo>
                    <a:pt x="346" y="202"/>
                    <a:pt x="341" y="207"/>
                    <a:pt x="341" y="213"/>
                  </a:cubicBezTo>
                  <a:cubicBezTo>
                    <a:pt x="341" y="298"/>
                    <a:pt x="341" y="298"/>
                    <a:pt x="341" y="298"/>
                  </a:cubicBezTo>
                  <a:cubicBezTo>
                    <a:pt x="341" y="304"/>
                    <a:pt x="346" y="309"/>
                    <a:pt x="352" y="309"/>
                  </a:cubicBezTo>
                  <a:cubicBezTo>
                    <a:pt x="358" y="309"/>
                    <a:pt x="362" y="304"/>
                    <a:pt x="362" y="298"/>
                  </a:cubicBezTo>
                  <a:cubicBezTo>
                    <a:pt x="362" y="213"/>
                    <a:pt x="362" y="213"/>
                    <a:pt x="362" y="213"/>
                  </a:cubicBezTo>
                  <a:cubicBezTo>
                    <a:pt x="362" y="207"/>
                    <a:pt x="358" y="202"/>
                    <a:pt x="352" y="202"/>
                  </a:cubicBezTo>
                  <a:close/>
                  <a:moveTo>
                    <a:pt x="288" y="202"/>
                  </a:moveTo>
                  <a:cubicBezTo>
                    <a:pt x="282" y="202"/>
                    <a:pt x="277" y="207"/>
                    <a:pt x="277" y="213"/>
                  </a:cubicBezTo>
                  <a:cubicBezTo>
                    <a:pt x="277" y="298"/>
                    <a:pt x="277" y="298"/>
                    <a:pt x="277" y="298"/>
                  </a:cubicBezTo>
                  <a:cubicBezTo>
                    <a:pt x="277" y="304"/>
                    <a:pt x="282" y="309"/>
                    <a:pt x="288" y="309"/>
                  </a:cubicBezTo>
                  <a:cubicBezTo>
                    <a:pt x="294" y="309"/>
                    <a:pt x="298" y="304"/>
                    <a:pt x="298" y="298"/>
                  </a:cubicBezTo>
                  <a:cubicBezTo>
                    <a:pt x="298" y="213"/>
                    <a:pt x="298" y="213"/>
                    <a:pt x="298" y="213"/>
                  </a:cubicBezTo>
                  <a:cubicBezTo>
                    <a:pt x="298" y="207"/>
                    <a:pt x="294" y="202"/>
                    <a:pt x="288" y="202"/>
                  </a:cubicBezTo>
                  <a:close/>
                  <a:moveTo>
                    <a:pt x="224" y="202"/>
                  </a:moveTo>
                  <a:cubicBezTo>
                    <a:pt x="218" y="202"/>
                    <a:pt x="213" y="207"/>
                    <a:pt x="213" y="21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213" y="304"/>
                    <a:pt x="218" y="309"/>
                    <a:pt x="224" y="309"/>
                  </a:cubicBezTo>
                  <a:cubicBezTo>
                    <a:pt x="230" y="309"/>
                    <a:pt x="234" y="304"/>
                    <a:pt x="234" y="298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207"/>
                    <a:pt x="230" y="202"/>
                    <a:pt x="224" y="202"/>
                  </a:cubicBezTo>
                  <a:close/>
                  <a:moveTo>
                    <a:pt x="160" y="202"/>
                  </a:moveTo>
                  <a:cubicBezTo>
                    <a:pt x="154" y="202"/>
                    <a:pt x="149" y="207"/>
                    <a:pt x="149" y="213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49" y="304"/>
                    <a:pt x="154" y="309"/>
                    <a:pt x="160" y="309"/>
                  </a:cubicBezTo>
                  <a:cubicBezTo>
                    <a:pt x="166" y="309"/>
                    <a:pt x="170" y="304"/>
                    <a:pt x="170" y="298"/>
                  </a:cubicBezTo>
                  <a:cubicBezTo>
                    <a:pt x="170" y="213"/>
                    <a:pt x="170" y="213"/>
                    <a:pt x="170" y="213"/>
                  </a:cubicBezTo>
                  <a:cubicBezTo>
                    <a:pt x="170" y="207"/>
                    <a:pt x="166" y="202"/>
                    <a:pt x="160" y="202"/>
                  </a:cubicBezTo>
                  <a:close/>
                  <a:moveTo>
                    <a:pt x="393" y="379"/>
                  </a:moveTo>
                  <a:cubicBezTo>
                    <a:pt x="372" y="336"/>
                    <a:pt x="372" y="336"/>
                    <a:pt x="372" y="336"/>
                  </a:cubicBezTo>
                  <a:cubicBezTo>
                    <a:pt x="370" y="333"/>
                    <a:pt x="366" y="330"/>
                    <a:pt x="362" y="330"/>
                  </a:cubicBezTo>
                  <a:cubicBezTo>
                    <a:pt x="149" y="330"/>
                    <a:pt x="149" y="330"/>
                    <a:pt x="149" y="330"/>
                  </a:cubicBezTo>
                  <a:cubicBezTo>
                    <a:pt x="145" y="330"/>
                    <a:pt x="141" y="333"/>
                    <a:pt x="139" y="336"/>
                  </a:cubicBezTo>
                  <a:cubicBezTo>
                    <a:pt x="118" y="379"/>
                    <a:pt x="118" y="379"/>
                    <a:pt x="118" y="379"/>
                  </a:cubicBezTo>
                  <a:cubicBezTo>
                    <a:pt x="116" y="382"/>
                    <a:pt x="117" y="386"/>
                    <a:pt x="119" y="389"/>
                  </a:cubicBezTo>
                  <a:cubicBezTo>
                    <a:pt x="121" y="392"/>
                    <a:pt x="124" y="394"/>
                    <a:pt x="12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87" y="394"/>
                    <a:pt x="391" y="392"/>
                    <a:pt x="393" y="389"/>
                  </a:cubicBezTo>
                  <a:cubicBezTo>
                    <a:pt x="395" y="386"/>
                    <a:pt x="395" y="382"/>
                    <a:pt x="393" y="3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33"/>
            <p:cNvSpPr>
              <a:spLocks noEditPoints="1"/>
            </p:cNvSpPr>
            <p:nvPr/>
          </p:nvSpPr>
          <p:spPr bwMode="auto">
            <a:xfrm>
              <a:off x="3061" y="1953"/>
              <a:ext cx="340" cy="340"/>
            </a:xfrm>
            <a:custGeom>
              <a:avLst/>
              <a:gdLst>
                <a:gd name="T0" fmla="*/ 356 w 512"/>
                <a:gd name="T1" fmla="*/ 352 h 512"/>
                <a:gd name="T2" fmla="*/ 366 w 512"/>
                <a:gd name="T3" fmla="*/ 373 h 512"/>
                <a:gd name="T4" fmla="*/ 145 w 512"/>
                <a:gd name="T5" fmla="*/ 373 h 512"/>
                <a:gd name="T6" fmla="*/ 156 w 512"/>
                <a:gd name="T7" fmla="*/ 352 h 512"/>
                <a:gd name="T8" fmla="*/ 356 w 512"/>
                <a:gd name="T9" fmla="*/ 352 h 512"/>
                <a:gd name="T10" fmla="*/ 256 w 512"/>
                <a:gd name="T11" fmla="*/ 118 h 512"/>
                <a:gd name="T12" fmla="*/ 180 w 512"/>
                <a:gd name="T13" fmla="*/ 160 h 512"/>
                <a:gd name="T14" fmla="*/ 331 w 512"/>
                <a:gd name="T15" fmla="*/ 160 h 512"/>
                <a:gd name="T16" fmla="*/ 256 w 512"/>
                <a:gd name="T17" fmla="*/ 118 h 512"/>
                <a:gd name="T18" fmla="*/ 512 w 512"/>
                <a:gd name="T19" fmla="*/ 256 h 512"/>
                <a:gd name="T20" fmla="*/ 256 w 512"/>
                <a:gd name="T21" fmla="*/ 512 h 512"/>
                <a:gd name="T22" fmla="*/ 0 w 512"/>
                <a:gd name="T23" fmla="*/ 256 h 512"/>
                <a:gd name="T24" fmla="*/ 256 w 512"/>
                <a:gd name="T25" fmla="*/ 0 h 512"/>
                <a:gd name="T26" fmla="*/ 512 w 512"/>
                <a:gd name="T27" fmla="*/ 256 h 512"/>
                <a:gd name="T28" fmla="*/ 128 w 512"/>
                <a:gd name="T29" fmla="*/ 173 h 512"/>
                <a:gd name="T30" fmla="*/ 138 w 512"/>
                <a:gd name="T31" fmla="*/ 181 h 512"/>
                <a:gd name="T32" fmla="*/ 373 w 512"/>
                <a:gd name="T33" fmla="*/ 181 h 512"/>
                <a:gd name="T34" fmla="*/ 383 w 512"/>
                <a:gd name="T35" fmla="*/ 173 h 512"/>
                <a:gd name="T36" fmla="*/ 378 w 512"/>
                <a:gd name="T37" fmla="*/ 161 h 512"/>
                <a:gd name="T38" fmla="*/ 261 w 512"/>
                <a:gd name="T39" fmla="*/ 97 h 512"/>
                <a:gd name="T40" fmla="*/ 251 w 512"/>
                <a:gd name="T41" fmla="*/ 97 h 512"/>
                <a:gd name="T42" fmla="*/ 133 w 512"/>
                <a:gd name="T43" fmla="*/ 161 h 512"/>
                <a:gd name="T44" fmla="*/ 128 w 512"/>
                <a:gd name="T45" fmla="*/ 173 h 512"/>
                <a:gd name="T46" fmla="*/ 352 w 512"/>
                <a:gd name="T47" fmla="*/ 202 h 512"/>
                <a:gd name="T48" fmla="*/ 341 w 512"/>
                <a:gd name="T49" fmla="*/ 213 h 512"/>
                <a:gd name="T50" fmla="*/ 341 w 512"/>
                <a:gd name="T51" fmla="*/ 298 h 512"/>
                <a:gd name="T52" fmla="*/ 352 w 512"/>
                <a:gd name="T53" fmla="*/ 309 h 512"/>
                <a:gd name="T54" fmla="*/ 362 w 512"/>
                <a:gd name="T55" fmla="*/ 298 h 512"/>
                <a:gd name="T56" fmla="*/ 362 w 512"/>
                <a:gd name="T57" fmla="*/ 213 h 512"/>
                <a:gd name="T58" fmla="*/ 352 w 512"/>
                <a:gd name="T59" fmla="*/ 202 h 512"/>
                <a:gd name="T60" fmla="*/ 288 w 512"/>
                <a:gd name="T61" fmla="*/ 202 h 512"/>
                <a:gd name="T62" fmla="*/ 277 w 512"/>
                <a:gd name="T63" fmla="*/ 213 h 512"/>
                <a:gd name="T64" fmla="*/ 277 w 512"/>
                <a:gd name="T65" fmla="*/ 298 h 512"/>
                <a:gd name="T66" fmla="*/ 288 w 512"/>
                <a:gd name="T67" fmla="*/ 309 h 512"/>
                <a:gd name="T68" fmla="*/ 298 w 512"/>
                <a:gd name="T69" fmla="*/ 298 h 512"/>
                <a:gd name="T70" fmla="*/ 298 w 512"/>
                <a:gd name="T71" fmla="*/ 213 h 512"/>
                <a:gd name="T72" fmla="*/ 288 w 512"/>
                <a:gd name="T73" fmla="*/ 202 h 512"/>
                <a:gd name="T74" fmla="*/ 224 w 512"/>
                <a:gd name="T75" fmla="*/ 202 h 512"/>
                <a:gd name="T76" fmla="*/ 213 w 512"/>
                <a:gd name="T77" fmla="*/ 213 h 512"/>
                <a:gd name="T78" fmla="*/ 213 w 512"/>
                <a:gd name="T79" fmla="*/ 298 h 512"/>
                <a:gd name="T80" fmla="*/ 224 w 512"/>
                <a:gd name="T81" fmla="*/ 309 h 512"/>
                <a:gd name="T82" fmla="*/ 234 w 512"/>
                <a:gd name="T83" fmla="*/ 298 h 512"/>
                <a:gd name="T84" fmla="*/ 234 w 512"/>
                <a:gd name="T85" fmla="*/ 213 h 512"/>
                <a:gd name="T86" fmla="*/ 224 w 512"/>
                <a:gd name="T87" fmla="*/ 202 h 512"/>
                <a:gd name="T88" fmla="*/ 160 w 512"/>
                <a:gd name="T89" fmla="*/ 202 h 512"/>
                <a:gd name="T90" fmla="*/ 149 w 512"/>
                <a:gd name="T91" fmla="*/ 213 h 512"/>
                <a:gd name="T92" fmla="*/ 149 w 512"/>
                <a:gd name="T93" fmla="*/ 298 h 512"/>
                <a:gd name="T94" fmla="*/ 160 w 512"/>
                <a:gd name="T95" fmla="*/ 309 h 512"/>
                <a:gd name="T96" fmla="*/ 170 w 512"/>
                <a:gd name="T97" fmla="*/ 298 h 512"/>
                <a:gd name="T98" fmla="*/ 170 w 512"/>
                <a:gd name="T99" fmla="*/ 213 h 512"/>
                <a:gd name="T100" fmla="*/ 160 w 512"/>
                <a:gd name="T101" fmla="*/ 202 h 512"/>
                <a:gd name="T102" fmla="*/ 393 w 512"/>
                <a:gd name="T103" fmla="*/ 379 h 512"/>
                <a:gd name="T104" fmla="*/ 372 w 512"/>
                <a:gd name="T105" fmla="*/ 336 h 512"/>
                <a:gd name="T106" fmla="*/ 362 w 512"/>
                <a:gd name="T107" fmla="*/ 330 h 512"/>
                <a:gd name="T108" fmla="*/ 149 w 512"/>
                <a:gd name="T109" fmla="*/ 330 h 512"/>
                <a:gd name="T110" fmla="*/ 139 w 512"/>
                <a:gd name="T111" fmla="*/ 336 h 512"/>
                <a:gd name="T112" fmla="*/ 118 w 512"/>
                <a:gd name="T113" fmla="*/ 379 h 512"/>
                <a:gd name="T114" fmla="*/ 119 w 512"/>
                <a:gd name="T115" fmla="*/ 389 h 512"/>
                <a:gd name="T116" fmla="*/ 128 w 512"/>
                <a:gd name="T117" fmla="*/ 394 h 512"/>
                <a:gd name="T118" fmla="*/ 384 w 512"/>
                <a:gd name="T119" fmla="*/ 394 h 512"/>
                <a:gd name="T120" fmla="*/ 393 w 512"/>
                <a:gd name="T121" fmla="*/ 389 h 512"/>
                <a:gd name="T122" fmla="*/ 393 w 512"/>
                <a:gd name="T123" fmla="*/ 37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2" h="512">
                  <a:moveTo>
                    <a:pt x="356" y="352"/>
                  </a:moveTo>
                  <a:cubicBezTo>
                    <a:pt x="366" y="373"/>
                    <a:pt x="366" y="373"/>
                    <a:pt x="366" y="373"/>
                  </a:cubicBezTo>
                  <a:cubicBezTo>
                    <a:pt x="145" y="373"/>
                    <a:pt x="145" y="373"/>
                    <a:pt x="145" y="373"/>
                  </a:cubicBezTo>
                  <a:cubicBezTo>
                    <a:pt x="156" y="352"/>
                    <a:pt x="156" y="352"/>
                    <a:pt x="156" y="352"/>
                  </a:cubicBezTo>
                  <a:lnTo>
                    <a:pt x="356" y="352"/>
                  </a:lnTo>
                  <a:close/>
                  <a:moveTo>
                    <a:pt x="256" y="118"/>
                  </a:moveTo>
                  <a:cubicBezTo>
                    <a:pt x="180" y="160"/>
                    <a:pt x="180" y="160"/>
                    <a:pt x="180" y="160"/>
                  </a:cubicBezTo>
                  <a:cubicBezTo>
                    <a:pt x="331" y="160"/>
                    <a:pt x="331" y="160"/>
                    <a:pt x="331" y="160"/>
                  </a:cubicBezTo>
                  <a:lnTo>
                    <a:pt x="256" y="118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28" y="173"/>
                  </a:moveTo>
                  <a:cubicBezTo>
                    <a:pt x="129" y="178"/>
                    <a:pt x="133" y="181"/>
                    <a:pt x="138" y="181"/>
                  </a:cubicBezTo>
                  <a:cubicBezTo>
                    <a:pt x="373" y="181"/>
                    <a:pt x="373" y="181"/>
                    <a:pt x="373" y="181"/>
                  </a:cubicBezTo>
                  <a:cubicBezTo>
                    <a:pt x="378" y="181"/>
                    <a:pt x="382" y="178"/>
                    <a:pt x="383" y="173"/>
                  </a:cubicBezTo>
                  <a:cubicBezTo>
                    <a:pt x="385" y="168"/>
                    <a:pt x="382" y="163"/>
                    <a:pt x="378" y="161"/>
                  </a:cubicBezTo>
                  <a:cubicBezTo>
                    <a:pt x="261" y="97"/>
                    <a:pt x="261" y="97"/>
                    <a:pt x="261" y="97"/>
                  </a:cubicBezTo>
                  <a:cubicBezTo>
                    <a:pt x="258" y="95"/>
                    <a:pt x="254" y="95"/>
                    <a:pt x="251" y="97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29" y="163"/>
                    <a:pt x="127" y="168"/>
                    <a:pt x="128" y="173"/>
                  </a:cubicBezTo>
                  <a:close/>
                  <a:moveTo>
                    <a:pt x="352" y="202"/>
                  </a:moveTo>
                  <a:cubicBezTo>
                    <a:pt x="346" y="202"/>
                    <a:pt x="341" y="207"/>
                    <a:pt x="341" y="213"/>
                  </a:cubicBezTo>
                  <a:cubicBezTo>
                    <a:pt x="341" y="298"/>
                    <a:pt x="341" y="298"/>
                    <a:pt x="341" y="298"/>
                  </a:cubicBezTo>
                  <a:cubicBezTo>
                    <a:pt x="341" y="304"/>
                    <a:pt x="346" y="309"/>
                    <a:pt x="352" y="309"/>
                  </a:cubicBezTo>
                  <a:cubicBezTo>
                    <a:pt x="358" y="309"/>
                    <a:pt x="362" y="304"/>
                    <a:pt x="362" y="298"/>
                  </a:cubicBezTo>
                  <a:cubicBezTo>
                    <a:pt x="362" y="213"/>
                    <a:pt x="362" y="213"/>
                    <a:pt x="362" y="213"/>
                  </a:cubicBezTo>
                  <a:cubicBezTo>
                    <a:pt x="362" y="207"/>
                    <a:pt x="358" y="202"/>
                    <a:pt x="352" y="202"/>
                  </a:cubicBezTo>
                  <a:close/>
                  <a:moveTo>
                    <a:pt x="288" y="202"/>
                  </a:moveTo>
                  <a:cubicBezTo>
                    <a:pt x="282" y="202"/>
                    <a:pt x="277" y="207"/>
                    <a:pt x="277" y="213"/>
                  </a:cubicBezTo>
                  <a:cubicBezTo>
                    <a:pt x="277" y="298"/>
                    <a:pt x="277" y="298"/>
                    <a:pt x="277" y="298"/>
                  </a:cubicBezTo>
                  <a:cubicBezTo>
                    <a:pt x="277" y="304"/>
                    <a:pt x="282" y="309"/>
                    <a:pt x="288" y="309"/>
                  </a:cubicBezTo>
                  <a:cubicBezTo>
                    <a:pt x="294" y="309"/>
                    <a:pt x="298" y="304"/>
                    <a:pt x="298" y="298"/>
                  </a:cubicBezTo>
                  <a:cubicBezTo>
                    <a:pt x="298" y="213"/>
                    <a:pt x="298" y="213"/>
                    <a:pt x="298" y="213"/>
                  </a:cubicBezTo>
                  <a:cubicBezTo>
                    <a:pt x="298" y="207"/>
                    <a:pt x="294" y="202"/>
                    <a:pt x="288" y="202"/>
                  </a:cubicBezTo>
                  <a:close/>
                  <a:moveTo>
                    <a:pt x="224" y="202"/>
                  </a:moveTo>
                  <a:cubicBezTo>
                    <a:pt x="218" y="202"/>
                    <a:pt x="213" y="207"/>
                    <a:pt x="213" y="21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213" y="304"/>
                    <a:pt x="218" y="309"/>
                    <a:pt x="224" y="309"/>
                  </a:cubicBezTo>
                  <a:cubicBezTo>
                    <a:pt x="230" y="309"/>
                    <a:pt x="234" y="304"/>
                    <a:pt x="234" y="298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207"/>
                    <a:pt x="230" y="202"/>
                    <a:pt x="224" y="202"/>
                  </a:cubicBezTo>
                  <a:close/>
                  <a:moveTo>
                    <a:pt x="160" y="202"/>
                  </a:moveTo>
                  <a:cubicBezTo>
                    <a:pt x="154" y="202"/>
                    <a:pt x="149" y="207"/>
                    <a:pt x="149" y="213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49" y="304"/>
                    <a:pt x="154" y="309"/>
                    <a:pt x="160" y="309"/>
                  </a:cubicBezTo>
                  <a:cubicBezTo>
                    <a:pt x="166" y="309"/>
                    <a:pt x="170" y="304"/>
                    <a:pt x="170" y="298"/>
                  </a:cubicBezTo>
                  <a:cubicBezTo>
                    <a:pt x="170" y="213"/>
                    <a:pt x="170" y="213"/>
                    <a:pt x="170" y="213"/>
                  </a:cubicBezTo>
                  <a:cubicBezTo>
                    <a:pt x="170" y="207"/>
                    <a:pt x="166" y="202"/>
                    <a:pt x="160" y="202"/>
                  </a:cubicBezTo>
                  <a:close/>
                  <a:moveTo>
                    <a:pt x="393" y="379"/>
                  </a:moveTo>
                  <a:cubicBezTo>
                    <a:pt x="372" y="336"/>
                    <a:pt x="372" y="336"/>
                    <a:pt x="372" y="336"/>
                  </a:cubicBezTo>
                  <a:cubicBezTo>
                    <a:pt x="370" y="333"/>
                    <a:pt x="366" y="330"/>
                    <a:pt x="362" y="330"/>
                  </a:cubicBezTo>
                  <a:cubicBezTo>
                    <a:pt x="149" y="330"/>
                    <a:pt x="149" y="330"/>
                    <a:pt x="149" y="330"/>
                  </a:cubicBezTo>
                  <a:cubicBezTo>
                    <a:pt x="145" y="330"/>
                    <a:pt x="141" y="333"/>
                    <a:pt x="139" y="336"/>
                  </a:cubicBezTo>
                  <a:cubicBezTo>
                    <a:pt x="118" y="379"/>
                    <a:pt x="118" y="379"/>
                    <a:pt x="118" y="379"/>
                  </a:cubicBezTo>
                  <a:cubicBezTo>
                    <a:pt x="116" y="382"/>
                    <a:pt x="117" y="386"/>
                    <a:pt x="119" y="389"/>
                  </a:cubicBezTo>
                  <a:cubicBezTo>
                    <a:pt x="121" y="392"/>
                    <a:pt x="124" y="394"/>
                    <a:pt x="12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87" y="394"/>
                    <a:pt x="391" y="392"/>
                    <a:pt x="393" y="389"/>
                  </a:cubicBezTo>
                  <a:cubicBezTo>
                    <a:pt x="395" y="386"/>
                    <a:pt x="395" y="382"/>
                    <a:pt x="393" y="3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" name="Freeform 45"/>
          <p:cNvSpPr>
            <a:spLocks noChangeAspect="1" noEditPoints="1"/>
          </p:cNvSpPr>
          <p:nvPr/>
        </p:nvSpPr>
        <p:spPr bwMode="auto">
          <a:xfrm>
            <a:off x="7416766" y="2051054"/>
            <a:ext cx="367631" cy="367631"/>
          </a:xfrm>
          <a:custGeom>
            <a:avLst/>
            <a:gdLst>
              <a:gd name="T0" fmla="*/ 181 w 512"/>
              <a:gd name="T1" fmla="*/ 352 h 512"/>
              <a:gd name="T2" fmla="*/ 202 w 512"/>
              <a:gd name="T3" fmla="*/ 330 h 512"/>
              <a:gd name="T4" fmla="*/ 160 w 512"/>
              <a:gd name="T5" fmla="*/ 394 h 512"/>
              <a:gd name="T6" fmla="*/ 181 w 512"/>
              <a:gd name="T7" fmla="*/ 373 h 512"/>
              <a:gd name="T8" fmla="*/ 160 w 512"/>
              <a:gd name="T9" fmla="*/ 394 h 512"/>
              <a:gd name="T10" fmla="*/ 224 w 512"/>
              <a:gd name="T11" fmla="*/ 330 h 512"/>
              <a:gd name="T12" fmla="*/ 245 w 512"/>
              <a:gd name="T13" fmla="*/ 352 h 512"/>
              <a:gd name="T14" fmla="*/ 202 w 512"/>
              <a:gd name="T15" fmla="*/ 394 h 512"/>
              <a:gd name="T16" fmla="*/ 224 w 512"/>
              <a:gd name="T17" fmla="*/ 373 h 512"/>
              <a:gd name="T18" fmla="*/ 202 w 512"/>
              <a:gd name="T19" fmla="*/ 394 h 512"/>
              <a:gd name="T20" fmla="*/ 138 w 512"/>
              <a:gd name="T21" fmla="*/ 330 h 512"/>
              <a:gd name="T22" fmla="*/ 149 w 512"/>
              <a:gd name="T23" fmla="*/ 352 h 512"/>
              <a:gd name="T24" fmla="*/ 160 w 512"/>
              <a:gd name="T25" fmla="*/ 330 h 512"/>
              <a:gd name="T26" fmla="*/ 149 w 512"/>
              <a:gd name="T27" fmla="*/ 213 h 512"/>
              <a:gd name="T28" fmla="*/ 341 w 512"/>
              <a:gd name="T29" fmla="*/ 213 h 512"/>
              <a:gd name="T30" fmla="*/ 243 w 512"/>
              <a:gd name="T31" fmla="*/ 264 h 512"/>
              <a:gd name="T32" fmla="*/ 245 w 512"/>
              <a:gd name="T33" fmla="*/ 277 h 512"/>
              <a:gd name="T34" fmla="*/ 256 w 512"/>
              <a:gd name="T35" fmla="*/ 263 h 512"/>
              <a:gd name="T36" fmla="*/ 278 w 512"/>
              <a:gd name="T37" fmla="*/ 236 h 512"/>
              <a:gd name="T38" fmla="*/ 253 w 512"/>
              <a:gd name="T39" fmla="*/ 206 h 512"/>
              <a:gd name="T40" fmla="*/ 236 w 512"/>
              <a:gd name="T41" fmla="*/ 195 h 512"/>
              <a:gd name="T42" fmla="*/ 238 w 512"/>
              <a:gd name="T43" fmla="*/ 183 h 512"/>
              <a:gd name="T44" fmla="*/ 257 w 512"/>
              <a:gd name="T45" fmla="*/ 182 h 512"/>
              <a:gd name="T46" fmla="*/ 277 w 512"/>
              <a:gd name="T47" fmla="*/ 170 h 512"/>
              <a:gd name="T48" fmla="*/ 256 w 512"/>
              <a:gd name="T49" fmla="*/ 163 h 512"/>
              <a:gd name="T50" fmla="*/ 245 w 512"/>
              <a:gd name="T51" fmla="*/ 149 h 512"/>
              <a:gd name="T52" fmla="*/ 225 w 512"/>
              <a:gd name="T53" fmla="*/ 171 h 512"/>
              <a:gd name="T54" fmla="*/ 217 w 512"/>
              <a:gd name="T55" fmla="*/ 203 h 512"/>
              <a:gd name="T56" fmla="*/ 238 w 512"/>
              <a:gd name="T57" fmla="*/ 220 h 512"/>
              <a:gd name="T58" fmla="*/ 255 w 512"/>
              <a:gd name="T59" fmla="*/ 231 h 512"/>
              <a:gd name="T60" fmla="*/ 253 w 512"/>
              <a:gd name="T61" fmla="*/ 244 h 512"/>
              <a:gd name="T62" fmla="*/ 230 w 512"/>
              <a:gd name="T63" fmla="*/ 245 h 512"/>
              <a:gd name="T64" fmla="*/ 213 w 512"/>
              <a:gd name="T65" fmla="*/ 258 h 512"/>
              <a:gd name="T66" fmla="*/ 330 w 512"/>
              <a:gd name="T67" fmla="*/ 373 h 512"/>
              <a:gd name="T68" fmla="*/ 352 w 512"/>
              <a:gd name="T69" fmla="*/ 394 h 512"/>
              <a:gd name="T70" fmla="*/ 341 w 512"/>
              <a:gd name="T71" fmla="*/ 373 h 512"/>
              <a:gd name="T72" fmla="*/ 330 w 512"/>
              <a:gd name="T73" fmla="*/ 330 h 512"/>
              <a:gd name="T74" fmla="*/ 309 w 512"/>
              <a:gd name="T75" fmla="*/ 352 h 512"/>
              <a:gd name="T76" fmla="*/ 330 w 512"/>
              <a:gd name="T77" fmla="*/ 330 h 512"/>
              <a:gd name="T78" fmla="*/ 256 w 512"/>
              <a:gd name="T79" fmla="*/ 512 h 512"/>
              <a:gd name="T80" fmla="*/ 256 w 512"/>
              <a:gd name="T81" fmla="*/ 0 h 512"/>
              <a:gd name="T82" fmla="*/ 373 w 512"/>
              <a:gd name="T83" fmla="*/ 362 h 512"/>
              <a:gd name="T84" fmla="*/ 352 w 512"/>
              <a:gd name="T85" fmla="*/ 352 h 512"/>
              <a:gd name="T86" fmla="*/ 341 w 512"/>
              <a:gd name="T87" fmla="*/ 309 h 512"/>
              <a:gd name="T88" fmla="*/ 362 w 512"/>
              <a:gd name="T89" fmla="*/ 213 h 512"/>
              <a:gd name="T90" fmla="*/ 128 w 512"/>
              <a:gd name="T91" fmla="*/ 213 h 512"/>
              <a:gd name="T92" fmla="*/ 128 w 512"/>
              <a:gd name="T93" fmla="*/ 309 h 512"/>
              <a:gd name="T94" fmla="*/ 117 w 512"/>
              <a:gd name="T95" fmla="*/ 362 h 512"/>
              <a:gd name="T96" fmla="*/ 138 w 512"/>
              <a:gd name="T97" fmla="*/ 373 h 512"/>
              <a:gd name="T98" fmla="*/ 149 w 512"/>
              <a:gd name="T99" fmla="*/ 416 h 512"/>
              <a:gd name="T100" fmla="*/ 373 w 512"/>
              <a:gd name="T101" fmla="*/ 405 h 512"/>
              <a:gd name="T102" fmla="*/ 245 w 512"/>
              <a:gd name="T103" fmla="*/ 394 h 512"/>
              <a:gd name="T104" fmla="*/ 266 w 512"/>
              <a:gd name="T105" fmla="*/ 373 h 512"/>
              <a:gd name="T106" fmla="*/ 245 w 512"/>
              <a:gd name="T107" fmla="*/ 394 h 512"/>
              <a:gd name="T108" fmla="*/ 309 w 512"/>
              <a:gd name="T109" fmla="*/ 394 h 512"/>
              <a:gd name="T110" fmla="*/ 288 w 512"/>
              <a:gd name="T111" fmla="*/ 373 h 512"/>
              <a:gd name="T112" fmla="*/ 288 w 512"/>
              <a:gd name="T113" fmla="*/ 330 h 512"/>
              <a:gd name="T114" fmla="*/ 266 w 512"/>
              <a:gd name="T115" fmla="*/ 352 h 512"/>
              <a:gd name="T116" fmla="*/ 288 w 512"/>
              <a:gd name="T11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202" y="352"/>
                </a:moveTo>
                <a:cubicBezTo>
                  <a:pt x="181" y="352"/>
                  <a:pt x="181" y="352"/>
                  <a:pt x="181" y="352"/>
                </a:cubicBezTo>
                <a:cubicBezTo>
                  <a:pt x="181" y="330"/>
                  <a:pt x="181" y="330"/>
                  <a:pt x="181" y="330"/>
                </a:cubicBezTo>
                <a:cubicBezTo>
                  <a:pt x="202" y="330"/>
                  <a:pt x="202" y="330"/>
                  <a:pt x="202" y="330"/>
                </a:cubicBezTo>
                <a:lnTo>
                  <a:pt x="202" y="352"/>
                </a:lnTo>
                <a:close/>
                <a:moveTo>
                  <a:pt x="160" y="394"/>
                </a:moveTo>
                <a:cubicBezTo>
                  <a:pt x="181" y="394"/>
                  <a:pt x="181" y="394"/>
                  <a:pt x="181" y="394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60" y="373"/>
                  <a:pt x="160" y="373"/>
                  <a:pt x="160" y="373"/>
                </a:cubicBezTo>
                <a:lnTo>
                  <a:pt x="160" y="394"/>
                </a:lnTo>
                <a:close/>
                <a:moveTo>
                  <a:pt x="245" y="330"/>
                </a:moveTo>
                <a:cubicBezTo>
                  <a:pt x="224" y="330"/>
                  <a:pt x="224" y="330"/>
                  <a:pt x="224" y="330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45" y="352"/>
                  <a:pt x="245" y="352"/>
                  <a:pt x="245" y="352"/>
                </a:cubicBezTo>
                <a:lnTo>
                  <a:pt x="245" y="330"/>
                </a:lnTo>
                <a:close/>
                <a:moveTo>
                  <a:pt x="202" y="394"/>
                </a:moveTo>
                <a:cubicBezTo>
                  <a:pt x="224" y="394"/>
                  <a:pt x="224" y="394"/>
                  <a:pt x="224" y="394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202" y="373"/>
                  <a:pt x="202" y="373"/>
                  <a:pt x="202" y="373"/>
                </a:cubicBezTo>
                <a:lnTo>
                  <a:pt x="202" y="394"/>
                </a:lnTo>
                <a:close/>
                <a:moveTo>
                  <a:pt x="160" y="330"/>
                </a:moveTo>
                <a:cubicBezTo>
                  <a:pt x="138" y="330"/>
                  <a:pt x="138" y="330"/>
                  <a:pt x="138" y="330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60" y="352"/>
                  <a:pt x="160" y="352"/>
                  <a:pt x="160" y="352"/>
                </a:cubicBezTo>
                <a:lnTo>
                  <a:pt x="160" y="330"/>
                </a:lnTo>
                <a:close/>
                <a:moveTo>
                  <a:pt x="245" y="309"/>
                </a:moveTo>
                <a:cubicBezTo>
                  <a:pt x="192" y="309"/>
                  <a:pt x="149" y="266"/>
                  <a:pt x="149" y="213"/>
                </a:cubicBezTo>
                <a:cubicBezTo>
                  <a:pt x="149" y="160"/>
                  <a:pt x="192" y="117"/>
                  <a:pt x="245" y="117"/>
                </a:cubicBezTo>
                <a:cubicBezTo>
                  <a:pt x="298" y="117"/>
                  <a:pt x="341" y="160"/>
                  <a:pt x="341" y="213"/>
                </a:cubicBezTo>
                <a:cubicBezTo>
                  <a:pt x="341" y="266"/>
                  <a:pt x="298" y="309"/>
                  <a:pt x="245" y="309"/>
                </a:cubicBezTo>
                <a:close/>
                <a:moveTo>
                  <a:pt x="243" y="264"/>
                </a:moveTo>
                <a:cubicBezTo>
                  <a:pt x="243" y="264"/>
                  <a:pt x="245" y="264"/>
                  <a:pt x="245" y="264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56" y="277"/>
                  <a:pt x="256" y="277"/>
                  <a:pt x="256" y="277"/>
                </a:cubicBezTo>
                <a:cubicBezTo>
                  <a:pt x="256" y="263"/>
                  <a:pt x="256" y="263"/>
                  <a:pt x="256" y="263"/>
                </a:cubicBezTo>
                <a:cubicBezTo>
                  <a:pt x="256" y="262"/>
                  <a:pt x="265" y="260"/>
                  <a:pt x="270" y="256"/>
                </a:cubicBezTo>
                <a:cubicBezTo>
                  <a:pt x="276" y="251"/>
                  <a:pt x="278" y="244"/>
                  <a:pt x="278" y="236"/>
                </a:cubicBezTo>
                <a:cubicBezTo>
                  <a:pt x="278" y="229"/>
                  <a:pt x="275" y="224"/>
                  <a:pt x="272" y="219"/>
                </a:cubicBezTo>
                <a:cubicBezTo>
                  <a:pt x="268" y="215"/>
                  <a:pt x="262" y="210"/>
                  <a:pt x="253" y="206"/>
                </a:cubicBezTo>
                <a:cubicBezTo>
                  <a:pt x="246" y="203"/>
                  <a:pt x="242" y="200"/>
                  <a:pt x="240" y="199"/>
                </a:cubicBezTo>
                <a:cubicBezTo>
                  <a:pt x="238" y="198"/>
                  <a:pt x="237" y="197"/>
                  <a:pt x="236" y="195"/>
                </a:cubicBezTo>
                <a:cubicBezTo>
                  <a:pt x="235" y="194"/>
                  <a:pt x="234" y="192"/>
                  <a:pt x="234" y="190"/>
                </a:cubicBezTo>
                <a:cubicBezTo>
                  <a:pt x="234" y="187"/>
                  <a:pt x="236" y="185"/>
                  <a:pt x="238" y="183"/>
                </a:cubicBezTo>
                <a:cubicBezTo>
                  <a:pt x="240" y="181"/>
                  <a:pt x="243" y="181"/>
                  <a:pt x="247" y="181"/>
                </a:cubicBezTo>
                <a:cubicBezTo>
                  <a:pt x="250" y="181"/>
                  <a:pt x="253" y="181"/>
                  <a:pt x="257" y="182"/>
                </a:cubicBezTo>
                <a:cubicBezTo>
                  <a:pt x="260" y="183"/>
                  <a:pt x="265" y="184"/>
                  <a:pt x="270" y="186"/>
                </a:cubicBezTo>
                <a:cubicBezTo>
                  <a:pt x="277" y="170"/>
                  <a:pt x="277" y="170"/>
                  <a:pt x="277" y="170"/>
                </a:cubicBezTo>
                <a:cubicBezTo>
                  <a:pt x="271" y="168"/>
                  <a:pt x="269" y="166"/>
                  <a:pt x="264" y="165"/>
                </a:cubicBezTo>
                <a:cubicBezTo>
                  <a:pt x="261" y="164"/>
                  <a:pt x="256" y="164"/>
                  <a:pt x="256" y="163"/>
                </a:cubicBezTo>
                <a:cubicBezTo>
                  <a:pt x="256" y="149"/>
                  <a:pt x="256" y="149"/>
                  <a:pt x="256" y="149"/>
                </a:cubicBezTo>
                <a:cubicBezTo>
                  <a:pt x="245" y="149"/>
                  <a:pt x="245" y="149"/>
                  <a:pt x="245" y="149"/>
                </a:cubicBezTo>
                <a:cubicBezTo>
                  <a:pt x="245" y="164"/>
                  <a:pt x="245" y="164"/>
                  <a:pt x="245" y="164"/>
                </a:cubicBezTo>
                <a:cubicBezTo>
                  <a:pt x="234" y="164"/>
                  <a:pt x="229" y="167"/>
                  <a:pt x="225" y="171"/>
                </a:cubicBezTo>
                <a:cubicBezTo>
                  <a:pt x="219" y="176"/>
                  <a:pt x="215" y="182"/>
                  <a:pt x="215" y="191"/>
                </a:cubicBezTo>
                <a:cubicBezTo>
                  <a:pt x="215" y="196"/>
                  <a:pt x="215" y="200"/>
                  <a:pt x="217" y="203"/>
                </a:cubicBezTo>
                <a:cubicBezTo>
                  <a:pt x="219" y="207"/>
                  <a:pt x="221" y="210"/>
                  <a:pt x="224" y="212"/>
                </a:cubicBezTo>
                <a:cubicBezTo>
                  <a:pt x="227" y="215"/>
                  <a:pt x="232" y="218"/>
                  <a:pt x="238" y="220"/>
                </a:cubicBezTo>
                <a:cubicBezTo>
                  <a:pt x="244" y="223"/>
                  <a:pt x="248" y="226"/>
                  <a:pt x="250" y="227"/>
                </a:cubicBezTo>
                <a:cubicBezTo>
                  <a:pt x="252" y="228"/>
                  <a:pt x="254" y="230"/>
                  <a:pt x="255" y="231"/>
                </a:cubicBezTo>
                <a:cubicBezTo>
                  <a:pt x="256" y="233"/>
                  <a:pt x="257" y="235"/>
                  <a:pt x="257" y="237"/>
                </a:cubicBezTo>
                <a:cubicBezTo>
                  <a:pt x="257" y="240"/>
                  <a:pt x="255" y="243"/>
                  <a:pt x="253" y="244"/>
                </a:cubicBezTo>
                <a:cubicBezTo>
                  <a:pt x="250" y="246"/>
                  <a:pt x="247" y="247"/>
                  <a:pt x="242" y="247"/>
                </a:cubicBezTo>
                <a:cubicBezTo>
                  <a:pt x="239" y="247"/>
                  <a:pt x="234" y="246"/>
                  <a:pt x="230" y="245"/>
                </a:cubicBezTo>
                <a:cubicBezTo>
                  <a:pt x="225" y="244"/>
                  <a:pt x="224" y="242"/>
                  <a:pt x="213" y="239"/>
                </a:cubicBezTo>
                <a:cubicBezTo>
                  <a:pt x="213" y="258"/>
                  <a:pt x="213" y="258"/>
                  <a:pt x="213" y="258"/>
                </a:cubicBezTo>
                <a:cubicBezTo>
                  <a:pt x="224" y="262"/>
                  <a:pt x="232" y="264"/>
                  <a:pt x="243" y="264"/>
                </a:cubicBezTo>
                <a:close/>
                <a:moveTo>
                  <a:pt x="330" y="373"/>
                </a:moveTo>
                <a:cubicBezTo>
                  <a:pt x="330" y="394"/>
                  <a:pt x="330" y="394"/>
                  <a:pt x="33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341" y="373"/>
                  <a:pt x="341" y="373"/>
                  <a:pt x="341" y="373"/>
                </a:cubicBezTo>
                <a:lnTo>
                  <a:pt x="330" y="373"/>
                </a:lnTo>
                <a:close/>
                <a:moveTo>
                  <a:pt x="330" y="330"/>
                </a:moveTo>
                <a:cubicBezTo>
                  <a:pt x="309" y="330"/>
                  <a:pt x="309" y="330"/>
                  <a:pt x="309" y="330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30" y="352"/>
                  <a:pt x="330" y="352"/>
                  <a:pt x="330" y="352"/>
                </a:cubicBezTo>
                <a:lnTo>
                  <a:pt x="330" y="33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362"/>
                </a:moveTo>
                <a:cubicBezTo>
                  <a:pt x="373" y="356"/>
                  <a:pt x="368" y="352"/>
                  <a:pt x="362" y="352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352" y="314"/>
                  <a:pt x="347" y="309"/>
                  <a:pt x="341" y="309"/>
                </a:cubicBezTo>
                <a:cubicBezTo>
                  <a:pt x="312" y="309"/>
                  <a:pt x="312" y="309"/>
                  <a:pt x="312" y="309"/>
                </a:cubicBezTo>
                <a:cubicBezTo>
                  <a:pt x="342" y="288"/>
                  <a:pt x="362" y="253"/>
                  <a:pt x="362" y="213"/>
                </a:cubicBezTo>
                <a:cubicBezTo>
                  <a:pt x="362" y="148"/>
                  <a:pt x="310" y="96"/>
                  <a:pt x="245" y="96"/>
                </a:cubicBezTo>
                <a:cubicBezTo>
                  <a:pt x="180" y="96"/>
                  <a:pt x="128" y="148"/>
                  <a:pt x="128" y="213"/>
                </a:cubicBezTo>
                <a:cubicBezTo>
                  <a:pt x="128" y="253"/>
                  <a:pt x="148" y="288"/>
                  <a:pt x="178" y="309"/>
                </a:cubicBezTo>
                <a:cubicBezTo>
                  <a:pt x="128" y="309"/>
                  <a:pt x="128" y="309"/>
                  <a:pt x="128" y="309"/>
                </a:cubicBezTo>
                <a:cubicBezTo>
                  <a:pt x="122" y="309"/>
                  <a:pt x="117" y="314"/>
                  <a:pt x="117" y="320"/>
                </a:cubicBezTo>
                <a:cubicBezTo>
                  <a:pt x="117" y="362"/>
                  <a:pt x="117" y="362"/>
                  <a:pt x="117" y="362"/>
                </a:cubicBezTo>
                <a:cubicBezTo>
                  <a:pt x="117" y="368"/>
                  <a:pt x="122" y="373"/>
                  <a:pt x="128" y="373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362"/>
                </a:lnTo>
                <a:close/>
                <a:moveTo>
                  <a:pt x="245" y="394"/>
                </a:moveTo>
                <a:cubicBezTo>
                  <a:pt x="266" y="394"/>
                  <a:pt x="266" y="394"/>
                  <a:pt x="266" y="394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45" y="373"/>
                  <a:pt x="245" y="373"/>
                  <a:pt x="245" y="373"/>
                </a:cubicBezTo>
                <a:lnTo>
                  <a:pt x="245" y="394"/>
                </a:lnTo>
                <a:close/>
                <a:moveTo>
                  <a:pt x="288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288" y="373"/>
                  <a:pt x="288" y="373"/>
                  <a:pt x="288" y="373"/>
                </a:cubicBezTo>
                <a:lnTo>
                  <a:pt x="288" y="394"/>
                </a:lnTo>
                <a:close/>
                <a:moveTo>
                  <a:pt x="288" y="330"/>
                </a:moveTo>
                <a:cubicBezTo>
                  <a:pt x="266" y="330"/>
                  <a:pt x="266" y="330"/>
                  <a:pt x="266" y="330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88" y="352"/>
                  <a:pt x="288" y="352"/>
                  <a:pt x="288" y="352"/>
                </a:cubicBezTo>
                <a:lnTo>
                  <a:pt x="288" y="33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0" name="Group 48"/>
          <p:cNvGrpSpPr>
            <a:grpSpLocks noChangeAspect="1"/>
          </p:cNvGrpSpPr>
          <p:nvPr/>
        </p:nvGrpSpPr>
        <p:grpSpPr bwMode="auto">
          <a:xfrm>
            <a:off x="7913298" y="2051054"/>
            <a:ext cx="367631" cy="367631"/>
            <a:chOff x="4277" y="1990"/>
            <a:chExt cx="340" cy="340"/>
          </a:xfrm>
          <a:solidFill>
            <a:schemeClr val="accent1"/>
          </a:solidFill>
        </p:grpSpPr>
        <p:sp>
          <p:nvSpPr>
            <p:cNvPr id="61" name="Freeform 49"/>
            <p:cNvSpPr>
              <a:spLocks noEditPoints="1"/>
            </p:cNvSpPr>
            <p:nvPr/>
          </p:nvSpPr>
          <p:spPr bwMode="auto">
            <a:xfrm>
              <a:off x="4277" y="199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0"/>
            <p:cNvSpPr>
              <a:spLocks noEditPoints="1"/>
            </p:cNvSpPr>
            <p:nvPr/>
          </p:nvSpPr>
          <p:spPr bwMode="auto">
            <a:xfrm>
              <a:off x="4355" y="2054"/>
              <a:ext cx="170" cy="212"/>
            </a:xfrm>
            <a:custGeom>
              <a:avLst/>
              <a:gdLst>
                <a:gd name="T0" fmla="*/ 235 w 256"/>
                <a:gd name="T1" fmla="*/ 256 h 320"/>
                <a:gd name="T2" fmla="*/ 224 w 256"/>
                <a:gd name="T3" fmla="*/ 213 h 320"/>
                <a:gd name="T4" fmla="*/ 245 w 256"/>
                <a:gd name="T5" fmla="*/ 117 h 320"/>
                <a:gd name="T6" fmla="*/ 11 w 256"/>
                <a:gd name="T7" fmla="*/ 117 h 320"/>
                <a:gd name="T8" fmla="*/ 11 w 256"/>
                <a:gd name="T9" fmla="*/ 213 h 320"/>
                <a:gd name="T10" fmla="*/ 0 w 256"/>
                <a:gd name="T11" fmla="*/ 266 h 320"/>
                <a:gd name="T12" fmla="*/ 21 w 256"/>
                <a:gd name="T13" fmla="*/ 277 h 320"/>
                <a:gd name="T14" fmla="*/ 32 w 256"/>
                <a:gd name="T15" fmla="*/ 320 h 320"/>
                <a:gd name="T16" fmla="*/ 256 w 256"/>
                <a:gd name="T17" fmla="*/ 309 h 320"/>
                <a:gd name="T18" fmla="*/ 245 w 256"/>
                <a:gd name="T19" fmla="*/ 256 h 320"/>
                <a:gd name="T20" fmla="*/ 192 w 256"/>
                <a:gd name="T21" fmla="*/ 256 h 320"/>
                <a:gd name="T22" fmla="*/ 213 w 256"/>
                <a:gd name="T23" fmla="*/ 234 h 320"/>
                <a:gd name="T24" fmla="*/ 64 w 256"/>
                <a:gd name="T25" fmla="*/ 256 h 320"/>
                <a:gd name="T26" fmla="*/ 85 w 256"/>
                <a:gd name="T27" fmla="*/ 234 h 320"/>
                <a:gd name="T28" fmla="*/ 64 w 256"/>
                <a:gd name="T29" fmla="*/ 256 h 320"/>
                <a:gd name="T30" fmla="*/ 107 w 256"/>
                <a:gd name="T31" fmla="*/ 234 h 320"/>
                <a:gd name="T32" fmla="*/ 128 w 256"/>
                <a:gd name="T33" fmla="*/ 256 h 320"/>
                <a:gd name="T34" fmla="*/ 149 w 256"/>
                <a:gd name="T35" fmla="*/ 234 h 320"/>
                <a:gd name="T36" fmla="*/ 171 w 256"/>
                <a:gd name="T37" fmla="*/ 256 h 320"/>
                <a:gd name="T38" fmla="*/ 149 w 256"/>
                <a:gd name="T39" fmla="*/ 234 h 320"/>
                <a:gd name="T40" fmla="*/ 192 w 256"/>
                <a:gd name="T41" fmla="*/ 298 h 320"/>
                <a:gd name="T42" fmla="*/ 171 w 256"/>
                <a:gd name="T43" fmla="*/ 277 h 320"/>
                <a:gd name="T44" fmla="*/ 32 w 256"/>
                <a:gd name="T45" fmla="*/ 117 h 320"/>
                <a:gd name="T46" fmla="*/ 224 w 256"/>
                <a:gd name="T47" fmla="*/ 117 h 320"/>
                <a:gd name="T48" fmla="*/ 32 w 256"/>
                <a:gd name="T49" fmla="*/ 117 h 320"/>
                <a:gd name="T50" fmla="*/ 43 w 256"/>
                <a:gd name="T51" fmla="*/ 234 h 320"/>
                <a:gd name="T52" fmla="*/ 32 w 256"/>
                <a:gd name="T53" fmla="*/ 256 h 320"/>
                <a:gd name="T54" fmla="*/ 21 w 256"/>
                <a:gd name="T55" fmla="*/ 234 h 320"/>
                <a:gd name="T56" fmla="*/ 64 w 256"/>
                <a:gd name="T57" fmla="*/ 277 h 320"/>
                <a:gd name="T58" fmla="*/ 43 w 256"/>
                <a:gd name="T59" fmla="*/ 298 h 320"/>
                <a:gd name="T60" fmla="*/ 85 w 256"/>
                <a:gd name="T61" fmla="*/ 298 h 320"/>
                <a:gd name="T62" fmla="*/ 107 w 256"/>
                <a:gd name="T63" fmla="*/ 277 h 320"/>
                <a:gd name="T64" fmla="*/ 85 w 256"/>
                <a:gd name="T65" fmla="*/ 298 h 320"/>
                <a:gd name="T66" fmla="*/ 149 w 256"/>
                <a:gd name="T67" fmla="*/ 277 h 320"/>
                <a:gd name="T68" fmla="*/ 128 w 256"/>
                <a:gd name="T69" fmla="*/ 298 h 320"/>
                <a:gd name="T70" fmla="*/ 235 w 256"/>
                <a:gd name="T71" fmla="*/ 298 h 320"/>
                <a:gd name="T72" fmla="*/ 213 w 256"/>
                <a:gd name="T73" fmla="*/ 277 h 320"/>
                <a:gd name="T74" fmla="*/ 235 w 256"/>
                <a:gd name="T75" fmla="*/ 277 h 320"/>
                <a:gd name="T76" fmla="*/ 128 w 256"/>
                <a:gd name="T77" fmla="*/ 168 h 320"/>
                <a:gd name="T78" fmla="*/ 96 w 256"/>
                <a:gd name="T79" fmla="*/ 162 h 320"/>
                <a:gd name="T80" fmla="*/ 113 w 256"/>
                <a:gd name="T81" fmla="*/ 149 h 320"/>
                <a:gd name="T82" fmla="*/ 136 w 256"/>
                <a:gd name="T83" fmla="*/ 148 h 320"/>
                <a:gd name="T84" fmla="*/ 138 w 256"/>
                <a:gd name="T85" fmla="*/ 135 h 320"/>
                <a:gd name="T86" fmla="*/ 121 w 256"/>
                <a:gd name="T87" fmla="*/ 124 h 320"/>
                <a:gd name="T88" fmla="*/ 100 w 256"/>
                <a:gd name="T89" fmla="*/ 107 h 320"/>
                <a:gd name="T90" fmla="*/ 108 w 256"/>
                <a:gd name="T91" fmla="*/ 75 h 320"/>
                <a:gd name="T92" fmla="*/ 128 w 256"/>
                <a:gd name="T93" fmla="*/ 53 h 320"/>
                <a:gd name="T94" fmla="*/ 139 w 256"/>
                <a:gd name="T95" fmla="*/ 67 h 320"/>
                <a:gd name="T96" fmla="*/ 160 w 256"/>
                <a:gd name="T97" fmla="*/ 74 h 320"/>
                <a:gd name="T98" fmla="*/ 140 w 256"/>
                <a:gd name="T99" fmla="*/ 86 h 320"/>
                <a:gd name="T100" fmla="*/ 121 w 256"/>
                <a:gd name="T101" fmla="*/ 87 h 320"/>
                <a:gd name="T102" fmla="*/ 119 w 256"/>
                <a:gd name="T103" fmla="*/ 99 h 320"/>
                <a:gd name="T104" fmla="*/ 136 w 256"/>
                <a:gd name="T105" fmla="*/ 110 h 320"/>
                <a:gd name="T106" fmla="*/ 161 w 256"/>
                <a:gd name="T107" fmla="*/ 140 h 320"/>
                <a:gd name="T108" fmla="*/ 139 w 256"/>
                <a:gd name="T109" fmla="*/ 167 h 320"/>
                <a:gd name="T110" fmla="*/ 128 w 256"/>
                <a:gd name="T111" fmla="*/ 18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" h="320">
                  <a:moveTo>
                    <a:pt x="245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224"/>
                    <a:pt x="235" y="224"/>
                    <a:pt x="235" y="224"/>
                  </a:cubicBezTo>
                  <a:cubicBezTo>
                    <a:pt x="235" y="218"/>
                    <a:pt x="230" y="213"/>
                    <a:pt x="224" y="213"/>
                  </a:cubicBezTo>
                  <a:cubicBezTo>
                    <a:pt x="195" y="213"/>
                    <a:pt x="195" y="213"/>
                    <a:pt x="195" y="213"/>
                  </a:cubicBezTo>
                  <a:cubicBezTo>
                    <a:pt x="225" y="192"/>
                    <a:pt x="245" y="157"/>
                    <a:pt x="245" y="117"/>
                  </a:cubicBezTo>
                  <a:cubicBezTo>
                    <a:pt x="245" y="52"/>
                    <a:pt x="193" y="0"/>
                    <a:pt x="128" y="0"/>
                  </a:cubicBezTo>
                  <a:cubicBezTo>
                    <a:pt x="63" y="0"/>
                    <a:pt x="11" y="52"/>
                    <a:pt x="11" y="117"/>
                  </a:cubicBezTo>
                  <a:cubicBezTo>
                    <a:pt x="11" y="157"/>
                    <a:pt x="31" y="192"/>
                    <a:pt x="61" y="213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26" y="320"/>
                    <a:pt x="32" y="320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51" y="320"/>
                    <a:pt x="256" y="315"/>
                    <a:pt x="256" y="309"/>
                  </a:cubicBezTo>
                  <a:cubicBezTo>
                    <a:pt x="256" y="266"/>
                    <a:pt x="256" y="266"/>
                    <a:pt x="256" y="266"/>
                  </a:cubicBezTo>
                  <a:cubicBezTo>
                    <a:pt x="256" y="260"/>
                    <a:pt x="251" y="256"/>
                    <a:pt x="245" y="256"/>
                  </a:cubicBezTo>
                  <a:close/>
                  <a:moveTo>
                    <a:pt x="213" y="256"/>
                  </a:moveTo>
                  <a:cubicBezTo>
                    <a:pt x="192" y="256"/>
                    <a:pt x="192" y="256"/>
                    <a:pt x="192" y="256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13" y="234"/>
                    <a:pt x="213" y="234"/>
                    <a:pt x="213" y="234"/>
                  </a:cubicBezTo>
                  <a:lnTo>
                    <a:pt x="213" y="256"/>
                  </a:lnTo>
                  <a:close/>
                  <a:moveTo>
                    <a:pt x="64" y="256"/>
                  </a:moveTo>
                  <a:cubicBezTo>
                    <a:pt x="64" y="234"/>
                    <a:pt x="64" y="234"/>
                    <a:pt x="64" y="234"/>
                  </a:cubicBezTo>
                  <a:cubicBezTo>
                    <a:pt x="85" y="234"/>
                    <a:pt x="85" y="234"/>
                    <a:pt x="85" y="234"/>
                  </a:cubicBezTo>
                  <a:cubicBezTo>
                    <a:pt x="85" y="256"/>
                    <a:pt x="85" y="256"/>
                    <a:pt x="85" y="256"/>
                  </a:cubicBezTo>
                  <a:lnTo>
                    <a:pt x="64" y="256"/>
                  </a:lnTo>
                  <a:close/>
                  <a:moveTo>
                    <a:pt x="107" y="256"/>
                  </a:moveTo>
                  <a:cubicBezTo>
                    <a:pt x="107" y="234"/>
                    <a:pt x="107" y="234"/>
                    <a:pt x="107" y="234"/>
                  </a:cubicBezTo>
                  <a:cubicBezTo>
                    <a:pt x="128" y="234"/>
                    <a:pt x="128" y="234"/>
                    <a:pt x="128" y="234"/>
                  </a:cubicBezTo>
                  <a:cubicBezTo>
                    <a:pt x="128" y="256"/>
                    <a:pt x="128" y="256"/>
                    <a:pt x="128" y="256"/>
                  </a:cubicBezTo>
                  <a:lnTo>
                    <a:pt x="107" y="256"/>
                  </a:lnTo>
                  <a:close/>
                  <a:moveTo>
                    <a:pt x="149" y="234"/>
                  </a:moveTo>
                  <a:cubicBezTo>
                    <a:pt x="171" y="234"/>
                    <a:pt x="171" y="234"/>
                    <a:pt x="171" y="234"/>
                  </a:cubicBezTo>
                  <a:cubicBezTo>
                    <a:pt x="171" y="256"/>
                    <a:pt x="171" y="256"/>
                    <a:pt x="171" y="256"/>
                  </a:cubicBezTo>
                  <a:cubicBezTo>
                    <a:pt x="149" y="256"/>
                    <a:pt x="149" y="256"/>
                    <a:pt x="149" y="256"/>
                  </a:cubicBezTo>
                  <a:lnTo>
                    <a:pt x="149" y="234"/>
                  </a:lnTo>
                  <a:close/>
                  <a:moveTo>
                    <a:pt x="192" y="277"/>
                  </a:moveTo>
                  <a:cubicBezTo>
                    <a:pt x="192" y="298"/>
                    <a:pt x="192" y="298"/>
                    <a:pt x="192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77"/>
                    <a:pt x="171" y="277"/>
                    <a:pt x="171" y="277"/>
                  </a:cubicBezTo>
                  <a:lnTo>
                    <a:pt x="192" y="277"/>
                  </a:lnTo>
                  <a:close/>
                  <a:moveTo>
                    <a:pt x="32" y="117"/>
                  </a:moveTo>
                  <a:cubicBezTo>
                    <a:pt x="32" y="64"/>
                    <a:pt x="75" y="21"/>
                    <a:pt x="128" y="21"/>
                  </a:cubicBezTo>
                  <a:cubicBezTo>
                    <a:pt x="181" y="21"/>
                    <a:pt x="224" y="64"/>
                    <a:pt x="224" y="117"/>
                  </a:cubicBezTo>
                  <a:cubicBezTo>
                    <a:pt x="224" y="170"/>
                    <a:pt x="181" y="213"/>
                    <a:pt x="128" y="213"/>
                  </a:cubicBezTo>
                  <a:cubicBezTo>
                    <a:pt x="75" y="213"/>
                    <a:pt x="32" y="170"/>
                    <a:pt x="32" y="117"/>
                  </a:cubicBezTo>
                  <a:close/>
                  <a:moveTo>
                    <a:pt x="21" y="234"/>
                  </a:moveTo>
                  <a:cubicBezTo>
                    <a:pt x="43" y="234"/>
                    <a:pt x="43" y="234"/>
                    <a:pt x="43" y="234"/>
                  </a:cubicBezTo>
                  <a:cubicBezTo>
                    <a:pt x="43" y="256"/>
                    <a:pt x="43" y="256"/>
                    <a:pt x="43" y="256"/>
                  </a:cubicBezTo>
                  <a:cubicBezTo>
                    <a:pt x="32" y="256"/>
                    <a:pt x="32" y="256"/>
                    <a:pt x="32" y="256"/>
                  </a:cubicBezTo>
                  <a:cubicBezTo>
                    <a:pt x="21" y="256"/>
                    <a:pt x="21" y="256"/>
                    <a:pt x="21" y="256"/>
                  </a:cubicBezTo>
                  <a:lnTo>
                    <a:pt x="21" y="234"/>
                  </a:lnTo>
                  <a:close/>
                  <a:moveTo>
                    <a:pt x="43" y="277"/>
                  </a:moveTo>
                  <a:cubicBezTo>
                    <a:pt x="64" y="277"/>
                    <a:pt x="64" y="277"/>
                    <a:pt x="64" y="277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43" y="298"/>
                    <a:pt x="43" y="298"/>
                    <a:pt x="43" y="298"/>
                  </a:cubicBezTo>
                  <a:lnTo>
                    <a:pt x="43" y="277"/>
                  </a:lnTo>
                  <a:close/>
                  <a:moveTo>
                    <a:pt x="85" y="298"/>
                  </a:moveTo>
                  <a:cubicBezTo>
                    <a:pt x="85" y="277"/>
                    <a:pt x="85" y="277"/>
                    <a:pt x="85" y="277"/>
                  </a:cubicBezTo>
                  <a:cubicBezTo>
                    <a:pt x="107" y="277"/>
                    <a:pt x="107" y="277"/>
                    <a:pt x="107" y="277"/>
                  </a:cubicBezTo>
                  <a:cubicBezTo>
                    <a:pt x="107" y="298"/>
                    <a:pt x="107" y="298"/>
                    <a:pt x="107" y="298"/>
                  </a:cubicBezTo>
                  <a:lnTo>
                    <a:pt x="85" y="298"/>
                  </a:lnTo>
                  <a:close/>
                  <a:moveTo>
                    <a:pt x="128" y="277"/>
                  </a:moveTo>
                  <a:cubicBezTo>
                    <a:pt x="149" y="277"/>
                    <a:pt x="149" y="277"/>
                    <a:pt x="149" y="277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28" y="298"/>
                    <a:pt x="128" y="298"/>
                    <a:pt x="128" y="298"/>
                  </a:cubicBezTo>
                  <a:lnTo>
                    <a:pt x="128" y="277"/>
                  </a:lnTo>
                  <a:close/>
                  <a:moveTo>
                    <a:pt x="235" y="298"/>
                  </a:moveTo>
                  <a:cubicBezTo>
                    <a:pt x="213" y="298"/>
                    <a:pt x="213" y="298"/>
                    <a:pt x="213" y="298"/>
                  </a:cubicBezTo>
                  <a:cubicBezTo>
                    <a:pt x="213" y="277"/>
                    <a:pt x="213" y="277"/>
                    <a:pt x="213" y="277"/>
                  </a:cubicBezTo>
                  <a:cubicBezTo>
                    <a:pt x="224" y="277"/>
                    <a:pt x="224" y="277"/>
                    <a:pt x="224" y="277"/>
                  </a:cubicBezTo>
                  <a:cubicBezTo>
                    <a:pt x="235" y="277"/>
                    <a:pt x="235" y="277"/>
                    <a:pt x="235" y="277"/>
                  </a:cubicBezTo>
                  <a:lnTo>
                    <a:pt x="235" y="298"/>
                  </a:lnTo>
                  <a:close/>
                  <a:moveTo>
                    <a:pt x="128" y="168"/>
                  </a:moveTo>
                  <a:cubicBezTo>
                    <a:pt x="128" y="168"/>
                    <a:pt x="126" y="168"/>
                    <a:pt x="126" y="168"/>
                  </a:cubicBezTo>
                  <a:cubicBezTo>
                    <a:pt x="115" y="168"/>
                    <a:pt x="107" y="166"/>
                    <a:pt x="96" y="162"/>
                  </a:cubicBezTo>
                  <a:cubicBezTo>
                    <a:pt x="96" y="143"/>
                    <a:pt x="96" y="143"/>
                    <a:pt x="96" y="143"/>
                  </a:cubicBezTo>
                  <a:cubicBezTo>
                    <a:pt x="107" y="146"/>
                    <a:pt x="108" y="148"/>
                    <a:pt x="113" y="149"/>
                  </a:cubicBezTo>
                  <a:cubicBezTo>
                    <a:pt x="117" y="150"/>
                    <a:pt x="122" y="151"/>
                    <a:pt x="125" y="151"/>
                  </a:cubicBezTo>
                  <a:cubicBezTo>
                    <a:pt x="130" y="151"/>
                    <a:pt x="133" y="150"/>
                    <a:pt x="136" y="148"/>
                  </a:cubicBezTo>
                  <a:cubicBezTo>
                    <a:pt x="138" y="147"/>
                    <a:pt x="140" y="144"/>
                    <a:pt x="140" y="141"/>
                  </a:cubicBezTo>
                  <a:cubicBezTo>
                    <a:pt x="140" y="139"/>
                    <a:pt x="139" y="137"/>
                    <a:pt x="138" y="135"/>
                  </a:cubicBezTo>
                  <a:cubicBezTo>
                    <a:pt x="137" y="134"/>
                    <a:pt x="135" y="132"/>
                    <a:pt x="133" y="131"/>
                  </a:cubicBezTo>
                  <a:cubicBezTo>
                    <a:pt x="131" y="130"/>
                    <a:pt x="127" y="127"/>
                    <a:pt x="121" y="124"/>
                  </a:cubicBezTo>
                  <a:cubicBezTo>
                    <a:pt x="115" y="122"/>
                    <a:pt x="110" y="119"/>
                    <a:pt x="107" y="116"/>
                  </a:cubicBezTo>
                  <a:cubicBezTo>
                    <a:pt x="104" y="114"/>
                    <a:pt x="102" y="111"/>
                    <a:pt x="100" y="107"/>
                  </a:cubicBezTo>
                  <a:cubicBezTo>
                    <a:pt x="98" y="104"/>
                    <a:pt x="98" y="100"/>
                    <a:pt x="98" y="95"/>
                  </a:cubicBezTo>
                  <a:cubicBezTo>
                    <a:pt x="98" y="86"/>
                    <a:pt x="102" y="80"/>
                    <a:pt x="108" y="75"/>
                  </a:cubicBezTo>
                  <a:cubicBezTo>
                    <a:pt x="112" y="71"/>
                    <a:pt x="117" y="68"/>
                    <a:pt x="128" y="68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8"/>
                    <a:pt x="144" y="68"/>
                    <a:pt x="147" y="69"/>
                  </a:cubicBezTo>
                  <a:cubicBezTo>
                    <a:pt x="152" y="70"/>
                    <a:pt x="154" y="72"/>
                    <a:pt x="160" y="74"/>
                  </a:cubicBezTo>
                  <a:cubicBezTo>
                    <a:pt x="153" y="90"/>
                    <a:pt x="153" y="90"/>
                    <a:pt x="153" y="90"/>
                  </a:cubicBezTo>
                  <a:cubicBezTo>
                    <a:pt x="148" y="88"/>
                    <a:pt x="143" y="87"/>
                    <a:pt x="140" y="86"/>
                  </a:cubicBezTo>
                  <a:cubicBezTo>
                    <a:pt x="136" y="85"/>
                    <a:pt x="133" y="85"/>
                    <a:pt x="130" y="85"/>
                  </a:cubicBezTo>
                  <a:cubicBezTo>
                    <a:pt x="126" y="85"/>
                    <a:pt x="123" y="85"/>
                    <a:pt x="121" y="87"/>
                  </a:cubicBezTo>
                  <a:cubicBezTo>
                    <a:pt x="119" y="89"/>
                    <a:pt x="117" y="91"/>
                    <a:pt x="117" y="94"/>
                  </a:cubicBezTo>
                  <a:cubicBezTo>
                    <a:pt x="117" y="96"/>
                    <a:pt x="118" y="98"/>
                    <a:pt x="119" y="99"/>
                  </a:cubicBezTo>
                  <a:cubicBezTo>
                    <a:pt x="120" y="101"/>
                    <a:pt x="121" y="102"/>
                    <a:pt x="123" y="103"/>
                  </a:cubicBezTo>
                  <a:cubicBezTo>
                    <a:pt x="125" y="104"/>
                    <a:pt x="129" y="107"/>
                    <a:pt x="136" y="110"/>
                  </a:cubicBezTo>
                  <a:cubicBezTo>
                    <a:pt x="145" y="114"/>
                    <a:pt x="151" y="119"/>
                    <a:pt x="155" y="123"/>
                  </a:cubicBezTo>
                  <a:cubicBezTo>
                    <a:pt x="158" y="128"/>
                    <a:pt x="161" y="133"/>
                    <a:pt x="161" y="140"/>
                  </a:cubicBezTo>
                  <a:cubicBezTo>
                    <a:pt x="161" y="148"/>
                    <a:pt x="159" y="155"/>
                    <a:pt x="153" y="160"/>
                  </a:cubicBezTo>
                  <a:cubicBezTo>
                    <a:pt x="148" y="164"/>
                    <a:pt x="139" y="166"/>
                    <a:pt x="139" y="167"/>
                  </a:cubicBezTo>
                  <a:cubicBezTo>
                    <a:pt x="139" y="181"/>
                    <a:pt x="139" y="181"/>
                    <a:pt x="139" y="181"/>
                  </a:cubicBezTo>
                  <a:cubicBezTo>
                    <a:pt x="128" y="181"/>
                    <a:pt x="128" y="181"/>
                    <a:pt x="128" y="181"/>
                  </a:cubicBezTo>
                  <a:lnTo>
                    <a:pt x="128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3" name="Freeform 543"/>
          <p:cNvSpPr>
            <a:spLocks noChangeAspect="1" noEditPoints="1"/>
          </p:cNvSpPr>
          <p:nvPr/>
        </p:nvSpPr>
        <p:spPr bwMode="auto">
          <a:xfrm>
            <a:off x="8409830" y="2051050"/>
            <a:ext cx="367982" cy="367982"/>
          </a:xfrm>
          <a:custGeom>
            <a:avLst/>
            <a:gdLst>
              <a:gd name="T0" fmla="*/ 225 w 512"/>
              <a:gd name="T1" fmla="*/ 245 h 512"/>
              <a:gd name="T2" fmla="*/ 213 w 512"/>
              <a:gd name="T3" fmla="*/ 245 h 512"/>
              <a:gd name="T4" fmla="*/ 213 w 512"/>
              <a:gd name="T5" fmla="*/ 148 h 512"/>
              <a:gd name="T6" fmla="*/ 300 w 512"/>
              <a:gd name="T7" fmla="*/ 166 h 512"/>
              <a:gd name="T8" fmla="*/ 311 w 512"/>
              <a:gd name="T9" fmla="*/ 193 h 512"/>
              <a:gd name="T10" fmla="*/ 299 w 512"/>
              <a:gd name="T11" fmla="*/ 223 h 512"/>
              <a:gd name="T12" fmla="*/ 225 w 512"/>
              <a:gd name="T13" fmla="*/ 245 h 512"/>
              <a:gd name="T14" fmla="*/ 225 w 512"/>
              <a:gd name="T15" fmla="*/ 267 h 512"/>
              <a:gd name="T16" fmla="*/ 213 w 512"/>
              <a:gd name="T17" fmla="*/ 267 h 512"/>
              <a:gd name="T18" fmla="*/ 213 w 512"/>
              <a:gd name="T19" fmla="*/ 364 h 512"/>
              <a:gd name="T20" fmla="*/ 307 w 512"/>
              <a:gd name="T21" fmla="*/ 343 h 512"/>
              <a:gd name="T22" fmla="*/ 320 w 512"/>
              <a:gd name="T23" fmla="*/ 315 h 512"/>
              <a:gd name="T24" fmla="*/ 309 w 512"/>
              <a:gd name="T25" fmla="*/ 291 h 512"/>
              <a:gd name="T26" fmla="*/ 225 w 512"/>
              <a:gd name="T27" fmla="*/ 267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41 w 512"/>
              <a:gd name="T39" fmla="*/ 315 h 512"/>
              <a:gd name="T40" fmla="*/ 324 w 512"/>
              <a:gd name="T41" fmla="*/ 275 h 512"/>
              <a:gd name="T42" fmla="*/ 287 w 512"/>
              <a:gd name="T43" fmla="*/ 255 h 512"/>
              <a:gd name="T44" fmla="*/ 313 w 512"/>
              <a:gd name="T45" fmla="*/ 239 h 512"/>
              <a:gd name="T46" fmla="*/ 333 w 512"/>
              <a:gd name="T47" fmla="*/ 193 h 512"/>
              <a:gd name="T48" fmla="*/ 314 w 512"/>
              <a:gd name="T49" fmla="*/ 150 h 512"/>
              <a:gd name="T50" fmla="*/ 288 w 512"/>
              <a:gd name="T51" fmla="*/ 135 h 512"/>
              <a:gd name="T52" fmla="*/ 288 w 512"/>
              <a:gd name="T53" fmla="*/ 106 h 512"/>
              <a:gd name="T54" fmla="*/ 277 w 512"/>
              <a:gd name="T55" fmla="*/ 96 h 512"/>
              <a:gd name="T56" fmla="*/ 266 w 512"/>
              <a:gd name="T57" fmla="*/ 106 h 512"/>
              <a:gd name="T58" fmla="*/ 266 w 512"/>
              <a:gd name="T59" fmla="*/ 130 h 512"/>
              <a:gd name="T60" fmla="*/ 245 w 512"/>
              <a:gd name="T61" fmla="*/ 127 h 512"/>
              <a:gd name="T62" fmla="*/ 245 w 512"/>
              <a:gd name="T63" fmla="*/ 106 h 512"/>
              <a:gd name="T64" fmla="*/ 234 w 512"/>
              <a:gd name="T65" fmla="*/ 96 h 512"/>
              <a:gd name="T66" fmla="*/ 224 w 512"/>
              <a:gd name="T67" fmla="*/ 106 h 512"/>
              <a:gd name="T68" fmla="*/ 224 w 512"/>
              <a:gd name="T69" fmla="*/ 126 h 512"/>
              <a:gd name="T70" fmla="*/ 201 w 512"/>
              <a:gd name="T71" fmla="*/ 127 h 512"/>
              <a:gd name="T72" fmla="*/ 192 w 512"/>
              <a:gd name="T73" fmla="*/ 138 h 512"/>
              <a:gd name="T74" fmla="*/ 192 w 512"/>
              <a:gd name="T75" fmla="*/ 373 h 512"/>
              <a:gd name="T76" fmla="*/ 201 w 512"/>
              <a:gd name="T77" fmla="*/ 384 h 512"/>
              <a:gd name="T78" fmla="*/ 224 w 512"/>
              <a:gd name="T79" fmla="*/ 385 h 512"/>
              <a:gd name="T80" fmla="*/ 224 w 512"/>
              <a:gd name="T81" fmla="*/ 405 h 512"/>
              <a:gd name="T82" fmla="*/ 234 w 512"/>
              <a:gd name="T83" fmla="*/ 416 h 512"/>
              <a:gd name="T84" fmla="*/ 245 w 512"/>
              <a:gd name="T85" fmla="*/ 405 h 512"/>
              <a:gd name="T86" fmla="*/ 245 w 512"/>
              <a:gd name="T87" fmla="*/ 384 h 512"/>
              <a:gd name="T88" fmla="*/ 266 w 512"/>
              <a:gd name="T89" fmla="*/ 382 h 512"/>
              <a:gd name="T90" fmla="*/ 266 w 512"/>
              <a:gd name="T91" fmla="*/ 405 h 512"/>
              <a:gd name="T92" fmla="*/ 277 w 512"/>
              <a:gd name="T93" fmla="*/ 416 h 512"/>
              <a:gd name="T94" fmla="*/ 288 w 512"/>
              <a:gd name="T95" fmla="*/ 405 h 512"/>
              <a:gd name="T96" fmla="*/ 288 w 512"/>
              <a:gd name="T97" fmla="*/ 377 h 512"/>
              <a:gd name="T98" fmla="*/ 322 w 512"/>
              <a:gd name="T99" fmla="*/ 359 h 512"/>
              <a:gd name="T100" fmla="*/ 341 w 512"/>
              <a:gd name="T101" fmla="*/ 31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25" y="245"/>
                </a:moveTo>
                <a:cubicBezTo>
                  <a:pt x="220" y="245"/>
                  <a:pt x="216" y="245"/>
                  <a:pt x="213" y="245"/>
                </a:cubicBezTo>
                <a:cubicBezTo>
                  <a:pt x="213" y="148"/>
                  <a:pt x="213" y="148"/>
                  <a:pt x="213" y="148"/>
                </a:cubicBezTo>
                <a:cubicBezTo>
                  <a:pt x="236" y="146"/>
                  <a:pt x="279" y="148"/>
                  <a:pt x="300" y="166"/>
                </a:cubicBezTo>
                <a:cubicBezTo>
                  <a:pt x="307" y="173"/>
                  <a:pt x="311" y="182"/>
                  <a:pt x="311" y="193"/>
                </a:cubicBezTo>
                <a:cubicBezTo>
                  <a:pt x="311" y="205"/>
                  <a:pt x="307" y="215"/>
                  <a:pt x="299" y="223"/>
                </a:cubicBezTo>
                <a:cubicBezTo>
                  <a:pt x="279" y="241"/>
                  <a:pt x="244" y="245"/>
                  <a:pt x="225" y="245"/>
                </a:cubicBezTo>
                <a:close/>
                <a:moveTo>
                  <a:pt x="225" y="267"/>
                </a:moveTo>
                <a:cubicBezTo>
                  <a:pt x="219" y="267"/>
                  <a:pt x="215" y="267"/>
                  <a:pt x="213" y="267"/>
                </a:cubicBezTo>
                <a:cubicBezTo>
                  <a:pt x="213" y="364"/>
                  <a:pt x="213" y="364"/>
                  <a:pt x="213" y="364"/>
                </a:cubicBezTo>
                <a:cubicBezTo>
                  <a:pt x="234" y="365"/>
                  <a:pt x="284" y="364"/>
                  <a:pt x="307" y="343"/>
                </a:cubicBezTo>
                <a:cubicBezTo>
                  <a:pt x="316" y="336"/>
                  <a:pt x="320" y="326"/>
                  <a:pt x="320" y="315"/>
                </a:cubicBezTo>
                <a:cubicBezTo>
                  <a:pt x="320" y="305"/>
                  <a:pt x="316" y="298"/>
                  <a:pt x="309" y="291"/>
                </a:cubicBezTo>
                <a:cubicBezTo>
                  <a:pt x="291" y="274"/>
                  <a:pt x="253" y="268"/>
                  <a:pt x="225" y="26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315"/>
                </a:moveTo>
                <a:cubicBezTo>
                  <a:pt x="341" y="299"/>
                  <a:pt x="335" y="286"/>
                  <a:pt x="324" y="275"/>
                </a:cubicBezTo>
                <a:cubicBezTo>
                  <a:pt x="314" y="266"/>
                  <a:pt x="301" y="260"/>
                  <a:pt x="287" y="255"/>
                </a:cubicBezTo>
                <a:cubicBezTo>
                  <a:pt x="297" y="251"/>
                  <a:pt x="306" y="246"/>
                  <a:pt x="313" y="239"/>
                </a:cubicBezTo>
                <a:cubicBezTo>
                  <a:pt x="326" y="227"/>
                  <a:pt x="333" y="211"/>
                  <a:pt x="333" y="193"/>
                </a:cubicBezTo>
                <a:cubicBezTo>
                  <a:pt x="333" y="176"/>
                  <a:pt x="326" y="161"/>
                  <a:pt x="314" y="150"/>
                </a:cubicBezTo>
                <a:cubicBezTo>
                  <a:pt x="306" y="143"/>
                  <a:pt x="297" y="139"/>
                  <a:pt x="288" y="135"/>
                </a:cubicBezTo>
                <a:cubicBezTo>
                  <a:pt x="288" y="106"/>
                  <a:pt x="288" y="106"/>
                  <a:pt x="288" y="106"/>
                </a:cubicBezTo>
                <a:cubicBezTo>
                  <a:pt x="288" y="100"/>
                  <a:pt x="283" y="96"/>
                  <a:pt x="277" y="96"/>
                </a:cubicBezTo>
                <a:cubicBezTo>
                  <a:pt x="271" y="96"/>
                  <a:pt x="266" y="100"/>
                  <a:pt x="266" y="106"/>
                </a:cubicBezTo>
                <a:cubicBezTo>
                  <a:pt x="266" y="130"/>
                  <a:pt x="266" y="130"/>
                  <a:pt x="266" y="130"/>
                </a:cubicBezTo>
                <a:cubicBezTo>
                  <a:pt x="259" y="128"/>
                  <a:pt x="252" y="127"/>
                  <a:pt x="245" y="127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40" y="96"/>
                  <a:pt x="234" y="96"/>
                </a:cubicBezTo>
                <a:cubicBezTo>
                  <a:pt x="228" y="96"/>
                  <a:pt x="224" y="100"/>
                  <a:pt x="224" y="106"/>
                </a:cubicBezTo>
                <a:cubicBezTo>
                  <a:pt x="224" y="126"/>
                  <a:pt x="224" y="126"/>
                  <a:pt x="224" y="126"/>
                </a:cubicBezTo>
                <a:cubicBezTo>
                  <a:pt x="211" y="126"/>
                  <a:pt x="202" y="127"/>
                  <a:pt x="201" y="127"/>
                </a:cubicBezTo>
                <a:cubicBezTo>
                  <a:pt x="196" y="128"/>
                  <a:pt x="192" y="133"/>
                  <a:pt x="192" y="138"/>
                </a:cubicBezTo>
                <a:cubicBezTo>
                  <a:pt x="192" y="373"/>
                  <a:pt x="192" y="373"/>
                  <a:pt x="192" y="373"/>
                </a:cubicBezTo>
                <a:cubicBezTo>
                  <a:pt x="192" y="379"/>
                  <a:pt x="196" y="383"/>
                  <a:pt x="201" y="384"/>
                </a:cubicBezTo>
                <a:cubicBezTo>
                  <a:pt x="202" y="384"/>
                  <a:pt x="211" y="385"/>
                  <a:pt x="224" y="385"/>
                </a:cubicBezTo>
                <a:cubicBezTo>
                  <a:pt x="224" y="405"/>
                  <a:pt x="224" y="405"/>
                  <a:pt x="224" y="405"/>
                </a:cubicBezTo>
                <a:cubicBezTo>
                  <a:pt x="224" y="411"/>
                  <a:pt x="228" y="416"/>
                  <a:pt x="234" y="416"/>
                </a:cubicBezTo>
                <a:cubicBezTo>
                  <a:pt x="240" y="416"/>
                  <a:pt x="245" y="411"/>
                  <a:pt x="245" y="405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52" y="384"/>
                  <a:pt x="259" y="383"/>
                  <a:pt x="266" y="382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71" y="416"/>
                  <a:pt x="277" y="416"/>
                </a:cubicBezTo>
                <a:cubicBezTo>
                  <a:pt x="283" y="416"/>
                  <a:pt x="288" y="411"/>
                  <a:pt x="288" y="405"/>
                </a:cubicBezTo>
                <a:cubicBezTo>
                  <a:pt x="288" y="377"/>
                  <a:pt x="288" y="377"/>
                  <a:pt x="288" y="377"/>
                </a:cubicBezTo>
                <a:cubicBezTo>
                  <a:pt x="300" y="373"/>
                  <a:pt x="312" y="367"/>
                  <a:pt x="322" y="359"/>
                </a:cubicBezTo>
                <a:cubicBezTo>
                  <a:pt x="334" y="347"/>
                  <a:pt x="341" y="333"/>
                  <a:pt x="341" y="31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4" name="Group 546"/>
          <p:cNvGrpSpPr>
            <a:grpSpLocks noChangeAspect="1"/>
          </p:cNvGrpSpPr>
          <p:nvPr/>
        </p:nvGrpSpPr>
        <p:grpSpPr bwMode="auto">
          <a:xfrm>
            <a:off x="8906713" y="2051050"/>
            <a:ext cx="367982" cy="367982"/>
            <a:chOff x="4349" y="2972"/>
            <a:chExt cx="340" cy="340"/>
          </a:xfrm>
          <a:solidFill>
            <a:schemeClr val="accent6"/>
          </a:solidFill>
        </p:grpSpPr>
        <p:sp>
          <p:nvSpPr>
            <p:cNvPr id="65" name="Freeform 547"/>
            <p:cNvSpPr>
              <a:spLocks noEditPoints="1"/>
            </p:cNvSpPr>
            <p:nvPr/>
          </p:nvSpPr>
          <p:spPr bwMode="auto">
            <a:xfrm>
              <a:off x="4349" y="29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548"/>
            <p:cNvSpPr>
              <a:spLocks noEditPoints="1"/>
            </p:cNvSpPr>
            <p:nvPr/>
          </p:nvSpPr>
          <p:spPr bwMode="auto">
            <a:xfrm>
              <a:off x="4476" y="3036"/>
              <a:ext cx="99" cy="212"/>
            </a:xfrm>
            <a:custGeom>
              <a:avLst/>
              <a:gdLst>
                <a:gd name="T0" fmla="*/ 132 w 149"/>
                <a:gd name="T1" fmla="*/ 179 h 320"/>
                <a:gd name="T2" fmla="*/ 95 w 149"/>
                <a:gd name="T3" fmla="*/ 159 h 320"/>
                <a:gd name="T4" fmla="*/ 121 w 149"/>
                <a:gd name="T5" fmla="*/ 143 h 320"/>
                <a:gd name="T6" fmla="*/ 141 w 149"/>
                <a:gd name="T7" fmla="*/ 97 h 320"/>
                <a:gd name="T8" fmla="*/ 122 w 149"/>
                <a:gd name="T9" fmla="*/ 54 h 320"/>
                <a:gd name="T10" fmla="*/ 96 w 149"/>
                <a:gd name="T11" fmla="*/ 39 h 320"/>
                <a:gd name="T12" fmla="*/ 96 w 149"/>
                <a:gd name="T13" fmla="*/ 10 h 320"/>
                <a:gd name="T14" fmla="*/ 85 w 149"/>
                <a:gd name="T15" fmla="*/ 0 h 320"/>
                <a:gd name="T16" fmla="*/ 74 w 149"/>
                <a:gd name="T17" fmla="*/ 10 h 320"/>
                <a:gd name="T18" fmla="*/ 74 w 149"/>
                <a:gd name="T19" fmla="*/ 34 h 320"/>
                <a:gd name="T20" fmla="*/ 53 w 149"/>
                <a:gd name="T21" fmla="*/ 31 h 320"/>
                <a:gd name="T22" fmla="*/ 53 w 149"/>
                <a:gd name="T23" fmla="*/ 10 h 320"/>
                <a:gd name="T24" fmla="*/ 42 w 149"/>
                <a:gd name="T25" fmla="*/ 0 h 320"/>
                <a:gd name="T26" fmla="*/ 32 w 149"/>
                <a:gd name="T27" fmla="*/ 10 h 320"/>
                <a:gd name="T28" fmla="*/ 32 w 149"/>
                <a:gd name="T29" fmla="*/ 30 h 320"/>
                <a:gd name="T30" fmla="*/ 9 w 149"/>
                <a:gd name="T31" fmla="*/ 31 h 320"/>
                <a:gd name="T32" fmla="*/ 0 w 149"/>
                <a:gd name="T33" fmla="*/ 42 h 320"/>
                <a:gd name="T34" fmla="*/ 0 w 149"/>
                <a:gd name="T35" fmla="*/ 277 h 320"/>
                <a:gd name="T36" fmla="*/ 9 w 149"/>
                <a:gd name="T37" fmla="*/ 288 h 320"/>
                <a:gd name="T38" fmla="*/ 32 w 149"/>
                <a:gd name="T39" fmla="*/ 289 h 320"/>
                <a:gd name="T40" fmla="*/ 32 w 149"/>
                <a:gd name="T41" fmla="*/ 309 h 320"/>
                <a:gd name="T42" fmla="*/ 42 w 149"/>
                <a:gd name="T43" fmla="*/ 320 h 320"/>
                <a:gd name="T44" fmla="*/ 53 w 149"/>
                <a:gd name="T45" fmla="*/ 309 h 320"/>
                <a:gd name="T46" fmla="*/ 53 w 149"/>
                <a:gd name="T47" fmla="*/ 288 h 320"/>
                <a:gd name="T48" fmla="*/ 74 w 149"/>
                <a:gd name="T49" fmla="*/ 286 h 320"/>
                <a:gd name="T50" fmla="*/ 74 w 149"/>
                <a:gd name="T51" fmla="*/ 309 h 320"/>
                <a:gd name="T52" fmla="*/ 85 w 149"/>
                <a:gd name="T53" fmla="*/ 320 h 320"/>
                <a:gd name="T54" fmla="*/ 96 w 149"/>
                <a:gd name="T55" fmla="*/ 309 h 320"/>
                <a:gd name="T56" fmla="*/ 96 w 149"/>
                <a:gd name="T57" fmla="*/ 281 h 320"/>
                <a:gd name="T58" fmla="*/ 130 w 149"/>
                <a:gd name="T59" fmla="*/ 263 h 320"/>
                <a:gd name="T60" fmla="*/ 149 w 149"/>
                <a:gd name="T61" fmla="*/ 219 h 320"/>
                <a:gd name="T62" fmla="*/ 132 w 149"/>
                <a:gd name="T63" fmla="*/ 179 h 320"/>
                <a:gd name="T64" fmla="*/ 21 w 149"/>
                <a:gd name="T65" fmla="*/ 52 h 320"/>
                <a:gd name="T66" fmla="*/ 108 w 149"/>
                <a:gd name="T67" fmla="*/ 70 h 320"/>
                <a:gd name="T68" fmla="*/ 119 w 149"/>
                <a:gd name="T69" fmla="*/ 97 h 320"/>
                <a:gd name="T70" fmla="*/ 107 w 149"/>
                <a:gd name="T71" fmla="*/ 127 h 320"/>
                <a:gd name="T72" fmla="*/ 33 w 149"/>
                <a:gd name="T73" fmla="*/ 149 h 320"/>
                <a:gd name="T74" fmla="*/ 21 w 149"/>
                <a:gd name="T75" fmla="*/ 149 h 320"/>
                <a:gd name="T76" fmla="*/ 21 w 149"/>
                <a:gd name="T77" fmla="*/ 52 h 320"/>
                <a:gd name="T78" fmla="*/ 115 w 149"/>
                <a:gd name="T79" fmla="*/ 247 h 320"/>
                <a:gd name="T80" fmla="*/ 21 w 149"/>
                <a:gd name="T81" fmla="*/ 268 h 320"/>
                <a:gd name="T82" fmla="*/ 21 w 149"/>
                <a:gd name="T83" fmla="*/ 171 h 320"/>
                <a:gd name="T84" fmla="*/ 33 w 149"/>
                <a:gd name="T85" fmla="*/ 171 h 320"/>
                <a:gd name="T86" fmla="*/ 117 w 149"/>
                <a:gd name="T87" fmla="*/ 195 h 320"/>
                <a:gd name="T88" fmla="*/ 128 w 149"/>
                <a:gd name="T89" fmla="*/ 219 h 320"/>
                <a:gd name="T90" fmla="*/ 115 w 149"/>
                <a:gd name="T91" fmla="*/ 2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9" h="320">
                  <a:moveTo>
                    <a:pt x="132" y="179"/>
                  </a:moveTo>
                  <a:cubicBezTo>
                    <a:pt x="122" y="170"/>
                    <a:pt x="109" y="164"/>
                    <a:pt x="95" y="159"/>
                  </a:cubicBezTo>
                  <a:cubicBezTo>
                    <a:pt x="105" y="155"/>
                    <a:pt x="114" y="150"/>
                    <a:pt x="121" y="143"/>
                  </a:cubicBezTo>
                  <a:cubicBezTo>
                    <a:pt x="134" y="131"/>
                    <a:pt x="141" y="115"/>
                    <a:pt x="141" y="97"/>
                  </a:cubicBezTo>
                  <a:cubicBezTo>
                    <a:pt x="141" y="80"/>
                    <a:pt x="134" y="65"/>
                    <a:pt x="122" y="54"/>
                  </a:cubicBezTo>
                  <a:cubicBezTo>
                    <a:pt x="114" y="47"/>
                    <a:pt x="105" y="43"/>
                    <a:pt x="96" y="39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1" y="0"/>
                    <a:pt x="85" y="0"/>
                  </a:cubicBezTo>
                  <a:cubicBezTo>
                    <a:pt x="79" y="0"/>
                    <a:pt x="74" y="4"/>
                    <a:pt x="74" y="10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67" y="32"/>
                    <a:pt x="60" y="31"/>
                    <a:pt x="53" y="31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4"/>
                    <a:pt x="48" y="0"/>
                    <a:pt x="42" y="0"/>
                  </a:cubicBezTo>
                  <a:cubicBezTo>
                    <a:pt x="36" y="0"/>
                    <a:pt x="32" y="4"/>
                    <a:pt x="32" y="1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19" y="30"/>
                    <a:pt x="10" y="31"/>
                    <a:pt x="9" y="31"/>
                  </a:cubicBezTo>
                  <a:cubicBezTo>
                    <a:pt x="4" y="32"/>
                    <a:pt x="0" y="37"/>
                    <a:pt x="0" y="42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283"/>
                    <a:pt x="4" y="287"/>
                    <a:pt x="9" y="288"/>
                  </a:cubicBezTo>
                  <a:cubicBezTo>
                    <a:pt x="10" y="288"/>
                    <a:pt x="19" y="289"/>
                    <a:pt x="32" y="289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6" y="320"/>
                    <a:pt x="42" y="320"/>
                  </a:cubicBezTo>
                  <a:cubicBezTo>
                    <a:pt x="48" y="320"/>
                    <a:pt x="53" y="315"/>
                    <a:pt x="53" y="309"/>
                  </a:cubicBezTo>
                  <a:cubicBezTo>
                    <a:pt x="53" y="288"/>
                    <a:pt x="53" y="288"/>
                    <a:pt x="53" y="288"/>
                  </a:cubicBezTo>
                  <a:cubicBezTo>
                    <a:pt x="60" y="288"/>
                    <a:pt x="67" y="287"/>
                    <a:pt x="74" y="286"/>
                  </a:cubicBezTo>
                  <a:cubicBezTo>
                    <a:pt x="74" y="309"/>
                    <a:pt x="74" y="309"/>
                    <a:pt x="74" y="309"/>
                  </a:cubicBezTo>
                  <a:cubicBezTo>
                    <a:pt x="74" y="315"/>
                    <a:pt x="79" y="320"/>
                    <a:pt x="85" y="320"/>
                  </a:cubicBezTo>
                  <a:cubicBezTo>
                    <a:pt x="91" y="320"/>
                    <a:pt x="96" y="315"/>
                    <a:pt x="96" y="309"/>
                  </a:cubicBezTo>
                  <a:cubicBezTo>
                    <a:pt x="96" y="281"/>
                    <a:pt x="96" y="281"/>
                    <a:pt x="96" y="281"/>
                  </a:cubicBezTo>
                  <a:cubicBezTo>
                    <a:pt x="108" y="277"/>
                    <a:pt x="120" y="271"/>
                    <a:pt x="130" y="263"/>
                  </a:cubicBezTo>
                  <a:cubicBezTo>
                    <a:pt x="142" y="251"/>
                    <a:pt x="149" y="237"/>
                    <a:pt x="149" y="219"/>
                  </a:cubicBezTo>
                  <a:cubicBezTo>
                    <a:pt x="149" y="203"/>
                    <a:pt x="143" y="190"/>
                    <a:pt x="132" y="179"/>
                  </a:cubicBezTo>
                  <a:close/>
                  <a:moveTo>
                    <a:pt x="21" y="52"/>
                  </a:moveTo>
                  <a:cubicBezTo>
                    <a:pt x="44" y="50"/>
                    <a:pt x="87" y="52"/>
                    <a:pt x="108" y="70"/>
                  </a:cubicBezTo>
                  <a:cubicBezTo>
                    <a:pt x="115" y="77"/>
                    <a:pt x="119" y="86"/>
                    <a:pt x="119" y="97"/>
                  </a:cubicBezTo>
                  <a:cubicBezTo>
                    <a:pt x="119" y="109"/>
                    <a:pt x="115" y="119"/>
                    <a:pt x="107" y="127"/>
                  </a:cubicBezTo>
                  <a:cubicBezTo>
                    <a:pt x="87" y="145"/>
                    <a:pt x="52" y="149"/>
                    <a:pt x="33" y="149"/>
                  </a:cubicBezTo>
                  <a:cubicBezTo>
                    <a:pt x="28" y="149"/>
                    <a:pt x="24" y="149"/>
                    <a:pt x="21" y="149"/>
                  </a:cubicBezTo>
                  <a:lnTo>
                    <a:pt x="21" y="52"/>
                  </a:lnTo>
                  <a:close/>
                  <a:moveTo>
                    <a:pt x="115" y="247"/>
                  </a:moveTo>
                  <a:cubicBezTo>
                    <a:pt x="92" y="268"/>
                    <a:pt x="42" y="269"/>
                    <a:pt x="21" y="268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3" y="171"/>
                    <a:pt x="27" y="171"/>
                    <a:pt x="33" y="171"/>
                  </a:cubicBezTo>
                  <a:cubicBezTo>
                    <a:pt x="61" y="172"/>
                    <a:pt x="99" y="178"/>
                    <a:pt x="117" y="195"/>
                  </a:cubicBezTo>
                  <a:cubicBezTo>
                    <a:pt x="124" y="202"/>
                    <a:pt x="128" y="209"/>
                    <a:pt x="128" y="219"/>
                  </a:cubicBezTo>
                  <a:cubicBezTo>
                    <a:pt x="128" y="230"/>
                    <a:pt x="124" y="240"/>
                    <a:pt x="115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853"/>
          <p:cNvGrpSpPr>
            <a:grpSpLocks noChangeAspect="1"/>
          </p:cNvGrpSpPr>
          <p:nvPr/>
        </p:nvGrpSpPr>
        <p:grpSpPr bwMode="auto">
          <a:xfrm>
            <a:off x="9901519" y="2050358"/>
            <a:ext cx="369021" cy="369021"/>
            <a:chOff x="7360" y="3435"/>
            <a:chExt cx="340" cy="340"/>
          </a:xfrm>
          <a:solidFill>
            <a:schemeClr val="accent4"/>
          </a:solidFill>
        </p:grpSpPr>
        <p:sp>
          <p:nvSpPr>
            <p:cNvPr id="68" name="Freeform 854"/>
            <p:cNvSpPr>
              <a:spLocks noEditPoints="1"/>
            </p:cNvSpPr>
            <p:nvPr/>
          </p:nvSpPr>
          <p:spPr bwMode="auto">
            <a:xfrm>
              <a:off x="7423" y="3512"/>
              <a:ext cx="213" cy="199"/>
            </a:xfrm>
            <a:custGeom>
              <a:avLst/>
              <a:gdLst>
                <a:gd name="T0" fmla="*/ 299 w 321"/>
                <a:gd name="T1" fmla="*/ 32 h 300"/>
                <a:gd name="T2" fmla="*/ 293 w 321"/>
                <a:gd name="T3" fmla="*/ 23 h 300"/>
                <a:gd name="T4" fmla="*/ 283 w 321"/>
                <a:gd name="T5" fmla="*/ 24 h 300"/>
                <a:gd name="T6" fmla="*/ 168 w 321"/>
                <a:gd name="T7" fmla="*/ 4 h 300"/>
                <a:gd name="T8" fmla="*/ 153 w 321"/>
                <a:gd name="T9" fmla="*/ 4 h 300"/>
                <a:gd name="T10" fmla="*/ 38 w 321"/>
                <a:gd name="T11" fmla="*/ 24 h 300"/>
                <a:gd name="T12" fmla="*/ 28 w 321"/>
                <a:gd name="T13" fmla="*/ 23 h 300"/>
                <a:gd name="T14" fmla="*/ 22 w 321"/>
                <a:gd name="T15" fmla="*/ 32 h 300"/>
                <a:gd name="T16" fmla="*/ 156 w 321"/>
                <a:gd name="T17" fmla="*/ 298 h 300"/>
                <a:gd name="T18" fmla="*/ 157 w 321"/>
                <a:gd name="T19" fmla="*/ 299 h 300"/>
                <a:gd name="T20" fmla="*/ 158 w 321"/>
                <a:gd name="T21" fmla="*/ 299 h 300"/>
                <a:gd name="T22" fmla="*/ 161 w 321"/>
                <a:gd name="T23" fmla="*/ 300 h 300"/>
                <a:gd name="T24" fmla="*/ 161 w 321"/>
                <a:gd name="T25" fmla="*/ 300 h 300"/>
                <a:gd name="T26" fmla="*/ 161 w 321"/>
                <a:gd name="T27" fmla="*/ 300 h 300"/>
                <a:gd name="T28" fmla="*/ 163 w 321"/>
                <a:gd name="T29" fmla="*/ 299 h 300"/>
                <a:gd name="T30" fmla="*/ 164 w 321"/>
                <a:gd name="T31" fmla="*/ 299 h 300"/>
                <a:gd name="T32" fmla="*/ 166 w 321"/>
                <a:gd name="T33" fmla="*/ 298 h 300"/>
                <a:gd name="T34" fmla="*/ 299 w 321"/>
                <a:gd name="T35" fmla="*/ 32 h 300"/>
                <a:gd name="T36" fmla="*/ 252 w 321"/>
                <a:gd name="T37" fmla="*/ 55 h 300"/>
                <a:gd name="T38" fmla="*/ 92 w 321"/>
                <a:gd name="T39" fmla="*/ 215 h 300"/>
                <a:gd name="T40" fmla="*/ 82 w 321"/>
                <a:gd name="T41" fmla="*/ 201 h 300"/>
                <a:gd name="T42" fmla="*/ 228 w 321"/>
                <a:gd name="T43" fmla="*/ 55 h 300"/>
                <a:gd name="T44" fmla="*/ 252 w 321"/>
                <a:gd name="T45" fmla="*/ 55 h 300"/>
                <a:gd name="T46" fmla="*/ 42 w 321"/>
                <a:gd name="T47" fmla="*/ 49 h 300"/>
                <a:gd name="T48" fmla="*/ 161 w 321"/>
                <a:gd name="T49" fmla="*/ 26 h 300"/>
                <a:gd name="T50" fmla="*/ 203 w 321"/>
                <a:gd name="T51" fmla="*/ 50 h 300"/>
                <a:gd name="T52" fmla="*/ 71 w 321"/>
                <a:gd name="T53" fmla="*/ 183 h 300"/>
                <a:gd name="T54" fmla="*/ 42 w 321"/>
                <a:gd name="T55" fmla="*/ 49 h 300"/>
                <a:gd name="T56" fmla="*/ 161 w 321"/>
                <a:gd name="T57" fmla="*/ 277 h 300"/>
                <a:gd name="T58" fmla="*/ 106 w 321"/>
                <a:gd name="T59" fmla="*/ 231 h 300"/>
                <a:gd name="T60" fmla="*/ 280 w 321"/>
                <a:gd name="T61" fmla="*/ 57 h 300"/>
                <a:gd name="T62" fmla="*/ 161 w 321"/>
                <a:gd name="T63" fmla="*/ 27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1" h="300">
                  <a:moveTo>
                    <a:pt x="299" y="32"/>
                  </a:moveTo>
                  <a:cubicBezTo>
                    <a:pt x="299" y="28"/>
                    <a:pt x="297" y="25"/>
                    <a:pt x="293" y="23"/>
                  </a:cubicBezTo>
                  <a:cubicBezTo>
                    <a:pt x="290" y="22"/>
                    <a:pt x="286" y="22"/>
                    <a:pt x="283" y="24"/>
                  </a:cubicBezTo>
                  <a:cubicBezTo>
                    <a:pt x="283" y="24"/>
                    <a:pt x="222" y="58"/>
                    <a:pt x="168" y="4"/>
                  </a:cubicBezTo>
                  <a:cubicBezTo>
                    <a:pt x="164" y="0"/>
                    <a:pt x="157" y="0"/>
                    <a:pt x="153" y="4"/>
                  </a:cubicBezTo>
                  <a:cubicBezTo>
                    <a:pt x="100" y="58"/>
                    <a:pt x="40" y="25"/>
                    <a:pt x="38" y="24"/>
                  </a:cubicBezTo>
                  <a:cubicBezTo>
                    <a:pt x="35" y="22"/>
                    <a:pt x="31" y="22"/>
                    <a:pt x="28" y="23"/>
                  </a:cubicBezTo>
                  <a:cubicBezTo>
                    <a:pt x="25" y="25"/>
                    <a:pt x="22" y="28"/>
                    <a:pt x="22" y="32"/>
                  </a:cubicBezTo>
                  <a:cubicBezTo>
                    <a:pt x="0" y="216"/>
                    <a:pt x="154" y="298"/>
                    <a:pt x="156" y="298"/>
                  </a:cubicBezTo>
                  <a:cubicBezTo>
                    <a:pt x="156" y="299"/>
                    <a:pt x="157" y="299"/>
                    <a:pt x="157" y="299"/>
                  </a:cubicBezTo>
                  <a:cubicBezTo>
                    <a:pt x="157" y="299"/>
                    <a:pt x="158" y="299"/>
                    <a:pt x="158" y="299"/>
                  </a:cubicBezTo>
                  <a:cubicBezTo>
                    <a:pt x="159" y="300"/>
                    <a:pt x="160" y="300"/>
                    <a:pt x="161" y="300"/>
                  </a:cubicBezTo>
                  <a:cubicBezTo>
                    <a:pt x="161" y="300"/>
                    <a:pt x="161" y="300"/>
                    <a:pt x="161" y="300"/>
                  </a:cubicBezTo>
                  <a:cubicBezTo>
                    <a:pt x="161" y="300"/>
                    <a:pt x="161" y="300"/>
                    <a:pt x="161" y="300"/>
                  </a:cubicBezTo>
                  <a:cubicBezTo>
                    <a:pt x="162" y="300"/>
                    <a:pt x="162" y="300"/>
                    <a:pt x="163" y="299"/>
                  </a:cubicBezTo>
                  <a:cubicBezTo>
                    <a:pt x="164" y="299"/>
                    <a:pt x="164" y="299"/>
                    <a:pt x="164" y="299"/>
                  </a:cubicBezTo>
                  <a:cubicBezTo>
                    <a:pt x="165" y="299"/>
                    <a:pt x="165" y="299"/>
                    <a:pt x="166" y="298"/>
                  </a:cubicBezTo>
                  <a:cubicBezTo>
                    <a:pt x="167" y="298"/>
                    <a:pt x="321" y="216"/>
                    <a:pt x="299" y="32"/>
                  </a:cubicBezTo>
                  <a:close/>
                  <a:moveTo>
                    <a:pt x="252" y="55"/>
                  </a:moveTo>
                  <a:cubicBezTo>
                    <a:pt x="92" y="215"/>
                    <a:pt x="92" y="215"/>
                    <a:pt x="92" y="215"/>
                  </a:cubicBezTo>
                  <a:cubicBezTo>
                    <a:pt x="89" y="210"/>
                    <a:pt x="85" y="206"/>
                    <a:pt x="82" y="201"/>
                  </a:cubicBezTo>
                  <a:cubicBezTo>
                    <a:pt x="228" y="55"/>
                    <a:pt x="228" y="55"/>
                    <a:pt x="228" y="55"/>
                  </a:cubicBezTo>
                  <a:cubicBezTo>
                    <a:pt x="236" y="56"/>
                    <a:pt x="244" y="56"/>
                    <a:pt x="252" y="55"/>
                  </a:cubicBezTo>
                  <a:close/>
                  <a:moveTo>
                    <a:pt x="42" y="49"/>
                  </a:moveTo>
                  <a:cubicBezTo>
                    <a:pt x="66" y="57"/>
                    <a:pt x="115" y="66"/>
                    <a:pt x="161" y="26"/>
                  </a:cubicBezTo>
                  <a:cubicBezTo>
                    <a:pt x="175" y="38"/>
                    <a:pt x="189" y="46"/>
                    <a:pt x="203" y="50"/>
                  </a:cubicBezTo>
                  <a:cubicBezTo>
                    <a:pt x="71" y="183"/>
                    <a:pt x="71" y="183"/>
                    <a:pt x="71" y="183"/>
                  </a:cubicBezTo>
                  <a:cubicBezTo>
                    <a:pt x="51" y="148"/>
                    <a:pt x="38" y="104"/>
                    <a:pt x="42" y="49"/>
                  </a:cubicBezTo>
                  <a:close/>
                  <a:moveTo>
                    <a:pt x="161" y="277"/>
                  </a:moveTo>
                  <a:cubicBezTo>
                    <a:pt x="151" y="271"/>
                    <a:pt x="129" y="256"/>
                    <a:pt x="106" y="231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5" y="195"/>
                    <a:pt x="185" y="263"/>
                    <a:pt x="161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855"/>
            <p:cNvSpPr>
              <a:spLocks noEditPoints="1"/>
            </p:cNvSpPr>
            <p:nvPr/>
          </p:nvSpPr>
          <p:spPr bwMode="auto">
            <a:xfrm>
              <a:off x="7360" y="343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0" name="Freeform 859"/>
          <p:cNvSpPr>
            <a:spLocks noChangeAspect="1" noEditPoints="1"/>
          </p:cNvSpPr>
          <p:nvPr/>
        </p:nvSpPr>
        <p:spPr bwMode="auto">
          <a:xfrm>
            <a:off x="9403596" y="2051054"/>
            <a:ext cx="369021" cy="369021"/>
          </a:xfrm>
          <a:custGeom>
            <a:avLst/>
            <a:gdLst>
              <a:gd name="T0" fmla="*/ 298 w 512"/>
              <a:gd name="T1" fmla="*/ 166 h 512"/>
              <a:gd name="T2" fmla="*/ 166 w 512"/>
              <a:gd name="T3" fmla="*/ 299 h 512"/>
              <a:gd name="T4" fmla="*/ 137 w 512"/>
              <a:gd name="T5" fmla="*/ 165 h 512"/>
              <a:gd name="T6" fmla="*/ 256 w 512"/>
              <a:gd name="T7" fmla="*/ 142 h 512"/>
              <a:gd name="T8" fmla="*/ 298 w 512"/>
              <a:gd name="T9" fmla="*/ 166 h 512"/>
              <a:gd name="T10" fmla="*/ 323 w 512"/>
              <a:gd name="T11" fmla="*/ 171 h 512"/>
              <a:gd name="T12" fmla="*/ 177 w 512"/>
              <a:gd name="T13" fmla="*/ 317 h 512"/>
              <a:gd name="T14" fmla="*/ 187 w 512"/>
              <a:gd name="T15" fmla="*/ 331 h 512"/>
              <a:gd name="T16" fmla="*/ 347 w 512"/>
              <a:gd name="T17" fmla="*/ 171 h 512"/>
              <a:gd name="T18" fmla="*/ 323 w 512"/>
              <a:gd name="T19" fmla="*/ 171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94 w 512"/>
              <a:gd name="T31" fmla="*/ 148 h 512"/>
              <a:gd name="T32" fmla="*/ 388 w 512"/>
              <a:gd name="T33" fmla="*/ 139 h 512"/>
              <a:gd name="T34" fmla="*/ 378 w 512"/>
              <a:gd name="T35" fmla="*/ 140 h 512"/>
              <a:gd name="T36" fmla="*/ 263 w 512"/>
              <a:gd name="T37" fmla="*/ 120 h 512"/>
              <a:gd name="T38" fmla="*/ 248 w 512"/>
              <a:gd name="T39" fmla="*/ 120 h 512"/>
              <a:gd name="T40" fmla="*/ 133 w 512"/>
              <a:gd name="T41" fmla="*/ 140 h 512"/>
              <a:gd name="T42" fmla="*/ 123 w 512"/>
              <a:gd name="T43" fmla="*/ 139 h 512"/>
              <a:gd name="T44" fmla="*/ 117 w 512"/>
              <a:gd name="T45" fmla="*/ 148 h 512"/>
              <a:gd name="T46" fmla="*/ 251 w 512"/>
              <a:gd name="T47" fmla="*/ 414 h 512"/>
              <a:gd name="T48" fmla="*/ 252 w 512"/>
              <a:gd name="T49" fmla="*/ 415 h 512"/>
              <a:gd name="T50" fmla="*/ 253 w 512"/>
              <a:gd name="T51" fmla="*/ 415 h 512"/>
              <a:gd name="T52" fmla="*/ 256 w 512"/>
              <a:gd name="T53" fmla="*/ 416 h 512"/>
              <a:gd name="T54" fmla="*/ 256 w 512"/>
              <a:gd name="T55" fmla="*/ 416 h 512"/>
              <a:gd name="T56" fmla="*/ 256 w 512"/>
              <a:gd name="T57" fmla="*/ 416 h 512"/>
              <a:gd name="T58" fmla="*/ 258 w 512"/>
              <a:gd name="T59" fmla="*/ 415 h 512"/>
              <a:gd name="T60" fmla="*/ 259 w 512"/>
              <a:gd name="T61" fmla="*/ 415 h 512"/>
              <a:gd name="T62" fmla="*/ 261 w 512"/>
              <a:gd name="T63" fmla="*/ 414 h 512"/>
              <a:gd name="T64" fmla="*/ 394 w 512"/>
              <a:gd name="T65" fmla="*/ 148 h 512"/>
              <a:gd name="T66" fmla="*/ 201 w 512"/>
              <a:gd name="T67" fmla="*/ 347 h 512"/>
              <a:gd name="T68" fmla="*/ 256 w 512"/>
              <a:gd name="T69" fmla="*/ 393 h 512"/>
              <a:gd name="T70" fmla="*/ 375 w 512"/>
              <a:gd name="T71" fmla="*/ 173 h 512"/>
              <a:gd name="T72" fmla="*/ 201 w 512"/>
              <a:gd name="T73" fmla="*/ 34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98" y="166"/>
                </a:moveTo>
                <a:cubicBezTo>
                  <a:pt x="166" y="299"/>
                  <a:pt x="166" y="299"/>
                  <a:pt x="166" y="299"/>
                </a:cubicBezTo>
                <a:cubicBezTo>
                  <a:pt x="146" y="264"/>
                  <a:pt x="133" y="220"/>
                  <a:pt x="137" y="165"/>
                </a:cubicBezTo>
                <a:cubicBezTo>
                  <a:pt x="161" y="173"/>
                  <a:pt x="210" y="182"/>
                  <a:pt x="256" y="142"/>
                </a:cubicBezTo>
                <a:cubicBezTo>
                  <a:pt x="270" y="154"/>
                  <a:pt x="284" y="162"/>
                  <a:pt x="298" y="166"/>
                </a:cubicBezTo>
                <a:close/>
                <a:moveTo>
                  <a:pt x="323" y="171"/>
                </a:moveTo>
                <a:cubicBezTo>
                  <a:pt x="177" y="317"/>
                  <a:pt x="177" y="317"/>
                  <a:pt x="177" y="317"/>
                </a:cubicBezTo>
                <a:cubicBezTo>
                  <a:pt x="180" y="322"/>
                  <a:pt x="184" y="326"/>
                  <a:pt x="187" y="331"/>
                </a:cubicBezTo>
                <a:cubicBezTo>
                  <a:pt x="347" y="171"/>
                  <a:pt x="347" y="171"/>
                  <a:pt x="347" y="171"/>
                </a:cubicBezTo>
                <a:cubicBezTo>
                  <a:pt x="339" y="172"/>
                  <a:pt x="331" y="172"/>
                  <a:pt x="323" y="17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48"/>
                </a:moveTo>
                <a:cubicBezTo>
                  <a:pt x="394" y="144"/>
                  <a:pt x="392" y="141"/>
                  <a:pt x="388" y="139"/>
                </a:cubicBezTo>
                <a:cubicBezTo>
                  <a:pt x="385" y="138"/>
                  <a:pt x="381" y="138"/>
                  <a:pt x="378" y="140"/>
                </a:cubicBezTo>
                <a:cubicBezTo>
                  <a:pt x="378" y="140"/>
                  <a:pt x="317" y="174"/>
                  <a:pt x="263" y="120"/>
                </a:cubicBezTo>
                <a:cubicBezTo>
                  <a:pt x="259" y="116"/>
                  <a:pt x="252" y="116"/>
                  <a:pt x="248" y="120"/>
                </a:cubicBezTo>
                <a:cubicBezTo>
                  <a:pt x="195" y="174"/>
                  <a:pt x="135" y="141"/>
                  <a:pt x="133" y="140"/>
                </a:cubicBezTo>
                <a:cubicBezTo>
                  <a:pt x="130" y="138"/>
                  <a:pt x="126" y="138"/>
                  <a:pt x="123" y="139"/>
                </a:cubicBezTo>
                <a:cubicBezTo>
                  <a:pt x="120" y="141"/>
                  <a:pt x="117" y="144"/>
                  <a:pt x="117" y="148"/>
                </a:cubicBezTo>
                <a:cubicBezTo>
                  <a:pt x="95" y="332"/>
                  <a:pt x="249" y="414"/>
                  <a:pt x="251" y="414"/>
                </a:cubicBezTo>
                <a:cubicBezTo>
                  <a:pt x="251" y="415"/>
                  <a:pt x="252" y="415"/>
                  <a:pt x="252" y="415"/>
                </a:cubicBezTo>
                <a:cubicBezTo>
                  <a:pt x="252" y="415"/>
                  <a:pt x="253" y="415"/>
                  <a:pt x="253" y="415"/>
                </a:cubicBezTo>
                <a:cubicBezTo>
                  <a:pt x="254" y="416"/>
                  <a:pt x="255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7" y="416"/>
                  <a:pt x="257" y="416"/>
                  <a:pt x="258" y="415"/>
                </a:cubicBezTo>
                <a:cubicBezTo>
                  <a:pt x="259" y="415"/>
                  <a:pt x="259" y="415"/>
                  <a:pt x="259" y="415"/>
                </a:cubicBezTo>
                <a:cubicBezTo>
                  <a:pt x="260" y="415"/>
                  <a:pt x="260" y="415"/>
                  <a:pt x="261" y="414"/>
                </a:cubicBezTo>
                <a:cubicBezTo>
                  <a:pt x="262" y="414"/>
                  <a:pt x="416" y="332"/>
                  <a:pt x="394" y="148"/>
                </a:cubicBezTo>
                <a:close/>
                <a:moveTo>
                  <a:pt x="201" y="347"/>
                </a:moveTo>
                <a:cubicBezTo>
                  <a:pt x="224" y="372"/>
                  <a:pt x="246" y="387"/>
                  <a:pt x="256" y="393"/>
                </a:cubicBezTo>
                <a:cubicBezTo>
                  <a:pt x="280" y="379"/>
                  <a:pt x="380" y="311"/>
                  <a:pt x="375" y="173"/>
                </a:cubicBezTo>
                <a:lnTo>
                  <a:pt x="201" y="34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Freeform 760"/>
          <p:cNvSpPr>
            <a:spLocks noChangeAspect="1" noEditPoints="1"/>
          </p:cNvSpPr>
          <p:nvPr/>
        </p:nvSpPr>
        <p:spPr bwMode="auto">
          <a:xfrm>
            <a:off x="452883" y="2917276"/>
            <a:ext cx="367982" cy="367982"/>
          </a:xfrm>
          <a:custGeom>
            <a:avLst/>
            <a:gdLst>
              <a:gd name="T0" fmla="*/ 202 w 512"/>
              <a:gd name="T1" fmla="*/ 181 h 512"/>
              <a:gd name="T2" fmla="*/ 309 w 512"/>
              <a:gd name="T3" fmla="*/ 160 h 512"/>
              <a:gd name="T4" fmla="*/ 160 w 512"/>
              <a:gd name="T5" fmla="*/ 117 h 512"/>
              <a:gd name="T6" fmla="*/ 352 w 512"/>
              <a:gd name="T7" fmla="*/ 394 h 512"/>
              <a:gd name="T8" fmla="*/ 160 w 512"/>
              <a:gd name="T9" fmla="*/ 117 h 512"/>
              <a:gd name="T10" fmla="*/ 234 w 512"/>
              <a:gd name="T11" fmla="*/ 352 h 512"/>
              <a:gd name="T12" fmla="*/ 234 w 512"/>
              <a:gd name="T13" fmla="*/ 373 h 512"/>
              <a:gd name="T14" fmla="*/ 245 w 512"/>
              <a:gd name="T15" fmla="*/ 320 h 512"/>
              <a:gd name="T16" fmla="*/ 224 w 512"/>
              <a:gd name="T17" fmla="*/ 320 h 512"/>
              <a:gd name="T18" fmla="*/ 245 w 512"/>
              <a:gd name="T19" fmla="*/ 320 h 512"/>
              <a:gd name="T20" fmla="*/ 234 w 512"/>
              <a:gd name="T21" fmla="*/ 266 h 512"/>
              <a:gd name="T22" fmla="*/ 234 w 512"/>
              <a:gd name="T23" fmla="*/ 288 h 512"/>
              <a:gd name="T24" fmla="*/ 245 w 512"/>
              <a:gd name="T25" fmla="*/ 234 h 512"/>
              <a:gd name="T26" fmla="*/ 224 w 512"/>
              <a:gd name="T27" fmla="*/ 234 h 512"/>
              <a:gd name="T28" fmla="*/ 245 w 512"/>
              <a:gd name="T29" fmla="*/ 234 h 512"/>
              <a:gd name="T30" fmla="*/ 277 w 512"/>
              <a:gd name="T31" fmla="*/ 352 h 512"/>
              <a:gd name="T32" fmla="*/ 277 w 512"/>
              <a:gd name="T33" fmla="*/ 373 h 512"/>
              <a:gd name="T34" fmla="*/ 288 w 512"/>
              <a:gd name="T35" fmla="*/ 320 h 512"/>
              <a:gd name="T36" fmla="*/ 266 w 512"/>
              <a:gd name="T37" fmla="*/ 320 h 512"/>
              <a:gd name="T38" fmla="*/ 288 w 512"/>
              <a:gd name="T39" fmla="*/ 320 h 512"/>
              <a:gd name="T40" fmla="*/ 277 w 512"/>
              <a:gd name="T41" fmla="*/ 266 h 512"/>
              <a:gd name="T42" fmla="*/ 277 w 512"/>
              <a:gd name="T43" fmla="*/ 288 h 512"/>
              <a:gd name="T44" fmla="*/ 288 w 512"/>
              <a:gd name="T45" fmla="*/ 234 h 512"/>
              <a:gd name="T46" fmla="*/ 266 w 512"/>
              <a:gd name="T47" fmla="*/ 234 h 512"/>
              <a:gd name="T48" fmla="*/ 288 w 512"/>
              <a:gd name="T49" fmla="*/ 234 h 512"/>
              <a:gd name="T50" fmla="*/ 320 w 512"/>
              <a:gd name="T51" fmla="*/ 309 h 512"/>
              <a:gd name="T52" fmla="*/ 309 w 512"/>
              <a:gd name="T53" fmla="*/ 362 h 512"/>
              <a:gd name="T54" fmla="*/ 330 w 512"/>
              <a:gd name="T55" fmla="*/ 362 h 512"/>
              <a:gd name="T56" fmla="*/ 330 w 512"/>
              <a:gd name="T57" fmla="*/ 277 h 512"/>
              <a:gd name="T58" fmla="*/ 309 w 512"/>
              <a:gd name="T59" fmla="*/ 277 h 512"/>
              <a:gd name="T60" fmla="*/ 330 w 512"/>
              <a:gd name="T61" fmla="*/ 277 h 512"/>
              <a:gd name="T62" fmla="*/ 320 w 512"/>
              <a:gd name="T63" fmla="*/ 224 h 512"/>
              <a:gd name="T64" fmla="*/ 320 w 512"/>
              <a:gd name="T65" fmla="*/ 245 h 512"/>
              <a:gd name="T66" fmla="*/ 181 w 512"/>
              <a:gd name="T67" fmla="*/ 192 h 512"/>
              <a:gd name="T68" fmla="*/ 320 w 512"/>
              <a:gd name="T69" fmla="*/ 202 h 512"/>
              <a:gd name="T70" fmla="*/ 330 w 512"/>
              <a:gd name="T71" fmla="*/ 149 h 512"/>
              <a:gd name="T72" fmla="*/ 192 w 512"/>
              <a:gd name="T73" fmla="*/ 138 h 512"/>
              <a:gd name="T74" fmla="*/ 181 w 512"/>
              <a:gd name="T75" fmla="*/ 192 h 512"/>
              <a:gd name="T76" fmla="*/ 192 w 512"/>
              <a:gd name="T77" fmla="*/ 245 h 512"/>
              <a:gd name="T78" fmla="*/ 192 w 512"/>
              <a:gd name="T79" fmla="*/ 224 h 512"/>
              <a:gd name="T80" fmla="*/ 181 w 512"/>
              <a:gd name="T81" fmla="*/ 277 h 512"/>
              <a:gd name="T82" fmla="*/ 202 w 512"/>
              <a:gd name="T83" fmla="*/ 277 h 512"/>
              <a:gd name="T84" fmla="*/ 181 w 512"/>
              <a:gd name="T85" fmla="*/ 277 h 512"/>
              <a:gd name="T86" fmla="*/ 192 w 512"/>
              <a:gd name="T87" fmla="*/ 330 h 512"/>
              <a:gd name="T88" fmla="*/ 192 w 512"/>
              <a:gd name="T89" fmla="*/ 309 h 512"/>
              <a:gd name="T90" fmla="*/ 181 w 512"/>
              <a:gd name="T91" fmla="*/ 362 h 512"/>
              <a:gd name="T92" fmla="*/ 202 w 512"/>
              <a:gd name="T93" fmla="*/ 362 h 512"/>
              <a:gd name="T94" fmla="*/ 181 w 512"/>
              <a:gd name="T95" fmla="*/ 362 h 512"/>
              <a:gd name="T96" fmla="*/ 256 w 512"/>
              <a:gd name="T97" fmla="*/ 512 h 512"/>
              <a:gd name="T98" fmla="*/ 256 w 512"/>
              <a:gd name="T99" fmla="*/ 0 h 512"/>
              <a:gd name="T100" fmla="*/ 373 w 512"/>
              <a:gd name="T101" fmla="*/ 106 h 512"/>
              <a:gd name="T102" fmla="*/ 149 w 512"/>
              <a:gd name="T103" fmla="*/ 96 h 512"/>
              <a:gd name="T104" fmla="*/ 138 w 512"/>
              <a:gd name="T105" fmla="*/ 405 h 512"/>
              <a:gd name="T106" fmla="*/ 362 w 512"/>
              <a:gd name="T107" fmla="*/ 416 h 512"/>
              <a:gd name="T108" fmla="*/ 373 w 512"/>
              <a:gd name="T109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309" y="181"/>
                </a:moveTo>
                <a:cubicBezTo>
                  <a:pt x="202" y="181"/>
                  <a:pt x="202" y="181"/>
                  <a:pt x="202" y="181"/>
                </a:cubicBezTo>
                <a:cubicBezTo>
                  <a:pt x="202" y="160"/>
                  <a:pt x="202" y="160"/>
                  <a:pt x="202" y="160"/>
                </a:cubicBezTo>
                <a:cubicBezTo>
                  <a:pt x="309" y="160"/>
                  <a:pt x="309" y="160"/>
                  <a:pt x="309" y="160"/>
                </a:cubicBezTo>
                <a:lnTo>
                  <a:pt x="309" y="181"/>
                </a:lnTo>
                <a:close/>
                <a:moveTo>
                  <a:pt x="160" y="117"/>
                </a:moveTo>
                <a:cubicBezTo>
                  <a:pt x="352" y="117"/>
                  <a:pt x="352" y="117"/>
                  <a:pt x="352" y="117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lnTo>
                  <a:pt x="160" y="117"/>
                </a:lnTo>
                <a:close/>
                <a:moveTo>
                  <a:pt x="245" y="362"/>
                </a:moveTo>
                <a:cubicBezTo>
                  <a:pt x="245" y="356"/>
                  <a:pt x="240" y="352"/>
                  <a:pt x="234" y="352"/>
                </a:cubicBezTo>
                <a:cubicBezTo>
                  <a:pt x="228" y="352"/>
                  <a:pt x="224" y="356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240" y="373"/>
                  <a:pt x="245" y="368"/>
                  <a:pt x="245" y="362"/>
                </a:cubicBezTo>
                <a:close/>
                <a:moveTo>
                  <a:pt x="245" y="320"/>
                </a:moveTo>
                <a:cubicBezTo>
                  <a:pt x="245" y="314"/>
                  <a:pt x="240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26"/>
                  <a:pt x="228" y="330"/>
                  <a:pt x="234" y="330"/>
                </a:cubicBezTo>
                <a:cubicBezTo>
                  <a:pt x="240" y="330"/>
                  <a:pt x="245" y="326"/>
                  <a:pt x="245" y="320"/>
                </a:cubicBezTo>
                <a:close/>
                <a:moveTo>
                  <a:pt x="245" y="277"/>
                </a:moveTo>
                <a:cubicBezTo>
                  <a:pt x="245" y="271"/>
                  <a:pt x="240" y="266"/>
                  <a:pt x="234" y="266"/>
                </a:cubicBezTo>
                <a:cubicBezTo>
                  <a:pt x="228" y="266"/>
                  <a:pt x="224" y="271"/>
                  <a:pt x="224" y="277"/>
                </a:cubicBezTo>
                <a:cubicBezTo>
                  <a:pt x="224" y="283"/>
                  <a:pt x="228" y="288"/>
                  <a:pt x="234" y="288"/>
                </a:cubicBezTo>
                <a:cubicBezTo>
                  <a:pt x="240" y="288"/>
                  <a:pt x="245" y="283"/>
                  <a:pt x="245" y="277"/>
                </a:cubicBezTo>
                <a:close/>
                <a:moveTo>
                  <a:pt x="245" y="234"/>
                </a:moveTo>
                <a:cubicBezTo>
                  <a:pt x="245" y="228"/>
                  <a:pt x="240" y="224"/>
                  <a:pt x="234" y="224"/>
                </a:cubicBezTo>
                <a:cubicBezTo>
                  <a:pt x="228" y="224"/>
                  <a:pt x="224" y="228"/>
                  <a:pt x="224" y="234"/>
                </a:cubicBezTo>
                <a:cubicBezTo>
                  <a:pt x="224" y="240"/>
                  <a:pt x="228" y="245"/>
                  <a:pt x="234" y="245"/>
                </a:cubicBezTo>
                <a:cubicBezTo>
                  <a:pt x="240" y="245"/>
                  <a:pt x="245" y="240"/>
                  <a:pt x="245" y="234"/>
                </a:cubicBezTo>
                <a:close/>
                <a:moveTo>
                  <a:pt x="288" y="362"/>
                </a:moveTo>
                <a:cubicBezTo>
                  <a:pt x="288" y="356"/>
                  <a:pt x="283" y="352"/>
                  <a:pt x="277" y="352"/>
                </a:cubicBezTo>
                <a:cubicBezTo>
                  <a:pt x="271" y="352"/>
                  <a:pt x="266" y="356"/>
                  <a:pt x="266" y="362"/>
                </a:cubicBezTo>
                <a:cubicBezTo>
                  <a:pt x="266" y="368"/>
                  <a:pt x="271" y="373"/>
                  <a:pt x="277" y="373"/>
                </a:cubicBezTo>
                <a:cubicBezTo>
                  <a:pt x="283" y="373"/>
                  <a:pt x="288" y="368"/>
                  <a:pt x="288" y="362"/>
                </a:cubicBezTo>
                <a:close/>
                <a:moveTo>
                  <a:pt x="288" y="320"/>
                </a:moveTo>
                <a:cubicBezTo>
                  <a:pt x="288" y="314"/>
                  <a:pt x="283" y="309"/>
                  <a:pt x="277" y="309"/>
                </a:cubicBezTo>
                <a:cubicBezTo>
                  <a:pt x="271" y="309"/>
                  <a:pt x="266" y="314"/>
                  <a:pt x="266" y="320"/>
                </a:cubicBezTo>
                <a:cubicBezTo>
                  <a:pt x="266" y="326"/>
                  <a:pt x="271" y="330"/>
                  <a:pt x="277" y="330"/>
                </a:cubicBezTo>
                <a:cubicBezTo>
                  <a:pt x="283" y="330"/>
                  <a:pt x="288" y="326"/>
                  <a:pt x="288" y="320"/>
                </a:cubicBezTo>
                <a:close/>
                <a:moveTo>
                  <a:pt x="288" y="277"/>
                </a:moveTo>
                <a:cubicBezTo>
                  <a:pt x="288" y="271"/>
                  <a:pt x="283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ubicBezTo>
                  <a:pt x="266" y="283"/>
                  <a:pt x="271" y="288"/>
                  <a:pt x="277" y="288"/>
                </a:cubicBezTo>
                <a:cubicBezTo>
                  <a:pt x="283" y="288"/>
                  <a:pt x="288" y="283"/>
                  <a:pt x="288" y="277"/>
                </a:cubicBezTo>
                <a:close/>
                <a:moveTo>
                  <a:pt x="288" y="234"/>
                </a:moveTo>
                <a:cubicBezTo>
                  <a:pt x="288" y="228"/>
                  <a:pt x="283" y="224"/>
                  <a:pt x="277" y="224"/>
                </a:cubicBezTo>
                <a:cubicBezTo>
                  <a:pt x="271" y="224"/>
                  <a:pt x="266" y="228"/>
                  <a:pt x="266" y="234"/>
                </a:cubicBezTo>
                <a:cubicBezTo>
                  <a:pt x="266" y="240"/>
                  <a:pt x="271" y="245"/>
                  <a:pt x="277" y="245"/>
                </a:cubicBezTo>
                <a:cubicBezTo>
                  <a:pt x="283" y="245"/>
                  <a:pt x="288" y="240"/>
                  <a:pt x="288" y="234"/>
                </a:cubicBezTo>
                <a:close/>
                <a:moveTo>
                  <a:pt x="330" y="320"/>
                </a:moveTo>
                <a:cubicBezTo>
                  <a:pt x="330" y="314"/>
                  <a:pt x="326" y="309"/>
                  <a:pt x="320" y="309"/>
                </a:cubicBezTo>
                <a:cubicBezTo>
                  <a:pt x="314" y="309"/>
                  <a:pt x="309" y="314"/>
                  <a:pt x="309" y="320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68"/>
                  <a:pt x="314" y="373"/>
                  <a:pt x="320" y="373"/>
                </a:cubicBezTo>
                <a:cubicBezTo>
                  <a:pt x="326" y="373"/>
                  <a:pt x="330" y="368"/>
                  <a:pt x="330" y="362"/>
                </a:cubicBezTo>
                <a:lnTo>
                  <a:pt x="330" y="320"/>
                </a:lnTo>
                <a:close/>
                <a:moveTo>
                  <a:pt x="330" y="277"/>
                </a:moveTo>
                <a:cubicBezTo>
                  <a:pt x="330" y="271"/>
                  <a:pt x="326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3"/>
                  <a:pt x="314" y="288"/>
                  <a:pt x="320" y="288"/>
                </a:cubicBezTo>
                <a:cubicBezTo>
                  <a:pt x="326" y="288"/>
                  <a:pt x="330" y="283"/>
                  <a:pt x="330" y="277"/>
                </a:cubicBezTo>
                <a:close/>
                <a:moveTo>
                  <a:pt x="330" y="234"/>
                </a:moveTo>
                <a:cubicBezTo>
                  <a:pt x="330" y="228"/>
                  <a:pt x="326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26" y="245"/>
                  <a:pt x="330" y="240"/>
                  <a:pt x="330" y="234"/>
                </a:cubicBezTo>
                <a:close/>
                <a:moveTo>
                  <a:pt x="181" y="192"/>
                </a:moveTo>
                <a:cubicBezTo>
                  <a:pt x="181" y="198"/>
                  <a:pt x="186" y="202"/>
                  <a:pt x="192" y="202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26" y="202"/>
                  <a:pt x="330" y="198"/>
                  <a:pt x="330" y="192"/>
                </a:cubicBezTo>
                <a:cubicBezTo>
                  <a:pt x="330" y="149"/>
                  <a:pt x="330" y="149"/>
                  <a:pt x="330" y="149"/>
                </a:cubicBezTo>
                <a:cubicBezTo>
                  <a:pt x="330" y="143"/>
                  <a:pt x="326" y="138"/>
                  <a:pt x="320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86" y="138"/>
                  <a:pt x="181" y="143"/>
                  <a:pt x="181" y="149"/>
                </a:cubicBezTo>
                <a:lnTo>
                  <a:pt x="181" y="192"/>
                </a:lnTo>
                <a:close/>
                <a:moveTo>
                  <a:pt x="181" y="234"/>
                </a:moveTo>
                <a:cubicBezTo>
                  <a:pt x="181" y="240"/>
                  <a:pt x="186" y="245"/>
                  <a:pt x="192" y="245"/>
                </a:cubicBezTo>
                <a:cubicBezTo>
                  <a:pt x="198" y="245"/>
                  <a:pt x="202" y="240"/>
                  <a:pt x="202" y="234"/>
                </a:cubicBezTo>
                <a:cubicBezTo>
                  <a:pt x="202" y="228"/>
                  <a:pt x="198" y="224"/>
                  <a:pt x="192" y="224"/>
                </a:cubicBezTo>
                <a:cubicBezTo>
                  <a:pt x="186" y="224"/>
                  <a:pt x="181" y="228"/>
                  <a:pt x="181" y="234"/>
                </a:cubicBezTo>
                <a:close/>
                <a:moveTo>
                  <a:pt x="181" y="277"/>
                </a:moveTo>
                <a:cubicBezTo>
                  <a:pt x="181" y="283"/>
                  <a:pt x="186" y="288"/>
                  <a:pt x="192" y="288"/>
                </a:cubicBezTo>
                <a:cubicBezTo>
                  <a:pt x="198" y="288"/>
                  <a:pt x="202" y="283"/>
                  <a:pt x="202" y="277"/>
                </a:cubicBezTo>
                <a:cubicBezTo>
                  <a:pt x="202" y="271"/>
                  <a:pt x="198" y="266"/>
                  <a:pt x="192" y="266"/>
                </a:cubicBezTo>
                <a:cubicBezTo>
                  <a:pt x="186" y="266"/>
                  <a:pt x="181" y="271"/>
                  <a:pt x="181" y="277"/>
                </a:cubicBezTo>
                <a:close/>
                <a:moveTo>
                  <a:pt x="181" y="320"/>
                </a:moveTo>
                <a:cubicBezTo>
                  <a:pt x="181" y="326"/>
                  <a:pt x="186" y="330"/>
                  <a:pt x="192" y="330"/>
                </a:cubicBezTo>
                <a:cubicBezTo>
                  <a:pt x="198" y="330"/>
                  <a:pt x="202" y="326"/>
                  <a:pt x="202" y="320"/>
                </a:cubicBezTo>
                <a:cubicBezTo>
                  <a:pt x="202" y="314"/>
                  <a:pt x="198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lose/>
                <a:moveTo>
                  <a:pt x="181" y="362"/>
                </a:moveTo>
                <a:cubicBezTo>
                  <a:pt x="181" y="368"/>
                  <a:pt x="186" y="373"/>
                  <a:pt x="192" y="373"/>
                </a:cubicBezTo>
                <a:cubicBezTo>
                  <a:pt x="198" y="373"/>
                  <a:pt x="202" y="368"/>
                  <a:pt x="202" y="362"/>
                </a:cubicBezTo>
                <a:cubicBezTo>
                  <a:pt x="202" y="356"/>
                  <a:pt x="198" y="352"/>
                  <a:pt x="192" y="352"/>
                </a:cubicBezTo>
                <a:cubicBezTo>
                  <a:pt x="186" y="352"/>
                  <a:pt x="181" y="356"/>
                  <a:pt x="181" y="36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06"/>
                </a:moveTo>
                <a:cubicBezTo>
                  <a:pt x="373" y="100"/>
                  <a:pt x="368" y="96"/>
                  <a:pt x="362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0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2" name="Group 763"/>
          <p:cNvGrpSpPr>
            <a:grpSpLocks noChangeAspect="1"/>
          </p:cNvGrpSpPr>
          <p:nvPr/>
        </p:nvGrpSpPr>
        <p:grpSpPr bwMode="auto">
          <a:xfrm>
            <a:off x="950442" y="2917276"/>
            <a:ext cx="369064" cy="367982"/>
            <a:chOff x="3203" y="3365"/>
            <a:chExt cx="341" cy="340"/>
          </a:xfrm>
          <a:solidFill>
            <a:schemeClr val="accent3"/>
          </a:solidFill>
        </p:grpSpPr>
        <p:sp>
          <p:nvSpPr>
            <p:cNvPr id="73" name="Freeform 764"/>
            <p:cNvSpPr>
              <a:spLocks noEditPoints="1"/>
            </p:cNvSpPr>
            <p:nvPr/>
          </p:nvSpPr>
          <p:spPr bwMode="auto">
            <a:xfrm>
              <a:off x="3295" y="3429"/>
              <a:ext cx="156" cy="212"/>
            </a:xfrm>
            <a:custGeom>
              <a:avLst/>
              <a:gdLst>
                <a:gd name="T0" fmla="*/ 11 w 235"/>
                <a:gd name="T1" fmla="*/ 0 h 320"/>
                <a:gd name="T2" fmla="*/ 0 w 235"/>
                <a:gd name="T3" fmla="*/ 309 h 320"/>
                <a:gd name="T4" fmla="*/ 224 w 235"/>
                <a:gd name="T5" fmla="*/ 320 h 320"/>
                <a:gd name="T6" fmla="*/ 235 w 235"/>
                <a:gd name="T7" fmla="*/ 10 h 320"/>
                <a:gd name="T8" fmla="*/ 214 w 235"/>
                <a:gd name="T9" fmla="*/ 298 h 320"/>
                <a:gd name="T10" fmla="*/ 22 w 235"/>
                <a:gd name="T11" fmla="*/ 21 h 320"/>
                <a:gd name="T12" fmla="*/ 214 w 235"/>
                <a:gd name="T13" fmla="*/ 298 h 320"/>
                <a:gd name="T14" fmla="*/ 182 w 235"/>
                <a:gd name="T15" fmla="*/ 106 h 320"/>
                <a:gd name="T16" fmla="*/ 192 w 235"/>
                <a:gd name="T17" fmla="*/ 53 h 320"/>
                <a:gd name="T18" fmla="*/ 54 w 235"/>
                <a:gd name="T19" fmla="*/ 42 h 320"/>
                <a:gd name="T20" fmla="*/ 43 w 235"/>
                <a:gd name="T21" fmla="*/ 96 h 320"/>
                <a:gd name="T22" fmla="*/ 64 w 235"/>
                <a:gd name="T23" fmla="*/ 64 h 320"/>
                <a:gd name="T24" fmla="*/ 171 w 235"/>
                <a:gd name="T25" fmla="*/ 85 h 320"/>
                <a:gd name="T26" fmla="*/ 64 w 235"/>
                <a:gd name="T27" fmla="*/ 64 h 320"/>
                <a:gd name="T28" fmla="*/ 54 w 235"/>
                <a:gd name="T29" fmla="*/ 128 h 320"/>
                <a:gd name="T30" fmla="*/ 54 w 235"/>
                <a:gd name="T31" fmla="*/ 149 h 320"/>
                <a:gd name="T32" fmla="*/ 107 w 235"/>
                <a:gd name="T33" fmla="*/ 138 h 320"/>
                <a:gd name="T34" fmla="*/ 86 w 235"/>
                <a:gd name="T35" fmla="*/ 138 h 320"/>
                <a:gd name="T36" fmla="*/ 107 w 235"/>
                <a:gd name="T37" fmla="*/ 138 h 320"/>
                <a:gd name="T38" fmla="*/ 139 w 235"/>
                <a:gd name="T39" fmla="*/ 149 h 320"/>
                <a:gd name="T40" fmla="*/ 139 w 235"/>
                <a:gd name="T41" fmla="*/ 128 h 320"/>
                <a:gd name="T42" fmla="*/ 192 w 235"/>
                <a:gd name="T43" fmla="*/ 138 h 320"/>
                <a:gd name="T44" fmla="*/ 171 w 235"/>
                <a:gd name="T45" fmla="*/ 138 h 320"/>
                <a:gd name="T46" fmla="*/ 192 w 235"/>
                <a:gd name="T47" fmla="*/ 138 h 320"/>
                <a:gd name="T48" fmla="*/ 54 w 235"/>
                <a:gd name="T49" fmla="*/ 170 h 320"/>
                <a:gd name="T50" fmla="*/ 54 w 235"/>
                <a:gd name="T51" fmla="*/ 192 h 320"/>
                <a:gd name="T52" fmla="*/ 107 w 235"/>
                <a:gd name="T53" fmla="*/ 181 h 320"/>
                <a:gd name="T54" fmla="*/ 86 w 235"/>
                <a:gd name="T55" fmla="*/ 181 h 320"/>
                <a:gd name="T56" fmla="*/ 107 w 235"/>
                <a:gd name="T57" fmla="*/ 181 h 320"/>
                <a:gd name="T58" fmla="*/ 139 w 235"/>
                <a:gd name="T59" fmla="*/ 192 h 320"/>
                <a:gd name="T60" fmla="*/ 139 w 235"/>
                <a:gd name="T61" fmla="*/ 170 h 320"/>
                <a:gd name="T62" fmla="*/ 192 w 235"/>
                <a:gd name="T63" fmla="*/ 181 h 320"/>
                <a:gd name="T64" fmla="*/ 171 w 235"/>
                <a:gd name="T65" fmla="*/ 181 h 320"/>
                <a:gd name="T66" fmla="*/ 192 w 235"/>
                <a:gd name="T67" fmla="*/ 181 h 320"/>
                <a:gd name="T68" fmla="*/ 54 w 235"/>
                <a:gd name="T69" fmla="*/ 213 h 320"/>
                <a:gd name="T70" fmla="*/ 54 w 235"/>
                <a:gd name="T71" fmla="*/ 234 h 320"/>
                <a:gd name="T72" fmla="*/ 107 w 235"/>
                <a:gd name="T73" fmla="*/ 224 h 320"/>
                <a:gd name="T74" fmla="*/ 86 w 235"/>
                <a:gd name="T75" fmla="*/ 224 h 320"/>
                <a:gd name="T76" fmla="*/ 107 w 235"/>
                <a:gd name="T77" fmla="*/ 224 h 320"/>
                <a:gd name="T78" fmla="*/ 139 w 235"/>
                <a:gd name="T79" fmla="*/ 234 h 320"/>
                <a:gd name="T80" fmla="*/ 139 w 235"/>
                <a:gd name="T81" fmla="*/ 213 h 320"/>
                <a:gd name="T82" fmla="*/ 192 w 235"/>
                <a:gd name="T83" fmla="*/ 224 h 320"/>
                <a:gd name="T84" fmla="*/ 182 w 235"/>
                <a:gd name="T85" fmla="*/ 277 h 320"/>
                <a:gd name="T86" fmla="*/ 171 w 235"/>
                <a:gd name="T87" fmla="*/ 224 h 320"/>
                <a:gd name="T88" fmla="*/ 192 w 235"/>
                <a:gd name="T89" fmla="*/ 224 h 320"/>
                <a:gd name="T90" fmla="*/ 54 w 235"/>
                <a:gd name="T91" fmla="*/ 256 h 320"/>
                <a:gd name="T92" fmla="*/ 54 w 235"/>
                <a:gd name="T93" fmla="*/ 277 h 320"/>
                <a:gd name="T94" fmla="*/ 107 w 235"/>
                <a:gd name="T95" fmla="*/ 266 h 320"/>
                <a:gd name="T96" fmla="*/ 86 w 235"/>
                <a:gd name="T97" fmla="*/ 266 h 320"/>
                <a:gd name="T98" fmla="*/ 107 w 235"/>
                <a:gd name="T99" fmla="*/ 266 h 320"/>
                <a:gd name="T100" fmla="*/ 139 w 235"/>
                <a:gd name="T101" fmla="*/ 277 h 320"/>
                <a:gd name="T102" fmla="*/ 139 w 235"/>
                <a:gd name="T10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320">
                  <a:moveTo>
                    <a:pt x="2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0"/>
                    <a:pt x="235" y="10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4" y="21"/>
                    <a:pt x="214" y="21"/>
                    <a:pt x="214" y="21"/>
                  </a:cubicBezTo>
                  <a:lnTo>
                    <a:pt x="214" y="298"/>
                  </a:lnTo>
                  <a:close/>
                  <a:moveTo>
                    <a:pt x="54" y="106"/>
                  </a:moveTo>
                  <a:cubicBezTo>
                    <a:pt x="182" y="106"/>
                    <a:pt x="182" y="106"/>
                    <a:pt x="182" y="106"/>
                  </a:cubicBezTo>
                  <a:cubicBezTo>
                    <a:pt x="188" y="106"/>
                    <a:pt x="192" y="102"/>
                    <a:pt x="192" y="96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47"/>
                    <a:pt x="188" y="42"/>
                    <a:pt x="182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8" y="106"/>
                    <a:pt x="54" y="106"/>
                  </a:cubicBezTo>
                  <a:close/>
                  <a:moveTo>
                    <a:pt x="64" y="64"/>
                  </a:moveTo>
                  <a:cubicBezTo>
                    <a:pt x="171" y="64"/>
                    <a:pt x="171" y="64"/>
                    <a:pt x="171" y="64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64" y="85"/>
                    <a:pt x="64" y="85"/>
                    <a:pt x="64" y="85"/>
                  </a:cubicBezTo>
                  <a:lnTo>
                    <a:pt x="64" y="64"/>
                  </a:lnTo>
                  <a:close/>
                  <a:moveTo>
                    <a:pt x="43" y="138"/>
                  </a:moveTo>
                  <a:cubicBezTo>
                    <a:pt x="43" y="132"/>
                    <a:pt x="48" y="128"/>
                    <a:pt x="54" y="128"/>
                  </a:cubicBezTo>
                  <a:cubicBezTo>
                    <a:pt x="60" y="128"/>
                    <a:pt x="64" y="132"/>
                    <a:pt x="64" y="138"/>
                  </a:cubicBezTo>
                  <a:cubicBezTo>
                    <a:pt x="64" y="144"/>
                    <a:pt x="60" y="149"/>
                    <a:pt x="54" y="149"/>
                  </a:cubicBezTo>
                  <a:cubicBezTo>
                    <a:pt x="48" y="149"/>
                    <a:pt x="43" y="144"/>
                    <a:pt x="43" y="138"/>
                  </a:cubicBezTo>
                  <a:close/>
                  <a:moveTo>
                    <a:pt x="107" y="138"/>
                  </a:moveTo>
                  <a:cubicBezTo>
                    <a:pt x="107" y="144"/>
                    <a:pt x="102" y="149"/>
                    <a:pt x="96" y="149"/>
                  </a:cubicBezTo>
                  <a:cubicBezTo>
                    <a:pt x="90" y="149"/>
                    <a:pt x="86" y="144"/>
                    <a:pt x="86" y="138"/>
                  </a:cubicBezTo>
                  <a:cubicBezTo>
                    <a:pt x="86" y="132"/>
                    <a:pt x="90" y="128"/>
                    <a:pt x="96" y="128"/>
                  </a:cubicBezTo>
                  <a:cubicBezTo>
                    <a:pt x="102" y="128"/>
                    <a:pt x="107" y="132"/>
                    <a:pt x="107" y="138"/>
                  </a:cubicBezTo>
                  <a:close/>
                  <a:moveTo>
                    <a:pt x="150" y="138"/>
                  </a:moveTo>
                  <a:cubicBezTo>
                    <a:pt x="150" y="144"/>
                    <a:pt x="145" y="149"/>
                    <a:pt x="139" y="149"/>
                  </a:cubicBezTo>
                  <a:cubicBezTo>
                    <a:pt x="133" y="149"/>
                    <a:pt x="128" y="144"/>
                    <a:pt x="128" y="138"/>
                  </a:cubicBezTo>
                  <a:cubicBezTo>
                    <a:pt x="128" y="132"/>
                    <a:pt x="133" y="128"/>
                    <a:pt x="139" y="128"/>
                  </a:cubicBezTo>
                  <a:cubicBezTo>
                    <a:pt x="145" y="128"/>
                    <a:pt x="150" y="132"/>
                    <a:pt x="150" y="138"/>
                  </a:cubicBezTo>
                  <a:close/>
                  <a:moveTo>
                    <a:pt x="192" y="138"/>
                  </a:moveTo>
                  <a:cubicBezTo>
                    <a:pt x="192" y="144"/>
                    <a:pt x="188" y="149"/>
                    <a:pt x="182" y="149"/>
                  </a:cubicBezTo>
                  <a:cubicBezTo>
                    <a:pt x="176" y="149"/>
                    <a:pt x="171" y="144"/>
                    <a:pt x="171" y="138"/>
                  </a:cubicBezTo>
                  <a:cubicBezTo>
                    <a:pt x="171" y="132"/>
                    <a:pt x="176" y="128"/>
                    <a:pt x="182" y="128"/>
                  </a:cubicBezTo>
                  <a:cubicBezTo>
                    <a:pt x="188" y="128"/>
                    <a:pt x="192" y="132"/>
                    <a:pt x="192" y="138"/>
                  </a:cubicBezTo>
                  <a:close/>
                  <a:moveTo>
                    <a:pt x="43" y="181"/>
                  </a:moveTo>
                  <a:cubicBezTo>
                    <a:pt x="43" y="175"/>
                    <a:pt x="48" y="170"/>
                    <a:pt x="54" y="170"/>
                  </a:cubicBezTo>
                  <a:cubicBezTo>
                    <a:pt x="60" y="170"/>
                    <a:pt x="64" y="175"/>
                    <a:pt x="64" y="181"/>
                  </a:cubicBezTo>
                  <a:cubicBezTo>
                    <a:pt x="64" y="187"/>
                    <a:pt x="60" y="192"/>
                    <a:pt x="54" y="192"/>
                  </a:cubicBezTo>
                  <a:cubicBezTo>
                    <a:pt x="48" y="192"/>
                    <a:pt x="43" y="187"/>
                    <a:pt x="43" y="181"/>
                  </a:cubicBezTo>
                  <a:close/>
                  <a:moveTo>
                    <a:pt x="107" y="181"/>
                  </a:moveTo>
                  <a:cubicBezTo>
                    <a:pt x="107" y="187"/>
                    <a:pt x="102" y="192"/>
                    <a:pt x="96" y="192"/>
                  </a:cubicBezTo>
                  <a:cubicBezTo>
                    <a:pt x="90" y="192"/>
                    <a:pt x="86" y="187"/>
                    <a:pt x="86" y="181"/>
                  </a:cubicBezTo>
                  <a:cubicBezTo>
                    <a:pt x="86" y="175"/>
                    <a:pt x="90" y="170"/>
                    <a:pt x="96" y="170"/>
                  </a:cubicBezTo>
                  <a:cubicBezTo>
                    <a:pt x="102" y="170"/>
                    <a:pt x="107" y="175"/>
                    <a:pt x="107" y="181"/>
                  </a:cubicBezTo>
                  <a:close/>
                  <a:moveTo>
                    <a:pt x="150" y="181"/>
                  </a:moveTo>
                  <a:cubicBezTo>
                    <a:pt x="150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ubicBezTo>
                    <a:pt x="128" y="175"/>
                    <a:pt x="133" y="170"/>
                    <a:pt x="139" y="170"/>
                  </a:cubicBezTo>
                  <a:cubicBezTo>
                    <a:pt x="145" y="170"/>
                    <a:pt x="150" y="175"/>
                    <a:pt x="150" y="181"/>
                  </a:cubicBezTo>
                  <a:close/>
                  <a:moveTo>
                    <a:pt x="192" y="181"/>
                  </a:moveTo>
                  <a:cubicBezTo>
                    <a:pt x="192" y="187"/>
                    <a:pt x="188" y="192"/>
                    <a:pt x="182" y="192"/>
                  </a:cubicBezTo>
                  <a:cubicBezTo>
                    <a:pt x="176" y="192"/>
                    <a:pt x="171" y="187"/>
                    <a:pt x="171" y="181"/>
                  </a:cubicBezTo>
                  <a:cubicBezTo>
                    <a:pt x="171" y="175"/>
                    <a:pt x="176" y="170"/>
                    <a:pt x="182" y="170"/>
                  </a:cubicBezTo>
                  <a:cubicBezTo>
                    <a:pt x="188" y="170"/>
                    <a:pt x="192" y="175"/>
                    <a:pt x="192" y="181"/>
                  </a:cubicBezTo>
                  <a:close/>
                  <a:moveTo>
                    <a:pt x="43" y="224"/>
                  </a:moveTo>
                  <a:cubicBezTo>
                    <a:pt x="43" y="218"/>
                    <a:pt x="48" y="213"/>
                    <a:pt x="54" y="213"/>
                  </a:cubicBezTo>
                  <a:cubicBezTo>
                    <a:pt x="60" y="213"/>
                    <a:pt x="64" y="218"/>
                    <a:pt x="64" y="224"/>
                  </a:cubicBezTo>
                  <a:cubicBezTo>
                    <a:pt x="64" y="230"/>
                    <a:pt x="60" y="234"/>
                    <a:pt x="54" y="234"/>
                  </a:cubicBezTo>
                  <a:cubicBezTo>
                    <a:pt x="48" y="234"/>
                    <a:pt x="43" y="230"/>
                    <a:pt x="43" y="224"/>
                  </a:cubicBezTo>
                  <a:close/>
                  <a:moveTo>
                    <a:pt x="107" y="224"/>
                  </a:moveTo>
                  <a:cubicBezTo>
                    <a:pt x="107" y="230"/>
                    <a:pt x="102" y="234"/>
                    <a:pt x="96" y="234"/>
                  </a:cubicBezTo>
                  <a:cubicBezTo>
                    <a:pt x="90" y="234"/>
                    <a:pt x="86" y="230"/>
                    <a:pt x="86" y="224"/>
                  </a:cubicBezTo>
                  <a:cubicBezTo>
                    <a:pt x="86" y="218"/>
                    <a:pt x="90" y="213"/>
                    <a:pt x="96" y="213"/>
                  </a:cubicBezTo>
                  <a:cubicBezTo>
                    <a:pt x="102" y="213"/>
                    <a:pt x="107" y="218"/>
                    <a:pt x="107" y="224"/>
                  </a:cubicBezTo>
                  <a:close/>
                  <a:moveTo>
                    <a:pt x="150" y="224"/>
                  </a:moveTo>
                  <a:cubicBezTo>
                    <a:pt x="150" y="230"/>
                    <a:pt x="145" y="234"/>
                    <a:pt x="139" y="234"/>
                  </a:cubicBezTo>
                  <a:cubicBezTo>
                    <a:pt x="133" y="234"/>
                    <a:pt x="128" y="230"/>
                    <a:pt x="128" y="224"/>
                  </a:cubicBezTo>
                  <a:cubicBezTo>
                    <a:pt x="128" y="218"/>
                    <a:pt x="133" y="213"/>
                    <a:pt x="139" y="213"/>
                  </a:cubicBezTo>
                  <a:cubicBezTo>
                    <a:pt x="145" y="213"/>
                    <a:pt x="150" y="218"/>
                    <a:pt x="150" y="224"/>
                  </a:cubicBezTo>
                  <a:close/>
                  <a:moveTo>
                    <a:pt x="192" y="224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72"/>
                    <a:pt x="188" y="277"/>
                    <a:pt x="182" y="277"/>
                  </a:cubicBezTo>
                  <a:cubicBezTo>
                    <a:pt x="176" y="277"/>
                    <a:pt x="171" y="272"/>
                    <a:pt x="171" y="266"/>
                  </a:cubicBezTo>
                  <a:cubicBezTo>
                    <a:pt x="171" y="224"/>
                    <a:pt x="171" y="224"/>
                    <a:pt x="171" y="224"/>
                  </a:cubicBezTo>
                  <a:cubicBezTo>
                    <a:pt x="171" y="218"/>
                    <a:pt x="176" y="213"/>
                    <a:pt x="182" y="213"/>
                  </a:cubicBezTo>
                  <a:cubicBezTo>
                    <a:pt x="188" y="213"/>
                    <a:pt x="192" y="218"/>
                    <a:pt x="192" y="224"/>
                  </a:cubicBezTo>
                  <a:close/>
                  <a:moveTo>
                    <a:pt x="43" y="266"/>
                  </a:move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72"/>
                    <a:pt x="60" y="277"/>
                    <a:pt x="54" y="277"/>
                  </a:cubicBezTo>
                  <a:cubicBezTo>
                    <a:pt x="48" y="277"/>
                    <a:pt x="43" y="272"/>
                    <a:pt x="43" y="266"/>
                  </a:cubicBezTo>
                  <a:close/>
                  <a:moveTo>
                    <a:pt x="107" y="266"/>
                  </a:moveTo>
                  <a:cubicBezTo>
                    <a:pt x="107" y="272"/>
                    <a:pt x="102" y="277"/>
                    <a:pt x="96" y="277"/>
                  </a:cubicBezTo>
                  <a:cubicBezTo>
                    <a:pt x="90" y="277"/>
                    <a:pt x="86" y="272"/>
                    <a:pt x="86" y="266"/>
                  </a:cubicBezTo>
                  <a:cubicBezTo>
                    <a:pt x="86" y="260"/>
                    <a:pt x="90" y="256"/>
                    <a:pt x="96" y="256"/>
                  </a:cubicBezTo>
                  <a:cubicBezTo>
                    <a:pt x="102" y="256"/>
                    <a:pt x="107" y="260"/>
                    <a:pt x="107" y="266"/>
                  </a:cubicBezTo>
                  <a:close/>
                  <a:moveTo>
                    <a:pt x="150" y="266"/>
                  </a:moveTo>
                  <a:cubicBezTo>
                    <a:pt x="150" y="272"/>
                    <a:pt x="145" y="277"/>
                    <a:pt x="139" y="277"/>
                  </a:cubicBezTo>
                  <a:cubicBezTo>
                    <a:pt x="133" y="277"/>
                    <a:pt x="128" y="272"/>
                    <a:pt x="128" y="266"/>
                  </a:cubicBezTo>
                  <a:cubicBezTo>
                    <a:pt x="128" y="260"/>
                    <a:pt x="133" y="256"/>
                    <a:pt x="139" y="256"/>
                  </a:cubicBezTo>
                  <a:cubicBezTo>
                    <a:pt x="145" y="256"/>
                    <a:pt x="150" y="260"/>
                    <a:pt x="15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765"/>
            <p:cNvSpPr>
              <a:spLocks noEditPoints="1"/>
            </p:cNvSpPr>
            <p:nvPr/>
          </p:nvSpPr>
          <p:spPr bwMode="auto">
            <a:xfrm>
              <a:off x="3203" y="336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" name="Group 9"/>
          <p:cNvGrpSpPr>
            <a:grpSpLocks noChangeAspect="1"/>
          </p:cNvGrpSpPr>
          <p:nvPr/>
        </p:nvGrpSpPr>
        <p:grpSpPr bwMode="auto">
          <a:xfrm>
            <a:off x="1946898" y="2917106"/>
            <a:ext cx="368051" cy="368152"/>
            <a:chOff x="299" y="-289"/>
            <a:chExt cx="3635" cy="3636"/>
          </a:xfrm>
          <a:solidFill>
            <a:schemeClr val="accent1"/>
          </a:solidFill>
        </p:grpSpPr>
        <p:sp>
          <p:nvSpPr>
            <p:cNvPr id="76" name="Freeform 10"/>
            <p:cNvSpPr>
              <a:spLocks noEditPoints="1"/>
            </p:cNvSpPr>
            <p:nvPr/>
          </p:nvSpPr>
          <p:spPr bwMode="auto">
            <a:xfrm>
              <a:off x="299" y="-289"/>
              <a:ext cx="3635" cy="3636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1"/>
            <p:cNvSpPr>
              <a:spLocks noEditPoints="1"/>
            </p:cNvSpPr>
            <p:nvPr/>
          </p:nvSpPr>
          <p:spPr bwMode="auto">
            <a:xfrm>
              <a:off x="1130" y="542"/>
              <a:ext cx="1966" cy="1967"/>
            </a:xfrm>
            <a:custGeom>
              <a:avLst/>
              <a:gdLst>
                <a:gd name="T0" fmla="*/ 267 w 277"/>
                <a:gd name="T1" fmla="*/ 277 h 277"/>
                <a:gd name="T2" fmla="*/ 0 w 277"/>
                <a:gd name="T3" fmla="*/ 267 h 277"/>
                <a:gd name="T4" fmla="*/ 11 w 277"/>
                <a:gd name="T5" fmla="*/ 11 h 277"/>
                <a:gd name="T6" fmla="*/ 32 w 277"/>
                <a:gd name="T7" fmla="*/ 11 h 277"/>
                <a:gd name="T8" fmla="*/ 245 w 277"/>
                <a:gd name="T9" fmla="*/ 256 h 277"/>
                <a:gd name="T10" fmla="*/ 256 w 277"/>
                <a:gd name="T11" fmla="*/ 0 h 277"/>
                <a:gd name="T12" fmla="*/ 267 w 277"/>
                <a:gd name="T13" fmla="*/ 256 h 277"/>
                <a:gd name="T14" fmla="*/ 75 w 277"/>
                <a:gd name="T15" fmla="*/ 235 h 277"/>
                <a:gd name="T16" fmla="*/ 120 w 277"/>
                <a:gd name="T17" fmla="*/ 224 h 277"/>
                <a:gd name="T18" fmla="*/ 157 w 277"/>
                <a:gd name="T19" fmla="*/ 224 h 277"/>
                <a:gd name="T20" fmla="*/ 203 w 277"/>
                <a:gd name="T21" fmla="*/ 235 h 277"/>
                <a:gd name="T22" fmla="*/ 203 w 277"/>
                <a:gd name="T23" fmla="*/ 192 h 277"/>
                <a:gd name="T24" fmla="*/ 157 w 277"/>
                <a:gd name="T25" fmla="*/ 203 h 277"/>
                <a:gd name="T26" fmla="*/ 120 w 277"/>
                <a:gd name="T27" fmla="*/ 203 h 277"/>
                <a:gd name="T28" fmla="*/ 75 w 277"/>
                <a:gd name="T29" fmla="*/ 192 h 277"/>
                <a:gd name="T30" fmla="*/ 75 w 277"/>
                <a:gd name="T31" fmla="*/ 235 h 277"/>
                <a:gd name="T32" fmla="*/ 93 w 277"/>
                <a:gd name="T33" fmla="*/ 149 h 277"/>
                <a:gd name="T34" fmla="*/ 160 w 277"/>
                <a:gd name="T35" fmla="*/ 160 h 277"/>
                <a:gd name="T36" fmla="*/ 184 w 277"/>
                <a:gd name="T37" fmla="*/ 149 h 277"/>
                <a:gd name="T38" fmla="*/ 224 w 277"/>
                <a:gd name="T39" fmla="*/ 139 h 277"/>
                <a:gd name="T40" fmla="*/ 184 w 277"/>
                <a:gd name="T41" fmla="*/ 128 h 277"/>
                <a:gd name="T42" fmla="*/ 160 w 277"/>
                <a:gd name="T43" fmla="*/ 117 h 277"/>
                <a:gd name="T44" fmla="*/ 93 w 277"/>
                <a:gd name="T45" fmla="*/ 128 h 277"/>
                <a:gd name="T46" fmla="*/ 53 w 277"/>
                <a:gd name="T47" fmla="*/ 139 h 277"/>
                <a:gd name="T48" fmla="*/ 75 w 277"/>
                <a:gd name="T49" fmla="*/ 85 h 277"/>
                <a:gd name="T50" fmla="*/ 99 w 277"/>
                <a:gd name="T51" fmla="*/ 75 h 277"/>
                <a:gd name="T52" fmla="*/ 136 w 277"/>
                <a:gd name="T53" fmla="*/ 75 h 277"/>
                <a:gd name="T54" fmla="*/ 203 w 277"/>
                <a:gd name="T55" fmla="*/ 85 h 277"/>
                <a:gd name="T56" fmla="*/ 203 w 277"/>
                <a:gd name="T57" fmla="*/ 43 h 277"/>
                <a:gd name="T58" fmla="*/ 136 w 277"/>
                <a:gd name="T59" fmla="*/ 53 h 277"/>
                <a:gd name="T60" fmla="*/ 99 w 277"/>
                <a:gd name="T61" fmla="*/ 53 h 277"/>
                <a:gd name="T62" fmla="*/ 75 w 277"/>
                <a:gd name="T63" fmla="*/ 43 h 277"/>
                <a:gd name="T64" fmla="*/ 75 w 277"/>
                <a:gd name="T65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7" h="277">
                  <a:moveTo>
                    <a:pt x="277" y="267"/>
                  </a:moveTo>
                  <a:cubicBezTo>
                    <a:pt x="277" y="273"/>
                    <a:pt x="273" y="277"/>
                    <a:pt x="267" y="277"/>
                  </a:cubicBezTo>
                  <a:cubicBezTo>
                    <a:pt x="11" y="277"/>
                    <a:pt x="11" y="277"/>
                    <a:pt x="11" y="277"/>
                  </a:cubicBezTo>
                  <a:cubicBezTo>
                    <a:pt x="5" y="277"/>
                    <a:pt x="0" y="273"/>
                    <a:pt x="0" y="267"/>
                  </a:cubicBezTo>
                  <a:cubicBezTo>
                    <a:pt x="0" y="261"/>
                    <a:pt x="5" y="256"/>
                    <a:pt x="11" y="25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5"/>
                    <a:pt x="15" y="0"/>
                    <a:pt x="21" y="0"/>
                  </a:cubicBezTo>
                  <a:cubicBezTo>
                    <a:pt x="27" y="0"/>
                    <a:pt x="32" y="5"/>
                    <a:pt x="32" y="11"/>
                  </a:cubicBezTo>
                  <a:cubicBezTo>
                    <a:pt x="32" y="256"/>
                    <a:pt x="32" y="256"/>
                    <a:pt x="32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45" y="11"/>
                    <a:pt x="245" y="11"/>
                    <a:pt x="245" y="11"/>
                  </a:cubicBezTo>
                  <a:cubicBezTo>
                    <a:pt x="245" y="5"/>
                    <a:pt x="250" y="0"/>
                    <a:pt x="256" y="0"/>
                  </a:cubicBezTo>
                  <a:cubicBezTo>
                    <a:pt x="262" y="0"/>
                    <a:pt x="267" y="5"/>
                    <a:pt x="267" y="11"/>
                  </a:cubicBezTo>
                  <a:cubicBezTo>
                    <a:pt x="267" y="256"/>
                    <a:pt x="267" y="256"/>
                    <a:pt x="267" y="256"/>
                  </a:cubicBezTo>
                  <a:cubicBezTo>
                    <a:pt x="273" y="256"/>
                    <a:pt x="277" y="261"/>
                    <a:pt x="277" y="267"/>
                  </a:cubicBezTo>
                  <a:close/>
                  <a:moveTo>
                    <a:pt x="75" y="235"/>
                  </a:moveTo>
                  <a:cubicBezTo>
                    <a:pt x="83" y="235"/>
                    <a:pt x="89" y="230"/>
                    <a:pt x="93" y="224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4" y="230"/>
                    <a:pt x="131" y="235"/>
                    <a:pt x="139" y="235"/>
                  </a:cubicBezTo>
                  <a:cubicBezTo>
                    <a:pt x="147" y="235"/>
                    <a:pt x="153" y="230"/>
                    <a:pt x="157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8" y="230"/>
                    <a:pt x="195" y="235"/>
                    <a:pt x="203" y="235"/>
                  </a:cubicBezTo>
                  <a:cubicBezTo>
                    <a:pt x="214" y="235"/>
                    <a:pt x="224" y="225"/>
                    <a:pt x="224" y="213"/>
                  </a:cubicBezTo>
                  <a:cubicBezTo>
                    <a:pt x="224" y="202"/>
                    <a:pt x="214" y="192"/>
                    <a:pt x="203" y="192"/>
                  </a:cubicBezTo>
                  <a:cubicBezTo>
                    <a:pt x="195" y="192"/>
                    <a:pt x="188" y="196"/>
                    <a:pt x="184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3" y="196"/>
                    <a:pt x="147" y="192"/>
                    <a:pt x="139" y="192"/>
                  </a:cubicBezTo>
                  <a:cubicBezTo>
                    <a:pt x="131" y="192"/>
                    <a:pt x="124" y="196"/>
                    <a:pt x="120" y="203"/>
                  </a:cubicBezTo>
                  <a:cubicBezTo>
                    <a:pt x="93" y="203"/>
                    <a:pt x="93" y="203"/>
                    <a:pt x="93" y="203"/>
                  </a:cubicBezTo>
                  <a:cubicBezTo>
                    <a:pt x="89" y="196"/>
                    <a:pt x="83" y="192"/>
                    <a:pt x="75" y="192"/>
                  </a:cubicBezTo>
                  <a:cubicBezTo>
                    <a:pt x="63" y="192"/>
                    <a:pt x="53" y="202"/>
                    <a:pt x="53" y="213"/>
                  </a:cubicBezTo>
                  <a:cubicBezTo>
                    <a:pt x="53" y="225"/>
                    <a:pt x="63" y="235"/>
                    <a:pt x="75" y="235"/>
                  </a:cubicBezTo>
                  <a:close/>
                  <a:moveTo>
                    <a:pt x="75" y="160"/>
                  </a:moveTo>
                  <a:cubicBezTo>
                    <a:pt x="83" y="160"/>
                    <a:pt x="89" y="156"/>
                    <a:pt x="93" y="149"/>
                  </a:cubicBezTo>
                  <a:cubicBezTo>
                    <a:pt x="142" y="149"/>
                    <a:pt x="142" y="149"/>
                    <a:pt x="142" y="149"/>
                  </a:cubicBezTo>
                  <a:cubicBezTo>
                    <a:pt x="145" y="156"/>
                    <a:pt x="152" y="160"/>
                    <a:pt x="160" y="160"/>
                  </a:cubicBezTo>
                  <a:cubicBezTo>
                    <a:pt x="168" y="160"/>
                    <a:pt x="175" y="156"/>
                    <a:pt x="178" y="149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95" y="160"/>
                    <a:pt x="203" y="160"/>
                  </a:cubicBezTo>
                  <a:cubicBezTo>
                    <a:pt x="214" y="160"/>
                    <a:pt x="224" y="150"/>
                    <a:pt x="224" y="139"/>
                  </a:cubicBezTo>
                  <a:cubicBezTo>
                    <a:pt x="224" y="127"/>
                    <a:pt x="214" y="117"/>
                    <a:pt x="203" y="117"/>
                  </a:cubicBezTo>
                  <a:cubicBezTo>
                    <a:pt x="195" y="117"/>
                    <a:pt x="188" y="122"/>
                    <a:pt x="184" y="128"/>
                  </a:cubicBezTo>
                  <a:cubicBezTo>
                    <a:pt x="178" y="128"/>
                    <a:pt x="178" y="128"/>
                    <a:pt x="178" y="128"/>
                  </a:cubicBezTo>
                  <a:cubicBezTo>
                    <a:pt x="175" y="122"/>
                    <a:pt x="168" y="117"/>
                    <a:pt x="160" y="117"/>
                  </a:cubicBezTo>
                  <a:cubicBezTo>
                    <a:pt x="152" y="117"/>
                    <a:pt x="145" y="122"/>
                    <a:pt x="142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89" y="122"/>
                    <a:pt x="83" y="117"/>
                    <a:pt x="75" y="117"/>
                  </a:cubicBezTo>
                  <a:cubicBezTo>
                    <a:pt x="63" y="117"/>
                    <a:pt x="53" y="127"/>
                    <a:pt x="53" y="139"/>
                  </a:cubicBezTo>
                  <a:cubicBezTo>
                    <a:pt x="53" y="150"/>
                    <a:pt x="63" y="160"/>
                    <a:pt x="75" y="160"/>
                  </a:cubicBezTo>
                  <a:close/>
                  <a:moveTo>
                    <a:pt x="75" y="85"/>
                  </a:moveTo>
                  <a:cubicBezTo>
                    <a:pt x="83" y="85"/>
                    <a:pt x="89" y="81"/>
                    <a:pt x="93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103" y="81"/>
                    <a:pt x="109" y="85"/>
                    <a:pt x="117" y="85"/>
                  </a:cubicBezTo>
                  <a:cubicBezTo>
                    <a:pt x="125" y="85"/>
                    <a:pt x="132" y="81"/>
                    <a:pt x="136" y="75"/>
                  </a:cubicBezTo>
                  <a:cubicBezTo>
                    <a:pt x="184" y="75"/>
                    <a:pt x="184" y="75"/>
                    <a:pt x="184" y="75"/>
                  </a:cubicBezTo>
                  <a:cubicBezTo>
                    <a:pt x="188" y="81"/>
                    <a:pt x="195" y="85"/>
                    <a:pt x="203" y="85"/>
                  </a:cubicBezTo>
                  <a:cubicBezTo>
                    <a:pt x="214" y="85"/>
                    <a:pt x="224" y="76"/>
                    <a:pt x="224" y="64"/>
                  </a:cubicBezTo>
                  <a:cubicBezTo>
                    <a:pt x="224" y="52"/>
                    <a:pt x="214" y="43"/>
                    <a:pt x="203" y="43"/>
                  </a:cubicBezTo>
                  <a:cubicBezTo>
                    <a:pt x="195" y="43"/>
                    <a:pt x="188" y="47"/>
                    <a:pt x="184" y="53"/>
                  </a:cubicBezTo>
                  <a:cubicBezTo>
                    <a:pt x="136" y="53"/>
                    <a:pt x="136" y="53"/>
                    <a:pt x="136" y="53"/>
                  </a:cubicBezTo>
                  <a:cubicBezTo>
                    <a:pt x="132" y="47"/>
                    <a:pt x="125" y="43"/>
                    <a:pt x="117" y="43"/>
                  </a:cubicBezTo>
                  <a:cubicBezTo>
                    <a:pt x="109" y="43"/>
                    <a:pt x="103" y="47"/>
                    <a:pt x="99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47"/>
                    <a:pt x="83" y="43"/>
                    <a:pt x="75" y="43"/>
                  </a:cubicBezTo>
                  <a:cubicBezTo>
                    <a:pt x="63" y="43"/>
                    <a:pt x="53" y="52"/>
                    <a:pt x="53" y="64"/>
                  </a:cubicBezTo>
                  <a:cubicBezTo>
                    <a:pt x="53" y="76"/>
                    <a:pt x="63" y="85"/>
                    <a:pt x="75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" name="Freeform 77"/>
          <p:cNvSpPr>
            <a:spLocks noChangeAspect="1" noEditPoints="1"/>
          </p:cNvSpPr>
          <p:nvPr/>
        </p:nvSpPr>
        <p:spPr bwMode="auto">
          <a:xfrm>
            <a:off x="1449083" y="2917106"/>
            <a:ext cx="368238" cy="36815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192 w 512"/>
              <a:gd name="T5" fmla="*/ 160 h 512"/>
              <a:gd name="T6" fmla="*/ 216 w 512"/>
              <a:gd name="T7" fmla="*/ 170 h 512"/>
              <a:gd name="T8" fmla="*/ 253 w 512"/>
              <a:gd name="T9" fmla="*/ 170 h 512"/>
              <a:gd name="T10" fmla="*/ 320 w 512"/>
              <a:gd name="T11" fmla="*/ 160 h 512"/>
              <a:gd name="T12" fmla="*/ 320 w 512"/>
              <a:gd name="T13" fmla="*/ 202 h 512"/>
              <a:gd name="T14" fmla="*/ 253 w 512"/>
              <a:gd name="T15" fmla="*/ 192 h 512"/>
              <a:gd name="T16" fmla="*/ 216 w 512"/>
              <a:gd name="T17" fmla="*/ 192 h 512"/>
              <a:gd name="T18" fmla="*/ 192 w 512"/>
              <a:gd name="T19" fmla="*/ 202 h 512"/>
              <a:gd name="T20" fmla="*/ 192 w 512"/>
              <a:gd name="T21" fmla="*/ 160 h 512"/>
              <a:gd name="T22" fmla="*/ 210 w 512"/>
              <a:gd name="T23" fmla="*/ 245 h 512"/>
              <a:gd name="T24" fmla="*/ 277 w 512"/>
              <a:gd name="T25" fmla="*/ 234 h 512"/>
              <a:gd name="T26" fmla="*/ 301 w 512"/>
              <a:gd name="T27" fmla="*/ 245 h 512"/>
              <a:gd name="T28" fmla="*/ 341 w 512"/>
              <a:gd name="T29" fmla="*/ 256 h 512"/>
              <a:gd name="T30" fmla="*/ 301 w 512"/>
              <a:gd name="T31" fmla="*/ 266 h 512"/>
              <a:gd name="T32" fmla="*/ 277 w 512"/>
              <a:gd name="T33" fmla="*/ 277 h 512"/>
              <a:gd name="T34" fmla="*/ 210 w 512"/>
              <a:gd name="T35" fmla="*/ 266 h 512"/>
              <a:gd name="T36" fmla="*/ 170 w 512"/>
              <a:gd name="T37" fmla="*/ 256 h 512"/>
              <a:gd name="T38" fmla="*/ 192 w 512"/>
              <a:gd name="T39" fmla="*/ 309 h 512"/>
              <a:gd name="T40" fmla="*/ 237 w 512"/>
              <a:gd name="T41" fmla="*/ 320 h 512"/>
              <a:gd name="T42" fmla="*/ 274 w 512"/>
              <a:gd name="T43" fmla="*/ 320 h 512"/>
              <a:gd name="T44" fmla="*/ 320 w 512"/>
              <a:gd name="T45" fmla="*/ 309 h 512"/>
              <a:gd name="T46" fmla="*/ 320 w 512"/>
              <a:gd name="T47" fmla="*/ 352 h 512"/>
              <a:gd name="T48" fmla="*/ 274 w 512"/>
              <a:gd name="T49" fmla="*/ 341 h 512"/>
              <a:gd name="T50" fmla="*/ 237 w 512"/>
              <a:gd name="T51" fmla="*/ 341 h 512"/>
              <a:gd name="T52" fmla="*/ 192 w 512"/>
              <a:gd name="T53" fmla="*/ 352 h 512"/>
              <a:gd name="T54" fmla="*/ 192 w 512"/>
              <a:gd name="T55" fmla="*/ 309 h 512"/>
              <a:gd name="T56" fmla="*/ 128 w 512"/>
              <a:gd name="T57" fmla="*/ 394 h 512"/>
              <a:gd name="T58" fmla="*/ 128 w 512"/>
              <a:gd name="T59" fmla="*/ 373 h 512"/>
              <a:gd name="T60" fmla="*/ 138 w 512"/>
              <a:gd name="T61" fmla="*/ 117 h 512"/>
              <a:gd name="T62" fmla="*/ 149 w 512"/>
              <a:gd name="T63" fmla="*/ 373 h 512"/>
              <a:gd name="T64" fmla="*/ 362 w 512"/>
              <a:gd name="T65" fmla="*/ 128 h 512"/>
              <a:gd name="T66" fmla="*/ 384 w 512"/>
              <a:gd name="T67" fmla="*/ 128 h 512"/>
              <a:gd name="T68" fmla="*/ 394 w 512"/>
              <a:gd name="T69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160"/>
                </a:moveTo>
                <a:cubicBezTo>
                  <a:pt x="200" y="160"/>
                  <a:pt x="206" y="164"/>
                  <a:pt x="210" y="170"/>
                </a:cubicBezTo>
                <a:cubicBezTo>
                  <a:pt x="216" y="170"/>
                  <a:pt x="216" y="170"/>
                  <a:pt x="216" y="170"/>
                </a:cubicBezTo>
                <a:cubicBezTo>
                  <a:pt x="220" y="164"/>
                  <a:pt x="226" y="160"/>
                  <a:pt x="234" y="160"/>
                </a:cubicBezTo>
                <a:cubicBezTo>
                  <a:pt x="242" y="160"/>
                  <a:pt x="249" y="164"/>
                  <a:pt x="253" y="170"/>
                </a:cubicBezTo>
                <a:cubicBezTo>
                  <a:pt x="301" y="170"/>
                  <a:pt x="301" y="170"/>
                  <a:pt x="301" y="170"/>
                </a:cubicBezTo>
                <a:cubicBezTo>
                  <a:pt x="305" y="164"/>
                  <a:pt x="312" y="160"/>
                  <a:pt x="320" y="160"/>
                </a:cubicBezTo>
                <a:cubicBezTo>
                  <a:pt x="331" y="160"/>
                  <a:pt x="341" y="169"/>
                  <a:pt x="341" y="181"/>
                </a:cubicBezTo>
                <a:cubicBezTo>
                  <a:pt x="341" y="193"/>
                  <a:pt x="331" y="202"/>
                  <a:pt x="320" y="202"/>
                </a:cubicBezTo>
                <a:cubicBezTo>
                  <a:pt x="312" y="202"/>
                  <a:pt x="305" y="198"/>
                  <a:pt x="301" y="192"/>
                </a:cubicBezTo>
                <a:cubicBezTo>
                  <a:pt x="253" y="192"/>
                  <a:pt x="253" y="192"/>
                  <a:pt x="253" y="192"/>
                </a:cubicBezTo>
                <a:cubicBezTo>
                  <a:pt x="249" y="198"/>
                  <a:pt x="242" y="202"/>
                  <a:pt x="234" y="202"/>
                </a:cubicBezTo>
                <a:cubicBezTo>
                  <a:pt x="226" y="202"/>
                  <a:pt x="220" y="198"/>
                  <a:pt x="216" y="192"/>
                </a:cubicBezTo>
                <a:cubicBezTo>
                  <a:pt x="210" y="192"/>
                  <a:pt x="210" y="192"/>
                  <a:pt x="210" y="192"/>
                </a:cubicBezTo>
                <a:cubicBezTo>
                  <a:pt x="206" y="198"/>
                  <a:pt x="200" y="202"/>
                  <a:pt x="192" y="202"/>
                </a:cubicBezTo>
                <a:cubicBezTo>
                  <a:pt x="180" y="202"/>
                  <a:pt x="170" y="193"/>
                  <a:pt x="170" y="181"/>
                </a:cubicBezTo>
                <a:cubicBezTo>
                  <a:pt x="170" y="169"/>
                  <a:pt x="180" y="160"/>
                  <a:pt x="192" y="160"/>
                </a:cubicBezTo>
                <a:close/>
                <a:moveTo>
                  <a:pt x="192" y="234"/>
                </a:moveTo>
                <a:cubicBezTo>
                  <a:pt x="200" y="234"/>
                  <a:pt x="206" y="239"/>
                  <a:pt x="210" y="245"/>
                </a:cubicBezTo>
                <a:cubicBezTo>
                  <a:pt x="259" y="245"/>
                  <a:pt x="259" y="245"/>
                  <a:pt x="259" y="245"/>
                </a:cubicBezTo>
                <a:cubicBezTo>
                  <a:pt x="262" y="239"/>
                  <a:pt x="269" y="234"/>
                  <a:pt x="277" y="234"/>
                </a:cubicBezTo>
                <a:cubicBezTo>
                  <a:pt x="285" y="234"/>
                  <a:pt x="292" y="239"/>
                  <a:pt x="295" y="245"/>
                </a:cubicBezTo>
                <a:cubicBezTo>
                  <a:pt x="301" y="245"/>
                  <a:pt x="301" y="245"/>
                  <a:pt x="301" y="245"/>
                </a:cubicBezTo>
                <a:cubicBezTo>
                  <a:pt x="305" y="239"/>
                  <a:pt x="312" y="234"/>
                  <a:pt x="320" y="234"/>
                </a:cubicBezTo>
                <a:cubicBezTo>
                  <a:pt x="331" y="234"/>
                  <a:pt x="341" y="244"/>
                  <a:pt x="341" y="256"/>
                </a:cubicBezTo>
                <a:cubicBezTo>
                  <a:pt x="341" y="267"/>
                  <a:pt x="331" y="277"/>
                  <a:pt x="320" y="277"/>
                </a:cubicBezTo>
                <a:cubicBezTo>
                  <a:pt x="312" y="277"/>
                  <a:pt x="305" y="273"/>
                  <a:pt x="301" y="266"/>
                </a:cubicBezTo>
                <a:cubicBezTo>
                  <a:pt x="295" y="266"/>
                  <a:pt x="295" y="266"/>
                  <a:pt x="295" y="266"/>
                </a:cubicBezTo>
                <a:cubicBezTo>
                  <a:pt x="292" y="273"/>
                  <a:pt x="285" y="277"/>
                  <a:pt x="277" y="277"/>
                </a:cubicBezTo>
                <a:cubicBezTo>
                  <a:pt x="269" y="277"/>
                  <a:pt x="262" y="273"/>
                  <a:pt x="259" y="266"/>
                </a:cubicBezTo>
                <a:cubicBezTo>
                  <a:pt x="210" y="266"/>
                  <a:pt x="210" y="266"/>
                  <a:pt x="210" y="266"/>
                </a:cubicBezTo>
                <a:cubicBezTo>
                  <a:pt x="206" y="273"/>
                  <a:pt x="200" y="277"/>
                  <a:pt x="192" y="277"/>
                </a:cubicBezTo>
                <a:cubicBezTo>
                  <a:pt x="180" y="277"/>
                  <a:pt x="170" y="267"/>
                  <a:pt x="170" y="256"/>
                </a:cubicBezTo>
                <a:cubicBezTo>
                  <a:pt x="170" y="244"/>
                  <a:pt x="180" y="234"/>
                  <a:pt x="192" y="234"/>
                </a:cubicBezTo>
                <a:close/>
                <a:moveTo>
                  <a:pt x="192" y="309"/>
                </a:moveTo>
                <a:cubicBezTo>
                  <a:pt x="200" y="309"/>
                  <a:pt x="206" y="313"/>
                  <a:pt x="210" y="320"/>
                </a:cubicBezTo>
                <a:cubicBezTo>
                  <a:pt x="237" y="320"/>
                  <a:pt x="237" y="320"/>
                  <a:pt x="237" y="320"/>
                </a:cubicBezTo>
                <a:cubicBezTo>
                  <a:pt x="241" y="313"/>
                  <a:pt x="248" y="309"/>
                  <a:pt x="256" y="309"/>
                </a:cubicBezTo>
                <a:cubicBezTo>
                  <a:pt x="264" y="309"/>
                  <a:pt x="270" y="313"/>
                  <a:pt x="274" y="320"/>
                </a:cubicBezTo>
                <a:cubicBezTo>
                  <a:pt x="301" y="320"/>
                  <a:pt x="301" y="320"/>
                  <a:pt x="301" y="320"/>
                </a:cubicBezTo>
                <a:cubicBezTo>
                  <a:pt x="305" y="313"/>
                  <a:pt x="312" y="309"/>
                  <a:pt x="320" y="309"/>
                </a:cubicBezTo>
                <a:cubicBezTo>
                  <a:pt x="331" y="309"/>
                  <a:pt x="341" y="319"/>
                  <a:pt x="341" y="330"/>
                </a:cubicBezTo>
                <a:cubicBezTo>
                  <a:pt x="341" y="342"/>
                  <a:pt x="331" y="352"/>
                  <a:pt x="320" y="352"/>
                </a:cubicBezTo>
                <a:cubicBezTo>
                  <a:pt x="312" y="352"/>
                  <a:pt x="305" y="347"/>
                  <a:pt x="301" y="341"/>
                </a:cubicBezTo>
                <a:cubicBezTo>
                  <a:pt x="274" y="341"/>
                  <a:pt x="274" y="341"/>
                  <a:pt x="274" y="341"/>
                </a:cubicBezTo>
                <a:cubicBezTo>
                  <a:pt x="270" y="347"/>
                  <a:pt x="264" y="352"/>
                  <a:pt x="256" y="352"/>
                </a:cubicBezTo>
                <a:cubicBezTo>
                  <a:pt x="248" y="352"/>
                  <a:pt x="241" y="347"/>
                  <a:pt x="237" y="341"/>
                </a:cubicBezTo>
                <a:cubicBezTo>
                  <a:pt x="210" y="341"/>
                  <a:pt x="210" y="341"/>
                  <a:pt x="210" y="341"/>
                </a:cubicBezTo>
                <a:cubicBezTo>
                  <a:pt x="206" y="347"/>
                  <a:pt x="200" y="352"/>
                  <a:pt x="192" y="352"/>
                </a:cubicBezTo>
                <a:cubicBezTo>
                  <a:pt x="180" y="352"/>
                  <a:pt x="170" y="342"/>
                  <a:pt x="170" y="330"/>
                </a:cubicBezTo>
                <a:cubicBezTo>
                  <a:pt x="170" y="319"/>
                  <a:pt x="180" y="309"/>
                  <a:pt x="192" y="309"/>
                </a:cubicBezTo>
                <a:close/>
                <a:moveTo>
                  <a:pt x="384" y="394"/>
                </a:move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378"/>
                  <a:pt x="122" y="373"/>
                  <a:pt x="128" y="373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122"/>
                  <a:pt x="132" y="117"/>
                  <a:pt x="138" y="117"/>
                </a:cubicBezTo>
                <a:cubicBezTo>
                  <a:pt x="144" y="117"/>
                  <a:pt x="149" y="122"/>
                  <a:pt x="149" y="128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2" y="128"/>
                  <a:pt x="362" y="128"/>
                  <a:pt x="362" y="128"/>
                </a:cubicBezTo>
                <a:cubicBezTo>
                  <a:pt x="362" y="122"/>
                  <a:pt x="367" y="117"/>
                  <a:pt x="373" y="117"/>
                </a:cubicBezTo>
                <a:cubicBezTo>
                  <a:pt x="379" y="117"/>
                  <a:pt x="384" y="122"/>
                  <a:pt x="384" y="128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390" y="373"/>
                  <a:pt x="394" y="378"/>
                  <a:pt x="394" y="384"/>
                </a:cubicBezTo>
                <a:cubicBezTo>
                  <a:pt x="394" y="390"/>
                  <a:pt x="390" y="394"/>
                  <a:pt x="384" y="3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9" name="Freeform 832"/>
          <p:cNvSpPr>
            <a:spLocks noChangeAspect="1" noEditPoints="1"/>
          </p:cNvSpPr>
          <p:nvPr/>
        </p:nvSpPr>
        <p:spPr bwMode="auto">
          <a:xfrm>
            <a:off x="2444526" y="2917276"/>
            <a:ext cx="367982" cy="367982"/>
          </a:xfrm>
          <a:custGeom>
            <a:avLst/>
            <a:gdLst>
              <a:gd name="T0" fmla="*/ 140 w 512"/>
              <a:gd name="T1" fmla="*/ 277 h 512"/>
              <a:gd name="T2" fmla="*/ 243 w 512"/>
              <a:gd name="T3" fmla="*/ 182 h 512"/>
              <a:gd name="T4" fmla="*/ 268 w 512"/>
              <a:gd name="T5" fmla="*/ 182 h 512"/>
              <a:gd name="T6" fmla="*/ 371 w 512"/>
              <a:gd name="T7" fmla="*/ 277 h 512"/>
              <a:gd name="T8" fmla="*/ 256 w 512"/>
              <a:gd name="T9" fmla="*/ 512 h 512"/>
              <a:gd name="T10" fmla="*/ 256 w 512"/>
              <a:gd name="T11" fmla="*/ 0 h 512"/>
              <a:gd name="T12" fmla="*/ 160 w 512"/>
              <a:gd name="T13" fmla="*/ 330 h 512"/>
              <a:gd name="T14" fmla="*/ 138 w 512"/>
              <a:gd name="T15" fmla="*/ 330 h 512"/>
              <a:gd name="T16" fmla="*/ 149 w 512"/>
              <a:gd name="T17" fmla="*/ 373 h 512"/>
              <a:gd name="T18" fmla="*/ 160 w 512"/>
              <a:gd name="T19" fmla="*/ 330 h 512"/>
              <a:gd name="T20" fmla="*/ 192 w 512"/>
              <a:gd name="T21" fmla="*/ 320 h 512"/>
              <a:gd name="T22" fmla="*/ 181 w 512"/>
              <a:gd name="T23" fmla="*/ 362 h 512"/>
              <a:gd name="T24" fmla="*/ 202 w 512"/>
              <a:gd name="T25" fmla="*/ 362 h 512"/>
              <a:gd name="T26" fmla="*/ 245 w 512"/>
              <a:gd name="T27" fmla="*/ 330 h 512"/>
              <a:gd name="T28" fmla="*/ 224 w 512"/>
              <a:gd name="T29" fmla="*/ 330 h 512"/>
              <a:gd name="T30" fmla="*/ 234 w 512"/>
              <a:gd name="T31" fmla="*/ 373 h 512"/>
              <a:gd name="T32" fmla="*/ 245 w 512"/>
              <a:gd name="T33" fmla="*/ 330 h 512"/>
              <a:gd name="T34" fmla="*/ 277 w 512"/>
              <a:gd name="T35" fmla="*/ 320 h 512"/>
              <a:gd name="T36" fmla="*/ 266 w 512"/>
              <a:gd name="T37" fmla="*/ 362 h 512"/>
              <a:gd name="T38" fmla="*/ 288 w 512"/>
              <a:gd name="T39" fmla="*/ 362 h 512"/>
              <a:gd name="T40" fmla="*/ 330 w 512"/>
              <a:gd name="T41" fmla="*/ 330 h 512"/>
              <a:gd name="T42" fmla="*/ 309 w 512"/>
              <a:gd name="T43" fmla="*/ 330 h 512"/>
              <a:gd name="T44" fmla="*/ 320 w 512"/>
              <a:gd name="T45" fmla="*/ 373 h 512"/>
              <a:gd name="T46" fmla="*/ 330 w 512"/>
              <a:gd name="T47" fmla="*/ 330 h 512"/>
              <a:gd name="T48" fmla="*/ 362 w 512"/>
              <a:gd name="T49" fmla="*/ 320 h 512"/>
              <a:gd name="T50" fmla="*/ 352 w 512"/>
              <a:gd name="T51" fmla="*/ 362 h 512"/>
              <a:gd name="T52" fmla="*/ 373 w 512"/>
              <a:gd name="T53" fmla="*/ 362 h 512"/>
              <a:gd name="T54" fmla="*/ 416 w 512"/>
              <a:gd name="T55" fmla="*/ 288 h 512"/>
              <a:gd name="T56" fmla="*/ 393 w 512"/>
              <a:gd name="T57" fmla="*/ 277 h 512"/>
              <a:gd name="T58" fmla="*/ 288 w 512"/>
              <a:gd name="T59" fmla="*/ 128 h 512"/>
              <a:gd name="T60" fmla="*/ 266 w 512"/>
              <a:gd name="T61" fmla="*/ 117 h 512"/>
              <a:gd name="T62" fmla="*/ 256 w 512"/>
              <a:gd name="T63" fmla="*/ 96 h 512"/>
              <a:gd name="T64" fmla="*/ 245 w 512"/>
              <a:gd name="T65" fmla="*/ 117 h 512"/>
              <a:gd name="T66" fmla="*/ 224 w 512"/>
              <a:gd name="T67" fmla="*/ 128 h 512"/>
              <a:gd name="T68" fmla="*/ 119 w 512"/>
              <a:gd name="T69" fmla="*/ 277 h 512"/>
              <a:gd name="T70" fmla="*/ 96 w 512"/>
              <a:gd name="T71" fmla="*/ 288 h 512"/>
              <a:gd name="T72" fmla="*/ 106 w 512"/>
              <a:gd name="T73" fmla="*/ 373 h 512"/>
              <a:gd name="T74" fmla="*/ 117 w 512"/>
              <a:gd name="T75" fmla="*/ 298 h 512"/>
              <a:gd name="T76" fmla="*/ 394 w 512"/>
              <a:gd name="T77" fmla="*/ 362 h 512"/>
              <a:gd name="T78" fmla="*/ 416 w 512"/>
              <a:gd name="T79" fmla="*/ 362 h 512"/>
              <a:gd name="T80" fmla="*/ 266 w 512"/>
              <a:gd name="T81" fmla="*/ 160 h 512"/>
              <a:gd name="T82" fmla="*/ 245 w 512"/>
              <a:gd name="T83" fmla="*/ 138 h 512"/>
              <a:gd name="T84" fmla="*/ 256 w 512"/>
              <a:gd name="T85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371" y="277"/>
                </a:moveTo>
                <a:cubicBezTo>
                  <a:pt x="140" y="277"/>
                  <a:pt x="140" y="277"/>
                  <a:pt x="140" y="277"/>
                </a:cubicBezTo>
                <a:cubicBezTo>
                  <a:pt x="149" y="229"/>
                  <a:pt x="187" y="191"/>
                  <a:pt x="236" y="183"/>
                </a:cubicBezTo>
                <a:cubicBezTo>
                  <a:pt x="243" y="182"/>
                  <a:pt x="243" y="182"/>
                  <a:pt x="243" y="182"/>
                </a:cubicBezTo>
                <a:cubicBezTo>
                  <a:pt x="248" y="181"/>
                  <a:pt x="251" y="181"/>
                  <a:pt x="256" y="181"/>
                </a:cubicBezTo>
                <a:cubicBezTo>
                  <a:pt x="260" y="181"/>
                  <a:pt x="263" y="181"/>
                  <a:pt x="268" y="182"/>
                </a:cubicBezTo>
                <a:cubicBezTo>
                  <a:pt x="275" y="183"/>
                  <a:pt x="275" y="183"/>
                  <a:pt x="275" y="183"/>
                </a:cubicBezTo>
                <a:cubicBezTo>
                  <a:pt x="324" y="191"/>
                  <a:pt x="362" y="229"/>
                  <a:pt x="371" y="27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330"/>
                </a:moveTo>
                <a:cubicBezTo>
                  <a:pt x="160" y="324"/>
                  <a:pt x="155" y="320"/>
                  <a:pt x="149" y="320"/>
                </a:cubicBezTo>
                <a:cubicBezTo>
                  <a:pt x="143" y="320"/>
                  <a:pt x="138" y="324"/>
                  <a:pt x="138" y="330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68"/>
                  <a:pt x="143" y="373"/>
                  <a:pt x="149" y="373"/>
                </a:cubicBezTo>
                <a:cubicBezTo>
                  <a:pt x="155" y="373"/>
                  <a:pt x="160" y="368"/>
                  <a:pt x="160" y="362"/>
                </a:cubicBezTo>
                <a:lnTo>
                  <a:pt x="160" y="330"/>
                </a:lnTo>
                <a:close/>
                <a:moveTo>
                  <a:pt x="202" y="330"/>
                </a:moveTo>
                <a:cubicBezTo>
                  <a:pt x="202" y="324"/>
                  <a:pt x="198" y="320"/>
                  <a:pt x="192" y="320"/>
                </a:cubicBezTo>
                <a:cubicBezTo>
                  <a:pt x="186" y="320"/>
                  <a:pt x="181" y="324"/>
                  <a:pt x="181" y="330"/>
                </a:cubicBezTo>
                <a:cubicBezTo>
                  <a:pt x="181" y="362"/>
                  <a:pt x="181" y="362"/>
                  <a:pt x="181" y="362"/>
                </a:cubicBezTo>
                <a:cubicBezTo>
                  <a:pt x="181" y="368"/>
                  <a:pt x="186" y="373"/>
                  <a:pt x="192" y="373"/>
                </a:cubicBezTo>
                <a:cubicBezTo>
                  <a:pt x="198" y="373"/>
                  <a:pt x="202" y="368"/>
                  <a:pt x="202" y="362"/>
                </a:cubicBezTo>
                <a:lnTo>
                  <a:pt x="202" y="330"/>
                </a:lnTo>
                <a:close/>
                <a:moveTo>
                  <a:pt x="245" y="330"/>
                </a:moveTo>
                <a:cubicBezTo>
                  <a:pt x="245" y="324"/>
                  <a:pt x="240" y="320"/>
                  <a:pt x="234" y="320"/>
                </a:cubicBezTo>
                <a:cubicBezTo>
                  <a:pt x="228" y="320"/>
                  <a:pt x="224" y="324"/>
                  <a:pt x="224" y="330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240" y="373"/>
                  <a:pt x="245" y="368"/>
                  <a:pt x="245" y="362"/>
                </a:cubicBezTo>
                <a:lnTo>
                  <a:pt x="245" y="330"/>
                </a:lnTo>
                <a:close/>
                <a:moveTo>
                  <a:pt x="288" y="330"/>
                </a:moveTo>
                <a:cubicBezTo>
                  <a:pt x="288" y="324"/>
                  <a:pt x="283" y="320"/>
                  <a:pt x="277" y="320"/>
                </a:cubicBezTo>
                <a:cubicBezTo>
                  <a:pt x="271" y="320"/>
                  <a:pt x="266" y="324"/>
                  <a:pt x="266" y="330"/>
                </a:cubicBezTo>
                <a:cubicBezTo>
                  <a:pt x="266" y="362"/>
                  <a:pt x="266" y="362"/>
                  <a:pt x="266" y="362"/>
                </a:cubicBezTo>
                <a:cubicBezTo>
                  <a:pt x="266" y="368"/>
                  <a:pt x="271" y="373"/>
                  <a:pt x="277" y="373"/>
                </a:cubicBezTo>
                <a:cubicBezTo>
                  <a:pt x="283" y="373"/>
                  <a:pt x="288" y="368"/>
                  <a:pt x="288" y="362"/>
                </a:cubicBezTo>
                <a:lnTo>
                  <a:pt x="288" y="330"/>
                </a:lnTo>
                <a:close/>
                <a:moveTo>
                  <a:pt x="330" y="330"/>
                </a:moveTo>
                <a:cubicBezTo>
                  <a:pt x="330" y="324"/>
                  <a:pt x="326" y="320"/>
                  <a:pt x="320" y="320"/>
                </a:cubicBezTo>
                <a:cubicBezTo>
                  <a:pt x="314" y="320"/>
                  <a:pt x="309" y="324"/>
                  <a:pt x="309" y="330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68"/>
                  <a:pt x="314" y="373"/>
                  <a:pt x="320" y="373"/>
                </a:cubicBezTo>
                <a:cubicBezTo>
                  <a:pt x="326" y="373"/>
                  <a:pt x="330" y="368"/>
                  <a:pt x="330" y="362"/>
                </a:cubicBezTo>
                <a:lnTo>
                  <a:pt x="330" y="330"/>
                </a:lnTo>
                <a:close/>
                <a:moveTo>
                  <a:pt x="373" y="330"/>
                </a:moveTo>
                <a:cubicBezTo>
                  <a:pt x="373" y="324"/>
                  <a:pt x="368" y="320"/>
                  <a:pt x="362" y="320"/>
                </a:cubicBezTo>
                <a:cubicBezTo>
                  <a:pt x="356" y="320"/>
                  <a:pt x="352" y="324"/>
                  <a:pt x="352" y="330"/>
                </a:cubicBezTo>
                <a:cubicBezTo>
                  <a:pt x="352" y="362"/>
                  <a:pt x="352" y="362"/>
                  <a:pt x="352" y="362"/>
                </a:cubicBezTo>
                <a:cubicBezTo>
                  <a:pt x="352" y="368"/>
                  <a:pt x="356" y="373"/>
                  <a:pt x="362" y="373"/>
                </a:cubicBezTo>
                <a:cubicBezTo>
                  <a:pt x="368" y="373"/>
                  <a:pt x="373" y="368"/>
                  <a:pt x="373" y="362"/>
                </a:cubicBezTo>
                <a:lnTo>
                  <a:pt x="373" y="330"/>
                </a:lnTo>
                <a:close/>
                <a:moveTo>
                  <a:pt x="416" y="288"/>
                </a:moveTo>
                <a:cubicBezTo>
                  <a:pt x="416" y="282"/>
                  <a:pt x="411" y="277"/>
                  <a:pt x="405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84" y="221"/>
                  <a:pt x="342" y="177"/>
                  <a:pt x="288" y="164"/>
                </a:cubicBezTo>
                <a:cubicBezTo>
                  <a:pt x="288" y="128"/>
                  <a:pt x="288" y="128"/>
                  <a:pt x="288" y="128"/>
                </a:cubicBezTo>
                <a:cubicBezTo>
                  <a:pt x="288" y="122"/>
                  <a:pt x="283" y="117"/>
                  <a:pt x="277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28" y="117"/>
                  <a:pt x="224" y="122"/>
                  <a:pt x="224" y="128"/>
                </a:cubicBezTo>
                <a:cubicBezTo>
                  <a:pt x="224" y="164"/>
                  <a:pt x="224" y="164"/>
                  <a:pt x="224" y="164"/>
                </a:cubicBezTo>
                <a:cubicBezTo>
                  <a:pt x="169" y="177"/>
                  <a:pt x="127" y="221"/>
                  <a:pt x="119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82"/>
                  <a:pt x="96" y="288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112" y="373"/>
                  <a:pt x="117" y="368"/>
                  <a:pt x="117" y="362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362"/>
                  <a:pt x="394" y="362"/>
                  <a:pt x="394" y="362"/>
                </a:cubicBezTo>
                <a:cubicBezTo>
                  <a:pt x="394" y="368"/>
                  <a:pt x="399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88"/>
                </a:lnTo>
                <a:close/>
                <a:moveTo>
                  <a:pt x="266" y="160"/>
                </a:moveTo>
                <a:cubicBezTo>
                  <a:pt x="266" y="138"/>
                  <a:pt x="266" y="138"/>
                  <a:pt x="266" y="138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45" y="160"/>
                  <a:pt x="251" y="160"/>
                  <a:pt x="256" y="160"/>
                </a:cubicBezTo>
                <a:cubicBezTo>
                  <a:pt x="260" y="160"/>
                  <a:pt x="266" y="160"/>
                  <a:pt x="266" y="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0" name="Group 835"/>
          <p:cNvGrpSpPr>
            <a:grpSpLocks noChangeAspect="1"/>
          </p:cNvGrpSpPr>
          <p:nvPr/>
        </p:nvGrpSpPr>
        <p:grpSpPr bwMode="auto">
          <a:xfrm>
            <a:off x="2942085" y="2917276"/>
            <a:ext cx="367982" cy="367982"/>
            <a:chOff x="4873" y="3698"/>
            <a:chExt cx="340" cy="340"/>
          </a:xfrm>
          <a:solidFill>
            <a:schemeClr val="accent3"/>
          </a:solidFill>
        </p:grpSpPr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873" y="36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937" y="3762"/>
              <a:ext cx="212" cy="184"/>
            </a:xfrm>
            <a:custGeom>
              <a:avLst/>
              <a:gdLst>
                <a:gd name="T0" fmla="*/ 297 w 320"/>
                <a:gd name="T1" fmla="*/ 181 h 277"/>
                <a:gd name="T2" fmla="*/ 192 w 320"/>
                <a:gd name="T3" fmla="*/ 32 h 277"/>
                <a:gd name="T4" fmla="*/ 170 w 320"/>
                <a:gd name="T5" fmla="*/ 21 h 277"/>
                <a:gd name="T6" fmla="*/ 160 w 320"/>
                <a:gd name="T7" fmla="*/ 0 h 277"/>
                <a:gd name="T8" fmla="*/ 149 w 320"/>
                <a:gd name="T9" fmla="*/ 21 h 277"/>
                <a:gd name="T10" fmla="*/ 128 w 320"/>
                <a:gd name="T11" fmla="*/ 32 h 277"/>
                <a:gd name="T12" fmla="*/ 23 w 320"/>
                <a:gd name="T13" fmla="*/ 181 h 277"/>
                <a:gd name="T14" fmla="*/ 0 w 320"/>
                <a:gd name="T15" fmla="*/ 192 h 277"/>
                <a:gd name="T16" fmla="*/ 10 w 320"/>
                <a:gd name="T17" fmla="*/ 277 h 277"/>
                <a:gd name="T18" fmla="*/ 21 w 320"/>
                <a:gd name="T19" fmla="*/ 202 h 277"/>
                <a:gd name="T20" fmla="*/ 298 w 320"/>
                <a:gd name="T21" fmla="*/ 266 h 277"/>
                <a:gd name="T22" fmla="*/ 320 w 320"/>
                <a:gd name="T23" fmla="*/ 266 h 277"/>
                <a:gd name="T24" fmla="*/ 309 w 320"/>
                <a:gd name="T25" fmla="*/ 181 h 277"/>
                <a:gd name="T26" fmla="*/ 170 w 320"/>
                <a:gd name="T27" fmla="*/ 42 h 277"/>
                <a:gd name="T28" fmla="*/ 160 w 320"/>
                <a:gd name="T29" fmla="*/ 64 h 277"/>
                <a:gd name="T30" fmla="*/ 149 w 320"/>
                <a:gd name="T31" fmla="*/ 42 h 277"/>
                <a:gd name="T32" fmla="*/ 140 w 320"/>
                <a:gd name="T33" fmla="*/ 87 h 277"/>
                <a:gd name="T34" fmla="*/ 160 w 320"/>
                <a:gd name="T35" fmla="*/ 85 h 277"/>
                <a:gd name="T36" fmla="*/ 179 w 320"/>
                <a:gd name="T37" fmla="*/ 87 h 277"/>
                <a:gd name="T38" fmla="*/ 44 w 320"/>
                <a:gd name="T39" fmla="*/ 181 h 277"/>
                <a:gd name="T40" fmla="*/ 106 w 320"/>
                <a:gd name="T41" fmla="*/ 266 h 277"/>
                <a:gd name="T42" fmla="*/ 85 w 320"/>
                <a:gd name="T43" fmla="*/ 266 h 277"/>
                <a:gd name="T44" fmla="*/ 96 w 320"/>
                <a:gd name="T45" fmla="*/ 224 h 277"/>
                <a:gd name="T46" fmla="*/ 64 w 320"/>
                <a:gd name="T47" fmla="*/ 234 h 277"/>
                <a:gd name="T48" fmla="*/ 53 w 320"/>
                <a:gd name="T49" fmla="*/ 277 h 277"/>
                <a:gd name="T50" fmla="*/ 42 w 320"/>
                <a:gd name="T51" fmla="*/ 234 h 277"/>
                <a:gd name="T52" fmla="*/ 64 w 320"/>
                <a:gd name="T53" fmla="*/ 234 h 277"/>
                <a:gd name="T54" fmla="*/ 192 w 320"/>
                <a:gd name="T55" fmla="*/ 266 h 277"/>
                <a:gd name="T56" fmla="*/ 170 w 320"/>
                <a:gd name="T57" fmla="*/ 266 h 277"/>
                <a:gd name="T58" fmla="*/ 181 w 320"/>
                <a:gd name="T59" fmla="*/ 224 h 277"/>
                <a:gd name="T60" fmla="*/ 149 w 320"/>
                <a:gd name="T61" fmla="*/ 234 h 277"/>
                <a:gd name="T62" fmla="*/ 138 w 320"/>
                <a:gd name="T63" fmla="*/ 277 h 277"/>
                <a:gd name="T64" fmla="*/ 128 w 320"/>
                <a:gd name="T65" fmla="*/ 234 h 277"/>
                <a:gd name="T66" fmla="*/ 149 w 320"/>
                <a:gd name="T67" fmla="*/ 234 h 277"/>
                <a:gd name="T68" fmla="*/ 277 w 320"/>
                <a:gd name="T69" fmla="*/ 266 h 277"/>
                <a:gd name="T70" fmla="*/ 256 w 320"/>
                <a:gd name="T71" fmla="*/ 266 h 277"/>
                <a:gd name="T72" fmla="*/ 266 w 320"/>
                <a:gd name="T73" fmla="*/ 224 h 277"/>
                <a:gd name="T74" fmla="*/ 234 w 320"/>
                <a:gd name="T75" fmla="*/ 234 h 277"/>
                <a:gd name="T76" fmla="*/ 224 w 320"/>
                <a:gd name="T77" fmla="*/ 277 h 277"/>
                <a:gd name="T78" fmla="*/ 213 w 320"/>
                <a:gd name="T79" fmla="*/ 234 h 277"/>
                <a:gd name="T80" fmla="*/ 234 w 320"/>
                <a:gd name="T81" fmla="*/ 23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0" h="277">
                  <a:moveTo>
                    <a:pt x="309" y="181"/>
                  </a:moveTo>
                  <a:cubicBezTo>
                    <a:pt x="297" y="181"/>
                    <a:pt x="297" y="181"/>
                    <a:pt x="297" y="181"/>
                  </a:cubicBezTo>
                  <a:cubicBezTo>
                    <a:pt x="288" y="125"/>
                    <a:pt x="246" y="81"/>
                    <a:pt x="192" y="68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26"/>
                    <a:pt x="187" y="21"/>
                    <a:pt x="181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2" y="21"/>
                    <a:pt x="128" y="26"/>
                    <a:pt x="128" y="32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73" y="81"/>
                    <a:pt x="31" y="125"/>
                    <a:pt x="23" y="181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4" y="181"/>
                    <a:pt x="0" y="186"/>
                    <a:pt x="0" y="192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16" y="277"/>
                    <a:pt x="21" y="272"/>
                    <a:pt x="21" y="266"/>
                  </a:cubicBezTo>
                  <a:cubicBezTo>
                    <a:pt x="21" y="202"/>
                    <a:pt x="21" y="202"/>
                    <a:pt x="21" y="202"/>
                  </a:cubicBezTo>
                  <a:cubicBezTo>
                    <a:pt x="298" y="202"/>
                    <a:pt x="298" y="202"/>
                    <a:pt x="298" y="202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272"/>
                    <a:pt x="303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192"/>
                    <a:pt x="320" y="192"/>
                    <a:pt x="320" y="192"/>
                  </a:cubicBezTo>
                  <a:cubicBezTo>
                    <a:pt x="320" y="186"/>
                    <a:pt x="315" y="181"/>
                    <a:pt x="309" y="181"/>
                  </a:cubicBezTo>
                  <a:close/>
                  <a:moveTo>
                    <a:pt x="149" y="42"/>
                  </a:moveTo>
                  <a:cubicBezTo>
                    <a:pt x="170" y="42"/>
                    <a:pt x="170" y="42"/>
                    <a:pt x="170" y="42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170" y="64"/>
                    <a:pt x="164" y="64"/>
                    <a:pt x="160" y="64"/>
                  </a:cubicBezTo>
                  <a:cubicBezTo>
                    <a:pt x="155" y="64"/>
                    <a:pt x="149" y="64"/>
                    <a:pt x="149" y="64"/>
                  </a:cubicBezTo>
                  <a:lnTo>
                    <a:pt x="149" y="42"/>
                  </a:lnTo>
                  <a:close/>
                  <a:moveTo>
                    <a:pt x="44" y="181"/>
                  </a:moveTo>
                  <a:cubicBezTo>
                    <a:pt x="53" y="133"/>
                    <a:pt x="91" y="95"/>
                    <a:pt x="140" y="87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52" y="85"/>
                    <a:pt x="155" y="85"/>
                    <a:pt x="160" y="85"/>
                  </a:cubicBezTo>
                  <a:cubicBezTo>
                    <a:pt x="164" y="85"/>
                    <a:pt x="167" y="85"/>
                    <a:pt x="172" y="86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228" y="95"/>
                    <a:pt x="266" y="133"/>
                    <a:pt x="275" y="181"/>
                  </a:cubicBezTo>
                  <a:lnTo>
                    <a:pt x="44" y="181"/>
                  </a:lnTo>
                  <a:close/>
                  <a:moveTo>
                    <a:pt x="106" y="234"/>
                  </a:moveTo>
                  <a:cubicBezTo>
                    <a:pt x="106" y="266"/>
                    <a:pt x="106" y="266"/>
                    <a:pt x="106" y="266"/>
                  </a:cubicBezTo>
                  <a:cubicBezTo>
                    <a:pt x="106" y="272"/>
                    <a:pt x="102" y="277"/>
                    <a:pt x="96" y="277"/>
                  </a:cubicBezTo>
                  <a:cubicBezTo>
                    <a:pt x="90" y="277"/>
                    <a:pt x="85" y="272"/>
                    <a:pt x="85" y="266"/>
                  </a:cubicBezTo>
                  <a:cubicBezTo>
                    <a:pt x="85" y="234"/>
                    <a:pt x="85" y="234"/>
                    <a:pt x="85" y="234"/>
                  </a:cubicBezTo>
                  <a:cubicBezTo>
                    <a:pt x="85" y="228"/>
                    <a:pt x="90" y="224"/>
                    <a:pt x="96" y="224"/>
                  </a:cubicBezTo>
                  <a:cubicBezTo>
                    <a:pt x="102" y="224"/>
                    <a:pt x="106" y="228"/>
                    <a:pt x="106" y="234"/>
                  </a:cubicBezTo>
                  <a:close/>
                  <a:moveTo>
                    <a:pt x="64" y="234"/>
                  </a:moveTo>
                  <a:cubicBezTo>
                    <a:pt x="64" y="266"/>
                    <a:pt x="64" y="266"/>
                    <a:pt x="64" y="266"/>
                  </a:cubicBezTo>
                  <a:cubicBezTo>
                    <a:pt x="64" y="272"/>
                    <a:pt x="59" y="277"/>
                    <a:pt x="53" y="277"/>
                  </a:cubicBezTo>
                  <a:cubicBezTo>
                    <a:pt x="47" y="277"/>
                    <a:pt x="42" y="272"/>
                    <a:pt x="42" y="266"/>
                  </a:cubicBezTo>
                  <a:cubicBezTo>
                    <a:pt x="42" y="234"/>
                    <a:pt x="42" y="234"/>
                    <a:pt x="42" y="234"/>
                  </a:cubicBezTo>
                  <a:cubicBezTo>
                    <a:pt x="42" y="228"/>
                    <a:pt x="47" y="224"/>
                    <a:pt x="53" y="224"/>
                  </a:cubicBezTo>
                  <a:cubicBezTo>
                    <a:pt x="59" y="224"/>
                    <a:pt x="64" y="228"/>
                    <a:pt x="64" y="234"/>
                  </a:cubicBezTo>
                  <a:close/>
                  <a:moveTo>
                    <a:pt x="192" y="234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72"/>
                    <a:pt x="187" y="277"/>
                    <a:pt x="181" y="277"/>
                  </a:cubicBezTo>
                  <a:cubicBezTo>
                    <a:pt x="175" y="277"/>
                    <a:pt x="170" y="272"/>
                    <a:pt x="170" y="266"/>
                  </a:cubicBezTo>
                  <a:cubicBezTo>
                    <a:pt x="170" y="234"/>
                    <a:pt x="170" y="234"/>
                    <a:pt x="170" y="234"/>
                  </a:cubicBezTo>
                  <a:cubicBezTo>
                    <a:pt x="170" y="228"/>
                    <a:pt x="175" y="224"/>
                    <a:pt x="181" y="224"/>
                  </a:cubicBezTo>
                  <a:cubicBezTo>
                    <a:pt x="187" y="224"/>
                    <a:pt x="192" y="228"/>
                    <a:pt x="192" y="234"/>
                  </a:cubicBezTo>
                  <a:close/>
                  <a:moveTo>
                    <a:pt x="149" y="234"/>
                  </a:moveTo>
                  <a:cubicBezTo>
                    <a:pt x="149" y="266"/>
                    <a:pt x="149" y="266"/>
                    <a:pt x="149" y="266"/>
                  </a:cubicBezTo>
                  <a:cubicBezTo>
                    <a:pt x="149" y="272"/>
                    <a:pt x="144" y="277"/>
                    <a:pt x="138" y="277"/>
                  </a:cubicBezTo>
                  <a:cubicBezTo>
                    <a:pt x="132" y="277"/>
                    <a:pt x="128" y="272"/>
                    <a:pt x="128" y="266"/>
                  </a:cubicBezTo>
                  <a:cubicBezTo>
                    <a:pt x="128" y="234"/>
                    <a:pt x="128" y="234"/>
                    <a:pt x="128" y="234"/>
                  </a:cubicBezTo>
                  <a:cubicBezTo>
                    <a:pt x="128" y="228"/>
                    <a:pt x="132" y="224"/>
                    <a:pt x="138" y="224"/>
                  </a:cubicBezTo>
                  <a:cubicBezTo>
                    <a:pt x="144" y="224"/>
                    <a:pt x="149" y="228"/>
                    <a:pt x="149" y="234"/>
                  </a:cubicBezTo>
                  <a:close/>
                  <a:moveTo>
                    <a:pt x="277" y="234"/>
                  </a:moveTo>
                  <a:cubicBezTo>
                    <a:pt x="277" y="266"/>
                    <a:pt x="277" y="266"/>
                    <a:pt x="277" y="266"/>
                  </a:cubicBezTo>
                  <a:cubicBezTo>
                    <a:pt x="277" y="272"/>
                    <a:pt x="272" y="277"/>
                    <a:pt x="266" y="277"/>
                  </a:cubicBezTo>
                  <a:cubicBezTo>
                    <a:pt x="260" y="277"/>
                    <a:pt x="256" y="272"/>
                    <a:pt x="256" y="266"/>
                  </a:cubicBezTo>
                  <a:cubicBezTo>
                    <a:pt x="256" y="234"/>
                    <a:pt x="256" y="234"/>
                    <a:pt x="256" y="234"/>
                  </a:cubicBezTo>
                  <a:cubicBezTo>
                    <a:pt x="256" y="228"/>
                    <a:pt x="260" y="224"/>
                    <a:pt x="266" y="224"/>
                  </a:cubicBezTo>
                  <a:cubicBezTo>
                    <a:pt x="272" y="224"/>
                    <a:pt x="277" y="228"/>
                    <a:pt x="277" y="234"/>
                  </a:cubicBezTo>
                  <a:close/>
                  <a:moveTo>
                    <a:pt x="234" y="234"/>
                  </a:moveTo>
                  <a:cubicBezTo>
                    <a:pt x="234" y="266"/>
                    <a:pt x="234" y="266"/>
                    <a:pt x="234" y="266"/>
                  </a:cubicBezTo>
                  <a:cubicBezTo>
                    <a:pt x="234" y="272"/>
                    <a:pt x="230" y="277"/>
                    <a:pt x="224" y="277"/>
                  </a:cubicBezTo>
                  <a:cubicBezTo>
                    <a:pt x="218" y="277"/>
                    <a:pt x="213" y="272"/>
                    <a:pt x="213" y="266"/>
                  </a:cubicBezTo>
                  <a:cubicBezTo>
                    <a:pt x="213" y="234"/>
                    <a:pt x="213" y="234"/>
                    <a:pt x="213" y="234"/>
                  </a:cubicBezTo>
                  <a:cubicBezTo>
                    <a:pt x="213" y="228"/>
                    <a:pt x="218" y="224"/>
                    <a:pt x="224" y="224"/>
                  </a:cubicBezTo>
                  <a:cubicBezTo>
                    <a:pt x="230" y="224"/>
                    <a:pt x="234" y="228"/>
                    <a:pt x="23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3" name="Freeform 259"/>
          <p:cNvSpPr>
            <a:spLocks noChangeAspect="1" noEditPoints="1"/>
          </p:cNvSpPr>
          <p:nvPr/>
        </p:nvSpPr>
        <p:spPr bwMode="auto">
          <a:xfrm>
            <a:off x="3439644" y="2915152"/>
            <a:ext cx="369021" cy="37010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81 w 512"/>
              <a:gd name="T11" fmla="*/ 160 h 512"/>
              <a:gd name="T12" fmla="*/ 202 w 512"/>
              <a:gd name="T13" fmla="*/ 181 h 512"/>
              <a:gd name="T14" fmla="*/ 181 w 512"/>
              <a:gd name="T15" fmla="*/ 202 h 512"/>
              <a:gd name="T16" fmla="*/ 160 w 512"/>
              <a:gd name="T17" fmla="*/ 181 h 512"/>
              <a:gd name="T18" fmla="*/ 181 w 512"/>
              <a:gd name="T19" fmla="*/ 160 h 512"/>
              <a:gd name="T20" fmla="*/ 330 w 512"/>
              <a:gd name="T21" fmla="*/ 352 h 512"/>
              <a:gd name="T22" fmla="*/ 309 w 512"/>
              <a:gd name="T23" fmla="*/ 330 h 512"/>
              <a:gd name="T24" fmla="*/ 330 w 512"/>
              <a:gd name="T25" fmla="*/ 309 h 512"/>
              <a:gd name="T26" fmla="*/ 352 w 512"/>
              <a:gd name="T27" fmla="*/ 330 h 512"/>
              <a:gd name="T28" fmla="*/ 330 w 512"/>
              <a:gd name="T29" fmla="*/ 352 h 512"/>
              <a:gd name="T30" fmla="*/ 370 w 512"/>
              <a:gd name="T31" fmla="*/ 157 h 512"/>
              <a:gd name="T32" fmla="*/ 157 w 512"/>
              <a:gd name="T33" fmla="*/ 370 h 512"/>
              <a:gd name="T34" fmla="*/ 149 w 512"/>
              <a:gd name="T35" fmla="*/ 373 h 512"/>
              <a:gd name="T36" fmla="*/ 141 w 512"/>
              <a:gd name="T37" fmla="*/ 370 h 512"/>
              <a:gd name="T38" fmla="*/ 141 w 512"/>
              <a:gd name="T39" fmla="*/ 355 h 512"/>
              <a:gd name="T40" fmla="*/ 355 w 512"/>
              <a:gd name="T41" fmla="*/ 141 h 512"/>
              <a:gd name="T42" fmla="*/ 370 w 512"/>
              <a:gd name="T43" fmla="*/ 141 h 512"/>
              <a:gd name="T44" fmla="*/ 370 w 512"/>
              <a:gd name="T45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81" y="160"/>
                </a:moveTo>
                <a:cubicBezTo>
                  <a:pt x="193" y="160"/>
                  <a:pt x="202" y="169"/>
                  <a:pt x="202" y="181"/>
                </a:cubicBezTo>
                <a:cubicBezTo>
                  <a:pt x="202" y="193"/>
                  <a:pt x="193" y="202"/>
                  <a:pt x="181" y="202"/>
                </a:cubicBezTo>
                <a:cubicBezTo>
                  <a:pt x="169" y="202"/>
                  <a:pt x="160" y="193"/>
                  <a:pt x="160" y="181"/>
                </a:cubicBezTo>
                <a:cubicBezTo>
                  <a:pt x="160" y="169"/>
                  <a:pt x="169" y="160"/>
                  <a:pt x="181" y="160"/>
                </a:cubicBezTo>
                <a:close/>
                <a:moveTo>
                  <a:pt x="330" y="352"/>
                </a:moveTo>
                <a:cubicBezTo>
                  <a:pt x="319" y="352"/>
                  <a:pt x="309" y="342"/>
                  <a:pt x="309" y="330"/>
                </a:cubicBezTo>
                <a:cubicBezTo>
                  <a:pt x="309" y="319"/>
                  <a:pt x="319" y="309"/>
                  <a:pt x="330" y="309"/>
                </a:cubicBezTo>
                <a:cubicBezTo>
                  <a:pt x="342" y="309"/>
                  <a:pt x="352" y="319"/>
                  <a:pt x="352" y="330"/>
                </a:cubicBezTo>
                <a:cubicBezTo>
                  <a:pt x="352" y="342"/>
                  <a:pt x="342" y="352"/>
                  <a:pt x="330" y="352"/>
                </a:cubicBezTo>
                <a:close/>
                <a:moveTo>
                  <a:pt x="370" y="157"/>
                </a:moveTo>
                <a:cubicBezTo>
                  <a:pt x="157" y="370"/>
                  <a:pt x="157" y="370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137" y="366"/>
                  <a:pt x="137" y="359"/>
                  <a:pt x="141" y="355"/>
                </a:cubicBezTo>
                <a:cubicBezTo>
                  <a:pt x="355" y="141"/>
                  <a:pt x="355" y="141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374" y="146"/>
                  <a:pt x="374" y="152"/>
                  <a:pt x="370" y="15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4" name="Group 262"/>
          <p:cNvGrpSpPr>
            <a:grpSpLocks noChangeAspect="1"/>
          </p:cNvGrpSpPr>
          <p:nvPr/>
        </p:nvGrpSpPr>
        <p:grpSpPr bwMode="auto">
          <a:xfrm>
            <a:off x="3938242" y="2916241"/>
            <a:ext cx="369021" cy="369021"/>
            <a:chOff x="5035" y="791"/>
            <a:chExt cx="340" cy="340"/>
          </a:xfrm>
          <a:solidFill>
            <a:schemeClr val="accent3"/>
          </a:solidFill>
        </p:grpSpPr>
        <p:sp>
          <p:nvSpPr>
            <p:cNvPr id="85" name="Freeform 263"/>
            <p:cNvSpPr>
              <a:spLocks noEditPoints="1"/>
            </p:cNvSpPr>
            <p:nvPr/>
          </p:nvSpPr>
          <p:spPr bwMode="auto">
            <a:xfrm>
              <a:off x="5035" y="7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264"/>
            <p:cNvSpPr>
              <a:spLocks noEditPoints="1"/>
            </p:cNvSpPr>
            <p:nvPr/>
          </p:nvSpPr>
          <p:spPr bwMode="auto">
            <a:xfrm>
              <a:off x="5126" y="882"/>
              <a:ext cx="157" cy="157"/>
            </a:xfrm>
            <a:custGeom>
              <a:avLst/>
              <a:gdLst>
                <a:gd name="T0" fmla="*/ 12 w 237"/>
                <a:gd name="T1" fmla="*/ 236 h 236"/>
                <a:gd name="T2" fmla="*/ 4 w 237"/>
                <a:gd name="T3" fmla="*/ 233 h 236"/>
                <a:gd name="T4" fmla="*/ 4 w 237"/>
                <a:gd name="T5" fmla="*/ 218 h 236"/>
                <a:gd name="T6" fmla="*/ 218 w 237"/>
                <a:gd name="T7" fmla="*/ 4 h 236"/>
                <a:gd name="T8" fmla="*/ 233 w 237"/>
                <a:gd name="T9" fmla="*/ 4 h 236"/>
                <a:gd name="T10" fmla="*/ 233 w 237"/>
                <a:gd name="T11" fmla="*/ 20 h 236"/>
                <a:gd name="T12" fmla="*/ 20 w 237"/>
                <a:gd name="T13" fmla="*/ 233 h 236"/>
                <a:gd name="T14" fmla="*/ 12 w 237"/>
                <a:gd name="T15" fmla="*/ 236 h 236"/>
                <a:gd name="T16" fmla="*/ 215 w 237"/>
                <a:gd name="T17" fmla="*/ 193 h 236"/>
                <a:gd name="T18" fmla="*/ 193 w 237"/>
                <a:gd name="T19" fmla="*/ 172 h 236"/>
                <a:gd name="T20" fmla="*/ 172 w 237"/>
                <a:gd name="T21" fmla="*/ 193 h 236"/>
                <a:gd name="T22" fmla="*/ 193 w 237"/>
                <a:gd name="T23" fmla="*/ 215 h 236"/>
                <a:gd name="T24" fmla="*/ 215 w 237"/>
                <a:gd name="T25" fmla="*/ 193 h 236"/>
                <a:gd name="T26" fmla="*/ 65 w 237"/>
                <a:gd name="T27" fmla="*/ 44 h 236"/>
                <a:gd name="T28" fmla="*/ 44 w 237"/>
                <a:gd name="T29" fmla="*/ 23 h 236"/>
                <a:gd name="T30" fmla="*/ 23 w 237"/>
                <a:gd name="T31" fmla="*/ 44 h 236"/>
                <a:gd name="T32" fmla="*/ 44 w 237"/>
                <a:gd name="T33" fmla="*/ 65 h 236"/>
                <a:gd name="T34" fmla="*/ 65 w 237"/>
                <a:gd name="T35" fmla="*/ 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7" h="236">
                  <a:moveTo>
                    <a:pt x="12" y="236"/>
                  </a:moveTo>
                  <a:cubicBezTo>
                    <a:pt x="9" y="236"/>
                    <a:pt x="7" y="235"/>
                    <a:pt x="4" y="233"/>
                  </a:cubicBezTo>
                  <a:cubicBezTo>
                    <a:pt x="0" y="229"/>
                    <a:pt x="0" y="222"/>
                    <a:pt x="4" y="218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22" y="0"/>
                    <a:pt x="229" y="0"/>
                    <a:pt x="233" y="4"/>
                  </a:cubicBezTo>
                  <a:cubicBezTo>
                    <a:pt x="237" y="9"/>
                    <a:pt x="237" y="15"/>
                    <a:pt x="233" y="20"/>
                  </a:cubicBezTo>
                  <a:cubicBezTo>
                    <a:pt x="20" y="233"/>
                    <a:pt x="20" y="233"/>
                    <a:pt x="20" y="233"/>
                  </a:cubicBezTo>
                  <a:cubicBezTo>
                    <a:pt x="17" y="235"/>
                    <a:pt x="15" y="236"/>
                    <a:pt x="12" y="236"/>
                  </a:cubicBezTo>
                  <a:close/>
                  <a:moveTo>
                    <a:pt x="215" y="193"/>
                  </a:moveTo>
                  <a:cubicBezTo>
                    <a:pt x="215" y="182"/>
                    <a:pt x="205" y="172"/>
                    <a:pt x="193" y="172"/>
                  </a:cubicBezTo>
                  <a:cubicBezTo>
                    <a:pt x="182" y="172"/>
                    <a:pt x="172" y="182"/>
                    <a:pt x="172" y="193"/>
                  </a:cubicBezTo>
                  <a:cubicBezTo>
                    <a:pt x="172" y="205"/>
                    <a:pt x="182" y="215"/>
                    <a:pt x="193" y="215"/>
                  </a:cubicBezTo>
                  <a:cubicBezTo>
                    <a:pt x="205" y="215"/>
                    <a:pt x="215" y="205"/>
                    <a:pt x="215" y="193"/>
                  </a:cubicBezTo>
                  <a:close/>
                  <a:moveTo>
                    <a:pt x="65" y="44"/>
                  </a:moveTo>
                  <a:cubicBezTo>
                    <a:pt x="65" y="32"/>
                    <a:pt x="56" y="23"/>
                    <a:pt x="44" y="23"/>
                  </a:cubicBezTo>
                  <a:cubicBezTo>
                    <a:pt x="32" y="23"/>
                    <a:pt x="23" y="32"/>
                    <a:pt x="23" y="44"/>
                  </a:cubicBezTo>
                  <a:cubicBezTo>
                    <a:pt x="23" y="56"/>
                    <a:pt x="32" y="65"/>
                    <a:pt x="44" y="65"/>
                  </a:cubicBezTo>
                  <a:cubicBezTo>
                    <a:pt x="56" y="65"/>
                    <a:pt x="65" y="56"/>
                    <a:pt x="6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7" name="Freeform 910"/>
          <p:cNvSpPr>
            <a:spLocks noChangeAspect="1" noEditPoints="1"/>
          </p:cNvSpPr>
          <p:nvPr/>
        </p:nvSpPr>
        <p:spPr bwMode="auto">
          <a:xfrm>
            <a:off x="4436840" y="2918221"/>
            <a:ext cx="367041" cy="367041"/>
          </a:xfrm>
          <a:custGeom>
            <a:avLst/>
            <a:gdLst>
              <a:gd name="T0" fmla="*/ 207 w 512"/>
              <a:gd name="T1" fmla="*/ 107 h 512"/>
              <a:gd name="T2" fmla="*/ 260 w 512"/>
              <a:gd name="T3" fmla="*/ 116 h 512"/>
              <a:gd name="T4" fmla="*/ 305 w 512"/>
              <a:gd name="T5" fmla="*/ 106 h 512"/>
              <a:gd name="T6" fmla="*/ 237 w 512"/>
              <a:gd name="T7" fmla="*/ 138 h 512"/>
              <a:gd name="T8" fmla="*/ 346 w 512"/>
              <a:gd name="T9" fmla="*/ 373 h 512"/>
              <a:gd name="T10" fmla="*/ 181 w 512"/>
              <a:gd name="T11" fmla="*/ 320 h 512"/>
              <a:gd name="T12" fmla="*/ 236 w 512"/>
              <a:gd name="T13" fmla="*/ 160 h 512"/>
              <a:gd name="T14" fmla="*/ 331 w 512"/>
              <a:gd name="T15" fmla="*/ 315 h 512"/>
              <a:gd name="T16" fmla="*/ 294 w 512"/>
              <a:gd name="T17" fmla="*/ 297 h 512"/>
              <a:gd name="T18" fmla="*/ 282 w 512"/>
              <a:gd name="T19" fmla="*/ 276 h 512"/>
              <a:gd name="T20" fmla="*/ 250 w 512"/>
              <a:gd name="T21" fmla="*/ 262 h 512"/>
              <a:gd name="T22" fmla="*/ 240 w 512"/>
              <a:gd name="T23" fmla="*/ 252 h 512"/>
              <a:gd name="T24" fmla="*/ 256 w 512"/>
              <a:gd name="T25" fmla="*/ 243 h 512"/>
              <a:gd name="T26" fmla="*/ 285 w 512"/>
              <a:gd name="T27" fmla="*/ 249 h 512"/>
              <a:gd name="T28" fmla="*/ 261 w 512"/>
              <a:gd name="T29" fmla="*/ 224 h 512"/>
              <a:gd name="T30" fmla="*/ 250 w 512"/>
              <a:gd name="T31" fmla="*/ 213 h 512"/>
              <a:gd name="T32" fmla="*/ 226 w 512"/>
              <a:gd name="T33" fmla="*/ 233 h 512"/>
              <a:gd name="T34" fmla="*/ 223 w 512"/>
              <a:gd name="T35" fmla="*/ 269 h 512"/>
              <a:gd name="T36" fmla="*/ 250 w 512"/>
              <a:gd name="T37" fmla="*/ 284 h 512"/>
              <a:gd name="T38" fmla="*/ 268 w 512"/>
              <a:gd name="T39" fmla="*/ 293 h 512"/>
              <a:gd name="T40" fmla="*/ 261 w 512"/>
              <a:gd name="T41" fmla="*/ 307 h 512"/>
              <a:gd name="T42" fmla="*/ 250 w 512"/>
              <a:gd name="T43" fmla="*/ 308 h 512"/>
              <a:gd name="T44" fmla="*/ 217 w 512"/>
              <a:gd name="T45" fmla="*/ 299 h 512"/>
              <a:gd name="T46" fmla="*/ 250 w 512"/>
              <a:gd name="T47" fmla="*/ 326 h 512"/>
              <a:gd name="T48" fmla="*/ 261 w 512"/>
              <a:gd name="T49" fmla="*/ 341 h 512"/>
              <a:gd name="T50" fmla="*/ 285 w 512"/>
              <a:gd name="T51" fmla="*/ 316 h 512"/>
              <a:gd name="T52" fmla="*/ 512 w 512"/>
              <a:gd name="T53" fmla="*/ 256 h 512"/>
              <a:gd name="T54" fmla="*/ 0 w 512"/>
              <a:gd name="T55" fmla="*/ 256 h 512"/>
              <a:gd name="T56" fmla="*/ 512 w 512"/>
              <a:gd name="T57" fmla="*/ 256 h 512"/>
              <a:gd name="T58" fmla="*/ 352 w 512"/>
              <a:gd name="T59" fmla="*/ 322 h 512"/>
              <a:gd name="T60" fmla="*/ 327 w 512"/>
              <a:gd name="T61" fmla="*/ 114 h 512"/>
              <a:gd name="T62" fmla="*/ 316 w 512"/>
              <a:gd name="T63" fmla="*/ 88 h 512"/>
              <a:gd name="T64" fmla="*/ 195 w 512"/>
              <a:gd name="T65" fmla="*/ 88 h 512"/>
              <a:gd name="T66" fmla="*/ 184 w 512"/>
              <a:gd name="T67" fmla="*/ 114 h 512"/>
              <a:gd name="T68" fmla="*/ 160 w 512"/>
              <a:gd name="T69" fmla="*/ 322 h 512"/>
              <a:gd name="T70" fmla="*/ 140 w 512"/>
              <a:gd name="T71" fmla="*/ 389 h 512"/>
              <a:gd name="T72" fmla="*/ 362 w 512"/>
              <a:gd name="T73" fmla="*/ 394 h 512"/>
              <a:gd name="T74" fmla="*/ 372 w 512"/>
              <a:gd name="T75" fmla="*/ 37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37" y="138"/>
                </a:moveTo>
                <a:cubicBezTo>
                  <a:pt x="207" y="107"/>
                  <a:pt x="207" y="107"/>
                  <a:pt x="207" y="107"/>
                </a:cubicBezTo>
                <a:cubicBezTo>
                  <a:pt x="212" y="105"/>
                  <a:pt x="225" y="104"/>
                  <a:pt x="251" y="116"/>
                </a:cubicBezTo>
                <a:cubicBezTo>
                  <a:pt x="254" y="117"/>
                  <a:pt x="257" y="117"/>
                  <a:pt x="260" y="116"/>
                </a:cubicBezTo>
                <a:cubicBezTo>
                  <a:pt x="260" y="116"/>
                  <a:pt x="260" y="116"/>
                  <a:pt x="260" y="116"/>
                </a:cubicBezTo>
                <a:cubicBezTo>
                  <a:pt x="285" y="105"/>
                  <a:pt x="299" y="105"/>
                  <a:pt x="305" y="106"/>
                </a:cubicBezTo>
                <a:cubicBezTo>
                  <a:pt x="275" y="138"/>
                  <a:pt x="275" y="138"/>
                  <a:pt x="275" y="138"/>
                </a:cubicBezTo>
                <a:lnTo>
                  <a:pt x="237" y="138"/>
                </a:lnTo>
                <a:close/>
                <a:moveTo>
                  <a:pt x="330" y="320"/>
                </a:moveTo>
                <a:cubicBezTo>
                  <a:pt x="330" y="334"/>
                  <a:pt x="339" y="357"/>
                  <a:pt x="346" y="373"/>
                </a:cubicBezTo>
                <a:cubicBezTo>
                  <a:pt x="165" y="373"/>
                  <a:pt x="165" y="373"/>
                  <a:pt x="165" y="373"/>
                </a:cubicBezTo>
                <a:cubicBezTo>
                  <a:pt x="172" y="357"/>
                  <a:pt x="181" y="334"/>
                  <a:pt x="181" y="320"/>
                </a:cubicBezTo>
                <a:cubicBezTo>
                  <a:pt x="181" y="318"/>
                  <a:pt x="181" y="316"/>
                  <a:pt x="180" y="315"/>
                </a:cubicBezTo>
                <a:cubicBezTo>
                  <a:pt x="178" y="312"/>
                  <a:pt x="143" y="237"/>
                  <a:pt x="236" y="160"/>
                </a:cubicBezTo>
                <a:cubicBezTo>
                  <a:pt x="275" y="160"/>
                  <a:pt x="275" y="160"/>
                  <a:pt x="275" y="160"/>
                </a:cubicBezTo>
                <a:cubicBezTo>
                  <a:pt x="368" y="237"/>
                  <a:pt x="333" y="312"/>
                  <a:pt x="331" y="315"/>
                </a:cubicBezTo>
                <a:cubicBezTo>
                  <a:pt x="331" y="316"/>
                  <a:pt x="330" y="318"/>
                  <a:pt x="330" y="320"/>
                </a:cubicBezTo>
                <a:close/>
                <a:moveTo>
                  <a:pt x="294" y="297"/>
                </a:moveTo>
                <a:cubicBezTo>
                  <a:pt x="294" y="292"/>
                  <a:pt x="293" y="289"/>
                  <a:pt x="291" y="285"/>
                </a:cubicBezTo>
                <a:cubicBezTo>
                  <a:pt x="289" y="282"/>
                  <a:pt x="286" y="279"/>
                  <a:pt x="282" y="276"/>
                </a:cubicBezTo>
                <a:cubicBezTo>
                  <a:pt x="278" y="273"/>
                  <a:pt x="271" y="270"/>
                  <a:pt x="261" y="266"/>
                </a:cubicBezTo>
                <a:cubicBezTo>
                  <a:pt x="250" y="262"/>
                  <a:pt x="250" y="262"/>
                  <a:pt x="250" y="262"/>
                </a:cubicBezTo>
                <a:cubicBezTo>
                  <a:pt x="247" y="260"/>
                  <a:pt x="244" y="259"/>
                  <a:pt x="243" y="257"/>
                </a:cubicBezTo>
                <a:cubicBezTo>
                  <a:pt x="241" y="256"/>
                  <a:pt x="240" y="254"/>
                  <a:pt x="240" y="252"/>
                </a:cubicBezTo>
                <a:cubicBezTo>
                  <a:pt x="240" y="247"/>
                  <a:pt x="244" y="245"/>
                  <a:pt x="250" y="244"/>
                </a:cubicBezTo>
                <a:cubicBezTo>
                  <a:pt x="250" y="244"/>
                  <a:pt x="253" y="243"/>
                  <a:pt x="256" y="243"/>
                </a:cubicBezTo>
                <a:cubicBezTo>
                  <a:pt x="259" y="243"/>
                  <a:pt x="261" y="243"/>
                  <a:pt x="261" y="243"/>
                </a:cubicBezTo>
                <a:cubicBezTo>
                  <a:pt x="269" y="244"/>
                  <a:pt x="277" y="246"/>
                  <a:pt x="285" y="249"/>
                </a:cubicBezTo>
                <a:cubicBezTo>
                  <a:pt x="292" y="231"/>
                  <a:pt x="292" y="231"/>
                  <a:pt x="292" y="231"/>
                </a:cubicBezTo>
                <a:cubicBezTo>
                  <a:pt x="283" y="227"/>
                  <a:pt x="272" y="225"/>
                  <a:pt x="261" y="224"/>
                </a:cubicBezTo>
                <a:cubicBezTo>
                  <a:pt x="261" y="213"/>
                  <a:pt x="261" y="213"/>
                  <a:pt x="261" y="213"/>
                </a:cubicBezTo>
                <a:cubicBezTo>
                  <a:pt x="250" y="213"/>
                  <a:pt x="250" y="213"/>
                  <a:pt x="250" y="213"/>
                </a:cubicBezTo>
                <a:cubicBezTo>
                  <a:pt x="250" y="225"/>
                  <a:pt x="250" y="225"/>
                  <a:pt x="250" y="225"/>
                </a:cubicBezTo>
                <a:cubicBezTo>
                  <a:pt x="240" y="226"/>
                  <a:pt x="232" y="229"/>
                  <a:pt x="226" y="233"/>
                </a:cubicBezTo>
                <a:cubicBezTo>
                  <a:pt x="220" y="238"/>
                  <a:pt x="217" y="244"/>
                  <a:pt x="217" y="252"/>
                </a:cubicBezTo>
                <a:cubicBezTo>
                  <a:pt x="217" y="259"/>
                  <a:pt x="219" y="264"/>
                  <a:pt x="223" y="269"/>
                </a:cubicBezTo>
                <a:cubicBezTo>
                  <a:pt x="228" y="274"/>
                  <a:pt x="235" y="278"/>
                  <a:pt x="245" y="282"/>
                </a:cubicBezTo>
                <a:cubicBezTo>
                  <a:pt x="250" y="284"/>
                  <a:pt x="250" y="284"/>
                  <a:pt x="250" y="284"/>
                </a:cubicBezTo>
                <a:cubicBezTo>
                  <a:pt x="261" y="288"/>
                  <a:pt x="261" y="288"/>
                  <a:pt x="261" y="288"/>
                </a:cubicBezTo>
                <a:cubicBezTo>
                  <a:pt x="264" y="290"/>
                  <a:pt x="267" y="291"/>
                  <a:pt x="268" y="293"/>
                </a:cubicBezTo>
                <a:cubicBezTo>
                  <a:pt x="270" y="294"/>
                  <a:pt x="271" y="296"/>
                  <a:pt x="271" y="298"/>
                </a:cubicBezTo>
                <a:cubicBezTo>
                  <a:pt x="271" y="303"/>
                  <a:pt x="268" y="306"/>
                  <a:pt x="261" y="307"/>
                </a:cubicBezTo>
                <a:cubicBezTo>
                  <a:pt x="261" y="307"/>
                  <a:pt x="258" y="308"/>
                  <a:pt x="256" y="308"/>
                </a:cubicBezTo>
                <a:cubicBezTo>
                  <a:pt x="253" y="308"/>
                  <a:pt x="250" y="308"/>
                  <a:pt x="250" y="308"/>
                </a:cubicBezTo>
                <a:cubicBezTo>
                  <a:pt x="245" y="307"/>
                  <a:pt x="240" y="306"/>
                  <a:pt x="233" y="305"/>
                </a:cubicBezTo>
                <a:cubicBezTo>
                  <a:pt x="227" y="303"/>
                  <a:pt x="222" y="301"/>
                  <a:pt x="217" y="299"/>
                </a:cubicBezTo>
                <a:cubicBezTo>
                  <a:pt x="217" y="319"/>
                  <a:pt x="217" y="319"/>
                  <a:pt x="217" y="319"/>
                </a:cubicBezTo>
                <a:cubicBezTo>
                  <a:pt x="227" y="323"/>
                  <a:pt x="238" y="325"/>
                  <a:pt x="250" y="326"/>
                </a:cubicBezTo>
                <a:cubicBezTo>
                  <a:pt x="250" y="341"/>
                  <a:pt x="250" y="341"/>
                  <a:pt x="250" y="341"/>
                </a:cubicBezTo>
                <a:cubicBezTo>
                  <a:pt x="261" y="341"/>
                  <a:pt x="261" y="341"/>
                  <a:pt x="261" y="341"/>
                </a:cubicBezTo>
                <a:cubicBezTo>
                  <a:pt x="261" y="325"/>
                  <a:pt x="261" y="325"/>
                  <a:pt x="261" y="325"/>
                </a:cubicBezTo>
                <a:cubicBezTo>
                  <a:pt x="271" y="324"/>
                  <a:pt x="279" y="321"/>
                  <a:pt x="285" y="316"/>
                </a:cubicBezTo>
                <a:cubicBezTo>
                  <a:pt x="291" y="312"/>
                  <a:pt x="294" y="305"/>
                  <a:pt x="294" y="29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379"/>
                </a:moveTo>
                <a:cubicBezTo>
                  <a:pt x="365" y="363"/>
                  <a:pt x="353" y="335"/>
                  <a:pt x="352" y="322"/>
                </a:cubicBezTo>
                <a:cubicBezTo>
                  <a:pt x="358" y="306"/>
                  <a:pt x="384" y="227"/>
                  <a:pt x="295" y="148"/>
                </a:cubicBezTo>
                <a:cubicBezTo>
                  <a:pt x="327" y="114"/>
                  <a:pt x="327" y="114"/>
                  <a:pt x="327" y="114"/>
                </a:cubicBezTo>
                <a:cubicBezTo>
                  <a:pt x="330" y="111"/>
                  <a:pt x="331" y="107"/>
                  <a:pt x="330" y="104"/>
                </a:cubicBezTo>
                <a:cubicBezTo>
                  <a:pt x="330" y="102"/>
                  <a:pt x="327" y="93"/>
                  <a:pt x="316" y="88"/>
                </a:cubicBezTo>
                <a:cubicBezTo>
                  <a:pt x="302" y="82"/>
                  <a:pt x="282" y="84"/>
                  <a:pt x="256" y="95"/>
                </a:cubicBezTo>
                <a:cubicBezTo>
                  <a:pt x="229" y="84"/>
                  <a:pt x="209" y="82"/>
                  <a:pt x="195" y="88"/>
                </a:cubicBezTo>
                <a:cubicBezTo>
                  <a:pt x="185" y="93"/>
                  <a:pt x="182" y="102"/>
                  <a:pt x="181" y="104"/>
                </a:cubicBezTo>
                <a:cubicBezTo>
                  <a:pt x="180" y="107"/>
                  <a:pt x="181" y="111"/>
                  <a:pt x="184" y="114"/>
                </a:cubicBezTo>
                <a:cubicBezTo>
                  <a:pt x="217" y="148"/>
                  <a:pt x="217" y="148"/>
                  <a:pt x="217" y="148"/>
                </a:cubicBezTo>
                <a:cubicBezTo>
                  <a:pt x="128" y="227"/>
                  <a:pt x="153" y="306"/>
                  <a:pt x="160" y="322"/>
                </a:cubicBezTo>
                <a:cubicBezTo>
                  <a:pt x="158" y="335"/>
                  <a:pt x="147" y="363"/>
                  <a:pt x="139" y="379"/>
                </a:cubicBezTo>
                <a:cubicBezTo>
                  <a:pt x="138" y="382"/>
                  <a:pt x="138" y="386"/>
                  <a:pt x="140" y="389"/>
                </a:cubicBezTo>
                <a:cubicBezTo>
                  <a:pt x="142" y="392"/>
                  <a:pt x="145" y="394"/>
                  <a:pt x="149" y="394"/>
                </a:cubicBezTo>
                <a:cubicBezTo>
                  <a:pt x="362" y="394"/>
                  <a:pt x="362" y="394"/>
                  <a:pt x="362" y="394"/>
                </a:cubicBezTo>
                <a:cubicBezTo>
                  <a:pt x="366" y="394"/>
                  <a:pt x="369" y="392"/>
                  <a:pt x="371" y="389"/>
                </a:cubicBezTo>
                <a:cubicBezTo>
                  <a:pt x="373" y="386"/>
                  <a:pt x="374" y="382"/>
                  <a:pt x="372" y="37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8" name="Group 913"/>
          <p:cNvGrpSpPr>
            <a:grpSpLocks noChangeAspect="1"/>
          </p:cNvGrpSpPr>
          <p:nvPr/>
        </p:nvGrpSpPr>
        <p:grpSpPr bwMode="auto">
          <a:xfrm>
            <a:off x="4933458" y="2918221"/>
            <a:ext cx="367041" cy="367041"/>
            <a:chOff x="4563" y="3912"/>
            <a:chExt cx="340" cy="340"/>
          </a:xfrm>
          <a:solidFill>
            <a:schemeClr val="accent4"/>
          </a:solidFill>
        </p:grpSpPr>
        <p:sp>
          <p:nvSpPr>
            <p:cNvPr id="89" name="Freeform 914"/>
            <p:cNvSpPr>
              <a:spLocks noEditPoints="1"/>
            </p:cNvSpPr>
            <p:nvPr/>
          </p:nvSpPr>
          <p:spPr bwMode="auto">
            <a:xfrm>
              <a:off x="4563" y="391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915"/>
            <p:cNvSpPr>
              <a:spLocks noEditPoints="1"/>
            </p:cNvSpPr>
            <p:nvPr/>
          </p:nvSpPr>
          <p:spPr bwMode="auto">
            <a:xfrm>
              <a:off x="4648" y="3966"/>
              <a:ext cx="170" cy="208"/>
            </a:xfrm>
            <a:custGeom>
              <a:avLst/>
              <a:gdLst>
                <a:gd name="T0" fmla="*/ 224 w 256"/>
                <a:gd name="T1" fmla="*/ 240 h 312"/>
                <a:gd name="T2" fmla="*/ 199 w 256"/>
                <a:gd name="T3" fmla="*/ 32 h 312"/>
                <a:gd name="T4" fmla="*/ 188 w 256"/>
                <a:gd name="T5" fmla="*/ 6 h 312"/>
                <a:gd name="T6" fmla="*/ 67 w 256"/>
                <a:gd name="T7" fmla="*/ 6 h 312"/>
                <a:gd name="T8" fmla="*/ 56 w 256"/>
                <a:gd name="T9" fmla="*/ 32 h 312"/>
                <a:gd name="T10" fmla="*/ 32 w 256"/>
                <a:gd name="T11" fmla="*/ 240 h 312"/>
                <a:gd name="T12" fmla="*/ 12 w 256"/>
                <a:gd name="T13" fmla="*/ 307 h 312"/>
                <a:gd name="T14" fmla="*/ 234 w 256"/>
                <a:gd name="T15" fmla="*/ 312 h 312"/>
                <a:gd name="T16" fmla="*/ 244 w 256"/>
                <a:gd name="T17" fmla="*/ 297 h 312"/>
                <a:gd name="T18" fmla="*/ 132 w 256"/>
                <a:gd name="T19" fmla="*/ 34 h 312"/>
                <a:gd name="T20" fmla="*/ 177 w 256"/>
                <a:gd name="T21" fmla="*/ 24 h 312"/>
                <a:gd name="T22" fmla="*/ 109 w 256"/>
                <a:gd name="T23" fmla="*/ 56 h 312"/>
                <a:gd name="T24" fmla="*/ 123 w 256"/>
                <a:gd name="T25" fmla="*/ 34 h 312"/>
                <a:gd name="T26" fmla="*/ 53 w 256"/>
                <a:gd name="T27" fmla="*/ 238 h 312"/>
                <a:gd name="T28" fmla="*/ 108 w 256"/>
                <a:gd name="T29" fmla="*/ 78 h 312"/>
                <a:gd name="T30" fmla="*/ 203 w 256"/>
                <a:gd name="T31" fmla="*/ 233 h 312"/>
                <a:gd name="T32" fmla="*/ 218 w 256"/>
                <a:gd name="T33" fmla="*/ 291 h 312"/>
                <a:gd name="T34" fmla="*/ 163 w 256"/>
                <a:gd name="T35" fmla="*/ 203 h 312"/>
                <a:gd name="T36" fmla="*/ 157 w 256"/>
                <a:gd name="T37" fmla="*/ 234 h 312"/>
                <a:gd name="T38" fmla="*/ 133 w 256"/>
                <a:gd name="T39" fmla="*/ 259 h 312"/>
                <a:gd name="T40" fmla="*/ 122 w 256"/>
                <a:gd name="T41" fmla="*/ 244 h 312"/>
                <a:gd name="T42" fmla="*/ 89 w 256"/>
                <a:gd name="T43" fmla="*/ 217 h 312"/>
                <a:gd name="T44" fmla="*/ 122 w 256"/>
                <a:gd name="T45" fmla="*/ 226 h 312"/>
                <a:gd name="T46" fmla="*/ 133 w 256"/>
                <a:gd name="T47" fmla="*/ 225 h 312"/>
                <a:gd name="T48" fmla="*/ 140 w 256"/>
                <a:gd name="T49" fmla="*/ 211 h 312"/>
                <a:gd name="T50" fmla="*/ 122 w 256"/>
                <a:gd name="T51" fmla="*/ 202 h 312"/>
                <a:gd name="T52" fmla="*/ 95 w 256"/>
                <a:gd name="T53" fmla="*/ 187 h 312"/>
                <a:gd name="T54" fmla="*/ 98 w 256"/>
                <a:gd name="T55" fmla="*/ 151 h 312"/>
                <a:gd name="T56" fmla="*/ 122 w 256"/>
                <a:gd name="T57" fmla="*/ 131 h 312"/>
                <a:gd name="T58" fmla="*/ 133 w 256"/>
                <a:gd name="T59" fmla="*/ 142 h 312"/>
                <a:gd name="T60" fmla="*/ 157 w 256"/>
                <a:gd name="T61" fmla="*/ 167 h 312"/>
                <a:gd name="T62" fmla="*/ 128 w 256"/>
                <a:gd name="T63" fmla="*/ 161 h 312"/>
                <a:gd name="T64" fmla="*/ 112 w 256"/>
                <a:gd name="T65" fmla="*/ 170 h 312"/>
                <a:gd name="T66" fmla="*/ 122 w 256"/>
                <a:gd name="T67" fmla="*/ 180 h 312"/>
                <a:gd name="T68" fmla="*/ 154 w 256"/>
                <a:gd name="T69" fmla="*/ 19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6" h="312">
                  <a:moveTo>
                    <a:pt x="244" y="297"/>
                  </a:moveTo>
                  <a:cubicBezTo>
                    <a:pt x="237" y="281"/>
                    <a:pt x="225" y="253"/>
                    <a:pt x="224" y="240"/>
                  </a:cubicBezTo>
                  <a:cubicBezTo>
                    <a:pt x="230" y="224"/>
                    <a:pt x="256" y="145"/>
                    <a:pt x="167" y="66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202" y="29"/>
                    <a:pt x="203" y="25"/>
                    <a:pt x="202" y="22"/>
                  </a:cubicBezTo>
                  <a:cubicBezTo>
                    <a:pt x="202" y="20"/>
                    <a:pt x="199" y="11"/>
                    <a:pt x="188" y="6"/>
                  </a:cubicBezTo>
                  <a:cubicBezTo>
                    <a:pt x="174" y="0"/>
                    <a:pt x="154" y="2"/>
                    <a:pt x="128" y="13"/>
                  </a:cubicBezTo>
                  <a:cubicBezTo>
                    <a:pt x="101" y="2"/>
                    <a:pt x="81" y="0"/>
                    <a:pt x="67" y="6"/>
                  </a:cubicBezTo>
                  <a:cubicBezTo>
                    <a:pt x="57" y="11"/>
                    <a:pt x="54" y="20"/>
                    <a:pt x="53" y="22"/>
                  </a:cubicBezTo>
                  <a:cubicBezTo>
                    <a:pt x="52" y="25"/>
                    <a:pt x="53" y="29"/>
                    <a:pt x="56" y="32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0" y="145"/>
                    <a:pt x="25" y="224"/>
                    <a:pt x="32" y="240"/>
                  </a:cubicBezTo>
                  <a:cubicBezTo>
                    <a:pt x="30" y="253"/>
                    <a:pt x="19" y="281"/>
                    <a:pt x="11" y="297"/>
                  </a:cubicBezTo>
                  <a:cubicBezTo>
                    <a:pt x="10" y="300"/>
                    <a:pt x="10" y="304"/>
                    <a:pt x="12" y="307"/>
                  </a:cubicBezTo>
                  <a:cubicBezTo>
                    <a:pt x="14" y="310"/>
                    <a:pt x="17" y="312"/>
                    <a:pt x="21" y="312"/>
                  </a:cubicBezTo>
                  <a:cubicBezTo>
                    <a:pt x="234" y="312"/>
                    <a:pt x="234" y="312"/>
                    <a:pt x="234" y="312"/>
                  </a:cubicBezTo>
                  <a:cubicBezTo>
                    <a:pt x="238" y="312"/>
                    <a:pt x="241" y="310"/>
                    <a:pt x="243" y="307"/>
                  </a:cubicBezTo>
                  <a:cubicBezTo>
                    <a:pt x="245" y="304"/>
                    <a:pt x="246" y="300"/>
                    <a:pt x="244" y="297"/>
                  </a:cubicBezTo>
                  <a:close/>
                  <a:moveTo>
                    <a:pt x="123" y="34"/>
                  </a:moveTo>
                  <a:cubicBezTo>
                    <a:pt x="126" y="35"/>
                    <a:pt x="129" y="35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57" y="23"/>
                    <a:pt x="171" y="23"/>
                    <a:pt x="177" y="24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4" y="23"/>
                    <a:pt x="97" y="22"/>
                    <a:pt x="123" y="34"/>
                  </a:cubicBezTo>
                  <a:close/>
                  <a:moveTo>
                    <a:pt x="37" y="291"/>
                  </a:moveTo>
                  <a:cubicBezTo>
                    <a:pt x="44" y="275"/>
                    <a:pt x="53" y="252"/>
                    <a:pt x="53" y="238"/>
                  </a:cubicBezTo>
                  <a:cubicBezTo>
                    <a:pt x="53" y="236"/>
                    <a:pt x="53" y="234"/>
                    <a:pt x="52" y="233"/>
                  </a:cubicBezTo>
                  <a:cubicBezTo>
                    <a:pt x="50" y="230"/>
                    <a:pt x="15" y="155"/>
                    <a:pt x="108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240" y="155"/>
                    <a:pt x="205" y="230"/>
                    <a:pt x="203" y="233"/>
                  </a:cubicBezTo>
                  <a:cubicBezTo>
                    <a:pt x="203" y="234"/>
                    <a:pt x="202" y="236"/>
                    <a:pt x="202" y="238"/>
                  </a:cubicBezTo>
                  <a:cubicBezTo>
                    <a:pt x="202" y="252"/>
                    <a:pt x="211" y="275"/>
                    <a:pt x="218" y="291"/>
                  </a:cubicBezTo>
                  <a:lnTo>
                    <a:pt x="37" y="291"/>
                  </a:lnTo>
                  <a:close/>
                  <a:moveTo>
                    <a:pt x="163" y="203"/>
                  </a:moveTo>
                  <a:cubicBezTo>
                    <a:pt x="165" y="207"/>
                    <a:pt x="166" y="210"/>
                    <a:pt x="166" y="215"/>
                  </a:cubicBezTo>
                  <a:cubicBezTo>
                    <a:pt x="166" y="223"/>
                    <a:pt x="163" y="230"/>
                    <a:pt x="157" y="234"/>
                  </a:cubicBezTo>
                  <a:cubicBezTo>
                    <a:pt x="151" y="239"/>
                    <a:pt x="143" y="242"/>
                    <a:pt x="133" y="243"/>
                  </a:cubicBezTo>
                  <a:cubicBezTo>
                    <a:pt x="133" y="259"/>
                    <a:pt x="133" y="259"/>
                    <a:pt x="133" y="259"/>
                  </a:cubicBezTo>
                  <a:cubicBezTo>
                    <a:pt x="122" y="259"/>
                    <a:pt x="122" y="259"/>
                    <a:pt x="122" y="259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10" y="243"/>
                    <a:pt x="99" y="241"/>
                    <a:pt x="89" y="237"/>
                  </a:cubicBezTo>
                  <a:cubicBezTo>
                    <a:pt x="89" y="217"/>
                    <a:pt x="89" y="217"/>
                    <a:pt x="89" y="217"/>
                  </a:cubicBezTo>
                  <a:cubicBezTo>
                    <a:pt x="94" y="219"/>
                    <a:pt x="99" y="221"/>
                    <a:pt x="105" y="223"/>
                  </a:cubicBezTo>
                  <a:cubicBezTo>
                    <a:pt x="112" y="224"/>
                    <a:pt x="117" y="225"/>
                    <a:pt x="122" y="226"/>
                  </a:cubicBezTo>
                  <a:cubicBezTo>
                    <a:pt x="122" y="226"/>
                    <a:pt x="125" y="226"/>
                    <a:pt x="128" y="226"/>
                  </a:cubicBezTo>
                  <a:cubicBezTo>
                    <a:pt x="130" y="226"/>
                    <a:pt x="133" y="225"/>
                    <a:pt x="133" y="225"/>
                  </a:cubicBezTo>
                  <a:cubicBezTo>
                    <a:pt x="140" y="224"/>
                    <a:pt x="143" y="221"/>
                    <a:pt x="143" y="216"/>
                  </a:cubicBezTo>
                  <a:cubicBezTo>
                    <a:pt x="143" y="214"/>
                    <a:pt x="142" y="212"/>
                    <a:pt x="140" y="211"/>
                  </a:cubicBezTo>
                  <a:cubicBezTo>
                    <a:pt x="139" y="209"/>
                    <a:pt x="136" y="208"/>
                    <a:pt x="133" y="206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17" y="200"/>
                    <a:pt x="117" y="200"/>
                    <a:pt x="117" y="200"/>
                  </a:cubicBezTo>
                  <a:cubicBezTo>
                    <a:pt x="107" y="196"/>
                    <a:pt x="100" y="192"/>
                    <a:pt x="95" y="187"/>
                  </a:cubicBezTo>
                  <a:cubicBezTo>
                    <a:pt x="91" y="182"/>
                    <a:pt x="89" y="177"/>
                    <a:pt x="89" y="170"/>
                  </a:cubicBezTo>
                  <a:cubicBezTo>
                    <a:pt x="89" y="162"/>
                    <a:pt x="92" y="156"/>
                    <a:pt x="98" y="151"/>
                  </a:cubicBezTo>
                  <a:cubicBezTo>
                    <a:pt x="104" y="147"/>
                    <a:pt x="112" y="144"/>
                    <a:pt x="122" y="143"/>
                  </a:cubicBezTo>
                  <a:cubicBezTo>
                    <a:pt x="122" y="131"/>
                    <a:pt x="122" y="131"/>
                    <a:pt x="122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3" y="142"/>
                    <a:pt x="133" y="142"/>
                    <a:pt x="133" y="142"/>
                  </a:cubicBezTo>
                  <a:cubicBezTo>
                    <a:pt x="144" y="143"/>
                    <a:pt x="155" y="145"/>
                    <a:pt x="164" y="149"/>
                  </a:cubicBezTo>
                  <a:cubicBezTo>
                    <a:pt x="157" y="167"/>
                    <a:pt x="157" y="167"/>
                    <a:pt x="157" y="167"/>
                  </a:cubicBezTo>
                  <a:cubicBezTo>
                    <a:pt x="149" y="164"/>
                    <a:pt x="141" y="162"/>
                    <a:pt x="133" y="161"/>
                  </a:cubicBezTo>
                  <a:cubicBezTo>
                    <a:pt x="133" y="161"/>
                    <a:pt x="131" y="161"/>
                    <a:pt x="128" y="161"/>
                  </a:cubicBezTo>
                  <a:cubicBezTo>
                    <a:pt x="125" y="161"/>
                    <a:pt x="122" y="162"/>
                    <a:pt x="122" y="162"/>
                  </a:cubicBezTo>
                  <a:cubicBezTo>
                    <a:pt x="116" y="163"/>
                    <a:pt x="112" y="165"/>
                    <a:pt x="112" y="170"/>
                  </a:cubicBezTo>
                  <a:cubicBezTo>
                    <a:pt x="112" y="172"/>
                    <a:pt x="113" y="174"/>
                    <a:pt x="115" y="175"/>
                  </a:cubicBezTo>
                  <a:cubicBezTo>
                    <a:pt x="116" y="177"/>
                    <a:pt x="119" y="178"/>
                    <a:pt x="122" y="180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43" y="188"/>
                    <a:pt x="150" y="191"/>
                    <a:pt x="154" y="194"/>
                  </a:cubicBezTo>
                  <a:cubicBezTo>
                    <a:pt x="158" y="197"/>
                    <a:pt x="161" y="200"/>
                    <a:pt x="163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1" name="Group 781"/>
          <p:cNvGrpSpPr>
            <a:grpSpLocks noChangeAspect="1"/>
          </p:cNvGrpSpPr>
          <p:nvPr/>
        </p:nvGrpSpPr>
        <p:grpSpPr bwMode="auto">
          <a:xfrm>
            <a:off x="5927284" y="2917631"/>
            <a:ext cx="367631" cy="367631"/>
            <a:chOff x="7332" y="2771"/>
            <a:chExt cx="340" cy="340"/>
          </a:xfrm>
          <a:solidFill>
            <a:schemeClr val="accent2"/>
          </a:solidFill>
        </p:grpSpPr>
        <p:sp>
          <p:nvSpPr>
            <p:cNvPr id="92" name="Freeform 782"/>
            <p:cNvSpPr>
              <a:spLocks noEditPoints="1"/>
            </p:cNvSpPr>
            <p:nvPr/>
          </p:nvSpPr>
          <p:spPr bwMode="auto">
            <a:xfrm>
              <a:off x="7332" y="27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783"/>
            <p:cNvSpPr>
              <a:spLocks noEditPoints="1"/>
            </p:cNvSpPr>
            <p:nvPr/>
          </p:nvSpPr>
          <p:spPr bwMode="auto">
            <a:xfrm>
              <a:off x="7436" y="2835"/>
              <a:ext cx="144" cy="212"/>
            </a:xfrm>
            <a:custGeom>
              <a:avLst/>
              <a:gdLst>
                <a:gd name="T0" fmla="*/ 216 w 216"/>
                <a:gd name="T1" fmla="*/ 277 h 320"/>
                <a:gd name="T2" fmla="*/ 195 w 216"/>
                <a:gd name="T3" fmla="*/ 277 h 320"/>
                <a:gd name="T4" fmla="*/ 184 w 216"/>
                <a:gd name="T5" fmla="*/ 245 h 320"/>
                <a:gd name="T6" fmla="*/ 173 w 216"/>
                <a:gd name="T7" fmla="*/ 266 h 320"/>
                <a:gd name="T8" fmla="*/ 152 w 216"/>
                <a:gd name="T9" fmla="*/ 266 h 320"/>
                <a:gd name="T10" fmla="*/ 141 w 216"/>
                <a:gd name="T11" fmla="*/ 224 h 320"/>
                <a:gd name="T12" fmla="*/ 131 w 216"/>
                <a:gd name="T13" fmla="*/ 266 h 320"/>
                <a:gd name="T14" fmla="*/ 109 w 216"/>
                <a:gd name="T15" fmla="*/ 266 h 320"/>
                <a:gd name="T16" fmla="*/ 99 w 216"/>
                <a:gd name="T17" fmla="*/ 160 h 320"/>
                <a:gd name="T18" fmla="*/ 88 w 216"/>
                <a:gd name="T19" fmla="*/ 298 h 320"/>
                <a:gd name="T20" fmla="*/ 82 w 216"/>
                <a:gd name="T21" fmla="*/ 312 h 320"/>
                <a:gd name="T22" fmla="*/ 53 w 216"/>
                <a:gd name="T23" fmla="*/ 275 h 320"/>
                <a:gd name="T24" fmla="*/ 31 w 216"/>
                <a:gd name="T25" fmla="*/ 256 h 320"/>
                <a:gd name="T26" fmla="*/ 25 w 216"/>
                <a:gd name="T27" fmla="*/ 260 h 320"/>
                <a:gd name="T28" fmla="*/ 32 w 216"/>
                <a:gd name="T29" fmla="*/ 284 h 320"/>
                <a:gd name="T30" fmla="*/ 36 w 216"/>
                <a:gd name="T31" fmla="*/ 319 h 320"/>
                <a:gd name="T32" fmla="*/ 22 w 216"/>
                <a:gd name="T33" fmla="*/ 314 h 320"/>
                <a:gd name="T34" fmla="*/ 5 w 216"/>
                <a:gd name="T35" fmla="*/ 252 h 320"/>
                <a:gd name="T36" fmla="*/ 49 w 216"/>
                <a:gd name="T37" fmla="*/ 239 h 320"/>
                <a:gd name="T38" fmla="*/ 67 w 216"/>
                <a:gd name="T39" fmla="*/ 170 h 320"/>
                <a:gd name="T40" fmla="*/ 131 w 216"/>
                <a:gd name="T41" fmla="*/ 170 h 320"/>
                <a:gd name="T42" fmla="*/ 141 w 216"/>
                <a:gd name="T43" fmla="*/ 202 h 320"/>
                <a:gd name="T44" fmla="*/ 184 w 216"/>
                <a:gd name="T45" fmla="*/ 224 h 320"/>
                <a:gd name="T46" fmla="*/ 24 w 216"/>
                <a:gd name="T47" fmla="*/ 42 h 320"/>
                <a:gd name="T48" fmla="*/ 24 w 216"/>
                <a:gd name="T49" fmla="*/ 0 h 320"/>
                <a:gd name="T50" fmla="*/ 24 w 216"/>
                <a:gd name="T51" fmla="*/ 42 h 320"/>
                <a:gd name="T52" fmla="*/ 120 w 216"/>
                <a:gd name="T53" fmla="*/ 21 h 320"/>
                <a:gd name="T54" fmla="*/ 78 w 216"/>
                <a:gd name="T55" fmla="*/ 21 h 320"/>
                <a:gd name="T56" fmla="*/ 173 w 216"/>
                <a:gd name="T57" fmla="*/ 42 h 320"/>
                <a:gd name="T58" fmla="*/ 173 w 216"/>
                <a:gd name="T59" fmla="*/ 0 h 320"/>
                <a:gd name="T60" fmla="*/ 173 w 216"/>
                <a:gd name="T61" fmla="*/ 42 h 320"/>
                <a:gd name="T62" fmla="*/ 45 w 216"/>
                <a:gd name="T63" fmla="*/ 96 h 320"/>
                <a:gd name="T64" fmla="*/ 3 w 216"/>
                <a:gd name="T65" fmla="*/ 96 h 320"/>
                <a:gd name="T66" fmla="*/ 24 w 216"/>
                <a:gd name="T67" fmla="*/ 191 h 320"/>
                <a:gd name="T68" fmla="*/ 24 w 216"/>
                <a:gd name="T69" fmla="*/ 149 h 320"/>
                <a:gd name="T70" fmla="*/ 24 w 216"/>
                <a:gd name="T71" fmla="*/ 191 h 320"/>
                <a:gd name="T72" fmla="*/ 120 w 216"/>
                <a:gd name="T73" fmla="*/ 96 h 320"/>
                <a:gd name="T74" fmla="*/ 78 w 216"/>
                <a:gd name="T75" fmla="*/ 96 h 320"/>
                <a:gd name="T76" fmla="*/ 173 w 216"/>
                <a:gd name="T77" fmla="*/ 117 h 320"/>
                <a:gd name="T78" fmla="*/ 173 w 216"/>
                <a:gd name="T79" fmla="*/ 75 h 320"/>
                <a:gd name="T80" fmla="*/ 173 w 216"/>
                <a:gd name="T81" fmla="*/ 117 h 320"/>
                <a:gd name="T82" fmla="*/ 194 w 216"/>
                <a:gd name="T83" fmla="*/ 170 h 320"/>
                <a:gd name="T84" fmla="*/ 152 w 216"/>
                <a:gd name="T85" fmla="*/ 17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6" h="320">
                  <a:moveTo>
                    <a:pt x="216" y="256"/>
                  </a:moveTo>
                  <a:cubicBezTo>
                    <a:pt x="216" y="277"/>
                    <a:pt x="216" y="277"/>
                    <a:pt x="216" y="277"/>
                  </a:cubicBezTo>
                  <a:cubicBezTo>
                    <a:pt x="216" y="283"/>
                    <a:pt x="211" y="288"/>
                    <a:pt x="205" y="288"/>
                  </a:cubicBezTo>
                  <a:cubicBezTo>
                    <a:pt x="199" y="288"/>
                    <a:pt x="195" y="283"/>
                    <a:pt x="195" y="277"/>
                  </a:cubicBezTo>
                  <a:cubicBezTo>
                    <a:pt x="195" y="256"/>
                    <a:pt x="195" y="256"/>
                    <a:pt x="195" y="256"/>
                  </a:cubicBezTo>
                  <a:cubicBezTo>
                    <a:pt x="195" y="250"/>
                    <a:pt x="190" y="245"/>
                    <a:pt x="184" y="245"/>
                  </a:cubicBezTo>
                  <a:cubicBezTo>
                    <a:pt x="178" y="245"/>
                    <a:pt x="173" y="250"/>
                    <a:pt x="173" y="256"/>
                  </a:cubicBezTo>
                  <a:cubicBezTo>
                    <a:pt x="173" y="266"/>
                    <a:pt x="173" y="266"/>
                    <a:pt x="173" y="266"/>
                  </a:cubicBezTo>
                  <a:cubicBezTo>
                    <a:pt x="173" y="272"/>
                    <a:pt x="169" y="277"/>
                    <a:pt x="163" y="277"/>
                  </a:cubicBezTo>
                  <a:cubicBezTo>
                    <a:pt x="157" y="277"/>
                    <a:pt x="152" y="272"/>
                    <a:pt x="152" y="266"/>
                  </a:cubicBezTo>
                  <a:cubicBezTo>
                    <a:pt x="152" y="234"/>
                    <a:pt x="152" y="234"/>
                    <a:pt x="152" y="234"/>
                  </a:cubicBezTo>
                  <a:cubicBezTo>
                    <a:pt x="152" y="228"/>
                    <a:pt x="147" y="224"/>
                    <a:pt x="141" y="224"/>
                  </a:cubicBezTo>
                  <a:cubicBezTo>
                    <a:pt x="135" y="224"/>
                    <a:pt x="131" y="228"/>
                    <a:pt x="131" y="234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72"/>
                    <a:pt x="126" y="277"/>
                    <a:pt x="120" y="277"/>
                  </a:cubicBezTo>
                  <a:cubicBezTo>
                    <a:pt x="114" y="277"/>
                    <a:pt x="109" y="272"/>
                    <a:pt x="109" y="266"/>
                  </a:cubicBezTo>
                  <a:cubicBezTo>
                    <a:pt x="109" y="170"/>
                    <a:pt x="109" y="170"/>
                    <a:pt x="109" y="170"/>
                  </a:cubicBezTo>
                  <a:cubicBezTo>
                    <a:pt x="109" y="164"/>
                    <a:pt x="105" y="160"/>
                    <a:pt x="99" y="160"/>
                  </a:cubicBezTo>
                  <a:cubicBezTo>
                    <a:pt x="93" y="160"/>
                    <a:pt x="88" y="164"/>
                    <a:pt x="88" y="170"/>
                  </a:cubicBezTo>
                  <a:cubicBezTo>
                    <a:pt x="88" y="298"/>
                    <a:pt x="88" y="298"/>
                    <a:pt x="88" y="298"/>
                  </a:cubicBezTo>
                  <a:cubicBezTo>
                    <a:pt x="88" y="299"/>
                    <a:pt x="88" y="299"/>
                    <a:pt x="88" y="300"/>
                  </a:cubicBezTo>
                  <a:cubicBezTo>
                    <a:pt x="89" y="305"/>
                    <a:pt x="87" y="310"/>
                    <a:pt x="82" y="312"/>
                  </a:cubicBezTo>
                  <a:cubicBezTo>
                    <a:pt x="77" y="314"/>
                    <a:pt x="70" y="312"/>
                    <a:pt x="68" y="307"/>
                  </a:cubicBezTo>
                  <a:cubicBezTo>
                    <a:pt x="53" y="275"/>
                    <a:pt x="53" y="275"/>
                    <a:pt x="53" y="275"/>
                  </a:cubicBezTo>
                  <a:cubicBezTo>
                    <a:pt x="50" y="269"/>
                    <a:pt x="46" y="262"/>
                    <a:pt x="38" y="258"/>
                  </a:cubicBezTo>
                  <a:cubicBezTo>
                    <a:pt x="36" y="257"/>
                    <a:pt x="33" y="255"/>
                    <a:pt x="31" y="256"/>
                  </a:cubicBezTo>
                  <a:cubicBezTo>
                    <a:pt x="31" y="256"/>
                    <a:pt x="30" y="256"/>
                    <a:pt x="29" y="257"/>
                  </a:cubicBezTo>
                  <a:cubicBezTo>
                    <a:pt x="26" y="257"/>
                    <a:pt x="25" y="259"/>
                    <a:pt x="25" y="260"/>
                  </a:cubicBezTo>
                  <a:cubicBezTo>
                    <a:pt x="23" y="264"/>
                    <a:pt x="24" y="272"/>
                    <a:pt x="31" y="283"/>
                  </a:cubicBezTo>
                  <a:cubicBezTo>
                    <a:pt x="31" y="283"/>
                    <a:pt x="32" y="283"/>
                    <a:pt x="32" y="284"/>
                  </a:cubicBezTo>
                  <a:cubicBezTo>
                    <a:pt x="41" y="305"/>
                    <a:pt x="41" y="305"/>
                    <a:pt x="41" y="305"/>
                  </a:cubicBezTo>
                  <a:cubicBezTo>
                    <a:pt x="44" y="310"/>
                    <a:pt x="42" y="316"/>
                    <a:pt x="36" y="319"/>
                  </a:cubicBezTo>
                  <a:cubicBezTo>
                    <a:pt x="35" y="319"/>
                    <a:pt x="33" y="320"/>
                    <a:pt x="32" y="320"/>
                  </a:cubicBezTo>
                  <a:cubicBezTo>
                    <a:pt x="28" y="320"/>
                    <a:pt x="24" y="317"/>
                    <a:pt x="22" y="314"/>
                  </a:cubicBezTo>
                  <a:cubicBezTo>
                    <a:pt x="13" y="293"/>
                    <a:pt x="13" y="293"/>
                    <a:pt x="13" y="293"/>
                  </a:cubicBezTo>
                  <a:cubicBezTo>
                    <a:pt x="3" y="278"/>
                    <a:pt x="0" y="263"/>
                    <a:pt x="5" y="252"/>
                  </a:cubicBezTo>
                  <a:cubicBezTo>
                    <a:pt x="8" y="244"/>
                    <a:pt x="15" y="238"/>
                    <a:pt x="23" y="236"/>
                  </a:cubicBezTo>
                  <a:cubicBezTo>
                    <a:pt x="31" y="233"/>
                    <a:pt x="40" y="234"/>
                    <a:pt x="49" y="239"/>
                  </a:cubicBezTo>
                  <a:cubicBezTo>
                    <a:pt x="56" y="243"/>
                    <a:pt x="61" y="249"/>
                    <a:pt x="67" y="256"/>
                  </a:cubicBezTo>
                  <a:cubicBezTo>
                    <a:pt x="67" y="170"/>
                    <a:pt x="67" y="170"/>
                    <a:pt x="67" y="170"/>
                  </a:cubicBezTo>
                  <a:cubicBezTo>
                    <a:pt x="67" y="153"/>
                    <a:pt x="81" y="138"/>
                    <a:pt x="99" y="138"/>
                  </a:cubicBezTo>
                  <a:cubicBezTo>
                    <a:pt x="116" y="138"/>
                    <a:pt x="131" y="153"/>
                    <a:pt x="131" y="170"/>
                  </a:cubicBezTo>
                  <a:cubicBezTo>
                    <a:pt x="131" y="204"/>
                    <a:pt x="131" y="204"/>
                    <a:pt x="131" y="204"/>
                  </a:cubicBezTo>
                  <a:cubicBezTo>
                    <a:pt x="135" y="203"/>
                    <a:pt x="138" y="202"/>
                    <a:pt x="141" y="202"/>
                  </a:cubicBezTo>
                  <a:cubicBezTo>
                    <a:pt x="156" y="202"/>
                    <a:pt x="168" y="212"/>
                    <a:pt x="172" y="226"/>
                  </a:cubicBezTo>
                  <a:cubicBezTo>
                    <a:pt x="176" y="225"/>
                    <a:pt x="180" y="224"/>
                    <a:pt x="184" y="224"/>
                  </a:cubicBezTo>
                  <a:cubicBezTo>
                    <a:pt x="202" y="224"/>
                    <a:pt x="216" y="238"/>
                    <a:pt x="216" y="256"/>
                  </a:cubicBezTo>
                  <a:close/>
                  <a:moveTo>
                    <a:pt x="24" y="42"/>
                  </a:moveTo>
                  <a:cubicBezTo>
                    <a:pt x="36" y="42"/>
                    <a:pt x="45" y="33"/>
                    <a:pt x="45" y="21"/>
                  </a:cubicBezTo>
                  <a:cubicBezTo>
                    <a:pt x="45" y="9"/>
                    <a:pt x="36" y="0"/>
                    <a:pt x="24" y="0"/>
                  </a:cubicBezTo>
                  <a:cubicBezTo>
                    <a:pt x="12" y="0"/>
                    <a:pt x="3" y="9"/>
                    <a:pt x="3" y="21"/>
                  </a:cubicBezTo>
                  <a:cubicBezTo>
                    <a:pt x="3" y="33"/>
                    <a:pt x="12" y="42"/>
                    <a:pt x="24" y="42"/>
                  </a:cubicBezTo>
                  <a:close/>
                  <a:moveTo>
                    <a:pt x="99" y="42"/>
                  </a:moveTo>
                  <a:cubicBezTo>
                    <a:pt x="110" y="42"/>
                    <a:pt x="120" y="33"/>
                    <a:pt x="120" y="21"/>
                  </a:cubicBezTo>
                  <a:cubicBezTo>
                    <a:pt x="120" y="9"/>
                    <a:pt x="110" y="0"/>
                    <a:pt x="99" y="0"/>
                  </a:cubicBezTo>
                  <a:cubicBezTo>
                    <a:pt x="87" y="0"/>
                    <a:pt x="78" y="9"/>
                    <a:pt x="78" y="21"/>
                  </a:cubicBezTo>
                  <a:cubicBezTo>
                    <a:pt x="78" y="33"/>
                    <a:pt x="87" y="42"/>
                    <a:pt x="99" y="42"/>
                  </a:cubicBezTo>
                  <a:close/>
                  <a:moveTo>
                    <a:pt x="173" y="42"/>
                  </a:moveTo>
                  <a:cubicBezTo>
                    <a:pt x="185" y="42"/>
                    <a:pt x="194" y="33"/>
                    <a:pt x="194" y="21"/>
                  </a:cubicBezTo>
                  <a:cubicBezTo>
                    <a:pt x="194" y="9"/>
                    <a:pt x="185" y="0"/>
                    <a:pt x="173" y="0"/>
                  </a:cubicBezTo>
                  <a:cubicBezTo>
                    <a:pt x="162" y="0"/>
                    <a:pt x="152" y="9"/>
                    <a:pt x="152" y="21"/>
                  </a:cubicBezTo>
                  <a:cubicBezTo>
                    <a:pt x="152" y="33"/>
                    <a:pt x="162" y="42"/>
                    <a:pt x="173" y="42"/>
                  </a:cubicBezTo>
                  <a:close/>
                  <a:moveTo>
                    <a:pt x="24" y="117"/>
                  </a:moveTo>
                  <a:cubicBezTo>
                    <a:pt x="36" y="117"/>
                    <a:pt x="45" y="107"/>
                    <a:pt x="45" y="96"/>
                  </a:cubicBezTo>
                  <a:cubicBezTo>
                    <a:pt x="45" y="84"/>
                    <a:pt x="36" y="75"/>
                    <a:pt x="24" y="75"/>
                  </a:cubicBezTo>
                  <a:cubicBezTo>
                    <a:pt x="12" y="75"/>
                    <a:pt x="3" y="84"/>
                    <a:pt x="3" y="96"/>
                  </a:cubicBezTo>
                  <a:cubicBezTo>
                    <a:pt x="3" y="107"/>
                    <a:pt x="12" y="117"/>
                    <a:pt x="24" y="117"/>
                  </a:cubicBezTo>
                  <a:close/>
                  <a:moveTo>
                    <a:pt x="24" y="191"/>
                  </a:moveTo>
                  <a:cubicBezTo>
                    <a:pt x="36" y="191"/>
                    <a:pt x="45" y="182"/>
                    <a:pt x="45" y="170"/>
                  </a:cubicBezTo>
                  <a:cubicBezTo>
                    <a:pt x="45" y="159"/>
                    <a:pt x="36" y="149"/>
                    <a:pt x="24" y="149"/>
                  </a:cubicBezTo>
                  <a:cubicBezTo>
                    <a:pt x="12" y="149"/>
                    <a:pt x="3" y="159"/>
                    <a:pt x="3" y="170"/>
                  </a:cubicBezTo>
                  <a:cubicBezTo>
                    <a:pt x="3" y="182"/>
                    <a:pt x="12" y="191"/>
                    <a:pt x="24" y="191"/>
                  </a:cubicBezTo>
                  <a:close/>
                  <a:moveTo>
                    <a:pt x="99" y="117"/>
                  </a:moveTo>
                  <a:cubicBezTo>
                    <a:pt x="110" y="117"/>
                    <a:pt x="120" y="107"/>
                    <a:pt x="120" y="96"/>
                  </a:cubicBezTo>
                  <a:cubicBezTo>
                    <a:pt x="120" y="84"/>
                    <a:pt x="110" y="75"/>
                    <a:pt x="99" y="75"/>
                  </a:cubicBezTo>
                  <a:cubicBezTo>
                    <a:pt x="87" y="75"/>
                    <a:pt x="78" y="84"/>
                    <a:pt x="78" y="96"/>
                  </a:cubicBezTo>
                  <a:cubicBezTo>
                    <a:pt x="78" y="107"/>
                    <a:pt x="87" y="117"/>
                    <a:pt x="99" y="117"/>
                  </a:cubicBezTo>
                  <a:close/>
                  <a:moveTo>
                    <a:pt x="173" y="117"/>
                  </a:moveTo>
                  <a:cubicBezTo>
                    <a:pt x="185" y="117"/>
                    <a:pt x="194" y="107"/>
                    <a:pt x="194" y="96"/>
                  </a:cubicBezTo>
                  <a:cubicBezTo>
                    <a:pt x="194" y="84"/>
                    <a:pt x="185" y="75"/>
                    <a:pt x="173" y="75"/>
                  </a:cubicBezTo>
                  <a:cubicBezTo>
                    <a:pt x="162" y="75"/>
                    <a:pt x="152" y="84"/>
                    <a:pt x="152" y="96"/>
                  </a:cubicBezTo>
                  <a:cubicBezTo>
                    <a:pt x="152" y="107"/>
                    <a:pt x="162" y="117"/>
                    <a:pt x="173" y="117"/>
                  </a:cubicBezTo>
                  <a:close/>
                  <a:moveTo>
                    <a:pt x="173" y="191"/>
                  </a:moveTo>
                  <a:cubicBezTo>
                    <a:pt x="185" y="191"/>
                    <a:pt x="194" y="182"/>
                    <a:pt x="194" y="170"/>
                  </a:cubicBezTo>
                  <a:cubicBezTo>
                    <a:pt x="194" y="159"/>
                    <a:pt x="185" y="149"/>
                    <a:pt x="173" y="149"/>
                  </a:cubicBezTo>
                  <a:cubicBezTo>
                    <a:pt x="162" y="149"/>
                    <a:pt x="152" y="159"/>
                    <a:pt x="152" y="170"/>
                  </a:cubicBezTo>
                  <a:cubicBezTo>
                    <a:pt x="152" y="182"/>
                    <a:pt x="162" y="191"/>
                    <a:pt x="173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4" name="Freeform 787"/>
          <p:cNvSpPr>
            <a:spLocks noChangeAspect="1" noEditPoints="1"/>
          </p:cNvSpPr>
          <p:nvPr/>
        </p:nvSpPr>
        <p:spPr bwMode="auto">
          <a:xfrm>
            <a:off x="5430076" y="2917631"/>
            <a:ext cx="367631" cy="36763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30 w 512"/>
              <a:gd name="T5" fmla="*/ 96 h 512"/>
              <a:gd name="T6" fmla="*/ 330 w 512"/>
              <a:gd name="T7" fmla="*/ 138 h 512"/>
              <a:gd name="T8" fmla="*/ 330 w 512"/>
              <a:gd name="T9" fmla="*/ 96 h 512"/>
              <a:gd name="T10" fmla="*/ 351 w 512"/>
              <a:gd name="T11" fmla="*/ 192 h 512"/>
              <a:gd name="T12" fmla="*/ 309 w 512"/>
              <a:gd name="T13" fmla="*/ 192 h 512"/>
              <a:gd name="T14" fmla="*/ 330 w 512"/>
              <a:gd name="T15" fmla="*/ 245 h 512"/>
              <a:gd name="T16" fmla="*/ 330 w 512"/>
              <a:gd name="T17" fmla="*/ 287 h 512"/>
              <a:gd name="T18" fmla="*/ 330 w 512"/>
              <a:gd name="T19" fmla="*/ 245 h 512"/>
              <a:gd name="T20" fmla="*/ 277 w 512"/>
              <a:gd name="T21" fmla="*/ 117 h 512"/>
              <a:gd name="T22" fmla="*/ 235 w 512"/>
              <a:gd name="T23" fmla="*/ 117 h 512"/>
              <a:gd name="T24" fmla="*/ 256 w 512"/>
              <a:gd name="T25" fmla="*/ 171 h 512"/>
              <a:gd name="T26" fmla="*/ 256 w 512"/>
              <a:gd name="T27" fmla="*/ 213 h 512"/>
              <a:gd name="T28" fmla="*/ 256 w 512"/>
              <a:gd name="T29" fmla="*/ 171 h 512"/>
              <a:gd name="T30" fmla="*/ 202 w 512"/>
              <a:gd name="T31" fmla="*/ 117 h 512"/>
              <a:gd name="T32" fmla="*/ 160 w 512"/>
              <a:gd name="T33" fmla="*/ 117 h 512"/>
              <a:gd name="T34" fmla="*/ 181 w 512"/>
              <a:gd name="T35" fmla="*/ 171 h 512"/>
              <a:gd name="T36" fmla="*/ 181 w 512"/>
              <a:gd name="T37" fmla="*/ 213 h 512"/>
              <a:gd name="T38" fmla="*/ 181 w 512"/>
              <a:gd name="T39" fmla="*/ 171 h 512"/>
              <a:gd name="T40" fmla="*/ 202 w 512"/>
              <a:gd name="T41" fmla="*/ 266 h 512"/>
              <a:gd name="T42" fmla="*/ 160 w 512"/>
              <a:gd name="T43" fmla="*/ 266 h 512"/>
              <a:gd name="T44" fmla="*/ 373 w 512"/>
              <a:gd name="T45" fmla="*/ 373 h 512"/>
              <a:gd name="T46" fmla="*/ 352 w 512"/>
              <a:gd name="T47" fmla="*/ 373 h 512"/>
              <a:gd name="T48" fmla="*/ 341 w 512"/>
              <a:gd name="T49" fmla="*/ 341 h 512"/>
              <a:gd name="T50" fmla="*/ 330 w 512"/>
              <a:gd name="T51" fmla="*/ 362 h 512"/>
              <a:gd name="T52" fmla="*/ 309 w 512"/>
              <a:gd name="T53" fmla="*/ 362 h 512"/>
              <a:gd name="T54" fmla="*/ 298 w 512"/>
              <a:gd name="T55" fmla="*/ 320 h 512"/>
              <a:gd name="T56" fmla="*/ 288 w 512"/>
              <a:gd name="T57" fmla="*/ 362 h 512"/>
              <a:gd name="T58" fmla="*/ 266 w 512"/>
              <a:gd name="T59" fmla="*/ 362 h 512"/>
              <a:gd name="T60" fmla="*/ 256 w 512"/>
              <a:gd name="T61" fmla="*/ 256 h 512"/>
              <a:gd name="T62" fmla="*/ 245 w 512"/>
              <a:gd name="T63" fmla="*/ 394 h 512"/>
              <a:gd name="T64" fmla="*/ 239 w 512"/>
              <a:gd name="T65" fmla="*/ 408 h 512"/>
              <a:gd name="T66" fmla="*/ 210 w 512"/>
              <a:gd name="T67" fmla="*/ 371 h 512"/>
              <a:gd name="T68" fmla="*/ 188 w 512"/>
              <a:gd name="T69" fmla="*/ 352 h 512"/>
              <a:gd name="T70" fmla="*/ 182 w 512"/>
              <a:gd name="T71" fmla="*/ 356 h 512"/>
              <a:gd name="T72" fmla="*/ 189 w 512"/>
              <a:gd name="T73" fmla="*/ 380 h 512"/>
              <a:gd name="T74" fmla="*/ 193 w 512"/>
              <a:gd name="T75" fmla="*/ 415 h 512"/>
              <a:gd name="T76" fmla="*/ 179 w 512"/>
              <a:gd name="T77" fmla="*/ 410 h 512"/>
              <a:gd name="T78" fmla="*/ 162 w 512"/>
              <a:gd name="T79" fmla="*/ 348 h 512"/>
              <a:gd name="T80" fmla="*/ 206 w 512"/>
              <a:gd name="T81" fmla="*/ 335 h 512"/>
              <a:gd name="T82" fmla="*/ 224 w 512"/>
              <a:gd name="T83" fmla="*/ 266 h 512"/>
              <a:gd name="T84" fmla="*/ 288 w 512"/>
              <a:gd name="T85" fmla="*/ 266 h 512"/>
              <a:gd name="T86" fmla="*/ 298 w 512"/>
              <a:gd name="T87" fmla="*/ 298 h 512"/>
              <a:gd name="T88" fmla="*/ 341 w 512"/>
              <a:gd name="T89" fmla="*/ 320 h 512"/>
              <a:gd name="T90" fmla="*/ 373 w 512"/>
              <a:gd name="T91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0" y="96"/>
                </a:moveTo>
                <a:cubicBezTo>
                  <a:pt x="342" y="96"/>
                  <a:pt x="351" y="105"/>
                  <a:pt x="351" y="117"/>
                </a:cubicBezTo>
                <a:cubicBezTo>
                  <a:pt x="351" y="129"/>
                  <a:pt x="342" y="138"/>
                  <a:pt x="330" y="138"/>
                </a:cubicBezTo>
                <a:cubicBezTo>
                  <a:pt x="319" y="138"/>
                  <a:pt x="309" y="129"/>
                  <a:pt x="309" y="117"/>
                </a:cubicBezTo>
                <a:cubicBezTo>
                  <a:pt x="309" y="105"/>
                  <a:pt x="319" y="96"/>
                  <a:pt x="330" y="96"/>
                </a:cubicBezTo>
                <a:close/>
                <a:moveTo>
                  <a:pt x="330" y="171"/>
                </a:moveTo>
                <a:cubicBezTo>
                  <a:pt x="342" y="171"/>
                  <a:pt x="351" y="180"/>
                  <a:pt x="351" y="192"/>
                </a:cubicBezTo>
                <a:cubicBezTo>
                  <a:pt x="351" y="203"/>
                  <a:pt x="342" y="213"/>
                  <a:pt x="330" y="213"/>
                </a:cubicBezTo>
                <a:cubicBezTo>
                  <a:pt x="319" y="213"/>
                  <a:pt x="309" y="203"/>
                  <a:pt x="309" y="192"/>
                </a:cubicBezTo>
                <a:cubicBezTo>
                  <a:pt x="309" y="180"/>
                  <a:pt x="319" y="171"/>
                  <a:pt x="330" y="171"/>
                </a:cubicBezTo>
                <a:close/>
                <a:moveTo>
                  <a:pt x="330" y="245"/>
                </a:moveTo>
                <a:cubicBezTo>
                  <a:pt x="342" y="245"/>
                  <a:pt x="351" y="255"/>
                  <a:pt x="351" y="266"/>
                </a:cubicBezTo>
                <a:cubicBezTo>
                  <a:pt x="351" y="278"/>
                  <a:pt x="342" y="287"/>
                  <a:pt x="330" y="287"/>
                </a:cubicBezTo>
                <a:cubicBezTo>
                  <a:pt x="319" y="287"/>
                  <a:pt x="309" y="278"/>
                  <a:pt x="309" y="266"/>
                </a:cubicBezTo>
                <a:cubicBezTo>
                  <a:pt x="309" y="255"/>
                  <a:pt x="319" y="245"/>
                  <a:pt x="330" y="245"/>
                </a:cubicBezTo>
                <a:close/>
                <a:moveTo>
                  <a:pt x="256" y="96"/>
                </a:moveTo>
                <a:cubicBezTo>
                  <a:pt x="267" y="96"/>
                  <a:pt x="277" y="105"/>
                  <a:pt x="277" y="117"/>
                </a:cubicBezTo>
                <a:cubicBezTo>
                  <a:pt x="277" y="129"/>
                  <a:pt x="267" y="138"/>
                  <a:pt x="256" y="138"/>
                </a:cubicBezTo>
                <a:cubicBezTo>
                  <a:pt x="244" y="138"/>
                  <a:pt x="235" y="129"/>
                  <a:pt x="235" y="117"/>
                </a:cubicBezTo>
                <a:cubicBezTo>
                  <a:pt x="235" y="105"/>
                  <a:pt x="244" y="96"/>
                  <a:pt x="256" y="96"/>
                </a:cubicBezTo>
                <a:close/>
                <a:moveTo>
                  <a:pt x="256" y="171"/>
                </a:moveTo>
                <a:cubicBezTo>
                  <a:pt x="267" y="171"/>
                  <a:pt x="277" y="180"/>
                  <a:pt x="277" y="192"/>
                </a:cubicBezTo>
                <a:cubicBezTo>
                  <a:pt x="277" y="203"/>
                  <a:pt x="267" y="213"/>
                  <a:pt x="256" y="213"/>
                </a:cubicBezTo>
                <a:cubicBezTo>
                  <a:pt x="244" y="213"/>
                  <a:pt x="235" y="203"/>
                  <a:pt x="235" y="192"/>
                </a:cubicBezTo>
                <a:cubicBezTo>
                  <a:pt x="235" y="180"/>
                  <a:pt x="244" y="171"/>
                  <a:pt x="256" y="171"/>
                </a:cubicBezTo>
                <a:close/>
                <a:moveTo>
                  <a:pt x="181" y="96"/>
                </a:moveTo>
                <a:cubicBezTo>
                  <a:pt x="193" y="96"/>
                  <a:pt x="202" y="105"/>
                  <a:pt x="202" y="117"/>
                </a:cubicBezTo>
                <a:cubicBezTo>
                  <a:pt x="202" y="129"/>
                  <a:pt x="193" y="138"/>
                  <a:pt x="181" y="138"/>
                </a:cubicBezTo>
                <a:cubicBezTo>
                  <a:pt x="169" y="138"/>
                  <a:pt x="160" y="129"/>
                  <a:pt x="160" y="117"/>
                </a:cubicBezTo>
                <a:cubicBezTo>
                  <a:pt x="160" y="105"/>
                  <a:pt x="169" y="96"/>
                  <a:pt x="181" y="96"/>
                </a:cubicBezTo>
                <a:close/>
                <a:moveTo>
                  <a:pt x="181" y="171"/>
                </a:moveTo>
                <a:cubicBezTo>
                  <a:pt x="193" y="171"/>
                  <a:pt x="202" y="180"/>
                  <a:pt x="202" y="192"/>
                </a:cubicBezTo>
                <a:cubicBezTo>
                  <a:pt x="202" y="203"/>
                  <a:pt x="193" y="213"/>
                  <a:pt x="181" y="213"/>
                </a:cubicBezTo>
                <a:cubicBezTo>
                  <a:pt x="169" y="213"/>
                  <a:pt x="160" y="203"/>
                  <a:pt x="160" y="192"/>
                </a:cubicBezTo>
                <a:cubicBezTo>
                  <a:pt x="160" y="180"/>
                  <a:pt x="169" y="171"/>
                  <a:pt x="181" y="171"/>
                </a:cubicBezTo>
                <a:close/>
                <a:moveTo>
                  <a:pt x="181" y="245"/>
                </a:moveTo>
                <a:cubicBezTo>
                  <a:pt x="193" y="245"/>
                  <a:pt x="202" y="255"/>
                  <a:pt x="202" y="266"/>
                </a:cubicBezTo>
                <a:cubicBezTo>
                  <a:pt x="202" y="278"/>
                  <a:pt x="193" y="287"/>
                  <a:pt x="181" y="287"/>
                </a:cubicBezTo>
                <a:cubicBezTo>
                  <a:pt x="169" y="287"/>
                  <a:pt x="160" y="278"/>
                  <a:pt x="160" y="266"/>
                </a:cubicBezTo>
                <a:cubicBezTo>
                  <a:pt x="160" y="255"/>
                  <a:pt x="169" y="245"/>
                  <a:pt x="181" y="245"/>
                </a:cubicBezTo>
                <a:close/>
                <a:moveTo>
                  <a:pt x="373" y="373"/>
                </a:moveTo>
                <a:cubicBezTo>
                  <a:pt x="373" y="379"/>
                  <a:pt x="368" y="384"/>
                  <a:pt x="362" y="384"/>
                </a:cubicBezTo>
                <a:cubicBezTo>
                  <a:pt x="356" y="384"/>
                  <a:pt x="352" y="379"/>
                  <a:pt x="352" y="373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52" y="346"/>
                  <a:pt x="347" y="341"/>
                  <a:pt x="341" y="341"/>
                </a:cubicBezTo>
                <a:cubicBezTo>
                  <a:pt x="335" y="341"/>
                  <a:pt x="330" y="346"/>
                  <a:pt x="330" y="352"/>
                </a:cubicBezTo>
                <a:cubicBezTo>
                  <a:pt x="330" y="362"/>
                  <a:pt x="330" y="362"/>
                  <a:pt x="330" y="362"/>
                </a:cubicBezTo>
                <a:cubicBezTo>
                  <a:pt x="330" y="368"/>
                  <a:pt x="326" y="373"/>
                  <a:pt x="320" y="373"/>
                </a:cubicBezTo>
                <a:cubicBezTo>
                  <a:pt x="314" y="373"/>
                  <a:pt x="309" y="368"/>
                  <a:pt x="309" y="362"/>
                </a:cubicBezTo>
                <a:cubicBezTo>
                  <a:pt x="309" y="330"/>
                  <a:pt x="309" y="330"/>
                  <a:pt x="309" y="330"/>
                </a:cubicBezTo>
                <a:cubicBezTo>
                  <a:pt x="309" y="324"/>
                  <a:pt x="304" y="320"/>
                  <a:pt x="298" y="320"/>
                </a:cubicBezTo>
                <a:cubicBezTo>
                  <a:pt x="292" y="320"/>
                  <a:pt x="288" y="324"/>
                  <a:pt x="288" y="330"/>
                </a:cubicBezTo>
                <a:cubicBezTo>
                  <a:pt x="288" y="362"/>
                  <a:pt x="288" y="362"/>
                  <a:pt x="288" y="362"/>
                </a:cubicBezTo>
                <a:cubicBezTo>
                  <a:pt x="288" y="368"/>
                  <a:pt x="283" y="373"/>
                  <a:pt x="277" y="373"/>
                </a:cubicBezTo>
                <a:cubicBezTo>
                  <a:pt x="271" y="373"/>
                  <a:pt x="266" y="368"/>
                  <a:pt x="266" y="362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260"/>
                  <a:pt x="262" y="256"/>
                  <a:pt x="256" y="256"/>
                </a:cubicBezTo>
                <a:cubicBezTo>
                  <a:pt x="250" y="256"/>
                  <a:pt x="245" y="260"/>
                  <a:pt x="245" y="266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5"/>
                  <a:pt x="245" y="395"/>
                  <a:pt x="245" y="396"/>
                </a:cubicBezTo>
                <a:cubicBezTo>
                  <a:pt x="246" y="401"/>
                  <a:pt x="244" y="406"/>
                  <a:pt x="239" y="408"/>
                </a:cubicBezTo>
                <a:cubicBezTo>
                  <a:pt x="234" y="410"/>
                  <a:pt x="227" y="408"/>
                  <a:pt x="225" y="403"/>
                </a:cubicBezTo>
                <a:cubicBezTo>
                  <a:pt x="210" y="371"/>
                  <a:pt x="210" y="371"/>
                  <a:pt x="210" y="371"/>
                </a:cubicBezTo>
                <a:cubicBezTo>
                  <a:pt x="207" y="365"/>
                  <a:pt x="203" y="358"/>
                  <a:pt x="195" y="354"/>
                </a:cubicBezTo>
                <a:cubicBezTo>
                  <a:pt x="193" y="353"/>
                  <a:pt x="190" y="351"/>
                  <a:pt x="188" y="352"/>
                </a:cubicBezTo>
                <a:cubicBezTo>
                  <a:pt x="188" y="352"/>
                  <a:pt x="187" y="352"/>
                  <a:pt x="186" y="353"/>
                </a:cubicBezTo>
                <a:cubicBezTo>
                  <a:pt x="183" y="353"/>
                  <a:pt x="182" y="355"/>
                  <a:pt x="182" y="356"/>
                </a:cubicBezTo>
                <a:cubicBezTo>
                  <a:pt x="180" y="360"/>
                  <a:pt x="181" y="368"/>
                  <a:pt x="188" y="379"/>
                </a:cubicBezTo>
                <a:cubicBezTo>
                  <a:pt x="188" y="379"/>
                  <a:pt x="189" y="379"/>
                  <a:pt x="189" y="380"/>
                </a:cubicBezTo>
                <a:cubicBezTo>
                  <a:pt x="198" y="401"/>
                  <a:pt x="198" y="401"/>
                  <a:pt x="198" y="401"/>
                </a:cubicBezTo>
                <a:cubicBezTo>
                  <a:pt x="201" y="406"/>
                  <a:pt x="199" y="412"/>
                  <a:pt x="193" y="415"/>
                </a:cubicBezTo>
                <a:cubicBezTo>
                  <a:pt x="192" y="415"/>
                  <a:pt x="190" y="416"/>
                  <a:pt x="189" y="416"/>
                </a:cubicBezTo>
                <a:cubicBezTo>
                  <a:pt x="185" y="416"/>
                  <a:pt x="181" y="413"/>
                  <a:pt x="179" y="410"/>
                </a:cubicBezTo>
                <a:cubicBezTo>
                  <a:pt x="170" y="389"/>
                  <a:pt x="170" y="389"/>
                  <a:pt x="170" y="389"/>
                </a:cubicBezTo>
                <a:cubicBezTo>
                  <a:pt x="160" y="374"/>
                  <a:pt x="157" y="359"/>
                  <a:pt x="162" y="348"/>
                </a:cubicBezTo>
                <a:cubicBezTo>
                  <a:pt x="165" y="340"/>
                  <a:pt x="172" y="334"/>
                  <a:pt x="180" y="332"/>
                </a:cubicBezTo>
                <a:cubicBezTo>
                  <a:pt x="188" y="329"/>
                  <a:pt x="197" y="330"/>
                  <a:pt x="206" y="335"/>
                </a:cubicBezTo>
                <a:cubicBezTo>
                  <a:pt x="213" y="339"/>
                  <a:pt x="218" y="345"/>
                  <a:pt x="224" y="352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24" y="249"/>
                  <a:pt x="238" y="234"/>
                  <a:pt x="256" y="234"/>
                </a:cubicBezTo>
                <a:cubicBezTo>
                  <a:pt x="273" y="234"/>
                  <a:pt x="288" y="249"/>
                  <a:pt x="288" y="266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292" y="299"/>
                  <a:pt x="295" y="298"/>
                  <a:pt x="298" y="298"/>
                </a:cubicBezTo>
                <a:cubicBezTo>
                  <a:pt x="313" y="298"/>
                  <a:pt x="325" y="308"/>
                  <a:pt x="329" y="322"/>
                </a:cubicBezTo>
                <a:cubicBezTo>
                  <a:pt x="333" y="321"/>
                  <a:pt x="337" y="320"/>
                  <a:pt x="341" y="320"/>
                </a:cubicBezTo>
                <a:cubicBezTo>
                  <a:pt x="359" y="320"/>
                  <a:pt x="373" y="334"/>
                  <a:pt x="373" y="352"/>
                </a:cubicBezTo>
                <a:lnTo>
                  <a:pt x="373" y="3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5" name="Group 795"/>
          <p:cNvGrpSpPr>
            <a:grpSpLocks noChangeAspect="1"/>
          </p:cNvGrpSpPr>
          <p:nvPr/>
        </p:nvGrpSpPr>
        <p:grpSpPr bwMode="auto">
          <a:xfrm>
            <a:off x="6923088" y="2916237"/>
            <a:ext cx="369021" cy="369021"/>
            <a:chOff x="4288" y="3084"/>
            <a:chExt cx="340" cy="340"/>
          </a:xfrm>
          <a:solidFill>
            <a:schemeClr val="accent3"/>
          </a:solidFill>
        </p:grpSpPr>
        <p:sp>
          <p:nvSpPr>
            <p:cNvPr id="96" name="Freeform 796"/>
            <p:cNvSpPr>
              <a:spLocks noEditPoints="1"/>
            </p:cNvSpPr>
            <p:nvPr/>
          </p:nvSpPr>
          <p:spPr bwMode="auto">
            <a:xfrm>
              <a:off x="4288" y="30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1 w 512"/>
                <a:gd name="T3" fmla="*/ 256 h 512"/>
                <a:gd name="T4" fmla="*/ 256 w 512"/>
                <a:gd name="T5" fmla="*/ 491 h 512"/>
                <a:gd name="T6" fmla="*/ 22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797"/>
            <p:cNvSpPr>
              <a:spLocks noEditPoints="1"/>
            </p:cNvSpPr>
            <p:nvPr/>
          </p:nvSpPr>
          <p:spPr bwMode="auto">
            <a:xfrm>
              <a:off x="4352" y="3176"/>
              <a:ext cx="212" cy="170"/>
            </a:xfrm>
            <a:custGeom>
              <a:avLst/>
              <a:gdLst>
                <a:gd name="T0" fmla="*/ 310 w 320"/>
                <a:gd name="T1" fmla="*/ 0 h 256"/>
                <a:gd name="T2" fmla="*/ 11 w 320"/>
                <a:gd name="T3" fmla="*/ 0 h 256"/>
                <a:gd name="T4" fmla="*/ 0 w 320"/>
                <a:gd name="T5" fmla="*/ 10 h 256"/>
                <a:gd name="T6" fmla="*/ 0 w 320"/>
                <a:gd name="T7" fmla="*/ 224 h 256"/>
                <a:gd name="T8" fmla="*/ 11 w 320"/>
                <a:gd name="T9" fmla="*/ 235 h 256"/>
                <a:gd name="T10" fmla="*/ 54 w 320"/>
                <a:gd name="T11" fmla="*/ 235 h 256"/>
                <a:gd name="T12" fmla="*/ 43 w 320"/>
                <a:gd name="T13" fmla="*/ 246 h 256"/>
                <a:gd name="T14" fmla="*/ 54 w 320"/>
                <a:gd name="T15" fmla="*/ 256 h 256"/>
                <a:gd name="T16" fmla="*/ 96 w 320"/>
                <a:gd name="T17" fmla="*/ 256 h 256"/>
                <a:gd name="T18" fmla="*/ 107 w 320"/>
                <a:gd name="T19" fmla="*/ 246 h 256"/>
                <a:gd name="T20" fmla="*/ 96 w 320"/>
                <a:gd name="T21" fmla="*/ 235 h 256"/>
                <a:gd name="T22" fmla="*/ 224 w 320"/>
                <a:gd name="T23" fmla="*/ 235 h 256"/>
                <a:gd name="T24" fmla="*/ 214 w 320"/>
                <a:gd name="T25" fmla="*/ 246 h 256"/>
                <a:gd name="T26" fmla="*/ 224 w 320"/>
                <a:gd name="T27" fmla="*/ 256 h 256"/>
                <a:gd name="T28" fmla="*/ 267 w 320"/>
                <a:gd name="T29" fmla="*/ 256 h 256"/>
                <a:gd name="T30" fmla="*/ 278 w 320"/>
                <a:gd name="T31" fmla="*/ 246 h 256"/>
                <a:gd name="T32" fmla="*/ 267 w 320"/>
                <a:gd name="T33" fmla="*/ 235 h 256"/>
                <a:gd name="T34" fmla="*/ 310 w 320"/>
                <a:gd name="T35" fmla="*/ 235 h 256"/>
                <a:gd name="T36" fmla="*/ 320 w 320"/>
                <a:gd name="T37" fmla="*/ 224 h 256"/>
                <a:gd name="T38" fmla="*/ 320 w 320"/>
                <a:gd name="T39" fmla="*/ 10 h 256"/>
                <a:gd name="T40" fmla="*/ 310 w 320"/>
                <a:gd name="T41" fmla="*/ 0 h 256"/>
                <a:gd name="T42" fmla="*/ 22 w 320"/>
                <a:gd name="T43" fmla="*/ 214 h 256"/>
                <a:gd name="T44" fmla="*/ 22 w 320"/>
                <a:gd name="T45" fmla="*/ 22 h 256"/>
                <a:gd name="T46" fmla="*/ 54 w 320"/>
                <a:gd name="T47" fmla="*/ 22 h 256"/>
                <a:gd name="T48" fmla="*/ 54 w 320"/>
                <a:gd name="T49" fmla="*/ 42 h 256"/>
                <a:gd name="T50" fmla="*/ 43 w 320"/>
                <a:gd name="T51" fmla="*/ 53 h 256"/>
                <a:gd name="T52" fmla="*/ 54 w 320"/>
                <a:gd name="T53" fmla="*/ 64 h 256"/>
                <a:gd name="T54" fmla="*/ 54 w 320"/>
                <a:gd name="T55" fmla="*/ 170 h 256"/>
                <a:gd name="T56" fmla="*/ 43 w 320"/>
                <a:gd name="T57" fmla="*/ 181 h 256"/>
                <a:gd name="T58" fmla="*/ 54 w 320"/>
                <a:gd name="T59" fmla="*/ 192 h 256"/>
                <a:gd name="T60" fmla="*/ 54 w 320"/>
                <a:gd name="T61" fmla="*/ 214 h 256"/>
                <a:gd name="T62" fmla="*/ 22 w 320"/>
                <a:gd name="T63" fmla="*/ 214 h 256"/>
                <a:gd name="T64" fmla="*/ 299 w 320"/>
                <a:gd name="T65" fmla="*/ 214 h 256"/>
                <a:gd name="T66" fmla="*/ 75 w 320"/>
                <a:gd name="T67" fmla="*/ 214 h 256"/>
                <a:gd name="T68" fmla="*/ 75 w 320"/>
                <a:gd name="T69" fmla="*/ 192 h 256"/>
                <a:gd name="T70" fmla="*/ 86 w 320"/>
                <a:gd name="T71" fmla="*/ 181 h 256"/>
                <a:gd name="T72" fmla="*/ 75 w 320"/>
                <a:gd name="T73" fmla="*/ 170 h 256"/>
                <a:gd name="T74" fmla="*/ 75 w 320"/>
                <a:gd name="T75" fmla="*/ 64 h 256"/>
                <a:gd name="T76" fmla="*/ 86 w 320"/>
                <a:gd name="T77" fmla="*/ 53 h 256"/>
                <a:gd name="T78" fmla="*/ 75 w 320"/>
                <a:gd name="T79" fmla="*/ 42 h 256"/>
                <a:gd name="T80" fmla="*/ 75 w 320"/>
                <a:gd name="T81" fmla="*/ 22 h 256"/>
                <a:gd name="T82" fmla="*/ 299 w 320"/>
                <a:gd name="T83" fmla="*/ 22 h 256"/>
                <a:gd name="T84" fmla="*/ 299 w 320"/>
                <a:gd name="T85" fmla="*/ 21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31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48" y="235"/>
                    <a:pt x="43" y="240"/>
                    <a:pt x="43" y="246"/>
                  </a:cubicBezTo>
                  <a:cubicBezTo>
                    <a:pt x="43" y="252"/>
                    <a:pt x="48" y="256"/>
                    <a:pt x="54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2" y="256"/>
                    <a:pt x="107" y="252"/>
                    <a:pt x="107" y="246"/>
                  </a:cubicBezTo>
                  <a:cubicBezTo>
                    <a:pt x="107" y="240"/>
                    <a:pt x="102" y="235"/>
                    <a:pt x="96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18" y="235"/>
                    <a:pt x="214" y="240"/>
                    <a:pt x="214" y="246"/>
                  </a:cubicBezTo>
                  <a:cubicBezTo>
                    <a:pt x="214" y="252"/>
                    <a:pt x="218" y="256"/>
                    <a:pt x="224" y="256"/>
                  </a:cubicBezTo>
                  <a:cubicBezTo>
                    <a:pt x="267" y="256"/>
                    <a:pt x="267" y="256"/>
                    <a:pt x="267" y="256"/>
                  </a:cubicBezTo>
                  <a:cubicBezTo>
                    <a:pt x="273" y="256"/>
                    <a:pt x="278" y="252"/>
                    <a:pt x="278" y="246"/>
                  </a:cubicBezTo>
                  <a:cubicBezTo>
                    <a:pt x="278" y="240"/>
                    <a:pt x="273" y="235"/>
                    <a:pt x="267" y="235"/>
                  </a:cubicBezTo>
                  <a:cubicBezTo>
                    <a:pt x="310" y="235"/>
                    <a:pt x="310" y="235"/>
                    <a:pt x="310" y="235"/>
                  </a:cubicBezTo>
                  <a:cubicBezTo>
                    <a:pt x="316" y="235"/>
                    <a:pt x="320" y="230"/>
                    <a:pt x="320" y="224"/>
                  </a:cubicBezTo>
                  <a:cubicBezTo>
                    <a:pt x="320" y="10"/>
                    <a:pt x="320" y="10"/>
                    <a:pt x="320" y="10"/>
                  </a:cubicBezTo>
                  <a:cubicBezTo>
                    <a:pt x="320" y="4"/>
                    <a:pt x="316" y="0"/>
                    <a:pt x="310" y="0"/>
                  </a:cubicBezTo>
                  <a:close/>
                  <a:moveTo>
                    <a:pt x="22" y="214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59"/>
                    <a:pt x="48" y="64"/>
                    <a:pt x="54" y="64"/>
                  </a:cubicBezTo>
                  <a:cubicBezTo>
                    <a:pt x="54" y="170"/>
                    <a:pt x="54" y="170"/>
                    <a:pt x="54" y="170"/>
                  </a:cubicBezTo>
                  <a:cubicBezTo>
                    <a:pt x="48" y="170"/>
                    <a:pt x="43" y="175"/>
                    <a:pt x="43" y="181"/>
                  </a:cubicBezTo>
                  <a:cubicBezTo>
                    <a:pt x="43" y="187"/>
                    <a:pt x="48" y="192"/>
                    <a:pt x="54" y="192"/>
                  </a:cubicBezTo>
                  <a:cubicBezTo>
                    <a:pt x="54" y="214"/>
                    <a:pt x="54" y="214"/>
                    <a:pt x="54" y="214"/>
                  </a:cubicBezTo>
                  <a:lnTo>
                    <a:pt x="22" y="214"/>
                  </a:lnTo>
                  <a:close/>
                  <a:moveTo>
                    <a:pt x="299" y="214"/>
                  </a:moveTo>
                  <a:cubicBezTo>
                    <a:pt x="75" y="214"/>
                    <a:pt x="75" y="214"/>
                    <a:pt x="75" y="214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81" y="192"/>
                    <a:pt x="86" y="187"/>
                    <a:pt x="86" y="181"/>
                  </a:cubicBezTo>
                  <a:cubicBezTo>
                    <a:pt x="86" y="175"/>
                    <a:pt x="81" y="170"/>
                    <a:pt x="75" y="170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81" y="64"/>
                    <a:pt x="86" y="59"/>
                    <a:pt x="86" y="53"/>
                  </a:cubicBezTo>
                  <a:cubicBezTo>
                    <a:pt x="86" y="47"/>
                    <a:pt x="81" y="42"/>
                    <a:pt x="75" y="4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299" y="22"/>
                    <a:pt x="299" y="22"/>
                    <a:pt x="299" y="22"/>
                  </a:cubicBezTo>
                  <a:lnTo>
                    <a:pt x="299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798"/>
            <p:cNvSpPr>
              <a:spLocks noEditPoints="1"/>
            </p:cNvSpPr>
            <p:nvPr/>
          </p:nvSpPr>
          <p:spPr bwMode="auto">
            <a:xfrm>
              <a:off x="4465" y="3219"/>
              <a:ext cx="71" cy="70"/>
            </a:xfrm>
            <a:custGeom>
              <a:avLst/>
              <a:gdLst>
                <a:gd name="T0" fmla="*/ 53 w 107"/>
                <a:gd name="T1" fmla="*/ 106 h 106"/>
                <a:gd name="T2" fmla="*/ 107 w 107"/>
                <a:gd name="T3" fmla="*/ 53 h 106"/>
                <a:gd name="T4" fmla="*/ 53 w 107"/>
                <a:gd name="T5" fmla="*/ 0 h 106"/>
                <a:gd name="T6" fmla="*/ 0 w 107"/>
                <a:gd name="T7" fmla="*/ 53 h 106"/>
                <a:gd name="T8" fmla="*/ 53 w 107"/>
                <a:gd name="T9" fmla="*/ 106 h 106"/>
                <a:gd name="T10" fmla="*/ 53 w 107"/>
                <a:gd name="T11" fmla="*/ 21 h 106"/>
                <a:gd name="T12" fmla="*/ 85 w 107"/>
                <a:gd name="T13" fmla="*/ 53 h 106"/>
                <a:gd name="T14" fmla="*/ 53 w 107"/>
                <a:gd name="T15" fmla="*/ 85 h 106"/>
                <a:gd name="T16" fmla="*/ 21 w 107"/>
                <a:gd name="T17" fmla="*/ 53 h 106"/>
                <a:gd name="T18" fmla="*/ 53 w 107"/>
                <a:gd name="T19" fmla="*/ 2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3" y="106"/>
                  </a:move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3" y="106"/>
                  </a:cubicBezTo>
                  <a:close/>
                  <a:moveTo>
                    <a:pt x="53" y="21"/>
                  </a:moveTo>
                  <a:cubicBezTo>
                    <a:pt x="71" y="21"/>
                    <a:pt x="85" y="35"/>
                    <a:pt x="85" y="53"/>
                  </a:cubicBezTo>
                  <a:cubicBezTo>
                    <a:pt x="85" y="71"/>
                    <a:pt x="71" y="85"/>
                    <a:pt x="53" y="85"/>
                  </a:cubicBezTo>
                  <a:cubicBezTo>
                    <a:pt x="36" y="85"/>
                    <a:pt x="21" y="71"/>
                    <a:pt x="21" y="53"/>
                  </a:cubicBezTo>
                  <a:cubicBezTo>
                    <a:pt x="21" y="35"/>
                    <a:pt x="36" y="21"/>
                    <a:pt x="5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799"/>
            <p:cNvSpPr>
              <a:spLocks/>
            </p:cNvSpPr>
            <p:nvPr/>
          </p:nvSpPr>
          <p:spPr bwMode="auto">
            <a:xfrm>
              <a:off x="4494" y="3247"/>
              <a:ext cx="14" cy="14"/>
            </a:xfrm>
            <a:custGeom>
              <a:avLst/>
              <a:gdLst>
                <a:gd name="T0" fmla="*/ 11 w 21"/>
                <a:gd name="T1" fmla="*/ 21 h 21"/>
                <a:gd name="T2" fmla="*/ 21 w 21"/>
                <a:gd name="T3" fmla="*/ 10 h 21"/>
                <a:gd name="T4" fmla="*/ 11 w 21"/>
                <a:gd name="T5" fmla="*/ 0 h 21"/>
                <a:gd name="T6" fmla="*/ 10 w 21"/>
                <a:gd name="T7" fmla="*/ 0 h 21"/>
                <a:gd name="T8" fmla="*/ 0 w 21"/>
                <a:gd name="T9" fmla="*/ 10 h 21"/>
                <a:gd name="T10" fmla="*/ 11 w 21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16" y="21"/>
                    <a:pt x="21" y="16"/>
                    <a:pt x="21" y="10"/>
                  </a:cubicBezTo>
                  <a:cubicBezTo>
                    <a:pt x="21" y="4"/>
                    <a:pt x="16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0" name="Freeform 803"/>
          <p:cNvSpPr>
            <a:spLocks noChangeAspect="1" noEditPoints="1"/>
          </p:cNvSpPr>
          <p:nvPr/>
        </p:nvSpPr>
        <p:spPr bwMode="auto">
          <a:xfrm>
            <a:off x="6424492" y="2916241"/>
            <a:ext cx="369021" cy="369021"/>
          </a:xfrm>
          <a:custGeom>
            <a:avLst/>
            <a:gdLst>
              <a:gd name="T0" fmla="*/ 352 w 512"/>
              <a:gd name="T1" fmla="*/ 256 h 512"/>
              <a:gd name="T2" fmla="*/ 288 w 512"/>
              <a:gd name="T3" fmla="*/ 256 h 512"/>
              <a:gd name="T4" fmla="*/ 320 w 512"/>
              <a:gd name="T5" fmla="*/ 246 h 512"/>
              <a:gd name="T6" fmla="*/ 331 w 512"/>
              <a:gd name="T7" fmla="*/ 256 h 512"/>
              <a:gd name="T8" fmla="*/ 310 w 512"/>
              <a:gd name="T9" fmla="*/ 256 h 512"/>
              <a:gd name="T10" fmla="*/ 171 w 512"/>
              <a:gd name="T11" fmla="*/ 181 h 512"/>
              <a:gd name="T12" fmla="*/ 171 w 512"/>
              <a:gd name="T13" fmla="*/ 203 h 512"/>
              <a:gd name="T14" fmla="*/ 182 w 512"/>
              <a:gd name="T15" fmla="*/ 320 h 512"/>
              <a:gd name="T16" fmla="*/ 171 w 512"/>
              <a:gd name="T17" fmla="*/ 353 h 512"/>
              <a:gd name="T18" fmla="*/ 395 w 512"/>
              <a:gd name="T19" fmla="*/ 161 h 512"/>
              <a:gd name="T20" fmla="*/ 171 w 512"/>
              <a:gd name="T21" fmla="*/ 181 h 512"/>
              <a:gd name="T22" fmla="*/ 374 w 512"/>
              <a:gd name="T23" fmla="*/ 256 h 512"/>
              <a:gd name="T24" fmla="*/ 267 w 512"/>
              <a:gd name="T25" fmla="*/ 256 h 512"/>
              <a:gd name="T26" fmla="*/ 118 w 512"/>
              <a:gd name="T27" fmla="*/ 161 h 512"/>
              <a:gd name="T28" fmla="*/ 150 w 512"/>
              <a:gd name="T29" fmla="*/ 181 h 512"/>
              <a:gd name="T30" fmla="*/ 150 w 512"/>
              <a:gd name="T31" fmla="*/ 203 h 512"/>
              <a:gd name="T32" fmla="*/ 139 w 512"/>
              <a:gd name="T33" fmla="*/ 320 h 512"/>
              <a:gd name="T34" fmla="*/ 150 w 512"/>
              <a:gd name="T35" fmla="*/ 353 h 512"/>
              <a:gd name="T36" fmla="*/ 118 w 512"/>
              <a:gd name="T37" fmla="*/ 161 h 512"/>
              <a:gd name="T38" fmla="*/ 0 w 512"/>
              <a:gd name="T39" fmla="*/ 256 h 512"/>
              <a:gd name="T40" fmla="*/ 512 w 512"/>
              <a:gd name="T41" fmla="*/ 256 h 512"/>
              <a:gd name="T42" fmla="*/ 416 w 512"/>
              <a:gd name="T43" fmla="*/ 363 h 512"/>
              <a:gd name="T44" fmla="*/ 363 w 512"/>
              <a:gd name="T45" fmla="*/ 374 h 512"/>
              <a:gd name="T46" fmla="*/ 363 w 512"/>
              <a:gd name="T47" fmla="*/ 395 h 512"/>
              <a:gd name="T48" fmla="*/ 310 w 512"/>
              <a:gd name="T49" fmla="*/ 385 h 512"/>
              <a:gd name="T50" fmla="*/ 192 w 512"/>
              <a:gd name="T51" fmla="*/ 374 h 512"/>
              <a:gd name="T52" fmla="*/ 192 w 512"/>
              <a:gd name="T53" fmla="*/ 395 h 512"/>
              <a:gd name="T54" fmla="*/ 139 w 512"/>
              <a:gd name="T55" fmla="*/ 385 h 512"/>
              <a:gd name="T56" fmla="*/ 107 w 512"/>
              <a:gd name="T57" fmla="*/ 374 h 512"/>
              <a:gd name="T58" fmla="*/ 96 w 512"/>
              <a:gd name="T59" fmla="*/ 149 h 512"/>
              <a:gd name="T60" fmla="*/ 406 w 512"/>
              <a:gd name="T61" fmla="*/ 139 h 512"/>
              <a:gd name="T62" fmla="*/ 416 w 512"/>
              <a:gd name="T6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320" y="288"/>
                </a:moveTo>
                <a:cubicBezTo>
                  <a:pt x="338" y="288"/>
                  <a:pt x="352" y="274"/>
                  <a:pt x="352" y="256"/>
                </a:cubicBezTo>
                <a:cubicBezTo>
                  <a:pt x="352" y="238"/>
                  <a:pt x="338" y="224"/>
                  <a:pt x="320" y="224"/>
                </a:cubicBezTo>
                <a:cubicBezTo>
                  <a:pt x="303" y="224"/>
                  <a:pt x="288" y="238"/>
                  <a:pt x="288" y="256"/>
                </a:cubicBezTo>
                <a:cubicBezTo>
                  <a:pt x="288" y="274"/>
                  <a:pt x="303" y="288"/>
                  <a:pt x="320" y="288"/>
                </a:cubicBezTo>
                <a:close/>
                <a:moveTo>
                  <a:pt x="320" y="246"/>
                </a:moveTo>
                <a:cubicBezTo>
                  <a:pt x="321" y="246"/>
                  <a:pt x="321" y="246"/>
                  <a:pt x="321" y="246"/>
                </a:cubicBezTo>
                <a:cubicBezTo>
                  <a:pt x="326" y="246"/>
                  <a:pt x="331" y="250"/>
                  <a:pt x="331" y="256"/>
                </a:cubicBezTo>
                <a:cubicBezTo>
                  <a:pt x="331" y="262"/>
                  <a:pt x="326" y="267"/>
                  <a:pt x="321" y="267"/>
                </a:cubicBezTo>
                <a:cubicBezTo>
                  <a:pt x="315" y="267"/>
                  <a:pt x="310" y="262"/>
                  <a:pt x="310" y="256"/>
                </a:cubicBezTo>
                <a:cubicBezTo>
                  <a:pt x="310" y="251"/>
                  <a:pt x="315" y="246"/>
                  <a:pt x="320" y="246"/>
                </a:cubicBezTo>
                <a:close/>
                <a:moveTo>
                  <a:pt x="171" y="181"/>
                </a:moveTo>
                <a:cubicBezTo>
                  <a:pt x="177" y="181"/>
                  <a:pt x="182" y="186"/>
                  <a:pt x="182" y="192"/>
                </a:cubicBezTo>
                <a:cubicBezTo>
                  <a:pt x="182" y="198"/>
                  <a:pt x="177" y="203"/>
                  <a:pt x="171" y="203"/>
                </a:cubicBezTo>
                <a:cubicBezTo>
                  <a:pt x="171" y="309"/>
                  <a:pt x="171" y="309"/>
                  <a:pt x="171" y="309"/>
                </a:cubicBezTo>
                <a:cubicBezTo>
                  <a:pt x="177" y="309"/>
                  <a:pt x="182" y="314"/>
                  <a:pt x="182" y="320"/>
                </a:cubicBezTo>
                <a:cubicBezTo>
                  <a:pt x="182" y="326"/>
                  <a:pt x="177" y="331"/>
                  <a:pt x="171" y="331"/>
                </a:cubicBezTo>
                <a:cubicBezTo>
                  <a:pt x="171" y="353"/>
                  <a:pt x="171" y="353"/>
                  <a:pt x="171" y="353"/>
                </a:cubicBezTo>
                <a:cubicBezTo>
                  <a:pt x="395" y="353"/>
                  <a:pt x="395" y="353"/>
                  <a:pt x="395" y="353"/>
                </a:cubicBezTo>
                <a:cubicBezTo>
                  <a:pt x="395" y="161"/>
                  <a:pt x="395" y="161"/>
                  <a:pt x="395" y="161"/>
                </a:cubicBezTo>
                <a:cubicBezTo>
                  <a:pt x="171" y="161"/>
                  <a:pt x="171" y="161"/>
                  <a:pt x="171" y="161"/>
                </a:cubicBezTo>
                <a:lnTo>
                  <a:pt x="171" y="181"/>
                </a:lnTo>
                <a:close/>
                <a:moveTo>
                  <a:pt x="320" y="203"/>
                </a:moveTo>
                <a:cubicBezTo>
                  <a:pt x="350" y="203"/>
                  <a:pt x="374" y="227"/>
                  <a:pt x="374" y="256"/>
                </a:cubicBezTo>
                <a:cubicBezTo>
                  <a:pt x="374" y="285"/>
                  <a:pt x="350" y="309"/>
                  <a:pt x="320" y="309"/>
                </a:cubicBezTo>
                <a:cubicBezTo>
                  <a:pt x="291" y="309"/>
                  <a:pt x="267" y="285"/>
                  <a:pt x="267" y="256"/>
                </a:cubicBezTo>
                <a:cubicBezTo>
                  <a:pt x="267" y="227"/>
                  <a:pt x="291" y="203"/>
                  <a:pt x="320" y="203"/>
                </a:cubicBezTo>
                <a:close/>
                <a:moveTo>
                  <a:pt x="118" y="161"/>
                </a:moveTo>
                <a:cubicBezTo>
                  <a:pt x="150" y="161"/>
                  <a:pt x="150" y="161"/>
                  <a:pt x="150" y="161"/>
                </a:cubicBezTo>
                <a:cubicBezTo>
                  <a:pt x="150" y="181"/>
                  <a:pt x="150" y="181"/>
                  <a:pt x="150" y="181"/>
                </a:cubicBezTo>
                <a:cubicBezTo>
                  <a:pt x="144" y="181"/>
                  <a:pt x="139" y="186"/>
                  <a:pt x="139" y="192"/>
                </a:cubicBezTo>
                <a:cubicBezTo>
                  <a:pt x="139" y="198"/>
                  <a:pt x="144" y="203"/>
                  <a:pt x="150" y="203"/>
                </a:cubicBezTo>
                <a:cubicBezTo>
                  <a:pt x="150" y="309"/>
                  <a:pt x="150" y="309"/>
                  <a:pt x="150" y="309"/>
                </a:cubicBezTo>
                <a:cubicBezTo>
                  <a:pt x="144" y="309"/>
                  <a:pt x="139" y="314"/>
                  <a:pt x="139" y="320"/>
                </a:cubicBezTo>
                <a:cubicBezTo>
                  <a:pt x="139" y="326"/>
                  <a:pt x="144" y="331"/>
                  <a:pt x="150" y="331"/>
                </a:cubicBezTo>
                <a:cubicBezTo>
                  <a:pt x="150" y="353"/>
                  <a:pt x="150" y="353"/>
                  <a:pt x="150" y="353"/>
                </a:cubicBezTo>
                <a:cubicBezTo>
                  <a:pt x="118" y="353"/>
                  <a:pt x="118" y="353"/>
                  <a:pt x="118" y="353"/>
                </a:cubicBezTo>
                <a:lnTo>
                  <a:pt x="118" y="161"/>
                </a:lnTo>
                <a:close/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7"/>
                  <a:pt x="115" y="512"/>
                  <a:pt x="256" y="512"/>
                </a:cubicBezTo>
                <a:cubicBezTo>
                  <a:pt x="398" y="512"/>
                  <a:pt x="512" y="397"/>
                  <a:pt x="512" y="256"/>
                </a:cubicBezTo>
                <a:cubicBezTo>
                  <a:pt x="512" y="115"/>
                  <a:pt x="398" y="0"/>
                  <a:pt x="256" y="0"/>
                </a:cubicBezTo>
                <a:close/>
                <a:moveTo>
                  <a:pt x="416" y="363"/>
                </a:moveTo>
                <a:cubicBezTo>
                  <a:pt x="416" y="369"/>
                  <a:pt x="412" y="374"/>
                  <a:pt x="406" y="374"/>
                </a:cubicBezTo>
                <a:cubicBezTo>
                  <a:pt x="363" y="374"/>
                  <a:pt x="363" y="374"/>
                  <a:pt x="363" y="374"/>
                </a:cubicBezTo>
                <a:cubicBezTo>
                  <a:pt x="369" y="374"/>
                  <a:pt x="374" y="379"/>
                  <a:pt x="374" y="385"/>
                </a:cubicBezTo>
                <a:cubicBezTo>
                  <a:pt x="374" y="391"/>
                  <a:pt x="369" y="395"/>
                  <a:pt x="363" y="395"/>
                </a:cubicBezTo>
                <a:cubicBezTo>
                  <a:pt x="320" y="395"/>
                  <a:pt x="320" y="395"/>
                  <a:pt x="320" y="395"/>
                </a:cubicBezTo>
                <a:cubicBezTo>
                  <a:pt x="314" y="395"/>
                  <a:pt x="310" y="391"/>
                  <a:pt x="310" y="385"/>
                </a:cubicBezTo>
                <a:cubicBezTo>
                  <a:pt x="310" y="379"/>
                  <a:pt x="314" y="374"/>
                  <a:pt x="320" y="374"/>
                </a:cubicBezTo>
                <a:cubicBezTo>
                  <a:pt x="192" y="374"/>
                  <a:pt x="192" y="374"/>
                  <a:pt x="192" y="374"/>
                </a:cubicBezTo>
                <a:cubicBezTo>
                  <a:pt x="198" y="374"/>
                  <a:pt x="203" y="379"/>
                  <a:pt x="203" y="385"/>
                </a:cubicBezTo>
                <a:cubicBezTo>
                  <a:pt x="203" y="391"/>
                  <a:pt x="198" y="395"/>
                  <a:pt x="192" y="395"/>
                </a:cubicBezTo>
                <a:cubicBezTo>
                  <a:pt x="150" y="395"/>
                  <a:pt x="150" y="395"/>
                  <a:pt x="150" y="395"/>
                </a:cubicBezTo>
                <a:cubicBezTo>
                  <a:pt x="144" y="395"/>
                  <a:pt x="139" y="391"/>
                  <a:pt x="139" y="385"/>
                </a:cubicBezTo>
                <a:cubicBezTo>
                  <a:pt x="139" y="379"/>
                  <a:pt x="144" y="374"/>
                  <a:pt x="150" y="374"/>
                </a:cubicBezTo>
                <a:cubicBezTo>
                  <a:pt x="107" y="374"/>
                  <a:pt x="107" y="374"/>
                  <a:pt x="107" y="374"/>
                </a:cubicBezTo>
                <a:cubicBezTo>
                  <a:pt x="101" y="374"/>
                  <a:pt x="96" y="369"/>
                  <a:pt x="96" y="363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1" y="139"/>
                  <a:pt x="107" y="139"/>
                </a:cubicBezTo>
                <a:cubicBezTo>
                  <a:pt x="406" y="139"/>
                  <a:pt x="406" y="139"/>
                  <a:pt x="406" y="139"/>
                </a:cubicBezTo>
                <a:cubicBezTo>
                  <a:pt x="412" y="139"/>
                  <a:pt x="416" y="143"/>
                  <a:pt x="416" y="149"/>
                </a:cubicBezTo>
                <a:lnTo>
                  <a:pt x="416" y="36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795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Environm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33388" y="2470154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un and shade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17205" y="247015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vercast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15839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ght rain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06757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avy rain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02216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loud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11298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il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397675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e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384053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w print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388593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nowflake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393134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now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33388" y="3360502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rd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17205" y="3360502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t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15839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g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06757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ug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02216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eaf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11298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wl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397675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ne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9384053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oot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8388593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abbit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7393134" y="33605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ghthouse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33388" y="4134101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ghtning bolt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17205" y="4134097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ghtning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15839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rop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406757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ortoise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402216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ee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11298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mbrella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397675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Kennel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9384053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ffic cone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388593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r tree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7393134" y="413409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lower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433388" y="498270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un</a:t>
            </a:r>
          </a:p>
        </p:txBody>
      </p:sp>
      <p:sp>
        <p:nvSpPr>
          <p:cNvPr id="623" name="TextBox 622"/>
          <p:cNvSpPr txBox="1"/>
          <p:nvPr/>
        </p:nvSpPr>
        <p:spPr>
          <a:xfrm>
            <a:off x="1427841" y="498270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on</a:t>
            </a:r>
          </a:p>
        </p:txBody>
      </p:sp>
      <p:sp>
        <p:nvSpPr>
          <p:cNvPr id="624" name="TextBox 623"/>
          <p:cNvSpPr txBox="1"/>
          <p:nvPr/>
        </p:nvSpPr>
        <p:spPr>
          <a:xfrm>
            <a:off x="2441260" y="49827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cycle</a:t>
            </a:r>
          </a:p>
        </p:txBody>
      </p:sp>
      <p:grpSp>
        <p:nvGrpSpPr>
          <p:cNvPr id="256" name="Group 290"/>
          <p:cNvGrpSpPr>
            <a:grpSpLocks noChangeAspect="1"/>
          </p:cNvGrpSpPr>
          <p:nvPr/>
        </p:nvGrpSpPr>
        <p:grpSpPr bwMode="auto">
          <a:xfrm>
            <a:off x="929230" y="2051051"/>
            <a:ext cx="369676" cy="369676"/>
            <a:chOff x="7355" y="1132"/>
            <a:chExt cx="340" cy="340"/>
          </a:xfrm>
          <a:solidFill>
            <a:schemeClr val="accent4"/>
          </a:solidFill>
        </p:grpSpPr>
        <p:sp>
          <p:nvSpPr>
            <p:cNvPr id="257" name="Freeform 291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22 w 512"/>
                <a:gd name="T3" fmla="*/ 90 h 512"/>
                <a:gd name="T4" fmla="*/ 490 w 512"/>
                <a:gd name="T5" fmla="*/ 256 h 512"/>
                <a:gd name="T6" fmla="*/ 422 w 512"/>
                <a:gd name="T7" fmla="*/ 422 h 512"/>
                <a:gd name="T8" fmla="*/ 256 w 512"/>
                <a:gd name="T9" fmla="*/ 490 h 512"/>
                <a:gd name="T10" fmla="*/ 90 w 512"/>
                <a:gd name="T11" fmla="*/ 422 h 512"/>
                <a:gd name="T12" fmla="*/ 21 w 512"/>
                <a:gd name="T13" fmla="*/ 256 h 512"/>
                <a:gd name="T14" fmla="*/ 90 w 512"/>
                <a:gd name="T15" fmla="*/ 90 h 512"/>
                <a:gd name="T16" fmla="*/ 256 w 512"/>
                <a:gd name="T17" fmla="*/ 21 h 512"/>
                <a:gd name="T18" fmla="*/ 256 w 512"/>
                <a:gd name="T19" fmla="*/ 0 h 512"/>
                <a:gd name="T20" fmla="*/ 0 w 512"/>
                <a:gd name="T21" fmla="*/ 256 h 512"/>
                <a:gd name="T22" fmla="*/ 256 w 512"/>
                <a:gd name="T23" fmla="*/ 512 h 512"/>
                <a:gd name="T24" fmla="*/ 512 w 512"/>
                <a:gd name="T25" fmla="*/ 256 h 512"/>
                <a:gd name="T26" fmla="*/ 256 w 51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18" y="21"/>
                    <a:pt x="377" y="45"/>
                    <a:pt x="422" y="90"/>
                  </a:cubicBezTo>
                  <a:cubicBezTo>
                    <a:pt x="466" y="134"/>
                    <a:pt x="490" y="193"/>
                    <a:pt x="490" y="256"/>
                  </a:cubicBezTo>
                  <a:cubicBezTo>
                    <a:pt x="490" y="318"/>
                    <a:pt x="466" y="377"/>
                    <a:pt x="422" y="422"/>
                  </a:cubicBezTo>
                  <a:cubicBezTo>
                    <a:pt x="377" y="466"/>
                    <a:pt x="318" y="490"/>
                    <a:pt x="256" y="490"/>
                  </a:cubicBezTo>
                  <a:cubicBezTo>
                    <a:pt x="193" y="490"/>
                    <a:pt x="134" y="466"/>
                    <a:pt x="90" y="422"/>
                  </a:cubicBezTo>
                  <a:cubicBezTo>
                    <a:pt x="45" y="377"/>
                    <a:pt x="21" y="318"/>
                    <a:pt x="21" y="256"/>
                  </a:cubicBezTo>
                  <a:cubicBezTo>
                    <a:pt x="21" y="193"/>
                    <a:pt x="45" y="134"/>
                    <a:pt x="90" y="90"/>
                  </a:cubicBezTo>
                  <a:cubicBezTo>
                    <a:pt x="134" y="45"/>
                    <a:pt x="193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292"/>
            <p:cNvSpPr>
              <a:spLocks noEditPoints="1"/>
            </p:cNvSpPr>
            <p:nvPr/>
          </p:nvSpPr>
          <p:spPr bwMode="auto">
            <a:xfrm>
              <a:off x="7355" y="1132"/>
              <a:ext cx="340" cy="340"/>
            </a:xfrm>
            <a:custGeom>
              <a:avLst/>
              <a:gdLst>
                <a:gd name="T0" fmla="*/ 256 w 512"/>
                <a:gd name="T1" fmla="*/ 490 h 512"/>
                <a:gd name="T2" fmla="*/ 256 w 512"/>
                <a:gd name="T3" fmla="*/ 0 h 512"/>
                <a:gd name="T4" fmla="*/ 512 w 512"/>
                <a:gd name="T5" fmla="*/ 256 h 512"/>
                <a:gd name="T6" fmla="*/ 160 w 512"/>
                <a:gd name="T7" fmla="*/ 256 h 512"/>
                <a:gd name="T8" fmla="*/ 256 w 512"/>
                <a:gd name="T9" fmla="*/ 160 h 512"/>
                <a:gd name="T10" fmla="*/ 266 w 512"/>
                <a:gd name="T11" fmla="*/ 202 h 512"/>
                <a:gd name="T12" fmla="*/ 323 w 512"/>
                <a:gd name="T13" fmla="*/ 288 h 512"/>
                <a:gd name="T14" fmla="*/ 266 w 512"/>
                <a:gd name="T15" fmla="*/ 329 h 512"/>
                <a:gd name="T16" fmla="*/ 280 w 512"/>
                <a:gd name="T17" fmla="*/ 185 h 512"/>
                <a:gd name="T18" fmla="*/ 245 w 512"/>
                <a:gd name="T19" fmla="*/ 182 h 512"/>
                <a:gd name="T20" fmla="*/ 294 w 512"/>
                <a:gd name="T21" fmla="*/ 320 h 512"/>
                <a:gd name="T22" fmla="*/ 311 w 512"/>
                <a:gd name="T23" fmla="*/ 306 h 512"/>
                <a:gd name="T24" fmla="*/ 266 w 512"/>
                <a:gd name="T25" fmla="*/ 128 h 512"/>
                <a:gd name="T26" fmla="*/ 245 w 512"/>
                <a:gd name="T27" fmla="*/ 106 h 512"/>
                <a:gd name="T28" fmla="*/ 256 w 512"/>
                <a:gd name="T29" fmla="*/ 373 h 512"/>
                <a:gd name="T30" fmla="*/ 256 w 512"/>
                <a:gd name="T31" fmla="*/ 416 h 512"/>
                <a:gd name="T32" fmla="*/ 256 w 512"/>
                <a:gd name="T33" fmla="*/ 373 h 512"/>
                <a:gd name="T34" fmla="*/ 343 w 512"/>
                <a:gd name="T35" fmla="*/ 154 h 512"/>
                <a:gd name="T36" fmla="*/ 339 w 512"/>
                <a:gd name="T37" fmla="*/ 158 h 512"/>
                <a:gd name="T38" fmla="*/ 336 w 512"/>
                <a:gd name="T39" fmla="*/ 166 h 512"/>
                <a:gd name="T40" fmla="*/ 343 w 512"/>
                <a:gd name="T41" fmla="*/ 176 h 512"/>
                <a:gd name="T42" fmla="*/ 354 w 512"/>
                <a:gd name="T43" fmla="*/ 173 h 512"/>
                <a:gd name="T44" fmla="*/ 358 w 512"/>
                <a:gd name="T45" fmla="*/ 169 h 512"/>
                <a:gd name="T46" fmla="*/ 369 w 512"/>
                <a:gd name="T47" fmla="*/ 143 h 512"/>
                <a:gd name="T48" fmla="*/ 147 w 512"/>
                <a:gd name="T49" fmla="*/ 350 h 512"/>
                <a:gd name="T50" fmla="*/ 143 w 512"/>
                <a:gd name="T51" fmla="*/ 354 h 512"/>
                <a:gd name="T52" fmla="*/ 142 w 512"/>
                <a:gd name="T53" fmla="*/ 354 h 512"/>
                <a:gd name="T54" fmla="*/ 142 w 512"/>
                <a:gd name="T55" fmla="*/ 369 h 512"/>
                <a:gd name="T56" fmla="*/ 158 w 512"/>
                <a:gd name="T57" fmla="*/ 369 h 512"/>
                <a:gd name="T58" fmla="*/ 160 w 512"/>
                <a:gd name="T59" fmla="*/ 367 h 512"/>
                <a:gd name="T60" fmla="*/ 176 w 512"/>
                <a:gd name="T61" fmla="*/ 346 h 512"/>
                <a:gd name="T62" fmla="*/ 405 w 512"/>
                <a:gd name="T63" fmla="*/ 245 h 512"/>
                <a:gd name="T64" fmla="*/ 383 w 512"/>
                <a:gd name="T65" fmla="*/ 266 h 512"/>
                <a:gd name="T66" fmla="*/ 405 w 512"/>
                <a:gd name="T67" fmla="*/ 245 h 512"/>
                <a:gd name="T68" fmla="*/ 95 w 512"/>
                <a:gd name="T69" fmla="*/ 256 h 512"/>
                <a:gd name="T70" fmla="*/ 139 w 512"/>
                <a:gd name="T71" fmla="*/ 256 h 512"/>
                <a:gd name="T72" fmla="*/ 354 w 512"/>
                <a:gd name="T73" fmla="*/ 340 h 512"/>
                <a:gd name="T74" fmla="*/ 338 w 512"/>
                <a:gd name="T75" fmla="*/ 339 h 512"/>
                <a:gd name="T76" fmla="*/ 338 w 512"/>
                <a:gd name="T77" fmla="*/ 354 h 512"/>
                <a:gd name="T78" fmla="*/ 339 w 512"/>
                <a:gd name="T79" fmla="*/ 355 h 512"/>
                <a:gd name="T80" fmla="*/ 354 w 512"/>
                <a:gd name="T81" fmla="*/ 370 h 512"/>
                <a:gd name="T82" fmla="*/ 372 w 512"/>
                <a:gd name="T83" fmla="*/ 362 h 512"/>
                <a:gd name="T84" fmla="*/ 142 w 512"/>
                <a:gd name="T85" fmla="*/ 158 h 512"/>
                <a:gd name="T86" fmla="*/ 143 w 512"/>
                <a:gd name="T87" fmla="*/ 158 h 512"/>
                <a:gd name="T88" fmla="*/ 158 w 512"/>
                <a:gd name="T89" fmla="*/ 173 h 512"/>
                <a:gd name="T90" fmla="*/ 176 w 512"/>
                <a:gd name="T91" fmla="*/ 166 h 512"/>
                <a:gd name="T92" fmla="*/ 158 w 512"/>
                <a:gd name="T93" fmla="*/ 144 h 512"/>
                <a:gd name="T94" fmla="*/ 142 w 512"/>
                <a:gd name="T95" fmla="*/ 14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160"/>
                  </a:moveTo>
                  <a:cubicBezTo>
                    <a:pt x="203" y="160"/>
                    <a:pt x="160" y="203"/>
                    <a:pt x="160" y="256"/>
                  </a:cubicBezTo>
                  <a:cubicBezTo>
                    <a:pt x="160" y="309"/>
                    <a:pt x="203" y="352"/>
                    <a:pt x="256" y="352"/>
                  </a:cubicBezTo>
                  <a:cubicBezTo>
                    <a:pt x="309" y="352"/>
                    <a:pt x="352" y="309"/>
                    <a:pt x="352" y="256"/>
                  </a:cubicBezTo>
                  <a:cubicBezTo>
                    <a:pt x="352" y="203"/>
                    <a:pt x="309" y="160"/>
                    <a:pt x="256" y="160"/>
                  </a:cubicBezTo>
                  <a:close/>
                  <a:moveTo>
                    <a:pt x="323" y="288"/>
                  </a:moveTo>
                  <a:cubicBezTo>
                    <a:pt x="266" y="232"/>
                    <a:pt x="266" y="232"/>
                    <a:pt x="266" y="232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329" y="264"/>
                    <a:pt x="329" y="264"/>
                    <a:pt x="329" y="264"/>
                  </a:cubicBezTo>
                  <a:cubicBezTo>
                    <a:pt x="329" y="264"/>
                    <a:pt x="329" y="264"/>
                    <a:pt x="330" y="265"/>
                  </a:cubicBezTo>
                  <a:cubicBezTo>
                    <a:pt x="329" y="273"/>
                    <a:pt x="326" y="281"/>
                    <a:pt x="323" y="288"/>
                  </a:cubicBezTo>
                  <a:close/>
                  <a:moveTo>
                    <a:pt x="266" y="322"/>
                  </a:moveTo>
                  <a:cubicBezTo>
                    <a:pt x="272" y="328"/>
                    <a:pt x="272" y="328"/>
                    <a:pt x="272" y="328"/>
                  </a:cubicBezTo>
                  <a:cubicBezTo>
                    <a:pt x="270" y="329"/>
                    <a:pt x="268" y="329"/>
                    <a:pt x="266" y="329"/>
                  </a:cubicBezTo>
                  <a:lnTo>
                    <a:pt x="266" y="322"/>
                  </a:lnTo>
                  <a:close/>
                  <a:moveTo>
                    <a:pt x="326" y="231"/>
                  </a:moveTo>
                  <a:cubicBezTo>
                    <a:pt x="280" y="185"/>
                    <a:pt x="280" y="185"/>
                    <a:pt x="280" y="185"/>
                  </a:cubicBezTo>
                  <a:cubicBezTo>
                    <a:pt x="302" y="193"/>
                    <a:pt x="319" y="210"/>
                    <a:pt x="326" y="231"/>
                  </a:cubicBezTo>
                  <a:close/>
                  <a:moveTo>
                    <a:pt x="181" y="256"/>
                  </a:moveTo>
                  <a:cubicBezTo>
                    <a:pt x="181" y="218"/>
                    <a:pt x="209" y="187"/>
                    <a:pt x="245" y="182"/>
                  </a:cubicBezTo>
                  <a:cubicBezTo>
                    <a:pt x="245" y="329"/>
                    <a:pt x="245" y="329"/>
                    <a:pt x="245" y="329"/>
                  </a:cubicBezTo>
                  <a:cubicBezTo>
                    <a:pt x="209" y="324"/>
                    <a:pt x="181" y="293"/>
                    <a:pt x="181" y="256"/>
                  </a:cubicBezTo>
                  <a:close/>
                  <a:moveTo>
                    <a:pt x="294" y="320"/>
                  </a:moveTo>
                  <a:cubicBezTo>
                    <a:pt x="266" y="292"/>
                    <a:pt x="266" y="292"/>
                    <a:pt x="266" y="292"/>
                  </a:cubicBezTo>
                  <a:cubicBezTo>
                    <a:pt x="266" y="262"/>
                    <a:pt x="266" y="262"/>
                    <a:pt x="266" y="262"/>
                  </a:cubicBezTo>
                  <a:cubicBezTo>
                    <a:pt x="311" y="306"/>
                    <a:pt x="311" y="306"/>
                    <a:pt x="311" y="306"/>
                  </a:cubicBezTo>
                  <a:cubicBezTo>
                    <a:pt x="306" y="311"/>
                    <a:pt x="300" y="316"/>
                    <a:pt x="294" y="320"/>
                  </a:cubicBezTo>
                  <a:close/>
                  <a:moveTo>
                    <a:pt x="256" y="139"/>
                  </a:moveTo>
                  <a:cubicBezTo>
                    <a:pt x="262" y="139"/>
                    <a:pt x="266" y="134"/>
                    <a:pt x="266" y="128"/>
                  </a:cubicBezTo>
                  <a:cubicBezTo>
                    <a:pt x="266" y="106"/>
                    <a:pt x="266" y="106"/>
                    <a:pt x="266" y="106"/>
                  </a:cubicBezTo>
                  <a:cubicBezTo>
                    <a:pt x="266" y="100"/>
                    <a:pt x="262" y="96"/>
                    <a:pt x="256" y="96"/>
                  </a:cubicBezTo>
                  <a:cubicBezTo>
                    <a:pt x="250" y="96"/>
                    <a:pt x="245" y="100"/>
                    <a:pt x="245" y="106"/>
                  </a:cubicBezTo>
                  <a:cubicBezTo>
                    <a:pt x="245" y="128"/>
                    <a:pt x="245" y="128"/>
                    <a:pt x="245" y="128"/>
                  </a:cubicBezTo>
                  <a:cubicBezTo>
                    <a:pt x="245" y="134"/>
                    <a:pt x="250" y="139"/>
                    <a:pt x="256" y="139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5" y="412"/>
                    <a:pt x="250" y="416"/>
                    <a:pt x="256" y="416"/>
                  </a:cubicBezTo>
                  <a:cubicBezTo>
                    <a:pt x="262" y="416"/>
                    <a:pt x="266" y="412"/>
                    <a:pt x="266" y="406"/>
                  </a:cubicBezTo>
                  <a:cubicBezTo>
                    <a:pt x="266" y="384"/>
                    <a:pt x="266" y="384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354" y="143"/>
                  </a:moveTo>
                  <a:cubicBezTo>
                    <a:pt x="343" y="154"/>
                    <a:pt x="343" y="154"/>
                    <a:pt x="343" y="154"/>
                  </a:cubicBezTo>
                  <a:cubicBezTo>
                    <a:pt x="343" y="154"/>
                    <a:pt x="343" y="154"/>
                    <a:pt x="343" y="154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7" y="160"/>
                    <a:pt x="335" y="163"/>
                    <a:pt x="336" y="166"/>
                  </a:cubicBezTo>
                  <a:cubicBezTo>
                    <a:pt x="336" y="169"/>
                    <a:pt x="336" y="171"/>
                    <a:pt x="338" y="173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40" y="175"/>
                    <a:pt x="342" y="176"/>
                    <a:pt x="343" y="176"/>
                  </a:cubicBezTo>
                  <a:cubicBezTo>
                    <a:pt x="344" y="176"/>
                    <a:pt x="345" y="177"/>
                    <a:pt x="345" y="177"/>
                  </a:cubicBezTo>
                  <a:cubicBezTo>
                    <a:pt x="348" y="177"/>
                    <a:pt x="351" y="175"/>
                    <a:pt x="354" y="173"/>
                  </a:cubicBezTo>
                  <a:cubicBezTo>
                    <a:pt x="354" y="173"/>
                    <a:pt x="354" y="173"/>
                    <a:pt x="354" y="173"/>
                  </a:cubicBezTo>
                  <a:cubicBezTo>
                    <a:pt x="354" y="173"/>
                    <a:pt x="355" y="172"/>
                    <a:pt x="355" y="172"/>
                  </a:cubicBezTo>
                  <a:cubicBezTo>
                    <a:pt x="355" y="171"/>
                    <a:pt x="356" y="171"/>
                    <a:pt x="356" y="171"/>
                  </a:cubicBezTo>
                  <a:cubicBezTo>
                    <a:pt x="357" y="170"/>
                    <a:pt x="357" y="170"/>
                    <a:pt x="358" y="169"/>
                  </a:cubicBezTo>
                  <a:cubicBezTo>
                    <a:pt x="369" y="158"/>
                    <a:pt x="369" y="158"/>
                    <a:pt x="369" y="158"/>
                  </a:cubicBezTo>
                  <a:cubicBezTo>
                    <a:pt x="371" y="156"/>
                    <a:pt x="372" y="153"/>
                    <a:pt x="372" y="150"/>
                  </a:cubicBezTo>
                  <a:cubicBezTo>
                    <a:pt x="372" y="147"/>
                    <a:pt x="371" y="145"/>
                    <a:pt x="369" y="143"/>
                  </a:cubicBezTo>
                  <a:cubicBezTo>
                    <a:pt x="365" y="139"/>
                    <a:pt x="358" y="139"/>
                    <a:pt x="354" y="143"/>
                  </a:cubicBezTo>
                  <a:close/>
                  <a:moveTo>
                    <a:pt x="158" y="339"/>
                  </a:moveTo>
                  <a:cubicBezTo>
                    <a:pt x="147" y="350"/>
                    <a:pt x="147" y="350"/>
                    <a:pt x="147" y="350"/>
                  </a:cubicBezTo>
                  <a:cubicBezTo>
                    <a:pt x="147" y="350"/>
                    <a:pt x="147" y="350"/>
                    <a:pt x="147" y="350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0" y="356"/>
                    <a:pt x="139" y="359"/>
                    <a:pt x="139" y="362"/>
                  </a:cubicBezTo>
                  <a:cubicBezTo>
                    <a:pt x="139" y="365"/>
                    <a:pt x="140" y="367"/>
                    <a:pt x="142" y="369"/>
                  </a:cubicBezTo>
                  <a:cubicBezTo>
                    <a:pt x="142" y="369"/>
                    <a:pt x="142" y="369"/>
                    <a:pt x="142" y="369"/>
                  </a:cubicBezTo>
                  <a:cubicBezTo>
                    <a:pt x="144" y="371"/>
                    <a:pt x="145" y="372"/>
                    <a:pt x="147" y="372"/>
                  </a:cubicBezTo>
                  <a:cubicBezTo>
                    <a:pt x="148" y="373"/>
                    <a:pt x="148" y="373"/>
                    <a:pt x="149" y="373"/>
                  </a:cubicBezTo>
                  <a:cubicBezTo>
                    <a:pt x="152" y="373"/>
                    <a:pt x="155" y="371"/>
                    <a:pt x="158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58" y="369"/>
                    <a:pt x="158" y="368"/>
                    <a:pt x="159" y="368"/>
                  </a:cubicBezTo>
                  <a:cubicBezTo>
                    <a:pt x="159" y="368"/>
                    <a:pt x="160" y="367"/>
                    <a:pt x="160" y="367"/>
                  </a:cubicBezTo>
                  <a:cubicBezTo>
                    <a:pt x="161" y="366"/>
                    <a:pt x="161" y="366"/>
                    <a:pt x="162" y="365"/>
                  </a:cubicBezTo>
                  <a:cubicBezTo>
                    <a:pt x="173" y="354"/>
                    <a:pt x="173" y="354"/>
                    <a:pt x="173" y="354"/>
                  </a:cubicBezTo>
                  <a:cubicBezTo>
                    <a:pt x="175" y="352"/>
                    <a:pt x="176" y="349"/>
                    <a:pt x="176" y="346"/>
                  </a:cubicBezTo>
                  <a:cubicBezTo>
                    <a:pt x="176" y="344"/>
                    <a:pt x="175" y="341"/>
                    <a:pt x="173" y="339"/>
                  </a:cubicBezTo>
                  <a:cubicBezTo>
                    <a:pt x="169" y="335"/>
                    <a:pt x="162" y="335"/>
                    <a:pt x="158" y="339"/>
                  </a:cubicBezTo>
                  <a:close/>
                  <a:moveTo>
                    <a:pt x="405" y="245"/>
                  </a:moveTo>
                  <a:cubicBezTo>
                    <a:pt x="383" y="245"/>
                    <a:pt x="383" y="245"/>
                    <a:pt x="383" y="245"/>
                  </a:cubicBezTo>
                  <a:cubicBezTo>
                    <a:pt x="377" y="245"/>
                    <a:pt x="373" y="250"/>
                    <a:pt x="373" y="256"/>
                  </a:cubicBezTo>
                  <a:cubicBezTo>
                    <a:pt x="373" y="262"/>
                    <a:pt x="377" y="266"/>
                    <a:pt x="383" y="266"/>
                  </a:cubicBezTo>
                  <a:cubicBezTo>
                    <a:pt x="405" y="266"/>
                    <a:pt x="405" y="266"/>
                    <a:pt x="405" y="266"/>
                  </a:cubicBezTo>
                  <a:cubicBezTo>
                    <a:pt x="411" y="266"/>
                    <a:pt x="416" y="262"/>
                    <a:pt x="416" y="256"/>
                  </a:cubicBezTo>
                  <a:cubicBezTo>
                    <a:pt x="416" y="250"/>
                    <a:pt x="411" y="245"/>
                    <a:pt x="405" y="245"/>
                  </a:cubicBezTo>
                  <a:close/>
                  <a:moveTo>
                    <a:pt x="128" y="245"/>
                  </a:moveTo>
                  <a:cubicBezTo>
                    <a:pt x="106" y="245"/>
                    <a:pt x="106" y="245"/>
                    <a:pt x="106" y="245"/>
                  </a:cubicBezTo>
                  <a:cubicBezTo>
                    <a:pt x="100" y="245"/>
                    <a:pt x="95" y="250"/>
                    <a:pt x="95" y="256"/>
                  </a:cubicBezTo>
                  <a:cubicBezTo>
                    <a:pt x="95" y="262"/>
                    <a:pt x="100" y="266"/>
                    <a:pt x="106" y="266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34" y="266"/>
                    <a:pt x="139" y="262"/>
                    <a:pt x="139" y="256"/>
                  </a:cubicBezTo>
                  <a:cubicBezTo>
                    <a:pt x="139" y="250"/>
                    <a:pt x="134" y="245"/>
                    <a:pt x="128" y="245"/>
                  </a:cubicBezTo>
                  <a:close/>
                  <a:moveTo>
                    <a:pt x="358" y="343"/>
                  </a:moveTo>
                  <a:cubicBezTo>
                    <a:pt x="357" y="342"/>
                    <a:pt x="356" y="341"/>
                    <a:pt x="354" y="340"/>
                  </a:cubicBezTo>
                  <a:cubicBezTo>
                    <a:pt x="354" y="339"/>
                    <a:pt x="354" y="339"/>
                    <a:pt x="354" y="339"/>
                  </a:cubicBezTo>
                  <a:cubicBezTo>
                    <a:pt x="353" y="339"/>
                    <a:pt x="353" y="339"/>
                    <a:pt x="353" y="339"/>
                  </a:cubicBezTo>
                  <a:cubicBezTo>
                    <a:pt x="349" y="335"/>
                    <a:pt x="344" y="333"/>
                    <a:pt x="338" y="339"/>
                  </a:cubicBezTo>
                  <a:cubicBezTo>
                    <a:pt x="336" y="341"/>
                    <a:pt x="336" y="343"/>
                    <a:pt x="336" y="346"/>
                  </a:cubicBezTo>
                  <a:cubicBezTo>
                    <a:pt x="335" y="349"/>
                    <a:pt x="337" y="352"/>
                    <a:pt x="338" y="354"/>
                  </a:cubicBezTo>
                  <a:cubicBezTo>
                    <a:pt x="338" y="354"/>
                    <a:pt x="338" y="354"/>
                    <a:pt x="338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4"/>
                    <a:pt x="339" y="355"/>
                    <a:pt x="339" y="355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54" y="370"/>
                    <a:pt x="354" y="370"/>
                    <a:pt x="354" y="370"/>
                  </a:cubicBezTo>
                  <a:cubicBezTo>
                    <a:pt x="356" y="372"/>
                    <a:pt x="359" y="373"/>
                    <a:pt x="362" y="373"/>
                  </a:cubicBezTo>
                  <a:cubicBezTo>
                    <a:pt x="364" y="373"/>
                    <a:pt x="367" y="372"/>
                    <a:pt x="369" y="369"/>
                  </a:cubicBezTo>
                  <a:cubicBezTo>
                    <a:pt x="371" y="367"/>
                    <a:pt x="372" y="365"/>
                    <a:pt x="372" y="362"/>
                  </a:cubicBezTo>
                  <a:cubicBezTo>
                    <a:pt x="372" y="359"/>
                    <a:pt x="371" y="356"/>
                    <a:pt x="369" y="354"/>
                  </a:cubicBezTo>
                  <a:lnTo>
                    <a:pt x="358" y="343"/>
                  </a:lnTo>
                  <a:close/>
                  <a:moveTo>
                    <a:pt x="142" y="158"/>
                  </a:move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58" y="173"/>
                    <a:pt x="158" y="173"/>
                    <a:pt x="158" y="173"/>
                  </a:cubicBezTo>
                  <a:cubicBezTo>
                    <a:pt x="160" y="176"/>
                    <a:pt x="163" y="176"/>
                    <a:pt x="165" y="176"/>
                  </a:cubicBezTo>
                  <a:cubicBezTo>
                    <a:pt x="168" y="176"/>
                    <a:pt x="171" y="175"/>
                    <a:pt x="173" y="173"/>
                  </a:cubicBezTo>
                  <a:cubicBezTo>
                    <a:pt x="175" y="171"/>
                    <a:pt x="176" y="168"/>
                    <a:pt x="176" y="166"/>
                  </a:cubicBezTo>
                  <a:cubicBezTo>
                    <a:pt x="176" y="163"/>
                    <a:pt x="175" y="160"/>
                    <a:pt x="173" y="158"/>
                  </a:cubicBezTo>
                  <a:cubicBezTo>
                    <a:pt x="162" y="147"/>
                    <a:pt x="162" y="147"/>
                    <a:pt x="162" y="147"/>
                  </a:cubicBezTo>
                  <a:cubicBezTo>
                    <a:pt x="161" y="146"/>
                    <a:pt x="160" y="145"/>
                    <a:pt x="158" y="144"/>
                  </a:cubicBezTo>
                  <a:cubicBezTo>
                    <a:pt x="158" y="143"/>
                    <a:pt x="158" y="143"/>
                    <a:pt x="157" y="143"/>
                  </a:cubicBezTo>
                  <a:cubicBezTo>
                    <a:pt x="157" y="143"/>
                    <a:pt x="157" y="143"/>
                    <a:pt x="157" y="143"/>
                  </a:cubicBezTo>
                  <a:cubicBezTo>
                    <a:pt x="153" y="139"/>
                    <a:pt x="148" y="137"/>
                    <a:pt x="142" y="143"/>
                  </a:cubicBezTo>
                  <a:cubicBezTo>
                    <a:pt x="140" y="145"/>
                    <a:pt x="139" y="147"/>
                    <a:pt x="139" y="150"/>
                  </a:cubicBezTo>
                  <a:cubicBezTo>
                    <a:pt x="139" y="153"/>
                    <a:pt x="140" y="156"/>
                    <a:pt x="142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9" name="Group 295"/>
          <p:cNvGrpSpPr>
            <a:grpSpLocks noChangeAspect="1"/>
          </p:cNvGrpSpPr>
          <p:nvPr/>
        </p:nvGrpSpPr>
        <p:grpSpPr bwMode="auto">
          <a:xfrm>
            <a:off x="430194" y="2051050"/>
            <a:ext cx="369676" cy="369676"/>
            <a:chOff x="6958" y="1122"/>
            <a:chExt cx="340" cy="340"/>
          </a:xfrm>
          <a:solidFill>
            <a:schemeClr val="accent4"/>
          </a:solidFill>
        </p:grpSpPr>
        <p:sp>
          <p:nvSpPr>
            <p:cNvPr id="260" name="Freeform 296"/>
            <p:cNvSpPr>
              <a:spLocks noEditPoints="1"/>
            </p:cNvSpPr>
            <p:nvPr/>
          </p:nvSpPr>
          <p:spPr bwMode="auto">
            <a:xfrm>
              <a:off x="6958" y="112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22 w 512"/>
                <a:gd name="T3" fmla="*/ 90 h 512"/>
                <a:gd name="T4" fmla="*/ 490 w 512"/>
                <a:gd name="T5" fmla="*/ 256 h 512"/>
                <a:gd name="T6" fmla="*/ 422 w 512"/>
                <a:gd name="T7" fmla="*/ 422 h 512"/>
                <a:gd name="T8" fmla="*/ 256 w 512"/>
                <a:gd name="T9" fmla="*/ 490 h 512"/>
                <a:gd name="T10" fmla="*/ 90 w 512"/>
                <a:gd name="T11" fmla="*/ 422 h 512"/>
                <a:gd name="T12" fmla="*/ 21 w 512"/>
                <a:gd name="T13" fmla="*/ 256 h 512"/>
                <a:gd name="T14" fmla="*/ 90 w 512"/>
                <a:gd name="T15" fmla="*/ 90 h 512"/>
                <a:gd name="T16" fmla="*/ 256 w 512"/>
                <a:gd name="T17" fmla="*/ 21 h 512"/>
                <a:gd name="T18" fmla="*/ 256 w 512"/>
                <a:gd name="T19" fmla="*/ 0 h 512"/>
                <a:gd name="T20" fmla="*/ 0 w 512"/>
                <a:gd name="T21" fmla="*/ 256 h 512"/>
                <a:gd name="T22" fmla="*/ 256 w 512"/>
                <a:gd name="T23" fmla="*/ 512 h 512"/>
                <a:gd name="T24" fmla="*/ 512 w 512"/>
                <a:gd name="T25" fmla="*/ 256 h 512"/>
                <a:gd name="T26" fmla="*/ 256 w 51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18" y="21"/>
                    <a:pt x="377" y="45"/>
                    <a:pt x="422" y="90"/>
                  </a:cubicBezTo>
                  <a:cubicBezTo>
                    <a:pt x="466" y="134"/>
                    <a:pt x="490" y="193"/>
                    <a:pt x="490" y="256"/>
                  </a:cubicBezTo>
                  <a:cubicBezTo>
                    <a:pt x="490" y="318"/>
                    <a:pt x="466" y="377"/>
                    <a:pt x="422" y="422"/>
                  </a:cubicBezTo>
                  <a:cubicBezTo>
                    <a:pt x="377" y="466"/>
                    <a:pt x="318" y="490"/>
                    <a:pt x="256" y="490"/>
                  </a:cubicBezTo>
                  <a:cubicBezTo>
                    <a:pt x="193" y="490"/>
                    <a:pt x="134" y="466"/>
                    <a:pt x="90" y="422"/>
                  </a:cubicBezTo>
                  <a:cubicBezTo>
                    <a:pt x="45" y="377"/>
                    <a:pt x="21" y="318"/>
                    <a:pt x="21" y="256"/>
                  </a:cubicBezTo>
                  <a:cubicBezTo>
                    <a:pt x="21" y="193"/>
                    <a:pt x="45" y="134"/>
                    <a:pt x="90" y="90"/>
                  </a:cubicBezTo>
                  <a:cubicBezTo>
                    <a:pt x="134" y="45"/>
                    <a:pt x="193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297"/>
            <p:cNvSpPr>
              <a:spLocks/>
            </p:cNvSpPr>
            <p:nvPr/>
          </p:nvSpPr>
          <p:spPr bwMode="auto">
            <a:xfrm>
              <a:off x="7135" y="1256"/>
              <a:ext cx="42" cy="57"/>
            </a:xfrm>
            <a:custGeom>
              <a:avLst/>
              <a:gdLst>
                <a:gd name="T0" fmla="*/ 63 w 64"/>
                <a:gd name="T1" fmla="*/ 62 h 86"/>
                <a:gd name="T2" fmla="*/ 0 w 64"/>
                <a:gd name="T3" fmla="*/ 0 h 86"/>
                <a:gd name="T4" fmla="*/ 0 w 64"/>
                <a:gd name="T5" fmla="*/ 30 h 86"/>
                <a:gd name="T6" fmla="*/ 57 w 64"/>
                <a:gd name="T7" fmla="*/ 86 h 86"/>
                <a:gd name="T8" fmla="*/ 64 w 64"/>
                <a:gd name="T9" fmla="*/ 63 h 86"/>
                <a:gd name="T10" fmla="*/ 63 w 64"/>
                <a:gd name="T11" fmla="*/ 6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86">
                  <a:moveTo>
                    <a:pt x="63" y="6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60" y="79"/>
                    <a:pt x="63" y="71"/>
                    <a:pt x="64" y="63"/>
                  </a:cubicBezTo>
                  <a:cubicBezTo>
                    <a:pt x="63" y="62"/>
                    <a:pt x="63" y="62"/>
                    <a:pt x="63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298"/>
            <p:cNvSpPr>
              <a:spLocks/>
            </p:cNvSpPr>
            <p:nvPr/>
          </p:nvSpPr>
          <p:spPr bwMode="auto">
            <a:xfrm>
              <a:off x="7135" y="1296"/>
              <a:ext cx="30" cy="38"/>
            </a:xfrm>
            <a:custGeom>
              <a:avLst/>
              <a:gdLst>
                <a:gd name="T0" fmla="*/ 0 w 45"/>
                <a:gd name="T1" fmla="*/ 30 h 58"/>
                <a:gd name="T2" fmla="*/ 28 w 45"/>
                <a:gd name="T3" fmla="*/ 58 h 58"/>
                <a:gd name="T4" fmla="*/ 45 w 45"/>
                <a:gd name="T5" fmla="*/ 44 h 58"/>
                <a:gd name="T6" fmla="*/ 0 w 45"/>
                <a:gd name="T7" fmla="*/ 0 h 58"/>
                <a:gd name="T8" fmla="*/ 0 w 45"/>
                <a:gd name="T9" fmla="*/ 3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8">
                  <a:moveTo>
                    <a:pt x="0" y="30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34" y="54"/>
                    <a:pt x="40" y="49"/>
                    <a:pt x="45" y="4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99"/>
            <p:cNvSpPr>
              <a:spLocks/>
            </p:cNvSpPr>
            <p:nvPr/>
          </p:nvSpPr>
          <p:spPr bwMode="auto">
            <a:xfrm>
              <a:off x="7144" y="1245"/>
              <a:ext cx="30" cy="30"/>
            </a:xfrm>
            <a:custGeom>
              <a:avLst/>
              <a:gdLst>
                <a:gd name="T0" fmla="*/ 0 w 46"/>
                <a:gd name="T1" fmla="*/ 0 h 46"/>
                <a:gd name="T2" fmla="*/ 46 w 46"/>
                <a:gd name="T3" fmla="*/ 46 h 46"/>
                <a:gd name="T4" fmla="*/ 0 w 46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6">
                  <a:moveTo>
                    <a:pt x="0" y="0"/>
                  </a:moveTo>
                  <a:cubicBezTo>
                    <a:pt x="46" y="46"/>
                    <a:pt x="46" y="46"/>
                    <a:pt x="46" y="46"/>
                  </a:cubicBezTo>
                  <a:cubicBezTo>
                    <a:pt x="39" y="25"/>
                    <a:pt x="22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300"/>
            <p:cNvSpPr>
              <a:spLocks/>
            </p:cNvSpPr>
            <p:nvPr/>
          </p:nvSpPr>
          <p:spPr bwMode="auto">
            <a:xfrm>
              <a:off x="7135" y="1336"/>
              <a:ext cx="4" cy="4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6 h 7"/>
                <a:gd name="T4" fmla="*/ 0 w 6"/>
                <a:gd name="T5" fmla="*/ 0 h 7"/>
                <a:gd name="T6" fmla="*/ 0 w 6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2" y="7"/>
                    <a:pt x="4" y="7"/>
                    <a:pt x="6" y="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301"/>
            <p:cNvSpPr>
              <a:spLocks/>
            </p:cNvSpPr>
            <p:nvPr/>
          </p:nvSpPr>
          <p:spPr bwMode="auto">
            <a:xfrm>
              <a:off x="7078" y="1243"/>
              <a:ext cx="43" cy="97"/>
            </a:xfrm>
            <a:custGeom>
              <a:avLst/>
              <a:gdLst>
                <a:gd name="T0" fmla="*/ 0 w 64"/>
                <a:gd name="T1" fmla="*/ 74 h 147"/>
                <a:gd name="T2" fmla="*/ 64 w 64"/>
                <a:gd name="T3" fmla="*/ 147 h 147"/>
                <a:gd name="T4" fmla="*/ 64 w 64"/>
                <a:gd name="T5" fmla="*/ 0 h 147"/>
                <a:gd name="T6" fmla="*/ 0 w 64"/>
                <a:gd name="T7" fmla="*/ 7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47">
                  <a:moveTo>
                    <a:pt x="0" y="74"/>
                  </a:moveTo>
                  <a:cubicBezTo>
                    <a:pt x="0" y="111"/>
                    <a:pt x="28" y="142"/>
                    <a:pt x="64" y="14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8" y="5"/>
                    <a:pt x="0" y="36"/>
                    <a:pt x="0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302"/>
            <p:cNvSpPr>
              <a:spLocks noEditPoints="1"/>
            </p:cNvSpPr>
            <p:nvPr/>
          </p:nvSpPr>
          <p:spPr bwMode="auto">
            <a:xfrm>
              <a:off x="6958" y="1122"/>
              <a:ext cx="340" cy="340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45 w 512"/>
                <a:gd name="T5" fmla="*/ 106 h 512"/>
                <a:gd name="T6" fmla="*/ 266 w 512"/>
                <a:gd name="T7" fmla="*/ 106 h 512"/>
                <a:gd name="T8" fmla="*/ 256 w 512"/>
                <a:gd name="T9" fmla="*/ 139 h 512"/>
                <a:gd name="T10" fmla="*/ 245 w 512"/>
                <a:gd name="T11" fmla="*/ 106 h 512"/>
                <a:gd name="T12" fmla="*/ 157 w 512"/>
                <a:gd name="T13" fmla="*/ 143 h 512"/>
                <a:gd name="T14" fmla="*/ 158 w 512"/>
                <a:gd name="T15" fmla="*/ 144 h 512"/>
                <a:gd name="T16" fmla="*/ 173 w 512"/>
                <a:gd name="T17" fmla="*/ 158 h 512"/>
                <a:gd name="T18" fmla="*/ 173 w 512"/>
                <a:gd name="T19" fmla="*/ 173 h 512"/>
                <a:gd name="T20" fmla="*/ 158 w 512"/>
                <a:gd name="T21" fmla="*/ 173 h 512"/>
                <a:gd name="T22" fmla="*/ 147 w 512"/>
                <a:gd name="T23" fmla="*/ 162 h 512"/>
                <a:gd name="T24" fmla="*/ 143 w 512"/>
                <a:gd name="T25" fmla="*/ 158 h 512"/>
                <a:gd name="T26" fmla="*/ 142 w 512"/>
                <a:gd name="T27" fmla="*/ 158 h 512"/>
                <a:gd name="T28" fmla="*/ 139 w 512"/>
                <a:gd name="T29" fmla="*/ 150 h 512"/>
                <a:gd name="T30" fmla="*/ 128 w 512"/>
                <a:gd name="T31" fmla="*/ 266 h 512"/>
                <a:gd name="T32" fmla="*/ 95 w 512"/>
                <a:gd name="T33" fmla="*/ 256 h 512"/>
                <a:gd name="T34" fmla="*/ 128 w 512"/>
                <a:gd name="T35" fmla="*/ 245 h 512"/>
                <a:gd name="T36" fmla="*/ 128 w 512"/>
                <a:gd name="T37" fmla="*/ 266 h 512"/>
                <a:gd name="T38" fmla="*/ 162 w 512"/>
                <a:gd name="T39" fmla="*/ 365 h 512"/>
                <a:gd name="T40" fmla="*/ 159 w 512"/>
                <a:gd name="T41" fmla="*/ 368 h 512"/>
                <a:gd name="T42" fmla="*/ 158 w 512"/>
                <a:gd name="T43" fmla="*/ 369 h 512"/>
                <a:gd name="T44" fmla="*/ 147 w 512"/>
                <a:gd name="T45" fmla="*/ 372 h 512"/>
                <a:gd name="T46" fmla="*/ 142 w 512"/>
                <a:gd name="T47" fmla="*/ 369 h 512"/>
                <a:gd name="T48" fmla="*/ 142 w 512"/>
                <a:gd name="T49" fmla="*/ 354 h 512"/>
                <a:gd name="T50" fmla="*/ 143 w 512"/>
                <a:gd name="T51" fmla="*/ 354 h 512"/>
                <a:gd name="T52" fmla="*/ 143 w 512"/>
                <a:gd name="T53" fmla="*/ 354 h 512"/>
                <a:gd name="T54" fmla="*/ 147 w 512"/>
                <a:gd name="T55" fmla="*/ 350 h 512"/>
                <a:gd name="T56" fmla="*/ 173 w 512"/>
                <a:gd name="T57" fmla="*/ 339 h 512"/>
                <a:gd name="T58" fmla="*/ 173 w 512"/>
                <a:gd name="T59" fmla="*/ 354 h 512"/>
                <a:gd name="T60" fmla="*/ 256 w 512"/>
                <a:gd name="T61" fmla="*/ 416 h 512"/>
                <a:gd name="T62" fmla="*/ 245 w 512"/>
                <a:gd name="T63" fmla="*/ 384 h 512"/>
                <a:gd name="T64" fmla="*/ 266 w 512"/>
                <a:gd name="T65" fmla="*/ 384 h 512"/>
                <a:gd name="T66" fmla="*/ 256 w 512"/>
                <a:gd name="T67" fmla="*/ 352 h 512"/>
                <a:gd name="T68" fmla="*/ 256 w 512"/>
                <a:gd name="T69" fmla="*/ 160 h 512"/>
                <a:gd name="T70" fmla="*/ 256 w 512"/>
                <a:gd name="T71" fmla="*/ 352 h 512"/>
                <a:gd name="T72" fmla="*/ 362 w 512"/>
                <a:gd name="T73" fmla="*/ 373 h 512"/>
                <a:gd name="T74" fmla="*/ 343 w 512"/>
                <a:gd name="T75" fmla="*/ 358 h 512"/>
                <a:gd name="T76" fmla="*/ 339 w 512"/>
                <a:gd name="T77" fmla="*/ 355 h 512"/>
                <a:gd name="T78" fmla="*/ 339 w 512"/>
                <a:gd name="T79" fmla="*/ 354 h 512"/>
                <a:gd name="T80" fmla="*/ 338 w 512"/>
                <a:gd name="T81" fmla="*/ 354 h 512"/>
                <a:gd name="T82" fmla="*/ 338 w 512"/>
                <a:gd name="T83" fmla="*/ 339 h 512"/>
                <a:gd name="T84" fmla="*/ 354 w 512"/>
                <a:gd name="T85" fmla="*/ 339 h 512"/>
                <a:gd name="T86" fmla="*/ 358 w 512"/>
                <a:gd name="T87" fmla="*/ 343 h 512"/>
                <a:gd name="T88" fmla="*/ 372 w 512"/>
                <a:gd name="T89" fmla="*/ 362 h 512"/>
                <a:gd name="T90" fmla="*/ 369 w 512"/>
                <a:gd name="T91" fmla="*/ 158 h 512"/>
                <a:gd name="T92" fmla="*/ 356 w 512"/>
                <a:gd name="T93" fmla="*/ 171 h 512"/>
                <a:gd name="T94" fmla="*/ 354 w 512"/>
                <a:gd name="T95" fmla="*/ 173 h 512"/>
                <a:gd name="T96" fmla="*/ 345 w 512"/>
                <a:gd name="T97" fmla="*/ 177 h 512"/>
                <a:gd name="T98" fmla="*/ 338 w 512"/>
                <a:gd name="T99" fmla="*/ 173 h 512"/>
                <a:gd name="T100" fmla="*/ 336 w 512"/>
                <a:gd name="T101" fmla="*/ 166 h 512"/>
                <a:gd name="T102" fmla="*/ 338 w 512"/>
                <a:gd name="T103" fmla="*/ 158 h 512"/>
                <a:gd name="T104" fmla="*/ 339 w 512"/>
                <a:gd name="T105" fmla="*/ 158 h 512"/>
                <a:gd name="T106" fmla="*/ 343 w 512"/>
                <a:gd name="T107" fmla="*/ 154 h 512"/>
                <a:gd name="T108" fmla="*/ 354 w 512"/>
                <a:gd name="T109" fmla="*/ 143 h 512"/>
                <a:gd name="T110" fmla="*/ 372 w 512"/>
                <a:gd name="T111" fmla="*/ 150 h 512"/>
                <a:gd name="T112" fmla="*/ 405 w 512"/>
                <a:gd name="T113" fmla="*/ 266 h 512"/>
                <a:gd name="T114" fmla="*/ 373 w 512"/>
                <a:gd name="T115" fmla="*/ 256 h 512"/>
                <a:gd name="T116" fmla="*/ 405 w 512"/>
                <a:gd name="T117" fmla="*/ 245 h 512"/>
                <a:gd name="T118" fmla="*/ 405 w 512"/>
                <a:gd name="T119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45" y="106"/>
                  </a:move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266" y="134"/>
                    <a:pt x="262" y="139"/>
                    <a:pt x="256" y="139"/>
                  </a:cubicBezTo>
                  <a:cubicBezTo>
                    <a:pt x="250" y="139"/>
                    <a:pt x="245" y="134"/>
                    <a:pt x="245" y="128"/>
                  </a:cubicBezTo>
                  <a:lnTo>
                    <a:pt x="245" y="106"/>
                  </a:lnTo>
                  <a:close/>
                  <a:moveTo>
                    <a:pt x="142" y="143"/>
                  </a:moveTo>
                  <a:cubicBezTo>
                    <a:pt x="148" y="137"/>
                    <a:pt x="153" y="139"/>
                    <a:pt x="157" y="143"/>
                  </a:cubicBezTo>
                  <a:cubicBezTo>
                    <a:pt x="157" y="143"/>
                    <a:pt x="157" y="143"/>
                    <a:pt x="157" y="143"/>
                  </a:cubicBezTo>
                  <a:cubicBezTo>
                    <a:pt x="158" y="143"/>
                    <a:pt x="158" y="143"/>
                    <a:pt x="158" y="144"/>
                  </a:cubicBezTo>
                  <a:cubicBezTo>
                    <a:pt x="160" y="145"/>
                    <a:pt x="161" y="146"/>
                    <a:pt x="162" y="147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5" y="160"/>
                    <a:pt x="176" y="163"/>
                    <a:pt x="176" y="166"/>
                  </a:cubicBezTo>
                  <a:cubicBezTo>
                    <a:pt x="176" y="168"/>
                    <a:pt x="175" y="171"/>
                    <a:pt x="173" y="173"/>
                  </a:cubicBezTo>
                  <a:cubicBezTo>
                    <a:pt x="171" y="175"/>
                    <a:pt x="168" y="176"/>
                    <a:pt x="165" y="176"/>
                  </a:cubicBezTo>
                  <a:cubicBezTo>
                    <a:pt x="163" y="176"/>
                    <a:pt x="160" y="176"/>
                    <a:pt x="158" y="173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47" y="162"/>
                    <a:pt x="147" y="162"/>
                    <a:pt x="147" y="162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2" y="158"/>
                    <a:pt x="142" y="158"/>
                    <a:pt x="142" y="158"/>
                  </a:cubicBezTo>
                  <a:cubicBezTo>
                    <a:pt x="142" y="158"/>
                    <a:pt x="142" y="158"/>
                    <a:pt x="142" y="158"/>
                  </a:cubicBezTo>
                  <a:cubicBezTo>
                    <a:pt x="140" y="156"/>
                    <a:pt x="139" y="153"/>
                    <a:pt x="139" y="150"/>
                  </a:cubicBezTo>
                  <a:cubicBezTo>
                    <a:pt x="139" y="147"/>
                    <a:pt x="140" y="145"/>
                    <a:pt x="142" y="143"/>
                  </a:cubicBezTo>
                  <a:close/>
                  <a:moveTo>
                    <a:pt x="128" y="266"/>
                  </a:move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5" y="262"/>
                    <a:pt x="95" y="256"/>
                  </a:cubicBezTo>
                  <a:cubicBezTo>
                    <a:pt x="95" y="250"/>
                    <a:pt x="100" y="245"/>
                    <a:pt x="106" y="245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34" y="245"/>
                    <a:pt x="139" y="250"/>
                    <a:pt x="139" y="256"/>
                  </a:cubicBezTo>
                  <a:cubicBezTo>
                    <a:pt x="139" y="262"/>
                    <a:pt x="134" y="266"/>
                    <a:pt x="128" y="266"/>
                  </a:cubicBezTo>
                  <a:close/>
                  <a:moveTo>
                    <a:pt x="173" y="354"/>
                  </a:moveTo>
                  <a:cubicBezTo>
                    <a:pt x="162" y="365"/>
                    <a:pt x="162" y="365"/>
                    <a:pt x="162" y="365"/>
                  </a:cubicBezTo>
                  <a:cubicBezTo>
                    <a:pt x="161" y="366"/>
                    <a:pt x="161" y="366"/>
                    <a:pt x="160" y="367"/>
                  </a:cubicBezTo>
                  <a:cubicBezTo>
                    <a:pt x="160" y="367"/>
                    <a:pt x="159" y="368"/>
                    <a:pt x="159" y="368"/>
                  </a:cubicBezTo>
                  <a:cubicBezTo>
                    <a:pt x="158" y="368"/>
                    <a:pt x="158" y="369"/>
                    <a:pt x="158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55" y="371"/>
                    <a:pt x="152" y="373"/>
                    <a:pt x="149" y="373"/>
                  </a:cubicBezTo>
                  <a:cubicBezTo>
                    <a:pt x="148" y="373"/>
                    <a:pt x="148" y="373"/>
                    <a:pt x="147" y="372"/>
                  </a:cubicBezTo>
                  <a:cubicBezTo>
                    <a:pt x="145" y="372"/>
                    <a:pt x="144" y="371"/>
                    <a:pt x="142" y="369"/>
                  </a:cubicBezTo>
                  <a:cubicBezTo>
                    <a:pt x="142" y="369"/>
                    <a:pt x="142" y="369"/>
                    <a:pt x="142" y="369"/>
                  </a:cubicBezTo>
                  <a:cubicBezTo>
                    <a:pt x="140" y="367"/>
                    <a:pt x="139" y="365"/>
                    <a:pt x="139" y="362"/>
                  </a:cubicBezTo>
                  <a:cubicBezTo>
                    <a:pt x="139" y="359"/>
                    <a:pt x="140" y="356"/>
                    <a:pt x="142" y="354"/>
                  </a:cubicBezTo>
                  <a:cubicBezTo>
                    <a:pt x="142" y="354"/>
                    <a:pt x="142" y="354"/>
                    <a:pt x="142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3" y="354"/>
                    <a:pt x="143" y="354"/>
                    <a:pt x="143" y="354"/>
                  </a:cubicBezTo>
                  <a:cubicBezTo>
                    <a:pt x="147" y="350"/>
                    <a:pt x="147" y="350"/>
                    <a:pt x="147" y="350"/>
                  </a:cubicBezTo>
                  <a:cubicBezTo>
                    <a:pt x="147" y="350"/>
                    <a:pt x="147" y="350"/>
                    <a:pt x="147" y="350"/>
                  </a:cubicBezTo>
                  <a:cubicBezTo>
                    <a:pt x="158" y="339"/>
                    <a:pt x="158" y="339"/>
                    <a:pt x="158" y="339"/>
                  </a:cubicBezTo>
                  <a:cubicBezTo>
                    <a:pt x="162" y="335"/>
                    <a:pt x="169" y="335"/>
                    <a:pt x="173" y="339"/>
                  </a:cubicBezTo>
                  <a:cubicBezTo>
                    <a:pt x="175" y="341"/>
                    <a:pt x="176" y="344"/>
                    <a:pt x="176" y="346"/>
                  </a:cubicBezTo>
                  <a:cubicBezTo>
                    <a:pt x="176" y="349"/>
                    <a:pt x="175" y="352"/>
                    <a:pt x="173" y="354"/>
                  </a:cubicBezTo>
                  <a:close/>
                  <a:moveTo>
                    <a:pt x="266" y="406"/>
                  </a:moveTo>
                  <a:cubicBezTo>
                    <a:pt x="266" y="412"/>
                    <a:pt x="262" y="416"/>
                    <a:pt x="256" y="416"/>
                  </a:cubicBezTo>
                  <a:cubicBezTo>
                    <a:pt x="250" y="416"/>
                    <a:pt x="245" y="412"/>
                    <a:pt x="245" y="406"/>
                  </a:cubicBezTo>
                  <a:cubicBezTo>
                    <a:pt x="245" y="384"/>
                    <a:pt x="245" y="384"/>
                    <a:pt x="245" y="384"/>
                  </a:cubicBezTo>
                  <a:cubicBezTo>
                    <a:pt x="245" y="378"/>
                    <a:pt x="250" y="373"/>
                    <a:pt x="256" y="373"/>
                  </a:cubicBezTo>
                  <a:cubicBezTo>
                    <a:pt x="262" y="373"/>
                    <a:pt x="266" y="378"/>
                    <a:pt x="266" y="384"/>
                  </a:cubicBezTo>
                  <a:lnTo>
                    <a:pt x="266" y="406"/>
                  </a:lnTo>
                  <a:close/>
                  <a:moveTo>
                    <a:pt x="256" y="352"/>
                  </a:moveTo>
                  <a:cubicBezTo>
                    <a:pt x="203" y="352"/>
                    <a:pt x="160" y="309"/>
                    <a:pt x="160" y="256"/>
                  </a:cubicBezTo>
                  <a:cubicBezTo>
                    <a:pt x="160" y="203"/>
                    <a:pt x="203" y="160"/>
                    <a:pt x="256" y="160"/>
                  </a:cubicBezTo>
                  <a:cubicBezTo>
                    <a:pt x="309" y="160"/>
                    <a:pt x="352" y="203"/>
                    <a:pt x="352" y="256"/>
                  </a:cubicBezTo>
                  <a:cubicBezTo>
                    <a:pt x="352" y="309"/>
                    <a:pt x="309" y="352"/>
                    <a:pt x="256" y="352"/>
                  </a:cubicBezTo>
                  <a:close/>
                  <a:moveTo>
                    <a:pt x="369" y="369"/>
                  </a:moveTo>
                  <a:cubicBezTo>
                    <a:pt x="367" y="371"/>
                    <a:pt x="364" y="373"/>
                    <a:pt x="362" y="373"/>
                  </a:cubicBezTo>
                  <a:cubicBezTo>
                    <a:pt x="359" y="373"/>
                    <a:pt x="356" y="372"/>
                    <a:pt x="354" y="370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43" y="358"/>
                    <a:pt x="343" y="358"/>
                    <a:pt x="343" y="358"/>
                  </a:cubicBezTo>
                  <a:cubicBezTo>
                    <a:pt x="339" y="355"/>
                    <a:pt x="339" y="355"/>
                    <a:pt x="339" y="355"/>
                  </a:cubicBezTo>
                  <a:cubicBezTo>
                    <a:pt x="339" y="355"/>
                    <a:pt x="339" y="354"/>
                    <a:pt x="339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8" y="354"/>
                    <a:pt x="338" y="354"/>
                    <a:pt x="338" y="354"/>
                  </a:cubicBezTo>
                  <a:cubicBezTo>
                    <a:pt x="338" y="354"/>
                    <a:pt x="338" y="354"/>
                    <a:pt x="338" y="354"/>
                  </a:cubicBezTo>
                  <a:cubicBezTo>
                    <a:pt x="337" y="352"/>
                    <a:pt x="335" y="349"/>
                    <a:pt x="336" y="346"/>
                  </a:cubicBezTo>
                  <a:cubicBezTo>
                    <a:pt x="336" y="343"/>
                    <a:pt x="336" y="341"/>
                    <a:pt x="338" y="339"/>
                  </a:cubicBezTo>
                  <a:cubicBezTo>
                    <a:pt x="344" y="333"/>
                    <a:pt x="349" y="335"/>
                    <a:pt x="353" y="339"/>
                  </a:cubicBezTo>
                  <a:cubicBezTo>
                    <a:pt x="354" y="339"/>
                    <a:pt x="354" y="339"/>
                    <a:pt x="354" y="339"/>
                  </a:cubicBezTo>
                  <a:cubicBezTo>
                    <a:pt x="354" y="339"/>
                    <a:pt x="354" y="339"/>
                    <a:pt x="354" y="340"/>
                  </a:cubicBezTo>
                  <a:cubicBezTo>
                    <a:pt x="356" y="341"/>
                    <a:pt x="357" y="342"/>
                    <a:pt x="358" y="343"/>
                  </a:cubicBezTo>
                  <a:cubicBezTo>
                    <a:pt x="369" y="354"/>
                    <a:pt x="369" y="354"/>
                    <a:pt x="369" y="354"/>
                  </a:cubicBezTo>
                  <a:cubicBezTo>
                    <a:pt x="371" y="356"/>
                    <a:pt x="372" y="359"/>
                    <a:pt x="372" y="362"/>
                  </a:cubicBezTo>
                  <a:cubicBezTo>
                    <a:pt x="372" y="365"/>
                    <a:pt x="371" y="367"/>
                    <a:pt x="369" y="369"/>
                  </a:cubicBezTo>
                  <a:close/>
                  <a:moveTo>
                    <a:pt x="369" y="158"/>
                  </a:moveTo>
                  <a:cubicBezTo>
                    <a:pt x="358" y="169"/>
                    <a:pt x="358" y="169"/>
                    <a:pt x="358" y="169"/>
                  </a:cubicBezTo>
                  <a:cubicBezTo>
                    <a:pt x="357" y="170"/>
                    <a:pt x="357" y="170"/>
                    <a:pt x="356" y="171"/>
                  </a:cubicBezTo>
                  <a:cubicBezTo>
                    <a:pt x="356" y="171"/>
                    <a:pt x="355" y="171"/>
                    <a:pt x="355" y="172"/>
                  </a:cubicBezTo>
                  <a:cubicBezTo>
                    <a:pt x="355" y="172"/>
                    <a:pt x="354" y="172"/>
                    <a:pt x="354" y="173"/>
                  </a:cubicBezTo>
                  <a:cubicBezTo>
                    <a:pt x="354" y="173"/>
                    <a:pt x="354" y="173"/>
                    <a:pt x="354" y="173"/>
                  </a:cubicBezTo>
                  <a:cubicBezTo>
                    <a:pt x="351" y="175"/>
                    <a:pt x="348" y="177"/>
                    <a:pt x="345" y="177"/>
                  </a:cubicBezTo>
                  <a:cubicBezTo>
                    <a:pt x="345" y="177"/>
                    <a:pt x="344" y="176"/>
                    <a:pt x="343" y="176"/>
                  </a:cubicBezTo>
                  <a:cubicBezTo>
                    <a:pt x="342" y="176"/>
                    <a:pt x="340" y="175"/>
                    <a:pt x="338" y="173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36" y="171"/>
                    <a:pt x="336" y="169"/>
                    <a:pt x="336" y="166"/>
                  </a:cubicBezTo>
                  <a:cubicBezTo>
                    <a:pt x="335" y="163"/>
                    <a:pt x="337" y="160"/>
                    <a:pt x="338" y="158"/>
                  </a:cubicBezTo>
                  <a:cubicBezTo>
                    <a:pt x="338" y="158"/>
                    <a:pt x="338" y="158"/>
                    <a:pt x="338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39" y="158"/>
                    <a:pt x="339" y="158"/>
                    <a:pt x="339" y="158"/>
                  </a:cubicBezTo>
                  <a:cubicBezTo>
                    <a:pt x="343" y="154"/>
                    <a:pt x="343" y="154"/>
                    <a:pt x="343" y="154"/>
                  </a:cubicBezTo>
                  <a:cubicBezTo>
                    <a:pt x="343" y="154"/>
                    <a:pt x="343" y="154"/>
                    <a:pt x="343" y="154"/>
                  </a:cubicBezTo>
                  <a:cubicBezTo>
                    <a:pt x="354" y="143"/>
                    <a:pt x="354" y="143"/>
                    <a:pt x="354" y="143"/>
                  </a:cubicBezTo>
                  <a:cubicBezTo>
                    <a:pt x="358" y="139"/>
                    <a:pt x="365" y="139"/>
                    <a:pt x="369" y="143"/>
                  </a:cubicBezTo>
                  <a:cubicBezTo>
                    <a:pt x="371" y="145"/>
                    <a:pt x="372" y="147"/>
                    <a:pt x="372" y="150"/>
                  </a:cubicBezTo>
                  <a:cubicBezTo>
                    <a:pt x="372" y="153"/>
                    <a:pt x="371" y="156"/>
                    <a:pt x="369" y="158"/>
                  </a:cubicBezTo>
                  <a:close/>
                  <a:moveTo>
                    <a:pt x="405" y="266"/>
                  </a:moveTo>
                  <a:cubicBezTo>
                    <a:pt x="383" y="266"/>
                    <a:pt x="383" y="266"/>
                    <a:pt x="383" y="266"/>
                  </a:cubicBezTo>
                  <a:cubicBezTo>
                    <a:pt x="377" y="266"/>
                    <a:pt x="373" y="262"/>
                    <a:pt x="373" y="256"/>
                  </a:cubicBezTo>
                  <a:cubicBezTo>
                    <a:pt x="373" y="250"/>
                    <a:pt x="377" y="245"/>
                    <a:pt x="383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7" name="Freeform 118"/>
          <p:cNvSpPr>
            <a:spLocks noChangeAspect="1" noEditPoints="1"/>
          </p:cNvSpPr>
          <p:nvPr/>
        </p:nvSpPr>
        <p:spPr bwMode="auto">
          <a:xfrm>
            <a:off x="1428266" y="2051054"/>
            <a:ext cx="369021" cy="369021"/>
          </a:xfrm>
          <a:custGeom>
            <a:avLst/>
            <a:gdLst>
              <a:gd name="T0" fmla="*/ 368 w 512"/>
              <a:gd name="T1" fmla="*/ 330 h 512"/>
              <a:gd name="T2" fmla="*/ 154 w 512"/>
              <a:gd name="T3" fmla="*/ 288 h 512"/>
              <a:gd name="T4" fmla="*/ 217 w 512"/>
              <a:gd name="T5" fmla="*/ 253 h 512"/>
              <a:gd name="T6" fmla="*/ 233 w 512"/>
              <a:gd name="T7" fmla="*/ 247 h 512"/>
              <a:gd name="T8" fmla="*/ 344 w 512"/>
              <a:gd name="T9" fmla="*/ 258 h 512"/>
              <a:gd name="T10" fmla="*/ 347 w 512"/>
              <a:gd name="T11" fmla="*/ 280 h 512"/>
              <a:gd name="T12" fmla="*/ 362 w 512"/>
              <a:gd name="T13" fmla="*/ 278 h 512"/>
              <a:gd name="T14" fmla="*/ 394 w 512"/>
              <a:gd name="T15" fmla="*/ 304 h 512"/>
              <a:gd name="T16" fmla="*/ 216 w 512"/>
              <a:gd name="T17" fmla="*/ 229 h 512"/>
              <a:gd name="T18" fmla="*/ 213 w 512"/>
              <a:gd name="T19" fmla="*/ 181 h 512"/>
              <a:gd name="T20" fmla="*/ 184 w 512"/>
              <a:gd name="T21" fmla="*/ 226 h 512"/>
              <a:gd name="T22" fmla="*/ 512 w 512"/>
              <a:gd name="T23" fmla="*/ 256 h 512"/>
              <a:gd name="T24" fmla="*/ 0 w 512"/>
              <a:gd name="T25" fmla="*/ 256 h 512"/>
              <a:gd name="T26" fmla="*/ 512 w 512"/>
              <a:gd name="T27" fmla="*/ 256 h 512"/>
              <a:gd name="T28" fmla="*/ 273 w 512"/>
              <a:gd name="T29" fmla="*/ 163 h 512"/>
              <a:gd name="T30" fmla="*/ 296 w 512"/>
              <a:gd name="T31" fmla="*/ 145 h 512"/>
              <a:gd name="T32" fmla="*/ 281 w 512"/>
              <a:gd name="T33" fmla="*/ 130 h 512"/>
              <a:gd name="T34" fmla="*/ 266 w 512"/>
              <a:gd name="T35" fmla="*/ 160 h 512"/>
              <a:gd name="T36" fmla="*/ 213 w 512"/>
              <a:gd name="T37" fmla="*/ 138 h 512"/>
              <a:gd name="T38" fmla="*/ 224 w 512"/>
              <a:gd name="T39" fmla="*/ 106 h 512"/>
              <a:gd name="T40" fmla="*/ 202 w 512"/>
              <a:gd name="T41" fmla="*/ 106 h 512"/>
              <a:gd name="T42" fmla="*/ 130 w 512"/>
              <a:gd name="T43" fmla="*/ 145 h 512"/>
              <a:gd name="T44" fmla="*/ 153 w 512"/>
              <a:gd name="T45" fmla="*/ 163 h 512"/>
              <a:gd name="T46" fmla="*/ 160 w 512"/>
              <a:gd name="T47" fmla="*/ 145 h 512"/>
              <a:gd name="T48" fmla="*/ 130 w 512"/>
              <a:gd name="T49" fmla="*/ 130 h 512"/>
              <a:gd name="T50" fmla="*/ 128 w 512"/>
              <a:gd name="T51" fmla="*/ 224 h 512"/>
              <a:gd name="T52" fmla="*/ 128 w 512"/>
              <a:gd name="T53" fmla="*/ 202 h 512"/>
              <a:gd name="T54" fmla="*/ 96 w 512"/>
              <a:gd name="T55" fmla="*/ 213 h 512"/>
              <a:gd name="T56" fmla="*/ 128 w 512"/>
              <a:gd name="T57" fmla="*/ 224 h 512"/>
              <a:gd name="T58" fmla="*/ 365 w 512"/>
              <a:gd name="T59" fmla="*/ 256 h 512"/>
              <a:gd name="T60" fmla="*/ 259 w 512"/>
              <a:gd name="T61" fmla="*/ 187 h 512"/>
              <a:gd name="T62" fmla="*/ 160 w 512"/>
              <a:gd name="T63" fmla="*/ 213 h 512"/>
              <a:gd name="T64" fmla="*/ 133 w 512"/>
              <a:gd name="T65" fmla="*/ 288 h 512"/>
              <a:gd name="T66" fmla="*/ 368 w 512"/>
              <a:gd name="T67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394" y="304"/>
                </a:moveTo>
                <a:cubicBezTo>
                  <a:pt x="394" y="318"/>
                  <a:pt x="382" y="330"/>
                  <a:pt x="368" y="330"/>
                </a:cubicBezTo>
                <a:cubicBezTo>
                  <a:pt x="196" y="330"/>
                  <a:pt x="196" y="330"/>
                  <a:pt x="196" y="330"/>
                </a:cubicBezTo>
                <a:cubicBezTo>
                  <a:pt x="173" y="330"/>
                  <a:pt x="154" y="311"/>
                  <a:pt x="154" y="288"/>
                </a:cubicBezTo>
                <a:cubicBezTo>
                  <a:pt x="154" y="265"/>
                  <a:pt x="173" y="246"/>
                  <a:pt x="196" y="246"/>
                </a:cubicBezTo>
                <a:cubicBezTo>
                  <a:pt x="205" y="246"/>
                  <a:pt x="210" y="249"/>
                  <a:pt x="217" y="253"/>
                </a:cubicBezTo>
                <a:cubicBezTo>
                  <a:pt x="220" y="255"/>
                  <a:pt x="224" y="256"/>
                  <a:pt x="227" y="254"/>
                </a:cubicBezTo>
                <a:cubicBezTo>
                  <a:pt x="230" y="253"/>
                  <a:pt x="232" y="250"/>
                  <a:pt x="233" y="247"/>
                </a:cubicBezTo>
                <a:cubicBezTo>
                  <a:pt x="238" y="221"/>
                  <a:pt x="262" y="202"/>
                  <a:pt x="289" y="202"/>
                </a:cubicBezTo>
                <a:cubicBezTo>
                  <a:pt x="319" y="202"/>
                  <a:pt x="344" y="227"/>
                  <a:pt x="344" y="258"/>
                </a:cubicBezTo>
                <a:cubicBezTo>
                  <a:pt x="344" y="260"/>
                  <a:pt x="344" y="263"/>
                  <a:pt x="343" y="265"/>
                </a:cubicBezTo>
                <a:cubicBezTo>
                  <a:pt x="341" y="272"/>
                  <a:pt x="342" y="276"/>
                  <a:pt x="347" y="280"/>
                </a:cubicBezTo>
                <a:cubicBezTo>
                  <a:pt x="350" y="282"/>
                  <a:pt x="356" y="282"/>
                  <a:pt x="360" y="279"/>
                </a:cubicBezTo>
                <a:cubicBezTo>
                  <a:pt x="361" y="278"/>
                  <a:pt x="362" y="278"/>
                  <a:pt x="362" y="278"/>
                </a:cubicBezTo>
                <a:cubicBezTo>
                  <a:pt x="364" y="277"/>
                  <a:pt x="366" y="277"/>
                  <a:pt x="368" y="277"/>
                </a:cubicBezTo>
                <a:cubicBezTo>
                  <a:pt x="382" y="277"/>
                  <a:pt x="394" y="289"/>
                  <a:pt x="394" y="304"/>
                </a:cubicBezTo>
                <a:close/>
                <a:moveTo>
                  <a:pt x="196" y="225"/>
                </a:moveTo>
                <a:cubicBezTo>
                  <a:pt x="204" y="225"/>
                  <a:pt x="211" y="226"/>
                  <a:pt x="216" y="229"/>
                </a:cubicBezTo>
                <a:cubicBezTo>
                  <a:pt x="222" y="216"/>
                  <a:pt x="230" y="205"/>
                  <a:pt x="241" y="197"/>
                </a:cubicBezTo>
                <a:cubicBezTo>
                  <a:pt x="235" y="187"/>
                  <a:pt x="225" y="181"/>
                  <a:pt x="213" y="181"/>
                </a:cubicBezTo>
                <a:cubicBezTo>
                  <a:pt x="195" y="181"/>
                  <a:pt x="181" y="195"/>
                  <a:pt x="181" y="213"/>
                </a:cubicBezTo>
                <a:cubicBezTo>
                  <a:pt x="181" y="218"/>
                  <a:pt x="182" y="222"/>
                  <a:pt x="184" y="226"/>
                </a:cubicBezTo>
                <a:cubicBezTo>
                  <a:pt x="188" y="225"/>
                  <a:pt x="192" y="225"/>
                  <a:pt x="196" y="22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66" y="160"/>
                </a:moveTo>
                <a:cubicBezTo>
                  <a:pt x="268" y="162"/>
                  <a:pt x="271" y="163"/>
                  <a:pt x="273" y="163"/>
                </a:cubicBezTo>
                <a:cubicBezTo>
                  <a:pt x="276" y="163"/>
                  <a:pt x="279" y="162"/>
                  <a:pt x="281" y="160"/>
                </a:cubicBezTo>
                <a:cubicBezTo>
                  <a:pt x="296" y="145"/>
                  <a:pt x="296" y="145"/>
                  <a:pt x="296" y="145"/>
                </a:cubicBezTo>
                <a:cubicBezTo>
                  <a:pt x="300" y="141"/>
                  <a:pt x="300" y="134"/>
                  <a:pt x="296" y="130"/>
                </a:cubicBezTo>
                <a:cubicBezTo>
                  <a:pt x="292" y="126"/>
                  <a:pt x="285" y="126"/>
                  <a:pt x="281" y="130"/>
                </a:cubicBezTo>
                <a:cubicBezTo>
                  <a:pt x="266" y="145"/>
                  <a:pt x="266" y="145"/>
                  <a:pt x="266" y="145"/>
                </a:cubicBezTo>
                <a:cubicBezTo>
                  <a:pt x="262" y="149"/>
                  <a:pt x="262" y="156"/>
                  <a:pt x="266" y="160"/>
                </a:cubicBezTo>
                <a:close/>
                <a:moveTo>
                  <a:pt x="202" y="128"/>
                </a:moveTo>
                <a:cubicBezTo>
                  <a:pt x="202" y="134"/>
                  <a:pt x="207" y="138"/>
                  <a:pt x="213" y="138"/>
                </a:cubicBezTo>
                <a:cubicBezTo>
                  <a:pt x="219" y="138"/>
                  <a:pt x="224" y="134"/>
                  <a:pt x="224" y="128"/>
                </a:cubicBezTo>
                <a:cubicBezTo>
                  <a:pt x="224" y="106"/>
                  <a:pt x="224" y="106"/>
                  <a:pt x="224" y="106"/>
                </a:cubicBezTo>
                <a:cubicBezTo>
                  <a:pt x="224" y="100"/>
                  <a:pt x="219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lnTo>
                  <a:pt x="202" y="128"/>
                </a:lnTo>
                <a:close/>
                <a:moveTo>
                  <a:pt x="130" y="145"/>
                </a:moveTo>
                <a:cubicBezTo>
                  <a:pt x="145" y="160"/>
                  <a:pt x="145" y="160"/>
                  <a:pt x="145" y="160"/>
                </a:cubicBezTo>
                <a:cubicBezTo>
                  <a:pt x="147" y="162"/>
                  <a:pt x="150" y="163"/>
                  <a:pt x="153" y="163"/>
                </a:cubicBezTo>
                <a:cubicBezTo>
                  <a:pt x="155" y="163"/>
                  <a:pt x="158" y="162"/>
                  <a:pt x="160" y="160"/>
                </a:cubicBezTo>
                <a:cubicBezTo>
                  <a:pt x="164" y="156"/>
                  <a:pt x="164" y="149"/>
                  <a:pt x="160" y="145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1" y="126"/>
                  <a:pt x="134" y="126"/>
                  <a:pt x="130" y="130"/>
                </a:cubicBezTo>
                <a:cubicBezTo>
                  <a:pt x="126" y="134"/>
                  <a:pt x="126" y="141"/>
                  <a:pt x="130" y="145"/>
                </a:cubicBezTo>
                <a:close/>
                <a:moveTo>
                  <a:pt x="128" y="224"/>
                </a:moveTo>
                <a:cubicBezTo>
                  <a:pt x="134" y="224"/>
                  <a:pt x="138" y="219"/>
                  <a:pt x="138" y="213"/>
                </a:cubicBezTo>
                <a:cubicBezTo>
                  <a:pt x="138" y="207"/>
                  <a:pt x="134" y="202"/>
                  <a:pt x="128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207"/>
                  <a:pt x="96" y="213"/>
                </a:cubicBezTo>
                <a:cubicBezTo>
                  <a:pt x="96" y="219"/>
                  <a:pt x="100" y="224"/>
                  <a:pt x="106" y="224"/>
                </a:cubicBezTo>
                <a:lnTo>
                  <a:pt x="128" y="224"/>
                </a:lnTo>
                <a:close/>
                <a:moveTo>
                  <a:pt x="416" y="304"/>
                </a:moveTo>
                <a:cubicBezTo>
                  <a:pt x="416" y="276"/>
                  <a:pt x="392" y="254"/>
                  <a:pt x="365" y="256"/>
                </a:cubicBezTo>
                <a:cubicBezTo>
                  <a:pt x="364" y="214"/>
                  <a:pt x="330" y="181"/>
                  <a:pt x="289" y="181"/>
                </a:cubicBezTo>
                <a:cubicBezTo>
                  <a:pt x="278" y="181"/>
                  <a:pt x="268" y="183"/>
                  <a:pt x="259" y="187"/>
                </a:cubicBezTo>
                <a:cubicBezTo>
                  <a:pt x="250" y="170"/>
                  <a:pt x="233" y="160"/>
                  <a:pt x="213" y="160"/>
                </a:cubicBezTo>
                <a:cubicBezTo>
                  <a:pt x="184" y="160"/>
                  <a:pt x="160" y="184"/>
                  <a:pt x="160" y="213"/>
                </a:cubicBezTo>
                <a:cubicBezTo>
                  <a:pt x="160" y="220"/>
                  <a:pt x="161" y="227"/>
                  <a:pt x="164" y="234"/>
                </a:cubicBezTo>
                <a:cubicBezTo>
                  <a:pt x="146" y="245"/>
                  <a:pt x="133" y="265"/>
                  <a:pt x="133" y="288"/>
                </a:cubicBezTo>
                <a:cubicBezTo>
                  <a:pt x="133" y="323"/>
                  <a:pt x="161" y="352"/>
                  <a:pt x="196" y="352"/>
                </a:cubicBezTo>
                <a:cubicBezTo>
                  <a:pt x="368" y="352"/>
                  <a:pt x="368" y="352"/>
                  <a:pt x="368" y="352"/>
                </a:cubicBezTo>
                <a:cubicBezTo>
                  <a:pt x="394" y="352"/>
                  <a:pt x="416" y="330"/>
                  <a:pt x="416" y="30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8" name="Group 121"/>
          <p:cNvGrpSpPr>
            <a:grpSpLocks noChangeAspect="1"/>
          </p:cNvGrpSpPr>
          <p:nvPr/>
        </p:nvGrpSpPr>
        <p:grpSpPr bwMode="auto">
          <a:xfrm>
            <a:off x="1926647" y="2051054"/>
            <a:ext cx="369021" cy="369021"/>
            <a:chOff x="1929" y="393"/>
            <a:chExt cx="340" cy="340"/>
          </a:xfrm>
          <a:solidFill>
            <a:schemeClr val="accent2"/>
          </a:solidFill>
        </p:grpSpPr>
        <p:sp>
          <p:nvSpPr>
            <p:cNvPr id="269" name="Freeform 122"/>
            <p:cNvSpPr>
              <a:spLocks noEditPoints="1"/>
            </p:cNvSpPr>
            <p:nvPr/>
          </p:nvSpPr>
          <p:spPr bwMode="auto">
            <a:xfrm>
              <a:off x="2017" y="499"/>
              <a:ext cx="188" cy="128"/>
            </a:xfrm>
            <a:custGeom>
              <a:avLst/>
              <a:gdLst>
                <a:gd name="T0" fmla="*/ 232 w 283"/>
                <a:gd name="T1" fmla="*/ 96 h 192"/>
                <a:gd name="T2" fmla="*/ 156 w 283"/>
                <a:gd name="T3" fmla="*/ 21 h 192"/>
                <a:gd name="T4" fmla="*/ 126 w 283"/>
                <a:gd name="T5" fmla="*/ 27 h 192"/>
                <a:gd name="T6" fmla="*/ 80 w 283"/>
                <a:gd name="T7" fmla="*/ 0 h 192"/>
                <a:gd name="T8" fmla="*/ 27 w 283"/>
                <a:gd name="T9" fmla="*/ 53 h 192"/>
                <a:gd name="T10" fmla="*/ 31 w 283"/>
                <a:gd name="T11" fmla="*/ 74 h 192"/>
                <a:gd name="T12" fmla="*/ 0 w 283"/>
                <a:gd name="T13" fmla="*/ 128 h 192"/>
                <a:gd name="T14" fmla="*/ 63 w 283"/>
                <a:gd name="T15" fmla="*/ 192 h 192"/>
                <a:gd name="T16" fmla="*/ 235 w 283"/>
                <a:gd name="T17" fmla="*/ 192 h 192"/>
                <a:gd name="T18" fmla="*/ 283 w 283"/>
                <a:gd name="T19" fmla="*/ 144 h 192"/>
                <a:gd name="T20" fmla="*/ 232 w 283"/>
                <a:gd name="T21" fmla="*/ 96 h 192"/>
                <a:gd name="T22" fmla="*/ 80 w 283"/>
                <a:gd name="T23" fmla="*/ 21 h 192"/>
                <a:gd name="T24" fmla="*/ 108 w 283"/>
                <a:gd name="T25" fmla="*/ 37 h 192"/>
                <a:gd name="T26" fmla="*/ 83 w 283"/>
                <a:gd name="T27" fmla="*/ 69 h 192"/>
                <a:gd name="T28" fmla="*/ 63 w 283"/>
                <a:gd name="T29" fmla="*/ 65 h 192"/>
                <a:gd name="T30" fmla="*/ 51 w 283"/>
                <a:gd name="T31" fmla="*/ 66 h 192"/>
                <a:gd name="T32" fmla="*/ 48 w 283"/>
                <a:gd name="T33" fmla="*/ 53 h 192"/>
                <a:gd name="T34" fmla="*/ 80 w 283"/>
                <a:gd name="T35" fmla="*/ 21 h 192"/>
                <a:gd name="T36" fmla="*/ 235 w 283"/>
                <a:gd name="T37" fmla="*/ 170 h 192"/>
                <a:gd name="T38" fmla="*/ 63 w 283"/>
                <a:gd name="T39" fmla="*/ 170 h 192"/>
                <a:gd name="T40" fmla="*/ 21 w 283"/>
                <a:gd name="T41" fmla="*/ 128 h 192"/>
                <a:gd name="T42" fmla="*/ 63 w 283"/>
                <a:gd name="T43" fmla="*/ 86 h 192"/>
                <a:gd name="T44" fmla="*/ 84 w 283"/>
                <a:gd name="T45" fmla="*/ 93 h 192"/>
                <a:gd name="T46" fmla="*/ 94 w 283"/>
                <a:gd name="T47" fmla="*/ 94 h 192"/>
                <a:gd name="T48" fmla="*/ 100 w 283"/>
                <a:gd name="T49" fmla="*/ 87 h 192"/>
                <a:gd name="T50" fmla="*/ 156 w 283"/>
                <a:gd name="T51" fmla="*/ 42 h 192"/>
                <a:gd name="T52" fmla="*/ 211 w 283"/>
                <a:gd name="T53" fmla="*/ 98 h 192"/>
                <a:gd name="T54" fmla="*/ 210 w 283"/>
                <a:gd name="T55" fmla="*/ 105 h 192"/>
                <a:gd name="T56" fmla="*/ 214 w 283"/>
                <a:gd name="T57" fmla="*/ 120 h 192"/>
                <a:gd name="T58" fmla="*/ 227 w 283"/>
                <a:gd name="T59" fmla="*/ 119 h 192"/>
                <a:gd name="T60" fmla="*/ 229 w 283"/>
                <a:gd name="T61" fmla="*/ 118 h 192"/>
                <a:gd name="T62" fmla="*/ 235 w 283"/>
                <a:gd name="T63" fmla="*/ 117 h 192"/>
                <a:gd name="T64" fmla="*/ 261 w 283"/>
                <a:gd name="T65" fmla="*/ 144 h 192"/>
                <a:gd name="T66" fmla="*/ 235 w 283"/>
                <a:gd name="T67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3" h="192">
                  <a:moveTo>
                    <a:pt x="232" y="96"/>
                  </a:moveTo>
                  <a:cubicBezTo>
                    <a:pt x="231" y="54"/>
                    <a:pt x="197" y="21"/>
                    <a:pt x="156" y="21"/>
                  </a:cubicBezTo>
                  <a:cubicBezTo>
                    <a:pt x="145" y="21"/>
                    <a:pt x="135" y="23"/>
                    <a:pt x="126" y="27"/>
                  </a:cubicBezTo>
                  <a:cubicBezTo>
                    <a:pt x="117" y="10"/>
                    <a:pt x="100" y="0"/>
                    <a:pt x="80" y="0"/>
                  </a:cubicBezTo>
                  <a:cubicBezTo>
                    <a:pt x="51" y="0"/>
                    <a:pt x="27" y="24"/>
                    <a:pt x="27" y="53"/>
                  </a:cubicBezTo>
                  <a:cubicBezTo>
                    <a:pt x="27" y="60"/>
                    <a:pt x="28" y="67"/>
                    <a:pt x="31" y="74"/>
                  </a:cubicBezTo>
                  <a:cubicBezTo>
                    <a:pt x="13" y="85"/>
                    <a:pt x="0" y="105"/>
                    <a:pt x="0" y="128"/>
                  </a:cubicBezTo>
                  <a:cubicBezTo>
                    <a:pt x="0" y="163"/>
                    <a:pt x="28" y="192"/>
                    <a:pt x="63" y="192"/>
                  </a:cubicBezTo>
                  <a:cubicBezTo>
                    <a:pt x="235" y="192"/>
                    <a:pt x="235" y="192"/>
                    <a:pt x="235" y="192"/>
                  </a:cubicBezTo>
                  <a:cubicBezTo>
                    <a:pt x="261" y="192"/>
                    <a:pt x="283" y="170"/>
                    <a:pt x="283" y="144"/>
                  </a:cubicBezTo>
                  <a:cubicBezTo>
                    <a:pt x="283" y="116"/>
                    <a:pt x="259" y="94"/>
                    <a:pt x="232" y="96"/>
                  </a:cubicBezTo>
                  <a:close/>
                  <a:moveTo>
                    <a:pt x="80" y="21"/>
                  </a:moveTo>
                  <a:cubicBezTo>
                    <a:pt x="92" y="21"/>
                    <a:pt x="102" y="27"/>
                    <a:pt x="108" y="37"/>
                  </a:cubicBezTo>
                  <a:cubicBezTo>
                    <a:pt x="97" y="45"/>
                    <a:pt x="89" y="56"/>
                    <a:pt x="83" y="69"/>
                  </a:cubicBezTo>
                  <a:cubicBezTo>
                    <a:pt x="78" y="66"/>
                    <a:pt x="71" y="65"/>
                    <a:pt x="63" y="65"/>
                  </a:cubicBezTo>
                  <a:cubicBezTo>
                    <a:pt x="59" y="65"/>
                    <a:pt x="55" y="65"/>
                    <a:pt x="51" y="66"/>
                  </a:cubicBezTo>
                  <a:cubicBezTo>
                    <a:pt x="49" y="62"/>
                    <a:pt x="48" y="58"/>
                    <a:pt x="48" y="53"/>
                  </a:cubicBezTo>
                  <a:cubicBezTo>
                    <a:pt x="48" y="35"/>
                    <a:pt x="62" y="21"/>
                    <a:pt x="80" y="21"/>
                  </a:cubicBezTo>
                  <a:close/>
                  <a:moveTo>
                    <a:pt x="235" y="170"/>
                  </a:moveTo>
                  <a:cubicBezTo>
                    <a:pt x="63" y="170"/>
                    <a:pt x="63" y="170"/>
                    <a:pt x="63" y="170"/>
                  </a:cubicBezTo>
                  <a:cubicBezTo>
                    <a:pt x="40" y="170"/>
                    <a:pt x="21" y="151"/>
                    <a:pt x="21" y="128"/>
                  </a:cubicBezTo>
                  <a:cubicBezTo>
                    <a:pt x="21" y="105"/>
                    <a:pt x="40" y="86"/>
                    <a:pt x="63" y="86"/>
                  </a:cubicBezTo>
                  <a:cubicBezTo>
                    <a:pt x="72" y="86"/>
                    <a:pt x="77" y="89"/>
                    <a:pt x="84" y="93"/>
                  </a:cubicBezTo>
                  <a:cubicBezTo>
                    <a:pt x="87" y="95"/>
                    <a:pt x="91" y="96"/>
                    <a:pt x="94" y="94"/>
                  </a:cubicBezTo>
                  <a:cubicBezTo>
                    <a:pt x="97" y="93"/>
                    <a:pt x="99" y="90"/>
                    <a:pt x="100" y="87"/>
                  </a:cubicBezTo>
                  <a:cubicBezTo>
                    <a:pt x="105" y="61"/>
                    <a:pt x="129" y="42"/>
                    <a:pt x="156" y="42"/>
                  </a:cubicBezTo>
                  <a:cubicBezTo>
                    <a:pt x="186" y="42"/>
                    <a:pt x="211" y="67"/>
                    <a:pt x="211" y="98"/>
                  </a:cubicBezTo>
                  <a:cubicBezTo>
                    <a:pt x="211" y="100"/>
                    <a:pt x="211" y="103"/>
                    <a:pt x="210" y="105"/>
                  </a:cubicBezTo>
                  <a:cubicBezTo>
                    <a:pt x="208" y="112"/>
                    <a:pt x="209" y="116"/>
                    <a:pt x="214" y="120"/>
                  </a:cubicBezTo>
                  <a:cubicBezTo>
                    <a:pt x="217" y="122"/>
                    <a:pt x="223" y="122"/>
                    <a:pt x="227" y="119"/>
                  </a:cubicBezTo>
                  <a:cubicBezTo>
                    <a:pt x="228" y="118"/>
                    <a:pt x="229" y="118"/>
                    <a:pt x="229" y="118"/>
                  </a:cubicBezTo>
                  <a:cubicBezTo>
                    <a:pt x="231" y="117"/>
                    <a:pt x="233" y="117"/>
                    <a:pt x="235" y="117"/>
                  </a:cubicBezTo>
                  <a:cubicBezTo>
                    <a:pt x="249" y="117"/>
                    <a:pt x="261" y="129"/>
                    <a:pt x="261" y="144"/>
                  </a:cubicBezTo>
                  <a:cubicBezTo>
                    <a:pt x="261" y="158"/>
                    <a:pt x="249" y="170"/>
                    <a:pt x="235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123"/>
            <p:cNvSpPr>
              <a:spLocks/>
            </p:cNvSpPr>
            <p:nvPr/>
          </p:nvSpPr>
          <p:spPr bwMode="auto">
            <a:xfrm>
              <a:off x="2063" y="457"/>
              <a:ext cx="15" cy="28"/>
            </a:xfrm>
            <a:custGeom>
              <a:avLst/>
              <a:gdLst>
                <a:gd name="T0" fmla="*/ 11 w 22"/>
                <a:gd name="T1" fmla="*/ 42 h 42"/>
                <a:gd name="T2" fmla="*/ 22 w 22"/>
                <a:gd name="T3" fmla="*/ 32 h 42"/>
                <a:gd name="T4" fmla="*/ 22 w 22"/>
                <a:gd name="T5" fmla="*/ 10 h 42"/>
                <a:gd name="T6" fmla="*/ 11 w 22"/>
                <a:gd name="T7" fmla="*/ 0 h 42"/>
                <a:gd name="T8" fmla="*/ 0 w 22"/>
                <a:gd name="T9" fmla="*/ 10 h 42"/>
                <a:gd name="T10" fmla="*/ 0 w 22"/>
                <a:gd name="T11" fmla="*/ 32 h 42"/>
                <a:gd name="T12" fmla="*/ 11 w 2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2">
                  <a:moveTo>
                    <a:pt x="11" y="42"/>
                  </a:moveTo>
                  <a:cubicBezTo>
                    <a:pt x="17" y="42"/>
                    <a:pt x="22" y="38"/>
                    <a:pt x="22" y="32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2"/>
                    <a:pt x="1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124"/>
            <p:cNvSpPr>
              <a:spLocks/>
            </p:cNvSpPr>
            <p:nvPr/>
          </p:nvSpPr>
          <p:spPr bwMode="auto">
            <a:xfrm>
              <a:off x="1993" y="527"/>
              <a:ext cx="28" cy="15"/>
            </a:xfrm>
            <a:custGeom>
              <a:avLst/>
              <a:gdLst>
                <a:gd name="T0" fmla="*/ 42 w 42"/>
                <a:gd name="T1" fmla="*/ 11 h 22"/>
                <a:gd name="T2" fmla="*/ 32 w 42"/>
                <a:gd name="T3" fmla="*/ 0 h 22"/>
                <a:gd name="T4" fmla="*/ 10 w 42"/>
                <a:gd name="T5" fmla="*/ 0 h 22"/>
                <a:gd name="T6" fmla="*/ 0 w 42"/>
                <a:gd name="T7" fmla="*/ 11 h 22"/>
                <a:gd name="T8" fmla="*/ 10 w 42"/>
                <a:gd name="T9" fmla="*/ 22 h 22"/>
                <a:gd name="T10" fmla="*/ 32 w 42"/>
                <a:gd name="T11" fmla="*/ 22 h 22"/>
                <a:gd name="T12" fmla="*/ 42 w 42"/>
                <a:gd name="T13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2">
                  <a:moveTo>
                    <a:pt x="42" y="11"/>
                  </a:moveTo>
                  <a:cubicBezTo>
                    <a:pt x="42" y="5"/>
                    <a:pt x="38" y="0"/>
                    <a:pt x="3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2"/>
                    <a:pt x="42" y="17"/>
                    <a:pt x="4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125"/>
            <p:cNvSpPr>
              <a:spLocks/>
            </p:cNvSpPr>
            <p:nvPr/>
          </p:nvSpPr>
          <p:spPr bwMode="auto">
            <a:xfrm>
              <a:off x="2013" y="477"/>
              <a:ext cx="25" cy="24"/>
            </a:xfrm>
            <a:custGeom>
              <a:avLst/>
              <a:gdLst>
                <a:gd name="T0" fmla="*/ 19 w 38"/>
                <a:gd name="T1" fmla="*/ 34 h 37"/>
                <a:gd name="T2" fmla="*/ 27 w 38"/>
                <a:gd name="T3" fmla="*/ 37 h 37"/>
                <a:gd name="T4" fmla="*/ 34 w 38"/>
                <a:gd name="T5" fmla="*/ 34 h 37"/>
                <a:gd name="T6" fmla="*/ 34 w 38"/>
                <a:gd name="T7" fmla="*/ 19 h 37"/>
                <a:gd name="T8" fmla="*/ 19 w 38"/>
                <a:gd name="T9" fmla="*/ 4 h 37"/>
                <a:gd name="T10" fmla="*/ 4 w 38"/>
                <a:gd name="T11" fmla="*/ 4 h 37"/>
                <a:gd name="T12" fmla="*/ 4 w 38"/>
                <a:gd name="T13" fmla="*/ 19 h 37"/>
                <a:gd name="T14" fmla="*/ 19 w 38"/>
                <a:gd name="T1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9" y="34"/>
                  </a:moveTo>
                  <a:cubicBezTo>
                    <a:pt x="21" y="36"/>
                    <a:pt x="24" y="37"/>
                    <a:pt x="27" y="37"/>
                  </a:cubicBezTo>
                  <a:cubicBezTo>
                    <a:pt x="29" y="37"/>
                    <a:pt x="32" y="36"/>
                    <a:pt x="34" y="34"/>
                  </a:cubicBezTo>
                  <a:cubicBezTo>
                    <a:pt x="38" y="30"/>
                    <a:pt x="38" y="23"/>
                    <a:pt x="34" y="1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lnTo>
                    <a:pt x="19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126"/>
            <p:cNvSpPr>
              <a:spLocks/>
            </p:cNvSpPr>
            <p:nvPr/>
          </p:nvSpPr>
          <p:spPr bwMode="auto">
            <a:xfrm>
              <a:off x="2103" y="477"/>
              <a:ext cx="25" cy="24"/>
            </a:xfrm>
            <a:custGeom>
              <a:avLst/>
              <a:gdLst>
                <a:gd name="T0" fmla="*/ 11 w 38"/>
                <a:gd name="T1" fmla="*/ 37 h 37"/>
                <a:gd name="T2" fmla="*/ 19 w 38"/>
                <a:gd name="T3" fmla="*/ 34 h 37"/>
                <a:gd name="T4" fmla="*/ 34 w 38"/>
                <a:gd name="T5" fmla="*/ 19 h 37"/>
                <a:gd name="T6" fmla="*/ 34 w 38"/>
                <a:gd name="T7" fmla="*/ 4 h 37"/>
                <a:gd name="T8" fmla="*/ 19 w 38"/>
                <a:gd name="T9" fmla="*/ 4 h 37"/>
                <a:gd name="T10" fmla="*/ 4 w 38"/>
                <a:gd name="T11" fmla="*/ 19 h 37"/>
                <a:gd name="T12" fmla="*/ 4 w 38"/>
                <a:gd name="T13" fmla="*/ 34 h 37"/>
                <a:gd name="T14" fmla="*/ 11 w 38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7">
                  <a:moveTo>
                    <a:pt x="11" y="37"/>
                  </a:moveTo>
                  <a:cubicBezTo>
                    <a:pt x="14" y="37"/>
                    <a:pt x="17" y="36"/>
                    <a:pt x="19" y="34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8" y="15"/>
                    <a:pt x="38" y="8"/>
                    <a:pt x="34" y="4"/>
                  </a:cubicBezTo>
                  <a:cubicBezTo>
                    <a:pt x="30" y="0"/>
                    <a:pt x="23" y="0"/>
                    <a:pt x="19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23"/>
                    <a:pt x="0" y="30"/>
                    <a:pt x="4" y="34"/>
                  </a:cubicBezTo>
                  <a:cubicBezTo>
                    <a:pt x="6" y="36"/>
                    <a:pt x="9" y="37"/>
                    <a:pt x="1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127"/>
            <p:cNvSpPr>
              <a:spLocks noEditPoints="1"/>
            </p:cNvSpPr>
            <p:nvPr/>
          </p:nvSpPr>
          <p:spPr bwMode="auto">
            <a:xfrm>
              <a:off x="1929" y="39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3" name="Freeform 514"/>
          <p:cNvSpPr>
            <a:spLocks noChangeAspect="1" noEditPoints="1"/>
          </p:cNvSpPr>
          <p:nvPr/>
        </p:nvSpPr>
        <p:spPr bwMode="auto">
          <a:xfrm>
            <a:off x="2425028" y="2051054"/>
            <a:ext cx="367041" cy="367041"/>
          </a:xfrm>
          <a:custGeom>
            <a:avLst/>
            <a:gdLst>
              <a:gd name="T0" fmla="*/ 360 w 512"/>
              <a:gd name="T1" fmla="*/ 268 h 512"/>
              <a:gd name="T2" fmla="*/ 115 w 512"/>
              <a:gd name="T3" fmla="*/ 218 h 512"/>
              <a:gd name="T4" fmla="*/ 189 w 512"/>
              <a:gd name="T5" fmla="*/ 176 h 512"/>
              <a:gd name="T6" fmla="*/ 205 w 512"/>
              <a:gd name="T7" fmla="*/ 169 h 512"/>
              <a:gd name="T8" fmla="*/ 335 w 512"/>
              <a:gd name="T9" fmla="*/ 182 h 512"/>
              <a:gd name="T10" fmla="*/ 334 w 512"/>
              <a:gd name="T11" fmla="*/ 192 h 512"/>
              <a:gd name="T12" fmla="*/ 351 w 512"/>
              <a:gd name="T13" fmla="*/ 205 h 512"/>
              <a:gd name="T14" fmla="*/ 360 w 512"/>
              <a:gd name="T15" fmla="*/ 203 h 512"/>
              <a:gd name="T16" fmla="*/ 512 w 512"/>
              <a:gd name="T17" fmla="*/ 256 h 512"/>
              <a:gd name="T18" fmla="*/ 0 w 512"/>
              <a:gd name="T19" fmla="*/ 256 h 512"/>
              <a:gd name="T20" fmla="*/ 512 w 512"/>
              <a:gd name="T21" fmla="*/ 256 h 512"/>
              <a:gd name="T22" fmla="*/ 153 w 512"/>
              <a:gd name="T23" fmla="*/ 382 h 512"/>
              <a:gd name="T24" fmla="*/ 155 w 512"/>
              <a:gd name="T25" fmla="*/ 416 h 512"/>
              <a:gd name="T26" fmla="*/ 168 w 512"/>
              <a:gd name="T27" fmla="*/ 408 h 512"/>
              <a:gd name="T28" fmla="*/ 166 w 512"/>
              <a:gd name="T29" fmla="*/ 374 h 512"/>
              <a:gd name="T30" fmla="*/ 169 w 512"/>
              <a:gd name="T31" fmla="*/ 318 h 512"/>
              <a:gd name="T32" fmla="*/ 171 w 512"/>
              <a:gd name="T33" fmla="*/ 352 h 512"/>
              <a:gd name="T34" fmla="*/ 184 w 512"/>
              <a:gd name="T35" fmla="*/ 344 h 512"/>
              <a:gd name="T36" fmla="*/ 182 w 512"/>
              <a:gd name="T37" fmla="*/ 310 h 512"/>
              <a:gd name="T38" fmla="*/ 227 w 512"/>
              <a:gd name="T39" fmla="*/ 382 h 512"/>
              <a:gd name="T40" fmla="*/ 230 w 512"/>
              <a:gd name="T41" fmla="*/ 416 h 512"/>
              <a:gd name="T42" fmla="*/ 243 w 512"/>
              <a:gd name="T43" fmla="*/ 408 h 512"/>
              <a:gd name="T44" fmla="*/ 240 w 512"/>
              <a:gd name="T45" fmla="*/ 374 h 512"/>
              <a:gd name="T46" fmla="*/ 243 w 512"/>
              <a:gd name="T47" fmla="*/ 318 h 512"/>
              <a:gd name="T48" fmla="*/ 246 w 512"/>
              <a:gd name="T49" fmla="*/ 352 h 512"/>
              <a:gd name="T50" fmla="*/ 259 w 512"/>
              <a:gd name="T51" fmla="*/ 344 h 512"/>
              <a:gd name="T52" fmla="*/ 256 w 512"/>
              <a:gd name="T53" fmla="*/ 310 h 512"/>
              <a:gd name="T54" fmla="*/ 302 w 512"/>
              <a:gd name="T55" fmla="*/ 382 h 512"/>
              <a:gd name="T56" fmla="*/ 304 w 512"/>
              <a:gd name="T57" fmla="*/ 416 h 512"/>
              <a:gd name="T58" fmla="*/ 317 w 512"/>
              <a:gd name="T59" fmla="*/ 408 h 512"/>
              <a:gd name="T60" fmla="*/ 315 w 512"/>
              <a:gd name="T61" fmla="*/ 374 h 512"/>
              <a:gd name="T62" fmla="*/ 318 w 512"/>
              <a:gd name="T63" fmla="*/ 318 h 512"/>
              <a:gd name="T64" fmla="*/ 320 w 512"/>
              <a:gd name="T65" fmla="*/ 352 h 512"/>
              <a:gd name="T66" fmla="*/ 333 w 512"/>
              <a:gd name="T67" fmla="*/ 344 h 512"/>
              <a:gd name="T68" fmla="*/ 331 w 512"/>
              <a:gd name="T69" fmla="*/ 310 h 512"/>
              <a:gd name="T70" fmla="*/ 360 w 512"/>
              <a:gd name="T71" fmla="*/ 182 h 512"/>
              <a:gd name="T72" fmla="*/ 270 w 512"/>
              <a:gd name="T73" fmla="*/ 96 h 512"/>
              <a:gd name="T74" fmla="*/ 164 w 512"/>
              <a:gd name="T75" fmla="*/ 147 h 512"/>
              <a:gd name="T76" fmla="*/ 164 w 512"/>
              <a:gd name="T77" fmla="*/ 289 h 512"/>
              <a:gd name="T78" fmla="*/ 414 w 512"/>
              <a:gd name="T79" fmla="*/ 23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392" y="235"/>
                </a:moveTo>
                <a:cubicBezTo>
                  <a:pt x="392" y="253"/>
                  <a:pt x="378" y="268"/>
                  <a:pt x="360" y="268"/>
                </a:cubicBezTo>
                <a:cubicBezTo>
                  <a:pt x="164" y="268"/>
                  <a:pt x="164" y="268"/>
                  <a:pt x="164" y="268"/>
                </a:cubicBezTo>
                <a:cubicBezTo>
                  <a:pt x="137" y="268"/>
                  <a:pt x="115" y="245"/>
                  <a:pt x="115" y="218"/>
                </a:cubicBezTo>
                <a:cubicBezTo>
                  <a:pt x="115" y="190"/>
                  <a:pt x="137" y="168"/>
                  <a:pt x="164" y="168"/>
                </a:cubicBezTo>
                <a:cubicBezTo>
                  <a:pt x="174" y="168"/>
                  <a:pt x="181" y="171"/>
                  <a:pt x="189" y="176"/>
                </a:cubicBezTo>
                <a:cubicBezTo>
                  <a:pt x="192" y="178"/>
                  <a:pt x="195" y="179"/>
                  <a:pt x="199" y="177"/>
                </a:cubicBezTo>
                <a:cubicBezTo>
                  <a:pt x="202" y="176"/>
                  <a:pt x="204" y="173"/>
                  <a:pt x="205" y="169"/>
                </a:cubicBezTo>
                <a:cubicBezTo>
                  <a:pt x="211" y="140"/>
                  <a:pt x="239" y="118"/>
                  <a:pt x="270" y="118"/>
                </a:cubicBezTo>
                <a:cubicBezTo>
                  <a:pt x="306" y="118"/>
                  <a:pt x="335" y="147"/>
                  <a:pt x="335" y="182"/>
                </a:cubicBezTo>
                <a:cubicBezTo>
                  <a:pt x="335" y="185"/>
                  <a:pt x="334" y="188"/>
                  <a:pt x="334" y="190"/>
                </a:cubicBezTo>
                <a:cubicBezTo>
                  <a:pt x="334" y="192"/>
                  <a:pt x="334" y="192"/>
                  <a:pt x="334" y="192"/>
                </a:cubicBezTo>
                <a:cubicBezTo>
                  <a:pt x="333" y="194"/>
                  <a:pt x="331" y="202"/>
                  <a:pt x="338" y="206"/>
                </a:cubicBezTo>
                <a:cubicBezTo>
                  <a:pt x="342" y="209"/>
                  <a:pt x="347" y="209"/>
                  <a:pt x="351" y="205"/>
                </a:cubicBezTo>
                <a:cubicBezTo>
                  <a:pt x="352" y="205"/>
                  <a:pt x="353" y="204"/>
                  <a:pt x="353" y="204"/>
                </a:cubicBezTo>
                <a:cubicBezTo>
                  <a:pt x="355" y="203"/>
                  <a:pt x="358" y="203"/>
                  <a:pt x="360" y="203"/>
                </a:cubicBezTo>
                <a:cubicBezTo>
                  <a:pt x="378" y="203"/>
                  <a:pt x="392" y="218"/>
                  <a:pt x="392" y="23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4"/>
                  <a:pt x="115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6" y="374"/>
                </a:moveTo>
                <a:cubicBezTo>
                  <a:pt x="160" y="373"/>
                  <a:pt x="154" y="376"/>
                  <a:pt x="153" y="382"/>
                </a:cubicBezTo>
                <a:cubicBezTo>
                  <a:pt x="147" y="403"/>
                  <a:pt x="147" y="403"/>
                  <a:pt x="147" y="403"/>
                </a:cubicBezTo>
                <a:cubicBezTo>
                  <a:pt x="146" y="409"/>
                  <a:pt x="149" y="415"/>
                  <a:pt x="155" y="416"/>
                </a:cubicBezTo>
                <a:cubicBezTo>
                  <a:pt x="156" y="416"/>
                  <a:pt x="157" y="416"/>
                  <a:pt x="158" y="416"/>
                </a:cubicBezTo>
                <a:cubicBezTo>
                  <a:pt x="162" y="416"/>
                  <a:pt x="167" y="413"/>
                  <a:pt x="168" y="408"/>
                </a:cubicBezTo>
                <a:cubicBezTo>
                  <a:pt x="173" y="387"/>
                  <a:pt x="173" y="387"/>
                  <a:pt x="173" y="387"/>
                </a:cubicBezTo>
                <a:cubicBezTo>
                  <a:pt x="175" y="381"/>
                  <a:pt x="171" y="375"/>
                  <a:pt x="166" y="374"/>
                </a:cubicBezTo>
                <a:close/>
                <a:moveTo>
                  <a:pt x="182" y="310"/>
                </a:moveTo>
                <a:cubicBezTo>
                  <a:pt x="176" y="309"/>
                  <a:pt x="170" y="312"/>
                  <a:pt x="169" y="318"/>
                </a:cubicBezTo>
                <a:cubicBezTo>
                  <a:pt x="163" y="339"/>
                  <a:pt x="163" y="339"/>
                  <a:pt x="163" y="339"/>
                </a:cubicBezTo>
                <a:cubicBezTo>
                  <a:pt x="162" y="345"/>
                  <a:pt x="165" y="351"/>
                  <a:pt x="171" y="352"/>
                </a:cubicBezTo>
                <a:cubicBezTo>
                  <a:pt x="172" y="352"/>
                  <a:pt x="173" y="352"/>
                  <a:pt x="174" y="352"/>
                </a:cubicBezTo>
                <a:cubicBezTo>
                  <a:pt x="178" y="352"/>
                  <a:pt x="183" y="349"/>
                  <a:pt x="184" y="344"/>
                </a:cubicBezTo>
                <a:cubicBezTo>
                  <a:pt x="189" y="323"/>
                  <a:pt x="189" y="323"/>
                  <a:pt x="189" y="323"/>
                </a:cubicBezTo>
                <a:cubicBezTo>
                  <a:pt x="191" y="317"/>
                  <a:pt x="187" y="311"/>
                  <a:pt x="182" y="310"/>
                </a:cubicBezTo>
                <a:close/>
                <a:moveTo>
                  <a:pt x="240" y="374"/>
                </a:moveTo>
                <a:cubicBezTo>
                  <a:pt x="234" y="373"/>
                  <a:pt x="229" y="376"/>
                  <a:pt x="227" y="382"/>
                </a:cubicBezTo>
                <a:cubicBezTo>
                  <a:pt x="222" y="403"/>
                  <a:pt x="222" y="403"/>
                  <a:pt x="222" y="403"/>
                </a:cubicBezTo>
                <a:cubicBezTo>
                  <a:pt x="220" y="409"/>
                  <a:pt x="224" y="415"/>
                  <a:pt x="230" y="416"/>
                </a:cubicBezTo>
                <a:cubicBezTo>
                  <a:pt x="231" y="416"/>
                  <a:pt x="231" y="416"/>
                  <a:pt x="232" y="416"/>
                </a:cubicBezTo>
                <a:cubicBezTo>
                  <a:pt x="237" y="416"/>
                  <a:pt x="241" y="413"/>
                  <a:pt x="243" y="408"/>
                </a:cubicBezTo>
                <a:cubicBezTo>
                  <a:pt x="248" y="387"/>
                  <a:pt x="248" y="387"/>
                  <a:pt x="248" y="387"/>
                </a:cubicBezTo>
                <a:cubicBezTo>
                  <a:pt x="249" y="381"/>
                  <a:pt x="246" y="375"/>
                  <a:pt x="240" y="374"/>
                </a:cubicBezTo>
                <a:close/>
                <a:moveTo>
                  <a:pt x="256" y="310"/>
                </a:moveTo>
                <a:cubicBezTo>
                  <a:pt x="250" y="309"/>
                  <a:pt x="245" y="312"/>
                  <a:pt x="243" y="318"/>
                </a:cubicBezTo>
                <a:cubicBezTo>
                  <a:pt x="238" y="339"/>
                  <a:pt x="238" y="339"/>
                  <a:pt x="238" y="339"/>
                </a:cubicBezTo>
                <a:cubicBezTo>
                  <a:pt x="236" y="345"/>
                  <a:pt x="240" y="351"/>
                  <a:pt x="246" y="352"/>
                </a:cubicBezTo>
                <a:cubicBezTo>
                  <a:pt x="247" y="352"/>
                  <a:pt x="247" y="352"/>
                  <a:pt x="248" y="352"/>
                </a:cubicBezTo>
                <a:cubicBezTo>
                  <a:pt x="253" y="352"/>
                  <a:pt x="257" y="349"/>
                  <a:pt x="259" y="344"/>
                </a:cubicBezTo>
                <a:cubicBezTo>
                  <a:pt x="264" y="323"/>
                  <a:pt x="264" y="323"/>
                  <a:pt x="264" y="323"/>
                </a:cubicBezTo>
                <a:cubicBezTo>
                  <a:pt x="265" y="317"/>
                  <a:pt x="262" y="311"/>
                  <a:pt x="256" y="310"/>
                </a:cubicBezTo>
                <a:close/>
                <a:moveTo>
                  <a:pt x="315" y="374"/>
                </a:moveTo>
                <a:cubicBezTo>
                  <a:pt x="309" y="373"/>
                  <a:pt x="303" y="376"/>
                  <a:pt x="302" y="382"/>
                </a:cubicBezTo>
                <a:cubicBezTo>
                  <a:pt x="297" y="403"/>
                  <a:pt x="297" y="403"/>
                  <a:pt x="297" y="403"/>
                </a:cubicBezTo>
                <a:cubicBezTo>
                  <a:pt x="295" y="409"/>
                  <a:pt x="299" y="415"/>
                  <a:pt x="304" y="416"/>
                </a:cubicBezTo>
                <a:cubicBezTo>
                  <a:pt x="305" y="416"/>
                  <a:pt x="306" y="416"/>
                  <a:pt x="307" y="416"/>
                </a:cubicBezTo>
                <a:cubicBezTo>
                  <a:pt x="312" y="416"/>
                  <a:pt x="316" y="413"/>
                  <a:pt x="317" y="408"/>
                </a:cubicBezTo>
                <a:cubicBezTo>
                  <a:pt x="323" y="387"/>
                  <a:pt x="323" y="387"/>
                  <a:pt x="323" y="387"/>
                </a:cubicBezTo>
                <a:cubicBezTo>
                  <a:pt x="324" y="381"/>
                  <a:pt x="321" y="375"/>
                  <a:pt x="315" y="374"/>
                </a:cubicBezTo>
                <a:close/>
                <a:moveTo>
                  <a:pt x="331" y="310"/>
                </a:moveTo>
                <a:cubicBezTo>
                  <a:pt x="325" y="309"/>
                  <a:pt x="319" y="312"/>
                  <a:pt x="318" y="318"/>
                </a:cubicBezTo>
                <a:cubicBezTo>
                  <a:pt x="313" y="339"/>
                  <a:pt x="313" y="339"/>
                  <a:pt x="313" y="339"/>
                </a:cubicBezTo>
                <a:cubicBezTo>
                  <a:pt x="311" y="345"/>
                  <a:pt x="315" y="351"/>
                  <a:pt x="320" y="352"/>
                </a:cubicBezTo>
                <a:cubicBezTo>
                  <a:pt x="321" y="352"/>
                  <a:pt x="322" y="352"/>
                  <a:pt x="323" y="352"/>
                </a:cubicBezTo>
                <a:cubicBezTo>
                  <a:pt x="328" y="352"/>
                  <a:pt x="332" y="349"/>
                  <a:pt x="333" y="344"/>
                </a:cubicBezTo>
                <a:cubicBezTo>
                  <a:pt x="339" y="323"/>
                  <a:pt x="339" y="323"/>
                  <a:pt x="339" y="323"/>
                </a:cubicBezTo>
                <a:cubicBezTo>
                  <a:pt x="340" y="317"/>
                  <a:pt x="337" y="311"/>
                  <a:pt x="331" y="310"/>
                </a:cubicBezTo>
                <a:close/>
                <a:moveTo>
                  <a:pt x="414" y="235"/>
                </a:moveTo>
                <a:cubicBezTo>
                  <a:pt x="414" y="206"/>
                  <a:pt x="390" y="182"/>
                  <a:pt x="360" y="182"/>
                </a:cubicBezTo>
                <a:cubicBezTo>
                  <a:pt x="359" y="182"/>
                  <a:pt x="357" y="182"/>
                  <a:pt x="356" y="182"/>
                </a:cubicBezTo>
                <a:cubicBezTo>
                  <a:pt x="356" y="135"/>
                  <a:pt x="317" y="96"/>
                  <a:pt x="270" y="96"/>
                </a:cubicBezTo>
                <a:cubicBezTo>
                  <a:pt x="233" y="96"/>
                  <a:pt x="201" y="119"/>
                  <a:pt x="188" y="151"/>
                </a:cubicBezTo>
                <a:cubicBezTo>
                  <a:pt x="181" y="148"/>
                  <a:pt x="174" y="147"/>
                  <a:pt x="164" y="147"/>
                </a:cubicBezTo>
                <a:cubicBezTo>
                  <a:pt x="125" y="147"/>
                  <a:pt x="94" y="179"/>
                  <a:pt x="94" y="218"/>
                </a:cubicBezTo>
                <a:cubicBezTo>
                  <a:pt x="94" y="257"/>
                  <a:pt x="125" y="289"/>
                  <a:pt x="164" y="289"/>
                </a:cubicBezTo>
                <a:cubicBezTo>
                  <a:pt x="360" y="289"/>
                  <a:pt x="360" y="289"/>
                  <a:pt x="360" y="289"/>
                </a:cubicBezTo>
                <a:cubicBezTo>
                  <a:pt x="390" y="289"/>
                  <a:pt x="414" y="265"/>
                  <a:pt x="414" y="23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4" name="Group 517"/>
          <p:cNvGrpSpPr>
            <a:grpSpLocks noChangeAspect="1"/>
          </p:cNvGrpSpPr>
          <p:nvPr/>
        </p:nvGrpSpPr>
        <p:grpSpPr bwMode="auto">
          <a:xfrm>
            <a:off x="2921429" y="2051054"/>
            <a:ext cx="367041" cy="367041"/>
            <a:chOff x="4034" y="2248"/>
            <a:chExt cx="340" cy="340"/>
          </a:xfrm>
          <a:solidFill>
            <a:schemeClr val="accent6"/>
          </a:solidFill>
        </p:grpSpPr>
        <p:sp>
          <p:nvSpPr>
            <p:cNvPr id="285" name="Freeform 518"/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519"/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520"/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521"/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522"/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523"/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524"/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525"/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3" name="Group 123"/>
          <p:cNvGrpSpPr>
            <a:grpSpLocks noChangeAspect="1"/>
          </p:cNvGrpSpPr>
          <p:nvPr/>
        </p:nvGrpSpPr>
        <p:grpSpPr bwMode="auto">
          <a:xfrm>
            <a:off x="3417830" y="2051054"/>
            <a:ext cx="367041" cy="367041"/>
            <a:chOff x="2343" y="399"/>
            <a:chExt cx="340" cy="340"/>
          </a:xfrm>
          <a:solidFill>
            <a:schemeClr val="accent2"/>
          </a:solidFill>
        </p:grpSpPr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2421" y="477"/>
              <a:ext cx="184" cy="99"/>
            </a:xfrm>
            <a:custGeom>
              <a:avLst/>
              <a:gdLst>
                <a:gd name="T0" fmla="*/ 245 w 277"/>
                <a:gd name="T1" fmla="*/ 85 h 149"/>
                <a:gd name="T2" fmla="*/ 236 w 277"/>
                <a:gd name="T3" fmla="*/ 87 h 149"/>
                <a:gd name="T4" fmla="*/ 223 w 277"/>
                <a:gd name="T5" fmla="*/ 89 h 149"/>
                <a:gd name="T6" fmla="*/ 219 w 277"/>
                <a:gd name="T7" fmla="*/ 74 h 149"/>
                <a:gd name="T8" fmla="*/ 220 w 277"/>
                <a:gd name="T9" fmla="*/ 65 h 149"/>
                <a:gd name="T10" fmla="*/ 155 w 277"/>
                <a:gd name="T11" fmla="*/ 0 h 149"/>
                <a:gd name="T12" fmla="*/ 90 w 277"/>
                <a:gd name="T13" fmla="*/ 52 h 149"/>
                <a:gd name="T14" fmla="*/ 84 w 277"/>
                <a:gd name="T15" fmla="*/ 59 h 149"/>
                <a:gd name="T16" fmla="*/ 74 w 277"/>
                <a:gd name="T17" fmla="*/ 58 h 149"/>
                <a:gd name="T18" fmla="*/ 50 w 277"/>
                <a:gd name="T19" fmla="*/ 50 h 149"/>
                <a:gd name="T20" fmla="*/ 0 w 277"/>
                <a:gd name="T21" fmla="*/ 100 h 149"/>
                <a:gd name="T22" fmla="*/ 50 w 277"/>
                <a:gd name="T23" fmla="*/ 149 h 149"/>
                <a:gd name="T24" fmla="*/ 245 w 277"/>
                <a:gd name="T25" fmla="*/ 149 h 149"/>
                <a:gd name="T26" fmla="*/ 277 w 277"/>
                <a:gd name="T27" fmla="*/ 117 h 149"/>
                <a:gd name="T28" fmla="*/ 245 w 277"/>
                <a:gd name="T29" fmla="*/ 8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7" h="149">
                  <a:moveTo>
                    <a:pt x="245" y="85"/>
                  </a:moveTo>
                  <a:cubicBezTo>
                    <a:pt x="241" y="85"/>
                    <a:pt x="237" y="86"/>
                    <a:pt x="236" y="87"/>
                  </a:cubicBezTo>
                  <a:cubicBezTo>
                    <a:pt x="233" y="90"/>
                    <a:pt x="227" y="91"/>
                    <a:pt x="223" y="89"/>
                  </a:cubicBezTo>
                  <a:cubicBezTo>
                    <a:pt x="218" y="86"/>
                    <a:pt x="217" y="81"/>
                    <a:pt x="219" y="74"/>
                  </a:cubicBezTo>
                  <a:cubicBezTo>
                    <a:pt x="219" y="74"/>
                    <a:pt x="220" y="68"/>
                    <a:pt x="220" y="65"/>
                  </a:cubicBezTo>
                  <a:cubicBezTo>
                    <a:pt x="220" y="29"/>
                    <a:pt x="191" y="0"/>
                    <a:pt x="155" y="0"/>
                  </a:cubicBezTo>
                  <a:cubicBezTo>
                    <a:pt x="124" y="0"/>
                    <a:pt x="96" y="22"/>
                    <a:pt x="90" y="52"/>
                  </a:cubicBezTo>
                  <a:cubicBezTo>
                    <a:pt x="89" y="55"/>
                    <a:pt x="87" y="58"/>
                    <a:pt x="84" y="59"/>
                  </a:cubicBezTo>
                  <a:cubicBezTo>
                    <a:pt x="80" y="61"/>
                    <a:pt x="77" y="60"/>
                    <a:pt x="74" y="58"/>
                  </a:cubicBezTo>
                  <a:cubicBezTo>
                    <a:pt x="66" y="53"/>
                    <a:pt x="59" y="50"/>
                    <a:pt x="50" y="50"/>
                  </a:cubicBezTo>
                  <a:cubicBezTo>
                    <a:pt x="22" y="50"/>
                    <a:pt x="0" y="72"/>
                    <a:pt x="0" y="100"/>
                  </a:cubicBezTo>
                  <a:cubicBezTo>
                    <a:pt x="0" y="127"/>
                    <a:pt x="22" y="149"/>
                    <a:pt x="50" y="149"/>
                  </a:cubicBezTo>
                  <a:cubicBezTo>
                    <a:pt x="245" y="149"/>
                    <a:pt x="245" y="149"/>
                    <a:pt x="245" y="149"/>
                  </a:cubicBezTo>
                  <a:cubicBezTo>
                    <a:pt x="263" y="149"/>
                    <a:pt x="277" y="135"/>
                    <a:pt x="277" y="117"/>
                  </a:cubicBezTo>
                  <a:cubicBezTo>
                    <a:pt x="277" y="100"/>
                    <a:pt x="263" y="85"/>
                    <a:pt x="245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125"/>
            <p:cNvSpPr>
              <a:spLocks noEditPoints="1"/>
            </p:cNvSpPr>
            <p:nvPr/>
          </p:nvSpPr>
          <p:spPr bwMode="auto">
            <a:xfrm>
              <a:off x="2343" y="399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0 w 512"/>
                <a:gd name="T11" fmla="*/ 416 h 512"/>
                <a:gd name="T12" fmla="*/ 149 w 512"/>
                <a:gd name="T13" fmla="*/ 405 h 512"/>
                <a:gd name="T14" fmla="*/ 160 w 512"/>
                <a:gd name="T15" fmla="*/ 394 h 512"/>
                <a:gd name="T16" fmla="*/ 170 w 512"/>
                <a:gd name="T17" fmla="*/ 405 h 512"/>
                <a:gd name="T18" fmla="*/ 160 w 512"/>
                <a:gd name="T19" fmla="*/ 416 h 512"/>
                <a:gd name="T20" fmla="*/ 170 w 512"/>
                <a:gd name="T21" fmla="*/ 373 h 512"/>
                <a:gd name="T22" fmla="*/ 160 w 512"/>
                <a:gd name="T23" fmla="*/ 362 h 512"/>
                <a:gd name="T24" fmla="*/ 170 w 512"/>
                <a:gd name="T25" fmla="*/ 352 h 512"/>
                <a:gd name="T26" fmla="*/ 181 w 512"/>
                <a:gd name="T27" fmla="*/ 362 h 512"/>
                <a:gd name="T28" fmla="*/ 170 w 512"/>
                <a:gd name="T29" fmla="*/ 373 h 512"/>
                <a:gd name="T30" fmla="*/ 181 w 512"/>
                <a:gd name="T31" fmla="*/ 330 h 512"/>
                <a:gd name="T32" fmla="*/ 170 w 512"/>
                <a:gd name="T33" fmla="*/ 320 h 512"/>
                <a:gd name="T34" fmla="*/ 181 w 512"/>
                <a:gd name="T35" fmla="*/ 309 h 512"/>
                <a:gd name="T36" fmla="*/ 192 w 512"/>
                <a:gd name="T37" fmla="*/ 320 h 512"/>
                <a:gd name="T38" fmla="*/ 181 w 512"/>
                <a:gd name="T39" fmla="*/ 330 h 512"/>
                <a:gd name="T40" fmla="*/ 234 w 512"/>
                <a:gd name="T41" fmla="*/ 416 h 512"/>
                <a:gd name="T42" fmla="*/ 224 w 512"/>
                <a:gd name="T43" fmla="*/ 405 h 512"/>
                <a:gd name="T44" fmla="*/ 234 w 512"/>
                <a:gd name="T45" fmla="*/ 394 h 512"/>
                <a:gd name="T46" fmla="*/ 245 w 512"/>
                <a:gd name="T47" fmla="*/ 405 h 512"/>
                <a:gd name="T48" fmla="*/ 234 w 512"/>
                <a:gd name="T49" fmla="*/ 416 h 512"/>
                <a:gd name="T50" fmla="*/ 245 w 512"/>
                <a:gd name="T51" fmla="*/ 373 h 512"/>
                <a:gd name="T52" fmla="*/ 234 w 512"/>
                <a:gd name="T53" fmla="*/ 362 h 512"/>
                <a:gd name="T54" fmla="*/ 245 w 512"/>
                <a:gd name="T55" fmla="*/ 352 h 512"/>
                <a:gd name="T56" fmla="*/ 256 w 512"/>
                <a:gd name="T57" fmla="*/ 362 h 512"/>
                <a:gd name="T58" fmla="*/ 245 w 512"/>
                <a:gd name="T59" fmla="*/ 373 h 512"/>
                <a:gd name="T60" fmla="*/ 256 w 512"/>
                <a:gd name="T61" fmla="*/ 330 h 512"/>
                <a:gd name="T62" fmla="*/ 245 w 512"/>
                <a:gd name="T63" fmla="*/ 320 h 512"/>
                <a:gd name="T64" fmla="*/ 256 w 512"/>
                <a:gd name="T65" fmla="*/ 309 h 512"/>
                <a:gd name="T66" fmla="*/ 266 w 512"/>
                <a:gd name="T67" fmla="*/ 320 h 512"/>
                <a:gd name="T68" fmla="*/ 256 w 512"/>
                <a:gd name="T69" fmla="*/ 330 h 512"/>
                <a:gd name="T70" fmla="*/ 309 w 512"/>
                <a:gd name="T71" fmla="*/ 416 h 512"/>
                <a:gd name="T72" fmla="*/ 298 w 512"/>
                <a:gd name="T73" fmla="*/ 405 h 512"/>
                <a:gd name="T74" fmla="*/ 309 w 512"/>
                <a:gd name="T75" fmla="*/ 394 h 512"/>
                <a:gd name="T76" fmla="*/ 320 w 512"/>
                <a:gd name="T77" fmla="*/ 405 h 512"/>
                <a:gd name="T78" fmla="*/ 309 w 512"/>
                <a:gd name="T79" fmla="*/ 416 h 512"/>
                <a:gd name="T80" fmla="*/ 320 w 512"/>
                <a:gd name="T81" fmla="*/ 373 h 512"/>
                <a:gd name="T82" fmla="*/ 309 w 512"/>
                <a:gd name="T83" fmla="*/ 362 h 512"/>
                <a:gd name="T84" fmla="*/ 320 w 512"/>
                <a:gd name="T85" fmla="*/ 352 h 512"/>
                <a:gd name="T86" fmla="*/ 330 w 512"/>
                <a:gd name="T87" fmla="*/ 362 h 512"/>
                <a:gd name="T88" fmla="*/ 320 w 512"/>
                <a:gd name="T89" fmla="*/ 373 h 512"/>
                <a:gd name="T90" fmla="*/ 330 w 512"/>
                <a:gd name="T91" fmla="*/ 330 h 512"/>
                <a:gd name="T92" fmla="*/ 320 w 512"/>
                <a:gd name="T93" fmla="*/ 320 h 512"/>
                <a:gd name="T94" fmla="*/ 330 w 512"/>
                <a:gd name="T95" fmla="*/ 309 h 512"/>
                <a:gd name="T96" fmla="*/ 341 w 512"/>
                <a:gd name="T97" fmla="*/ 320 h 512"/>
                <a:gd name="T98" fmla="*/ 330 w 512"/>
                <a:gd name="T99" fmla="*/ 330 h 512"/>
                <a:gd name="T100" fmla="*/ 362 w 512"/>
                <a:gd name="T101" fmla="*/ 288 h 512"/>
                <a:gd name="T102" fmla="*/ 167 w 512"/>
                <a:gd name="T103" fmla="*/ 288 h 512"/>
                <a:gd name="T104" fmla="*/ 96 w 512"/>
                <a:gd name="T105" fmla="*/ 217 h 512"/>
                <a:gd name="T106" fmla="*/ 167 w 512"/>
                <a:gd name="T107" fmla="*/ 146 h 512"/>
                <a:gd name="T108" fmla="*/ 190 w 512"/>
                <a:gd name="T109" fmla="*/ 151 h 512"/>
                <a:gd name="T110" fmla="*/ 272 w 512"/>
                <a:gd name="T111" fmla="*/ 96 h 512"/>
                <a:gd name="T112" fmla="*/ 358 w 512"/>
                <a:gd name="T113" fmla="*/ 181 h 512"/>
                <a:gd name="T114" fmla="*/ 362 w 512"/>
                <a:gd name="T115" fmla="*/ 181 h 512"/>
                <a:gd name="T116" fmla="*/ 416 w 512"/>
                <a:gd name="T117" fmla="*/ 234 h 512"/>
                <a:gd name="T118" fmla="*/ 362 w 512"/>
                <a:gd name="T119" fmla="*/ 28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0" y="416"/>
                  </a:moveTo>
                  <a:cubicBezTo>
                    <a:pt x="154" y="416"/>
                    <a:pt x="149" y="411"/>
                    <a:pt x="149" y="405"/>
                  </a:cubicBezTo>
                  <a:cubicBezTo>
                    <a:pt x="149" y="399"/>
                    <a:pt x="154" y="394"/>
                    <a:pt x="160" y="394"/>
                  </a:cubicBezTo>
                  <a:cubicBezTo>
                    <a:pt x="166" y="394"/>
                    <a:pt x="170" y="399"/>
                    <a:pt x="170" y="405"/>
                  </a:cubicBezTo>
                  <a:cubicBezTo>
                    <a:pt x="170" y="411"/>
                    <a:pt x="166" y="416"/>
                    <a:pt x="160" y="416"/>
                  </a:cubicBezTo>
                  <a:close/>
                  <a:moveTo>
                    <a:pt x="170" y="373"/>
                  </a:moveTo>
                  <a:cubicBezTo>
                    <a:pt x="164" y="373"/>
                    <a:pt x="160" y="368"/>
                    <a:pt x="160" y="362"/>
                  </a:cubicBezTo>
                  <a:cubicBezTo>
                    <a:pt x="160" y="356"/>
                    <a:pt x="164" y="352"/>
                    <a:pt x="170" y="352"/>
                  </a:cubicBezTo>
                  <a:cubicBezTo>
                    <a:pt x="176" y="352"/>
                    <a:pt x="181" y="356"/>
                    <a:pt x="181" y="362"/>
                  </a:cubicBezTo>
                  <a:cubicBezTo>
                    <a:pt x="181" y="368"/>
                    <a:pt x="176" y="373"/>
                    <a:pt x="170" y="373"/>
                  </a:cubicBezTo>
                  <a:close/>
                  <a:moveTo>
                    <a:pt x="181" y="330"/>
                  </a:moveTo>
                  <a:cubicBezTo>
                    <a:pt x="175" y="330"/>
                    <a:pt x="170" y="326"/>
                    <a:pt x="170" y="320"/>
                  </a:cubicBezTo>
                  <a:cubicBezTo>
                    <a:pt x="170" y="314"/>
                    <a:pt x="175" y="309"/>
                    <a:pt x="181" y="309"/>
                  </a:cubicBezTo>
                  <a:cubicBezTo>
                    <a:pt x="187" y="309"/>
                    <a:pt x="192" y="314"/>
                    <a:pt x="192" y="320"/>
                  </a:cubicBezTo>
                  <a:cubicBezTo>
                    <a:pt x="192" y="326"/>
                    <a:pt x="187" y="330"/>
                    <a:pt x="181" y="330"/>
                  </a:cubicBezTo>
                  <a:close/>
                  <a:moveTo>
                    <a:pt x="234" y="416"/>
                  </a:moveTo>
                  <a:cubicBezTo>
                    <a:pt x="228" y="416"/>
                    <a:pt x="224" y="411"/>
                    <a:pt x="224" y="405"/>
                  </a:cubicBezTo>
                  <a:cubicBezTo>
                    <a:pt x="224" y="399"/>
                    <a:pt x="228" y="394"/>
                    <a:pt x="234" y="394"/>
                  </a:cubicBezTo>
                  <a:cubicBezTo>
                    <a:pt x="240" y="394"/>
                    <a:pt x="245" y="399"/>
                    <a:pt x="245" y="405"/>
                  </a:cubicBezTo>
                  <a:cubicBezTo>
                    <a:pt x="245" y="411"/>
                    <a:pt x="240" y="416"/>
                    <a:pt x="234" y="416"/>
                  </a:cubicBezTo>
                  <a:close/>
                  <a:moveTo>
                    <a:pt x="245" y="373"/>
                  </a:moveTo>
                  <a:cubicBezTo>
                    <a:pt x="239" y="373"/>
                    <a:pt x="234" y="368"/>
                    <a:pt x="234" y="362"/>
                  </a:cubicBezTo>
                  <a:cubicBezTo>
                    <a:pt x="234" y="356"/>
                    <a:pt x="239" y="352"/>
                    <a:pt x="245" y="352"/>
                  </a:cubicBezTo>
                  <a:cubicBezTo>
                    <a:pt x="251" y="352"/>
                    <a:pt x="256" y="356"/>
                    <a:pt x="256" y="362"/>
                  </a:cubicBezTo>
                  <a:cubicBezTo>
                    <a:pt x="256" y="368"/>
                    <a:pt x="251" y="373"/>
                    <a:pt x="245" y="373"/>
                  </a:cubicBezTo>
                  <a:close/>
                  <a:moveTo>
                    <a:pt x="256" y="330"/>
                  </a:moveTo>
                  <a:cubicBezTo>
                    <a:pt x="250" y="330"/>
                    <a:pt x="245" y="326"/>
                    <a:pt x="245" y="320"/>
                  </a:cubicBezTo>
                  <a:cubicBezTo>
                    <a:pt x="245" y="314"/>
                    <a:pt x="250" y="309"/>
                    <a:pt x="256" y="309"/>
                  </a:cubicBezTo>
                  <a:cubicBezTo>
                    <a:pt x="262" y="309"/>
                    <a:pt x="266" y="314"/>
                    <a:pt x="266" y="320"/>
                  </a:cubicBezTo>
                  <a:cubicBezTo>
                    <a:pt x="266" y="326"/>
                    <a:pt x="262" y="330"/>
                    <a:pt x="256" y="330"/>
                  </a:cubicBezTo>
                  <a:close/>
                  <a:moveTo>
                    <a:pt x="309" y="416"/>
                  </a:moveTo>
                  <a:cubicBezTo>
                    <a:pt x="303" y="416"/>
                    <a:pt x="298" y="411"/>
                    <a:pt x="298" y="405"/>
                  </a:cubicBezTo>
                  <a:cubicBezTo>
                    <a:pt x="298" y="399"/>
                    <a:pt x="303" y="394"/>
                    <a:pt x="309" y="394"/>
                  </a:cubicBezTo>
                  <a:cubicBezTo>
                    <a:pt x="315" y="394"/>
                    <a:pt x="320" y="399"/>
                    <a:pt x="320" y="405"/>
                  </a:cubicBezTo>
                  <a:cubicBezTo>
                    <a:pt x="320" y="411"/>
                    <a:pt x="315" y="416"/>
                    <a:pt x="309" y="416"/>
                  </a:cubicBezTo>
                  <a:close/>
                  <a:moveTo>
                    <a:pt x="320" y="373"/>
                  </a:moveTo>
                  <a:cubicBezTo>
                    <a:pt x="314" y="373"/>
                    <a:pt x="309" y="368"/>
                    <a:pt x="309" y="362"/>
                  </a:cubicBezTo>
                  <a:cubicBezTo>
                    <a:pt x="309" y="356"/>
                    <a:pt x="314" y="352"/>
                    <a:pt x="320" y="352"/>
                  </a:cubicBezTo>
                  <a:cubicBezTo>
                    <a:pt x="326" y="352"/>
                    <a:pt x="330" y="356"/>
                    <a:pt x="330" y="362"/>
                  </a:cubicBezTo>
                  <a:cubicBezTo>
                    <a:pt x="330" y="368"/>
                    <a:pt x="326" y="373"/>
                    <a:pt x="320" y="373"/>
                  </a:cubicBezTo>
                  <a:close/>
                  <a:moveTo>
                    <a:pt x="330" y="330"/>
                  </a:moveTo>
                  <a:cubicBezTo>
                    <a:pt x="324" y="330"/>
                    <a:pt x="320" y="326"/>
                    <a:pt x="320" y="320"/>
                  </a:cubicBezTo>
                  <a:cubicBezTo>
                    <a:pt x="320" y="314"/>
                    <a:pt x="324" y="309"/>
                    <a:pt x="330" y="309"/>
                  </a:cubicBezTo>
                  <a:cubicBezTo>
                    <a:pt x="336" y="309"/>
                    <a:pt x="341" y="314"/>
                    <a:pt x="341" y="320"/>
                  </a:cubicBezTo>
                  <a:cubicBezTo>
                    <a:pt x="341" y="326"/>
                    <a:pt x="336" y="330"/>
                    <a:pt x="330" y="330"/>
                  </a:cubicBezTo>
                  <a:close/>
                  <a:moveTo>
                    <a:pt x="362" y="288"/>
                  </a:moveTo>
                  <a:cubicBezTo>
                    <a:pt x="167" y="288"/>
                    <a:pt x="167" y="288"/>
                    <a:pt x="167" y="288"/>
                  </a:cubicBezTo>
                  <a:cubicBezTo>
                    <a:pt x="127" y="288"/>
                    <a:pt x="96" y="256"/>
                    <a:pt x="96" y="217"/>
                  </a:cubicBezTo>
                  <a:cubicBezTo>
                    <a:pt x="96" y="178"/>
                    <a:pt x="127" y="146"/>
                    <a:pt x="167" y="146"/>
                  </a:cubicBezTo>
                  <a:cubicBezTo>
                    <a:pt x="176" y="146"/>
                    <a:pt x="183" y="148"/>
                    <a:pt x="190" y="151"/>
                  </a:cubicBezTo>
                  <a:cubicBezTo>
                    <a:pt x="203" y="118"/>
                    <a:pt x="235" y="96"/>
                    <a:pt x="272" y="96"/>
                  </a:cubicBezTo>
                  <a:cubicBezTo>
                    <a:pt x="319" y="96"/>
                    <a:pt x="358" y="134"/>
                    <a:pt x="358" y="181"/>
                  </a:cubicBezTo>
                  <a:cubicBezTo>
                    <a:pt x="359" y="181"/>
                    <a:pt x="361" y="181"/>
                    <a:pt x="362" y="181"/>
                  </a:cubicBezTo>
                  <a:cubicBezTo>
                    <a:pt x="392" y="181"/>
                    <a:pt x="416" y="205"/>
                    <a:pt x="416" y="234"/>
                  </a:cubicBezTo>
                  <a:cubicBezTo>
                    <a:pt x="416" y="264"/>
                    <a:pt x="392" y="288"/>
                    <a:pt x="362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6" name="Group 128"/>
          <p:cNvGrpSpPr>
            <a:grpSpLocks noChangeAspect="1"/>
          </p:cNvGrpSpPr>
          <p:nvPr/>
        </p:nvGrpSpPr>
        <p:grpSpPr bwMode="auto">
          <a:xfrm>
            <a:off x="3914231" y="2051054"/>
            <a:ext cx="368120" cy="367041"/>
            <a:chOff x="2963" y="475"/>
            <a:chExt cx="341" cy="340"/>
          </a:xfrm>
          <a:solidFill>
            <a:schemeClr val="accent2"/>
          </a:solidFill>
        </p:grpSpPr>
        <p:sp>
          <p:nvSpPr>
            <p:cNvPr id="297" name="Freeform 129"/>
            <p:cNvSpPr>
              <a:spLocks noEditPoints="1"/>
            </p:cNvSpPr>
            <p:nvPr/>
          </p:nvSpPr>
          <p:spPr bwMode="auto">
            <a:xfrm>
              <a:off x="3027" y="539"/>
              <a:ext cx="213" cy="212"/>
            </a:xfrm>
            <a:custGeom>
              <a:avLst/>
              <a:gdLst>
                <a:gd name="T0" fmla="*/ 262 w 320"/>
                <a:gd name="T1" fmla="*/ 85 h 320"/>
                <a:gd name="T2" fmla="*/ 94 w 320"/>
                <a:gd name="T3" fmla="*/ 55 h 320"/>
                <a:gd name="T4" fmla="*/ 0 w 320"/>
                <a:gd name="T5" fmla="*/ 121 h 320"/>
                <a:gd name="T6" fmla="*/ 266 w 320"/>
                <a:gd name="T7" fmla="*/ 192 h 320"/>
                <a:gd name="T8" fmla="*/ 266 w 320"/>
                <a:gd name="T9" fmla="*/ 85 h 320"/>
                <a:gd name="T10" fmla="*/ 71 w 320"/>
                <a:gd name="T11" fmla="*/ 170 h 320"/>
                <a:gd name="T12" fmla="*/ 71 w 320"/>
                <a:gd name="T13" fmla="*/ 71 h 320"/>
                <a:gd name="T14" fmla="*/ 105 w 320"/>
                <a:gd name="T15" fmla="*/ 80 h 320"/>
                <a:gd name="T16" fmla="*/ 176 w 320"/>
                <a:gd name="T17" fmla="*/ 21 h 320"/>
                <a:gd name="T18" fmla="*/ 240 w 320"/>
                <a:gd name="T19" fmla="*/ 95 h 320"/>
                <a:gd name="T20" fmla="*/ 257 w 320"/>
                <a:gd name="T21" fmla="*/ 108 h 320"/>
                <a:gd name="T22" fmla="*/ 298 w 320"/>
                <a:gd name="T23" fmla="*/ 138 h 320"/>
                <a:gd name="T24" fmla="*/ 96 w 320"/>
                <a:gd name="T25" fmla="*/ 224 h 320"/>
                <a:gd name="T26" fmla="*/ 74 w 320"/>
                <a:gd name="T27" fmla="*/ 224 h 320"/>
                <a:gd name="T28" fmla="*/ 96 w 320"/>
                <a:gd name="T29" fmla="*/ 224 h 320"/>
                <a:gd name="T30" fmla="*/ 160 w 320"/>
                <a:gd name="T31" fmla="*/ 234 h 320"/>
                <a:gd name="T32" fmla="*/ 160 w 320"/>
                <a:gd name="T33" fmla="*/ 213 h 320"/>
                <a:gd name="T34" fmla="*/ 245 w 320"/>
                <a:gd name="T35" fmla="*/ 224 h 320"/>
                <a:gd name="T36" fmla="*/ 224 w 320"/>
                <a:gd name="T37" fmla="*/ 224 h 320"/>
                <a:gd name="T38" fmla="*/ 245 w 320"/>
                <a:gd name="T39" fmla="*/ 224 h 320"/>
                <a:gd name="T40" fmla="*/ 74 w 320"/>
                <a:gd name="T41" fmla="*/ 277 h 320"/>
                <a:gd name="T42" fmla="*/ 74 w 320"/>
                <a:gd name="T43" fmla="*/ 256 h 320"/>
                <a:gd name="T44" fmla="*/ 160 w 320"/>
                <a:gd name="T45" fmla="*/ 266 h 320"/>
                <a:gd name="T46" fmla="*/ 138 w 320"/>
                <a:gd name="T47" fmla="*/ 266 h 320"/>
                <a:gd name="T48" fmla="*/ 160 w 320"/>
                <a:gd name="T49" fmla="*/ 266 h 320"/>
                <a:gd name="T50" fmla="*/ 224 w 320"/>
                <a:gd name="T51" fmla="*/ 277 h 320"/>
                <a:gd name="T52" fmla="*/ 224 w 320"/>
                <a:gd name="T53" fmla="*/ 256 h 320"/>
                <a:gd name="T54" fmla="*/ 74 w 320"/>
                <a:gd name="T55" fmla="*/ 309 h 320"/>
                <a:gd name="T56" fmla="*/ 53 w 320"/>
                <a:gd name="T57" fmla="*/ 309 h 320"/>
                <a:gd name="T58" fmla="*/ 74 w 320"/>
                <a:gd name="T59" fmla="*/ 309 h 320"/>
                <a:gd name="T60" fmla="*/ 138 w 320"/>
                <a:gd name="T61" fmla="*/ 320 h 320"/>
                <a:gd name="T62" fmla="*/ 138 w 320"/>
                <a:gd name="T63" fmla="*/ 298 h 320"/>
                <a:gd name="T64" fmla="*/ 224 w 320"/>
                <a:gd name="T65" fmla="*/ 309 h 320"/>
                <a:gd name="T66" fmla="*/ 202 w 320"/>
                <a:gd name="T67" fmla="*/ 309 h 320"/>
                <a:gd name="T68" fmla="*/ 224 w 320"/>
                <a:gd name="T69" fmla="*/ 30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320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5"/>
                    <a:pt x="240" y="95"/>
                  </a:cubicBezTo>
                  <a:cubicBezTo>
                    <a:pt x="238" y="102"/>
                    <a:pt x="239" y="107"/>
                    <a:pt x="244" y="110"/>
                  </a:cubicBezTo>
                  <a:cubicBezTo>
                    <a:pt x="248" y="112"/>
                    <a:pt x="254" y="111"/>
                    <a:pt x="257" y="108"/>
                  </a:cubicBezTo>
                  <a:cubicBezTo>
                    <a:pt x="258" y="107"/>
                    <a:pt x="262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  <a:moveTo>
                    <a:pt x="96" y="224"/>
                  </a:moveTo>
                  <a:cubicBezTo>
                    <a:pt x="96" y="230"/>
                    <a:pt x="91" y="234"/>
                    <a:pt x="85" y="234"/>
                  </a:cubicBezTo>
                  <a:cubicBezTo>
                    <a:pt x="79" y="234"/>
                    <a:pt x="74" y="230"/>
                    <a:pt x="74" y="224"/>
                  </a:cubicBezTo>
                  <a:cubicBezTo>
                    <a:pt x="74" y="218"/>
                    <a:pt x="79" y="213"/>
                    <a:pt x="85" y="213"/>
                  </a:cubicBezTo>
                  <a:cubicBezTo>
                    <a:pt x="91" y="213"/>
                    <a:pt x="96" y="218"/>
                    <a:pt x="96" y="224"/>
                  </a:cubicBezTo>
                  <a:close/>
                  <a:moveTo>
                    <a:pt x="170" y="224"/>
                  </a:moveTo>
                  <a:cubicBezTo>
                    <a:pt x="170" y="230"/>
                    <a:pt x="166" y="234"/>
                    <a:pt x="160" y="234"/>
                  </a:cubicBezTo>
                  <a:cubicBezTo>
                    <a:pt x="154" y="234"/>
                    <a:pt x="149" y="230"/>
                    <a:pt x="149" y="224"/>
                  </a:cubicBezTo>
                  <a:cubicBezTo>
                    <a:pt x="149" y="218"/>
                    <a:pt x="154" y="213"/>
                    <a:pt x="160" y="213"/>
                  </a:cubicBezTo>
                  <a:cubicBezTo>
                    <a:pt x="166" y="213"/>
                    <a:pt x="170" y="218"/>
                    <a:pt x="170" y="224"/>
                  </a:cubicBezTo>
                  <a:close/>
                  <a:moveTo>
                    <a:pt x="245" y="224"/>
                  </a:moveTo>
                  <a:cubicBezTo>
                    <a:pt x="245" y="230"/>
                    <a:pt x="240" y="234"/>
                    <a:pt x="234" y="234"/>
                  </a:cubicBezTo>
                  <a:cubicBezTo>
                    <a:pt x="228" y="234"/>
                    <a:pt x="224" y="230"/>
                    <a:pt x="224" y="224"/>
                  </a:cubicBezTo>
                  <a:cubicBezTo>
                    <a:pt x="224" y="218"/>
                    <a:pt x="228" y="213"/>
                    <a:pt x="234" y="213"/>
                  </a:cubicBezTo>
                  <a:cubicBezTo>
                    <a:pt x="240" y="213"/>
                    <a:pt x="245" y="218"/>
                    <a:pt x="245" y="224"/>
                  </a:cubicBezTo>
                  <a:close/>
                  <a:moveTo>
                    <a:pt x="85" y="266"/>
                  </a:moveTo>
                  <a:cubicBezTo>
                    <a:pt x="85" y="272"/>
                    <a:pt x="80" y="277"/>
                    <a:pt x="74" y="277"/>
                  </a:cubicBezTo>
                  <a:cubicBezTo>
                    <a:pt x="68" y="277"/>
                    <a:pt x="64" y="272"/>
                    <a:pt x="64" y="266"/>
                  </a:cubicBezTo>
                  <a:cubicBezTo>
                    <a:pt x="64" y="260"/>
                    <a:pt x="68" y="256"/>
                    <a:pt x="74" y="256"/>
                  </a:cubicBezTo>
                  <a:cubicBezTo>
                    <a:pt x="80" y="256"/>
                    <a:pt x="85" y="260"/>
                    <a:pt x="85" y="266"/>
                  </a:cubicBezTo>
                  <a:close/>
                  <a:moveTo>
                    <a:pt x="160" y="266"/>
                  </a:moveTo>
                  <a:cubicBezTo>
                    <a:pt x="160" y="272"/>
                    <a:pt x="155" y="277"/>
                    <a:pt x="149" y="277"/>
                  </a:cubicBezTo>
                  <a:cubicBezTo>
                    <a:pt x="143" y="277"/>
                    <a:pt x="138" y="272"/>
                    <a:pt x="138" y="266"/>
                  </a:cubicBezTo>
                  <a:cubicBezTo>
                    <a:pt x="138" y="260"/>
                    <a:pt x="143" y="256"/>
                    <a:pt x="149" y="256"/>
                  </a:cubicBezTo>
                  <a:cubicBezTo>
                    <a:pt x="155" y="256"/>
                    <a:pt x="160" y="260"/>
                    <a:pt x="160" y="266"/>
                  </a:cubicBezTo>
                  <a:close/>
                  <a:moveTo>
                    <a:pt x="234" y="266"/>
                  </a:moveTo>
                  <a:cubicBezTo>
                    <a:pt x="234" y="272"/>
                    <a:pt x="230" y="277"/>
                    <a:pt x="224" y="277"/>
                  </a:cubicBezTo>
                  <a:cubicBezTo>
                    <a:pt x="218" y="277"/>
                    <a:pt x="213" y="272"/>
                    <a:pt x="213" y="266"/>
                  </a:cubicBezTo>
                  <a:cubicBezTo>
                    <a:pt x="213" y="260"/>
                    <a:pt x="218" y="256"/>
                    <a:pt x="224" y="256"/>
                  </a:cubicBezTo>
                  <a:cubicBezTo>
                    <a:pt x="230" y="256"/>
                    <a:pt x="234" y="260"/>
                    <a:pt x="234" y="266"/>
                  </a:cubicBezTo>
                  <a:close/>
                  <a:moveTo>
                    <a:pt x="74" y="309"/>
                  </a:moveTo>
                  <a:cubicBezTo>
                    <a:pt x="74" y="315"/>
                    <a:pt x="70" y="320"/>
                    <a:pt x="64" y="320"/>
                  </a:cubicBezTo>
                  <a:cubicBezTo>
                    <a:pt x="58" y="320"/>
                    <a:pt x="53" y="315"/>
                    <a:pt x="53" y="309"/>
                  </a:cubicBezTo>
                  <a:cubicBezTo>
                    <a:pt x="53" y="303"/>
                    <a:pt x="58" y="298"/>
                    <a:pt x="64" y="298"/>
                  </a:cubicBezTo>
                  <a:cubicBezTo>
                    <a:pt x="70" y="298"/>
                    <a:pt x="74" y="303"/>
                    <a:pt x="74" y="309"/>
                  </a:cubicBezTo>
                  <a:close/>
                  <a:moveTo>
                    <a:pt x="149" y="309"/>
                  </a:moveTo>
                  <a:cubicBezTo>
                    <a:pt x="149" y="315"/>
                    <a:pt x="144" y="320"/>
                    <a:pt x="138" y="320"/>
                  </a:cubicBezTo>
                  <a:cubicBezTo>
                    <a:pt x="132" y="320"/>
                    <a:pt x="128" y="315"/>
                    <a:pt x="128" y="309"/>
                  </a:cubicBezTo>
                  <a:cubicBezTo>
                    <a:pt x="128" y="303"/>
                    <a:pt x="132" y="298"/>
                    <a:pt x="138" y="298"/>
                  </a:cubicBezTo>
                  <a:cubicBezTo>
                    <a:pt x="144" y="298"/>
                    <a:pt x="149" y="303"/>
                    <a:pt x="149" y="309"/>
                  </a:cubicBezTo>
                  <a:close/>
                  <a:moveTo>
                    <a:pt x="224" y="309"/>
                  </a:moveTo>
                  <a:cubicBezTo>
                    <a:pt x="224" y="315"/>
                    <a:pt x="219" y="320"/>
                    <a:pt x="213" y="320"/>
                  </a:cubicBezTo>
                  <a:cubicBezTo>
                    <a:pt x="207" y="320"/>
                    <a:pt x="202" y="315"/>
                    <a:pt x="202" y="309"/>
                  </a:cubicBezTo>
                  <a:cubicBezTo>
                    <a:pt x="202" y="303"/>
                    <a:pt x="207" y="298"/>
                    <a:pt x="213" y="298"/>
                  </a:cubicBezTo>
                  <a:cubicBezTo>
                    <a:pt x="219" y="298"/>
                    <a:pt x="224" y="303"/>
                    <a:pt x="224" y="3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130"/>
            <p:cNvSpPr>
              <a:spLocks noEditPoints="1"/>
            </p:cNvSpPr>
            <p:nvPr/>
          </p:nvSpPr>
          <p:spPr bwMode="auto">
            <a:xfrm>
              <a:off x="2963" y="47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9" name="Group 257"/>
          <p:cNvGrpSpPr>
            <a:grpSpLocks noChangeAspect="1"/>
          </p:cNvGrpSpPr>
          <p:nvPr/>
        </p:nvGrpSpPr>
        <p:grpSpPr bwMode="auto">
          <a:xfrm>
            <a:off x="4908112" y="2051054"/>
            <a:ext cx="367041" cy="367041"/>
            <a:chOff x="5413" y="732"/>
            <a:chExt cx="340" cy="340"/>
          </a:xfrm>
          <a:solidFill>
            <a:schemeClr val="accent3"/>
          </a:solidFill>
        </p:grpSpPr>
        <p:sp>
          <p:nvSpPr>
            <p:cNvPr id="300" name="Freeform 258"/>
            <p:cNvSpPr>
              <a:spLocks noEditPoints="1"/>
            </p:cNvSpPr>
            <p:nvPr/>
          </p:nvSpPr>
          <p:spPr bwMode="auto">
            <a:xfrm>
              <a:off x="5477" y="796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3 w 320"/>
                <a:gd name="T43" fmla="*/ 109 h 192"/>
                <a:gd name="T44" fmla="*/ 256 w 320"/>
                <a:gd name="T45" fmla="*/ 109 h 192"/>
                <a:gd name="T46" fmla="*/ 260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7"/>
                    <a:pt x="237" y="105"/>
                    <a:pt x="243" y="109"/>
                  </a:cubicBezTo>
                  <a:cubicBezTo>
                    <a:pt x="247" y="112"/>
                    <a:pt x="252" y="112"/>
                    <a:pt x="256" y="109"/>
                  </a:cubicBezTo>
                  <a:cubicBezTo>
                    <a:pt x="257" y="108"/>
                    <a:pt x="259" y="108"/>
                    <a:pt x="260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259"/>
            <p:cNvSpPr>
              <a:spLocks/>
            </p:cNvSpPr>
            <p:nvPr/>
          </p:nvSpPr>
          <p:spPr bwMode="auto">
            <a:xfrm>
              <a:off x="5511" y="937"/>
              <a:ext cx="30" cy="71"/>
            </a:xfrm>
            <a:custGeom>
              <a:avLst/>
              <a:gdLst>
                <a:gd name="T0" fmla="*/ 36 w 45"/>
                <a:gd name="T1" fmla="*/ 1 h 108"/>
                <a:gd name="T2" fmla="*/ 23 w 45"/>
                <a:gd name="T3" fmla="*/ 9 h 108"/>
                <a:gd name="T4" fmla="*/ 1 w 45"/>
                <a:gd name="T5" fmla="*/ 94 h 108"/>
                <a:gd name="T6" fmla="*/ 9 w 45"/>
                <a:gd name="T7" fmla="*/ 107 h 108"/>
                <a:gd name="T8" fmla="*/ 12 w 45"/>
                <a:gd name="T9" fmla="*/ 108 h 108"/>
                <a:gd name="T10" fmla="*/ 22 w 45"/>
                <a:gd name="T11" fmla="*/ 100 h 108"/>
                <a:gd name="T12" fmla="*/ 43 w 45"/>
                <a:gd name="T13" fmla="*/ 14 h 108"/>
                <a:gd name="T14" fmla="*/ 36 w 45"/>
                <a:gd name="T15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08">
                  <a:moveTo>
                    <a:pt x="36" y="1"/>
                  </a:moveTo>
                  <a:cubicBezTo>
                    <a:pt x="30" y="0"/>
                    <a:pt x="24" y="3"/>
                    <a:pt x="23" y="9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0" y="100"/>
                    <a:pt x="3" y="106"/>
                    <a:pt x="9" y="107"/>
                  </a:cubicBezTo>
                  <a:cubicBezTo>
                    <a:pt x="10" y="108"/>
                    <a:pt x="11" y="108"/>
                    <a:pt x="12" y="108"/>
                  </a:cubicBezTo>
                  <a:cubicBezTo>
                    <a:pt x="16" y="108"/>
                    <a:pt x="21" y="104"/>
                    <a:pt x="22" y="10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5" y="9"/>
                    <a:pt x="41" y="3"/>
                    <a:pt x="3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260"/>
            <p:cNvSpPr>
              <a:spLocks/>
            </p:cNvSpPr>
            <p:nvPr/>
          </p:nvSpPr>
          <p:spPr bwMode="auto">
            <a:xfrm>
              <a:off x="5561" y="937"/>
              <a:ext cx="29" cy="71"/>
            </a:xfrm>
            <a:custGeom>
              <a:avLst/>
              <a:gdLst>
                <a:gd name="T0" fmla="*/ 35 w 44"/>
                <a:gd name="T1" fmla="*/ 1 h 108"/>
                <a:gd name="T2" fmla="*/ 22 w 44"/>
                <a:gd name="T3" fmla="*/ 9 h 108"/>
                <a:gd name="T4" fmla="*/ 1 w 44"/>
                <a:gd name="T5" fmla="*/ 94 h 108"/>
                <a:gd name="T6" fmla="*/ 9 w 44"/>
                <a:gd name="T7" fmla="*/ 107 h 108"/>
                <a:gd name="T8" fmla="*/ 11 w 44"/>
                <a:gd name="T9" fmla="*/ 108 h 108"/>
                <a:gd name="T10" fmla="*/ 22 w 44"/>
                <a:gd name="T11" fmla="*/ 100 h 108"/>
                <a:gd name="T12" fmla="*/ 43 w 44"/>
                <a:gd name="T13" fmla="*/ 14 h 108"/>
                <a:gd name="T14" fmla="*/ 35 w 44"/>
                <a:gd name="T15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08">
                  <a:moveTo>
                    <a:pt x="35" y="1"/>
                  </a:moveTo>
                  <a:cubicBezTo>
                    <a:pt x="30" y="0"/>
                    <a:pt x="24" y="3"/>
                    <a:pt x="22" y="9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0" y="100"/>
                    <a:pt x="3" y="106"/>
                    <a:pt x="9" y="107"/>
                  </a:cubicBezTo>
                  <a:cubicBezTo>
                    <a:pt x="10" y="108"/>
                    <a:pt x="10" y="108"/>
                    <a:pt x="11" y="108"/>
                  </a:cubicBezTo>
                  <a:cubicBezTo>
                    <a:pt x="16" y="108"/>
                    <a:pt x="20" y="104"/>
                    <a:pt x="22" y="10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4" y="9"/>
                    <a:pt x="41" y="3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261"/>
            <p:cNvSpPr>
              <a:spLocks/>
            </p:cNvSpPr>
            <p:nvPr/>
          </p:nvSpPr>
          <p:spPr bwMode="auto">
            <a:xfrm>
              <a:off x="5610" y="937"/>
              <a:ext cx="30" cy="71"/>
            </a:xfrm>
            <a:custGeom>
              <a:avLst/>
              <a:gdLst>
                <a:gd name="T0" fmla="*/ 36 w 45"/>
                <a:gd name="T1" fmla="*/ 1 h 108"/>
                <a:gd name="T2" fmla="*/ 23 w 45"/>
                <a:gd name="T3" fmla="*/ 9 h 108"/>
                <a:gd name="T4" fmla="*/ 2 w 45"/>
                <a:gd name="T5" fmla="*/ 94 h 108"/>
                <a:gd name="T6" fmla="*/ 9 w 45"/>
                <a:gd name="T7" fmla="*/ 107 h 108"/>
                <a:gd name="T8" fmla="*/ 12 w 45"/>
                <a:gd name="T9" fmla="*/ 108 h 108"/>
                <a:gd name="T10" fmla="*/ 22 w 45"/>
                <a:gd name="T11" fmla="*/ 100 h 108"/>
                <a:gd name="T12" fmla="*/ 44 w 45"/>
                <a:gd name="T13" fmla="*/ 14 h 108"/>
                <a:gd name="T14" fmla="*/ 36 w 45"/>
                <a:gd name="T15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08">
                  <a:moveTo>
                    <a:pt x="36" y="1"/>
                  </a:moveTo>
                  <a:cubicBezTo>
                    <a:pt x="30" y="0"/>
                    <a:pt x="24" y="3"/>
                    <a:pt x="23" y="9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00"/>
                    <a:pt x="4" y="106"/>
                    <a:pt x="9" y="107"/>
                  </a:cubicBezTo>
                  <a:cubicBezTo>
                    <a:pt x="10" y="108"/>
                    <a:pt x="11" y="108"/>
                    <a:pt x="12" y="108"/>
                  </a:cubicBezTo>
                  <a:cubicBezTo>
                    <a:pt x="17" y="108"/>
                    <a:pt x="21" y="104"/>
                    <a:pt x="22" y="100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5" y="9"/>
                    <a:pt x="42" y="3"/>
                    <a:pt x="3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262"/>
            <p:cNvSpPr>
              <a:spLocks noEditPoints="1"/>
            </p:cNvSpPr>
            <p:nvPr/>
          </p:nvSpPr>
          <p:spPr bwMode="auto">
            <a:xfrm>
              <a:off x="5413" y="7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266"/>
          <p:cNvSpPr>
            <a:spLocks noChangeAspect="1" noEditPoints="1"/>
          </p:cNvSpPr>
          <p:nvPr/>
        </p:nvSpPr>
        <p:spPr bwMode="auto">
          <a:xfrm>
            <a:off x="4411711" y="2051054"/>
            <a:ext cx="367041" cy="367041"/>
          </a:xfrm>
          <a:custGeom>
            <a:avLst/>
            <a:gdLst>
              <a:gd name="T0" fmla="*/ 394 w 512"/>
              <a:gd name="T1" fmla="*/ 234 h 512"/>
              <a:gd name="T2" fmla="*/ 362 w 512"/>
              <a:gd name="T3" fmla="*/ 266 h 512"/>
              <a:gd name="T4" fmla="*/ 167 w 512"/>
              <a:gd name="T5" fmla="*/ 266 h 512"/>
              <a:gd name="T6" fmla="*/ 117 w 512"/>
              <a:gd name="T7" fmla="*/ 217 h 512"/>
              <a:gd name="T8" fmla="*/ 167 w 512"/>
              <a:gd name="T9" fmla="*/ 167 h 512"/>
              <a:gd name="T10" fmla="*/ 191 w 512"/>
              <a:gd name="T11" fmla="*/ 175 h 512"/>
              <a:gd name="T12" fmla="*/ 201 w 512"/>
              <a:gd name="T13" fmla="*/ 176 h 512"/>
              <a:gd name="T14" fmla="*/ 207 w 512"/>
              <a:gd name="T15" fmla="*/ 169 h 512"/>
              <a:gd name="T16" fmla="*/ 272 w 512"/>
              <a:gd name="T17" fmla="*/ 117 h 512"/>
              <a:gd name="T18" fmla="*/ 337 w 512"/>
              <a:gd name="T19" fmla="*/ 182 h 512"/>
              <a:gd name="T20" fmla="*/ 336 w 512"/>
              <a:gd name="T21" fmla="*/ 190 h 512"/>
              <a:gd name="T22" fmla="*/ 336 w 512"/>
              <a:gd name="T23" fmla="*/ 191 h 512"/>
              <a:gd name="T24" fmla="*/ 339 w 512"/>
              <a:gd name="T25" fmla="*/ 205 h 512"/>
              <a:gd name="T26" fmla="*/ 352 w 512"/>
              <a:gd name="T27" fmla="*/ 205 h 512"/>
              <a:gd name="T28" fmla="*/ 356 w 512"/>
              <a:gd name="T29" fmla="*/ 203 h 512"/>
              <a:gd name="T30" fmla="*/ 362 w 512"/>
              <a:gd name="T31" fmla="*/ 202 h 512"/>
              <a:gd name="T32" fmla="*/ 394 w 512"/>
              <a:gd name="T33" fmla="*/ 23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184 w 512"/>
              <a:gd name="T45" fmla="*/ 309 h 512"/>
              <a:gd name="T46" fmla="*/ 171 w 512"/>
              <a:gd name="T47" fmla="*/ 317 h 512"/>
              <a:gd name="T48" fmla="*/ 149 w 512"/>
              <a:gd name="T49" fmla="*/ 402 h 512"/>
              <a:gd name="T50" fmla="*/ 157 w 512"/>
              <a:gd name="T51" fmla="*/ 415 h 512"/>
              <a:gd name="T52" fmla="*/ 160 w 512"/>
              <a:gd name="T53" fmla="*/ 416 h 512"/>
              <a:gd name="T54" fmla="*/ 170 w 512"/>
              <a:gd name="T55" fmla="*/ 408 h 512"/>
              <a:gd name="T56" fmla="*/ 191 w 512"/>
              <a:gd name="T57" fmla="*/ 322 h 512"/>
              <a:gd name="T58" fmla="*/ 184 w 512"/>
              <a:gd name="T59" fmla="*/ 309 h 512"/>
              <a:gd name="T60" fmla="*/ 258 w 512"/>
              <a:gd name="T61" fmla="*/ 309 h 512"/>
              <a:gd name="T62" fmla="*/ 245 w 512"/>
              <a:gd name="T63" fmla="*/ 317 h 512"/>
              <a:gd name="T64" fmla="*/ 224 w 512"/>
              <a:gd name="T65" fmla="*/ 402 h 512"/>
              <a:gd name="T66" fmla="*/ 232 w 512"/>
              <a:gd name="T67" fmla="*/ 415 h 512"/>
              <a:gd name="T68" fmla="*/ 234 w 512"/>
              <a:gd name="T69" fmla="*/ 416 h 512"/>
              <a:gd name="T70" fmla="*/ 245 w 512"/>
              <a:gd name="T71" fmla="*/ 408 h 512"/>
              <a:gd name="T72" fmla="*/ 266 w 512"/>
              <a:gd name="T73" fmla="*/ 322 h 512"/>
              <a:gd name="T74" fmla="*/ 258 w 512"/>
              <a:gd name="T75" fmla="*/ 309 h 512"/>
              <a:gd name="T76" fmla="*/ 333 w 512"/>
              <a:gd name="T77" fmla="*/ 309 h 512"/>
              <a:gd name="T78" fmla="*/ 320 w 512"/>
              <a:gd name="T79" fmla="*/ 317 h 512"/>
              <a:gd name="T80" fmla="*/ 299 w 512"/>
              <a:gd name="T81" fmla="*/ 402 h 512"/>
              <a:gd name="T82" fmla="*/ 306 w 512"/>
              <a:gd name="T83" fmla="*/ 415 h 512"/>
              <a:gd name="T84" fmla="*/ 309 w 512"/>
              <a:gd name="T85" fmla="*/ 416 h 512"/>
              <a:gd name="T86" fmla="*/ 319 w 512"/>
              <a:gd name="T87" fmla="*/ 408 h 512"/>
              <a:gd name="T88" fmla="*/ 341 w 512"/>
              <a:gd name="T89" fmla="*/ 322 h 512"/>
              <a:gd name="T90" fmla="*/ 333 w 512"/>
              <a:gd name="T91" fmla="*/ 309 h 512"/>
              <a:gd name="T92" fmla="*/ 416 w 512"/>
              <a:gd name="T93" fmla="*/ 234 h 512"/>
              <a:gd name="T94" fmla="*/ 362 w 512"/>
              <a:gd name="T95" fmla="*/ 181 h 512"/>
              <a:gd name="T96" fmla="*/ 358 w 512"/>
              <a:gd name="T97" fmla="*/ 181 h 512"/>
              <a:gd name="T98" fmla="*/ 272 w 512"/>
              <a:gd name="T99" fmla="*/ 96 h 512"/>
              <a:gd name="T100" fmla="*/ 190 w 512"/>
              <a:gd name="T101" fmla="*/ 151 h 512"/>
              <a:gd name="T102" fmla="*/ 167 w 512"/>
              <a:gd name="T103" fmla="*/ 146 h 512"/>
              <a:gd name="T104" fmla="*/ 96 w 512"/>
              <a:gd name="T105" fmla="*/ 217 h 512"/>
              <a:gd name="T106" fmla="*/ 167 w 512"/>
              <a:gd name="T107" fmla="*/ 288 h 512"/>
              <a:gd name="T108" fmla="*/ 362 w 512"/>
              <a:gd name="T109" fmla="*/ 288 h 512"/>
              <a:gd name="T110" fmla="*/ 416 w 512"/>
              <a:gd name="T111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94" y="234"/>
                </a:moveTo>
                <a:cubicBezTo>
                  <a:pt x="394" y="252"/>
                  <a:pt x="380" y="266"/>
                  <a:pt x="362" y="266"/>
                </a:cubicBezTo>
                <a:cubicBezTo>
                  <a:pt x="167" y="266"/>
                  <a:pt x="167" y="266"/>
                  <a:pt x="167" y="266"/>
                </a:cubicBezTo>
                <a:cubicBezTo>
                  <a:pt x="139" y="266"/>
                  <a:pt x="117" y="244"/>
                  <a:pt x="117" y="217"/>
                </a:cubicBezTo>
                <a:cubicBezTo>
                  <a:pt x="117" y="189"/>
                  <a:pt x="139" y="167"/>
                  <a:pt x="167" y="167"/>
                </a:cubicBezTo>
                <a:cubicBezTo>
                  <a:pt x="176" y="167"/>
                  <a:pt x="183" y="170"/>
                  <a:pt x="191" y="175"/>
                </a:cubicBezTo>
                <a:cubicBezTo>
                  <a:pt x="194" y="177"/>
                  <a:pt x="197" y="178"/>
                  <a:pt x="201" y="176"/>
                </a:cubicBezTo>
                <a:cubicBezTo>
                  <a:pt x="204" y="175"/>
                  <a:pt x="206" y="172"/>
                  <a:pt x="207" y="169"/>
                </a:cubicBezTo>
                <a:cubicBezTo>
                  <a:pt x="213" y="139"/>
                  <a:pt x="241" y="117"/>
                  <a:pt x="272" y="117"/>
                </a:cubicBezTo>
                <a:cubicBezTo>
                  <a:pt x="308" y="117"/>
                  <a:pt x="337" y="146"/>
                  <a:pt x="337" y="182"/>
                </a:cubicBezTo>
                <a:cubicBezTo>
                  <a:pt x="337" y="185"/>
                  <a:pt x="336" y="187"/>
                  <a:pt x="336" y="190"/>
                </a:cubicBezTo>
                <a:cubicBezTo>
                  <a:pt x="336" y="191"/>
                  <a:pt x="336" y="191"/>
                  <a:pt x="336" y="191"/>
                </a:cubicBezTo>
                <a:cubicBezTo>
                  <a:pt x="335" y="193"/>
                  <a:pt x="333" y="201"/>
                  <a:pt x="339" y="205"/>
                </a:cubicBezTo>
                <a:cubicBezTo>
                  <a:pt x="343" y="208"/>
                  <a:pt x="348" y="208"/>
                  <a:pt x="352" y="205"/>
                </a:cubicBezTo>
                <a:cubicBezTo>
                  <a:pt x="353" y="204"/>
                  <a:pt x="355" y="204"/>
                  <a:pt x="356" y="203"/>
                </a:cubicBezTo>
                <a:cubicBezTo>
                  <a:pt x="358" y="203"/>
                  <a:pt x="360" y="202"/>
                  <a:pt x="362" y="202"/>
                </a:cubicBezTo>
                <a:cubicBezTo>
                  <a:pt x="380" y="202"/>
                  <a:pt x="394" y="217"/>
                  <a:pt x="394" y="23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4" y="309"/>
                </a:moveTo>
                <a:cubicBezTo>
                  <a:pt x="178" y="308"/>
                  <a:pt x="172" y="311"/>
                  <a:pt x="171" y="317"/>
                </a:cubicBezTo>
                <a:cubicBezTo>
                  <a:pt x="149" y="402"/>
                  <a:pt x="149" y="402"/>
                  <a:pt x="149" y="402"/>
                </a:cubicBezTo>
                <a:cubicBezTo>
                  <a:pt x="148" y="408"/>
                  <a:pt x="151" y="414"/>
                  <a:pt x="157" y="415"/>
                </a:cubicBezTo>
                <a:cubicBezTo>
                  <a:pt x="158" y="416"/>
                  <a:pt x="159" y="416"/>
                  <a:pt x="160" y="416"/>
                </a:cubicBezTo>
                <a:cubicBezTo>
                  <a:pt x="164" y="416"/>
                  <a:pt x="169" y="412"/>
                  <a:pt x="170" y="408"/>
                </a:cubicBezTo>
                <a:cubicBezTo>
                  <a:pt x="191" y="322"/>
                  <a:pt x="191" y="322"/>
                  <a:pt x="191" y="322"/>
                </a:cubicBezTo>
                <a:cubicBezTo>
                  <a:pt x="193" y="317"/>
                  <a:pt x="189" y="311"/>
                  <a:pt x="184" y="309"/>
                </a:cubicBezTo>
                <a:close/>
                <a:moveTo>
                  <a:pt x="258" y="309"/>
                </a:moveTo>
                <a:cubicBezTo>
                  <a:pt x="253" y="308"/>
                  <a:pt x="247" y="311"/>
                  <a:pt x="245" y="317"/>
                </a:cubicBezTo>
                <a:cubicBezTo>
                  <a:pt x="224" y="402"/>
                  <a:pt x="224" y="402"/>
                  <a:pt x="224" y="402"/>
                </a:cubicBezTo>
                <a:cubicBezTo>
                  <a:pt x="223" y="408"/>
                  <a:pt x="226" y="414"/>
                  <a:pt x="232" y="415"/>
                </a:cubicBezTo>
                <a:cubicBezTo>
                  <a:pt x="233" y="416"/>
                  <a:pt x="233" y="416"/>
                  <a:pt x="234" y="416"/>
                </a:cubicBezTo>
                <a:cubicBezTo>
                  <a:pt x="239" y="416"/>
                  <a:pt x="243" y="412"/>
                  <a:pt x="245" y="408"/>
                </a:cubicBezTo>
                <a:cubicBezTo>
                  <a:pt x="266" y="322"/>
                  <a:pt x="266" y="322"/>
                  <a:pt x="266" y="322"/>
                </a:cubicBezTo>
                <a:cubicBezTo>
                  <a:pt x="267" y="317"/>
                  <a:pt x="264" y="311"/>
                  <a:pt x="258" y="309"/>
                </a:cubicBezTo>
                <a:close/>
                <a:moveTo>
                  <a:pt x="333" y="309"/>
                </a:moveTo>
                <a:cubicBezTo>
                  <a:pt x="327" y="308"/>
                  <a:pt x="321" y="311"/>
                  <a:pt x="320" y="317"/>
                </a:cubicBezTo>
                <a:cubicBezTo>
                  <a:pt x="299" y="402"/>
                  <a:pt x="299" y="402"/>
                  <a:pt x="299" y="402"/>
                </a:cubicBezTo>
                <a:cubicBezTo>
                  <a:pt x="297" y="408"/>
                  <a:pt x="301" y="414"/>
                  <a:pt x="306" y="415"/>
                </a:cubicBezTo>
                <a:cubicBezTo>
                  <a:pt x="307" y="416"/>
                  <a:pt x="308" y="416"/>
                  <a:pt x="309" y="416"/>
                </a:cubicBezTo>
                <a:cubicBezTo>
                  <a:pt x="314" y="416"/>
                  <a:pt x="318" y="412"/>
                  <a:pt x="319" y="408"/>
                </a:cubicBezTo>
                <a:cubicBezTo>
                  <a:pt x="341" y="322"/>
                  <a:pt x="341" y="322"/>
                  <a:pt x="341" y="322"/>
                </a:cubicBezTo>
                <a:cubicBezTo>
                  <a:pt x="342" y="317"/>
                  <a:pt x="339" y="311"/>
                  <a:pt x="333" y="309"/>
                </a:cubicBezTo>
                <a:close/>
                <a:moveTo>
                  <a:pt x="416" y="234"/>
                </a:moveTo>
                <a:cubicBezTo>
                  <a:pt x="416" y="205"/>
                  <a:pt x="392" y="181"/>
                  <a:pt x="362" y="181"/>
                </a:cubicBezTo>
                <a:cubicBezTo>
                  <a:pt x="361" y="181"/>
                  <a:pt x="359" y="181"/>
                  <a:pt x="358" y="181"/>
                </a:cubicBezTo>
                <a:cubicBezTo>
                  <a:pt x="358" y="134"/>
                  <a:pt x="319" y="96"/>
                  <a:pt x="272" y="96"/>
                </a:cubicBezTo>
                <a:cubicBezTo>
                  <a:pt x="235" y="96"/>
                  <a:pt x="203" y="118"/>
                  <a:pt x="190" y="151"/>
                </a:cubicBezTo>
                <a:cubicBezTo>
                  <a:pt x="183" y="148"/>
                  <a:pt x="176" y="146"/>
                  <a:pt x="167" y="146"/>
                </a:cubicBezTo>
                <a:cubicBezTo>
                  <a:pt x="127" y="146"/>
                  <a:pt x="96" y="178"/>
                  <a:pt x="96" y="217"/>
                </a:cubicBezTo>
                <a:cubicBezTo>
                  <a:pt x="96" y="256"/>
                  <a:pt x="127" y="288"/>
                  <a:pt x="167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92" y="288"/>
                  <a:pt x="416" y="264"/>
                  <a:pt x="416" y="23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6" name="Freeform 997"/>
          <p:cNvSpPr>
            <a:spLocks noChangeAspect="1" noEditPoints="1"/>
          </p:cNvSpPr>
          <p:nvPr/>
        </p:nvSpPr>
        <p:spPr bwMode="auto">
          <a:xfrm>
            <a:off x="5404513" y="2051050"/>
            <a:ext cx="367982" cy="367982"/>
          </a:xfrm>
          <a:custGeom>
            <a:avLst/>
            <a:gdLst>
              <a:gd name="T0" fmla="*/ 394 w 512"/>
              <a:gd name="T1" fmla="*/ 280 h 512"/>
              <a:gd name="T2" fmla="*/ 365 w 512"/>
              <a:gd name="T3" fmla="*/ 309 h 512"/>
              <a:gd name="T4" fmla="*/ 167 w 512"/>
              <a:gd name="T5" fmla="*/ 309 h 512"/>
              <a:gd name="T6" fmla="*/ 117 w 512"/>
              <a:gd name="T7" fmla="*/ 259 h 512"/>
              <a:gd name="T8" fmla="*/ 167 w 512"/>
              <a:gd name="T9" fmla="*/ 210 h 512"/>
              <a:gd name="T10" fmla="*/ 189 w 512"/>
              <a:gd name="T11" fmla="*/ 217 h 512"/>
              <a:gd name="T12" fmla="*/ 199 w 512"/>
              <a:gd name="T13" fmla="*/ 221 h 512"/>
              <a:gd name="T14" fmla="*/ 208 w 512"/>
              <a:gd name="T15" fmla="*/ 213 h 512"/>
              <a:gd name="T16" fmla="*/ 208 w 512"/>
              <a:gd name="T17" fmla="*/ 211 h 512"/>
              <a:gd name="T18" fmla="*/ 210 w 512"/>
              <a:gd name="T19" fmla="*/ 206 h 512"/>
              <a:gd name="T20" fmla="*/ 277 w 512"/>
              <a:gd name="T21" fmla="*/ 160 h 512"/>
              <a:gd name="T22" fmla="*/ 347 w 512"/>
              <a:gd name="T23" fmla="*/ 230 h 512"/>
              <a:gd name="T24" fmla="*/ 347 w 512"/>
              <a:gd name="T25" fmla="*/ 234 h 512"/>
              <a:gd name="T26" fmla="*/ 347 w 512"/>
              <a:gd name="T27" fmla="*/ 239 h 512"/>
              <a:gd name="T28" fmla="*/ 350 w 512"/>
              <a:gd name="T29" fmla="*/ 249 h 512"/>
              <a:gd name="T30" fmla="*/ 361 w 512"/>
              <a:gd name="T31" fmla="*/ 251 h 512"/>
              <a:gd name="T32" fmla="*/ 363 w 512"/>
              <a:gd name="T33" fmla="*/ 250 h 512"/>
              <a:gd name="T34" fmla="*/ 365 w 512"/>
              <a:gd name="T35" fmla="*/ 250 h 512"/>
              <a:gd name="T36" fmla="*/ 394 w 512"/>
              <a:gd name="T37" fmla="*/ 280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416 w 512"/>
              <a:gd name="T49" fmla="*/ 280 h 512"/>
              <a:gd name="T50" fmla="*/ 369 w 512"/>
              <a:gd name="T51" fmla="*/ 229 h 512"/>
              <a:gd name="T52" fmla="*/ 277 w 512"/>
              <a:gd name="T53" fmla="*/ 138 h 512"/>
              <a:gd name="T54" fmla="*/ 192 w 512"/>
              <a:gd name="T55" fmla="*/ 194 h 512"/>
              <a:gd name="T56" fmla="*/ 167 w 512"/>
              <a:gd name="T57" fmla="*/ 189 h 512"/>
              <a:gd name="T58" fmla="*/ 96 w 512"/>
              <a:gd name="T59" fmla="*/ 259 h 512"/>
              <a:gd name="T60" fmla="*/ 167 w 512"/>
              <a:gd name="T61" fmla="*/ 330 h 512"/>
              <a:gd name="T62" fmla="*/ 365 w 512"/>
              <a:gd name="T63" fmla="*/ 330 h 512"/>
              <a:gd name="T64" fmla="*/ 416 w 512"/>
              <a:gd name="T65" fmla="*/ 28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94" y="280"/>
                </a:moveTo>
                <a:cubicBezTo>
                  <a:pt x="394" y="296"/>
                  <a:pt x="381" y="309"/>
                  <a:pt x="365" y="309"/>
                </a:cubicBezTo>
                <a:cubicBezTo>
                  <a:pt x="167" y="309"/>
                  <a:pt x="167" y="309"/>
                  <a:pt x="167" y="309"/>
                </a:cubicBezTo>
                <a:cubicBezTo>
                  <a:pt x="139" y="309"/>
                  <a:pt x="117" y="287"/>
                  <a:pt x="117" y="259"/>
                </a:cubicBezTo>
                <a:cubicBezTo>
                  <a:pt x="117" y="232"/>
                  <a:pt x="139" y="210"/>
                  <a:pt x="167" y="210"/>
                </a:cubicBezTo>
                <a:cubicBezTo>
                  <a:pt x="175" y="210"/>
                  <a:pt x="182" y="212"/>
                  <a:pt x="189" y="217"/>
                </a:cubicBezTo>
                <a:cubicBezTo>
                  <a:pt x="191" y="220"/>
                  <a:pt x="195" y="222"/>
                  <a:pt x="199" y="221"/>
                </a:cubicBezTo>
                <a:cubicBezTo>
                  <a:pt x="204" y="220"/>
                  <a:pt x="207" y="217"/>
                  <a:pt x="208" y="213"/>
                </a:cubicBezTo>
                <a:cubicBezTo>
                  <a:pt x="208" y="211"/>
                  <a:pt x="208" y="211"/>
                  <a:pt x="208" y="211"/>
                </a:cubicBezTo>
                <a:cubicBezTo>
                  <a:pt x="209" y="209"/>
                  <a:pt x="209" y="208"/>
                  <a:pt x="210" y="206"/>
                </a:cubicBezTo>
                <a:cubicBezTo>
                  <a:pt x="220" y="179"/>
                  <a:pt x="248" y="160"/>
                  <a:pt x="277" y="160"/>
                </a:cubicBezTo>
                <a:cubicBezTo>
                  <a:pt x="316" y="160"/>
                  <a:pt x="347" y="191"/>
                  <a:pt x="347" y="230"/>
                </a:cubicBezTo>
                <a:cubicBezTo>
                  <a:pt x="347" y="231"/>
                  <a:pt x="347" y="232"/>
                  <a:pt x="347" y="234"/>
                </a:cubicBezTo>
                <a:cubicBezTo>
                  <a:pt x="347" y="236"/>
                  <a:pt x="347" y="237"/>
                  <a:pt x="347" y="239"/>
                </a:cubicBezTo>
                <a:cubicBezTo>
                  <a:pt x="346" y="243"/>
                  <a:pt x="348" y="247"/>
                  <a:pt x="350" y="249"/>
                </a:cubicBezTo>
                <a:cubicBezTo>
                  <a:pt x="353" y="251"/>
                  <a:pt x="357" y="252"/>
                  <a:pt x="361" y="251"/>
                </a:cubicBezTo>
                <a:cubicBezTo>
                  <a:pt x="362" y="250"/>
                  <a:pt x="363" y="250"/>
                  <a:pt x="363" y="250"/>
                </a:cubicBezTo>
                <a:cubicBezTo>
                  <a:pt x="364" y="250"/>
                  <a:pt x="364" y="250"/>
                  <a:pt x="365" y="250"/>
                </a:cubicBezTo>
                <a:cubicBezTo>
                  <a:pt x="381" y="250"/>
                  <a:pt x="394" y="263"/>
                  <a:pt x="394" y="28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0"/>
                </a:moveTo>
                <a:cubicBezTo>
                  <a:pt x="416" y="253"/>
                  <a:pt x="395" y="231"/>
                  <a:pt x="369" y="229"/>
                </a:cubicBezTo>
                <a:cubicBezTo>
                  <a:pt x="368" y="179"/>
                  <a:pt x="327" y="138"/>
                  <a:pt x="277" y="138"/>
                </a:cubicBezTo>
                <a:cubicBezTo>
                  <a:pt x="240" y="138"/>
                  <a:pt x="206" y="161"/>
                  <a:pt x="192" y="194"/>
                </a:cubicBezTo>
                <a:cubicBezTo>
                  <a:pt x="184" y="190"/>
                  <a:pt x="176" y="189"/>
                  <a:pt x="167" y="189"/>
                </a:cubicBezTo>
                <a:cubicBezTo>
                  <a:pt x="127" y="189"/>
                  <a:pt x="96" y="220"/>
                  <a:pt x="96" y="259"/>
                </a:cubicBezTo>
                <a:cubicBezTo>
                  <a:pt x="96" y="299"/>
                  <a:pt x="127" y="330"/>
                  <a:pt x="167" y="330"/>
                </a:cubicBezTo>
                <a:cubicBezTo>
                  <a:pt x="365" y="330"/>
                  <a:pt x="365" y="330"/>
                  <a:pt x="365" y="330"/>
                </a:cubicBezTo>
                <a:cubicBezTo>
                  <a:pt x="393" y="330"/>
                  <a:pt x="416" y="308"/>
                  <a:pt x="416" y="28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7" name="Group 1000"/>
          <p:cNvGrpSpPr>
            <a:grpSpLocks noChangeAspect="1"/>
          </p:cNvGrpSpPr>
          <p:nvPr/>
        </p:nvGrpSpPr>
        <p:grpSpPr bwMode="auto">
          <a:xfrm>
            <a:off x="5901855" y="2051050"/>
            <a:ext cx="367982" cy="367982"/>
            <a:chOff x="5030" y="4091"/>
            <a:chExt cx="340" cy="340"/>
          </a:xfrm>
          <a:solidFill>
            <a:schemeClr val="accent5"/>
          </a:solidFill>
        </p:grpSpPr>
        <p:sp>
          <p:nvSpPr>
            <p:cNvPr id="308" name="Freeform 1001"/>
            <p:cNvSpPr>
              <a:spLocks noEditPoints="1"/>
            </p:cNvSpPr>
            <p:nvPr/>
          </p:nvSpPr>
          <p:spPr bwMode="auto">
            <a:xfrm>
              <a:off x="5094" y="4183"/>
              <a:ext cx="212" cy="127"/>
            </a:xfrm>
            <a:custGeom>
              <a:avLst/>
              <a:gdLst>
                <a:gd name="T0" fmla="*/ 269 w 320"/>
                <a:gd name="T1" fmla="*/ 192 h 192"/>
                <a:gd name="T2" fmla="*/ 71 w 320"/>
                <a:gd name="T3" fmla="*/ 192 h 192"/>
                <a:gd name="T4" fmla="*/ 0 w 320"/>
                <a:gd name="T5" fmla="*/ 121 h 192"/>
                <a:gd name="T6" fmla="*/ 71 w 320"/>
                <a:gd name="T7" fmla="*/ 51 h 192"/>
                <a:gd name="T8" fmla="*/ 96 w 320"/>
                <a:gd name="T9" fmla="*/ 56 h 192"/>
                <a:gd name="T10" fmla="*/ 181 w 320"/>
                <a:gd name="T11" fmla="*/ 0 h 192"/>
                <a:gd name="T12" fmla="*/ 273 w 320"/>
                <a:gd name="T13" fmla="*/ 91 h 192"/>
                <a:gd name="T14" fmla="*/ 320 w 320"/>
                <a:gd name="T15" fmla="*/ 142 h 192"/>
                <a:gd name="T16" fmla="*/ 269 w 320"/>
                <a:gd name="T17" fmla="*/ 192 h 192"/>
                <a:gd name="T18" fmla="*/ 71 w 320"/>
                <a:gd name="T19" fmla="*/ 72 h 192"/>
                <a:gd name="T20" fmla="*/ 21 w 320"/>
                <a:gd name="T21" fmla="*/ 121 h 192"/>
                <a:gd name="T22" fmla="*/ 71 w 320"/>
                <a:gd name="T23" fmla="*/ 171 h 192"/>
                <a:gd name="T24" fmla="*/ 269 w 320"/>
                <a:gd name="T25" fmla="*/ 171 h 192"/>
                <a:gd name="T26" fmla="*/ 298 w 320"/>
                <a:gd name="T27" fmla="*/ 142 h 192"/>
                <a:gd name="T28" fmla="*/ 269 w 320"/>
                <a:gd name="T29" fmla="*/ 112 h 192"/>
                <a:gd name="T30" fmla="*/ 267 w 320"/>
                <a:gd name="T31" fmla="*/ 112 h 192"/>
                <a:gd name="T32" fmla="*/ 265 w 320"/>
                <a:gd name="T33" fmla="*/ 113 h 192"/>
                <a:gd name="T34" fmla="*/ 254 w 320"/>
                <a:gd name="T35" fmla="*/ 111 h 192"/>
                <a:gd name="T36" fmla="*/ 251 w 320"/>
                <a:gd name="T37" fmla="*/ 101 h 192"/>
                <a:gd name="T38" fmla="*/ 251 w 320"/>
                <a:gd name="T39" fmla="*/ 96 h 192"/>
                <a:gd name="T40" fmla="*/ 251 w 320"/>
                <a:gd name="T41" fmla="*/ 92 h 192"/>
                <a:gd name="T42" fmla="*/ 181 w 320"/>
                <a:gd name="T43" fmla="*/ 22 h 192"/>
                <a:gd name="T44" fmla="*/ 114 w 320"/>
                <a:gd name="T45" fmla="*/ 68 h 192"/>
                <a:gd name="T46" fmla="*/ 112 w 320"/>
                <a:gd name="T47" fmla="*/ 73 h 192"/>
                <a:gd name="T48" fmla="*/ 112 w 320"/>
                <a:gd name="T49" fmla="*/ 75 h 192"/>
                <a:gd name="T50" fmla="*/ 103 w 320"/>
                <a:gd name="T51" fmla="*/ 83 h 192"/>
                <a:gd name="T52" fmla="*/ 93 w 320"/>
                <a:gd name="T53" fmla="*/ 79 h 192"/>
                <a:gd name="T54" fmla="*/ 71 w 320"/>
                <a:gd name="T55" fmla="*/ 7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0" h="192">
                  <a:moveTo>
                    <a:pt x="269" y="192"/>
                  </a:moveTo>
                  <a:cubicBezTo>
                    <a:pt x="71" y="192"/>
                    <a:pt x="71" y="192"/>
                    <a:pt x="71" y="192"/>
                  </a:cubicBezTo>
                  <a:cubicBezTo>
                    <a:pt x="31" y="192"/>
                    <a:pt x="0" y="161"/>
                    <a:pt x="0" y="121"/>
                  </a:cubicBezTo>
                  <a:cubicBezTo>
                    <a:pt x="0" y="82"/>
                    <a:pt x="31" y="51"/>
                    <a:pt x="71" y="51"/>
                  </a:cubicBezTo>
                  <a:cubicBezTo>
                    <a:pt x="80" y="51"/>
                    <a:pt x="88" y="52"/>
                    <a:pt x="96" y="56"/>
                  </a:cubicBezTo>
                  <a:cubicBezTo>
                    <a:pt x="110" y="23"/>
                    <a:pt x="144" y="0"/>
                    <a:pt x="181" y="0"/>
                  </a:cubicBezTo>
                  <a:cubicBezTo>
                    <a:pt x="231" y="0"/>
                    <a:pt x="272" y="41"/>
                    <a:pt x="273" y="91"/>
                  </a:cubicBezTo>
                  <a:cubicBezTo>
                    <a:pt x="299" y="93"/>
                    <a:pt x="320" y="115"/>
                    <a:pt x="320" y="142"/>
                  </a:cubicBezTo>
                  <a:cubicBezTo>
                    <a:pt x="320" y="170"/>
                    <a:pt x="297" y="192"/>
                    <a:pt x="269" y="192"/>
                  </a:cubicBezTo>
                  <a:close/>
                  <a:moveTo>
                    <a:pt x="71" y="72"/>
                  </a:moveTo>
                  <a:cubicBezTo>
                    <a:pt x="43" y="72"/>
                    <a:pt x="21" y="94"/>
                    <a:pt x="21" y="121"/>
                  </a:cubicBezTo>
                  <a:cubicBezTo>
                    <a:pt x="21" y="149"/>
                    <a:pt x="43" y="171"/>
                    <a:pt x="71" y="171"/>
                  </a:cubicBezTo>
                  <a:cubicBezTo>
                    <a:pt x="269" y="171"/>
                    <a:pt x="269" y="171"/>
                    <a:pt x="269" y="171"/>
                  </a:cubicBezTo>
                  <a:cubicBezTo>
                    <a:pt x="285" y="171"/>
                    <a:pt x="298" y="158"/>
                    <a:pt x="298" y="142"/>
                  </a:cubicBezTo>
                  <a:cubicBezTo>
                    <a:pt x="298" y="125"/>
                    <a:pt x="285" y="112"/>
                    <a:pt x="269" y="112"/>
                  </a:cubicBezTo>
                  <a:cubicBezTo>
                    <a:pt x="268" y="112"/>
                    <a:pt x="268" y="112"/>
                    <a:pt x="267" y="112"/>
                  </a:cubicBezTo>
                  <a:cubicBezTo>
                    <a:pt x="267" y="112"/>
                    <a:pt x="266" y="112"/>
                    <a:pt x="265" y="113"/>
                  </a:cubicBezTo>
                  <a:cubicBezTo>
                    <a:pt x="261" y="114"/>
                    <a:pt x="257" y="113"/>
                    <a:pt x="254" y="111"/>
                  </a:cubicBezTo>
                  <a:cubicBezTo>
                    <a:pt x="252" y="109"/>
                    <a:pt x="250" y="105"/>
                    <a:pt x="251" y="101"/>
                  </a:cubicBezTo>
                  <a:cubicBezTo>
                    <a:pt x="251" y="99"/>
                    <a:pt x="251" y="98"/>
                    <a:pt x="251" y="96"/>
                  </a:cubicBezTo>
                  <a:cubicBezTo>
                    <a:pt x="251" y="94"/>
                    <a:pt x="251" y="93"/>
                    <a:pt x="251" y="92"/>
                  </a:cubicBezTo>
                  <a:cubicBezTo>
                    <a:pt x="251" y="53"/>
                    <a:pt x="220" y="22"/>
                    <a:pt x="181" y="22"/>
                  </a:cubicBezTo>
                  <a:cubicBezTo>
                    <a:pt x="152" y="22"/>
                    <a:pt x="124" y="41"/>
                    <a:pt x="114" y="68"/>
                  </a:cubicBezTo>
                  <a:cubicBezTo>
                    <a:pt x="113" y="70"/>
                    <a:pt x="113" y="71"/>
                    <a:pt x="112" y="73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1" y="79"/>
                    <a:pt x="108" y="82"/>
                    <a:pt x="103" y="83"/>
                  </a:cubicBezTo>
                  <a:cubicBezTo>
                    <a:pt x="99" y="84"/>
                    <a:pt x="95" y="82"/>
                    <a:pt x="93" y="79"/>
                  </a:cubicBezTo>
                  <a:cubicBezTo>
                    <a:pt x="86" y="74"/>
                    <a:pt x="79" y="72"/>
                    <a:pt x="7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1002"/>
            <p:cNvSpPr>
              <a:spLocks noEditPoints="1"/>
            </p:cNvSpPr>
            <p:nvPr/>
          </p:nvSpPr>
          <p:spPr bwMode="auto">
            <a:xfrm>
              <a:off x="5030" y="40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0" name="Freeform 810"/>
          <p:cNvSpPr>
            <a:spLocks noChangeAspect="1" noEditPoints="1"/>
          </p:cNvSpPr>
          <p:nvPr/>
        </p:nvSpPr>
        <p:spPr bwMode="auto">
          <a:xfrm>
            <a:off x="6399197" y="2051054"/>
            <a:ext cx="367631" cy="367631"/>
          </a:xfrm>
          <a:custGeom>
            <a:avLst/>
            <a:gdLst>
              <a:gd name="T0" fmla="*/ 354 w 512"/>
              <a:gd name="T1" fmla="*/ 244 h 512"/>
              <a:gd name="T2" fmla="*/ 329 w 512"/>
              <a:gd name="T3" fmla="*/ 358 h 512"/>
              <a:gd name="T4" fmla="*/ 240 w 512"/>
              <a:gd name="T5" fmla="*/ 394 h 512"/>
              <a:gd name="T6" fmla="*/ 145 w 512"/>
              <a:gd name="T7" fmla="*/ 321 h 512"/>
              <a:gd name="T8" fmla="*/ 147 w 512"/>
              <a:gd name="T9" fmla="*/ 226 h 512"/>
              <a:gd name="T10" fmla="*/ 197 w 512"/>
              <a:gd name="T11" fmla="*/ 285 h 512"/>
              <a:gd name="T12" fmla="*/ 208 w 512"/>
              <a:gd name="T13" fmla="*/ 283 h 512"/>
              <a:gd name="T14" fmla="*/ 212 w 512"/>
              <a:gd name="T15" fmla="*/ 273 h 512"/>
              <a:gd name="T16" fmla="*/ 260 w 512"/>
              <a:gd name="T17" fmla="*/ 124 h 512"/>
              <a:gd name="T18" fmla="*/ 301 w 512"/>
              <a:gd name="T19" fmla="*/ 265 h 512"/>
              <a:gd name="T20" fmla="*/ 311 w 512"/>
              <a:gd name="T21" fmla="*/ 268 h 512"/>
              <a:gd name="T22" fmla="*/ 319 w 512"/>
              <a:gd name="T23" fmla="*/ 260 h 512"/>
              <a:gd name="T24" fmla="*/ 338 w 512"/>
              <a:gd name="T25" fmla="*/ 201 h 512"/>
              <a:gd name="T26" fmla="*/ 354 w 512"/>
              <a:gd name="T27" fmla="*/ 244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72 w 512"/>
              <a:gd name="T39" fmla="*/ 233 h 512"/>
              <a:gd name="T40" fmla="*/ 355 w 512"/>
              <a:gd name="T41" fmla="*/ 173 h 512"/>
              <a:gd name="T42" fmla="*/ 348 w 512"/>
              <a:gd name="T43" fmla="*/ 164 h 512"/>
              <a:gd name="T44" fmla="*/ 337 w 512"/>
              <a:gd name="T45" fmla="*/ 166 h 512"/>
              <a:gd name="T46" fmla="*/ 303 w 512"/>
              <a:gd name="T47" fmla="*/ 233 h 512"/>
              <a:gd name="T48" fmla="*/ 283 w 512"/>
              <a:gd name="T49" fmla="*/ 109 h 512"/>
              <a:gd name="T50" fmla="*/ 279 w 512"/>
              <a:gd name="T51" fmla="*/ 99 h 512"/>
              <a:gd name="T52" fmla="*/ 269 w 512"/>
              <a:gd name="T53" fmla="*/ 97 h 512"/>
              <a:gd name="T54" fmla="*/ 188 w 512"/>
              <a:gd name="T55" fmla="*/ 253 h 512"/>
              <a:gd name="T56" fmla="*/ 161 w 512"/>
              <a:gd name="T57" fmla="*/ 197 h 512"/>
              <a:gd name="T58" fmla="*/ 153 w 512"/>
              <a:gd name="T59" fmla="*/ 188 h 512"/>
              <a:gd name="T60" fmla="*/ 142 w 512"/>
              <a:gd name="T61" fmla="*/ 193 h 512"/>
              <a:gd name="T62" fmla="*/ 126 w 512"/>
              <a:gd name="T63" fmla="*/ 331 h 512"/>
              <a:gd name="T64" fmla="*/ 239 w 512"/>
              <a:gd name="T65" fmla="*/ 416 h 512"/>
              <a:gd name="T66" fmla="*/ 244 w 512"/>
              <a:gd name="T67" fmla="*/ 416 h 512"/>
              <a:gd name="T68" fmla="*/ 344 w 512"/>
              <a:gd name="T69" fmla="*/ 374 h 512"/>
              <a:gd name="T70" fmla="*/ 372 w 512"/>
              <a:gd name="T71" fmla="*/ 23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354" y="244"/>
                </a:moveTo>
                <a:cubicBezTo>
                  <a:pt x="368" y="269"/>
                  <a:pt x="358" y="331"/>
                  <a:pt x="329" y="358"/>
                </a:cubicBezTo>
                <a:cubicBezTo>
                  <a:pt x="294" y="391"/>
                  <a:pt x="258" y="395"/>
                  <a:pt x="240" y="394"/>
                </a:cubicBezTo>
                <a:cubicBezTo>
                  <a:pt x="217" y="393"/>
                  <a:pt x="173" y="377"/>
                  <a:pt x="145" y="321"/>
                </a:cubicBezTo>
                <a:cubicBezTo>
                  <a:pt x="126" y="284"/>
                  <a:pt x="134" y="251"/>
                  <a:pt x="147" y="226"/>
                </a:cubicBezTo>
                <a:cubicBezTo>
                  <a:pt x="154" y="246"/>
                  <a:pt x="169" y="273"/>
                  <a:pt x="197" y="285"/>
                </a:cubicBezTo>
                <a:cubicBezTo>
                  <a:pt x="201" y="286"/>
                  <a:pt x="205" y="286"/>
                  <a:pt x="208" y="283"/>
                </a:cubicBezTo>
                <a:cubicBezTo>
                  <a:pt x="211" y="281"/>
                  <a:pt x="212" y="277"/>
                  <a:pt x="212" y="273"/>
                </a:cubicBezTo>
                <a:cubicBezTo>
                  <a:pt x="211" y="272"/>
                  <a:pt x="190" y="165"/>
                  <a:pt x="260" y="124"/>
                </a:cubicBezTo>
                <a:cubicBezTo>
                  <a:pt x="258" y="156"/>
                  <a:pt x="261" y="220"/>
                  <a:pt x="301" y="265"/>
                </a:cubicBezTo>
                <a:cubicBezTo>
                  <a:pt x="303" y="268"/>
                  <a:pt x="308" y="269"/>
                  <a:pt x="311" y="268"/>
                </a:cubicBezTo>
                <a:cubicBezTo>
                  <a:pt x="315" y="267"/>
                  <a:pt x="318" y="264"/>
                  <a:pt x="319" y="260"/>
                </a:cubicBezTo>
                <a:cubicBezTo>
                  <a:pt x="321" y="248"/>
                  <a:pt x="327" y="222"/>
                  <a:pt x="338" y="201"/>
                </a:cubicBezTo>
                <a:cubicBezTo>
                  <a:pt x="341" y="214"/>
                  <a:pt x="346" y="230"/>
                  <a:pt x="354" y="24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233"/>
                </a:moveTo>
                <a:cubicBezTo>
                  <a:pt x="358" y="207"/>
                  <a:pt x="355" y="173"/>
                  <a:pt x="355" y="173"/>
                </a:cubicBezTo>
                <a:cubicBezTo>
                  <a:pt x="355" y="169"/>
                  <a:pt x="352" y="165"/>
                  <a:pt x="348" y="164"/>
                </a:cubicBezTo>
                <a:cubicBezTo>
                  <a:pt x="344" y="162"/>
                  <a:pt x="340" y="163"/>
                  <a:pt x="337" y="166"/>
                </a:cubicBezTo>
                <a:cubicBezTo>
                  <a:pt x="320" y="183"/>
                  <a:pt x="309" y="212"/>
                  <a:pt x="303" y="233"/>
                </a:cubicBezTo>
                <a:cubicBezTo>
                  <a:pt x="272" y="180"/>
                  <a:pt x="283" y="109"/>
                  <a:pt x="283" y="109"/>
                </a:cubicBezTo>
                <a:cubicBezTo>
                  <a:pt x="283" y="105"/>
                  <a:pt x="282" y="101"/>
                  <a:pt x="279" y="99"/>
                </a:cubicBezTo>
                <a:cubicBezTo>
                  <a:pt x="276" y="96"/>
                  <a:pt x="272" y="96"/>
                  <a:pt x="269" y="97"/>
                </a:cubicBezTo>
                <a:cubicBezTo>
                  <a:pt x="189" y="126"/>
                  <a:pt x="185" y="211"/>
                  <a:pt x="188" y="253"/>
                </a:cubicBezTo>
                <a:cubicBezTo>
                  <a:pt x="167" y="232"/>
                  <a:pt x="161" y="198"/>
                  <a:pt x="161" y="197"/>
                </a:cubicBezTo>
                <a:cubicBezTo>
                  <a:pt x="161" y="193"/>
                  <a:pt x="157" y="189"/>
                  <a:pt x="153" y="188"/>
                </a:cubicBezTo>
                <a:cubicBezTo>
                  <a:pt x="149" y="187"/>
                  <a:pt x="144" y="189"/>
                  <a:pt x="142" y="193"/>
                </a:cubicBezTo>
                <a:cubicBezTo>
                  <a:pt x="130" y="211"/>
                  <a:pt x="92" y="265"/>
                  <a:pt x="126" y="331"/>
                </a:cubicBezTo>
                <a:cubicBezTo>
                  <a:pt x="154" y="387"/>
                  <a:pt x="203" y="414"/>
                  <a:pt x="239" y="416"/>
                </a:cubicBezTo>
                <a:cubicBezTo>
                  <a:pt x="240" y="416"/>
                  <a:pt x="242" y="416"/>
                  <a:pt x="244" y="416"/>
                </a:cubicBezTo>
                <a:cubicBezTo>
                  <a:pt x="267" y="416"/>
                  <a:pt x="306" y="409"/>
                  <a:pt x="344" y="374"/>
                </a:cubicBezTo>
                <a:cubicBezTo>
                  <a:pt x="381" y="339"/>
                  <a:pt x="391" y="266"/>
                  <a:pt x="372" y="23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1" name="Group 813"/>
          <p:cNvGrpSpPr>
            <a:grpSpLocks noChangeAspect="1"/>
          </p:cNvGrpSpPr>
          <p:nvPr/>
        </p:nvGrpSpPr>
        <p:grpSpPr bwMode="auto">
          <a:xfrm>
            <a:off x="6896188" y="2051054"/>
            <a:ext cx="367631" cy="367631"/>
            <a:chOff x="1924" y="3187"/>
            <a:chExt cx="340" cy="340"/>
          </a:xfrm>
          <a:solidFill>
            <a:schemeClr val="accent3"/>
          </a:solidFill>
        </p:grpSpPr>
        <p:sp>
          <p:nvSpPr>
            <p:cNvPr id="312" name="Freeform 814"/>
            <p:cNvSpPr>
              <a:spLocks noEditPoints="1"/>
            </p:cNvSpPr>
            <p:nvPr/>
          </p:nvSpPr>
          <p:spPr bwMode="auto">
            <a:xfrm>
              <a:off x="1985" y="3251"/>
              <a:ext cx="199" cy="212"/>
            </a:xfrm>
            <a:custGeom>
              <a:avLst/>
              <a:gdLst>
                <a:gd name="T0" fmla="*/ 152 w 299"/>
                <a:gd name="T1" fmla="*/ 320 h 320"/>
                <a:gd name="T2" fmla="*/ 147 w 299"/>
                <a:gd name="T3" fmla="*/ 320 h 320"/>
                <a:gd name="T4" fmla="*/ 34 w 299"/>
                <a:gd name="T5" fmla="*/ 235 h 320"/>
                <a:gd name="T6" fmla="*/ 50 w 299"/>
                <a:gd name="T7" fmla="*/ 97 h 320"/>
                <a:gd name="T8" fmla="*/ 61 w 299"/>
                <a:gd name="T9" fmla="*/ 92 h 320"/>
                <a:gd name="T10" fmla="*/ 69 w 299"/>
                <a:gd name="T11" fmla="*/ 101 h 320"/>
                <a:gd name="T12" fmla="*/ 96 w 299"/>
                <a:gd name="T13" fmla="*/ 157 h 320"/>
                <a:gd name="T14" fmla="*/ 177 w 299"/>
                <a:gd name="T15" fmla="*/ 1 h 320"/>
                <a:gd name="T16" fmla="*/ 187 w 299"/>
                <a:gd name="T17" fmla="*/ 3 h 320"/>
                <a:gd name="T18" fmla="*/ 191 w 299"/>
                <a:gd name="T19" fmla="*/ 13 h 320"/>
                <a:gd name="T20" fmla="*/ 211 w 299"/>
                <a:gd name="T21" fmla="*/ 137 h 320"/>
                <a:gd name="T22" fmla="*/ 245 w 299"/>
                <a:gd name="T23" fmla="*/ 70 h 320"/>
                <a:gd name="T24" fmla="*/ 256 w 299"/>
                <a:gd name="T25" fmla="*/ 68 h 320"/>
                <a:gd name="T26" fmla="*/ 263 w 299"/>
                <a:gd name="T27" fmla="*/ 77 h 320"/>
                <a:gd name="T28" fmla="*/ 280 w 299"/>
                <a:gd name="T29" fmla="*/ 137 h 320"/>
                <a:gd name="T30" fmla="*/ 252 w 299"/>
                <a:gd name="T31" fmla="*/ 278 h 320"/>
                <a:gd name="T32" fmla="*/ 152 w 299"/>
                <a:gd name="T33" fmla="*/ 320 h 320"/>
                <a:gd name="T34" fmla="*/ 55 w 299"/>
                <a:gd name="T35" fmla="*/ 130 h 320"/>
                <a:gd name="T36" fmla="*/ 53 w 299"/>
                <a:gd name="T37" fmla="*/ 225 h 320"/>
                <a:gd name="T38" fmla="*/ 148 w 299"/>
                <a:gd name="T39" fmla="*/ 298 h 320"/>
                <a:gd name="T40" fmla="*/ 237 w 299"/>
                <a:gd name="T41" fmla="*/ 262 h 320"/>
                <a:gd name="T42" fmla="*/ 262 w 299"/>
                <a:gd name="T43" fmla="*/ 148 h 320"/>
                <a:gd name="T44" fmla="*/ 246 w 299"/>
                <a:gd name="T45" fmla="*/ 105 h 320"/>
                <a:gd name="T46" fmla="*/ 227 w 299"/>
                <a:gd name="T47" fmla="*/ 164 h 320"/>
                <a:gd name="T48" fmla="*/ 219 w 299"/>
                <a:gd name="T49" fmla="*/ 172 h 320"/>
                <a:gd name="T50" fmla="*/ 209 w 299"/>
                <a:gd name="T51" fmla="*/ 169 h 320"/>
                <a:gd name="T52" fmla="*/ 168 w 299"/>
                <a:gd name="T53" fmla="*/ 28 h 320"/>
                <a:gd name="T54" fmla="*/ 120 w 299"/>
                <a:gd name="T55" fmla="*/ 177 h 320"/>
                <a:gd name="T56" fmla="*/ 116 w 299"/>
                <a:gd name="T57" fmla="*/ 187 h 320"/>
                <a:gd name="T58" fmla="*/ 105 w 299"/>
                <a:gd name="T59" fmla="*/ 189 h 320"/>
                <a:gd name="T60" fmla="*/ 55 w 299"/>
                <a:gd name="T61" fmla="*/ 13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9" h="320">
                  <a:moveTo>
                    <a:pt x="152" y="320"/>
                  </a:moveTo>
                  <a:cubicBezTo>
                    <a:pt x="150" y="320"/>
                    <a:pt x="148" y="320"/>
                    <a:pt x="147" y="320"/>
                  </a:cubicBezTo>
                  <a:cubicBezTo>
                    <a:pt x="111" y="318"/>
                    <a:pt x="62" y="291"/>
                    <a:pt x="34" y="235"/>
                  </a:cubicBezTo>
                  <a:cubicBezTo>
                    <a:pt x="0" y="169"/>
                    <a:pt x="38" y="115"/>
                    <a:pt x="50" y="97"/>
                  </a:cubicBezTo>
                  <a:cubicBezTo>
                    <a:pt x="52" y="93"/>
                    <a:pt x="57" y="91"/>
                    <a:pt x="61" y="92"/>
                  </a:cubicBezTo>
                  <a:cubicBezTo>
                    <a:pt x="65" y="93"/>
                    <a:pt x="69" y="97"/>
                    <a:pt x="69" y="101"/>
                  </a:cubicBezTo>
                  <a:cubicBezTo>
                    <a:pt x="69" y="102"/>
                    <a:pt x="75" y="136"/>
                    <a:pt x="96" y="157"/>
                  </a:cubicBezTo>
                  <a:cubicBezTo>
                    <a:pt x="93" y="115"/>
                    <a:pt x="97" y="30"/>
                    <a:pt x="177" y="1"/>
                  </a:cubicBezTo>
                  <a:cubicBezTo>
                    <a:pt x="180" y="0"/>
                    <a:pt x="184" y="0"/>
                    <a:pt x="187" y="3"/>
                  </a:cubicBezTo>
                  <a:cubicBezTo>
                    <a:pt x="190" y="5"/>
                    <a:pt x="191" y="9"/>
                    <a:pt x="191" y="13"/>
                  </a:cubicBezTo>
                  <a:cubicBezTo>
                    <a:pt x="191" y="13"/>
                    <a:pt x="180" y="84"/>
                    <a:pt x="211" y="137"/>
                  </a:cubicBezTo>
                  <a:cubicBezTo>
                    <a:pt x="217" y="116"/>
                    <a:pt x="228" y="87"/>
                    <a:pt x="245" y="70"/>
                  </a:cubicBezTo>
                  <a:cubicBezTo>
                    <a:pt x="248" y="67"/>
                    <a:pt x="252" y="66"/>
                    <a:pt x="256" y="68"/>
                  </a:cubicBezTo>
                  <a:cubicBezTo>
                    <a:pt x="260" y="69"/>
                    <a:pt x="263" y="73"/>
                    <a:pt x="263" y="77"/>
                  </a:cubicBezTo>
                  <a:cubicBezTo>
                    <a:pt x="263" y="77"/>
                    <a:pt x="266" y="111"/>
                    <a:pt x="280" y="137"/>
                  </a:cubicBezTo>
                  <a:cubicBezTo>
                    <a:pt x="299" y="170"/>
                    <a:pt x="289" y="243"/>
                    <a:pt x="252" y="278"/>
                  </a:cubicBezTo>
                  <a:cubicBezTo>
                    <a:pt x="214" y="313"/>
                    <a:pt x="175" y="320"/>
                    <a:pt x="152" y="320"/>
                  </a:cubicBezTo>
                  <a:close/>
                  <a:moveTo>
                    <a:pt x="55" y="130"/>
                  </a:moveTo>
                  <a:cubicBezTo>
                    <a:pt x="42" y="155"/>
                    <a:pt x="34" y="188"/>
                    <a:pt x="53" y="225"/>
                  </a:cubicBezTo>
                  <a:cubicBezTo>
                    <a:pt x="81" y="281"/>
                    <a:pt x="125" y="297"/>
                    <a:pt x="148" y="298"/>
                  </a:cubicBezTo>
                  <a:cubicBezTo>
                    <a:pt x="166" y="299"/>
                    <a:pt x="202" y="295"/>
                    <a:pt x="237" y="262"/>
                  </a:cubicBezTo>
                  <a:cubicBezTo>
                    <a:pt x="266" y="235"/>
                    <a:pt x="276" y="173"/>
                    <a:pt x="262" y="148"/>
                  </a:cubicBezTo>
                  <a:cubicBezTo>
                    <a:pt x="254" y="134"/>
                    <a:pt x="249" y="118"/>
                    <a:pt x="246" y="105"/>
                  </a:cubicBezTo>
                  <a:cubicBezTo>
                    <a:pt x="235" y="126"/>
                    <a:pt x="229" y="152"/>
                    <a:pt x="227" y="164"/>
                  </a:cubicBezTo>
                  <a:cubicBezTo>
                    <a:pt x="226" y="168"/>
                    <a:pt x="223" y="171"/>
                    <a:pt x="219" y="172"/>
                  </a:cubicBezTo>
                  <a:cubicBezTo>
                    <a:pt x="216" y="173"/>
                    <a:pt x="211" y="172"/>
                    <a:pt x="209" y="169"/>
                  </a:cubicBezTo>
                  <a:cubicBezTo>
                    <a:pt x="169" y="124"/>
                    <a:pt x="166" y="60"/>
                    <a:pt x="168" y="28"/>
                  </a:cubicBezTo>
                  <a:cubicBezTo>
                    <a:pt x="98" y="69"/>
                    <a:pt x="119" y="176"/>
                    <a:pt x="120" y="177"/>
                  </a:cubicBezTo>
                  <a:cubicBezTo>
                    <a:pt x="120" y="181"/>
                    <a:pt x="119" y="185"/>
                    <a:pt x="116" y="187"/>
                  </a:cubicBezTo>
                  <a:cubicBezTo>
                    <a:pt x="113" y="190"/>
                    <a:pt x="109" y="190"/>
                    <a:pt x="105" y="189"/>
                  </a:cubicBezTo>
                  <a:cubicBezTo>
                    <a:pt x="77" y="177"/>
                    <a:pt x="62" y="150"/>
                    <a:pt x="55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815"/>
            <p:cNvSpPr>
              <a:spLocks noEditPoints="1"/>
            </p:cNvSpPr>
            <p:nvPr/>
          </p:nvSpPr>
          <p:spPr bwMode="auto">
            <a:xfrm>
              <a:off x="1924" y="318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4" name="Group 154"/>
          <p:cNvGrpSpPr>
            <a:grpSpLocks noChangeAspect="1"/>
          </p:cNvGrpSpPr>
          <p:nvPr/>
        </p:nvGrpSpPr>
        <p:grpSpPr bwMode="auto">
          <a:xfrm>
            <a:off x="8891374" y="2051051"/>
            <a:ext cx="369676" cy="369676"/>
            <a:chOff x="2716" y="380"/>
            <a:chExt cx="340" cy="340"/>
          </a:xfrm>
          <a:solidFill>
            <a:schemeClr val="accent2"/>
          </a:solidFill>
        </p:grpSpPr>
        <p:sp>
          <p:nvSpPr>
            <p:cNvPr id="315" name="Freeform 155"/>
            <p:cNvSpPr>
              <a:spLocks/>
            </p:cNvSpPr>
            <p:nvPr/>
          </p:nvSpPr>
          <p:spPr bwMode="auto">
            <a:xfrm>
              <a:off x="2780" y="444"/>
              <a:ext cx="211" cy="212"/>
            </a:xfrm>
            <a:custGeom>
              <a:avLst/>
              <a:gdLst>
                <a:gd name="T0" fmla="*/ 234 w 317"/>
                <a:gd name="T1" fmla="*/ 191 h 320"/>
                <a:gd name="T2" fmla="*/ 234 w 317"/>
                <a:gd name="T3" fmla="*/ 128 h 320"/>
                <a:gd name="T4" fmla="*/ 305 w 317"/>
                <a:gd name="T5" fmla="*/ 147 h 320"/>
                <a:gd name="T6" fmla="*/ 308 w 317"/>
                <a:gd name="T7" fmla="*/ 126 h 320"/>
                <a:gd name="T8" fmla="*/ 293 w 317"/>
                <a:gd name="T9" fmla="*/ 94 h 320"/>
                <a:gd name="T10" fmla="*/ 283 w 317"/>
                <a:gd name="T11" fmla="*/ 76 h 320"/>
                <a:gd name="T12" fmla="*/ 262 w 317"/>
                <a:gd name="T13" fmla="*/ 47 h 320"/>
                <a:gd name="T14" fmla="*/ 242 w 317"/>
                <a:gd name="T15" fmla="*/ 41 h 320"/>
                <a:gd name="T16" fmla="*/ 169 w 317"/>
                <a:gd name="T17" fmla="*/ 141 h 320"/>
                <a:gd name="T18" fmla="*/ 220 w 317"/>
                <a:gd name="T19" fmla="*/ 29 h 320"/>
                <a:gd name="T20" fmla="*/ 204 w 317"/>
                <a:gd name="T21" fmla="*/ 13 h 320"/>
                <a:gd name="T22" fmla="*/ 169 w 317"/>
                <a:gd name="T23" fmla="*/ 10 h 320"/>
                <a:gd name="T24" fmla="*/ 148 w 317"/>
                <a:gd name="T25" fmla="*/ 10 h 320"/>
                <a:gd name="T26" fmla="*/ 113 w 317"/>
                <a:gd name="T27" fmla="*/ 13 h 320"/>
                <a:gd name="T28" fmla="*/ 98 w 317"/>
                <a:gd name="T29" fmla="*/ 29 h 320"/>
                <a:gd name="T30" fmla="*/ 148 w 317"/>
                <a:gd name="T31" fmla="*/ 141 h 320"/>
                <a:gd name="T32" fmla="*/ 75 w 317"/>
                <a:gd name="T33" fmla="*/ 41 h 320"/>
                <a:gd name="T34" fmla="*/ 55 w 317"/>
                <a:gd name="T35" fmla="*/ 47 h 320"/>
                <a:gd name="T36" fmla="*/ 35 w 317"/>
                <a:gd name="T37" fmla="*/ 76 h 320"/>
                <a:gd name="T38" fmla="*/ 24 w 317"/>
                <a:gd name="T39" fmla="*/ 94 h 320"/>
                <a:gd name="T40" fmla="*/ 9 w 317"/>
                <a:gd name="T41" fmla="*/ 126 h 320"/>
                <a:gd name="T42" fmla="*/ 12 w 317"/>
                <a:gd name="T43" fmla="*/ 147 h 320"/>
                <a:gd name="T44" fmla="*/ 83 w 317"/>
                <a:gd name="T45" fmla="*/ 128 h 320"/>
                <a:gd name="T46" fmla="*/ 83 w 317"/>
                <a:gd name="T47" fmla="*/ 191 h 320"/>
                <a:gd name="T48" fmla="*/ 2 w 317"/>
                <a:gd name="T49" fmla="*/ 180 h 320"/>
                <a:gd name="T50" fmla="*/ 57 w 317"/>
                <a:gd name="T51" fmla="*/ 206 h 320"/>
                <a:gd name="T52" fmla="*/ 20 w 317"/>
                <a:gd name="T53" fmla="*/ 240 h 320"/>
                <a:gd name="T54" fmla="*/ 35 w 317"/>
                <a:gd name="T55" fmla="*/ 244 h 320"/>
                <a:gd name="T56" fmla="*/ 55 w 317"/>
                <a:gd name="T57" fmla="*/ 272 h 320"/>
                <a:gd name="T58" fmla="*/ 65 w 317"/>
                <a:gd name="T59" fmla="*/ 286 h 320"/>
                <a:gd name="T60" fmla="*/ 94 w 317"/>
                <a:gd name="T61" fmla="*/ 209 h 320"/>
                <a:gd name="T62" fmla="*/ 148 w 317"/>
                <a:gd name="T63" fmla="*/ 241 h 320"/>
                <a:gd name="T64" fmla="*/ 98 w 317"/>
                <a:gd name="T65" fmla="*/ 306 h 320"/>
                <a:gd name="T66" fmla="*/ 113 w 317"/>
                <a:gd name="T67" fmla="*/ 306 h 320"/>
                <a:gd name="T68" fmla="*/ 148 w 317"/>
                <a:gd name="T69" fmla="*/ 309 h 320"/>
                <a:gd name="T70" fmla="*/ 169 w 317"/>
                <a:gd name="T71" fmla="*/ 309 h 320"/>
                <a:gd name="T72" fmla="*/ 204 w 317"/>
                <a:gd name="T73" fmla="*/ 306 h 320"/>
                <a:gd name="T74" fmla="*/ 220 w 317"/>
                <a:gd name="T75" fmla="*/ 306 h 320"/>
                <a:gd name="T76" fmla="*/ 169 w 317"/>
                <a:gd name="T77" fmla="*/ 241 h 320"/>
                <a:gd name="T78" fmla="*/ 223 w 317"/>
                <a:gd name="T79" fmla="*/ 209 h 320"/>
                <a:gd name="T80" fmla="*/ 252 w 317"/>
                <a:gd name="T81" fmla="*/ 286 h 320"/>
                <a:gd name="T82" fmla="*/ 262 w 317"/>
                <a:gd name="T83" fmla="*/ 272 h 320"/>
                <a:gd name="T84" fmla="*/ 283 w 317"/>
                <a:gd name="T85" fmla="*/ 244 h 320"/>
                <a:gd name="T86" fmla="*/ 297 w 317"/>
                <a:gd name="T87" fmla="*/ 240 h 320"/>
                <a:gd name="T88" fmla="*/ 260 w 317"/>
                <a:gd name="T89" fmla="*/ 206 h 320"/>
                <a:gd name="T90" fmla="*/ 316 w 317"/>
                <a:gd name="T91" fmla="*/ 18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7" h="320">
                  <a:moveTo>
                    <a:pt x="303" y="172"/>
                  </a:moveTo>
                  <a:cubicBezTo>
                    <a:pt x="234" y="191"/>
                    <a:pt x="234" y="191"/>
                    <a:pt x="234" y="191"/>
                  </a:cubicBezTo>
                  <a:cubicBezTo>
                    <a:pt x="180" y="160"/>
                    <a:pt x="180" y="160"/>
                    <a:pt x="180" y="160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303" y="147"/>
                    <a:pt x="303" y="147"/>
                    <a:pt x="303" y="147"/>
                  </a:cubicBezTo>
                  <a:cubicBezTo>
                    <a:pt x="304" y="147"/>
                    <a:pt x="305" y="147"/>
                    <a:pt x="305" y="147"/>
                  </a:cubicBezTo>
                  <a:cubicBezTo>
                    <a:pt x="310" y="147"/>
                    <a:pt x="314" y="144"/>
                    <a:pt x="316" y="139"/>
                  </a:cubicBezTo>
                  <a:cubicBezTo>
                    <a:pt x="317" y="134"/>
                    <a:pt x="314" y="128"/>
                    <a:pt x="308" y="126"/>
                  </a:cubicBezTo>
                  <a:cubicBezTo>
                    <a:pt x="260" y="113"/>
                    <a:pt x="260" y="113"/>
                    <a:pt x="260" y="113"/>
                  </a:cubicBezTo>
                  <a:cubicBezTo>
                    <a:pt x="293" y="94"/>
                    <a:pt x="293" y="94"/>
                    <a:pt x="293" y="94"/>
                  </a:cubicBezTo>
                  <a:cubicBezTo>
                    <a:pt x="298" y="91"/>
                    <a:pt x="300" y="85"/>
                    <a:pt x="297" y="80"/>
                  </a:cubicBezTo>
                  <a:cubicBezTo>
                    <a:pt x="294" y="75"/>
                    <a:pt x="288" y="73"/>
                    <a:pt x="283" y="76"/>
                  </a:cubicBezTo>
                  <a:cubicBezTo>
                    <a:pt x="250" y="95"/>
                    <a:pt x="250" y="95"/>
                    <a:pt x="250" y="95"/>
                  </a:cubicBezTo>
                  <a:cubicBezTo>
                    <a:pt x="262" y="47"/>
                    <a:pt x="262" y="47"/>
                    <a:pt x="262" y="47"/>
                  </a:cubicBezTo>
                  <a:cubicBezTo>
                    <a:pt x="264" y="41"/>
                    <a:pt x="261" y="35"/>
                    <a:pt x="255" y="34"/>
                  </a:cubicBezTo>
                  <a:cubicBezTo>
                    <a:pt x="249" y="32"/>
                    <a:pt x="243" y="36"/>
                    <a:pt x="242" y="41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79"/>
                    <a:pt x="169" y="79"/>
                    <a:pt x="169" y="79"/>
                  </a:cubicBezTo>
                  <a:cubicBezTo>
                    <a:pt x="220" y="29"/>
                    <a:pt x="220" y="29"/>
                    <a:pt x="220" y="29"/>
                  </a:cubicBezTo>
                  <a:cubicBezTo>
                    <a:pt x="224" y="24"/>
                    <a:pt x="224" y="18"/>
                    <a:pt x="220" y="13"/>
                  </a:cubicBezTo>
                  <a:cubicBezTo>
                    <a:pt x="215" y="9"/>
                    <a:pt x="209" y="9"/>
                    <a:pt x="204" y="1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69" y="4"/>
                    <a:pt x="165" y="0"/>
                    <a:pt x="159" y="0"/>
                  </a:cubicBezTo>
                  <a:cubicBezTo>
                    <a:pt x="153" y="0"/>
                    <a:pt x="148" y="4"/>
                    <a:pt x="148" y="10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09" y="9"/>
                    <a:pt x="102" y="9"/>
                    <a:pt x="98" y="13"/>
                  </a:cubicBezTo>
                  <a:cubicBezTo>
                    <a:pt x="94" y="18"/>
                    <a:pt x="94" y="24"/>
                    <a:pt x="98" y="29"/>
                  </a:cubicBezTo>
                  <a:cubicBezTo>
                    <a:pt x="148" y="79"/>
                    <a:pt x="148" y="79"/>
                    <a:pt x="148" y="79"/>
                  </a:cubicBezTo>
                  <a:cubicBezTo>
                    <a:pt x="148" y="141"/>
                    <a:pt x="148" y="141"/>
                    <a:pt x="148" y="141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36"/>
                    <a:pt x="68" y="32"/>
                    <a:pt x="62" y="34"/>
                  </a:cubicBezTo>
                  <a:cubicBezTo>
                    <a:pt x="57" y="35"/>
                    <a:pt x="53" y="41"/>
                    <a:pt x="55" y="47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0" y="73"/>
                    <a:pt x="23" y="75"/>
                    <a:pt x="20" y="80"/>
                  </a:cubicBezTo>
                  <a:cubicBezTo>
                    <a:pt x="17" y="85"/>
                    <a:pt x="19" y="91"/>
                    <a:pt x="24" y="9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3" y="128"/>
                    <a:pt x="0" y="134"/>
                    <a:pt x="2" y="139"/>
                  </a:cubicBezTo>
                  <a:cubicBezTo>
                    <a:pt x="3" y="144"/>
                    <a:pt x="7" y="147"/>
                    <a:pt x="12" y="147"/>
                  </a:cubicBezTo>
                  <a:cubicBezTo>
                    <a:pt x="13" y="147"/>
                    <a:pt x="14" y="147"/>
                    <a:pt x="15" y="147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83" y="191"/>
                    <a:pt x="83" y="191"/>
                    <a:pt x="83" y="191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9" y="171"/>
                    <a:pt x="3" y="174"/>
                    <a:pt x="2" y="180"/>
                  </a:cubicBezTo>
                  <a:cubicBezTo>
                    <a:pt x="0" y="186"/>
                    <a:pt x="3" y="192"/>
                    <a:pt x="9" y="193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24" y="225"/>
                    <a:pt x="24" y="225"/>
                    <a:pt x="24" y="225"/>
                  </a:cubicBezTo>
                  <a:cubicBezTo>
                    <a:pt x="19" y="228"/>
                    <a:pt x="17" y="234"/>
                    <a:pt x="20" y="240"/>
                  </a:cubicBezTo>
                  <a:cubicBezTo>
                    <a:pt x="22" y="243"/>
                    <a:pt x="26" y="245"/>
                    <a:pt x="29" y="245"/>
                  </a:cubicBezTo>
                  <a:cubicBezTo>
                    <a:pt x="31" y="245"/>
                    <a:pt x="33" y="244"/>
                    <a:pt x="35" y="244"/>
                  </a:cubicBezTo>
                  <a:cubicBezTo>
                    <a:pt x="68" y="224"/>
                    <a:pt x="68" y="224"/>
                    <a:pt x="68" y="224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3" y="278"/>
                    <a:pt x="57" y="284"/>
                    <a:pt x="62" y="285"/>
                  </a:cubicBezTo>
                  <a:cubicBezTo>
                    <a:pt x="63" y="286"/>
                    <a:pt x="64" y="286"/>
                    <a:pt x="65" y="286"/>
                  </a:cubicBezTo>
                  <a:cubicBezTo>
                    <a:pt x="70" y="286"/>
                    <a:pt x="74" y="283"/>
                    <a:pt x="75" y="278"/>
                  </a:cubicBezTo>
                  <a:cubicBezTo>
                    <a:pt x="94" y="209"/>
                    <a:pt x="94" y="209"/>
                    <a:pt x="94" y="209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8" y="241"/>
                    <a:pt x="148" y="241"/>
                    <a:pt x="148" y="241"/>
                  </a:cubicBezTo>
                  <a:cubicBezTo>
                    <a:pt x="98" y="291"/>
                    <a:pt x="98" y="291"/>
                    <a:pt x="98" y="291"/>
                  </a:cubicBezTo>
                  <a:cubicBezTo>
                    <a:pt x="94" y="295"/>
                    <a:pt x="94" y="302"/>
                    <a:pt x="98" y="306"/>
                  </a:cubicBezTo>
                  <a:cubicBezTo>
                    <a:pt x="100" y="308"/>
                    <a:pt x="103" y="309"/>
                    <a:pt x="105" y="309"/>
                  </a:cubicBezTo>
                  <a:cubicBezTo>
                    <a:pt x="108" y="309"/>
                    <a:pt x="111" y="308"/>
                    <a:pt x="113" y="306"/>
                  </a:cubicBezTo>
                  <a:cubicBezTo>
                    <a:pt x="148" y="271"/>
                    <a:pt x="148" y="271"/>
                    <a:pt x="148" y="271"/>
                  </a:cubicBezTo>
                  <a:cubicBezTo>
                    <a:pt x="148" y="309"/>
                    <a:pt x="148" y="309"/>
                    <a:pt x="148" y="309"/>
                  </a:cubicBezTo>
                  <a:cubicBezTo>
                    <a:pt x="148" y="315"/>
                    <a:pt x="153" y="320"/>
                    <a:pt x="159" y="320"/>
                  </a:cubicBezTo>
                  <a:cubicBezTo>
                    <a:pt x="165" y="320"/>
                    <a:pt x="169" y="315"/>
                    <a:pt x="169" y="309"/>
                  </a:cubicBezTo>
                  <a:cubicBezTo>
                    <a:pt x="169" y="271"/>
                    <a:pt x="169" y="271"/>
                    <a:pt x="169" y="271"/>
                  </a:cubicBezTo>
                  <a:cubicBezTo>
                    <a:pt x="204" y="306"/>
                    <a:pt x="204" y="306"/>
                    <a:pt x="204" y="306"/>
                  </a:cubicBezTo>
                  <a:cubicBezTo>
                    <a:pt x="207" y="308"/>
                    <a:pt x="209" y="309"/>
                    <a:pt x="212" y="309"/>
                  </a:cubicBezTo>
                  <a:cubicBezTo>
                    <a:pt x="215" y="309"/>
                    <a:pt x="217" y="308"/>
                    <a:pt x="220" y="306"/>
                  </a:cubicBezTo>
                  <a:cubicBezTo>
                    <a:pt x="224" y="302"/>
                    <a:pt x="224" y="295"/>
                    <a:pt x="220" y="291"/>
                  </a:cubicBezTo>
                  <a:cubicBezTo>
                    <a:pt x="169" y="241"/>
                    <a:pt x="169" y="241"/>
                    <a:pt x="169" y="241"/>
                  </a:cubicBezTo>
                  <a:cubicBezTo>
                    <a:pt x="169" y="178"/>
                    <a:pt x="169" y="178"/>
                    <a:pt x="169" y="178"/>
                  </a:cubicBezTo>
                  <a:cubicBezTo>
                    <a:pt x="223" y="209"/>
                    <a:pt x="223" y="209"/>
                    <a:pt x="223" y="209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43" y="283"/>
                    <a:pt x="247" y="286"/>
                    <a:pt x="252" y="286"/>
                  </a:cubicBezTo>
                  <a:cubicBezTo>
                    <a:pt x="253" y="286"/>
                    <a:pt x="254" y="286"/>
                    <a:pt x="255" y="285"/>
                  </a:cubicBezTo>
                  <a:cubicBezTo>
                    <a:pt x="261" y="284"/>
                    <a:pt x="264" y="278"/>
                    <a:pt x="262" y="272"/>
                  </a:cubicBezTo>
                  <a:cubicBezTo>
                    <a:pt x="250" y="224"/>
                    <a:pt x="250" y="224"/>
                    <a:pt x="250" y="224"/>
                  </a:cubicBezTo>
                  <a:cubicBezTo>
                    <a:pt x="283" y="244"/>
                    <a:pt x="283" y="244"/>
                    <a:pt x="283" y="244"/>
                  </a:cubicBezTo>
                  <a:cubicBezTo>
                    <a:pt x="284" y="244"/>
                    <a:pt x="286" y="245"/>
                    <a:pt x="288" y="245"/>
                  </a:cubicBezTo>
                  <a:cubicBezTo>
                    <a:pt x="292" y="245"/>
                    <a:pt x="295" y="243"/>
                    <a:pt x="297" y="240"/>
                  </a:cubicBezTo>
                  <a:cubicBezTo>
                    <a:pt x="300" y="234"/>
                    <a:pt x="298" y="228"/>
                    <a:pt x="293" y="225"/>
                  </a:cubicBezTo>
                  <a:cubicBezTo>
                    <a:pt x="260" y="206"/>
                    <a:pt x="260" y="206"/>
                    <a:pt x="260" y="206"/>
                  </a:cubicBezTo>
                  <a:cubicBezTo>
                    <a:pt x="308" y="193"/>
                    <a:pt x="308" y="193"/>
                    <a:pt x="308" y="193"/>
                  </a:cubicBezTo>
                  <a:cubicBezTo>
                    <a:pt x="314" y="192"/>
                    <a:pt x="317" y="186"/>
                    <a:pt x="316" y="180"/>
                  </a:cubicBezTo>
                  <a:cubicBezTo>
                    <a:pt x="314" y="174"/>
                    <a:pt x="308" y="171"/>
                    <a:pt x="303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156"/>
            <p:cNvSpPr>
              <a:spLocks noEditPoints="1"/>
            </p:cNvSpPr>
            <p:nvPr/>
          </p:nvSpPr>
          <p:spPr bwMode="auto">
            <a:xfrm>
              <a:off x="2716" y="3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7" name="Freeform 164"/>
          <p:cNvSpPr>
            <a:spLocks noChangeAspect="1" noEditPoints="1"/>
          </p:cNvSpPr>
          <p:nvPr/>
        </p:nvSpPr>
        <p:spPr bwMode="auto">
          <a:xfrm>
            <a:off x="8392338" y="2051051"/>
            <a:ext cx="369676" cy="36967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31 w 512"/>
              <a:gd name="T5" fmla="*/ 287 h 512"/>
              <a:gd name="T6" fmla="*/ 413 w 512"/>
              <a:gd name="T7" fmla="*/ 276 h 512"/>
              <a:gd name="T8" fmla="*/ 357 w 512"/>
              <a:gd name="T9" fmla="*/ 302 h 512"/>
              <a:gd name="T10" fmla="*/ 394 w 512"/>
              <a:gd name="T11" fmla="*/ 336 h 512"/>
              <a:gd name="T12" fmla="*/ 380 w 512"/>
              <a:gd name="T13" fmla="*/ 340 h 512"/>
              <a:gd name="T14" fmla="*/ 359 w 512"/>
              <a:gd name="T15" fmla="*/ 368 h 512"/>
              <a:gd name="T16" fmla="*/ 349 w 512"/>
              <a:gd name="T17" fmla="*/ 382 h 512"/>
              <a:gd name="T18" fmla="*/ 320 w 512"/>
              <a:gd name="T19" fmla="*/ 305 h 512"/>
              <a:gd name="T20" fmla="*/ 266 w 512"/>
              <a:gd name="T21" fmla="*/ 337 h 512"/>
              <a:gd name="T22" fmla="*/ 317 w 512"/>
              <a:gd name="T23" fmla="*/ 402 h 512"/>
              <a:gd name="T24" fmla="*/ 301 w 512"/>
              <a:gd name="T25" fmla="*/ 402 h 512"/>
              <a:gd name="T26" fmla="*/ 266 w 512"/>
              <a:gd name="T27" fmla="*/ 405 h 512"/>
              <a:gd name="T28" fmla="*/ 245 w 512"/>
              <a:gd name="T29" fmla="*/ 405 h 512"/>
              <a:gd name="T30" fmla="*/ 210 w 512"/>
              <a:gd name="T31" fmla="*/ 402 h 512"/>
              <a:gd name="T32" fmla="*/ 195 w 512"/>
              <a:gd name="T33" fmla="*/ 402 h 512"/>
              <a:gd name="T34" fmla="*/ 245 w 512"/>
              <a:gd name="T35" fmla="*/ 337 h 512"/>
              <a:gd name="T36" fmla="*/ 191 w 512"/>
              <a:gd name="T37" fmla="*/ 305 h 512"/>
              <a:gd name="T38" fmla="*/ 162 w 512"/>
              <a:gd name="T39" fmla="*/ 382 h 512"/>
              <a:gd name="T40" fmla="*/ 152 w 512"/>
              <a:gd name="T41" fmla="*/ 368 h 512"/>
              <a:gd name="T42" fmla="*/ 132 w 512"/>
              <a:gd name="T43" fmla="*/ 340 h 512"/>
              <a:gd name="T44" fmla="*/ 117 w 512"/>
              <a:gd name="T45" fmla="*/ 336 h 512"/>
              <a:gd name="T46" fmla="*/ 154 w 512"/>
              <a:gd name="T47" fmla="*/ 302 h 512"/>
              <a:gd name="T48" fmla="*/ 99 w 512"/>
              <a:gd name="T49" fmla="*/ 276 h 512"/>
              <a:gd name="T50" fmla="*/ 180 w 512"/>
              <a:gd name="T51" fmla="*/ 287 h 512"/>
              <a:gd name="T52" fmla="*/ 180 w 512"/>
              <a:gd name="T53" fmla="*/ 224 h 512"/>
              <a:gd name="T54" fmla="*/ 109 w 512"/>
              <a:gd name="T55" fmla="*/ 243 h 512"/>
              <a:gd name="T56" fmla="*/ 106 w 512"/>
              <a:gd name="T57" fmla="*/ 222 h 512"/>
              <a:gd name="T58" fmla="*/ 121 w 512"/>
              <a:gd name="T59" fmla="*/ 190 h 512"/>
              <a:gd name="T60" fmla="*/ 132 w 512"/>
              <a:gd name="T61" fmla="*/ 172 h 512"/>
              <a:gd name="T62" fmla="*/ 152 w 512"/>
              <a:gd name="T63" fmla="*/ 143 h 512"/>
              <a:gd name="T64" fmla="*/ 172 w 512"/>
              <a:gd name="T65" fmla="*/ 137 h 512"/>
              <a:gd name="T66" fmla="*/ 245 w 512"/>
              <a:gd name="T67" fmla="*/ 237 h 512"/>
              <a:gd name="T68" fmla="*/ 195 w 512"/>
              <a:gd name="T69" fmla="*/ 125 h 512"/>
              <a:gd name="T70" fmla="*/ 210 w 512"/>
              <a:gd name="T71" fmla="*/ 109 h 512"/>
              <a:gd name="T72" fmla="*/ 245 w 512"/>
              <a:gd name="T73" fmla="*/ 106 h 512"/>
              <a:gd name="T74" fmla="*/ 266 w 512"/>
              <a:gd name="T75" fmla="*/ 106 h 512"/>
              <a:gd name="T76" fmla="*/ 301 w 512"/>
              <a:gd name="T77" fmla="*/ 109 h 512"/>
              <a:gd name="T78" fmla="*/ 317 w 512"/>
              <a:gd name="T79" fmla="*/ 125 h 512"/>
              <a:gd name="T80" fmla="*/ 266 w 512"/>
              <a:gd name="T81" fmla="*/ 237 h 512"/>
              <a:gd name="T82" fmla="*/ 339 w 512"/>
              <a:gd name="T83" fmla="*/ 137 h 512"/>
              <a:gd name="T84" fmla="*/ 359 w 512"/>
              <a:gd name="T85" fmla="*/ 143 h 512"/>
              <a:gd name="T86" fmla="*/ 380 w 512"/>
              <a:gd name="T87" fmla="*/ 172 h 512"/>
              <a:gd name="T88" fmla="*/ 390 w 512"/>
              <a:gd name="T89" fmla="*/ 190 h 512"/>
              <a:gd name="T90" fmla="*/ 405 w 512"/>
              <a:gd name="T91" fmla="*/ 222 h 512"/>
              <a:gd name="T92" fmla="*/ 402 w 512"/>
              <a:gd name="T93" fmla="*/ 243 h 512"/>
              <a:gd name="T94" fmla="*/ 331 w 512"/>
              <a:gd name="T95" fmla="*/ 224 h 512"/>
              <a:gd name="T96" fmla="*/ 331 w 512"/>
              <a:gd name="T97" fmla="*/ 28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1" y="287"/>
                </a:moveTo>
                <a:cubicBezTo>
                  <a:pt x="400" y="268"/>
                  <a:pt x="400" y="268"/>
                  <a:pt x="400" y="268"/>
                </a:cubicBezTo>
                <a:cubicBezTo>
                  <a:pt x="405" y="267"/>
                  <a:pt x="411" y="270"/>
                  <a:pt x="413" y="276"/>
                </a:cubicBezTo>
                <a:cubicBezTo>
                  <a:pt x="414" y="282"/>
                  <a:pt x="411" y="288"/>
                  <a:pt x="405" y="289"/>
                </a:cubicBezTo>
                <a:cubicBezTo>
                  <a:pt x="357" y="302"/>
                  <a:pt x="357" y="302"/>
                  <a:pt x="357" y="302"/>
                </a:cubicBezTo>
                <a:cubicBezTo>
                  <a:pt x="390" y="321"/>
                  <a:pt x="390" y="321"/>
                  <a:pt x="390" y="321"/>
                </a:cubicBezTo>
                <a:cubicBezTo>
                  <a:pt x="395" y="324"/>
                  <a:pt x="397" y="330"/>
                  <a:pt x="394" y="336"/>
                </a:cubicBezTo>
                <a:cubicBezTo>
                  <a:pt x="392" y="339"/>
                  <a:pt x="389" y="341"/>
                  <a:pt x="385" y="341"/>
                </a:cubicBezTo>
                <a:cubicBezTo>
                  <a:pt x="383" y="341"/>
                  <a:pt x="381" y="340"/>
                  <a:pt x="380" y="340"/>
                </a:cubicBezTo>
                <a:cubicBezTo>
                  <a:pt x="347" y="320"/>
                  <a:pt x="347" y="320"/>
                  <a:pt x="347" y="320"/>
                </a:cubicBezTo>
                <a:cubicBezTo>
                  <a:pt x="359" y="368"/>
                  <a:pt x="359" y="368"/>
                  <a:pt x="359" y="368"/>
                </a:cubicBezTo>
                <a:cubicBezTo>
                  <a:pt x="361" y="374"/>
                  <a:pt x="358" y="380"/>
                  <a:pt x="352" y="381"/>
                </a:cubicBezTo>
                <a:cubicBezTo>
                  <a:pt x="351" y="382"/>
                  <a:pt x="350" y="382"/>
                  <a:pt x="349" y="382"/>
                </a:cubicBezTo>
                <a:cubicBezTo>
                  <a:pt x="344" y="382"/>
                  <a:pt x="340" y="379"/>
                  <a:pt x="339" y="374"/>
                </a:cubicBezTo>
                <a:cubicBezTo>
                  <a:pt x="320" y="305"/>
                  <a:pt x="320" y="305"/>
                  <a:pt x="320" y="305"/>
                </a:cubicBezTo>
                <a:cubicBezTo>
                  <a:pt x="266" y="274"/>
                  <a:pt x="266" y="274"/>
                  <a:pt x="266" y="274"/>
                </a:cubicBezTo>
                <a:cubicBezTo>
                  <a:pt x="266" y="337"/>
                  <a:pt x="266" y="337"/>
                  <a:pt x="266" y="337"/>
                </a:cubicBezTo>
                <a:cubicBezTo>
                  <a:pt x="317" y="387"/>
                  <a:pt x="317" y="387"/>
                  <a:pt x="317" y="387"/>
                </a:cubicBezTo>
                <a:cubicBezTo>
                  <a:pt x="321" y="391"/>
                  <a:pt x="321" y="398"/>
                  <a:pt x="317" y="402"/>
                </a:cubicBezTo>
                <a:cubicBezTo>
                  <a:pt x="314" y="404"/>
                  <a:pt x="312" y="405"/>
                  <a:pt x="309" y="405"/>
                </a:cubicBezTo>
                <a:cubicBezTo>
                  <a:pt x="306" y="405"/>
                  <a:pt x="304" y="404"/>
                  <a:pt x="301" y="402"/>
                </a:cubicBezTo>
                <a:cubicBezTo>
                  <a:pt x="266" y="367"/>
                  <a:pt x="266" y="367"/>
                  <a:pt x="266" y="367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367"/>
                  <a:pt x="245" y="367"/>
                  <a:pt x="245" y="367"/>
                </a:cubicBezTo>
                <a:cubicBezTo>
                  <a:pt x="210" y="402"/>
                  <a:pt x="210" y="402"/>
                  <a:pt x="210" y="402"/>
                </a:cubicBezTo>
                <a:cubicBezTo>
                  <a:pt x="208" y="404"/>
                  <a:pt x="205" y="405"/>
                  <a:pt x="202" y="405"/>
                </a:cubicBezTo>
                <a:cubicBezTo>
                  <a:pt x="200" y="405"/>
                  <a:pt x="197" y="404"/>
                  <a:pt x="195" y="402"/>
                </a:cubicBezTo>
                <a:cubicBezTo>
                  <a:pt x="191" y="398"/>
                  <a:pt x="191" y="391"/>
                  <a:pt x="195" y="387"/>
                </a:cubicBezTo>
                <a:cubicBezTo>
                  <a:pt x="245" y="337"/>
                  <a:pt x="245" y="337"/>
                  <a:pt x="245" y="337"/>
                </a:cubicBezTo>
                <a:cubicBezTo>
                  <a:pt x="245" y="274"/>
                  <a:pt x="245" y="274"/>
                  <a:pt x="245" y="274"/>
                </a:cubicBezTo>
                <a:cubicBezTo>
                  <a:pt x="191" y="305"/>
                  <a:pt x="191" y="305"/>
                  <a:pt x="191" y="305"/>
                </a:cubicBezTo>
                <a:cubicBezTo>
                  <a:pt x="172" y="374"/>
                  <a:pt x="172" y="374"/>
                  <a:pt x="172" y="374"/>
                </a:cubicBezTo>
                <a:cubicBezTo>
                  <a:pt x="171" y="379"/>
                  <a:pt x="167" y="382"/>
                  <a:pt x="162" y="382"/>
                </a:cubicBezTo>
                <a:cubicBezTo>
                  <a:pt x="161" y="382"/>
                  <a:pt x="160" y="382"/>
                  <a:pt x="159" y="381"/>
                </a:cubicBezTo>
                <a:cubicBezTo>
                  <a:pt x="154" y="380"/>
                  <a:pt x="150" y="374"/>
                  <a:pt x="152" y="368"/>
                </a:cubicBezTo>
                <a:cubicBezTo>
                  <a:pt x="165" y="320"/>
                  <a:pt x="165" y="320"/>
                  <a:pt x="165" y="320"/>
                </a:cubicBezTo>
                <a:cubicBezTo>
                  <a:pt x="132" y="340"/>
                  <a:pt x="132" y="340"/>
                  <a:pt x="132" y="340"/>
                </a:cubicBezTo>
                <a:cubicBezTo>
                  <a:pt x="130" y="340"/>
                  <a:pt x="128" y="341"/>
                  <a:pt x="126" y="341"/>
                </a:cubicBezTo>
                <a:cubicBezTo>
                  <a:pt x="123" y="341"/>
                  <a:pt x="119" y="339"/>
                  <a:pt x="117" y="336"/>
                </a:cubicBezTo>
                <a:cubicBezTo>
                  <a:pt x="114" y="330"/>
                  <a:pt x="116" y="324"/>
                  <a:pt x="121" y="321"/>
                </a:cubicBezTo>
                <a:cubicBezTo>
                  <a:pt x="154" y="302"/>
                  <a:pt x="154" y="302"/>
                  <a:pt x="154" y="302"/>
                </a:cubicBezTo>
                <a:cubicBezTo>
                  <a:pt x="106" y="289"/>
                  <a:pt x="106" y="289"/>
                  <a:pt x="106" y="289"/>
                </a:cubicBezTo>
                <a:cubicBezTo>
                  <a:pt x="100" y="288"/>
                  <a:pt x="97" y="282"/>
                  <a:pt x="99" y="276"/>
                </a:cubicBezTo>
                <a:cubicBezTo>
                  <a:pt x="100" y="270"/>
                  <a:pt x="106" y="267"/>
                  <a:pt x="112" y="268"/>
                </a:cubicBezTo>
                <a:cubicBezTo>
                  <a:pt x="180" y="287"/>
                  <a:pt x="180" y="287"/>
                  <a:pt x="180" y="287"/>
                </a:cubicBezTo>
                <a:cubicBezTo>
                  <a:pt x="234" y="256"/>
                  <a:pt x="234" y="256"/>
                  <a:pt x="234" y="256"/>
                </a:cubicBezTo>
                <a:cubicBezTo>
                  <a:pt x="180" y="224"/>
                  <a:pt x="180" y="224"/>
                  <a:pt x="180" y="224"/>
                </a:cubicBezTo>
                <a:cubicBezTo>
                  <a:pt x="112" y="243"/>
                  <a:pt x="112" y="243"/>
                  <a:pt x="112" y="243"/>
                </a:cubicBezTo>
                <a:cubicBezTo>
                  <a:pt x="111" y="243"/>
                  <a:pt x="110" y="243"/>
                  <a:pt x="109" y="243"/>
                </a:cubicBezTo>
                <a:cubicBezTo>
                  <a:pt x="104" y="243"/>
                  <a:pt x="100" y="240"/>
                  <a:pt x="99" y="235"/>
                </a:cubicBezTo>
                <a:cubicBezTo>
                  <a:pt x="97" y="230"/>
                  <a:pt x="100" y="224"/>
                  <a:pt x="106" y="222"/>
                </a:cubicBezTo>
                <a:cubicBezTo>
                  <a:pt x="154" y="209"/>
                  <a:pt x="154" y="209"/>
                  <a:pt x="154" y="209"/>
                </a:cubicBezTo>
                <a:cubicBezTo>
                  <a:pt x="121" y="190"/>
                  <a:pt x="121" y="190"/>
                  <a:pt x="121" y="190"/>
                </a:cubicBezTo>
                <a:cubicBezTo>
                  <a:pt x="116" y="187"/>
                  <a:pt x="114" y="181"/>
                  <a:pt x="117" y="176"/>
                </a:cubicBezTo>
                <a:cubicBezTo>
                  <a:pt x="120" y="171"/>
                  <a:pt x="127" y="169"/>
                  <a:pt x="132" y="172"/>
                </a:cubicBezTo>
                <a:cubicBezTo>
                  <a:pt x="165" y="191"/>
                  <a:pt x="165" y="191"/>
                  <a:pt x="165" y="191"/>
                </a:cubicBezTo>
                <a:cubicBezTo>
                  <a:pt x="152" y="143"/>
                  <a:pt x="152" y="143"/>
                  <a:pt x="152" y="143"/>
                </a:cubicBezTo>
                <a:cubicBezTo>
                  <a:pt x="150" y="137"/>
                  <a:pt x="154" y="131"/>
                  <a:pt x="159" y="130"/>
                </a:cubicBezTo>
                <a:cubicBezTo>
                  <a:pt x="165" y="128"/>
                  <a:pt x="171" y="132"/>
                  <a:pt x="172" y="137"/>
                </a:cubicBezTo>
                <a:cubicBezTo>
                  <a:pt x="191" y="206"/>
                  <a:pt x="191" y="206"/>
                  <a:pt x="191" y="206"/>
                </a:cubicBezTo>
                <a:cubicBezTo>
                  <a:pt x="245" y="237"/>
                  <a:pt x="245" y="237"/>
                  <a:pt x="245" y="237"/>
                </a:cubicBezTo>
                <a:cubicBezTo>
                  <a:pt x="245" y="175"/>
                  <a:pt x="245" y="175"/>
                  <a:pt x="245" y="175"/>
                </a:cubicBezTo>
                <a:cubicBezTo>
                  <a:pt x="195" y="125"/>
                  <a:pt x="195" y="125"/>
                  <a:pt x="195" y="125"/>
                </a:cubicBezTo>
                <a:cubicBezTo>
                  <a:pt x="191" y="120"/>
                  <a:pt x="191" y="114"/>
                  <a:pt x="195" y="109"/>
                </a:cubicBezTo>
                <a:cubicBezTo>
                  <a:pt x="199" y="105"/>
                  <a:pt x="206" y="105"/>
                  <a:pt x="210" y="109"/>
                </a:cubicBezTo>
                <a:cubicBezTo>
                  <a:pt x="245" y="145"/>
                  <a:pt x="245" y="145"/>
                  <a:pt x="245" y="145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50" y="96"/>
                  <a:pt x="256" y="96"/>
                </a:cubicBezTo>
                <a:cubicBezTo>
                  <a:pt x="262" y="96"/>
                  <a:pt x="266" y="100"/>
                  <a:pt x="266" y="106"/>
                </a:cubicBezTo>
                <a:cubicBezTo>
                  <a:pt x="266" y="145"/>
                  <a:pt x="266" y="145"/>
                  <a:pt x="266" y="145"/>
                </a:cubicBezTo>
                <a:cubicBezTo>
                  <a:pt x="301" y="109"/>
                  <a:pt x="301" y="109"/>
                  <a:pt x="301" y="109"/>
                </a:cubicBezTo>
                <a:cubicBezTo>
                  <a:pt x="306" y="105"/>
                  <a:pt x="312" y="105"/>
                  <a:pt x="317" y="109"/>
                </a:cubicBezTo>
                <a:cubicBezTo>
                  <a:pt x="321" y="114"/>
                  <a:pt x="321" y="120"/>
                  <a:pt x="317" y="12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20" y="206"/>
                  <a:pt x="320" y="206"/>
                  <a:pt x="320" y="206"/>
                </a:cubicBezTo>
                <a:cubicBezTo>
                  <a:pt x="339" y="137"/>
                  <a:pt x="339" y="137"/>
                  <a:pt x="339" y="137"/>
                </a:cubicBezTo>
                <a:cubicBezTo>
                  <a:pt x="340" y="132"/>
                  <a:pt x="346" y="128"/>
                  <a:pt x="352" y="130"/>
                </a:cubicBezTo>
                <a:cubicBezTo>
                  <a:pt x="358" y="131"/>
                  <a:pt x="361" y="137"/>
                  <a:pt x="359" y="143"/>
                </a:cubicBezTo>
                <a:cubicBezTo>
                  <a:pt x="347" y="191"/>
                  <a:pt x="347" y="191"/>
                  <a:pt x="347" y="191"/>
                </a:cubicBezTo>
                <a:cubicBezTo>
                  <a:pt x="380" y="172"/>
                  <a:pt x="380" y="172"/>
                  <a:pt x="380" y="172"/>
                </a:cubicBezTo>
                <a:cubicBezTo>
                  <a:pt x="385" y="169"/>
                  <a:pt x="391" y="171"/>
                  <a:pt x="394" y="176"/>
                </a:cubicBezTo>
                <a:cubicBezTo>
                  <a:pt x="397" y="181"/>
                  <a:pt x="395" y="187"/>
                  <a:pt x="390" y="190"/>
                </a:cubicBezTo>
                <a:cubicBezTo>
                  <a:pt x="357" y="209"/>
                  <a:pt x="357" y="209"/>
                  <a:pt x="357" y="209"/>
                </a:cubicBezTo>
                <a:cubicBezTo>
                  <a:pt x="405" y="222"/>
                  <a:pt x="405" y="222"/>
                  <a:pt x="405" y="222"/>
                </a:cubicBezTo>
                <a:cubicBezTo>
                  <a:pt x="411" y="224"/>
                  <a:pt x="414" y="230"/>
                  <a:pt x="413" y="235"/>
                </a:cubicBezTo>
                <a:cubicBezTo>
                  <a:pt x="411" y="240"/>
                  <a:pt x="407" y="243"/>
                  <a:pt x="402" y="243"/>
                </a:cubicBezTo>
                <a:cubicBezTo>
                  <a:pt x="402" y="243"/>
                  <a:pt x="401" y="243"/>
                  <a:pt x="400" y="243"/>
                </a:cubicBezTo>
                <a:cubicBezTo>
                  <a:pt x="331" y="224"/>
                  <a:pt x="331" y="224"/>
                  <a:pt x="331" y="224"/>
                </a:cubicBezTo>
                <a:cubicBezTo>
                  <a:pt x="277" y="256"/>
                  <a:pt x="277" y="256"/>
                  <a:pt x="277" y="256"/>
                </a:cubicBezTo>
                <a:lnTo>
                  <a:pt x="331" y="28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8" name="Group 167"/>
          <p:cNvGrpSpPr>
            <a:grpSpLocks noChangeAspect="1"/>
          </p:cNvGrpSpPr>
          <p:nvPr/>
        </p:nvGrpSpPr>
        <p:grpSpPr bwMode="auto">
          <a:xfrm>
            <a:off x="7893302" y="2051051"/>
            <a:ext cx="369676" cy="369676"/>
            <a:chOff x="1941" y="385"/>
            <a:chExt cx="340" cy="340"/>
          </a:xfrm>
          <a:solidFill>
            <a:schemeClr val="accent2"/>
          </a:solidFill>
        </p:grpSpPr>
        <p:sp>
          <p:nvSpPr>
            <p:cNvPr id="319" name="Freeform 168"/>
            <p:cNvSpPr>
              <a:spLocks noEditPoints="1"/>
            </p:cNvSpPr>
            <p:nvPr/>
          </p:nvSpPr>
          <p:spPr bwMode="auto">
            <a:xfrm>
              <a:off x="1941" y="3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169"/>
            <p:cNvSpPr>
              <a:spLocks/>
            </p:cNvSpPr>
            <p:nvPr/>
          </p:nvSpPr>
          <p:spPr bwMode="auto">
            <a:xfrm>
              <a:off x="2090" y="625"/>
              <a:ext cx="41" cy="43"/>
            </a:xfrm>
            <a:custGeom>
              <a:avLst/>
              <a:gdLst>
                <a:gd name="T0" fmla="*/ 58 w 61"/>
                <a:gd name="T1" fmla="*/ 16 h 64"/>
                <a:gd name="T2" fmla="*/ 44 w 61"/>
                <a:gd name="T3" fmla="*/ 12 h 64"/>
                <a:gd name="T4" fmla="*/ 41 w 61"/>
                <a:gd name="T5" fmla="*/ 14 h 64"/>
                <a:gd name="T6" fmla="*/ 41 w 61"/>
                <a:gd name="T7" fmla="*/ 11 h 64"/>
                <a:gd name="T8" fmla="*/ 31 w 61"/>
                <a:gd name="T9" fmla="*/ 0 h 64"/>
                <a:gd name="T10" fmla="*/ 20 w 61"/>
                <a:gd name="T11" fmla="*/ 11 h 64"/>
                <a:gd name="T12" fmla="*/ 20 w 61"/>
                <a:gd name="T13" fmla="*/ 14 h 64"/>
                <a:gd name="T14" fmla="*/ 18 w 61"/>
                <a:gd name="T15" fmla="*/ 12 h 64"/>
                <a:gd name="T16" fmla="*/ 3 w 61"/>
                <a:gd name="T17" fmla="*/ 16 h 64"/>
                <a:gd name="T18" fmla="*/ 7 w 61"/>
                <a:gd name="T19" fmla="*/ 31 h 64"/>
                <a:gd name="T20" fmla="*/ 9 w 61"/>
                <a:gd name="T21" fmla="*/ 32 h 64"/>
                <a:gd name="T22" fmla="*/ 7 w 61"/>
                <a:gd name="T23" fmla="*/ 34 h 64"/>
                <a:gd name="T24" fmla="*/ 3 w 61"/>
                <a:gd name="T25" fmla="*/ 48 h 64"/>
                <a:gd name="T26" fmla="*/ 12 w 61"/>
                <a:gd name="T27" fmla="*/ 54 h 64"/>
                <a:gd name="T28" fmla="*/ 18 w 61"/>
                <a:gd name="T29" fmla="*/ 52 h 64"/>
                <a:gd name="T30" fmla="*/ 20 w 61"/>
                <a:gd name="T31" fmla="*/ 51 h 64"/>
                <a:gd name="T32" fmla="*/ 20 w 61"/>
                <a:gd name="T33" fmla="*/ 54 h 64"/>
                <a:gd name="T34" fmla="*/ 31 w 61"/>
                <a:gd name="T35" fmla="*/ 64 h 64"/>
                <a:gd name="T36" fmla="*/ 41 w 61"/>
                <a:gd name="T37" fmla="*/ 54 h 64"/>
                <a:gd name="T38" fmla="*/ 41 w 61"/>
                <a:gd name="T39" fmla="*/ 51 h 64"/>
                <a:gd name="T40" fmla="*/ 44 w 61"/>
                <a:gd name="T41" fmla="*/ 52 h 64"/>
                <a:gd name="T42" fmla="*/ 49 w 61"/>
                <a:gd name="T43" fmla="*/ 54 h 64"/>
                <a:gd name="T44" fmla="*/ 58 w 61"/>
                <a:gd name="T45" fmla="*/ 48 h 64"/>
                <a:gd name="T46" fmla="*/ 54 w 61"/>
                <a:gd name="T47" fmla="*/ 34 h 64"/>
                <a:gd name="T48" fmla="*/ 52 w 61"/>
                <a:gd name="T49" fmla="*/ 32 h 64"/>
                <a:gd name="T50" fmla="*/ 54 w 61"/>
                <a:gd name="T51" fmla="*/ 31 h 64"/>
                <a:gd name="T52" fmla="*/ 58 w 61"/>
                <a:gd name="T5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1" h="64">
                  <a:moveTo>
                    <a:pt x="58" y="16"/>
                  </a:moveTo>
                  <a:cubicBezTo>
                    <a:pt x="55" y="11"/>
                    <a:pt x="49" y="9"/>
                    <a:pt x="44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5"/>
                    <a:pt x="37" y="0"/>
                    <a:pt x="31" y="0"/>
                  </a:cubicBezTo>
                  <a:cubicBezTo>
                    <a:pt x="25" y="0"/>
                    <a:pt x="20" y="5"/>
                    <a:pt x="20" y="11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2" y="9"/>
                    <a:pt x="6" y="11"/>
                    <a:pt x="3" y="16"/>
                  </a:cubicBezTo>
                  <a:cubicBezTo>
                    <a:pt x="0" y="21"/>
                    <a:pt x="2" y="28"/>
                    <a:pt x="7" y="31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" y="37"/>
                    <a:pt x="0" y="43"/>
                    <a:pt x="3" y="48"/>
                  </a:cubicBezTo>
                  <a:cubicBezTo>
                    <a:pt x="5" y="52"/>
                    <a:pt x="9" y="54"/>
                    <a:pt x="12" y="54"/>
                  </a:cubicBezTo>
                  <a:cubicBezTo>
                    <a:pt x="14" y="54"/>
                    <a:pt x="16" y="53"/>
                    <a:pt x="18" y="52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60"/>
                    <a:pt x="25" y="64"/>
                    <a:pt x="31" y="64"/>
                  </a:cubicBezTo>
                  <a:cubicBezTo>
                    <a:pt x="37" y="64"/>
                    <a:pt x="41" y="60"/>
                    <a:pt x="41" y="54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5" y="53"/>
                    <a:pt x="47" y="54"/>
                    <a:pt x="49" y="54"/>
                  </a:cubicBezTo>
                  <a:cubicBezTo>
                    <a:pt x="53" y="54"/>
                    <a:pt x="56" y="52"/>
                    <a:pt x="58" y="48"/>
                  </a:cubicBezTo>
                  <a:cubicBezTo>
                    <a:pt x="61" y="43"/>
                    <a:pt x="60" y="37"/>
                    <a:pt x="54" y="34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60" y="28"/>
                    <a:pt x="61" y="21"/>
                    <a:pt x="5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170"/>
            <p:cNvSpPr>
              <a:spLocks/>
            </p:cNvSpPr>
            <p:nvPr/>
          </p:nvSpPr>
          <p:spPr bwMode="auto">
            <a:xfrm>
              <a:off x="2147" y="590"/>
              <a:ext cx="41" cy="43"/>
            </a:xfrm>
            <a:custGeom>
              <a:avLst/>
              <a:gdLst>
                <a:gd name="T0" fmla="*/ 55 w 62"/>
                <a:gd name="T1" fmla="*/ 33 h 64"/>
                <a:gd name="T2" fmla="*/ 52 w 62"/>
                <a:gd name="T3" fmla="*/ 32 h 64"/>
                <a:gd name="T4" fmla="*/ 55 w 62"/>
                <a:gd name="T5" fmla="*/ 31 h 64"/>
                <a:gd name="T6" fmla="*/ 59 w 62"/>
                <a:gd name="T7" fmla="*/ 16 h 64"/>
                <a:gd name="T8" fmla="*/ 44 w 62"/>
                <a:gd name="T9" fmla="*/ 12 h 64"/>
                <a:gd name="T10" fmla="*/ 42 w 62"/>
                <a:gd name="T11" fmla="*/ 14 h 64"/>
                <a:gd name="T12" fmla="*/ 42 w 62"/>
                <a:gd name="T13" fmla="*/ 11 h 64"/>
                <a:gd name="T14" fmla="*/ 31 w 62"/>
                <a:gd name="T15" fmla="*/ 0 h 64"/>
                <a:gd name="T16" fmla="*/ 20 w 62"/>
                <a:gd name="T17" fmla="*/ 11 h 64"/>
                <a:gd name="T18" fmla="*/ 20 w 62"/>
                <a:gd name="T19" fmla="*/ 14 h 64"/>
                <a:gd name="T20" fmla="*/ 18 w 62"/>
                <a:gd name="T21" fmla="*/ 12 h 64"/>
                <a:gd name="T22" fmla="*/ 3 w 62"/>
                <a:gd name="T23" fmla="*/ 16 h 64"/>
                <a:gd name="T24" fmla="*/ 7 w 62"/>
                <a:gd name="T25" fmla="*/ 31 h 64"/>
                <a:gd name="T26" fmla="*/ 10 w 62"/>
                <a:gd name="T27" fmla="*/ 32 h 64"/>
                <a:gd name="T28" fmla="*/ 7 w 62"/>
                <a:gd name="T29" fmla="*/ 33 h 64"/>
                <a:gd name="T30" fmla="*/ 3 w 62"/>
                <a:gd name="T31" fmla="*/ 48 h 64"/>
                <a:gd name="T32" fmla="*/ 13 w 62"/>
                <a:gd name="T33" fmla="*/ 53 h 64"/>
                <a:gd name="T34" fmla="*/ 18 w 62"/>
                <a:gd name="T35" fmla="*/ 52 h 64"/>
                <a:gd name="T36" fmla="*/ 20 w 62"/>
                <a:gd name="T37" fmla="*/ 50 h 64"/>
                <a:gd name="T38" fmla="*/ 20 w 62"/>
                <a:gd name="T39" fmla="*/ 53 h 64"/>
                <a:gd name="T40" fmla="*/ 31 w 62"/>
                <a:gd name="T41" fmla="*/ 64 h 64"/>
                <a:gd name="T42" fmla="*/ 42 w 62"/>
                <a:gd name="T43" fmla="*/ 53 h 64"/>
                <a:gd name="T44" fmla="*/ 42 w 62"/>
                <a:gd name="T45" fmla="*/ 50 h 64"/>
                <a:gd name="T46" fmla="*/ 44 w 62"/>
                <a:gd name="T47" fmla="*/ 52 h 64"/>
                <a:gd name="T48" fmla="*/ 49 w 62"/>
                <a:gd name="T49" fmla="*/ 53 h 64"/>
                <a:gd name="T50" fmla="*/ 59 w 62"/>
                <a:gd name="T51" fmla="*/ 48 h 64"/>
                <a:gd name="T52" fmla="*/ 55 w 62"/>
                <a:gd name="T53" fmla="*/ 3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" h="64">
                  <a:moveTo>
                    <a:pt x="55" y="33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60" y="28"/>
                    <a:pt x="62" y="21"/>
                    <a:pt x="59" y="16"/>
                  </a:cubicBezTo>
                  <a:cubicBezTo>
                    <a:pt x="56" y="11"/>
                    <a:pt x="49" y="9"/>
                    <a:pt x="44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5"/>
                    <a:pt x="37" y="0"/>
                    <a:pt x="31" y="0"/>
                  </a:cubicBezTo>
                  <a:cubicBezTo>
                    <a:pt x="25" y="0"/>
                    <a:pt x="20" y="5"/>
                    <a:pt x="20" y="11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9"/>
                    <a:pt x="6" y="11"/>
                    <a:pt x="3" y="16"/>
                  </a:cubicBezTo>
                  <a:cubicBezTo>
                    <a:pt x="0" y="21"/>
                    <a:pt x="2" y="28"/>
                    <a:pt x="7" y="31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2" y="36"/>
                    <a:pt x="0" y="43"/>
                    <a:pt x="3" y="48"/>
                  </a:cubicBezTo>
                  <a:cubicBezTo>
                    <a:pt x="5" y="51"/>
                    <a:pt x="9" y="53"/>
                    <a:pt x="13" y="53"/>
                  </a:cubicBezTo>
                  <a:cubicBezTo>
                    <a:pt x="14" y="53"/>
                    <a:pt x="16" y="53"/>
                    <a:pt x="18" y="52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9"/>
                    <a:pt x="25" y="64"/>
                    <a:pt x="31" y="64"/>
                  </a:cubicBezTo>
                  <a:cubicBezTo>
                    <a:pt x="37" y="64"/>
                    <a:pt x="42" y="59"/>
                    <a:pt x="42" y="53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6" y="53"/>
                    <a:pt x="48" y="53"/>
                    <a:pt x="49" y="53"/>
                  </a:cubicBezTo>
                  <a:cubicBezTo>
                    <a:pt x="53" y="53"/>
                    <a:pt x="57" y="51"/>
                    <a:pt x="59" y="48"/>
                  </a:cubicBezTo>
                  <a:cubicBezTo>
                    <a:pt x="62" y="43"/>
                    <a:pt x="60" y="36"/>
                    <a:pt x="5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171"/>
            <p:cNvSpPr>
              <a:spLocks/>
            </p:cNvSpPr>
            <p:nvPr/>
          </p:nvSpPr>
          <p:spPr bwMode="auto">
            <a:xfrm>
              <a:off x="2034" y="597"/>
              <a:ext cx="40" cy="43"/>
            </a:xfrm>
            <a:custGeom>
              <a:avLst/>
              <a:gdLst>
                <a:gd name="T0" fmla="*/ 58 w 61"/>
                <a:gd name="T1" fmla="*/ 16 h 64"/>
                <a:gd name="T2" fmla="*/ 43 w 61"/>
                <a:gd name="T3" fmla="*/ 12 h 64"/>
                <a:gd name="T4" fmla="*/ 41 w 61"/>
                <a:gd name="T5" fmla="*/ 13 h 64"/>
                <a:gd name="T6" fmla="*/ 41 w 61"/>
                <a:gd name="T7" fmla="*/ 10 h 64"/>
                <a:gd name="T8" fmla="*/ 30 w 61"/>
                <a:gd name="T9" fmla="*/ 0 h 64"/>
                <a:gd name="T10" fmla="*/ 20 w 61"/>
                <a:gd name="T11" fmla="*/ 10 h 64"/>
                <a:gd name="T12" fmla="*/ 20 w 61"/>
                <a:gd name="T13" fmla="*/ 13 h 64"/>
                <a:gd name="T14" fmla="*/ 17 w 61"/>
                <a:gd name="T15" fmla="*/ 12 h 64"/>
                <a:gd name="T16" fmla="*/ 3 w 61"/>
                <a:gd name="T17" fmla="*/ 16 h 64"/>
                <a:gd name="T18" fmla="*/ 7 w 61"/>
                <a:gd name="T19" fmla="*/ 30 h 64"/>
                <a:gd name="T20" fmla="*/ 9 w 61"/>
                <a:gd name="T21" fmla="*/ 32 h 64"/>
                <a:gd name="T22" fmla="*/ 7 w 61"/>
                <a:gd name="T23" fmla="*/ 33 h 64"/>
                <a:gd name="T24" fmla="*/ 3 w 61"/>
                <a:gd name="T25" fmla="*/ 48 h 64"/>
                <a:gd name="T26" fmla="*/ 12 w 61"/>
                <a:gd name="T27" fmla="*/ 53 h 64"/>
                <a:gd name="T28" fmla="*/ 17 w 61"/>
                <a:gd name="T29" fmla="*/ 52 h 64"/>
                <a:gd name="T30" fmla="*/ 20 w 61"/>
                <a:gd name="T31" fmla="*/ 50 h 64"/>
                <a:gd name="T32" fmla="*/ 20 w 61"/>
                <a:gd name="T33" fmla="*/ 53 h 64"/>
                <a:gd name="T34" fmla="*/ 30 w 61"/>
                <a:gd name="T35" fmla="*/ 64 h 64"/>
                <a:gd name="T36" fmla="*/ 41 w 61"/>
                <a:gd name="T37" fmla="*/ 53 h 64"/>
                <a:gd name="T38" fmla="*/ 41 w 61"/>
                <a:gd name="T39" fmla="*/ 50 h 64"/>
                <a:gd name="T40" fmla="*/ 43 w 61"/>
                <a:gd name="T41" fmla="*/ 52 h 64"/>
                <a:gd name="T42" fmla="*/ 49 w 61"/>
                <a:gd name="T43" fmla="*/ 53 h 64"/>
                <a:gd name="T44" fmla="*/ 58 w 61"/>
                <a:gd name="T45" fmla="*/ 48 h 64"/>
                <a:gd name="T46" fmla="*/ 54 w 61"/>
                <a:gd name="T47" fmla="*/ 33 h 64"/>
                <a:gd name="T48" fmla="*/ 52 w 61"/>
                <a:gd name="T49" fmla="*/ 32 h 64"/>
                <a:gd name="T50" fmla="*/ 54 w 61"/>
                <a:gd name="T51" fmla="*/ 30 h 64"/>
                <a:gd name="T52" fmla="*/ 58 w 61"/>
                <a:gd name="T5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1" h="64">
                  <a:moveTo>
                    <a:pt x="58" y="16"/>
                  </a:moveTo>
                  <a:cubicBezTo>
                    <a:pt x="55" y="11"/>
                    <a:pt x="49" y="9"/>
                    <a:pt x="43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4"/>
                    <a:pt x="36" y="0"/>
                    <a:pt x="30" y="0"/>
                  </a:cubicBezTo>
                  <a:cubicBezTo>
                    <a:pt x="24" y="0"/>
                    <a:pt x="20" y="4"/>
                    <a:pt x="20" y="10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2" y="9"/>
                    <a:pt x="6" y="11"/>
                    <a:pt x="3" y="16"/>
                  </a:cubicBezTo>
                  <a:cubicBezTo>
                    <a:pt x="0" y="21"/>
                    <a:pt x="1" y="27"/>
                    <a:pt x="7" y="3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" y="36"/>
                    <a:pt x="0" y="43"/>
                    <a:pt x="3" y="48"/>
                  </a:cubicBezTo>
                  <a:cubicBezTo>
                    <a:pt x="5" y="51"/>
                    <a:pt x="8" y="53"/>
                    <a:pt x="12" y="53"/>
                  </a:cubicBezTo>
                  <a:cubicBezTo>
                    <a:pt x="14" y="53"/>
                    <a:pt x="16" y="53"/>
                    <a:pt x="17" y="52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9"/>
                    <a:pt x="24" y="64"/>
                    <a:pt x="30" y="64"/>
                  </a:cubicBezTo>
                  <a:cubicBezTo>
                    <a:pt x="36" y="64"/>
                    <a:pt x="41" y="59"/>
                    <a:pt x="41" y="53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5" y="53"/>
                    <a:pt x="47" y="53"/>
                    <a:pt x="49" y="53"/>
                  </a:cubicBezTo>
                  <a:cubicBezTo>
                    <a:pt x="52" y="53"/>
                    <a:pt x="56" y="51"/>
                    <a:pt x="58" y="48"/>
                  </a:cubicBezTo>
                  <a:cubicBezTo>
                    <a:pt x="61" y="43"/>
                    <a:pt x="59" y="36"/>
                    <a:pt x="54" y="33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9" y="27"/>
                    <a:pt x="61" y="21"/>
                    <a:pt x="5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172"/>
            <p:cNvSpPr>
              <a:spLocks noEditPoints="1"/>
            </p:cNvSpPr>
            <p:nvPr/>
          </p:nvSpPr>
          <p:spPr bwMode="auto">
            <a:xfrm>
              <a:off x="2005" y="449"/>
              <a:ext cx="212" cy="127"/>
            </a:xfrm>
            <a:custGeom>
              <a:avLst/>
              <a:gdLst>
                <a:gd name="T0" fmla="*/ 266 w 320"/>
                <a:gd name="T1" fmla="*/ 192 h 192"/>
                <a:gd name="T2" fmla="*/ 71 w 320"/>
                <a:gd name="T3" fmla="*/ 192 h 192"/>
                <a:gd name="T4" fmla="*/ 0 w 320"/>
                <a:gd name="T5" fmla="*/ 121 h 192"/>
                <a:gd name="T6" fmla="*/ 71 w 320"/>
                <a:gd name="T7" fmla="*/ 50 h 192"/>
                <a:gd name="T8" fmla="*/ 94 w 320"/>
                <a:gd name="T9" fmla="*/ 55 h 192"/>
                <a:gd name="T10" fmla="*/ 176 w 320"/>
                <a:gd name="T11" fmla="*/ 0 h 192"/>
                <a:gd name="T12" fmla="*/ 262 w 320"/>
                <a:gd name="T13" fmla="*/ 85 h 192"/>
                <a:gd name="T14" fmla="*/ 266 w 320"/>
                <a:gd name="T15" fmla="*/ 85 h 192"/>
                <a:gd name="T16" fmla="*/ 320 w 320"/>
                <a:gd name="T17" fmla="*/ 138 h 192"/>
                <a:gd name="T18" fmla="*/ 266 w 320"/>
                <a:gd name="T19" fmla="*/ 192 h 192"/>
                <a:gd name="T20" fmla="*/ 71 w 320"/>
                <a:gd name="T21" fmla="*/ 71 h 192"/>
                <a:gd name="T22" fmla="*/ 21 w 320"/>
                <a:gd name="T23" fmla="*/ 121 h 192"/>
                <a:gd name="T24" fmla="*/ 71 w 320"/>
                <a:gd name="T25" fmla="*/ 170 h 192"/>
                <a:gd name="T26" fmla="*/ 266 w 320"/>
                <a:gd name="T27" fmla="*/ 170 h 192"/>
                <a:gd name="T28" fmla="*/ 298 w 320"/>
                <a:gd name="T29" fmla="*/ 138 h 192"/>
                <a:gd name="T30" fmla="*/ 266 w 320"/>
                <a:gd name="T31" fmla="*/ 106 h 192"/>
                <a:gd name="T32" fmla="*/ 259 w 320"/>
                <a:gd name="T33" fmla="*/ 107 h 192"/>
                <a:gd name="T34" fmla="*/ 258 w 320"/>
                <a:gd name="T35" fmla="*/ 108 h 192"/>
                <a:gd name="T36" fmla="*/ 245 w 320"/>
                <a:gd name="T37" fmla="*/ 111 h 192"/>
                <a:gd name="T38" fmla="*/ 239 w 320"/>
                <a:gd name="T39" fmla="*/ 99 h 192"/>
                <a:gd name="T40" fmla="*/ 240 w 320"/>
                <a:gd name="T41" fmla="*/ 94 h 192"/>
                <a:gd name="T42" fmla="*/ 241 w 320"/>
                <a:gd name="T43" fmla="*/ 86 h 192"/>
                <a:gd name="T44" fmla="*/ 176 w 320"/>
                <a:gd name="T45" fmla="*/ 21 h 192"/>
                <a:gd name="T46" fmla="*/ 111 w 320"/>
                <a:gd name="T47" fmla="*/ 73 h 192"/>
                <a:gd name="T48" fmla="*/ 105 w 320"/>
                <a:gd name="T49" fmla="*/ 80 h 192"/>
                <a:gd name="T50" fmla="*/ 95 w 320"/>
                <a:gd name="T51" fmla="*/ 79 h 192"/>
                <a:gd name="T52" fmla="*/ 71 w 320"/>
                <a:gd name="T53" fmla="*/ 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192"/>
                  </a:moveTo>
                  <a:cubicBezTo>
                    <a:pt x="71" y="192"/>
                    <a:pt x="71" y="192"/>
                    <a:pt x="71" y="192"/>
                  </a:cubicBezTo>
                  <a:cubicBezTo>
                    <a:pt x="31" y="192"/>
                    <a:pt x="0" y="160"/>
                    <a:pt x="0" y="121"/>
                  </a:cubicBezTo>
                  <a:cubicBezTo>
                    <a:pt x="0" y="82"/>
                    <a:pt x="31" y="50"/>
                    <a:pt x="71" y="50"/>
                  </a:cubicBezTo>
                  <a:cubicBezTo>
                    <a:pt x="80" y="50"/>
                    <a:pt x="87" y="52"/>
                    <a:pt x="94" y="55"/>
                  </a:cubicBezTo>
                  <a:cubicBezTo>
                    <a:pt x="107" y="22"/>
                    <a:pt x="139" y="0"/>
                    <a:pt x="176" y="0"/>
                  </a:cubicBezTo>
                  <a:cubicBezTo>
                    <a:pt x="223" y="0"/>
                    <a:pt x="262" y="38"/>
                    <a:pt x="262" y="85"/>
                  </a:cubicBezTo>
                  <a:cubicBezTo>
                    <a:pt x="263" y="85"/>
                    <a:pt x="264" y="85"/>
                    <a:pt x="266" y="85"/>
                  </a:cubicBezTo>
                  <a:cubicBezTo>
                    <a:pt x="296" y="85"/>
                    <a:pt x="320" y="109"/>
                    <a:pt x="320" y="138"/>
                  </a:cubicBezTo>
                  <a:cubicBezTo>
                    <a:pt x="320" y="168"/>
                    <a:pt x="296" y="192"/>
                    <a:pt x="266" y="192"/>
                  </a:cubicBezTo>
                  <a:close/>
                  <a:moveTo>
                    <a:pt x="71" y="71"/>
                  </a:moveTo>
                  <a:cubicBezTo>
                    <a:pt x="43" y="71"/>
                    <a:pt x="21" y="93"/>
                    <a:pt x="21" y="121"/>
                  </a:cubicBezTo>
                  <a:cubicBezTo>
                    <a:pt x="21" y="148"/>
                    <a:pt x="43" y="170"/>
                    <a:pt x="71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84" y="170"/>
                    <a:pt x="298" y="156"/>
                    <a:pt x="298" y="138"/>
                  </a:cubicBezTo>
                  <a:cubicBezTo>
                    <a:pt x="298" y="121"/>
                    <a:pt x="284" y="106"/>
                    <a:pt x="266" y="106"/>
                  </a:cubicBezTo>
                  <a:cubicBezTo>
                    <a:pt x="263" y="106"/>
                    <a:pt x="262" y="106"/>
                    <a:pt x="259" y="107"/>
                  </a:cubicBezTo>
                  <a:cubicBezTo>
                    <a:pt x="258" y="107"/>
                    <a:pt x="258" y="108"/>
                    <a:pt x="258" y="108"/>
                  </a:cubicBezTo>
                  <a:cubicBezTo>
                    <a:pt x="255" y="112"/>
                    <a:pt x="249" y="113"/>
                    <a:pt x="245" y="111"/>
                  </a:cubicBezTo>
                  <a:cubicBezTo>
                    <a:pt x="241" y="108"/>
                    <a:pt x="238" y="103"/>
                    <a:pt x="239" y="99"/>
                  </a:cubicBezTo>
                  <a:cubicBezTo>
                    <a:pt x="240" y="97"/>
                    <a:pt x="240" y="96"/>
                    <a:pt x="240" y="94"/>
                  </a:cubicBezTo>
                  <a:cubicBezTo>
                    <a:pt x="240" y="91"/>
                    <a:pt x="241" y="89"/>
                    <a:pt x="241" y="86"/>
                  </a:cubicBezTo>
                  <a:cubicBezTo>
                    <a:pt x="241" y="50"/>
                    <a:pt x="212" y="21"/>
                    <a:pt x="176" y="21"/>
                  </a:cubicBezTo>
                  <a:cubicBezTo>
                    <a:pt x="145" y="21"/>
                    <a:pt x="117" y="43"/>
                    <a:pt x="111" y="73"/>
                  </a:cubicBezTo>
                  <a:cubicBezTo>
                    <a:pt x="110" y="76"/>
                    <a:pt x="108" y="79"/>
                    <a:pt x="105" y="80"/>
                  </a:cubicBezTo>
                  <a:cubicBezTo>
                    <a:pt x="101" y="82"/>
                    <a:pt x="98" y="81"/>
                    <a:pt x="95" y="79"/>
                  </a:cubicBezTo>
                  <a:cubicBezTo>
                    <a:pt x="87" y="74"/>
                    <a:pt x="80" y="71"/>
                    <a:pt x="7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4" name="Freeform 176"/>
          <p:cNvSpPr>
            <a:spLocks noChangeAspect="1" noEditPoints="1"/>
          </p:cNvSpPr>
          <p:nvPr/>
        </p:nvSpPr>
        <p:spPr bwMode="auto">
          <a:xfrm>
            <a:off x="7393179" y="2051051"/>
            <a:ext cx="370763" cy="369676"/>
          </a:xfrm>
          <a:custGeom>
            <a:avLst/>
            <a:gdLst>
              <a:gd name="T0" fmla="*/ 362 w 512"/>
              <a:gd name="T1" fmla="*/ 266 h 512"/>
              <a:gd name="T2" fmla="*/ 117 w 512"/>
              <a:gd name="T3" fmla="*/ 217 h 512"/>
              <a:gd name="T4" fmla="*/ 191 w 512"/>
              <a:gd name="T5" fmla="*/ 175 h 512"/>
              <a:gd name="T6" fmla="*/ 207 w 512"/>
              <a:gd name="T7" fmla="*/ 169 h 512"/>
              <a:gd name="T8" fmla="*/ 337 w 512"/>
              <a:gd name="T9" fmla="*/ 182 h 512"/>
              <a:gd name="T10" fmla="*/ 335 w 512"/>
              <a:gd name="T11" fmla="*/ 195 h 512"/>
              <a:gd name="T12" fmla="*/ 354 w 512"/>
              <a:gd name="T13" fmla="*/ 204 h 512"/>
              <a:gd name="T14" fmla="*/ 362 w 512"/>
              <a:gd name="T15" fmla="*/ 202 h 512"/>
              <a:gd name="T16" fmla="*/ 512 w 512"/>
              <a:gd name="T17" fmla="*/ 256 h 512"/>
              <a:gd name="T18" fmla="*/ 0 w 512"/>
              <a:gd name="T19" fmla="*/ 256 h 512"/>
              <a:gd name="T20" fmla="*/ 512 w 512"/>
              <a:gd name="T21" fmla="*/ 256 h 512"/>
              <a:gd name="T22" fmla="*/ 194 w 512"/>
              <a:gd name="T23" fmla="*/ 350 h 512"/>
              <a:gd name="T24" fmla="*/ 183 w 512"/>
              <a:gd name="T25" fmla="*/ 332 h 512"/>
              <a:gd name="T26" fmla="*/ 181 w 512"/>
              <a:gd name="T27" fmla="*/ 330 h 512"/>
              <a:gd name="T28" fmla="*/ 160 w 512"/>
              <a:gd name="T29" fmla="*/ 330 h 512"/>
              <a:gd name="T30" fmla="*/ 157 w 512"/>
              <a:gd name="T31" fmla="*/ 332 h 512"/>
              <a:gd name="T32" fmla="*/ 147 w 512"/>
              <a:gd name="T33" fmla="*/ 350 h 512"/>
              <a:gd name="T34" fmla="*/ 147 w 512"/>
              <a:gd name="T35" fmla="*/ 353 h 512"/>
              <a:gd name="T36" fmla="*/ 152 w 512"/>
              <a:gd name="T37" fmla="*/ 373 h 512"/>
              <a:gd name="T38" fmla="*/ 160 w 512"/>
              <a:gd name="T39" fmla="*/ 370 h 512"/>
              <a:gd name="T40" fmla="*/ 170 w 512"/>
              <a:gd name="T41" fmla="*/ 384 h 512"/>
              <a:gd name="T42" fmla="*/ 181 w 512"/>
              <a:gd name="T43" fmla="*/ 370 h 512"/>
              <a:gd name="T44" fmla="*/ 189 w 512"/>
              <a:gd name="T45" fmla="*/ 373 h 512"/>
              <a:gd name="T46" fmla="*/ 194 w 512"/>
              <a:gd name="T47" fmla="*/ 353 h 512"/>
              <a:gd name="T48" fmla="*/ 277 w 512"/>
              <a:gd name="T49" fmla="*/ 394 h 512"/>
              <a:gd name="T50" fmla="*/ 283 w 512"/>
              <a:gd name="T51" fmla="*/ 378 h 512"/>
              <a:gd name="T52" fmla="*/ 266 w 512"/>
              <a:gd name="T53" fmla="*/ 376 h 512"/>
              <a:gd name="T54" fmla="*/ 256 w 512"/>
              <a:gd name="T55" fmla="*/ 362 h 512"/>
              <a:gd name="T56" fmla="*/ 245 w 512"/>
              <a:gd name="T57" fmla="*/ 376 h 512"/>
              <a:gd name="T58" fmla="*/ 228 w 512"/>
              <a:gd name="T59" fmla="*/ 378 h 512"/>
              <a:gd name="T60" fmla="*/ 234 w 512"/>
              <a:gd name="T61" fmla="*/ 394 h 512"/>
              <a:gd name="T62" fmla="*/ 228 w 512"/>
              <a:gd name="T63" fmla="*/ 410 h 512"/>
              <a:gd name="T64" fmla="*/ 243 w 512"/>
              <a:gd name="T65" fmla="*/ 414 h 512"/>
              <a:gd name="T66" fmla="*/ 245 w 512"/>
              <a:gd name="T67" fmla="*/ 416 h 512"/>
              <a:gd name="T68" fmla="*/ 266 w 512"/>
              <a:gd name="T69" fmla="*/ 416 h 512"/>
              <a:gd name="T70" fmla="*/ 269 w 512"/>
              <a:gd name="T71" fmla="*/ 414 h 512"/>
              <a:gd name="T72" fmla="*/ 283 w 512"/>
              <a:gd name="T73" fmla="*/ 410 h 512"/>
              <a:gd name="T74" fmla="*/ 277 w 512"/>
              <a:gd name="T75" fmla="*/ 394 h 512"/>
              <a:gd name="T76" fmla="*/ 365 w 512"/>
              <a:gd name="T77" fmla="*/ 340 h 512"/>
              <a:gd name="T78" fmla="*/ 354 w 512"/>
              <a:gd name="T79" fmla="*/ 321 h 512"/>
              <a:gd name="T80" fmla="*/ 352 w 512"/>
              <a:gd name="T81" fmla="*/ 320 h 512"/>
              <a:gd name="T82" fmla="*/ 330 w 512"/>
              <a:gd name="T83" fmla="*/ 320 h 512"/>
              <a:gd name="T84" fmla="*/ 328 w 512"/>
              <a:gd name="T85" fmla="*/ 321 h 512"/>
              <a:gd name="T86" fmla="*/ 317 w 512"/>
              <a:gd name="T87" fmla="*/ 340 h 512"/>
              <a:gd name="T88" fmla="*/ 317 w 512"/>
              <a:gd name="T89" fmla="*/ 342 h 512"/>
              <a:gd name="T90" fmla="*/ 323 w 512"/>
              <a:gd name="T91" fmla="*/ 362 h 512"/>
              <a:gd name="T92" fmla="*/ 330 w 512"/>
              <a:gd name="T93" fmla="*/ 359 h 512"/>
              <a:gd name="T94" fmla="*/ 341 w 512"/>
              <a:gd name="T95" fmla="*/ 373 h 512"/>
              <a:gd name="T96" fmla="*/ 352 w 512"/>
              <a:gd name="T97" fmla="*/ 359 h 512"/>
              <a:gd name="T98" fmla="*/ 359 w 512"/>
              <a:gd name="T99" fmla="*/ 362 h 512"/>
              <a:gd name="T100" fmla="*/ 365 w 512"/>
              <a:gd name="T101" fmla="*/ 342 h 512"/>
              <a:gd name="T102" fmla="*/ 416 w 512"/>
              <a:gd name="T103" fmla="*/ 234 h 512"/>
              <a:gd name="T104" fmla="*/ 358 w 512"/>
              <a:gd name="T105" fmla="*/ 181 h 512"/>
              <a:gd name="T106" fmla="*/ 190 w 512"/>
              <a:gd name="T107" fmla="*/ 151 h 512"/>
              <a:gd name="T108" fmla="*/ 96 w 512"/>
              <a:gd name="T109" fmla="*/ 217 h 512"/>
              <a:gd name="T110" fmla="*/ 362 w 512"/>
              <a:gd name="T111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94" y="234"/>
                </a:moveTo>
                <a:cubicBezTo>
                  <a:pt x="394" y="252"/>
                  <a:pt x="380" y="266"/>
                  <a:pt x="362" y="266"/>
                </a:cubicBezTo>
                <a:cubicBezTo>
                  <a:pt x="167" y="266"/>
                  <a:pt x="167" y="266"/>
                  <a:pt x="167" y="266"/>
                </a:cubicBezTo>
                <a:cubicBezTo>
                  <a:pt x="139" y="266"/>
                  <a:pt x="117" y="244"/>
                  <a:pt x="117" y="217"/>
                </a:cubicBezTo>
                <a:cubicBezTo>
                  <a:pt x="117" y="189"/>
                  <a:pt x="139" y="167"/>
                  <a:pt x="167" y="167"/>
                </a:cubicBezTo>
                <a:cubicBezTo>
                  <a:pt x="176" y="167"/>
                  <a:pt x="183" y="170"/>
                  <a:pt x="191" y="175"/>
                </a:cubicBezTo>
                <a:cubicBezTo>
                  <a:pt x="194" y="177"/>
                  <a:pt x="197" y="178"/>
                  <a:pt x="201" y="176"/>
                </a:cubicBezTo>
                <a:cubicBezTo>
                  <a:pt x="204" y="175"/>
                  <a:pt x="206" y="172"/>
                  <a:pt x="207" y="169"/>
                </a:cubicBezTo>
                <a:cubicBezTo>
                  <a:pt x="213" y="139"/>
                  <a:pt x="241" y="117"/>
                  <a:pt x="272" y="117"/>
                </a:cubicBezTo>
                <a:cubicBezTo>
                  <a:pt x="308" y="117"/>
                  <a:pt x="337" y="146"/>
                  <a:pt x="337" y="182"/>
                </a:cubicBezTo>
                <a:cubicBezTo>
                  <a:pt x="337" y="185"/>
                  <a:pt x="336" y="187"/>
                  <a:pt x="336" y="190"/>
                </a:cubicBezTo>
                <a:cubicBezTo>
                  <a:pt x="336" y="192"/>
                  <a:pt x="336" y="193"/>
                  <a:pt x="335" y="195"/>
                </a:cubicBezTo>
                <a:cubicBezTo>
                  <a:pt x="334" y="199"/>
                  <a:pt x="337" y="204"/>
                  <a:pt x="341" y="207"/>
                </a:cubicBezTo>
                <a:cubicBezTo>
                  <a:pt x="345" y="209"/>
                  <a:pt x="351" y="208"/>
                  <a:pt x="354" y="204"/>
                </a:cubicBezTo>
                <a:cubicBezTo>
                  <a:pt x="354" y="204"/>
                  <a:pt x="354" y="203"/>
                  <a:pt x="355" y="203"/>
                </a:cubicBezTo>
                <a:cubicBezTo>
                  <a:pt x="358" y="202"/>
                  <a:pt x="359" y="202"/>
                  <a:pt x="362" y="202"/>
                </a:cubicBezTo>
                <a:cubicBezTo>
                  <a:pt x="380" y="202"/>
                  <a:pt x="394" y="217"/>
                  <a:pt x="394" y="23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92" y="352"/>
                </a:moveTo>
                <a:cubicBezTo>
                  <a:pt x="194" y="350"/>
                  <a:pt x="194" y="350"/>
                  <a:pt x="194" y="350"/>
                </a:cubicBezTo>
                <a:cubicBezTo>
                  <a:pt x="199" y="347"/>
                  <a:pt x="201" y="341"/>
                  <a:pt x="198" y="336"/>
                </a:cubicBezTo>
                <a:cubicBezTo>
                  <a:pt x="195" y="331"/>
                  <a:pt x="189" y="329"/>
                  <a:pt x="183" y="332"/>
                </a:cubicBezTo>
                <a:cubicBezTo>
                  <a:pt x="181" y="333"/>
                  <a:pt x="181" y="333"/>
                  <a:pt x="181" y="333"/>
                </a:cubicBezTo>
                <a:cubicBezTo>
                  <a:pt x="181" y="330"/>
                  <a:pt x="181" y="330"/>
                  <a:pt x="181" y="330"/>
                </a:cubicBezTo>
                <a:cubicBezTo>
                  <a:pt x="181" y="324"/>
                  <a:pt x="176" y="320"/>
                  <a:pt x="170" y="320"/>
                </a:cubicBezTo>
                <a:cubicBezTo>
                  <a:pt x="164" y="320"/>
                  <a:pt x="160" y="324"/>
                  <a:pt x="160" y="330"/>
                </a:cubicBezTo>
                <a:cubicBezTo>
                  <a:pt x="160" y="333"/>
                  <a:pt x="160" y="333"/>
                  <a:pt x="160" y="333"/>
                </a:cubicBezTo>
                <a:cubicBezTo>
                  <a:pt x="157" y="332"/>
                  <a:pt x="157" y="332"/>
                  <a:pt x="157" y="332"/>
                </a:cubicBezTo>
                <a:cubicBezTo>
                  <a:pt x="152" y="329"/>
                  <a:pt x="146" y="331"/>
                  <a:pt x="143" y="336"/>
                </a:cubicBezTo>
                <a:cubicBezTo>
                  <a:pt x="140" y="341"/>
                  <a:pt x="141" y="347"/>
                  <a:pt x="147" y="350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7" y="353"/>
                  <a:pt x="147" y="353"/>
                  <a:pt x="147" y="353"/>
                </a:cubicBezTo>
                <a:cubicBezTo>
                  <a:pt x="141" y="356"/>
                  <a:pt x="140" y="363"/>
                  <a:pt x="143" y="368"/>
                </a:cubicBezTo>
                <a:cubicBezTo>
                  <a:pt x="145" y="371"/>
                  <a:pt x="148" y="373"/>
                  <a:pt x="152" y="373"/>
                </a:cubicBezTo>
                <a:cubicBezTo>
                  <a:pt x="154" y="373"/>
                  <a:pt x="156" y="373"/>
                  <a:pt x="157" y="372"/>
                </a:cubicBezTo>
                <a:cubicBezTo>
                  <a:pt x="160" y="370"/>
                  <a:pt x="160" y="370"/>
                  <a:pt x="160" y="370"/>
                </a:cubicBezTo>
                <a:cubicBezTo>
                  <a:pt x="160" y="373"/>
                  <a:pt x="160" y="373"/>
                  <a:pt x="160" y="373"/>
                </a:cubicBezTo>
                <a:cubicBezTo>
                  <a:pt x="160" y="379"/>
                  <a:pt x="164" y="384"/>
                  <a:pt x="170" y="384"/>
                </a:cubicBezTo>
                <a:cubicBezTo>
                  <a:pt x="176" y="384"/>
                  <a:pt x="181" y="379"/>
                  <a:pt x="181" y="373"/>
                </a:cubicBezTo>
                <a:cubicBezTo>
                  <a:pt x="181" y="370"/>
                  <a:pt x="181" y="370"/>
                  <a:pt x="181" y="370"/>
                </a:cubicBezTo>
                <a:cubicBezTo>
                  <a:pt x="183" y="372"/>
                  <a:pt x="183" y="372"/>
                  <a:pt x="183" y="372"/>
                </a:cubicBezTo>
                <a:cubicBezTo>
                  <a:pt x="185" y="373"/>
                  <a:pt x="187" y="373"/>
                  <a:pt x="189" y="373"/>
                </a:cubicBezTo>
                <a:cubicBezTo>
                  <a:pt x="192" y="373"/>
                  <a:pt x="196" y="371"/>
                  <a:pt x="198" y="368"/>
                </a:cubicBezTo>
                <a:cubicBezTo>
                  <a:pt x="201" y="363"/>
                  <a:pt x="199" y="356"/>
                  <a:pt x="194" y="353"/>
                </a:cubicBezTo>
                <a:lnTo>
                  <a:pt x="192" y="352"/>
                </a:lnTo>
                <a:close/>
                <a:moveTo>
                  <a:pt x="277" y="394"/>
                </a:moveTo>
                <a:cubicBezTo>
                  <a:pt x="279" y="393"/>
                  <a:pt x="279" y="393"/>
                  <a:pt x="279" y="393"/>
                </a:cubicBezTo>
                <a:cubicBezTo>
                  <a:pt x="285" y="390"/>
                  <a:pt x="286" y="383"/>
                  <a:pt x="283" y="378"/>
                </a:cubicBezTo>
                <a:cubicBezTo>
                  <a:pt x="280" y="373"/>
                  <a:pt x="274" y="371"/>
                  <a:pt x="269" y="374"/>
                </a:cubicBezTo>
                <a:cubicBezTo>
                  <a:pt x="266" y="376"/>
                  <a:pt x="266" y="376"/>
                  <a:pt x="266" y="376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66" y="367"/>
                  <a:pt x="262" y="362"/>
                  <a:pt x="256" y="362"/>
                </a:cubicBezTo>
                <a:cubicBezTo>
                  <a:pt x="250" y="362"/>
                  <a:pt x="245" y="367"/>
                  <a:pt x="245" y="373"/>
                </a:cubicBezTo>
                <a:cubicBezTo>
                  <a:pt x="245" y="376"/>
                  <a:pt x="245" y="376"/>
                  <a:pt x="245" y="376"/>
                </a:cubicBezTo>
                <a:cubicBezTo>
                  <a:pt x="243" y="374"/>
                  <a:pt x="243" y="374"/>
                  <a:pt x="243" y="374"/>
                </a:cubicBezTo>
                <a:cubicBezTo>
                  <a:pt x="237" y="371"/>
                  <a:pt x="231" y="373"/>
                  <a:pt x="228" y="378"/>
                </a:cubicBezTo>
                <a:cubicBezTo>
                  <a:pt x="225" y="383"/>
                  <a:pt x="227" y="390"/>
                  <a:pt x="232" y="393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32" y="396"/>
                  <a:pt x="232" y="396"/>
                  <a:pt x="232" y="396"/>
                </a:cubicBezTo>
                <a:cubicBezTo>
                  <a:pt x="227" y="399"/>
                  <a:pt x="225" y="405"/>
                  <a:pt x="228" y="410"/>
                </a:cubicBezTo>
                <a:cubicBezTo>
                  <a:pt x="230" y="414"/>
                  <a:pt x="234" y="416"/>
                  <a:pt x="237" y="416"/>
                </a:cubicBezTo>
                <a:cubicBezTo>
                  <a:pt x="239" y="416"/>
                  <a:pt x="241" y="415"/>
                  <a:pt x="243" y="414"/>
                </a:cubicBezTo>
                <a:cubicBezTo>
                  <a:pt x="245" y="413"/>
                  <a:pt x="245" y="413"/>
                  <a:pt x="245" y="413"/>
                </a:cubicBezTo>
                <a:cubicBezTo>
                  <a:pt x="245" y="416"/>
                  <a:pt x="245" y="416"/>
                  <a:pt x="245" y="416"/>
                </a:cubicBezTo>
                <a:cubicBezTo>
                  <a:pt x="245" y="422"/>
                  <a:pt x="250" y="426"/>
                  <a:pt x="256" y="426"/>
                </a:cubicBezTo>
                <a:cubicBezTo>
                  <a:pt x="262" y="426"/>
                  <a:pt x="266" y="422"/>
                  <a:pt x="266" y="416"/>
                </a:cubicBezTo>
                <a:cubicBezTo>
                  <a:pt x="266" y="413"/>
                  <a:pt x="266" y="413"/>
                  <a:pt x="266" y="413"/>
                </a:cubicBezTo>
                <a:cubicBezTo>
                  <a:pt x="269" y="414"/>
                  <a:pt x="269" y="414"/>
                  <a:pt x="269" y="414"/>
                </a:cubicBezTo>
                <a:cubicBezTo>
                  <a:pt x="270" y="415"/>
                  <a:pt x="272" y="416"/>
                  <a:pt x="274" y="416"/>
                </a:cubicBezTo>
                <a:cubicBezTo>
                  <a:pt x="278" y="416"/>
                  <a:pt x="281" y="414"/>
                  <a:pt x="283" y="410"/>
                </a:cubicBezTo>
                <a:cubicBezTo>
                  <a:pt x="286" y="405"/>
                  <a:pt x="285" y="399"/>
                  <a:pt x="279" y="396"/>
                </a:cubicBezTo>
                <a:lnTo>
                  <a:pt x="277" y="394"/>
                </a:lnTo>
                <a:close/>
                <a:moveTo>
                  <a:pt x="362" y="341"/>
                </a:moveTo>
                <a:cubicBezTo>
                  <a:pt x="365" y="340"/>
                  <a:pt x="365" y="340"/>
                  <a:pt x="365" y="340"/>
                </a:cubicBezTo>
                <a:cubicBezTo>
                  <a:pt x="370" y="337"/>
                  <a:pt x="372" y="330"/>
                  <a:pt x="369" y="325"/>
                </a:cubicBezTo>
                <a:cubicBezTo>
                  <a:pt x="366" y="320"/>
                  <a:pt x="359" y="318"/>
                  <a:pt x="354" y="321"/>
                </a:cubicBezTo>
                <a:cubicBezTo>
                  <a:pt x="352" y="323"/>
                  <a:pt x="352" y="323"/>
                  <a:pt x="352" y="323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352" y="314"/>
                  <a:pt x="347" y="309"/>
                  <a:pt x="341" y="309"/>
                </a:cubicBezTo>
                <a:cubicBezTo>
                  <a:pt x="335" y="309"/>
                  <a:pt x="330" y="314"/>
                  <a:pt x="330" y="320"/>
                </a:cubicBezTo>
                <a:cubicBezTo>
                  <a:pt x="330" y="323"/>
                  <a:pt x="330" y="323"/>
                  <a:pt x="330" y="323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23" y="318"/>
                  <a:pt x="316" y="320"/>
                  <a:pt x="313" y="325"/>
                </a:cubicBezTo>
                <a:cubicBezTo>
                  <a:pt x="310" y="330"/>
                  <a:pt x="312" y="337"/>
                  <a:pt x="317" y="340"/>
                </a:cubicBezTo>
                <a:cubicBezTo>
                  <a:pt x="320" y="341"/>
                  <a:pt x="320" y="341"/>
                  <a:pt x="320" y="341"/>
                </a:cubicBezTo>
                <a:cubicBezTo>
                  <a:pt x="317" y="342"/>
                  <a:pt x="317" y="342"/>
                  <a:pt x="317" y="342"/>
                </a:cubicBezTo>
                <a:cubicBezTo>
                  <a:pt x="312" y="345"/>
                  <a:pt x="310" y="352"/>
                  <a:pt x="313" y="357"/>
                </a:cubicBezTo>
                <a:cubicBezTo>
                  <a:pt x="315" y="360"/>
                  <a:pt x="319" y="362"/>
                  <a:pt x="323" y="362"/>
                </a:cubicBezTo>
                <a:cubicBezTo>
                  <a:pt x="324" y="362"/>
                  <a:pt x="326" y="362"/>
                  <a:pt x="328" y="361"/>
                </a:cubicBezTo>
                <a:cubicBezTo>
                  <a:pt x="330" y="359"/>
                  <a:pt x="330" y="359"/>
                  <a:pt x="330" y="359"/>
                </a:cubicBezTo>
                <a:cubicBezTo>
                  <a:pt x="330" y="362"/>
                  <a:pt x="330" y="362"/>
                  <a:pt x="330" y="362"/>
                </a:cubicBezTo>
                <a:cubicBezTo>
                  <a:pt x="330" y="368"/>
                  <a:pt x="335" y="373"/>
                  <a:pt x="341" y="373"/>
                </a:cubicBezTo>
                <a:cubicBezTo>
                  <a:pt x="347" y="373"/>
                  <a:pt x="352" y="368"/>
                  <a:pt x="352" y="362"/>
                </a:cubicBezTo>
                <a:cubicBezTo>
                  <a:pt x="352" y="359"/>
                  <a:pt x="352" y="359"/>
                  <a:pt x="352" y="359"/>
                </a:cubicBezTo>
                <a:cubicBezTo>
                  <a:pt x="354" y="361"/>
                  <a:pt x="354" y="361"/>
                  <a:pt x="354" y="361"/>
                </a:cubicBezTo>
                <a:cubicBezTo>
                  <a:pt x="356" y="362"/>
                  <a:pt x="358" y="362"/>
                  <a:pt x="359" y="362"/>
                </a:cubicBezTo>
                <a:cubicBezTo>
                  <a:pt x="363" y="362"/>
                  <a:pt x="367" y="360"/>
                  <a:pt x="369" y="357"/>
                </a:cubicBezTo>
                <a:cubicBezTo>
                  <a:pt x="372" y="352"/>
                  <a:pt x="370" y="345"/>
                  <a:pt x="365" y="342"/>
                </a:cubicBezTo>
                <a:lnTo>
                  <a:pt x="362" y="341"/>
                </a:lnTo>
                <a:close/>
                <a:moveTo>
                  <a:pt x="416" y="234"/>
                </a:moveTo>
                <a:cubicBezTo>
                  <a:pt x="416" y="205"/>
                  <a:pt x="392" y="181"/>
                  <a:pt x="362" y="181"/>
                </a:cubicBezTo>
                <a:cubicBezTo>
                  <a:pt x="360" y="181"/>
                  <a:pt x="359" y="181"/>
                  <a:pt x="358" y="181"/>
                </a:cubicBezTo>
                <a:cubicBezTo>
                  <a:pt x="358" y="134"/>
                  <a:pt x="319" y="96"/>
                  <a:pt x="272" y="96"/>
                </a:cubicBezTo>
                <a:cubicBezTo>
                  <a:pt x="235" y="96"/>
                  <a:pt x="203" y="118"/>
                  <a:pt x="190" y="151"/>
                </a:cubicBezTo>
                <a:cubicBezTo>
                  <a:pt x="183" y="148"/>
                  <a:pt x="176" y="146"/>
                  <a:pt x="167" y="146"/>
                </a:cubicBezTo>
                <a:cubicBezTo>
                  <a:pt x="127" y="146"/>
                  <a:pt x="96" y="178"/>
                  <a:pt x="96" y="217"/>
                </a:cubicBezTo>
                <a:cubicBezTo>
                  <a:pt x="96" y="256"/>
                  <a:pt x="127" y="288"/>
                  <a:pt x="167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92" y="288"/>
                  <a:pt x="416" y="264"/>
                  <a:pt x="416" y="23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5" name="Freeform 525"/>
          <p:cNvSpPr>
            <a:spLocks noChangeAspect="1" noEditPoints="1"/>
          </p:cNvSpPr>
          <p:nvPr/>
        </p:nvSpPr>
        <p:spPr bwMode="auto">
          <a:xfrm>
            <a:off x="431439" y="2918205"/>
            <a:ext cx="367982" cy="36798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407 w 512"/>
              <a:gd name="T5" fmla="*/ 267 h 512"/>
              <a:gd name="T6" fmla="*/ 390 w 512"/>
              <a:gd name="T7" fmla="*/ 294 h 512"/>
              <a:gd name="T8" fmla="*/ 394 w 512"/>
              <a:gd name="T9" fmla="*/ 330 h 512"/>
              <a:gd name="T10" fmla="*/ 309 w 512"/>
              <a:gd name="T11" fmla="*/ 341 h 512"/>
              <a:gd name="T12" fmla="*/ 298 w 512"/>
              <a:gd name="T13" fmla="*/ 416 h 512"/>
              <a:gd name="T14" fmla="*/ 288 w 512"/>
              <a:gd name="T15" fmla="*/ 330 h 512"/>
              <a:gd name="T16" fmla="*/ 373 w 512"/>
              <a:gd name="T17" fmla="*/ 320 h 512"/>
              <a:gd name="T18" fmla="*/ 340 w 512"/>
              <a:gd name="T19" fmla="*/ 283 h 512"/>
              <a:gd name="T20" fmla="*/ 246 w 512"/>
              <a:gd name="T21" fmla="*/ 298 h 512"/>
              <a:gd name="T22" fmla="*/ 192 w 512"/>
              <a:gd name="T23" fmla="*/ 245 h 512"/>
              <a:gd name="T24" fmla="*/ 234 w 512"/>
              <a:gd name="T25" fmla="*/ 170 h 512"/>
              <a:gd name="T26" fmla="*/ 170 w 512"/>
              <a:gd name="T27" fmla="*/ 171 h 512"/>
              <a:gd name="T28" fmla="*/ 142 w 512"/>
              <a:gd name="T29" fmla="*/ 187 h 512"/>
              <a:gd name="T30" fmla="*/ 160 w 512"/>
              <a:gd name="T31" fmla="*/ 192 h 512"/>
              <a:gd name="T32" fmla="*/ 170 w 512"/>
              <a:gd name="T33" fmla="*/ 277 h 512"/>
              <a:gd name="T34" fmla="*/ 182 w 512"/>
              <a:gd name="T35" fmla="*/ 316 h 512"/>
              <a:gd name="T36" fmla="*/ 256 w 512"/>
              <a:gd name="T37" fmla="*/ 330 h 512"/>
              <a:gd name="T38" fmla="*/ 266 w 512"/>
              <a:gd name="T39" fmla="*/ 405 h 512"/>
              <a:gd name="T40" fmla="*/ 245 w 512"/>
              <a:gd name="T41" fmla="*/ 405 h 512"/>
              <a:gd name="T42" fmla="*/ 224 w 512"/>
              <a:gd name="T43" fmla="*/ 352 h 512"/>
              <a:gd name="T44" fmla="*/ 149 w 512"/>
              <a:gd name="T45" fmla="*/ 277 h 512"/>
              <a:gd name="T46" fmla="*/ 128 w 512"/>
              <a:gd name="T47" fmla="*/ 213 h 512"/>
              <a:gd name="T48" fmla="*/ 126 w 512"/>
              <a:gd name="T49" fmla="*/ 173 h 512"/>
              <a:gd name="T50" fmla="*/ 202 w 512"/>
              <a:gd name="T51" fmla="*/ 117 h 512"/>
              <a:gd name="T52" fmla="*/ 256 w 512"/>
              <a:gd name="T53" fmla="*/ 192 h 512"/>
              <a:gd name="T54" fmla="*/ 408 w 512"/>
              <a:gd name="T55" fmla="*/ 246 h 512"/>
              <a:gd name="T56" fmla="*/ 407 w 512"/>
              <a:gd name="T57" fmla="*/ 267 h 512"/>
              <a:gd name="T58" fmla="*/ 370 w 512"/>
              <a:gd name="T59" fmla="*/ 254 h 512"/>
              <a:gd name="T60" fmla="*/ 245 w 512"/>
              <a:gd name="T61" fmla="*/ 278 h 512"/>
              <a:gd name="T62" fmla="*/ 245 w 512"/>
              <a:gd name="T63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7" y="267"/>
                </a:moveTo>
                <a:cubicBezTo>
                  <a:pt x="407" y="267"/>
                  <a:pt x="389" y="271"/>
                  <a:pt x="367" y="277"/>
                </a:cubicBezTo>
                <a:cubicBezTo>
                  <a:pt x="390" y="294"/>
                  <a:pt x="390" y="294"/>
                  <a:pt x="390" y="294"/>
                </a:cubicBezTo>
                <a:cubicBezTo>
                  <a:pt x="393" y="296"/>
                  <a:pt x="394" y="299"/>
                  <a:pt x="394" y="302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336"/>
                  <a:pt x="390" y="341"/>
                  <a:pt x="384" y="341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405"/>
                  <a:pt x="309" y="405"/>
                  <a:pt x="309" y="405"/>
                </a:cubicBezTo>
                <a:cubicBezTo>
                  <a:pt x="309" y="411"/>
                  <a:pt x="304" y="416"/>
                  <a:pt x="298" y="416"/>
                </a:cubicBezTo>
                <a:cubicBezTo>
                  <a:pt x="292" y="416"/>
                  <a:pt x="288" y="411"/>
                  <a:pt x="288" y="405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24"/>
                  <a:pt x="292" y="320"/>
                  <a:pt x="298" y="320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08"/>
                  <a:pt x="373" y="308"/>
                  <a:pt x="373" y="308"/>
                </a:cubicBezTo>
                <a:cubicBezTo>
                  <a:pt x="340" y="283"/>
                  <a:pt x="340" y="283"/>
                  <a:pt x="340" y="283"/>
                </a:cubicBezTo>
                <a:cubicBezTo>
                  <a:pt x="334" y="285"/>
                  <a:pt x="328" y="286"/>
                  <a:pt x="323" y="287"/>
                </a:cubicBezTo>
                <a:cubicBezTo>
                  <a:pt x="284" y="295"/>
                  <a:pt x="247" y="298"/>
                  <a:pt x="246" y="298"/>
                </a:cubicBezTo>
                <a:cubicBezTo>
                  <a:pt x="246" y="298"/>
                  <a:pt x="246" y="298"/>
                  <a:pt x="246" y="298"/>
                </a:cubicBezTo>
                <a:cubicBezTo>
                  <a:pt x="211" y="298"/>
                  <a:pt x="192" y="279"/>
                  <a:pt x="192" y="245"/>
                </a:cubicBezTo>
                <a:cubicBezTo>
                  <a:pt x="192" y="215"/>
                  <a:pt x="207" y="196"/>
                  <a:pt x="234" y="192"/>
                </a:cubicBezTo>
                <a:cubicBezTo>
                  <a:pt x="234" y="170"/>
                  <a:pt x="234" y="170"/>
                  <a:pt x="234" y="170"/>
                </a:cubicBezTo>
                <a:cubicBezTo>
                  <a:pt x="234" y="167"/>
                  <a:pt x="232" y="138"/>
                  <a:pt x="202" y="138"/>
                </a:cubicBezTo>
                <a:cubicBezTo>
                  <a:pt x="172" y="138"/>
                  <a:pt x="170" y="167"/>
                  <a:pt x="170" y="171"/>
                </a:cubicBezTo>
                <a:cubicBezTo>
                  <a:pt x="170" y="176"/>
                  <a:pt x="165" y="181"/>
                  <a:pt x="160" y="181"/>
                </a:cubicBezTo>
                <a:cubicBezTo>
                  <a:pt x="151" y="181"/>
                  <a:pt x="146" y="183"/>
                  <a:pt x="142" y="187"/>
                </a:cubicBezTo>
                <a:cubicBezTo>
                  <a:pt x="141" y="188"/>
                  <a:pt x="140" y="190"/>
                  <a:pt x="139" y="192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166" y="192"/>
                  <a:pt x="170" y="196"/>
                  <a:pt x="170" y="202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77"/>
                  <a:pt x="170" y="278"/>
                  <a:pt x="170" y="278"/>
                </a:cubicBezTo>
                <a:cubicBezTo>
                  <a:pt x="170" y="278"/>
                  <a:pt x="168" y="301"/>
                  <a:pt x="182" y="316"/>
                </a:cubicBezTo>
                <a:cubicBezTo>
                  <a:pt x="191" y="325"/>
                  <a:pt x="205" y="330"/>
                  <a:pt x="224" y="330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62" y="330"/>
                  <a:pt x="266" y="335"/>
                  <a:pt x="266" y="341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99" y="352"/>
                  <a:pt x="179" y="344"/>
                  <a:pt x="166" y="330"/>
                </a:cubicBezTo>
                <a:cubicBezTo>
                  <a:pt x="147" y="309"/>
                  <a:pt x="149" y="281"/>
                  <a:pt x="149" y="277"/>
                </a:cubicBezTo>
                <a:cubicBezTo>
                  <a:pt x="149" y="213"/>
                  <a:pt x="149" y="213"/>
                  <a:pt x="149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2" y="213"/>
                  <a:pt x="118" y="209"/>
                  <a:pt x="117" y="204"/>
                </a:cubicBezTo>
                <a:cubicBezTo>
                  <a:pt x="117" y="202"/>
                  <a:pt x="115" y="185"/>
                  <a:pt x="126" y="173"/>
                </a:cubicBezTo>
                <a:cubicBezTo>
                  <a:pt x="132" y="166"/>
                  <a:pt x="140" y="162"/>
                  <a:pt x="150" y="160"/>
                </a:cubicBezTo>
                <a:cubicBezTo>
                  <a:pt x="154" y="142"/>
                  <a:pt x="168" y="117"/>
                  <a:pt x="202" y="117"/>
                </a:cubicBezTo>
                <a:cubicBezTo>
                  <a:pt x="243" y="117"/>
                  <a:pt x="256" y="152"/>
                  <a:pt x="256" y="170"/>
                </a:cubicBezTo>
                <a:cubicBezTo>
                  <a:pt x="256" y="192"/>
                  <a:pt x="256" y="192"/>
                  <a:pt x="256" y="192"/>
                </a:cubicBezTo>
                <a:cubicBezTo>
                  <a:pt x="272" y="194"/>
                  <a:pt x="286" y="199"/>
                  <a:pt x="286" y="200"/>
                </a:cubicBezTo>
                <a:cubicBezTo>
                  <a:pt x="408" y="246"/>
                  <a:pt x="408" y="246"/>
                  <a:pt x="408" y="246"/>
                </a:cubicBezTo>
                <a:cubicBezTo>
                  <a:pt x="412" y="248"/>
                  <a:pt x="415" y="252"/>
                  <a:pt x="415" y="257"/>
                </a:cubicBezTo>
                <a:cubicBezTo>
                  <a:pt x="415" y="261"/>
                  <a:pt x="412" y="265"/>
                  <a:pt x="407" y="267"/>
                </a:cubicBezTo>
                <a:close/>
                <a:moveTo>
                  <a:pt x="279" y="220"/>
                </a:moveTo>
                <a:cubicBezTo>
                  <a:pt x="370" y="254"/>
                  <a:pt x="370" y="254"/>
                  <a:pt x="370" y="254"/>
                </a:cubicBezTo>
                <a:cubicBezTo>
                  <a:pt x="354" y="258"/>
                  <a:pt x="335" y="263"/>
                  <a:pt x="318" y="267"/>
                </a:cubicBezTo>
                <a:cubicBezTo>
                  <a:pt x="281" y="275"/>
                  <a:pt x="244" y="278"/>
                  <a:pt x="245" y="278"/>
                </a:cubicBezTo>
                <a:cubicBezTo>
                  <a:pt x="223" y="278"/>
                  <a:pt x="213" y="268"/>
                  <a:pt x="213" y="245"/>
                </a:cubicBezTo>
                <a:cubicBezTo>
                  <a:pt x="213" y="223"/>
                  <a:pt x="223" y="213"/>
                  <a:pt x="245" y="213"/>
                </a:cubicBezTo>
                <a:cubicBezTo>
                  <a:pt x="262" y="213"/>
                  <a:pt x="278" y="220"/>
                  <a:pt x="279" y="22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6" name="Group 528"/>
          <p:cNvGrpSpPr>
            <a:grpSpLocks noChangeAspect="1"/>
          </p:cNvGrpSpPr>
          <p:nvPr/>
        </p:nvGrpSpPr>
        <p:grpSpPr bwMode="auto">
          <a:xfrm>
            <a:off x="929099" y="2918206"/>
            <a:ext cx="369064" cy="367982"/>
            <a:chOff x="5046" y="2977"/>
            <a:chExt cx="341" cy="340"/>
          </a:xfrm>
          <a:solidFill>
            <a:schemeClr val="accent6"/>
          </a:solidFill>
        </p:grpSpPr>
        <p:sp>
          <p:nvSpPr>
            <p:cNvPr id="327" name="Freeform 326"/>
            <p:cNvSpPr>
              <a:spLocks noEditPoints="1"/>
            </p:cNvSpPr>
            <p:nvPr/>
          </p:nvSpPr>
          <p:spPr bwMode="auto">
            <a:xfrm>
              <a:off x="5046" y="297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327"/>
            <p:cNvSpPr>
              <a:spLocks noEditPoints="1"/>
            </p:cNvSpPr>
            <p:nvPr/>
          </p:nvSpPr>
          <p:spPr bwMode="auto">
            <a:xfrm>
              <a:off x="5123" y="3055"/>
              <a:ext cx="199" cy="198"/>
            </a:xfrm>
            <a:custGeom>
              <a:avLst/>
              <a:gdLst>
                <a:gd name="T0" fmla="*/ 293 w 300"/>
                <a:gd name="T1" fmla="*/ 129 h 299"/>
                <a:gd name="T2" fmla="*/ 171 w 300"/>
                <a:gd name="T3" fmla="*/ 83 h 299"/>
                <a:gd name="T4" fmla="*/ 141 w 300"/>
                <a:gd name="T5" fmla="*/ 75 h 299"/>
                <a:gd name="T6" fmla="*/ 141 w 300"/>
                <a:gd name="T7" fmla="*/ 53 h 299"/>
                <a:gd name="T8" fmla="*/ 87 w 300"/>
                <a:gd name="T9" fmla="*/ 0 h 299"/>
                <a:gd name="T10" fmla="*/ 35 w 300"/>
                <a:gd name="T11" fmla="*/ 43 h 299"/>
                <a:gd name="T12" fmla="*/ 11 w 300"/>
                <a:gd name="T13" fmla="*/ 56 h 299"/>
                <a:gd name="T14" fmla="*/ 2 w 300"/>
                <a:gd name="T15" fmla="*/ 87 h 299"/>
                <a:gd name="T16" fmla="*/ 13 w 300"/>
                <a:gd name="T17" fmla="*/ 96 h 299"/>
                <a:gd name="T18" fmla="*/ 34 w 300"/>
                <a:gd name="T19" fmla="*/ 96 h 299"/>
                <a:gd name="T20" fmla="*/ 34 w 300"/>
                <a:gd name="T21" fmla="*/ 160 h 299"/>
                <a:gd name="T22" fmla="*/ 51 w 300"/>
                <a:gd name="T23" fmla="*/ 213 h 299"/>
                <a:gd name="T24" fmla="*/ 109 w 300"/>
                <a:gd name="T25" fmla="*/ 235 h 299"/>
                <a:gd name="T26" fmla="*/ 130 w 300"/>
                <a:gd name="T27" fmla="*/ 235 h 299"/>
                <a:gd name="T28" fmla="*/ 130 w 300"/>
                <a:gd name="T29" fmla="*/ 288 h 299"/>
                <a:gd name="T30" fmla="*/ 141 w 300"/>
                <a:gd name="T31" fmla="*/ 299 h 299"/>
                <a:gd name="T32" fmla="*/ 151 w 300"/>
                <a:gd name="T33" fmla="*/ 288 h 299"/>
                <a:gd name="T34" fmla="*/ 151 w 300"/>
                <a:gd name="T35" fmla="*/ 224 h 299"/>
                <a:gd name="T36" fmla="*/ 141 w 300"/>
                <a:gd name="T37" fmla="*/ 213 h 299"/>
                <a:gd name="T38" fmla="*/ 109 w 300"/>
                <a:gd name="T39" fmla="*/ 213 h 299"/>
                <a:gd name="T40" fmla="*/ 67 w 300"/>
                <a:gd name="T41" fmla="*/ 199 h 299"/>
                <a:gd name="T42" fmla="*/ 55 w 300"/>
                <a:gd name="T43" fmla="*/ 161 h 299"/>
                <a:gd name="T44" fmla="*/ 55 w 300"/>
                <a:gd name="T45" fmla="*/ 160 h 299"/>
                <a:gd name="T46" fmla="*/ 55 w 300"/>
                <a:gd name="T47" fmla="*/ 85 h 299"/>
                <a:gd name="T48" fmla="*/ 45 w 300"/>
                <a:gd name="T49" fmla="*/ 75 h 299"/>
                <a:gd name="T50" fmla="*/ 24 w 300"/>
                <a:gd name="T51" fmla="*/ 75 h 299"/>
                <a:gd name="T52" fmla="*/ 27 w 300"/>
                <a:gd name="T53" fmla="*/ 70 h 299"/>
                <a:gd name="T54" fmla="*/ 45 w 300"/>
                <a:gd name="T55" fmla="*/ 64 h 299"/>
                <a:gd name="T56" fmla="*/ 55 w 300"/>
                <a:gd name="T57" fmla="*/ 54 h 299"/>
                <a:gd name="T58" fmla="*/ 87 w 300"/>
                <a:gd name="T59" fmla="*/ 21 h 299"/>
                <a:gd name="T60" fmla="*/ 119 w 300"/>
                <a:gd name="T61" fmla="*/ 53 h 299"/>
                <a:gd name="T62" fmla="*/ 119 w 300"/>
                <a:gd name="T63" fmla="*/ 75 h 299"/>
                <a:gd name="T64" fmla="*/ 77 w 300"/>
                <a:gd name="T65" fmla="*/ 128 h 299"/>
                <a:gd name="T66" fmla="*/ 131 w 300"/>
                <a:gd name="T67" fmla="*/ 181 h 299"/>
                <a:gd name="T68" fmla="*/ 131 w 300"/>
                <a:gd name="T69" fmla="*/ 181 h 299"/>
                <a:gd name="T70" fmla="*/ 208 w 300"/>
                <a:gd name="T71" fmla="*/ 170 h 299"/>
                <a:gd name="T72" fmla="*/ 225 w 300"/>
                <a:gd name="T73" fmla="*/ 166 h 299"/>
                <a:gd name="T74" fmla="*/ 258 w 300"/>
                <a:gd name="T75" fmla="*/ 191 h 299"/>
                <a:gd name="T76" fmla="*/ 258 w 300"/>
                <a:gd name="T77" fmla="*/ 203 h 299"/>
                <a:gd name="T78" fmla="*/ 183 w 300"/>
                <a:gd name="T79" fmla="*/ 203 h 299"/>
                <a:gd name="T80" fmla="*/ 173 w 300"/>
                <a:gd name="T81" fmla="*/ 213 h 299"/>
                <a:gd name="T82" fmla="*/ 173 w 300"/>
                <a:gd name="T83" fmla="*/ 288 h 299"/>
                <a:gd name="T84" fmla="*/ 183 w 300"/>
                <a:gd name="T85" fmla="*/ 299 h 299"/>
                <a:gd name="T86" fmla="*/ 194 w 300"/>
                <a:gd name="T87" fmla="*/ 288 h 299"/>
                <a:gd name="T88" fmla="*/ 194 w 300"/>
                <a:gd name="T89" fmla="*/ 224 h 299"/>
                <a:gd name="T90" fmla="*/ 269 w 300"/>
                <a:gd name="T91" fmla="*/ 224 h 299"/>
                <a:gd name="T92" fmla="*/ 279 w 300"/>
                <a:gd name="T93" fmla="*/ 213 h 299"/>
                <a:gd name="T94" fmla="*/ 279 w 300"/>
                <a:gd name="T95" fmla="*/ 185 h 299"/>
                <a:gd name="T96" fmla="*/ 275 w 300"/>
                <a:gd name="T97" fmla="*/ 177 h 299"/>
                <a:gd name="T98" fmla="*/ 252 w 300"/>
                <a:gd name="T99" fmla="*/ 160 h 299"/>
                <a:gd name="T100" fmla="*/ 292 w 300"/>
                <a:gd name="T101" fmla="*/ 150 h 299"/>
                <a:gd name="T102" fmla="*/ 300 w 300"/>
                <a:gd name="T103" fmla="*/ 140 h 299"/>
                <a:gd name="T104" fmla="*/ 293 w 300"/>
                <a:gd name="T105" fmla="*/ 129 h 299"/>
                <a:gd name="T106" fmla="*/ 203 w 300"/>
                <a:gd name="T107" fmla="*/ 150 h 299"/>
                <a:gd name="T108" fmla="*/ 130 w 300"/>
                <a:gd name="T109" fmla="*/ 161 h 299"/>
                <a:gd name="T110" fmla="*/ 98 w 300"/>
                <a:gd name="T111" fmla="*/ 128 h 299"/>
                <a:gd name="T112" fmla="*/ 130 w 300"/>
                <a:gd name="T113" fmla="*/ 96 h 299"/>
                <a:gd name="T114" fmla="*/ 164 w 300"/>
                <a:gd name="T115" fmla="*/ 103 h 299"/>
                <a:gd name="T116" fmla="*/ 255 w 300"/>
                <a:gd name="T117" fmla="*/ 137 h 299"/>
                <a:gd name="T118" fmla="*/ 203 w 300"/>
                <a:gd name="T119" fmla="*/ 15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0" h="299">
                  <a:moveTo>
                    <a:pt x="293" y="129"/>
                  </a:moveTo>
                  <a:cubicBezTo>
                    <a:pt x="171" y="83"/>
                    <a:pt x="171" y="83"/>
                    <a:pt x="171" y="83"/>
                  </a:cubicBezTo>
                  <a:cubicBezTo>
                    <a:pt x="171" y="82"/>
                    <a:pt x="157" y="77"/>
                    <a:pt x="141" y="75"/>
                  </a:cubicBezTo>
                  <a:cubicBezTo>
                    <a:pt x="141" y="53"/>
                    <a:pt x="141" y="53"/>
                    <a:pt x="141" y="53"/>
                  </a:cubicBezTo>
                  <a:cubicBezTo>
                    <a:pt x="141" y="35"/>
                    <a:pt x="128" y="0"/>
                    <a:pt x="87" y="0"/>
                  </a:cubicBezTo>
                  <a:cubicBezTo>
                    <a:pt x="53" y="0"/>
                    <a:pt x="39" y="25"/>
                    <a:pt x="35" y="43"/>
                  </a:cubicBezTo>
                  <a:cubicBezTo>
                    <a:pt x="25" y="45"/>
                    <a:pt x="17" y="49"/>
                    <a:pt x="11" y="56"/>
                  </a:cubicBezTo>
                  <a:cubicBezTo>
                    <a:pt x="0" y="68"/>
                    <a:pt x="2" y="85"/>
                    <a:pt x="2" y="87"/>
                  </a:cubicBezTo>
                  <a:cubicBezTo>
                    <a:pt x="3" y="92"/>
                    <a:pt x="7" y="96"/>
                    <a:pt x="13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160"/>
                    <a:pt x="34" y="160"/>
                    <a:pt x="34" y="160"/>
                  </a:cubicBezTo>
                  <a:cubicBezTo>
                    <a:pt x="34" y="164"/>
                    <a:pt x="32" y="192"/>
                    <a:pt x="51" y="213"/>
                  </a:cubicBezTo>
                  <a:cubicBezTo>
                    <a:pt x="64" y="227"/>
                    <a:pt x="84" y="235"/>
                    <a:pt x="109" y="235"/>
                  </a:cubicBezTo>
                  <a:cubicBezTo>
                    <a:pt x="130" y="235"/>
                    <a:pt x="130" y="235"/>
                    <a:pt x="130" y="235"/>
                  </a:cubicBezTo>
                  <a:cubicBezTo>
                    <a:pt x="130" y="288"/>
                    <a:pt x="130" y="288"/>
                    <a:pt x="130" y="288"/>
                  </a:cubicBezTo>
                  <a:cubicBezTo>
                    <a:pt x="130" y="294"/>
                    <a:pt x="135" y="299"/>
                    <a:pt x="141" y="299"/>
                  </a:cubicBezTo>
                  <a:cubicBezTo>
                    <a:pt x="147" y="299"/>
                    <a:pt x="151" y="294"/>
                    <a:pt x="151" y="288"/>
                  </a:cubicBezTo>
                  <a:cubicBezTo>
                    <a:pt x="151" y="224"/>
                    <a:pt x="151" y="224"/>
                    <a:pt x="151" y="224"/>
                  </a:cubicBezTo>
                  <a:cubicBezTo>
                    <a:pt x="151" y="218"/>
                    <a:pt x="147" y="213"/>
                    <a:pt x="141" y="213"/>
                  </a:cubicBezTo>
                  <a:cubicBezTo>
                    <a:pt x="109" y="213"/>
                    <a:pt x="109" y="213"/>
                    <a:pt x="109" y="213"/>
                  </a:cubicBezTo>
                  <a:cubicBezTo>
                    <a:pt x="90" y="213"/>
                    <a:pt x="76" y="208"/>
                    <a:pt x="67" y="199"/>
                  </a:cubicBezTo>
                  <a:cubicBezTo>
                    <a:pt x="53" y="184"/>
                    <a:pt x="55" y="161"/>
                    <a:pt x="55" y="161"/>
                  </a:cubicBezTo>
                  <a:cubicBezTo>
                    <a:pt x="55" y="161"/>
                    <a:pt x="55" y="160"/>
                    <a:pt x="55" y="160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79"/>
                    <a:pt x="51" y="75"/>
                    <a:pt x="4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5" y="73"/>
                    <a:pt x="26" y="71"/>
                    <a:pt x="27" y="70"/>
                  </a:cubicBezTo>
                  <a:cubicBezTo>
                    <a:pt x="31" y="66"/>
                    <a:pt x="36" y="64"/>
                    <a:pt x="45" y="64"/>
                  </a:cubicBezTo>
                  <a:cubicBezTo>
                    <a:pt x="50" y="64"/>
                    <a:pt x="55" y="59"/>
                    <a:pt x="55" y="54"/>
                  </a:cubicBezTo>
                  <a:cubicBezTo>
                    <a:pt x="55" y="50"/>
                    <a:pt x="57" y="21"/>
                    <a:pt x="87" y="21"/>
                  </a:cubicBezTo>
                  <a:cubicBezTo>
                    <a:pt x="117" y="21"/>
                    <a:pt x="119" y="50"/>
                    <a:pt x="119" y="53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92" y="79"/>
                    <a:pt x="77" y="98"/>
                    <a:pt x="77" y="128"/>
                  </a:cubicBezTo>
                  <a:cubicBezTo>
                    <a:pt x="77" y="162"/>
                    <a:pt x="96" y="181"/>
                    <a:pt x="131" y="181"/>
                  </a:cubicBezTo>
                  <a:cubicBezTo>
                    <a:pt x="131" y="181"/>
                    <a:pt x="131" y="181"/>
                    <a:pt x="131" y="181"/>
                  </a:cubicBezTo>
                  <a:cubicBezTo>
                    <a:pt x="132" y="181"/>
                    <a:pt x="169" y="178"/>
                    <a:pt x="208" y="170"/>
                  </a:cubicBezTo>
                  <a:cubicBezTo>
                    <a:pt x="213" y="169"/>
                    <a:pt x="219" y="168"/>
                    <a:pt x="225" y="166"/>
                  </a:cubicBezTo>
                  <a:cubicBezTo>
                    <a:pt x="258" y="191"/>
                    <a:pt x="258" y="191"/>
                    <a:pt x="258" y="191"/>
                  </a:cubicBezTo>
                  <a:cubicBezTo>
                    <a:pt x="258" y="203"/>
                    <a:pt x="258" y="203"/>
                    <a:pt x="258" y="203"/>
                  </a:cubicBezTo>
                  <a:cubicBezTo>
                    <a:pt x="183" y="203"/>
                    <a:pt x="183" y="203"/>
                    <a:pt x="183" y="203"/>
                  </a:cubicBezTo>
                  <a:cubicBezTo>
                    <a:pt x="177" y="203"/>
                    <a:pt x="173" y="207"/>
                    <a:pt x="173" y="213"/>
                  </a:cubicBezTo>
                  <a:cubicBezTo>
                    <a:pt x="173" y="288"/>
                    <a:pt x="173" y="288"/>
                    <a:pt x="173" y="288"/>
                  </a:cubicBezTo>
                  <a:cubicBezTo>
                    <a:pt x="173" y="294"/>
                    <a:pt x="177" y="299"/>
                    <a:pt x="183" y="299"/>
                  </a:cubicBezTo>
                  <a:cubicBezTo>
                    <a:pt x="189" y="299"/>
                    <a:pt x="194" y="294"/>
                    <a:pt x="194" y="288"/>
                  </a:cubicBezTo>
                  <a:cubicBezTo>
                    <a:pt x="194" y="224"/>
                    <a:pt x="194" y="224"/>
                    <a:pt x="194" y="224"/>
                  </a:cubicBezTo>
                  <a:cubicBezTo>
                    <a:pt x="269" y="224"/>
                    <a:pt x="269" y="224"/>
                    <a:pt x="269" y="224"/>
                  </a:cubicBezTo>
                  <a:cubicBezTo>
                    <a:pt x="275" y="224"/>
                    <a:pt x="279" y="219"/>
                    <a:pt x="279" y="213"/>
                  </a:cubicBezTo>
                  <a:cubicBezTo>
                    <a:pt x="279" y="185"/>
                    <a:pt x="279" y="185"/>
                    <a:pt x="279" y="185"/>
                  </a:cubicBezTo>
                  <a:cubicBezTo>
                    <a:pt x="279" y="182"/>
                    <a:pt x="278" y="179"/>
                    <a:pt x="275" y="177"/>
                  </a:cubicBezTo>
                  <a:cubicBezTo>
                    <a:pt x="252" y="160"/>
                    <a:pt x="252" y="160"/>
                    <a:pt x="252" y="160"/>
                  </a:cubicBezTo>
                  <a:cubicBezTo>
                    <a:pt x="274" y="154"/>
                    <a:pt x="292" y="150"/>
                    <a:pt x="292" y="150"/>
                  </a:cubicBezTo>
                  <a:cubicBezTo>
                    <a:pt x="297" y="148"/>
                    <a:pt x="300" y="144"/>
                    <a:pt x="300" y="140"/>
                  </a:cubicBezTo>
                  <a:cubicBezTo>
                    <a:pt x="300" y="135"/>
                    <a:pt x="297" y="131"/>
                    <a:pt x="293" y="129"/>
                  </a:cubicBezTo>
                  <a:close/>
                  <a:moveTo>
                    <a:pt x="203" y="150"/>
                  </a:moveTo>
                  <a:cubicBezTo>
                    <a:pt x="166" y="158"/>
                    <a:pt x="129" y="161"/>
                    <a:pt x="130" y="161"/>
                  </a:cubicBezTo>
                  <a:cubicBezTo>
                    <a:pt x="108" y="161"/>
                    <a:pt x="98" y="151"/>
                    <a:pt x="98" y="128"/>
                  </a:cubicBezTo>
                  <a:cubicBezTo>
                    <a:pt x="98" y="106"/>
                    <a:pt x="108" y="96"/>
                    <a:pt x="130" y="96"/>
                  </a:cubicBezTo>
                  <a:cubicBezTo>
                    <a:pt x="147" y="96"/>
                    <a:pt x="163" y="103"/>
                    <a:pt x="164" y="103"/>
                  </a:cubicBezTo>
                  <a:cubicBezTo>
                    <a:pt x="255" y="137"/>
                    <a:pt x="255" y="137"/>
                    <a:pt x="255" y="137"/>
                  </a:cubicBezTo>
                  <a:cubicBezTo>
                    <a:pt x="239" y="141"/>
                    <a:pt x="220" y="146"/>
                    <a:pt x="203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9" name="Freeform 859"/>
          <p:cNvSpPr>
            <a:spLocks noChangeAspect="1" noEditPoints="1"/>
          </p:cNvSpPr>
          <p:nvPr/>
        </p:nvSpPr>
        <p:spPr bwMode="auto">
          <a:xfrm>
            <a:off x="1427841" y="2918206"/>
            <a:ext cx="367982" cy="36798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01 w 512"/>
              <a:gd name="T5" fmla="*/ 415 h 512"/>
              <a:gd name="T6" fmla="*/ 288 w 512"/>
              <a:gd name="T7" fmla="*/ 407 h 512"/>
              <a:gd name="T8" fmla="*/ 213 w 512"/>
              <a:gd name="T9" fmla="*/ 405 h 512"/>
              <a:gd name="T10" fmla="*/ 213 w 512"/>
              <a:gd name="T11" fmla="*/ 384 h 512"/>
              <a:gd name="T12" fmla="*/ 267 w 512"/>
              <a:gd name="T13" fmla="*/ 311 h 512"/>
              <a:gd name="T14" fmla="*/ 287 w 512"/>
              <a:gd name="T15" fmla="*/ 307 h 512"/>
              <a:gd name="T16" fmla="*/ 301 w 512"/>
              <a:gd name="T17" fmla="*/ 415 h 512"/>
              <a:gd name="T18" fmla="*/ 383 w 512"/>
              <a:gd name="T19" fmla="*/ 216 h 512"/>
              <a:gd name="T20" fmla="*/ 353 w 512"/>
              <a:gd name="T21" fmla="*/ 239 h 512"/>
              <a:gd name="T22" fmla="*/ 341 w 512"/>
              <a:gd name="T23" fmla="*/ 378 h 512"/>
              <a:gd name="T24" fmla="*/ 371 w 512"/>
              <a:gd name="T25" fmla="*/ 411 h 512"/>
              <a:gd name="T26" fmla="*/ 356 w 512"/>
              <a:gd name="T27" fmla="*/ 414 h 512"/>
              <a:gd name="T28" fmla="*/ 320 w 512"/>
              <a:gd name="T29" fmla="*/ 384 h 512"/>
              <a:gd name="T30" fmla="*/ 321 w 512"/>
              <a:gd name="T31" fmla="*/ 304 h 512"/>
              <a:gd name="T32" fmla="*/ 335 w 512"/>
              <a:gd name="T33" fmla="*/ 225 h 512"/>
              <a:gd name="T34" fmla="*/ 372 w 512"/>
              <a:gd name="T35" fmla="*/ 174 h 512"/>
              <a:gd name="T36" fmla="*/ 330 w 512"/>
              <a:gd name="T37" fmla="*/ 149 h 512"/>
              <a:gd name="T38" fmla="*/ 312 w 512"/>
              <a:gd name="T39" fmla="*/ 130 h 512"/>
              <a:gd name="T40" fmla="*/ 271 w 512"/>
              <a:gd name="T41" fmla="*/ 244 h 512"/>
              <a:gd name="T42" fmla="*/ 160 w 512"/>
              <a:gd name="T43" fmla="*/ 416 h 512"/>
              <a:gd name="T44" fmla="*/ 128 w 512"/>
              <a:gd name="T45" fmla="*/ 298 h 512"/>
              <a:gd name="T46" fmla="*/ 122 w 512"/>
              <a:gd name="T47" fmla="*/ 262 h 512"/>
              <a:gd name="T48" fmla="*/ 96 w 512"/>
              <a:gd name="T49" fmla="*/ 245 h 512"/>
              <a:gd name="T50" fmla="*/ 138 w 512"/>
              <a:gd name="T51" fmla="*/ 248 h 512"/>
              <a:gd name="T52" fmla="*/ 149 w 512"/>
              <a:gd name="T53" fmla="*/ 384 h 512"/>
              <a:gd name="T54" fmla="*/ 170 w 512"/>
              <a:gd name="T55" fmla="*/ 384 h 512"/>
              <a:gd name="T56" fmla="*/ 299 w 512"/>
              <a:gd name="T57" fmla="*/ 103 h 512"/>
              <a:gd name="T58" fmla="*/ 318 w 512"/>
              <a:gd name="T59" fmla="*/ 100 h 512"/>
              <a:gd name="T60" fmla="*/ 352 w 512"/>
              <a:gd name="T61" fmla="*/ 128 h 512"/>
              <a:gd name="T62" fmla="*/ 391 w 512"/>
              <a:gd name="T63" fmla="*/ 1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1" y="415"/>
                </a:moveTo>
                <a:cubicBezTo>
                  <a:pt x="300" y="416"/>
                  <a:pt x="299" y="416"/>
                  <a:pt x="298" y="416"/>
                </a:cubicBezTo>
                <a:cubicBezTo>
                  <a:pt x="293" y="416"/>
                  <a:pt x="289" y="412"/>
                  <a:pt x="288" y="407"/>
                </a:cubicBezTo>
                <a:cubicBezTo>
                  <a:pt x="287" y="405"/>
                  <a:pt x="287" y="405"/>
                  <a:pt x="287" y="405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07" y="405"/>
                  <a:pt x="202" y="400"/>
                  <a:pt x="202" y="394"/>
                </a:cubicBezTo>
                <a:cubicBezTo>
                  <a:pt x="202" y="388"/>
                  <a:pt x="207" y="384"/>
                  <a:pt x="213" y="384"/>
                </a:cubicBezTo>
                <a:cubicBezTo>
                  <a:pt x="283" y="384"/>
                  <a:pt x="283" y="384"/>
                  <a:pt x="283" y="384"/>
                </a:cubicBezTo>
                <a:cubicBezTo>
                  <a:pt x="267" y="311"/>
                  <a:pt x="267" y="311"/>
                  <a:pt x="267" y="311"/>
                </a:cubicBezTo>
                <a:cubicBezTo>
                  <a:pt x="265" y="306"/>
                  <a:pt x="269" y="300"/>
                  <a:pt x="275" y="299"/>
                </a:cubicBezTo>
                <a:cubicBezTo>
                  <a:pt x="280" y="297"/>
                  <a:pt x="286" y="301"/>
                  <a:pt x="287" y="307"/>
                </a:cubicBezTo>
                <a:cubicBezTo>
                  <a:pt x="309" y="403"/>
                  <a:pt x="309" y="403"/>
                  <a:pt x="309" y="403"/>
                </a:cubicBezTo>
                <a:cubicBezTo>
                  <a:pt x="310" y="408"/>
                  <a:pt x="306" y="414"/>
                  <a:pt x="301" y="415"/>
                </a:cubicBezTo>
                <a:close/>
                <a:moveTo>
                  <a:pt x="394" y="173"/>
                </a:moveTo>
                <a:cubicBezTo>
                  <a:pt x="383" y="216"/>
                  <a:pt x="383" y="216"/>
                  <a:pt x="383" y="216"/>
                </a:cubicBezTo>
                <a:cubicBezTo>
                  <a:pt x="383" y="218"/>
                  <a:pt x="381" y="220"/>
                  <a:pt x="379" y="222"/>
                </a:cubicBezTo>
                <a:cubicBezTo>
                  <a:pt x="353" y="239"/>
                  <a:pt x="353" y="239"/>
                  <a:pt x="353" y="239"/>
                </a:cubicBezTo>
                <a:cubicBezTo>
                  <a:pt x="355" y="252"/>
                  <a:pt x="352" y="280"/>
                  <a:pt x="341" y="312"/>
                </a:cubicBezTo>
                <a:cubicBezTo>
                  <a:pt x="341" y="378"/>
                  <a:pt x="341" y="378"/>
                  <a:pt x="341" y="378"/>
                </a:cubicBezTo>
                <a:cubicBezTo>
                  <a:pt x="368" y="396"/>
                  <a:pt x="368" y="396"/>
                  <a:pt x="368" y="396"/>
                </a:cubicBezTo>
                <a:cubicBezTo>
                  <a:pt x="373" y="399"/>
                  <a:pt x="374" y="406"/>
                  <a:pt x="371" y="411"/>
                </a:cubicBezTo>
                <a:cubicBezTo>
                  <a:pt x="369" y="414"/>
                  <a:pt x="366" y="416"/>
                  <a:pt x="362" y="416"/>
                </a:cubicBezTo>
                <a:cubicBezTo>
                  <a:pt x="360" y="416"/>
                  <a:pt x="358" y="415"/>
                  <a:pt x="356" y="414"/>
                </a:cubicBezTo>
                <a:cubicBezTo>
                  <a:pt x="324" y="393"/>
                  <a:pt x="324" y="393"/>
                  <a:pt x="324" y="393"/>
                </a:cubicBezTo>
                <a:cubicBezTo>
                  <a:pt x="321" y="391"/>
                  <a:pt x="320" y="387"/>
                  <a:pt x="320" y="384"/>
                </a:cubicBezTo>
                <a:cubicBezTo>
                  <a:pt x="320" y="309"/>
                  <a:pt x="320" y="309"/>
                  <a:pt x="320" y="309"/>
                </a:cubicBezTo>
                <a:cubicBezTo>
                  <a:pt x="320" y="307"/>
                  <a:pt x="320" y="306"/>
                  <a:pt x="321" y="304"/>
                </a:cubicBezTo>
                <a:cubicBezTo>
                  <a:pt x="340" y="268"/>
                  <a:pt x="331" y="239"/>
                  <a:pt x="331" y="237"/>
                </a:cubicBezTo>
                <a:cubicBezTo>
                  <a:pt x="329" y="233"/>
                  <a:pt x="331" y="228"/>
                  <a:pt x="335" y="225"/>
                </a:cubicBezTo>
                <a:cubicBezTo>
                  <a:pt x="364" y="206"/>
                  <a:pt x="364" y="206"/>
                  <a:pt x="364" y="206"/>
                </a:cubicBezTo>
                <a:cubicBezTo>
                  <a:pt x="372" y="174"/>
                  <a:pt x="372" y="174"/>
                  <a:pt x="372" y="174"/>
                </a:cubicBezTo>
                <a:cubicBezTo>
                  <a:pt x="347" y="149"/>
                  <a:pt x="347" y="149"/>
                  <a:pt x="347" y="149"/>
                </a:cubicBezTo>
                <a:cubicBezTo>
                  <a:pt x="330" y="149"/>
                  <a:pt x="330" y="149"/>
                  <a:pt x="330" y="149"/>
                </a:cubicBezTo>
                <a:cubicBezTo>
                  <a:pt x="327" y="149"/>
                  <a:pt x="323" y="147"/>
                  <a:pt x="321" y="144"/>
                </a:cubicBezTo>
                <a:cubicBezTo>
                  <a:pt x="312" y="130"/>
                  <a:pt x="312" y="130"/>
                  <a:pt x="312" y="130"/>
                </a:cubicBezTo>
                <a:cubicBezTo>
                  <a:pt x="276" y="238"/>
                  <a:pt x="276" y="238"/>
                  <a:pt x="276" y="238"/>
                </a:cubicBezTo>
                <a:cubicBezTo>
                  <a:pt x="276" y="240"/>
                  <a:pt x="274" y="243"/>
                  <a:pt x="271" y="244"/>
                </a:cubicBezTo>
                <a:cubicBezTo>
                  <a:pt x="268" y="246"/>
                  <a:pt x="192" y="284"/>
                  <a:pt x="192" y="384"/>
                </a:cubicBezTo>
                <a:cubicBezTo>
                  <a:pt x="192" y="401"/>
                  <a:pt x="177" y="416"/>
                  <a:pt x="160" y="416"/>
                </a:cubicBezTo>
                <a:cubicBezTo>
                  <a:pt x="142" y="416"/>
                  <a:pt x="128" y="401"/>
                  <a:pt x="128" y="384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98"/>
                  <a:pt x="128" y="297"/>
                  <a:pt x="128" y="297"/>
                </a:cubicBezTo>
                <a:cubicBezTo>
                  <a:pt x="129" y="290"/>
                  <a:pt x="130" y="271"/>
                  <a:pt x="122" y="262"/>
                </a:cubicBezTo>
                <a:cubicBezTo>
                  <a:pt x="118" y="258"/>
                  <a:pt x="113" y="256"/>
                  <a:pt x="106" y="256"/>
                </a:cubicBezTo>
                <a:cubicBezTo>
                  <a:pt x="100" y="256"/>
                  <a:pt x="96" y="251"/>
                  <a:pt x="96" y="245"/>
                </a:cubicBezTo>
                <a:cubicBezTo>
                  <a:pt x="96" y="239"/>
                  <a:pt x="100" y="234"/>
                  <a:pt x="106" y="234"/>
                </a:cubicBezTo>
                <a:cubicBezTo>
                  <a:pt x="120" y="234"/>
                  <a:pt x="131" y="239"/>
                  <a:pt x="138" y="248"/>
                </a:cubicBezTo>
                <a:cubicBezTo>
                  <a:pt x="153" y="265"/>
                  <a:pt x="149" y="293"/>
                  <a:pt x="149" y="299"/>
                </a:cubicBezTo>
                <a:cubicBezTo>
                  <a:pt x="149" y="384"/>
                  <a:pt x="149" y="384"/>
                  <a:pt x="149" y="384"/>
                </a:cubicBezTo>
                <a:cubicBezTo>
                  <a:pt x="149" y="390"/>
                  <a:pt x="154" y="394"/>
                  <a:pt x="160" y="394"/>
                </a:cubicBezTo>
                <a:cubicBezTo>
                  <a:pt x="166" y="394"/>
                  <a:pt x="170" y="390"/>
                  <a:pt x="170" y="384"/>
                </a:cubicBezTo>
                <a:cubicBezTo>
                  <a:pt x="170" y="283"/>
                  <a:pt x="240" y="237"/>
                  <a:pt x="258" y="227"/>
                </a:cubicBezTo>
                <a:cubicBezTo>
                  <a:pt x="299" y="103"/>
                  <a:pt x="299" y="103"/>
                  <a:pt x="299" y="103"/>
                </a:cubicBezTo>
                <a:cubicBezTo>
                  <a:pt x="300" y="99"/>
                  <a:pt x="304" y="96"/>
                  <a:pt x="308" y="96"/>
                </a:cubicBezTo>
                <a:cubicBezTo>
                  <a:pt x="312" y="95"/>
                  <a:pt x="316" y="97"/>
                  <a:pt x="318" y="100"/>
                </a:cubicBezTo>
                <a:cubicBezTo>
                  <a:pt x="336" y="128"/>
                  <a:pt x="336" y="128"/>
                  <a:pt x="336" y="128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54" y="128"/>
                  <a:pt x="357" y="129"/>
                  <a:pt x="359" y="131"/>
                </a:cubicBezTo>
                <a:cubicBezTo>
                  <a:pt x="391" y="163"/>
                  <a:pt x="391" y="163"/>
                  <a:pt x="391" y="163"/>
                </a:cubicBezTo>
                <a:cubicBezTo>
                  <a:pt x="394" y="165"/>
                  <a:pt x="395" y="169"/>
                  <a:pt x="394" y="17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0" name="Group 862"/>
          <p:cNvGrpSpPr>
            <a:grpSpLocks noChangeAspect="1"/>
          </p:cNvGrpSpPr>
          <p:nvPr/>
        </p:nvGrpSpPr>
        <p:grpSpPr bwMode="auto">
          <a:xfrm>
            <a:off x="1925501" y="2918206"/>
            <a:ext cx="367982" cy="367982"/>
            <a:chOff x="4364" y="3872"/>
            <a:chExt cx="340" cy="340"/>
          </a:xfrm>
          <a:solidFill>
            <a:schemeClr val="accent4"/>
          </a:solidFill>
        </p:grpSpPr>
        <p:sp>
          <p:nvSpPr>
            <p:cNvPr id="331" name="Freeform 863"/>
            <p:cNvSpPr>
              <a:spLocks noEditPoints="1"/>
            </p:cNvSpPr>
            <p:nvPr/>
          </p:nvSpPr>
          <p:spPr bwMode="auto">
            <a:xfrm>
              <a:off x="4364" y="38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864"/>
            <p:cNvSpPr>
              <a:spLocks/>
            </p:cNvSpPr>
            <p:nvPr/>
          </p:nvSpPr>
          <p:spPr bwMode="auto">
            <a:xfrm>
              <a:off x="4428" y="3935"/>
              <a:ext cx="198" cy="213"/>
            </a:xfrm>
            <a:custGeom>
              <a:avLst/>
              <a:gdLst>
                <a:gd name="T0" fmla="*/ 295 w 299"/>
                <a:gd name="T1" fmla="*/ 68 h 321"/>
                <a:gd name="T2" fmla="*/ 263 w 299"/>
                <a:gd name="T3" fmla="*/ 36 h 321"/>
                <a:gd name="T4" fmla="*/ 256 w 299"/>
                <a:gd name="T5" fmla="*/ 33 h 321"/>
                <a:gd name="T6" fmla="*/ 240 w 299"/>
                <a:gd name="T7" fmla="*/ 33 h 321"/>
                <a:gd name="T8" fmla="*/ 222 w 299"/>
                <a:gd name="T9" fmla="*/ 5 h 321"/>
                <a:gd name="T10" fmla="*/ 212 w 299"/>
                <a:gd name="T11" fmla="*/ 1 h 321"/>
                <a:gd name="T12" fmla="*/ 203 w 299"/>
                <a:gd name="T13" fmla="*/ 8 h 321"/>
                <a:gd name="T14" fmla="*/ 162 w 299"/>
                <a:gd name="T15" fmla="*/ 132 h 321"/>
                <a:gd name="T16" fmla="*/ 74 w 299"/>
                <a:gd name="T17" fmla="*/ 289 h 321"/>
                <a:gd name="T18" fmla="*/ 64 w 299"/>
                <a:gd name="T19" fmla="*/ 299 h 321"/>
                <a:gd name="T20" fmla="*/ 53 w 299"/>
                <a:gd name="T21" fmla="*/ 289 h 321"/>
                <a:gd name="T22" fmla="*/ 53 w 299"/>
                <a:gd name="T23" fmla="*/ 204 h 321"/>
                <a:gd name="T24" fmla="*/ 42 w 299"/>
                <a:gd name="T25" fmla="*/ 153 h 321"/>
                <a:gd name="T26" fmla="*/ 10 w 299"/>
                <a:gd name="T27" fmla="*/ 139 h 321"/>
                <a:gd name="T28" fmla="*/ 0 w 299"/>
                <a:gd name="T29" fmla="*/ 150 h 321"/>
                <a:gd name="T30" fmla="*/ 10 w 299"/>
                <a:gd name="T31" fmla="*/ 161 h 321"/>
                <a:gd name="T32" fmla="*/ 26 w 299"/>
                <a:gd name="T33" fmla="*/ 167 h 321"/>
                <a:gd name="T34" fmla="*/ 32 w 299"/>
                <a:gd name="T35" fmla="*/ 202 h 321"/>
                <a:gd name="T36" fmla="*/ 32 w 299"/>
                <a:gd name="T37" fmla="*/ 203 h 321"/>
                <a:gd name="T38" fmla="*/ 32 w 299"/>
                <a:gd name="T39" fmla="*/ 289 h 321"/>
                <a:gd name="T40" fmla="*/ 64 w 299"/>
                <a:gd name="T41" fmla="*/ 321 h 321"/>
                <a:gd name="T42" fmla="*/ 96 w 299"/>
                <a:gd name="T43" fmla="*/ 289 h 321"/>
                <a:gd name="T44" fmla="*/ 175 w 299"/>
                <a:gd name="T45" fmla="*/ 149 h 321"/>
                <a:gd name="T46" fmla="*/ 180 w 299"/>
                <a:gd name="T47" fmla="*/ 143 h 321"/>
                <a:gd name="T48" fmla="*/ 216 w 299"/>
                <a:gd name="T49" fmla="*/ 35 h 321"/>
                <a:gd name="T50" fmla="*/ 225 w 299"/>
                <a:gd name="T51" fmla="*/ 49 h 321"/>
                <a:gd name="T52" fmla="*/ 234 w 299"/>
                <a:gd name="T53" fmla="*/ 54 h 321"/>
                <a:gd name="T54" fmla="*/ 251 w 299"/>
                <a:gd name="T55" fmla="*/ 54 h 321"/>
                <a:gd name="T56" fmla="*/ 276 w 299"/>
                <a:gd name="T57" fmla="*/ 79 h 321"/>
                <a:gd name="T58" fmla="*/ 268 w 299"/>
                <a:gd name="T59" fmla="*/ 111 h 321"/>
                <a:gd name="T60" fmla="*/ 239 w 299"/>
                <a:gd name="T61" fmla="*/ 130 h 321"/>
                <a:gd name="T62" fmla="*/ 235 w 299"/>
                <a:gd name="T63" fmla="*/ 142 h 321"/>
                <a:gd name="T64" fmla="*/ 225 w 299"/>
                <a:gd name="T65" fmla="*/ 209 h 321"/>
                <a:gd name="T66" fmla="*/ 224 w 299"/>
                <a:gd name="T67" fmla="*/ 214 h 321"/>
                <a:gd name="T68" fmla="*/ 224 w 299"/>
                <a:gd name="T69" fmla="*/ 289 h 321"/>
                <a:gd name="T70" fmla="*/ 228 w 299"/>
                <a:gd name="T71" fmla="*/ 298 h 321"/>
                <a:gd name="T72" fmla="*/ 260 w 299"/>
                <a:gd name="T73" fmla="*/ 319 h 321"/>
                <a:gd name="T74" fmla="*/ 266 w 299"/>
                <a:gd name="T75" fmla="*/ 321 h 321"/>
                <a:gd name="T76" fmla="*/ 275 w 299"/>
                <a:gd name="T77" fmla="*/ 316 h 321"/>
                <a:gd name="T78" fmla="*/ 272 w 299"/>
                <a:gd name="T79" fmla="*/ 301 h 321"/>
                <a:gd name="T80" fmla="*/ 245 w 299"/>
                <a:gd name="T81" fmla="*/ 283 h 321"/>
                <a:gd name="T82" fmla="*/ 245 w 299"/>
                <a:gd name="T83" fmla="*/ 217 h 321"/>
                <a:gd name="T84" fmla="*/ 257 w 299"/>
                <a:gd name="T85" fmla="*/ 144 h 321"/>
                <a:gd name="T86" fmla="*/ 283 w 299"/>
                <a:gd name="T87" fmla="*/ 127 h 321"/>
                <a:gd name="T88" fmla="*/ 287 w 299"/>
                <a:gd name="T89" fmla="*/ 121 h 321"/>
                <a:gd name="T90" fmla="*/ 298 w 299"/>
                <a:gd name="T91" fmla="*/ 78 h 321"/>
                <a:gd name="T92" fmla="*/ 295 w 299"/>
                <a:gd name="T93" fmla="*/ 6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9" h="321">
                  <a:moveTo>
                    <a:pt x="295" y="68"/>
                  </a:moveTo>
                  <a:cubicBezTo>
                    <a:pt x="263" y="36"/>
                    <a:pt x="263" y="36"/>
                    <a:pt x="263" y="36"/>
                  </a:cubicBezTo>
                  <a:cubicBezTo>
                    <a:pt x="261" y="34"/>
                    <a:pt x="258" y="33"/>
                    <a:pt x="256" y="33"/>
                  </a:cubicBezTo>
                  <a:cubicBezTo>
                    <a:pt x="240" y="33"/>
                    <a:pt x="240" y="33"/>
                    <a:pt x="240" y="33"/>
                  </a:cubicBezTo>
                  <a:cubicBezTo>
                    <a:pt x="222" y="5"/>
                    <a:pt x="222" y="5"/>
                    <a:pt x="222" y="5"/>
                  </a:cubicBezTo>
                  <a:cubicBezTo>
                    <a:pt x="220" y="2"/>
                    <a:pt x="216" y="0"/>
                    <a:pt x="212" y="1"/>
                  </a:cubicBezTo>
                  <a:cubicBezTo>
                    <a:pt x="208" y="1"/>
                    <a:pt x="204" y="4"/>
                    <a:pt x="203" y="8"/>
                  </a:cubicBezTo>
                  <a:cubicBezTo>
                    <a:pt x="162" y="132"/>
                    <a:pt x="162" y="132"/>
                    <a:pt x="162" y="132"/>
                  </a:cubicBezTo>
                  <a:cubicBezTo>
                    <a:pt x="144" y="142"/>
                    <a:pt x="74" y="188"/>
                    <a:pt x="74" y="289"/>
                  </a:cubicBezTo>
                  <a:cubicBezTo>
                    <a:pt x="74" y="295"/>
                    <a:pt x="70" y="299"/>
                    <a:pt x="64" y="299"/>
                  </a:cubicBezTo>
                  <a:cubicBezTo>
                    <a:pt x="58" y="299"/>
                    <a:pt x="53" y="295"/>
                    <a:pt x="53" y="289"/>
                  </a:cubicBezTo>
                  <a:cubicBezTo>
                    <a:pt x="53" y="204"/>
                    <a:pt x="53" y="204"/>
                    <a:pt x="53" y="204"/>
                  </a:cubicBezTo>
                  <a:cubicBezTo>
                    <a:pt x="53" y="198"/>
                    <a:pt x="57" y="170"/>
                    <a:pt x="42" y="153"/>
                  </a:cubicBezTo>
                  <a:cubicBezTo>
                    <a:pt x="35" y="144"/>
                    <a:pt x="24" y="139"/>
                    <a:pt x="10" y="139"/>
                  </a:cubicBezTo>
                  <a:cubicBezTo>
                    <a:pt x="4" y="139"/>
                    <a:pt x="0" y="144"/>
                    <a:pt x="0" y="150"/>
                  </a:cubicBezTo>
                  <a:cubicBezTo>
                    <a:pt x="0" y="156"/>
                    <a:pt x="4" y="161"/>
                    <a:pt x="10" y="161"/>
                  </a:cubicBezTo>
                  <a:cubicBezTo>
                    <a:pt x="17" y="161"/>
                    <a:pt x="22" y="163"/>
                    <a:pt x="26" y="167"/>
                  </a:cubicBezTo>
                  <a:cubicBezTo>
                    <a:pt x="34" y="176"/>
                    <a:pt x="33" y="195"/>
                    <a:pt x="32" y="202"/>
                  </a:cubicBezTo>
                  <a:cubicBezTo>
                    <a:pt x="32" y="202"/>
                    <a:pt x="32" y="203"/>
                    <a:pt x="32" y="203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32" y="306"/>
                    <a:pt x="46" y="321"/>
                    <a:pt x="64" y="321"/>
                  </a:cubicBezTo>
                  <a:cubicBezTo>
                    <a:pt x="81" y="321"/>
                    <a:pt x="96" y="306"/>
                    <a:pt x="96" y="289"/>
                  </a:cubicBezTo>
                  <a:cubicBezTo>
                    <a:pt x="96" y="189"/>
                    <a:pt x="172" y="151"/>
                    <a:pt x="175" y="149"/>
                  </a:cubicBezTo>
                  <a:cubicBezTo>
                    <a:pt x="178" y="148"/>
                    <a:pt x="180" y="145"/>
                    <a:pt x="180" y="143"/>
                  </a:cubicBezTo>
                  <a:cubicBezTo>
                    <a:pt x="216" y="35"/>
                    <a:pt x="216" y="35"/>
                    <a:pt x="216" y="35"/>
                  </a:cubicBezTo>
                  <a:cubicBezTo>
                    <a:pt x="225" y="49"/>
                    <a:pt x="225" y="49"/>
                    <a:pt x="225" y="49"/>
                  </a:cubicBezTo>
                  <a:cubicBezTo>
                    <a:pt x="227" y="52"/>
                    <a:pt x="231" y="54"/>
                    <a:pt x="234" y="54"/>
                  </a:cubicBezTo>
                  <a:cubicBezTo>
                    <a:pt x="251" y="54"/>
                    <a:pt x="251" y="54"/>
                    <a:pt x="251" y="54"/>
                  </a:cubicBezTo>
                  <a:cubicBezTo>
                    <a:pt x="276" y="79"/>
                    <a:pt x="276" y="79"/>
                    <a:pt x="276" y="79"/>
                  </a:cubicBezTo>
                  <a:cubicBezTo>
                    <a:pt x="268" y="111"/>
                    <a:pt x="268" y="111"/>
                    <a:pt x="268" y="111"/>
                  </a:cubicBezTo>
                  <a:cubicBezTo>
                    <a:pt x="239" y="130"/>
                    <a:pt x="239" y="130"/>
                    <a:pt x="239" y="130"/>
                  </a:cubicBezTo>
                  <a:cubicBezTo>
                    <a:pt x="235" y="133"/>
                    <a:pt x="233" y="138"/>
                    <a:pt x="235" y="142"/>
                  </a:cubicBezTo>
                  <a:cubicBezTo>
                    <a:pt x="235" y="144"/>
                    <a:pt x="244" y="173"/>
                    <a:pt x="225" y="209"/>
                  </a:cubicBezTo>
                  <a:cubicBezTo>
                    <a:pt x="224" y="211"/>
                    <a:pt x="224" y="212"/>
                    <a:pt x="224" y="214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4" y="292"/>
                    <a:pt x="225" y="296"/>
                    <a:pt x="228" y="298"/>
                  </a:cubicBezTo>
                  <a:cubicBezTo>
                    <a:pt x="260" y="319"/>
                    <a:pt x="260" y="319"/>
                    <a:pt x="260" y="319"/>
                  </a:cubicBezTo>
                  <a:cubicBezTo>
                    <a:pt x="262" y="320"/>
                    <a:pt x="264" y="321"/>
                    <a:pt x="266" y="321"/>
                  </a:cubicBezTo>
                  <a:cubicBezTo>
                    <a:pt x="270" y="321"/>
                    <a:pt x="273" y="319"/>
                    <a:pt x="275" y="316"/>
                  </a:cubicBezTo>
                  <a:cubicBezTo>
                    <a:pt x="278" y="311"/>
                    <a:pt x="277" y="304"/>
                    <a:pt x="272" y="301"/>
                  </a:cubicBezTo>
                  <a:cubicBezTo>
                    <a:pt x="245" y="283"/>
                    <a:pt x="245" y="283"/>
                    <a:pt x="245" y="283"/>
                  </a:cubicBezTo>
                  <a:cubicBezTo>
                    <a:pt x="245" y="217"/>
                    <a:pt x="245" y="217"/>
                    <a:pt x="245" y="217"/>
                  </a:cubicBezTo>
                  <a:cubicBezTo>
                    <a:pt x="256" y="185"/>
                    <a:pt x="259" y="157"/>
                    <a:pt x="257" y="144"/>
                  </a:cubicBezTo>
                  <a:cubicBezTo>
                    <a:pt x="283" y="127"/>
                    <a:pt x="283" y="127"/>
                    <a:pt x="283" y="127"/>
                  </a:cubicBezTo>
                  <a:cubicBezTo>
                    <a:pt x="285" y="125"/>
                    <a:pt x="287" y="123"/>
                    <a:pt x="287" y="121"/>
                  </a:cubicBezTo>
                  <a:cubicBezTo>
                    <a:pt x="298" y="78"/>
                    <a:pt x="298" y="78"/>
                    <a:pt x="298" y="78"/>
                  </a:cubicBezTo>
                  <a:cubicBezTo>
                    <a:pt x="299" y="74"/>
                    <a:pt x="298" y="70"/>
                    <a:pt x="295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865"/>
            <p:cNvSpPr>
              <a:spLocks/>
            </p:cNvSpPr>
            <p:nvPr/>
          </p:nvSpPr>
          <p:spPr bwMode="auto">
            <a:xfrm>
              <a:off x="4498" y="4069"/>
              <a:ext cx="72" cy="79"/>
            </a:xfrm>
            <a:custGeom>
              <a:avLst/>
              <a:gdLst>
                <a:gd name="T0" fmla="*/ 85 w 108"/>
                <a:gd name="T1" fmla="*/ 10 h 119"/>
                <a:gd name="T2" fmla="*/ 73 w 108"/>
                <a:gd name="T3" fmla="*/ 2 h 119"/>
                <a:gd name="T4" fmla="*/ 65 w 108"/>
                <a:gd name="T5" fmla="*/ 14 h 119"/>
                <a:gd name="T6" fmla="*/ 81 w 108"/>
                <a:gd name="T7" fmla="*/ 87 h 119"/>
                <a:gd name="T8" fmla="*/ 11 w 108"/>
                <a:gd name="T9" fmla="*/ 87 h 119"/>
                <a:gd name="T10" fmla="*/ 0 w 108"/>
                <a:gd name="T11" fmla="*/ 97 h 119"/>
                <a:gd name="T12" fmla="*/ 11 w 108"/>
                <a:gd name="T13" fmla="*/ 108 h 119"/>
                <a:gd name="T14" fmla="*/ 85 w 108"/>
                <a:gd name="T15" fmla="*/ 108 h 119"/>
                <a:gd name="T16" fmla="*/ 86 w 108"/>
                <a:gd name="T17" fmla="*/ 110 h 119"/>
                <a:gd name="T18" fmla="*/ 96 w 108"/>
                <a:gd name="T19" fmla="*/ 119 h 119"/>
                <a:gd name="T20" fmla="*/ 99 w 108"/>
                <a:gd name="T21" fmla="*/ 118 h 119"/>
                <a:gd name="T22" fmla="*/ 107 w 108"/>
                <a:gd name="T23" fmla="*/ 106 h 119"/>
                <a:gd name="T24" fmla="*/ 85 w 108"/>
                <a:gd name="T25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19">
                  <a:moveTo>
                    <a:pt x="85" y="10"/>
                  </a:moveTo>
                  <a:cubicBezTo>
                    <a:pt x="84" y="4"/>
                    <a:pt x="78" y="0"/>
                    <a:pt x="73" y="2"/>
                  </a:cubicBezTo>
                  <a:cubicBezTo>
                    <a:pt x="67" y="3"/>
                    <a:pt x="63" y="9"/>
                    <a:pt x="65" y="14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87"/>
                    <a:pt x="0" y="91"/>
                    <a:pt x="0" y="97"/>
                  </a:cubicBezTo>
                  <a:cubicBezTo>
                    <a:pt x="0" y="103"/>
                    <a:pt x="5" y="108"/>
                    <a:pt x="11" y="108"/>
                  </a:cubicBezTo>
                  <a:cubicBezTo>
                    <a:pt x="85" y="108"/>
                    <a:pt x="85" y="108"/>
                    <a:pt x="85" y="108"/>
                  </a:cubicBezTo>
                  <a:cubicBezTo>
                    <a:pt x="86" y="110"/>
                    <a:pt x="86" y="110"/>
                    <a:pt x="86" y="110"/>
                  </a:cubicBezTo>
                  <a:cubicBezTo>
                    <a:pt x="87" y="115"/>
                    <a:pt x="91" y="119"/>
                    <a:pt x="96" y="119"/>
                  </a:cubicBezTo>
                  <a:cubicBezTo>
                    <a:pt x="97" y="119"/>
                    <a:pt x="98" y="119"/>
                    <a:pt x="99" y="118"/>
                  </a:cubicBezTo>
                  <a:cubicBezTo>
                    <a:pt x="104" y="117"/>
                    <a:pt x="108" y="111"/>
                    <a:pt x="107" y="106"/>
                  </a:cubicBezTo>
                  <a:lnTo>
                    <a:pt x="8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4" name="Freeform 366"/>
          <p:cNvSpPr>
            <a:spLocks noChangeAspect="1" noEditPoints="1"/>
          </p:cNvSpPr>
          <p:nvPr/>
        </p:nvSpPr>
        <p:spPr bwMode="auto">
          <a:xfrm>
            <a:off x="2423161" y="2918210"/>
            <a:ext cx="367631" cy="367631"/>
          </a:xfrm>
          <a:custGeom>
            <a:avLst/>
            <a:gdLst>
              <a:gd name="T0" fmla="*/ 188 w 512"/>
              <a:gd name="T1" fmla="*/ 256 h 512"/>
              <a:gd name="T2" fmla="*/ 151 w 512"/>
              <a:gd name="T3" fmla="*/ 235 h 512"/>
              <a:gd name="T4" fmla="*/ 149 w 512"/>
              <a:gd name="T5" fmla="*/ 235 h 512"/>
              <a:gd name="T6" fmla="*/ 134 w 512"/>
              <a:gd name="T7" fmla="*/ 235 h 512"/>
              <a:gd name="T8" fmla="*/ 123 w 512"/>
              <a:gd name="T9" fmla="*/ 219 h 512"/>
              <a:gd name="T10" fmla="*/ 174 w 512"/>
              <a:gd name="T11" fmla="*/ 202 h 512"/>
              <a:gd name="T12" fmla="*/ 181 w 512"/>
              <a:gd name="T13" fmla="*/ 196 h 512"/>
              <a:gd name="T14" fmla="*/ 185 w 512"/>
              <a:gd name="T15" fmla="*/ 184 h 512"/>
              <a:gd name="T16" fmla="*/ 222 w 512"/>
              <a:gd name="T17" fmla="*/ 235 h 512"/>
              <a:gd name="T18" fmla="*/ 188 w 512"/>
              <a:gd name="T19" fmla="*/ 256 h 512"/>
              <a:gd name="T20" fmla="*/ 381 w 512"/>
              <a:gd name="T21" fmla="*/ 216 h 512"/>
              <a:gd name="T22" fmla="*/ 346 w 512"/>
              <a:gd name="T23" fmla="*/ 244 h 512"/>
              <a:gd name="T24" fmla="*/ 341 w 512"/>
              <a:gd name="T25" fmla="*/ 246 h 512"/>
              <a:gd name="T26" fmla="*/ 241 w 512"/>
              <a:gd name="T27" fmla="*/ 246 h 512"/>
              <a:gd name="T28" fmla="*/ 194 w 512"/>
              <a:gd name="T29" fmla="*/ 277 h 512"/>
              <a:gd name="T30" fmla="*/ 203 w 512"/>
              <a:gd name="T31" fmla="*/ 363 h 512"/>
              <a:gd name="T32" fmla="*/ 205 w 512"/>
              <a:gd name="T33" fmla="*/ 374 h 512"/>
              <a:gd name="T34" fmla="*/ 224 w 512"/>
              <a:gd name="T35" fmla="*/ 307 h 512"/>
              <a:gd name="T36" fmla="*/ 237 w 512"/>
              <a:gd name="T37" fmla="*/ 299 h 512"/>
              <a:gd name="T38" fmla="*/ 327 w 512"/>
              <a:gd name="T39" fmla="*/ 300 h 512"/>
              <a:gd name="T40" fmla="*/ 340 w 512"/>
              <a:gd name="T41" fmla="*/ 305 h 512"/>
              <a:gd name="T42" fmla="*/ 369 w 512"/>
              <a:gd name="T43" fmla="*/ 372 h 512"/>
              <a:gd name="T44" fmla="*/ 370 w 512"/>
              <a:gd name="T45" fmla="*/ 371 h 512"/>
              <a:gd name="T46" fmla="*/ 373 w 512"/>
              <a:gd name="T47" fmla="*/ 363 h 512"/>
              <a:gd name="T48" fmla="*/ 363 w 512"/>
              <a:gd name="T49" fmla="*/ 268 h 512"/>
              <a:gd name="T50" fmla="*/ 365 w 512"/>
              <a:gd name="T51" fmla="*/ 260 h 512"/>
              <a:gd name="T52" fmla="*/ 381 w 512"/>
              <a:gd name="T53" fmla="*/ 216 h 512"/>
              <a:gd name="T54" fmla="*/ 512 w 512"/>
              <a:gd name="T55" fmla="*/ 256 h 512"/>
              <a:gd name="T56" fmla="*/ 256 w 512"/>
              <a:gd name="T57" fmla="*/ 512 h 512"/>
              <a:gd name="T58" fmla="*/ 0 w 512"/>
              <a:gd name="T59" fmla="*/ 256 h 512"/>
              <a:gd name="T60" fmla="*/ 256 w 512"/>
              <a:gd name="T61" fmla="*/ 0 h 512"/>
              <a:gd name="T62" fmla="*/ 512 w 512"/>
              <a:gd name="T63" fmla="*/ 256 h 512"/>
              <a:gd name="T64" fmla="*/ 384 w 512"/>
              <a:gd name="T65" fmla="*/ 270 h 512"/>
              <a:gd name="T66" fmla="*/ 393 w 512"/>
              <a:gd name="T67" fmla="*/ 177 h 512"/>
              <a:gd name="T68" fmla="*/ 381 w 512"/>
              <a:gd name="T69" fmla="*/ 171 h 512"/>
              <a:gd name="T70" fmla="*/ 373 w 512"/>
              <a:gd name="T71" fmla="*/ 182 h 512"/>
              <a:gd name="T72" fmla="*/ 338 w 512"/>
              <a:gd name="T73" fmla="*/ 224 h 512"/>
              <a:gd name="T74" fmla="*/ 240 w 512"/>
              <a:gd name="T75" fmla="*/ 224 h 512"/>
              <a:gd name="T76" fmla="*/ 190 w 512"/>
              <a:gd name="T77" fmla="*/ 154 h 512"/>
              <a:gd name="T78" fmla="*/ 180 w 512"/>
              <a:gd name="T79" fmla="*/ 150 h 512"/>
              <a:gd name="T80" fmla="*/ 171 w 512"/>
              <a:gd name="T81" fmla="*/ 157 h 512"/>
              <a:gd name="T82" fmla="*/ 162 w 512"/>
              <a:gd name="T83" fmla="*/ 184 h 512"/>
              <a:gd name="T84" fmla="*/ 103 w 512"/>
              <a:gd name="T85" fmla="*/ 204 h 512"/>
              <a:gd name="T86" fmla="*/ 97 w 512"/>
              <a:gd name="T87" fmla="*/ 210 h 512"/>
              <a:gd name="T88" fmla="*/ 98 w 512"/>
              <a:gd name="T89" fmla="*/ 220 h 512"/>
              <a:gd name="T90" fmla="*/ 119 w 512"/>
              <a:gd name="T91" fmla="*/ 252 h 512"/>
              <a:gd name="T92" fmla="*/ 128 w 512"/>
              <a:gd name="T93" fmla="*/ 256 h 512"/>
              <a:gd name="T94" fmla="*/ 150 w 512"/>
              <a:gd name="T95" fmla="*/ 256 h 512"/>
              <a:gd name="T96" fmla="*/ 171 w 512"/>
              <a:gd name="T97" fmla="*/ 269 h 512"/>
              <a:gd name="T98" fmla="*/ 171 w 512"/>
              <a:gd name="T99" fmla="*/ 269 h 512"/>
              <a:gd name="T100" fmla="*/ 181 w 512"/>
              <a:gd name="T101" fmla="*/ 363 h 512"/>
              <a:gd name="T102" fmla="*/ 193 w 512"/>
              <a:gd name="T103" fmla="*/ 391 h 512"/>
              <a:gd name="T104" fmla="*/ 208 w 512"/>
              <a:gd name="T105" fmla="*/ 396 h 512"/>
              <a:gd name="T106" fmla="*/ 217 w 512"/>
              <a:gd name="T107" fmla="*/ 394 h 512"/>
              <a:gd name="T108" fmla="*/ 224 w 512"/>
              <a:gd name="T109" fmla="*/ 387 h 512"/>
              <a:gd name="T110" fmla="*/ 242 w 512"/>
              <a:gd name="T111" fmla="*/ 322 h 512"/>
              <a:gd name="T112" fmla="*/ 325 w 512"/>
              <a:gd name="T113" fmla="*/ 322 h 512"/>
              <a:gd name="T114" fmla="*/ 353 w 512"/>
              <a:gd name="T115" fmla="*/ 389 h 512"/>
              <a:gd name="T116" fmla="*/ 363 w 512"/>
              <a:gd name="T117" fmla="*/ 395 h 512"/>
              <a:gd name="T118" fmla="*/ 386 w 512"/>
              <a:gd name="T119" fmla="*/ 386 h 512"/>
              <a:gd name="T120" fmla="*/ 395 w 512"/>
              <a:gd name="T121" fmla="*/ 362 h 512"/>
              <a:gd name="T122" fmla="*/ 384 w 512"/>
              <a:gd name="T123" fmla="*/ 2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188" y="256"/>
                </a:moveTo>
                <a:cubicBezTo>
                  <a:pt x="183" y="246"/>
                  <a:pt x="172" y="235"/>
                  <a:pt x="151" y="235"/>
                </a:cubicBezTo>
                <a:cubicBezTo>
                  <a:pt x="150" y="235"/>
                  <a:pt x="150" y="235"/>
                  <a:pt x="149" y="235"/>
                </a:cubicBezTo>
                <a:cubicBezTo>
                  <a:pt x="134" y="235"/>
                  <a:pt x="134" y="235"/>
                  <a:pt x="134" y="235"/>
                </a:cubicBezTo>
                <a:cubicBezTo>
                  <a:pt x="123" y="219"/>
                  <a:pt x="123" y="219"/>
                  <a:pt x="123" y="219"/>
                </a:cubicBezTo>
                <a:cubicBezTo>
                  <a:pt x="174" y="202"/>
                  <a:pt x="174" y="202"/>
                  <a:pt x="174" y="202"/>
                </a:cubicBezTo>
                <a:cubicBezTo>
                  <a:pt x="177" y="201"/>
                  <a:pt x="180" y="199"/>
                  <a:pt x="181" y="196"/>
                </a:cubicBezTo>
                <a:cubicBezTo>
                  <a:pt x="185" y="184"/>
                  <a:pt x="185" y="184"/>
                  <a:pt x="185" y="184"/>
                </a:cubicBezTo>
                <a:cubicBezTo>
                  <a:pt x="222" y="235"/>
                  <a:pt x="222" y="235"/>
                  <a:pt x="222" y="235"/>
                </a:cubicBezTo>
                <a:cubicBezTo>
                  <a:pt x="217" y="242"/>
                  <a:pt x="206" y="254"/>
                  <a:pt x="188" y="256"/>
                </a:cubicBezTo>
                <a:close/>
                <a:moveTo>
                  <a:pt x="381" y="216"/>
                </a:moveTo>
                <a:cubicBezTo>
                  <a:pt x="368" y="232"/>
                  <a:pt x="350" y="243"/>
                  <a:pt x="346" y="244"/>
                </a:cubicBezTo>
                <a:cubicBezTo>
                  <a:pt x="345" y="245"/>
                  <a:pt x="343" y="246"/>
                  <a:pt x="341" y="246"/>
                </a:cubicBezTo>
                <a:cubicBezTo>
                  <a:pt x="241" y="246"/>
                  <a:pt x="241" y="246"/>
                  <a:pt x="241" y="246"/>
                </a:cubicBezTo>
                <a:cubicBezTo>
                  <a:pt x="234" y="255"/>
                  <a:pt x="219" y="273"/>
                  <a:pt x="194" y="277"/>
                </a:cubicBezTo>
                <a:cubicBezTo>
                  <a:pt x="197" y="298"/>
                  <a:pt x="203" y="341"/>
                  <a:pt x="203" y="363"/>
                </a:cubicBezTo>
                <a:cubicBezTo>
                  <a:pt x="203" y="369"/>
                  <a:pt x="204" y="373"/>
                  <a:pt x="205" y="374"/>
                </a:cubicBezTo>
                <a:cubicBezTo>
                  <a:pt x="224" y="307"/>
                  <a:pt x="224" y="307"/>
                  <a:pt x="224" y="307"/>
                </a:cubicBezTo>
                <a:cubicBezTo>
                  <a:pt x="226" y="301"/>
                  <a:pt x="232" y="298"/>
                  <a:pt x="237" y="299"/>
                </a:cubicBezTo>
                <a:cubicBezTo>
                  <a:pt x="287" y="313"/>
                  <a:pt x="327" y="300"/>
                  <a:pt x="327" y="300"/>
                </a:cubicBezTo>
                <a:cubicBezTo>
                  <a:pt x="332" y="298"/>
                  <a:pt x="338" y="300"/>
                  <a:pt x="340" y="305"/>
                </a:cubicBezTo>
                <a:cubicBezTo>
                  <a:pt x="369" y="372"/>
                  <a:pt x="369" y="372"/>
                  <a:pt x="369" y="372"/>
                </a:cubicBezTo>
                <a:cubicBezTo>
                  <a:pt x="370" y="372"/>
                  <a:pt x="370" y="371"/>
                  <a:pt x="370" y="371"/>
                </a:cubicBezTo>
                <a:cubicBezTo>
                  <a:pt x="373" y="369"/>
                  <a:pt x="373" y="365"/>
                  <a:pt x="373" y="363"/>
                </a:cubicBezTo>
                <a:cubicBezTo>
                  <a:pt x="363" y="268"/>
                  <a:pt x="363" y="268"/>
                  <a:pt x="363" y="268"/>
                </a:cubicBezTo>
                <a:cubicBezTo>
                  <a:pt x="362" y="265"/>
                  <a:pt x="363" y="263"/>
                  <a:pt x="365" y="260"/>
                </a:cubicBezTo>
                <a:cubicBezTo>
                  <a:pt x="377" y="245"/>
                  <a:pt x="381" y="229"/>
                  <a:pt x="381" y="216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84" y="270"/>
                </a:moveTo>
                <a:cubicBezTo>
                  <a:pt x="418" y="223"/>
                  <a:pt x="394" y="179"/>
                  <a:pt x="393" y="177"/>
                </a:cubicBezTo>
                <a:cubicBezTo>
                  <a:pt x="391" y="172"/>
                  <a:pt x="386" y="170"/>
                  <a:pt x="381" y="171"/>
                </a:cubicBezTo>
                <a:cubicBezTo>
                  <a:pt x="377" y="173"/>
                  <a:pt x="373" y="177"/>
                  <a:pt x="373" y="182"/>
                </a:cubicBezTo>
                <a:cubicBezTo>
                  <a:pt x="373" y="200"/>
                  <a:pt x="350" y="217"/>
                  <a:pt x="338" y="224"/>
                </a:cubicBezTo>
                <a:cubicBezTo>
                  <a:pt x="240" y="224"/>
                  <a:pt x="240" y="224"/>
                  <a:pt x="240" y="224"/>
                </a:cubicBezTo>
                <a:cubicBezTo>
                  <a:pt x="190" y="154"/>
                  <a:pt x="190" y="154"/>
                  <a:pt x="190" y="154"/>
                </a:cubicBezTo>
                <a:cubicBezTo>
                  <a:pt x="188" y="151"/>
                  <a:pt x="184" y="149"/>
                  <a:pt x="180" y="150"/>
                </a:cubicBezTo>
                <a:cubicBezTo>
                  <a:pt x="176" y="150"/>
                  <a:pt x="172" y="153"/>
                  <a:pt x="171" y="157"/>
                </a:cubicBezTo>
                <a:cubicBezTo>
                  <a:pt x="162" y="184"/>
                  <a:pt x="162" y="184"/>
                  <a:pt x="162" y="184"/>
                </a:cubicBezTo>
                <a:cubicBezTo>
                  <a:pt x="103" y="204"/>
                  <a:pt x="103" y="204"/>
                  <a:pt x="103" y="204"/>
                </a:cubicBezTo>
                <a:cubicBezTo>
                  <a:pt x="100" y="205"/>
                  <a:pt x="98" y="207"/>
                  <a:pt x="97" y="210"/>
                </a:cubicBezTo>
                <a:cubicBezTo>
                  <a:pt x="95" y="213"/>
                  <a:pt x="96" y="217"/>
                  <a:pt x="98" y="220"/>
                </a:cubicBezTo>
                <a:cubicBezTo>
                  <a:pt x="119" y="252"/>
                  <a:pt x="119" y="252"/>
                  <a:pt x="119" y="252"/>
                </a:cubicBezTo>
                <a:cubicBezTo>
                  <a:pt x="121" y="255"/>
                  <a:pt x="124" y="256"/>
                  <a:pt x="128" y="256"/>
                </a:cubicBezTo>
                <a:cubicBezTo>
                  <a:pt x="150" y="256"/>
                  <a:pt x="150" y="256"/>
                  <a:pt x="150" y="256"/>
                </a:cubicBezTo>
                <a:cubicBezTo>
                  <a:pt x="167" y="256"/>
                  <a:pt x="170" y="267"/>
                  <a:pt x="171" y="269"/>
                </a:cubicBezTo>
                <a:cubicBezTo>
                  <a:pt x="171" y="269"/>
                  <a:pt x="171" y="269"/>
                  <a:pt x="171" y="269"/>
                </a:cubicBezTo>
                <a:cubicBezTo>
                  <a:pt x="171" y="273"/>
                  <a:pt x="181" y="336"/>
                  <a:pt x="181" y="363"/>
                </a:cubicBezTo>
                <a:cubicBezTo>
                  <a:pt x="181" y="376"/>
                  <a:pt x="185" y="386"/>
                  <a:pt x="193" y="391"/>
                </a:cubicBezTo>
                <a:cubicBezTo>
                  <a:pt x="198" y="395"/>
                  <a:pt x="203" y="396"/>
                  <a:pt x="208" y="396"/>
                </a:cubicBezTo>
                <a:cubicBezTo>
                  <a:pt x="212" y="396"/>
                  <a:pt x="216" y="395"/>
                  <a:pt x="217" y="394"/>
                </a:cubicBezTo>
                <a:cubicBezTo>
                  <a:pt x="220" y="393"/>
                  <a:pt x="223" y="391"/>
                  <a:pt x="224" y="387"/>
                </a:cubicBezTo>
                <a:cubicBezTo>
                  <a:pt x="242" y="322"/>
                  <a:pt x="242" y="322"/>
                  <a:pt x="242" y="322"/>
                </a:cubicBezTo>
                <a:cubicBezTo>
                  <a:pt x="279" y="330"/>
                  <a:pt x="310" y="326"/>
                  <a:pt x="325" y="322"/>
                </a:cubicBezTo>
                <a:cubicBezTo>
                  <a:pt x="353" y="389"/>
                  <a:pt x="353" y="389"/>
                  <a:pt x="353" y="389"/>
                </a:cubicBezTo>
                <a:cubicBezTo>
                  <a:pt x="355" y="392"/>
                  <a:pt x="358" y="395"/>
                  <a:pt x="363" y="395"/>
                </a:cubicBezTo>
                <a:cubicBezTo>
                  <a:pt x="375" y="395"/>
                  <a:pt x="382" y="390"/>
                  <a:pt x="386" y="386"/>
                </a:cubicBezTo>
                <a:cubicBezTo>
                  <a:pt x="395" y="377"/>
                  <a:pt x="395" y="364"/>
                  <a:pt x="395" y="362"/>
                </a:cubicBezTo>
                <a:lnTo>
                  <a:pt x="384" y="27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5" name="Group 369"/>
          <p:cNvGrpSpPr>
            <a:grpSpLocks noChangeAspect="1"/>
          </p:cNvGrpSpPr>
          <p:nvPr/>
        </p:nvGrpSpPr>
        <p:grpSpPr bwMode="auto">
          <a:xfrm>
            <a:off x="2920470" y="2918210"/>
            <a:ext cx="367631" cy="367631"/>
            <a:chOff x="6624" y="1193"/>
            <a:chExt cx="340" cy="340"/>
          </a:xfrm>
          <a:solidFill>
            <a:schemeClr val="accent4"/>
          </a:solidFill>
        </p:grpSpPr>
        <p:sp>
          <p:nvSpPr>
            <p:cNvPr id="336" name="Freeform 370"/>
            <p:cNvSpPr>
              <a:spLocks noEditPoints="1"/>
            </p:cNvSpPr>
            <p:nvPr/>
          </p:nvSpPr>
          <p:spPr bwMode="auto">
            <a:xfrm>
              <a:off x="6624" y="11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371"/>
            <p:cNvSpPr>
              <a:spLocks noEditPoints="1"/>
            </p:cNvSpPr>
            <p:nvPr/>
          </p:nvSpPr>
          <p:spPr bwMode="auto">
            <a:xfrm>
              <a:off x="6687" y="1292"/>
              <a:ext cx="215" cy="164"/>
            </a:xfrm>
            <a:custGeom>
              <a:avLst/>
              <a:gdLst>
                <a:gd name="T0" fmla="*/ 113 w 323"/>
                <a:gd name="T1" fmla="*/ 247 h 247"/>
                <a:gd name="T2" fmla="*/ 98 w 323"/>
                <a:gd name="T3" fmla="*/ 242 h 247"/>
                <a:gd name="T4" fmla="*/ 86 w 323"/>
                <a:gd name="T5" fmla="*/ 214 h 247"/>
                <a:gd name="T6" fmla="*/ 76 w 323"/>
                <a:gd name="T7" fmla="*/ 120 h 247"/>
                <a:gd name="T8" fmla="*/ 76 w 323"/>
                <a:gd name="T9" fmla="*/ 120 h 247"/>
                <a:gd name="T10" fmla="*/ 55 w 323"/>
                <a:gd name="T11" fmla="*/ 107 h 247"/>
                <a:gd name="T12" fmla="*/ 33 w 323"/>
                <a:gd name="T13" fmla="*/ 107 h 247"/>
                <a:gd name="T14" fmla="*/ 24 w 323"/>
                <a:gd name="T15" fmla="*/ 103 h 247"/>
                <a:gd name="T16" fmla="*/ 3 w 323"/>
                <a:gd name="T17" fmla="*/ 71 h 247"/>
                <a:gd name="T18" fmla="*/ 2 w 323"/>
                <a:gd name="T19" fmla="*/ 61 h 247"/>
                <a:gd name="T20" fmla="*/ 8 w 323"/>
                <a:gd name="T21" fmla="*/ 55 h 247"/>
                <a:gd name="T22" fmla="*/ 67 w 323"/>
                <a:gd name="T23" fmla="*/ 35 h 247"/>
                <a:gd name="T24" fmla="*/ 76 w 323"/>
                <a:gd name="T25" fmla="*/ 8 h 247"/>
                <a:gd name="T26" fmla="*/ 85 w 323"/>
                <a:gd name="T27" fmla="*/ 1 h 247"/>
                <a:gd name="T28" fmla="*/ 95 w 323"/>
                <a:gd name="T29" fmla="*/ 5 h 247"/>
                <a:gd name="T30" fmla="*/ 145 w 323"/>
                <a:gd name="T31" fmla="*/ 75 h 247"/>
                <a:gd name="T32" fmla="*/ 243 w 323"/>
                <a:gd name="T33" fmla="*/ 75 h 247"/>
                <a:gd name="T34" fmla="*/ 278 w 323"/>
                <a:gd name="T35" fmla="*/ 33 h 247"/>
                <a:gd name="T36" fmla="*/ 286 w 323"/>
                <a:gd name="T37" fmla="*/ 22 h 247"/>
                <a:gd name="T38" fmla="*/ 298 w 323"/>
                <a:gd name="T39" fmla="*/ 28 h 247"/>
                <a:gd name="T40" fmla="*/ 289 w 323"/>
                <a:gd name="T41" fmla="*/ 121 h 247"/>
                <a:gd name="T42" fmla="*/ 300 w 323"/>
                <a:gd name="T43" fmla="*/ 213 h 247"/>
                <a:gd name="T44" fmla="*/ 291 w 323"/>
                <a:gd name="T45" fmla="*/ 237 h 247"/>
                <a:gd name="T46" fmla="*/ 268 w 323"/>
                <a:gd name="T47" fmla="*/ 246 h 247"/>
                <a:gd name="T48" fmla="*/ 258 w 323"/>
                <a:gd name="T49" fmla="*/ 240 h 247"/>
                <a:gd name="T50" fmla="*/ 230 w 323"/>
                <a:gd name="T51" fmla="*/ 173 h 247"/>
                <a:gd name="T52" fmla="*/ 147 w 323"/>
                <a:gd name="T53" fmla="*/ 173 h 247"/>
                <a:gd name="T54" fmla="*/ 129 w 323"/>
                <a:gd name="T55" fmla="*/ 238 h 247"/>
                <a:gd name="T56" fmla="*/ 122 w 323"/>
                <a:gd name="T57" fmla="*/ 245 h 247"/>
                <a:gd name="T58" fmla="*/ 113 w 323"/>
                <a:gd name="T59" fmla="*/ 247 h 247"/>
                <a:gd name="T60" fmla="*/ 99 w 323"/>
                <a:gd name="T61" fmla="*/ 128 h 247"/>
                <a:gd name="T62" fmla="*/ 108 w 323"/>
                <a:gd name="T63" fmla="*/ 214 h 247"/>
                <a:gd name="T64" fmla="*/ 110 w 323"/>
                <a:gd name="T65" fmla="*/ 225 h 247"/>
                <a:gd name="T66" fmla="*/ 129 w 323"/>
                <a:gd name="T67" fmla="*/ 158 h 247"/>
                <a:gd name="T68" fmla="*/ 142 w 323"/>
                <a:gd name="T69" fmla="*/ 150 h 247"/>
                <a:gd name="T70" fmla="*/ 232 w 323"/>
                <a:gd name="T71" fmla="*/ 151 h 247"/>
                <a:gd name="T72" fmla="*/ 245 w 323"/>
                <a:gd name="T73" fmla="*/ 156 h 247"/>
                <a:gd name="T74" fmla="*/ 274 w 323"/>
                <a:gd name="T75" fmla="*/ 223 h 247"/>
                <a:gd name="T76" fmla="*/ 275 w 323"/>
                <a:gd name="T77" fmla="*/ 222 h 247"/>
                <a:gd name="T78" fmla="*/ 278 w 323"/>
                <a:gd name="T79" fmla="*/ 214 h 247"/>
                <a:gd name="T80" fmla="*/ 268 w 323"/>
                <a:gd name="T81" fmla="*/ 119 h 247"/>
                <a:gd name="T82" fmla="*/ 270 w 323"/>
                <a:gd name="T83" fmla="*/ 111 h 247"/>
                <a:gd name="T84" fmla="*/ 286 w 323"/>
                <a:gd name="T85" fmla="*/ 67 h 247"/>
                <a:gd name="T86" fmla="*/ 251 w 323"/>
                <a:gd name="T87" fmla="*/ 95 h 247"/>
                <a:gd name="T88" fmla="*/ 246 w 323"/>
                <a:gd name="T89" fmla="*/ 97 h 247"/>
                <a:gd name="T90" fmla="*/ 146 w 323"/>
                <a:gd name="T91" fmla="*/ 97 h 247"/>
                <a:gd name="T92" fmla="*/ 99 w 323"/>
                <a:gd name="T93" fmla="*/ 128 h 247"/>
                <a:gd name="T94" fmla="*/ 56 w 323"/>
                <a:gd name="T95" fmla="*/ 86 h 247"/>
                <a:gd name="T96" fmla="*/ 93 w 323"/>
                <a:gd name="T97" fmla="*/ 107 h 247"/>
                <a:gd name="T98" fmla="*/ 127 w 323"/>
                <a:gd name="T99" fmla="*/ 86 h 247"/>
                <a:gd name="T100" fmla="*/ 90 w 323"/>
                <a:gd name="T101" fmla="*/ 35 h 247"/>
                <a:gd name="T102" fmla="*/ 86 w 323"/>
                <a:gd name="T103" fmla="*/ 47 h 247"/>
                <a:gd name="T104" fmla="*/ 79 w 323"/>
                <a:gd name="T105" fmla="*/ 53 h 247"/>
                <a:gd name="T106" fmla="*/ 28 w 323"/>
                <a:gd name="T107" fmla="*/ 70 h 247"/>
                <a:gd name="T108" fmla="*/ 39 w 323"/>
                <a:gd name="T109" fmla="*/ 86 h 247"/>
                <a:gd name="T110" fmla="*/ 54 w 323"/>
                <a:gd name="T111" fmla="*/ 86 h 247"/>
                <a:gd name="T112" fmla="*/ 56 w 323"/>
                <a:gd name="T113" fmla="*/ 8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3" h="247">
                  <a:moveTo>
                    <a:pt x="113" y="247"/>
                  </a:moveTo>
                  <a:cubicBezTo>
                    <a:pt x="108" y="247"/>
                    <a:pt x="103" y="246"/>
                    <a:pt x="98" y="242"/>
                  </a:cubicBezTo>
                  <a:cubicBezTo>
                    <a:pt x="90" y="237"/>
                    <a:pt x="86" y="227"/>
                    <a:pt x="86" y="214"/>
                  </a:cubicBezTo>
                  <a:cubicBezTo>
                    <a:pt x="86" y="187"/>
                    <a:pt x="76" y="124"/>
                    <a:pt x="76" y="120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5" y="118"/>
                    <a:pt x="72" y="107"/>
                    <a:pt x="55" y="107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29" y="107"/>
                    <a:pt x="26" y="106"/>
                    <a:pt x="24" y="103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1" y="68"/>
                    <a:pt x="0" y="64"/>
                    <a:pt x="2" y="61"/>
                  </a:cubicBezTo>
                  <a:cubicBezTo>
                    <a:pt x="3" y="58"/>
                    <a:pt x="5" y="56"/>
                    <a:pt x="8" y="5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7" y="4"/>
                    <a:pt x="81" y="1"/>
                    <a:pt x="85" y="1"/>
                  </a:cubicBezTo>
                  <a:cubicBezTo>
                    <a:pt x="89" y="0"/>
                    <a:pt x="93" y="2"/>
                    <a:pt x="95" y="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55" y="68"/>
                    <a:pt x="278" y="51"/>
                    <a:pt x="278" y="33"/>
                  </a:cubicBezTo>
                  <a:cubicBezTo>
                    <a:pt x="278" y="28"/>
                    <a:pt x="282" y="24"/>
                    <a:pt x="286" y="22"/>
                  </a:cubicBezTo>
                  <a:cubicBezTo>
                    <a:pt x="291" y="21"/>
                    <a:pt x="296" y="23"/>
                    <a:pt x="298" y="28"/>
                  </a:cubicBezTo>
                  <a:cubicBezTo>
                    <a:pt x="299" y="30"/>
                    <a:pt x="323" y="74"/>
                    <a:pt x="289" y="121"/>
                  </a:cubicBezTo>
                  <a:cubicBezTo>
                    <a:pt x="300" y="213"/>
                    <a:pt x="300" y="213"/>
                    <a:pt x="300" y="213"/>
                  </a:cubicBezTo>
                  <a:cubicBezTo>
                    <a:pt x="300" y="215"/>
                    <a:pt x="300" y="228"/>
                    <a:pt x="291" y="237"/>
                  </a:cubicBezTo>
                  <a:cubicBezTo>
                    <a:pt x="287" y="241"/>
                    <a:pt x="280" y="246"/>
                    <a:pt x="268" y="246"/>
                  </a:cubicBezTo>
                  <a:cubicBezTo>
                    <a:pt x="263" y="246"/>
                    <a:pt x="260" y="243"/>
                    <a:pt x="258" y="240"/>
                  </a:cubicBezTo>
                  <a:cubicBezTo>
                    <a:pt x="230" y="173"/>
                    <a:pt x="230" y="173"/>
                    <a:pt x="230" y="173"/>
                  </a:cubicBezTo>
                  <a:cubicBezTo>
                    <a:pt x="215" y="177"/>
                    <a:pt x="184" y="181"/>
                    <a:pt x="147" y="173"/>
                  </a:cubicBezTo>
                  <a:cubicBezTo>
                    <a:pt x="129" y="238"/>
                    <a:pt x="129" y="238"/>
                    <a:pt x="129" y="238"/>
                  </a:cubicBezTo>
                  <a:cubicBezTo>
                    <a:pt x="128" y="242"/>
                    <a:pt x="125" y="244"/>
                    <a:pt x="122" y="245"/>
                  </a:cubicBezTo>
                  <a:cubicBezTo>
                    <a:pt x="121" y="246"/>
                    <a:pt x="117" y="247"/>
                    <a:pt x="113" y="247"/>
                  </a:cubicBezTo>
                  <a:close/>
                  <a:moveTo>
                    <a:pt x="99" y="128"/>
                  </a:moveTo>
                  <a:cubicBezTo>
                    <a:pt x="102" y="149"/>
                    <a:pt x="108" y="192"/>
                    <a:pt x="108" y="214"/>
                  </a:cubicBezTo>
                  <a:cubicBezTo>
                    <a:pt x="108" y="220"/>
                    <a:pt x="109" y="224"/>
                    <a:pt x="110" y="225"/>
                  </a:cubicBezTo>
                  <a:cubicBezTo>
                    <a:pt x="129" y="158"/>
                    <a:pt x="129" y="158"/>
                    <a:pt x="129" y="158"/>
                  </a:cubicBezTo>
                  <a:cubicBezTo>
                    <a:pt x="131" y="152"/>
                    <a:pt x="137" y="149"/>
                    <a:pt x="142" y="150"/>
                  </a:cubicBezTo>
                  <a:cubicBezTo>
                    <a:pt x="192" y="164"/>
                    <a:pt x="232" y="151"/>
                    <a:pt x="232" y="151"/>
                  </a:cubicBezTo>
                  <a:cubicBezTo>
                    <a:pt x="237" y="149"/>
                    <a:pt x="243" y="151"/>
                    <a:pt x="245" y="156"/>
                  </a:cubicBezTo>
                  <a:cubicBezTo>
                    <a:pt x="274" y="223"/>
                    <a:pt x="274" y="223"/>
                    <a:pt x="274" y="223"/>
                  </a:cubicBezTo>
                  <a:cubicBezTo>
                    <a:pt x="275" y="223"/>
                    <a:pt x="275" y="222"/>
                    <a:pt x="275" y="222"/>
                  </a:cubicBezTo>
                  <a:cubicBezTo>
                    <a:pt x="278" y="220"/>
                    <a:pt x="278" y="216"/>
                    <a:pt x="278" y="214"/>
                  </a:cubicBezTo>
                  <a:cubicBezTo>
                    <a:pt x="268" y="119"/>
                    <a:pt x="268" y="119"/>
                    <a:pt x="268" y="119"/>
                  </a:cubicBezTo>
                  <a:cubicBezTo>
                    <a:pt x="267" y="116"/>
                    <a:pt x="268" y="114"/>
                    <a:pt x="270" y="111"/>
                  </a:cubicBezTo>
                  <a:cubicBezTo>
                    <a:pt x="282" y="96"/>
                    <a:pt x="286" y="80"/>
                    <a:pt x="286" y="67"/>
                  </a:cubicBezTo>
                  <a:cubicBezTo>
                    <a:pt x="273" y="83"/>
                    <a:pt x="255" y="94"/>
                    <a:pt x="251" y="95"/>
                  </a:cubicBezTo>
                  <a:cubicBezTo>
                    <a:pt x="250" y="96"/>
                    <a:pt x="248" y="97"/>
                    <a:pt x="2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39" y="106"/>
                    <a:pt x="124" y="124"/>
                    <a:pt x="99" y="128"/>
                  </a:cubicBezTo>
                  <a:close/>
                  <a:moveTo>
                    <a:pt x="56" y="86"/>
                  </a:moveTo>
                  <a:cubicBezTo>
                    <a:pt x="77" y="86"/>
                    <a:pt x="88" y="97"/>
                    <a:pt x="93" y="107"/>
                  </a:cubicBezTo>
                  <a:cubicBezTo>
                    <a:pt x="111" y="105"/>
                    <a:pt x="122" y="93"/>
                    <a:pt x="127" y="86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5" y="50"/>
                    <a:pt x="82" y="52"/>
                    <a:pt x="79" y="53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5" y="86"/>
                    <a:pt x="55" y="86"/>
                    <a:pt x="5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8" name="Freeform 131"/>
          <p:cNvSpPr>
            <a:spLocks noChangeAspect="1" noEditPoints="1"/>
          </p:cNvSpPr>
          <p:nvPr/>
        </p:nvSpPr>
        <p:spPr bwMode="auto">
          <a:xfrm>
            <a:off x="3417779" y="2918210"/>
            <a:ext cx="369021" cy="369021"/>
          </a:xfrm>
          <a:custGeom>
            <a:avLst/>
            <a:gdLst>
              <a:gd name="T0" fmla="*/ 224 w 512"/>
              <a:gd name="T1" fmla="*/ 394 h 512"/>
              <a:gd name="T2" fmla="*/ 181 w 512"/>
              <a:gd name="T3" fmla="*/ 278 h 512"/>
              <a:gd name="T4" fmla="*/ 224 w 512"/>
              <a:gd name="T5" fmla="*/ 312 h 512"/>
              <a:gd name="T6" fmla="*/ 256 w 512"/>
              <a:gd name="T7" fmla="*/ 309 h 512"/>
              <a:gd name="T8" fmla="*/ 330 w 512"/>
              <a:gd name="T9" fmla="*/ 394 h 512"/>
              <a:gd name="T10" fmla="*/ 245 w 512"/>
              <a:gd name="T11" fmla="*/ 308 h 512"/>
              <a:gd name="T12" fmla="*/ 288 w 512"/>
              <a:gd name="T13" fmla="*/ 352 h 512"/>
              <a:gd name="T14" fmla="*/ 309 w 512"/>
              <a:gd name="T15" fmla="*/ 352 h 512"/>
              <a:gd name="T16" fmla="*/ 298 w 512"/>
              <a:gd name="T17" fmla="*/ 320 h 512"/>
              <a:gd name="T18" fmla="*/ 288 w 512"/>
              <a:gd name="T19" fmla="*/ 352 h 512"/>
              <a:gd name="T20" fmla="*/ 183 w 512"/>
              <a:gd name="T21" fmla="*/ 124 h 512"/>
              <a:gd name="T22" fmla="*/ 171 w 512"/>
              <a:gd name="T23" fmla="*/ 138 h 512"/>
              <a:gd name="T24" fmla="*/ 304 w 512"/>
              <a:gd name="T25" fmla="*/ 144 h 512"/>
              <a:gd name="T26" fmla="*/ 256 w 512"/>
              <a:gd name="T27" fmla="*/ 117 h 512"/>
              <a:gd name="T28" fmla="*/ 208 w 512"/>
              <a:gd name="T29" fmla="*/ 144 h 512"/>
              <a:gd name="T30" fmla="*/ 341 w 512"/>
              <a:gd name="T31" fmla="*/ 138 h 512"/>
              <a:gd name="T32" fmla="*/ 346 w 512"/>
              <a:gd name="T33" fmla="*/ 120 h 512"/>
              <a:gd name="T34" fmla="*/ 341 w 512"/>
              <a:gd name="T35" fmla="*/ 138 h 512"/>
              <a:gd name="T36" fmla="*/ 256 w 512"/>
              <a:gd name="T37" fmla="*/ 288 h 512"/>
              <a:gd name="T38" fmla="*/ 208 w 512"/>
              <a:gd name="T39" fmla="*/ 165 h 512"/>
              <a:gd name="T40" fmla="*/ 236 w 512"/>
              <a:gd name="T41" fmla="*/ 227 h 512"/>
              <a:gd name="T42" fmla="*/ 236 w 512"/>
              <a:gd name="T43" fmla="*/ 246 h 512"/>
              <a:gd name="T44" fmla="*/ 256 w 512"/>
              <a:gd name="T45" fmla="*/ 261 h 512"/>
              <a:gd name="T46" fmla="*/ 275 w 512"/>
              <a:gd name="T47" fmla="*/ 246 h 512"/>
              <a:gd name="T48" fmla="*/ 276 w 512"/>
              <a:gd name="T49" fmla="*/ 227 h 512"/>
              <a:gd name="T50" fmla="*/ 304 w 512"/>
              <a:gd name="T51" fmla="*/ 165 h 512"/>
              <a:gd name="T52" fmla="*/ 224 w 512"/>
              <a:gd name="T53" fmla="*/ 208 h 512"/>
              <a:gd name="T54" fmla="*/ 191 w 512"/>
              <a:gd name="T55" fmla="*/ 208 h 512"/>
              <a:gd name="T56" fmla="*/ 224 w 512"/>
              <a:gd name="T57" fmla="*/ 208 h 512"/>
              <a:gd name="T58" fmla="*/ 304 w 512"/>
              <a:gd name="T59" fmla="*/ 192 h 512"/>
              <a:gd name="T60" fmla="*/ 304 w 512"/>
              <a:gd name="T61" fmla="*/ 225 h 512"/>
              <a:gd name="T62" fmla="*/ 512 w 512"/>
              <a:gd name="T63" fmla="*/ 256 h 512"/>
              <a:gd name="T64" fmla="*/ 0 w 512"/>
              <a:gd name="T65" fmla="*/ 256 h 512"/>
              <a:gd name="T66" fmla="*/ 512 w 512"/>
              <a:gd name="T67" fmla="*/ 256 h 512"/>
              <a:gd name="T68" fmla="*/ 360 w 512"/>
              <a:gd name="T69" fmla="*/ 96 h 512"/>
              <a:gd name="T70" fmla="*/ 304 w 512"/>
              <a:gd name="T71" fmla="*/ 108 h 512"/>
              <a:gd name="T72" fmla="*/ 207 w 512"/>
              <a:gd name="T73" fmla="*/ 108 h 512"/>
              <a:gd name="T74" fmla="*/ 151 w 512"/>
              <a:gd name="T75" fmla="*/ 96 h 512"/>
              <a:gd name="T76" fmla="*/ 139 w 512"/>
              <a:gd name="T77" fmla="*/ 109 h 512"/>
              <a:gd name="T78" fmla="*/ 149 w 512"/>
              <a:gd name="T79" fmla="*/ 202 h 512"/>
              <a:gd name="T80" fmla="*/ 160 w 512"/>
              <a:gd name="T81" fmla="*/ 352 h 512"/>
              <a:gd name="T82" fmla="*/ 341 w 512"/>
              <a:gd name="T83" fmla="*/ 416 h 512"/>
              <a:gd name="T84" fmla="*/ 352 w 512"/>
              <a:gd name="T85" fmla="*/ 249 h 512"/>
              <a:gd name="T86" fmla="*/ 355 w 512"/>
              <a:gd name="T87" fmla="*/ 163 h 512"/>
              <a:gd name="T88" fmla="*/ 373 w 512"/>
              <a:gd name="T89" fmla="*/ 10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64" y="394"/>
                </a:moveTo>
                <a:cubicBezTo>
                  <a:pt x="224" y="394"/>
                  <a:pt x="224" y="394"/>
                  <a:pt x="224" y="394"/>
                </a:cubicBezTo>
                <a:cubicBezTo>
                  <a:pt x="200" y="394"/>
                  <a:pt x="181" y="375"/>
                  <a:pt x="181" y="352"/>
                </a:cubicBezTo>
                <a:cubicBezTo>
                  <a:pt x="181" y="278"/>
                  <a:pt x="181" y="278"/>
                  <a:pt x="181" y="278"/>
                </a:cubicBezTo>
                <a:cubicBezTo>
                  <a:pt x="193" y="290"/>
                  <a:pt x="207" y="299"/>
                  <a:pt x="224" y="304"/>
                </a:cubicBezTo>
                <a:cubicBezTo>
                  <a:pt x="224" y="312"/>
                  <a:pt x="224" y="312"/>
                  <a:pt x="224" y="312"/>
                </a:cubicBezTo>
                <a:cubicBezTo>
                  <a:pt x="224" y="347"/>
                  <a:pt x="239" y="376"/>
                  <a:pt x="264" y="394"/>
                </a:cubicBezTo>
                <a:close/>
                <a:moveTo>
                  <a:pt x="256" y="309"/>
                </a:moveTo>
                <a:cubicBezTo>
                  <a:pt x="285" y="309"/>
                  <a:pt x="311" y="297"/>
                  <a:pt x="330" y="278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279" y="393"/>
                  <a:pt x="245" y="360"/>
                  <a:pt x="245" y="312"/>
                </a:cubicBezTo>
                <a:cubicBezTo>
                  <a:pt x="245" y="308"/>
                  <a:pt x="245" y="308"/>
                  <a:pt x="245" y="308"/>
                </a:cubicBezTo>
                <a:cubicBezTo>
                  <a:pt x="249" y="309"/>
                  <a:pt x="252" y="309"/>
                  <a:pt x="256" y="309"/>
                </a:cubicBezTo>
                <a:close/>
                <a:moveTo>
                  <a:pt x="288" y="352"/>
                </a:moveTo>
                <a:cubicBezTo>
                  <a:pt x="288" y="358"/>
                  <a:pt x="292" y="362"/>
                  <a:pt x="298" y="362"/>
                </a:cubicBezTo>
                <a:cubicBezTo>
                  <a:pt x="304" y="362"/>
                  <a:pt x="309" y="358"/>
                  <a:pt x="309" y="352"/>
                </a:cubicBezTo>
                <a:cubicBezTo>
                  <a:pt x="309" y="330"/>
                  <a:pt x="309" y="330"/>
                  <a:pt x="309" y="330"/>
                </a:cubicBezTo>
                <a:cubicBezTo>
                  <a:pt x="309" y="324"/>
                  <a:pt x="304" y="320"/>
                  <a:pt x="298" y="320"/>
                </a:cubicBezTo>
                <a:cubicBezTo>
                  <a:pt x="292" y="320"/>
                  <a:pt x="288" y="324"/>
                  <a:pt x="288" y="330"/>
                </a:cubicBezTo>
                <a:lnTo>
                  <a:pt x="288" y="352"/>
                </a:lnTo>
                <a:close/>
                <a:moveTo>
                  <a:pt x="171" y="138"/>
                </a:moveTo>
                <a:cubicBezTo>
                  <a:pt x="175" y="133"/>
                  <a:pt x="179" y="128"/>
                  <a:pt x="183" y="124"/>
                </a:cubicBezTo>
                <a:cubicBezTo>
                  <a:pt x="165" y="120"/>
                  <a:pt x="165" y="120"/>
                  <a:pt x="165" y="120"/>
                </a:cubicBezTo>
                <a:cubicBezTo>
                  <a:pt x="171" y="138"/>
                  <a:pt x="171" y="138"/>
                  <a:pt x="171" y="138"/>
                </a:cubicBezTo>
                <a:close/>
                <a:moveTo>
                  <a:pt x="256" y="169"/>
                </a:moveTo>
                <a:cubicBezTo>
                  <a:pt x="266" y="154"/>
                  <a:pt x="284" y="144"/>
                  <a:pt x="304" y="144"/>
                </a:cubicBezTo>
                <a:cubicBezTo>
                  <a:pt x="309" y="144"/>
                  <a:pt x="314" y="144"/>
                  <a:pt x="320" y="146"/>
                </a:cubicBezTo>
                <a:cubicBezTo>
                  <a:pt x="304" y="128"/>
                  <a:pt x="281" y="117"/>
                  <a:pt x="256" y="117"/>
                </a:cubicBezTo>
                <a:cubicBezTo>
                  <a:pt x="230" y="117"/>
                  <a:pt x="207" y="128"/>
                  <a:pt x="192" y="146"/>
                </a:cubicBezTo>
                <a:cubicBezTo>
                  <a:pt x="197" y="144"/>
                  <a:pt x="202" y="144"/>
                  <a:pt x="208" y="144"/>
                </a:cubicBezTo>
                <a:cubicBezTo>
                  <a:pt x="228" y="144"/>
                  <a:pt x="245" y="154"/>
                  <a:pt x="256" y="169"/>
                </a:cubicBezTo>
                <a:close/>
                <a:moveTo>
                  <a:pt x="341" y="138"/>
                </a:moveTo>
                <a:cubicBezTo>
                  <a:pt x="341" y="138"/>
                  <a:pt x="341" y="138"/>
                  <a:pt x="341" y="138"/>
                </a:cubicBezTo>
                <a:cubicBezTo>
                  <a:pt x="346" y="120"/>
                  <a:pt x="346" y="120"/>
                  <a:pt x="346" y="120"/>
                </a:cubicBezTo>
                <a:cubicBezTo>
                  <a:pt x="328" y="124"/>
                  <a:pt x="328" y="124"/>
                  <a:pt x="328" y="124"/>
                </a:cubicBezTo>
                <a:cubicBezTo>
                  <a:pt x="333" y="128"/>
                  <a:pt x="337" y="133"/>
                  <a:pt x="341" y="138"/>
                </a:cubicBezTo>
                <a:close/>
                <a:moveTo>
                  <a:pt x="341" y="202"/>
                </a:moveTo>
                <a:cubicBezTo>
                  <a:pt x="341" y="249"/>
                  <a:pt x="303" y="288"/>
                  <a:pt x="256" y="288"/>
                </a:cubicBezTo>
                <a:cubicBezTo>
                  <a:pt x="209" y="288"/>
                  <a:pt x="170" y="249"/>
                  <a:pt x="170" y="202"/>
                </a:cubicBezTo>
                <a:cubicBezTo>
                  <a:pt x="170" y="182"/>
                  <a:pt x="187" y="165"/>
                  <a:pt x="208" y="165"/>
                </a:cubicBezTo>
                <a:cubicBezTo>
                  <a:pt x="228" y="165"/>
                  <a:pt x="245" y="182"/>
                  <a:pt x="245" y="202"/>
                </a:cubicBezTo>
                <a:cubicBezTo>
                  <a:pt x="245" y="211"/>
                  <a:pt x="242" y="220"/>
                  <a:pt x="236" y="227"/>
                </a:cubicBezTo>
                <a:cubicBezTo>
                  <a:pt x="233" y="230"/>
                  <a:pt x="233" y="233"/>
                  <a:pt x="233" y="236"/>
                </a:cubicBezTo>
                <a:cubicBezTo>
                  <a:pt x="233" y="240"/>
                  <a:pt x="233" y="243"/>
                  <a:pt x="236" y="246"/>
                </a:cubicBezTo>
                <a:cubicBezTo>
                  <a:pt x="248" y="258"/>
                  <a:pt x="248" y="258"/>
                  <a:pt x="248" y="258"/>
                </a:cubicBezTo>
                <a:cubicBezTo>
                  <a:pt x="250" y="260"/>
                  <a:pt x="253" y="261"/>
                  <a:pt x="256" y="261"/>
                </a:cubicBezTo>
                <a:cubicBezTo>
                  <a:pt x="258" y="261"/>
                  <a:pt x="261" y="260"/>
                  <a:pt x="263" y="258"/>
                </a:cubicBezTo>
                <a:cubicBezTo>
                  <a:pt x="275" y="246"/>
                  <a:pt x="275" y="246"/>
                  <a:pt x="275" y="246"/>
                </a:cubicBezTo>
                <a:cubicBezTo>
                  <a:pt x="278" y="243"/>
                  <a:pt x="279" y="240"/>
                  <a:pt x="278" y="236"/>
                </a:cubicBezTo>
                <a:cubicBezTo>
                  <a:pt x="279" y="233"/>
                  <a:pt x="278" y="230"/>
                  <a:pt x="276" y="227"/>
                </a:cubicBezTo>
                <a:cubicBezTo>
                  <a:pt x="270" y="220"/>
                  <a:pt x="266" y="211"/>
                  <a:pt x="266" y="202"/>
                </a:cubicBezTo>
                <a:cubicBezTo>
                  <a:pt x="266" y="182"/>
                  <a:pt x="283" y="165"/>
                  <a:pt x="304" y="165"/>
                </a:cubicBezTo>
                <a:cubicBezTo>
                  <a:pt x="324" y="165"/>
                  <a:pt x="341" y="182"/>
                  <a:pt x="341" y="202"/>
                </a:cubicBezTo>
                <a:close/>
                <a:moveTo>
                  <a:pt x="224" y="208"/>
                </a:moveTo>
                <a:cubicBezTo>
                  <a:pt x="224" y="199"/>
                  <a:pt x="217" y="192"/>
                  <a:pt x="208" y="192"/>
                </a:cubicBezTo>
                <a:cubicBezTo>
                  <a:pt x="198" y="192"/>
                  <a:pt x="191" y="199"/>
                  <a:pt x="191" y="208"/>
                </a:cubicBezTo>
                <a:cubicBezTo>
                  <a:pt x="191" y="218"/>
                  <a:pt x="198" y="225"/>
                  <a:pt x="208" y="225"/>
                </a:cubicBezTo>
                <a:cubicBezTo>
                  <a:pt x="217" y="225"/>
                  <a:pt x="224" y="218"/>
                  <a:pt x="224" y="208"/>
                </a:cubicBezTo>
                <a:close/>
                <a:moveTo>
                  <a:pt x="320" y="208"/>
                </a:moveTo>
                <a:cubicBezTo>
                  <a:pt x="320" y="199"/>
                  <a:pt x="313" y="192"/>
                  <a:pt x="304" y="192"/>
                </a:cubicBezTo>
                <a:cubicBezTo>
                  <a:pt x="294" y="192"/>
                  <a:pt x="287" y="199"/>
                  <a:pt x="287" y="208"/>
                </a:cubicBezTo>
                <a:cubicBezTo>
                  <a:pt x="287" y="218"/>
                  <a:pt x="294" y="225"/>
                  <a:pt x="304" y="225"/>
                </a:cubicBezTo>
                <a:cubicBezTo>
                  <a:pt x="313" y="225"/>
                  <a:pt x="320" y="218"/>
                  <a:pt x="320" y="20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04"/>
                </a:moveTo>
                <a:cubicBezTo>
                  <a:pt x="372" y="98"/>
                  <a:pt x="366" y="95"/>
                  <a:pt x="360" y="96"/>
                </a:cubicBezTo>
                <a:cubicBezTo>
                  <a:pt x="307" y="107"/>
                  <a:pt x="307" y="107"/>
                  <a:pt x="307" y="107"/>
                </a:cubicBezTo>
                <a:cubicBezTo>
                  <a:pt x="306" y="107"/>
                  <a:pt x="305" y="107"/>
                  <a:pt x="304" y="108"/>
                </a:cubicBezTo>
                <a:cubicBezTo>
                  <a:pt x="290" y="100"/>
                  <a:pt x="273" y="96"/>
                  <a:pt x="256" y="96"/>
                </a:cubicBezTo>
                <a:cubicBezTo>
                  <a:pt x="238" y="96"/>
                  <a:pt x="222" y="100"/>
                  <a:pt x="207" y="108"/>
                </a:cubicBezTo>
                <a:cubicBezTo>
                  <a:pt x="206" y="107"/>
                  <a:pt x="205" y="107"/>
                  <a:pt x="204" y="107"/>
                </a:cubicBezTo>
                <a:cubicBezTo>
                  <a:pt x="151" y="96"/>
                  <a:pt x="151" y="96"/>
                  <a:pt x="151" y="96"/>
                </a:cubicBezTo>
                <a:cubicBezTo>
                  <a:pt x="145" y="95"/>
                  <a:pt x="140" y="98"/>
                  <a:pt x="139" y="104"/>
                </a:cubicBezTo>
                <a:cubicBezTo>
                  <a:pt x="138" y="106"/>
                  <a:pt x="138" y="107"/>
                  <a:pt x="139" y="109"/>
                </a:cubicBezTo>
                <a:cubicBezTo>
                  <a:pt x="157" y="163"/>
                  <a:pt x="157" y="163"/>
                  <a:pt x="157" y="163"/>
                </a:cubicBezTo>
                <a:cubicBezTo>
                  <a:pt x="152" y="175"/>
                  <a:pt x="149" y="188"/>
                  <a:pt x="149" y="202"/>
                </a:cubicBezTo>
                <a:cubicBezTo>
                  <a:pt x="149" y="219"/>
                  <a:pt x="153" y="235"/>
                  <a:pt x="160" y="249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60" y="387"/>
                  <a:pt x="188" y="416"/>
                  <a:pt x="224" y="416"/>
                </a:cubicBezTo>
                <a:cubicBezTo>
                  <a:pt x="341" y="416"/>
                  <a:pt x="341" y="416"/>
                  <a:pt x="341" y="416"/>
                </a:cubicBezTo>
                <a:cubicBezTo>
                  <a:pt x="347" y="416"/>
                  <a:pt x="352" y="411"/>
                  <a:pt x="352" y="405"/>
                </a:cubicBezTo>
                <a:cubicBezTo>
                  <a:pt x="352" y="249"/>
                  <a:pt x="352" y="249"/>
                  <a:pt x="352" y="249"/>
                </a:cubicBezTo>
                <a:cubicBezTo>
                  <a:pt x="358" y="235"/>
                  <a:pt x="362" y="219"/>
                  <a:pt x="362" y="202"/>
                </a:cubicBezTo>
                <a:cubicBezTo>
                  <a:pt x="362" y="188"/>
                  <a:pt x="360" y="175"/>
                  <a:pt x="355" y="163"/>
                </a:cubicBezTo>
                <a:cubicBezTo>
                  <a:pt x="372" y="109"/>
                  <a:pt x="372" y="109"/>
                  <a:pt x="372" y="109"/>
                </a:cubicBezTo>
                <a:cubicBezTo>
                  <a:pt x="373" y="108"/>
                  <a:pt x="373" y="106"/>
                  <a:pt x="373" y="10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9" name="Group 134"/>
          <p:cNvGrpSpPr>
            <a:grpSpLocks noChangeAspect="1"/>
          </p:cNvGrpSpPr>
          <p:nvPr/>
        </p:nvGrpSpPr>
        <p:grpSpPr bwMode="auto">
          <a:xfrm>
            <a:off x="3916478" y="2918210"/>
            <a:ext cx="369021" cy="369021"/>
            <a:chOff x="2696" y="379"/>
            <a:chExt cx="340" cy="340"/>
          </a:xfrm>
          <a:solidFill>
            <a:schemeClr val="accent2"/>
          </a:solidFill>
        </p:grpSpPr>
        <p:sp>
          <p:nvSpPr>
            <p:cNvPr id="340" name="Freeform 135"/>
            <p:cNvSpPr>
              <a:spLocks noEditPoints="1"/>
            </p:cNvSpPr>
            <p:nvPr/>
          </p:nvSpPr>
          <p:spPr bwMode="auto">
            <a:xfrm>
              <a:off x="2696" y="3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136"/>
            <p:cNvSpPr>
              <a:spLocks noEditPoints="1"/>
            </p:cNvSpPr>
            <p:nvPr/>
          </p:nvSpPr>
          <p:spPr bwMode="auto">
            <a:xfrm>
              <a:off x="2788" y="442"/>
              <a:ext cx="156" cy="213"/>
            </a:xfrm>
            <a:custGeom>
              <a:avLst/>
              <a:gdLst>
                <a:gd name="T0" fmla="*/ 150 w 235"/>
                <a:gd name="T1" fmla="*/ 235 h 321"/>
                <a:gd name="T2" fmla="*/ 171 w 235"/>
                <a:gd name="T3" fmla="*/ 235 h 321"/>
                <a:gd name="T4" fmla="*/ 160 w 235"/>
                <a:gd name="T5" fmla="*/ 267 h 321"/>
                <a:gd name="T6" fmla="*/ 234 w 235"/>
                <a:gd name="T7" fmla="*/ 14 h 321"/>
                <a:gd name="T8" fmla="*/ 224 w 235"/>
                <a:gd name="T9" fmla="*/ 107 h 321"/>
                <a:gd name="T10" fmla="*/ 214 w 235"/>
                <a:gd name="T11" fmla="*/ 310 h 321"/>
                <a:gd name="T12" fmla="*/ 86 w 235"/>
                <a:gd name="T13" fmla="*/ 321 h 321"/>
                <a:gd name="T14" fmla="*/ 22 w 235"/>
                <a:gd name="T15" fmla="*/ 154 h 321"/>
                <a:gd name="T16" fmla="*/ 19 w 235"/>
                <a:gd name="T17" fmla="*/ 68 h 321"/>
                <a:gd name="T18" fmla="*/ 1 w 235"/>
                <a:gd name="T19" fmla="*/ 14 h 321"/>
                <a:gd name="T20" fmla="*/ 13 w 235"/>
                <a:gd name="T21" fmla="*/ 1 h 321"/>
                <a:gd name="T22" fmla="*/ 69 w 235"/>
                <a:gd name="T23" fmla="*/ 13 h 321"/>
                <a:gd name="T24" fmla="*/ 166 w 235"/>
                <a:gd name="T25" fmla="*/ 13 h 321"/>
                <a:gd name="T26" fmla="*/ 222 w 235"/>
                <a:gd name="T27" fmla="*/ 1 h 321"/>
                <a:gd name="T28" fmla="*/ 234 w 235"/>
                <a:gd name="T29" fmla="*/ 14 h 321"/>
                <a:gd name="T30" fmla="*/ 70 w 235"/>
                <a:gd name="T31" fmla="*/ 49 h 321"/>
                <a:gd name="T32" fmla="*/ 166 w 235"/>
                <a:gd name="T33" fmla="*/ 49 h 321"/>
                <a:gd name="T34" fmla="*/ 118 w 235"/>
                <a:gd name="T35" fmla="*/ 22 h 321"/>
                <a:gd name="T36" fmla="*/ 27 w 235"/>
                <a:gd name="T37" fmla="*/ 25 h 321"/>
                <a:gd name="T38" fmla="*/ 33 w 235"/>
                <a:gd name="T39" fmla="*/ 43 h 321"/>
                <a:gd name="T40" fmla="*/ 27 w 235"/>
                <a:gd name="T41" fmla="*/ 25 h 321"/>
                <a:gd name="T42" fmla="*/ 86 w 235"/>
                <a:gd name="T43" fmla="*/ 217 h 321"/>
                <a:gd name="T44" fmla="*/ 43 w 235"/>
                <a:gd name="T45" fmla="*/ 183 h 321"/>
                <a:gd name="T46" fmla="*/ 86 w 235"/>
                <a:gd name="T47" fmla="*/ 299 h 321"/>
                <a:gd name="T48" fmla="*/ 192 w 235"/>
                <a:gd name="T49" fmla="*/ 183 h 321"/>
                <a:gd name="T50" fmla="*/ 107 w 235"/>
                <a:gd name="T51" fmla="*/ 213 h 321"/>
                <a:gd name="T52" fmla="*/ 192 w 235"/>
                <a:gd name="T53" fmla="*/ 299 h 321"/>
                <a:gd name="T54" fmla="*/ 203 w 235"/>
                <a:gd name="T55" fmla="*/ 107 h 321"/>
                <a:gd name="T56" fmla="*/ 128 w 235"/>
                <a:gd name="T57" fmla="*/ 107 h 321"/>
                <a:gd name="T58" fmla="*/ 140 w 235"/>
                <a:gd name="T59" fmla="*/ 141 h 321"/>
                <a:gd name="T60" fmla="*/ 125 w 235"/>
                <a:gd name="T61" fmla="*/ 163 h 321"/>
                <a:gd name="T62" fmla="*/ 110 w 235"/>
                <a:gd name="T63" fmla="*/ 163 h 321"/>
                <a:gd name="T64" fmla="*/ 95 w 235"/>
                <a:gd name="T65" fmla="*/ 141 h 321"/>
                <a:gd name="T66" fmla="*/ 107 w 235"/>
                <a:gd name="T67" fmla="*/ 107 h 321"/>
                <a:gd name="T68" fmla="*/ 32 w 235"/>
                <a:gd name="T69" fmla="*/ 107 h 321"/>
                <a:gd name="T70" fmla="*/ 203 w 235"/>
                <a:gd name="T71" fmla="*/ 107 h 321"/>
                <a:gd name="T72" fmla="*/ 190 w 235"/>
                <a:gd name="T73" fmla="*/ 29 h 321"/>
                <a:gd name="T74" fmla="*/ 203 w 235"/>
                <a:gd name="T75" fmla="*/ 43 h 321"/>
                <a:gd name="T76" fmla="*/ 182 w 235"/>
                <a:gd name="T77" fmla="*/ 113 h 321"/>
                <a:gd name="T78" fmla="*/ 149 w 235"/>
                <a:gd name="T79" fmla="*/ 113 h 321"/>
                <a:gd name="T80" fmla="*/ 182 w 235"/>
                <a:gd name="T81" fmla="*/ 113 h 321"/>
                <a:gd name="T82" fmla="*/ 70 w 235"/>
                <a:gd name="T83" fmla="*/ 130 h 321"/>
                <a:gd name="T84" fmla="*/ 70 w 235"/>
                <a:gd name="T85" fmla="*/ 9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5" h="321">
                  <a:moveTo>
                    <a:pt x="150" y="257"/>
                  </a:moveTo>
                  <a:cubicBezTo>
                    <a:pt x="150" y="235"/>
                    <a:pt x="150" y="235"/>
                    <a:pt x="150" y="235"/>
                  </a:cubicBezTo>
                  <a:cubicBezTo>
                    <a:pt x="150" y="229"/>
                    <a:pt x="154" y="225"/>
                    <a:pt x="160" y="225"/>
                  </a:cubicBezTo>
                  <a:cubicBezTo>
                    <a:pt x="166" y="225"/>
                    <a:pt x="171" y="229"/>
                    <a:pt x="171" y="235"/>
                  </a:cubicBezTo>
                  <a:cubicBezTo>
                    <a:pt x="171" y="257"/>
                    <a:pt x="171" y="257"/>
                    <a:pt x="171" y="257"/>
                  </a:cubicBezTo>
                  <a:cubicBezTo>
                    <a:pt x="171" y="263"/>
                    <a:pt x="166" y="267"/>
                    <a:pt x="160" y="267"/>
                  </a:cubicBezTo>
                  <a:cubicBezTo>
                    <a:pt x="154" y="267"/>
                    <a:pt x="150" y="263"/>
                    <a:pt x="150" y="257"/>
                  </a:cubicBezTo>
                  <a:close/>
                  <a:moveTo>
                    <a:pt x="234" y="14"/>
                  </a:moveTo>
                  <a:cubicBezTo>
                    <a:pt x="217" y="68"/>
                    <a:pt x="217" y="68"/>
                    <a:pt x="217" y="68"/>
                  </a:cubicBezTo>
                  <a:cubicBezTo>
                    <a:pt x="222" y="80"/>
                    <a:pt x="224" y="93"/>
                    <a:pt x="224" y="107"/>
                  </a:cubicBezTo>
                  <a:cubicBezTo>
                    <a:pt x="224" y="124"/>
                    <a:pt x="220" y="140"/>
                    <a:pt x="214" y="154"/>
                  </a:cubicBezTo>
                  <a:cubicBezTo>
                    <a:pt x="214" y="310"/>
                    <a:pt x="214" y="310"/>
                    <a:pt x="214" y="310"/>
                  </a:cubicBezTo>
                  <a:cubicBezTo>
                    <a:pt x="214" y="316"/>
                    <a:pt x="209" y="321"/>
                    <a:pt x="203" y="321"/>
                  </a:cubicBezTo>
                  <a:cubicBezTo>
                    <a:pt x="86" y="321"/>
                    <a:pt x="86" y="321"/>
                    <a:pt x="86" y="321"/>
                  </a:cubicBezTo>
                  <a:cubicBezTo>
                    <a:pt x="50" y="321"/>
                    <a:pt x="22" y="292"/>
                    <a:pt x="22" y="257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15" y="140"/>
                    <a:pt x="11" y="124"/>
                    <a:pt x="11" y="107"/>
                  </a:cubicBezTo>
                  <a:cubicBezTo>
                    <a:pt x="11" y="93"/>
                    <a:pt x="14" y="80"/>
                    <a:pt x="19" y="68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0" y="11"/>
                    <a:pt x="1" y="9"/>
                  </a:cubicBezTo>
                  <a:cubicBezTo>
                    <a:pt x="2" y="3"/>
                    <a:pt x="7" y="0"/>
                    <a:pt x="13" y="1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7" y="12"/>
                    <a:pt x="68" y="12"/>
                    <a:pt x="69" y="13"/>
                  </a:cubicBezTo>
                  <a:cubicBezTo>
                    <a:pt x="84" y="5"/>
                    <a:pt x="100" y="1"/>
                    <a:pt x="118" y="1"/>
                  </a:cubicBezTo>
                  <a:cubicBezTo>
                    <a:pt x="135" y="1"/>
                    <a:pt x="152" y="5"/>
                    <a:pt x="166" y="13"/>
                  </a:cubicBezTo>
                  <a:cubicBezTo>
                    <a:pt x="167" y="12"/>
                    <a:pt x="168" y="12"/>
                    <a:pt x="169" y="1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28" y="0"/>
                    <a:pt x="234" y="3"/>
                    <a:pt x="235" y="9"/>
                  </a:cubicBezTo>
                  <a:cubicBezTo>
                    <a:pt x="235" y="11"/>
                    <a:pt x="235" y="13"/>
                    <a:pt x="234" y="14"/>
                  </a:cubicBezTo>
                  <a:close/>
                  <a:moveTo>
                    <a:pt x="54" y="51"/>
                  </a:moveTo>
                  <a:cubicBezTo>
                    <a:pt x="59" y="49"/>
                    <a:pt x="64" y="49"/>
                    <a:pt x="70" y="49"/>
                  </a:cubicBezTo>
                  <a:cubicBezTo>
                    <a:pt x="90" y="49"/>
                    <a:pt x="107" y="59"/>
                    <a:pt x="118" y="74"/>
                  </a:cubicBezTo>
                  <a:cubicBezTo>
                    <a:pt x="128" y="59"/>
                    <a:pt x="146" y="49"/>
                    <a:pt x="166" y="49"/>
                  </a:cubicBezTo>
                  <a:cubicBezTo>
                    <a:pt x="171" y="49"/>
                    <a:pt x="176" y="49"/>
                    <a:pt x="182" y="51"/>
                  </a:cubicBezTo>
                  <a:cubicBezTo>
                    <a:pt x="166" y="33"/>
                    <a:pt x="143" y="22"/>
                    <a:pt x="118" y="22"/>
                  </a:cubicBezTo>
                  <a:cubicBezTo>
                    <a:pt x="92" y="22"/>
                    <a:pt x="69" y="33"/>
                    <a:pt x="54" y="51"/>
                  </a:cubicBezTo>
                  <a:close/>
                  <a:moveTo>
                    <a:pt x="27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7" y="38"/>
                    <a:pt x="41" y="33"/>
                    <a:pt x="45" y="29"/>
                  </a:cubicBezTo>
                  <a:lnTo>
                    <a:pt x="27" y="25"/>
                  </a:lnTo>
                  <a:close/>
                  <a:moveTo>
                    <a:pt x="126" y="299"/>
                  </a:moveTo>
                  <a:cubicBezTo>
                    <a:pt x="101" y="281"/>
                    <a:pt x="86" y="252"/>
                    <a:pt x="86" y="217"/>
                  </a:cubicBezTo>
                  <a:cubicBezTo>
                    <a:pt x="86" y="209"/>
                    <a:pt x="86" y="209"/>
                    <a:pt x="86" y="209"/>
                  </a:cubicBezTo>
                  <a:cubicBezTo>
                    <a:pt x="69" y="204"/>
                    <a:pt x="55" y="195"/>
                    <a:pt x="43" y="183"/>
                  </a:cubicBezTo>
                  <a:cubicBezTo>
                    <a:pt x="43" y="257"/>
                    <a:pt x="43" y="257"/>
                    <a:pt x="43" y="257"/>
                  </a:cubicBezTo>
                  <a:cubicBezTo>
                    <a:pt x="43" y="280"/>
                    <a:pt x="62" y="299"/>
                    <a:pt x="86" y="299"/>
                  </a:cubicBezTo>
                  <a:lnTo>
                    <a:pt x="126" y="299"/>
                  </a:lnTo>
                  <a:close/>
                  <a:moveTo>
                    <a:pt x="192" y="183"/>
                  </a:moveTo>
                  <a:cubicBezTo>
                    <a:pt x="173" y="202"/>
                    <a:pt x="147" y="214"/>
                    <a:pt x="118" y="214"/>
                  </a:cubicBezTo>
                  <a:cubicBezTo>
                    <a:pt x="114" y="214"/>
                    <a:pt x="111" y="214"/>
                    <a:pt x="107" y="213"/>
                  </a:cubicBezTo>
                  <a:cubicBezTo>
                    <a:pt x="107" y="217"/>
                    <a:pt x="107" y="217"/>
                    <a:pt x="107" y="217"/>
                  </a:cubicBezTo>
                  <a:cubicBezTo>
                    <a:pt x="107" y="265"/>
                    <a:pt x="141" y="298"/>
                    <a:pt x="192" y="299"/>
                  </a:cubicBezTo>
                  <a:lnTo>
                    <a:pt x="192" y="183"/>
                  </a:lnTo>
                  <a:close/>
                  <a:moveTo>
                    <a:pt x="203" y="107"/>
                  </a:moveTo>
                  <a:cubicBezTo>
                    <a:pt x="203" y="87"/>
                    <a:pt x="186" y="70"/>
                    <a:pt x="166" y="70"/>
                  </a:cubicBezTo>
                  <a:cubicBezTo>
                    <a:pt x="145" y="70"/>
                    <a:pt x="128" y="87"/>
                    <a:pt x="128" y="107"/>
                  </a:cubicBezTo>
                  <a:cubicBezTo>
                    <a:pt x="128" y="116"/>
                    <a:pt x="132" y="125"/>
                    <a:pt x="138" y="132"/>
                  </a:cubicBezTo>
                  <a:cubicBezTo>
                    <a:pt x="140" y="135"/>
                    <a:pt x="141" y="138"/>
                    <a:pt x="140" y="141"/>
                  </a:cubicBezTo>
                  <a:cubicBezTo>
                    <a:pt x="141" y="145"/>
                    <a:pt x="140" y="148"/>
                    <a:pt x="137" y="151"/>
                  </a:cubicBezTo>
                  <a:cubicBezTo>
                    <a:pt x="125" y="163"/>
                    <a:pt x="125" y="163"/>
                    <a:pt x="125" y="163"/>
                  </a:cubicBezTo>
                  <a:cubicBezTo>
                    <a:pt x="123" y="165"/>
                    <a:pt x="120" y="166"/>
                    <a:pt x="118" y="166"/>
                  </a:cubicBezTo>
                  <a:cubicBezTo>
                    <a:pt x="115" y="166"/>
                    <a:pt x="112" y="165"/>
                    <a:pt x="110" y="163"/>
                  </a:cubicBezTo>
                  <a:cubicBezTo>
                    <a:pt x="98" y="151"/>
                    <a:pt x="98" y="151"/>
                    <a:pt x="98" y="151"/>
                  </a:cubicBezTo>
                  <a:cubicBezTo>
                    <a:pt x="95" y="148"/>
                    <a:pt x="95" y="145"/>
                    <a:pt x="95" y="141"/>
                  </a:cubicBezTo>
                  <a:cubicBezTo>
                    <a:pt x="95" y="138"/>
                    <a:pt x="95" y="135"/>
                    <a:pt x="98" y="132"/>
                  </a:cubicBezTo>
                  <a:cubicBezTo>
                    <a:pt x="104" y="125"/>
                    <a:pt x="107" y="116"/>
                    <a:pt x="107" y="107"/>
                  </a:cubicBezTo>
                  <a:cubicBezTo>
                    <a:pt x="107" y="87"/>
                    <a:pt x="90" y="70"/>
                    <a:pt x="70" y="70"/>
                  </a:cubicBezTo>
                  <a:cubicBezTo>
                    <a:pt x="49" y="70"/>
                    <a:pt x="32" y="87"/>
                    <a:pt x="32" y="107"/>
                  </a:cubicBezTo>
                  <a:cubicBezTo>
                    <a:pt x="32" y="154"/>
                    <a:pt x="71" y="193"/>
                    <a:pt x="118" y="193"/>
                  </a:cubicBezTo>
                  <a:cubicBezTo>
                    <a:pt x="165" y="193"/>
                    <a:pt x="203" y="154"/>
                    <a:pt x="203" y="107"/>
                  </a:cubicBezTo>
                  <a:close/>
                  <a:moveTo>
                    <a:pt x="208" y="25"/>
                  </a:moveTo>
                  <a:cubicBezTo>
                    <a:pt x="190" y="29"/>
                    <a:pt x="190" y="29"/>
                    <a:pt x="190" y="29"/>
                  </a:cubicBezTo>
                  <a:cubicBezTo>
                    <a:pt x="195" y="33"/>
                    <a:pt x="199" y="38"/>
                    <a:pt x="203" y="43"/>
                  </a:cubicBezTo>
                  <a:cubicBezTo>
                    <a:pt x="203" y="43"/>
                    <a:pt x="203" y="43"/>
                    <a:pt x="203" y="43"/>
                  </a:cubicBezTo>
                  <a:lnTo>
                    <a:pt x="208" y="25"/>
                  </a:lnTo>
                  <a:close/>
                  <a:moveTo>
                    <a:pt x="182" y="113"/>
                  </a:moveTo>
                  <a:cubicBezTo>
                    <a:pt x="182" y="123"/>
                    <a:pt x="175" y="130"/>
                    <a:pt x="166" y="130"/>
                  </a:cubicBezTo>
                  <a:cubicBezTo>
                    <a:pt x="156" y="130"/>
                    <a:pt x="149" y="123"/>
                    <a:pt x="149" y="113"/>
                  </a:cubicBezTo>
                  <a:cubicBezTo>
                    <a:pt x="149" y="104"/>
                    <a:pt x="156" y="97"/>
                    <a:pt x="166" y="97"/>
                  </a:cubicBezTo>
                  <a:cubicBezTo>
                    <a:pt x="175" y="97"/>
                    <a:pt x="182" y="104"/>
                    <a:pt x="182" y="113"/>
                  </a:cubicBezTo>
                  <a:close/>
                  <a:moveTo>
                    <a:pt x="86" y="113"/>
                  </a:moveTo>
                  <a:cubicBezTo>
                    <a:pt x="86" y="123"/>
                    <a:pt x="79" y="130"/>
                    <a:pt x="70" y="130"/>
                  </a:cubicBezTo>
                  <a:cubicBezTo>
                    <a:pt x="60" y="130"/>
                    <a:pt x="53" y="123"/>
                    <a:pt x="53" y="113"/>
                  </a:cubicBezTo>
                  <a:cubicBezTo>
                    <a:pt x="53" y="104"/>
                    <a:pt x="60" y="97"/>
                    <a:pt x="70" y="97"/>
                  </a:cubicBezTo>
                  <a:cubicBezTo>
                    <a:pt x="79" y="97"/>
                    <a:pt x="86" y="104"/>
                    <a:pt x="86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2" name="Freeform 714"/>
          <p:cNvSpPr>
            <a:spLocks noChangeAspect="1" noEditPoints="1"/>
          </p:cNvSpPr>
          <p:nvPr/>
        </p:nvSpPr>
        <p:spPr bwMode="auto">
          <a:xfrm>
            <a:off x="4415177" y="2918206"/>
            <a:ext cx="367982" cy="367982"/>
          </a:xfrm>
          <a:custGeom>
            <a:avLst/>
            <a:gdLst>
              <a:gd name="T0" fmla="*/ 188 w 512"/>
              <a:gd name="T1" fmla="*/ 226 h 512"/>
              <a:gd name="T2" fmla="*/ 245 w 512"/>
              <a:gd name="T3" fmla="*/ 226 h 512"/>
              <a:gd name="T4" fmla="*/ 245 w 512"/>
              <a:gd name="T5" fmla="*/ 359 h 512"/>
              <a:gd name="T6" fmla="*/ 181 w 512"/>
              <a:gd name="T7" fmla="*/ 269 h 512"/>
              <a:gd name="T8" fmla="*/ 188 w 512"/>
              <a:gd name="T9" fmla="*/ 226 h 512"/>
              <a:gd name="T10" fmla="*/ 256 w 512"/>
              <a:gd name="T11" fmla="*/ 130 h 512"/>
              <a:gd name="T12" fmla="*/ 215 w 512"/>
              <a:gd name="T13" fmla="*/ 162 h 512"/>
              <a:gd name="T14" fmla="*/ 296 w 512"/>
              <a:gd name="T15" fmla="*/ 162 h 512"/>
              <a:gd name="T16" fmla="*/ 256 w 512"/>
              <a:gd name="T17" fmla="*/ 130 h 512"/>
              <a:gd name="T18" fmla="*/ 266 w 512"/>
              <a:gd name="T19" fmla="*/ 226 h 512"/>
              <a:gd name="T20" fmla="*/ 266 w 512"/>
              <a:gd name="T21" fmla="*/ 359 h 512"/>
              <a:gd name="T22" fmla="*/ 330 w 512"/>
              <a:gd name="T23" fmla="*/ 269 h 512"/>
              <a:gd name="T24" fmla="*/ 324 w 512"/>
              <a:gd name="T25" fmla="*/ 226 h 512"/>
              <a:gd name="T26" fmla="*/ 266 w 512"/>
              <a:gd name="T27" fmla="*/ 226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192 w 512"/>
              <a:gd name="T39" fmla="*/ 173 h 512"/>
              <a:gd name="T40" fmla="*/ 202 w 512"/>
              <a:gd name="T41" fmla="*/ 184 h 512"/>
              <a:gd name="T42" fmla="*/ 309 w 512"/>
              <a:gd name="T43" fmla="*/ 184 h 512"/>
              <a:gd name="T44" fmla="*/ 320 w 512"/>
              <a:gd name="T45" fmla="*/ 173 h 512"/>
              <a:gd name="T46" fmla="*/ 256 w 512"/>
              <a:gd name="T47" fmla="*/ 109 h 512"/>
              <a:gd name="T48" fmla="*/ 192 w 512"/>
              <a:gd name="T49" fmla="*/ 173 h 512"/>
              <a:gd name="T50" fmla="*/ 384 w 512"/>
              <a:gd name="T51" fmla="*/ 280 h 512"/>
              <a:gd name="T52" fmla="*/ 373 w 512"/>
              <a:gd name="T53" fmla="*/ 269 h 512"/>
              <a:gd name="T54" fmla="*/ 352 w 512"/>
              <a:gd name="T55" fmla="*/ 269 h 512"/>
              <a:gd name="T56" fmla="*/ 343 w 512"/>
              <a:gd name="T57" fmla="*/ 218 h 512"/>
              <a:gd name="T58" fmla="*/ 365 w 512"/>
              <a:gd name="T59" fmla="*/ 197 h 512"/>
              <a:gd name="T60" fmla="*/ 365 w 512"/>
              <a:gd name="T61" fmla="*/ 181 h 512"/>
              <a:gd name="T62" fmla="*/ 349 w 512"/>
              <a:gd name="T63" fmla="*/ 181 h 512"/>
              <a:gd name="T64" fmla="*/ 326 w 512"/>
              <a:gd name="T65" fmla="*/ 205 h 512"/>
              <a:gd name="T66" fmla="*/ 185 w 512"/>
              <a:gd name="T67" fmla="*/ 205 h 512"/>
              <a:gd name="T68" fmla="*/ 162 w 512"/>
              <a:gd name="T69" fmla="*/ 181 h 512"/>
              <a:gd name="T70" fmla="*/ 147 w 512"/>
              <a:gd name="T71" fmla="*/ 181 h 512"/>
              <a:gd name="T72" fmla="*/ 147 w 512"/>
              <a:gd name="T73" fmla="*/ 197 h 512"/>
              <a:gd name="T74" fmla="*/ 168 w 512"/>
              <a:gd name="T75" fmla="*/ 218 h 512"/>
              <a:gd name="T76" fmla="*/ 160 w 512"/>
              <a:gd name="T77" fmla="*/ 269 h 512"/>
              <a:gd name="T78" fmla="*/ 138 w 512"/>
              <a:gd name="T79" fmla="*/ 269 h 512"/>
              <a:gd name="T80" fmla="*/ 128 w 512"/>
              <a:gd name="T81" fmla="*/ 280 h 512"/>
              <a:gd name="T82" fmla="*/ 138 w 512"/>
              <a:gd name="T83" fmla="*/ 290 h 512"/>
              <a:gd name="T84" fmla="*/ 161 w 512"/>
              <a:gd name="T85" fmla="*/ 290 h 512"/>
              <a:gd name="T86" fmla="*/ 175 w 512"/>
              <a:gd name="T87" fmla="*/ 329 h 512"/>
              <a:gd name="T88" fmla="*/ 152 w 512"/>
              <a:gd name="T89" fmla="*/ 352 h 512"/>
              <a:gd name="T90" fmla="*/ 152 w 512"/>
              <a:gd name="T91" fmla="*/ 367 h 512"/>
              <a:gd name="T92" fmla="*/ 160 w 512"/>
              <a:gd name="T93" fmla="*/ 370 h 512"/>
              <a:gd name="T94" fmla="*/ 167 w 512"/>
              <a:gd name="T95" fmla="*/ 367 h 512"/>
              <a:gd name="T96" fmla="*/ 187 w 512"/>
              <a:gd name="T97" fmla="*/ 347 h 512"/>
              <a:gd name="T98" fmla="*/ 256 w 512"/>
              <a:gd name="T99" fmla="*/ 381 h 512"/>
              <a:gd name="T100" fmla="*/ 324 w 512"/>
              <a:gd name="T101" fmla="*/ 347 h 512"/>
              <a:gd name="T102" fmla="*/ 344 w 512"/>
              <a:gd name="T103" fmla="*/ 367 h 512"/>
              <a:gd name="T104" fmla="*/ 352 w 512"/>
              <a:gd name="T105" fmla="*/ 370 h 512"/>
              <a:gd name="T106" fmla="*/ 359 w 512"/>
              <a:gd name="T107" fmla="*/ 367 h 512"/>
              <a:gd name="T108" fmla="*/ 359 w 512"/>
              <a:gd name="T109" fmla="*/ 352 h 512"/>
              <a:gd name="T110" fmla="*/ 336 w 512"/>
              <a:gd name="T111" fmla="*/ 329 h 512"/>
              <a:gd name="T112" fmla="*/ 350 w 512"/>
              <a:gd name="T113" fmla="*/ 290 h 512"/>
              <a:gd name="T114" fmla="*/ 373 w 512"/>
              <a:gd name="T115" fmla="*/ 290 h 512"/>
              <a:gd name="T116" fmla="*/ 384 w 512"/>
              <a:gd name="T117" fmla="*/ 28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88" y="226"/>
                </a:moveTo>
                <a:cubicBezTo>
                  <a:pt x="245" y="226"/>
                  <a:pt x="245" y="226"/>
                  <a:pt x="245" y="226"/>
                </a:cubicBezTo>
                <a:cubicBezTo>
                  <a:pt x="245" y="359"/>
                  <a:pt x="245" y="359"/>
                  <a:pt x="245" y="359"/>
                </a:cubicBezTo>
                <a:cubicBezTo>
                  <a:pt x="209" y="352"/>
                  <a:pt x="181" y="315"/>
                  <a:pt x="181" y="269"/>
                </a:cubicBezTo>
                <a:cubicBezTo>
                  <a:pt x="181" y="255"/>
                  <a:pt x="184" y="238"/>
                  <a:pt x="188" y="226"/>
                </a:cubicBezTo>
                <a:close/>
                <a:moveTo>
                  <a:pt x="256" y="130"/>
                </a:moveTo>
                <a:cubicBezTo>
                  <a:pt x="237" y="130"/>
                  <a:pt x="221" y="148"/>
                  <a:pt x="215" y="162"/>
                </a:cubicBezTo>
                <a:cubicBezTo>
                  <a:pt x="296" y="162"/>
                  <a:pt x="296" y="162"/>
                  <a:pt x="296" y="162"/>
                </a:cubicBezTo>
                <a:cubicBezTo>
                  <a:pt x="290" y="148"/>
                  <a:pt x="275" y="130"/>
                  <a:pt x="256" y="130"/>
                </a:cubicBezTo>
                <a:close/>
                <a:moveTo>
                  <a:pt x="266" y="226"/>
                </a:moveTo>
                <a:cubicBezTo>
                  <a:pt x="266" y="359"/>
                  <a:pt x="266" y="359"/>
                  <a:pt x="266" y="359"/>
                </a:cubicBezTo>
                <a:cubicBezTo>
                  <a:pt x="302" y="352"/>
                  <a:pt x="330" y="315"/>
                  <a:pt x="330" y="269"/>
                </a:cubicBezTo>
                <a:cubicBezTo>
                  <a:pt x="330" y="255"/>
                  <a:pt x="328" y="238"/>
                  <a:pt x="324" y="226"/>
                </a:cubicBezTo>
                <a:lnTo>
                  <a:pt x="266" y="22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92" y="173"/>
                </a:moveTo>
                <a:cubicBezTo>
                  <a:pt x="192" y="179"/>
                  <a:pt x="196" y="184"/>
                  <a:pt x="202" y="184"/>
                </a:cubicBezTo>
                <a:cubicBezTo>
                  <a:pt x="309" y="184"/>
                  <a:pt x="309" y="184"/>
                  <a:pt x="309" y="184"/>
                </a:cubicBezTo>
                <a:cubicBezTo>
                  <a:pt x="315" y="184"/>
                  <a:pt x="320" y="179"/>
                  <a:pt x="320" y="173"/>
                </a:cubicBezTo>
                <a:cubicBezTo>
                  <a:pt x="320" y="148"/>
                  <a:pt x="292" y="109"/>
                  <a:pt x="256" y="109"/>
                </a:cubicBezTo>
                <a:cubicBezTo>
                  <a:pt x="219" y="109"/>
                  <a:pt x="192" y="148"/>
                  <a:pt x="192" y="173"/>
                </a:cubicBezTo>
                <a:close/>
                <a:moveTo>
                  <a:pt x="384" y="280"/>
                </a:moveTo>
                <a:cubicBezTo>
                  <a:pt x="384" y="274"/>
                  <a:pt x="379" y="269"/>
                  <a:pt x="373" y="269"/>
                </a:cubicBezTo>
                <a:cubicBezTo>
                  <a:pt x="352" y="269"/>
                  <a:pt x="352" y="269"/>
                  <a:pt x="352" y="269"/>
                </a:cubicBezTo>
                <a:cubicBezTo>
                  <a:pt x="352" y="252"/>
                  <a:pt x="348" y="232"/>
                  <a:pt x="343" y="218"/>
                </a:cubicBezTo>
                <a:cubicBezTo>
                  <a:pt x="365" y="197"/>
                  <a:pt x="365" y="197"/>
                  <a:pt x="365" y="197"/>
                </a:cubicBezTo>
                <a:cubicBezTo>
                  <a:pt x="369" y="192"/>
                  <a:pt x="369" y="186"/>
                  <a:pt x="365" y="181"/>
                </a:cubicBezTo>
                <a:cubicBezTo>
                  <a:pt x="360" y="177"/>
                  <a:pt x="354" y="177"/>
                  <a:pt x="349" y="181"/>
                </a:cubicBezTo>
                <a:cubicBezTo>
                  <a:pt x="326" y="205"/>
                  <a:pt x="326" y="205"/>
                  <a:pt x="326" y="205"/>
                </a:cubicBezTo>
                <a:cubicBezTo>
                  <a:pt x="185" y="205"/>
                  <a:pt x="185" y="205"/>
                  <a:pt x="185" y="205"/>
                </a:cubicBezTo>
                <a:cubicBezTo>
                  <a:pt x="162" y="181"/>
                  <a:pt x="162" y="181"/>
                  <a:pt x="162" y="181"/>
                </a:cubicBezTo>
                <a:cubicBezTo>
                  <a:pt x="158" y="177"/>
                  <a:pt x="151" y="177"/>
                  <a:pt x="147" y="181"/>
                </a:cubicBezTo>
                <a:cubicBezTo>
                  <a:pt x="143" y="186"/>
                  <a:pt x="143" y="192"/>
                  <a:pt x="147" y="197"/>
                </a:cubicBezTo>
                <a:cubicBezTo>
                  <a:pt x="168" y="218"/>
                  <a:pt x="168" y="218"/>
                  <a:pt x="168" y="218"/>
                </a:cubicBezTo>
                <a:cubicBezTo>
                  <a:pt x="163" y="232"/>
                  <a:pt x="160" y="252"/>
                  <a:pt x="160" y="269"/>
                </a:cubicBezTo>
                <a:cubicBezTo>
                  <a:pt x="138" y="269"/>
                  <a:pt x="138" y="269"/>
                  <a:pt x="138" y="269"/>
                </a:cubicBezTo>
                <a:cubicBezTo>
                  <a:pt x="132" y="269"/>
                  <a:pt x="128" y="274"/>
                  <a:pt x="128" y="280"/>
                </a:cubicBezTo>
                <a:cubicBezTo>
                  <a:pt x="128" y="286"/>
                  <a:pt x="132" y="290"/>
                  <a:pt x="138" y="290"/>
                </a:cubicBezTo>
                <a:cubicBezTo>
                  <a:pt x="161" y="290"/>
                  <a:pt x="161" y="290"/>
                  <a:pt x="161" y="290"/>
                </a:cubicBezTo>
                <a:cubicBezTo>
                  <a:pt x="164" y="304"/>
                  <a:pt x="168" y="318"/>
                  <a:pt x="175" y="329"/>
                </a:cubicBezTo>
                <a:cubicBezTo>
                  <a:pt x="152" y="352"/>
                  <a:pt x="152" y="352"/>
                  <a:pt x="152" y="352"/>
                </a:cubicBezTo>
                <a:cubicBezTo>
                  <a:pt x="148" y="356"/>
                  <a:pt x="148" y="363"/>
                  <a:pt x="152" y="367"/>
                </a:cubicBezTo>
                <a:cubicBezTo>
                  <a:pt x="154" y="369"/>
                  <a:pt x="157" y="370"/>
                  <a:pt x="160" y="370"/>
                </a:cubicBezTo>
                <a:cubicBezTo>
                  <a:pt x="162" y="370"/>
                  <a:pt x="165" y="369"/>
                  <a:pt x="167" y="367"/>
                </a:cubicBezTo>
                <a:cubicBezTo>
                  <a:pt x="187" y="347"/>
                  <a:pt x="187" y="347"/>
                  <a:pt x="187" y="347"/>
                </a:cubicBezTo>
                <a:cubicBezTo>
                  <a:pt x="205" y="368"/>
                  <a:pt x="229" y="381"/>
                  <a:pt x="256" y="381"/>
                </a:cubicBezTo>
                <a:cubicBezTo>
                  <a:pt x="282" y="381"/>
                  <a:pt x="307" y="368"/>
                  <a:pt x="324" y="347"/>
                </a:cubicBezTo>
                <a:cubicBezTo>
                  <a:pt x="344" y="367"/>
                  <a:pt x="344" y="367"/>
                  <a:pt x="344" y="367"/>
                </a:cubicBezTo>
                <a:cubicBezTo>
                  <a:pt x="346" y="369"/>
                  <a:pt x="349" y="370"/>
                  <a:pt x="352" y="370"/>
                </a:cubicBezTo>
                <a:cubicBezTo>
                  <a:pt x="354" y="370"/>
                  <a:pt x="357" y="369"/>
                  <a:pt x="359" y="367"/>
                </a:cubicBezTo>
                <a:cubicBezTo>
                  <a:pt x="363" y="363"/>
                  <a:pt x="363" y="356"/>
                  <a:pt x="359" y="352"/>
                </a:cubicBezTo>
                <a:cubicBezTo>
                  <a:pt x="336" y="329"/>
                  <a:pt x="336" y="329"/>
                  <a:pt x="336" y="329"/>
                </a:cubicBezTo>
                <a:cubicBezTo>
                  <a:pt x="343" y="318"/>
                  <a:pt x="348" y="304"/>
                  <a:pt x="350" y="290"/>
                </a:cubicBezTo>
                <a:cubicBezTo>
                  <a:pt x="373" y="290"/>
                  <a:pt x="373" y="290"/>
                  <a:pt x="373" y="290"/>
                </a:cubicBezTo>
                <a:cubicBezTo>
                  <a:pt x="379" y="290"/>
                  <a:pt x="384" y="286"/>
                  <a:pt x="384" y="28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3" name="Group 717"/>
          <p:cNvGrpSpPr>
            <a:grpSpLocks noChangeAspect="1"/>
          </p:cNvGrpSpPr>
          <p:nvPr/>
        </p:nvGrpSpPr>
        <p:grpSpPr bwMode="auto">
          <a:xfrm>
            <a:off x="4912837" y="2918206"/>
            <a:ext cx="367982" cy="367982"/>
            <a:chOff x="5021" y="3113"/>
            <a:chExt cx="340" cy="340"/>
          </a:xfrm>
          <a:solidFill>
            <a:schemeClr val="accent2"/>
          </a:solidFill>
        </p:grpSpPr>
        <p:sp>
          <p:nvSpPr>
            <p:cNvPr id="344" name="Freeform 718"/>
            <p:cNvSpPr>
              <a:spLocks noEditPoints="1"/>
            </p:cNvSpPr>
            <p:nvPr/>
          </p:nvSpPr>
          <p:spPr bwMode="auto">
            <a:xfrm>
              <a:off x="5021" y="31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719"/>
            <p:cNvSpPr>
              <a:spLocks noEditPoints="1"/>
            </p:cNvSpPr>
            <p:nvPr/>
          </p:nvSpPr>
          <p:spPr bwMode="auto">
            <a:xfrm>
              <a:off x="5106" y="3185"/>
              <a:ext cx="170" cy="181"/>
            </a:xfrm>
            <a:custGeom>
              <a:avLst/>
              <a:gdLst>
                <a:gd name="T0" fmla="*/ 74 w 256"/>
                <a:gd name="T1" fmla="*/ 75 h 272"/>
                <a:gd name="T2" fmla="*/ 181 w 256"/>
                <a:gd name="T3" fmla="*/ 75 h 272"/>
                <a:gd name="T4" fmla="*/ 192 w 256"/>
                <a:gd name="T5" fmla="*/ 64 h 272"/>
                <a:gd name="T6" fmla="*/ 128 w 256"/>
                <a:gd name="T7" fmla="*/ 0 h 272"/>
                <a:gd name="T8" fmla="*/ 64 w 256"/>
                <a:gd name="T9" fmla="*/ 64 h 272"/>
                <a:gd name="T10" fmla="*/ 74 w 256"/>
                <a:gd name="T11" fmla="*/ 75 h 272"/>
                <a:gd name="T12" fmla="*/ 128 w 256"/>
                <a:gd name="T13" fmla="*/ 21 h 272"/>
                <a:gd name="T14" fmla="*/ 168 w 256"/>
                <a:gd name="T15" fmla="*/ 53 h 272"/>
                <a:gd name="T16" fmla="*/ 87 w 256"/>
                <a:gd name="T17" fmla="*/ 53 h 272"/>
                <a:gd name="T18" fmla="*/ 128 w 256"/>
                <a:gd name="T19" fmla="*/ 21 h 272"/>
                <a:gd name="T20" fmla="*/ 245 w 256"/>
                <a:gd name="T21" fmla="*/ 160 h 272"/>
                <a:gd name="T22" fmla="*/ 224 w 256"/>
                <a:gd name="T23" fmla="*/ 160 h 272"/>
                <a:gd name="T24" fmla="*/ 215 w 256"/>
                <a:gd name="T25" fmla="*/ 109 h 272"/>
                <a:gd name="T26" fmla="*/ 237 w 256"/>
                <a:gd name="T27" fmla="*/ 88 h 272"/>
                <a:gd name="T28" fmla="*/ 237 w 256"/>
                <a:gd name="T29" fmla="*/ 72 h 272"/>
                <a:gd name="T30" fmla="*/ 221 w 256"/>
                <a:gd name="T31" fmla="*/ 72 h 272"/>
                <a:gd name="T32" fmla="*/ 198 w 256"/>
                <a:gd name="T33" fmla="*/ 96 h 272"/>
                <a:gd name="T34" fmla="*/ 57 w 256"/>
                <a:gd name="T35" fmla="*/ 96 h 272"/>
                <a:gd name="T36" fmla="*/ 34 w 256"/>
                <a:gd name="T37" fmla="*/ 72 h 272"/>
                <a:gd name="T38" fmla="*/ 19 w 256"/>
                <a:gd name="T39" fmla="*/ 72 h 272"/>
                <a:gd name="T40" fmla="*/ 19 w 256"/>
                <a:gd name="T41" fmla="*/ 88 h 272"/>
                <a:gd name="T42" fmla="*/ 40 w 256"/>
                <a:gd name="T43" fmla="*/ 109 h 272"/>
                <a:gd name="T44" fmla="*/ 32 w 256"/>
                <a:gd name="T45" fmla="*/ 160 h 272"/>
                <a:gd name="T46" fmla="*/ 10 w 256"/>
                <a:gd name="T47" fmla="*/ 160 h 272"/>
                <a:gd name="T48" fmla="*/ 0 w 256"/>
                <a:gd name="T49" fmla="*/ 171 h 272"/>
                <a:gd name="T50" fmla="*/ 10 w 256"/>
                <a:gd name="T51" fmla="*/ 181 h 272"/>
                <a:gd name="T52" fmla="*/ 33 w 256"/>
                <a:gd name="T53" fmla="*/ 181 h 272"/>
                <a:gd name="T54" fmla="*/ 47 w 256"/>
                <a:gd name="T55" fmla="*/ 220 h 272"/>
                <a:gd name="T56" fmla="*/ 24 w 256"/>
                <a:gd name="T57" fmla="*/ 243 h 272"/>
                <a:gd name="T58" fmla="*/ 24 w 256"/>
                <a:gd name="T59" fmla="*/ 258 h 272"/>
                <a:gd name="T60" fmla="*/ 32 w 256"/>
                <a:gd name="T61" fmla="*/ 261 h 272"/>
                <a:gd name="T62" fmla="*/ 39 w 256"/>
                <a:gd name="T63" fmla="*/ 258 h 272"/>
                <a:gd name="T64" fmla="*/ 59 w 256"/>
                <a:gd name="T65" fmla="*/ 238 h 272"/>
                <a:gd name="T66" fmla="*/ 128 w 256"/>
                <a:gd name="T67" fmla="*/ 272 h 272"/>
                <a:gd name="T68" fmla="*/ 196 w 256"/>
                <a:gd name="T69" fmla="*/ 238 h 272"/>
                <a:gd name="T70" fmla="*/ 216 w 256"/>
                <a:gd name="T71" fmla="*/ 258 h 272"/>
                <a:gd name="T72" fmla="*/ 224 w 256"/>
                <a:gd name="T73" fmla="*/ 261 h 272"/>
                <a:gd name="T74" fmla="*/ 231 w 256"/>
                <a:gd name="T75" fmla="*/ 258 h 272"/>
                <a:gd name="T76" fmla="*/ 231 w 256"/>
                <a:gd name="T77" fmla="*/ 243 h 272"/>
                <a:gd name="T78" fmla="*/ 208 w 256"/>
                <a:gd name="T79" fmla="*/ 220 h 272"/>
                <a:gd name="T80" fmla="*/ 222 w 256"/>
                <a:gd name="T81" fmla="*/ 181 h 272"/>
                <a:gd name="T82" fmla="*/ 245 w 256"/>
                <a:gd name="T83" fmla="*/ 181 h 272"/>
                <a:gd name="T84" fmla="*/ 256 w 256"/>
                <a:gd name="T85" fmla="*/ 171 h 272"/>
                <a:gd name="T86" fmla="*/ 245 w 256"/>
                <a:gd name="T87" fmla="*/ 160 h 272"/>
                <a:gd name="T88" fmla="*/ 53 w 256"/>
                <a:gd name="T89" fmla="*/ 160 h 272"/>
                <a:gd name="T90" fmla="*/ 60 w 256"/>
                <a:gd name="T91" fmla="*/ 117 h 272"/>
                <a:gd name="T92" fmla="*/ 117 w 256"/>
                <a:gd name="T93" fmla="*/ 117 h 272"/>
                <a:gd name="T94" fmla="*/ 117 w 256"/>
                <a:gd name="T95" fmla="*/ 250 h 272"/>
                <a:gd name="T96" fmla="*/ 53 w 256"/>
                <a:gd name="T97" fmla="*/ 160 h 272"/>
                <a:gd name="T98" fmla="*/ 138 w 256"/>
                <a:gd name="T99" fmla="*/ 250 h 272"/>
                <a:gd name="T100" fmla="*/ 138 w 256"/>
                <a:gd name="T101" fmla="*/ 117 h 272"/>
                <a:gd name="T102" fmla="*/ 196 w 256"/>
                <a:gd name="T103" fmla="*/ 117 h 272"/>
                <a:gd name="T104" fmla="*/ 202 w 256"/>
                <a:gd name="T105" fmla="*/ 160 h 272"/>
                <a:gd name="T106" fmla="*/ 138 w 256"/>
                <a:gd name="T107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6" h="272">
                  <a:moveTo>
                    <a:pt x="74" y="75"/>
                  </a:moveTo>
                  <a:cubicBezTo>
                    <a:pt x="181" y="75"/>
                    <a:pt x="181" y="75"/>
                    <a:pt x="181" y="75"/>
                  </a:cubicBezTo>
                  <a:cubicBezTo>
                    <a:pt x="187" y="75"/>
                    <a:pt x="192" y="70"/>
                    <a:pt x="192" y="64"/>
                  </a:cubicBezTo>
                  <a:cubicBezTo>
                    <a:pt x="192" y="39"/>
                    <a:pt x="164" y="0"/>
                    <a:pt x="128" y="0"/>
                  </a:cubicBezTo>
                  <a:cubicBezTo>
                    <a:pt x="91" y="0"/>
                    <a:pt x="64" y="39"/>
                    <a:pt x="64" y="64"/>
                  </a:cubicBezTo>
                  <a:cubicBezTo>
                    <a:pt x="64" y="70"/>
                    <a:pt x="68" y="75"/>
                    <a:pt x="74" y="75"/>
                  </a:cubicBezTo>
                  <a:close/>
                  <a:moveTo>
                    <a:pt x="128" y="21"/>
                  </a:moveTo>
                  <a:cubicBezTo>
                    <a:pt x="147" y="21"/>
                    <a:pt x="162" y="39"/>
                    <a:pt x="168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93" y="39"/>
                    <a:pt x="109" y="21"/>
                    <a:pt x="128" y="21"/>
                  </a:cubicBezTo>
                  <a:close/>
                  <a:moveTo>
                    <a:pt x="245" y="160"/>
                  </a:moveTo>
                  <a:cubicBezTo>
                    <a:pt x="224" y="160"/>
                    <a:pt x="224" y="160"/>
                    <a:pt x="224" y="160"/>
                  </a:cubicBezTo>
                  <a:cubicBezTo>
                    <a:pt x="224" y="143"/>
                    <a:pt x="220" y="123"/>
                    <a:pt x="215" y="109"/>
                  </a:cubicBezTo>
                  <a:cubicBezTo>
                    <a:pt x="237" y="88"/>
                    <a:pt x="237" y="88"/>
                    <a:pt x="237" y="88"/>
                  </a:cubicBezTo>
                  <a:cubicBezTo>
                    <a:pt x="241" y="83"/>
                    <a:pt x="241" y="77"/>
                    <a:pt x="237" y="72"/>
                  </a:cubicBezTo>
                  <a:cubicBezTo>
                    <a:pt x="232" y="68"/>
                    <a:pt x="226" y="68"/>
                    <a:pt x="221" y="72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0" y="68"/>
                    <a:pt x="23" y="68"/>
                    <a:pt x="19" y="72"/>
                  </a:cubicBezTo>
                  <a:cubicBezTo>
                    <a:pt x="15" y="77"/>
                    <a:pt x="15" y="83"/>
                    <a:pt x="19" y="88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5" y="123"/>
                    <a:pt x="32" y="143"/>
                    <a:pt x="32" y="160"/>
                  </a:cubicBezTo>
                  <a:cubicBezTo>
                    <a:pt x="10" y="160"/>
                    <a:pt x="10" y="160"/>
                    <a:pt x="10" y="160"/>
                  </a:cubicBezTo>
                  <a:cubicBezTo>
                    <a:pt x="4" y="160"/>
                    <a:pt x="0" y="165"/>
                    <a:pt x="0" y="171"/>
                  </a:cubicBezTo>
                  <a:cubicBezTo>
                    <a:pt x="0" y="177"/>
                    <a:pt x="4" y="181"/>
                    <a:pt x="10" y="181"/>
                  </a:cubicBezTo>
                  <a:cubicBezTo>
                    <a:pt x="33" y="181"/>
                    <a:pt x="33" y="181"/>
                    <a:pt x="33" y="181"/>
                  </a:cubicBezTo>
                  <a:cubicBezTo>
                    <a:pt x="36" y="195"/>
                    <a:pt x="40" y="209"/>
                    <a:pt x="47" y="220"/>
                  </a:cubicBezTo>
                  <a:cubicBezTo>
                    <a:pt x="24" y="243"/>
                    <a:pt x="24" y="243"/>
                    <a:pt x="24" y="243"/>
                  </a:cubicBezTo>
                  <a:cubicBezTo>
                    <a:pt x="20" y="247"/>
                    <a:pt x="20" y="254"/>
                    <a:pt x="24" y="258"/>
                  </a:cubicBezTo>
                  <a:cubicBezTo>
                    <a:pt x="26" y="260"/>
                    <a:pt x="29" y="261"/>
                    <a:pt x="32" y="261"/>
                  </a:cubicBezTo>
                  <a:cubicBezTo>
                    <a:pt x="34" y="261"/>
                    <a:pt x="37" y="260"/>
                    <a:pt x="39" y="258"/>
                  </a:cubicBezTo>
                  <a:cubicBezTo>
                    <a:pt x="59" y="238"/>
                    <a:pt x="59" y="238"/>
                    <a:pt x="59" y="238"/>
                  </a:cubicBezTo>
                  <a:cubicBezTo>
                    <a:pt x="77" y="259"/>
                    <a:pt x="101" y="272"/>
                    <a:pt x="128" y="272"/>
                  </a:cubicBezTo>
                  <a:cubicBezTo>
                    <a:pt x="154" y="272"/>
                    <a:pt x="179" y="259"/>
                    <a:pt x="196" y="238"/>
                  </a:cubicBezTo>
                  <a:cubicBezTo>
                    <a:pt x="216" y="258"/>
                    <a:pt x="216" y="258"/>
                    <a:pt x="216" y="258"/>
                  </a:cubicBezTo>
                  <a:cubicBezTo>
                    <a:pt x="218" y="260"/>
                    <a:pt x="221" y="261"/>
                    <a:pt x="224" y="261"/>
                  </a:cubicBezTo>
                  <a:cubicBezTo>
                    <a:pt x="226" y="261"/>
                    <a:pt x="229" y="260"/>
                    <a:pt x="231" y="258"/>
                  </a:cubicBezTo>
                  <a:cubicBezTo>
                    <a:pt x="235" y="254"/>
                    <a:pt x="235" y="247"/>
                    <a:pt x="231" y="243"/>
                  </a:cubicBezTo>
                  <a:cubicBezTo>
                    <a:pt x="208" y="220"/>
                    <a:pt x="208" y="220"/>
                    <a:pt x="208" y="220"/>
                  </a:cubicBezTo>
                  <a:cubicBezTo>
                    <a:pt x="215" y="209"/>
                    <a:pt x="220" y="195"/>
                    <a:pt x="222" y="181"/>
                  </a:cubicBezTo>
                  <a:cubicBezTo>
                    <a:pt x="245" y="181"/>
                    <a:pt x="245" y="181"/>
                    <a:pt x="245" y="181"/>
                  </a:cubicBezTo>
                  <a:cubicBezTo>
                    <a:pt x="251" y="181"/>
                    <a:pt x="256" y="177"/>
                    <a:pt x="256" y="171"/>
                  </a:cubicBezTo>
                  <a:cubicBezTo>
                    <a:pt x="256" y="165"/>
                    <a:pt x="251" y="160"/>
                    <a:pt x="245" y="160"/>
                  </a:cubicBezTo>
                  <a:close/>
                  <a:moveTo>
                    <a:pt x="53" y="160"/>
                  </a:moveTo>
                  <a:cubicBezTo>
                    <a:pt x="53" y="146"/>
                    <a:pt x="56" y="129"/>
                    <a:pt x="60" y="117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7" y="250"/>
                    <a:pt x="117" y="250"/>
                    <a:pt x="117" y="250"/>
                  </a:cubicBezTo>
                  <a:cubicBezTo>
                    <a:pt x="81" y="243"/>
                    <a:pt x="53" y="206"/>
                    <a:pt x="53" y="160"/>
                  </a:cubicBezTo>
                  <a:close/>
                  <a:moveTo>
                    <a:pt x="138" y="250"/>
                  </a:moveTo>
                  <a:cubicBezTo>
                    <a:pt x="138" y="117"/>
                    <a:pt x="138" y="117"/>
                    <a:pt x="138" y="117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200" y="129"/>
                    <a:pt x="202" y="146"/>
                    <a:pt x="202" y="160"/>
                  </a:cubicBezTo>
                  <a:cubicBezTo>
                    <a:pt x="202" y="206"/>
                    <a:pt x="174" y="243"/>
                    <a:pt x="138" y="2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6" name="Freeform 496"/>
          <p:cNvSpPr>
            <a:spLocks noChangeAspect="1" noEditPoints="1"/>
          </p:cNvSpPr>
          <p:nvPr/>
        </p:nvSpPr>
        <p:spPr bwMode="auto">
          <a:xfrm>
            <a:off x="5410497" y="2918206"/>
            <a:ext cx="367041" cy="368120"/>
          </a:xfrm>
          <a:custGeom>
            <a:avLst/>
            <a:gdLst>
              <a:gd name="T0" fmla="*/ 254 w 512"/>
              <a:gd name="T1" fmla="*/ 191 h 512"/>
              <a:gd name="T2" fmla="*/ 195 w 512"/>
              <a:gd name="T3" fmla="*/ 206 h 512"/>
              <a:gd name="T4" fmla="*/ 165 w 512"/>
              <a:gd name="T5" fmla="*/ 258 h 512"/>
              <a:gd name="T6" fmla="*/ 187 w 512"/>
              <a:gd name="T7" fmla="*/ 316 h 512"/>
              <a:gd name="T8" fmla="*/ 299 w 512"/>
              <a:gd name="T9" fmla="*/ 313 h 512"/>
              <a:gd name="T10" fmla="*/ 349 w 512"/>
              <a:gd name="T11" fmla="*/ 165 h 512"/>
              <a:gd name="T12" fmla="*/ 254 w 512"/>
              <a:gd name="T13" fmla="*/ 191 h 512"/>
              <a:gd name="T14" fmla="*/ 291 w 512"/>
              <a:gd name="T15" fmla="*/ 237 h 512"/>
              <a:gd name="T16" fmla="*/ 216 w 512"/>
              <a:gd name="T17" fmla="*/ 298 h 512"/>
              <a:gd name="T18" fmla="*/ 206 w 512"/>
              <a:gd name="T19" fmla="*/ 305 h 512"/>
              <a:gd name="T20" fmla="*/ 202 w 512"/>
              <a:gd name="T21" fmla="*/ 304 h 512"/>
              <a:gd name="T22" fmla="*/ 196 w 512"/>
              <a:gd name="T23" fmla="*/ 291 h 512"/>
              <a:gd name="T24" fmla="*/ 288 w 512"/>
              <a:gd name="T25" fmla="*/ 216 h 512"/>
              <a:gd name="T26" fmla="*/ 300 w 512"/>
              <a:gd name="T27" fmla="*/ 225 h 512"/>
              <a:gd name="T28" fmla="*/ 291 w 512"/>
              <a:gd name="T29" fmla="*/ 237 h 512"/>
              <a:gd name="T30" fmla="*/ 256 w 512"/>
              <a:gd name="T31" fmla="*/ 0 h 512"/>
              <a:gd name="T32" fmla="*/ 0 w 512"/>
              <a:gd name="T33" fmla="*/ 256 h 512"/>
              <a:gd name="T34" fmla="*/ 256 w 512"/>
              <a:gd name="T35" fmla="*/ 512 h 512"/>
              <a:gd name="T36" fmla="*/ 512 w 512"/>
              <a:gd name="T37" fmla="*/ 256 h 512"/>
              <a:gd name="T38" fmla="*/ 256 w 512"/>
              <a:gd name="T39" fmla="*/ 0 h 512"/>
              <a:gd name="T40" fmla="*/ 314 w 512"/>
              <a:gd name="T41" fmla="*/ 328 h 512"/>
              <a:gd name="T42" fmla="*/ 240 w 512"/>
              <a:gd name="T43" fmla="*/ 360 h 512"/>
              <a:gd name="T44" fmla="*/ 179 w 512"/>
              <a:gd name="T45" fmla="*/ 338 h 512"/>
              <a:gd name="T46" fmla="*/ 161 w 512"/>
              <a:gd name="T47" fmla="*/ 365 h 512"/>
              <a:gd name="T48" fmla="*/ 151 w 512"/>
              <a:gd name="T49" fmla="*/ 376 h 512"/>
              <a:gd name="T50" fmla="*/ 151 w 512"/>
              <a:gd name="T51" fmla="*/ 376 h 512"/>
              <a:gd name="T52" fmla="*/ 140 w 512"/>
              <a:gd name="T53" fmla="*/ 365 h 512"/>
              <a:gd name="T54" fmla="*/ 164 w 512"/>
              <a:gd name="T55" fmla="*/ 323 h 512"/>
              <a:gd name="T56" fmla="*/ 144 w 512"/>
              <a:gd name="T57" fmla="*/ 256 h 512"/>
              <a:gd name="T58" fmla="*/ 182 w 512"/>
              <a:gd name="T59" fmla="*/ 189 h 512"/>
              <a:gd name="T60" fmla="*/ 253 w 512"/>
              <a:gd name="T61" fmla="*/ 170 h 512"/>
              <a:gd name="T62" fmla="*/ 350 w 512"/>
              <a:gd name="T63" fmla="*/ 138 h 512"/>
              <a:gd name="T64" fmla="*/ 361 w 512"/>
              <a:gd name="T65" fmla="*/ 136 h 512"/>
              <a:gd name="T66" fmla="*/ 367 w 512"/>
              <a:gd name="T67" fmla="*/ 144 h 512"/>
              <a:gd name="T68" fmla="*/ 314 w 512"/>
              <a:gd name="T69" fmla="*/ 3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4" y="191"/>
                </a:moveTo>
                <a:cubicBezTo>
                  <a:pt x="231" y="192"/>
                  <a:pt x="214" y="193"/>
                  <a:pt x="195" y="206"/>
                </a:cubicBezTo>
                <a:cubicBezTo>
                  <a:pt x="178" y="218"/>
                  <a:pt x="167" y="237"/>
                  <a:pt x="165" y="258"/>
                </a:cubicBezTo>
                <a:cubicBezTo>
                  <a:pt x="164" y="280"/>
                  <a:pt x="171" y="301"/>
                  <a:pt x="187" y="316"/>
                </a:cubicBezTo>
                <a:cubicBezTo>
                  <a:pt x="218" y="348"/>
                  <a:pt x="266" y="346"/>
                  <a:pt x="299" y="313"/>
                </a:cubicBezTo>
                <a:cubicBezTo>
                  <a:pt x="330" y="283"/>
                  <a:pt x="355" y="224"/>
                  <a:pt x="349" y="165"/>
                </a:cubicBezTo>
                <a:cubicBezTo>
                  <a:pt x="311" y="189"/>
                  <a:pt x="281" y="191"/>
                  <a:pt x="254" y="191"/>
                </a:cubicBezTo>
                <a:close/>
                <a:moveTo>
                  <a:pt x="291" y="237"/>
                </a:moveTo>
                <a:cubicBezTo>
                  <a:pt x="237" y="247"/>
                  <a:pt x="216" y="298"/>
                  <a:pt x="216" y="298"/>
                </a:cubicBezTo>
                <a:cubicBezTo>
                  <a:pt x="215" y="303"/>
                  <a:pt x="211" y="305"/>
                  <a:pt x="206" y="305"/>
                </a:cubicBezTo>
                <a:cubicBezTo>
                  <a:pt x="205" y="305"/>
                  <a:pt x="204" y="305"/>
                  <a:pt x="202" y="304"/>
                </a:cubicBezTo>
                <a:cubicBezTo>
                  <a:pt x="197" y="302"/>
                  <a:pt x="194" y="296"/>
                  <a:pt x="196" y="291"/>
                </a:cubicBezTo>
                <a:cubicBezTo>
                  <a:pt x="197" y="288"/>
                  <a:pt x="221" y="228"/>
                  <a:pt x="288" y="216"/>
                </a:cubicBezTo>
                <a:cubicBezTo>
                  <a:pt x="294" y="215"/>
                  <a:pt x="299" y="219"/>
                  <a:pt x="300" y="225"/>
                </a:cubicBezTo>
                <a:cubicBezTo>
                  <a:pt x="301" y="230"/>
                  <a:pt x="297" y="236"/>
                  <a:pt x="291" y="237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14" y="328"/>
                </a:moveTo>
                <a:cubicBezTo>
                  <a:pt x="293" y="349"/>
                  <a:pt x="267" y="360"/>
                  <a:pt x="240" y="360"/>
                </a:cubicBezTo>
                <a:cubicBezTo>
                  <a:pt x="218" y="360"/>
                  <a:pt x="197" y="353"/>
                  <a:pt x="179" y="338"/>
                </a:cubicBezTo>
                <a:cubicBezTo>
                  <a:pt x="162" y="353"/>
                  <a:pt x="162" y="365"/>
                  <a:pt x="161" y="365"/>
                </a:cubicBezTo>
                <a:cubicBezTo>
                  <a:pt x="161" y="371"/>
                  <a:pt x="157" y="376"/>
                  <a:pt x="151" y="376"/>
                </a:cubicBezTo>
                <a:cubicBezTo>
                  <a:pt x="151" y="376"/>
                  <a:pt x="151" y="376"/>
                  <a:pt x="151" y="376"/>
                </a:cubicBezTo>
                <a:cubicBezTo>
                  <a:pt x="145" y="376"/>
                  <a:pt x="140" y="371"/>
                  <a:pt x="140" y="365"/>
                </a:cubicBezTo>
                <a:cubicBezTo>
                  <a:pt x="140" y="363"/>
                  <a:pt x="141" y="344"/>
                  <a:pt x="164" y="323"/>
                </a:cubicBezTo>
                <a:cubicBezTo>
                  <a:pt x="149" y="304"/>
                  <a:pt x="142" y="280"/>
                  <a:pt x="144" y="256"/>
                </a:cubicBezTo>
                <a:cubicBezTo>
                  <a:pt x="146" y="229"/>
                  <a:pt x="160" y="204"/>
                  <a:pt x="182" y="189"/>
                </a:cubicBezTo>
                <a:cubicBezTo>
                  <a:pt x="207" y="172"/>
                  <a:pt x="230" y="171"/>
                  <a:pt x="253" y="170"/>
                </a:cubicBezTo>
                <a:cubicBezTo>
                  <a:pt x="281" y="169"/>
                  <a:pt x="311" y="168"/>
                  <a:pt x="350" y="138"/>
                </a:cubicBezTo>
                <a:cubicBezTo>
                  <a:pt x="353" y="135"/>
                  <a:pt x="357" y="135"/>
                  <a:pt x="361" y="136"/>
                </a:cubicBezTo>
                <a:cubicBezTo>
                  <a:pt x="364" y="137"/>
                  <a:pt x="366" y="140"/>
                  <a:pt x="367" y="144"/>
                </a:cubicBezTo>
                <a:cubicBezTo>
                  <a:pt x="382" y="215"/>
                  <a:pt x="352" y="291"/>
                  <a:pt x="314" y="32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7" name="Group 499"/>
          <p:cNvGrpSpPr>
            <a:grpSpLocks noChangeAspect="1"/>
          </p:cNvGrpSpPr>
          <p:nvPr/>
        </p:nvGrpSpPr>
        <p:grpSpPr bwMode="auto">
          <a:xfrm>
            <a:off x="5907216" y="2918206"/>
            <a:ext cx="367041" cy="368120"/>
            <a:chOff x="3166" y="2259"/>
            <a:chExt cx="340" cy="341"/>
          </a:xfrm>
          <a:solidFill>
            <a:schemeClr val="accent6"/>
          </a:solidFill>
        </p:grpSpPr>
        <p:sp>
          <p:nvSpPr>
            <p:cNvPr id="348" name="Freeform 500"/>
            <p:cNvSpPr>
              <a:spLocks noEditPoints="1"/>
            </p:cNvSpPr>
            <p:nvPr/>
          </p:nvSpPr>
          <p:spPr bwMode="auto">
            <a:xfrm>
              <a:off x="3166" y="225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501"/>
            <p:cNvSpPr>
              <a:spLocks noEditPoints="1"/>
            </p:cNvSpPr>
            <p:nvPr/>
          </p:nvSpPr>
          <p:spPr bwMode="auto">
            <a:xfrm>
              <a:off x="3259" y="2349"/>
              <a:ext cx="161" cy="160"/>
            </a:xfrm>
            <a:custGeom>
              <a:avLst/>
              <a:gdLst>
                <a:gd name="T0" fmla="*/ 227 w 242"/>
                <a:gd name="T1" fmla="*/ 9 h 241"/>
                <a:gd name="T2" fmla="*/ 221 w 242"/>
                <a:gd name="T3" fmla="*/ 1 h 241"/>
                <a:gd name="T4" fmla="*/ 210 w 242"/>
                <a:gd name="T5" fmla="*/ 3 h 241"/>
                <a:gd name="T6" fmla="*/ 113 w 242"/>
                <a:gd name="T7" fmla="*/ 35 h 241"/>
                <a:gd name="T8" fmla="*/ 42 w 242"/>
                <a:gd name="T9" fmla="*/ 54 h 241"/>
                <a:gd name="T10" fmla="*/ 4 w 242"/>
                <a:gd name="T11" fmla="*/ 121 h 241"/>
                <a:gd name="T12" fmla="*/ 24 w 242"/>
                <a:gd name="T13" fmla="*/ 188 h 241"/>
                <a:gd name="T14" fmla="*/ 0 w 242"/>
                <a:gd name="T15" fmla="*/ 230 h 241"/>
                <a:gd name="T16" fmla="*/ 11 w 242"/>
                <a:gd name="T17" fmla="*/ 241 h 241"/>
                <a:gd name="T18" fmla="*/ 11 w 242"/>
                <a:gd name="T19" fmla="*/ 241 h 241"/>
                <a:gd name="T20" fmla="*/ 21 w 242"/>
                <a:gd name="T21" fmla="*/ 230 h 241"/>
                <a:gd name="T22" fmla="*/ 39 w 242"/>
                <a:gd name="T23" fmla="*/ 203 h 241"/>
                <a:gd name="T24" fmla="*/ 100 w 242"/>
                <a:gd name="T25" fmla="*/ 225 h 241"/>
                <a:gd name="T26" fmla="*/ 174 w 242"/>
                <a:gd name="T27" fmla="*/ 193 h 241"/>
                <a:gd name="T28" fmla="*/ 227 w 242"/>
                <a:gd name="T29" fmla="*/ 9 h 241"/>
                <a:gd name="T30" fmla="*/ 159 w 242"/>
                <a:gd name="T31" fmla="*/ 178 h 241"/>
                <a:gd name="T32" fmla="*/ 47 w 242"/>
                <a:gd name="T33" fmla="*/ 181 h 241"/>
                <a:gd name="T34" fmla="*/ 25 w 242"/>
                <a:gd name="T35" fmla="*/ 123 h 241"/>
                <a:gd name="T36" fmla="*/ 55 w 242"/>
                <a:gd name="T37" fmla="*/ 71 h 241"/>
                <a:gd name="T38" fmla="*/ 114 w 242"/>
                <a:gd name="T39" fmla="*/ 56 h 241"/>
                <a:gd name="T40" fmla="*/ 209 w 242"/>
                <a:gd name="T41" fmla="*/ 30 h 241"/>
                <a:gd name="T42" fmla="*/ 159 w 242"/>
                <a:gd name="T43" fmla="*/ 178 h 241"/>
                <a:gd name="T44" fmla="*/ 160 w 242"/>
                <a:gd name="T45" fmla="*/ 90 h 241"/>
                <a:gd name="T46" fmla="*/ 151 w 242"/>
                <a:gd name="T47" fmla="*/ 102 h 241"/>
                <a:gd name="T48" fmla="*/ 76 w 242"/>
                <a:gd name="T49" fmla="*/ 163 h 241"/>
                <a:gd name="T50" fmla="*/ 66 w 242"/>
                <a:gd name="T51" fmla="*/ 170 h 241"/>
                <a:gd name="T52" fmla="*/ 62 w 242"/>
                <a:gd name="T53" fmla="*/ 169 h 241"/>
                <a:gd name="T54" fmla="*/ 56 w 242"/>
                <a:gd name="T55" fmla="*/ 156 h 241"/>
                <a:gd name="T56" fmla="*/ 148 w 242"/>
                <a:gd name="T57" fmla="*/ 81 h 241"/>
                <a:gd name="T58" fmla="*/ 160 w 242"/>
                <a:gd name="T59" fmla="*/ 9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2" h="241">
                  <a:moveTo>
                    <a:pt x="227" y="9"/>
                  </a:moveTo>
                  <a:cubicBezTo>
                    <a:pt x="226" y="5"/>
                    <a:pt x="224" y="2"/>
                    <a:pt x="221" y="1"/>
                  </a:cubicBezTo>
                  <a:cubicBezTo>
                    <a:pt x="217" y="0"/>
                    <a:pt x="213" y="0"/>
                    <a:pt x="210" y="3"/>
                  </a:cubicBezTo>
                  <a:cubicBezTo>
                    <a:pt x="171" y="33"/>
                    <a:pt x="141" y="34"/>
                    <a:pt x="113" y="35"/>
                  </a:cubicBezTo>
                  <a:cubicBezTo>
                    <a:pt x="90" y="36"/>
                    <a:pt x="67" y="37"/>
                    <a:pt x="42" y="54"/>
                  </a:cubicBezTo>
                  <a:cubicBezTo>
                    <a:pt x="20" y="69"/>
                    <a:pt x="6" y="94"/>
                    <a:pt x="4" y="121"/>
                  </a:cubicBezTo>
                  <a:cubicBezTo>
                    <a:pt x="2" y="145"/>
                    <a:pt x="9" y="169"/>
                    <a:pt x="24" y="188"/>
                  </a:cubicBezTo>
                  <a:cubicBezTo>
                    <a:pt x="1" y="209"/>
                    <a:pt x="0" y="228"/>
                    <a:pt x="0" y="230"/>
                  </a:cubicBezTo>
                  <a:cubicBezTo>
                    <a:pt x="0" y="236"/>
                    <a:pt x="5" y="241"/>
                    <a:pt x="11" y="241"/>
                  </a:cubicBezTo>
                  <a:cubicBezTo>
                    <a:pt x="11" y="241"/>
                    <a:pt x="11" y="241"/>
                    <a:pt x="11" y="241"/>
                  </a:cubicBezTo>
                  <a:cubicBezTo>
                    <a:pt x="17" y="241"/>
                    <a:pt x="21" y="236"/>
                    <a:pt x="21" y="230"/>
                  </a:cubicBezTo>
                  <a:cubicBezTo>
                    <a:pt x="22" y="230"/>
                    <a:pt x="22" y="218"/>
                    <a:pt x="39" y="203"/>
                  </a:cubicBezTo>
                  <a:cubicBezTo>
                    <a:pt x="57" y="218"/>
                    <a:pt x="78" y="225"/>
                    <a:pt x="100" y="225"/>
                  </a:cubicBezTo>
                  <a:cubicBezTo>
                    <a:pt x="127" y="225"/>
                    <a:pt x="153" y="214"/>
                    <a:pt x="174" y="193"/>
                  </a:cubicBezTo>
                  <a:cubicBezTo>
                    <a:pt x="212" y="156"/>
                    <a:pt x="242" y="80"/>
                    <a:pt x="227" y="9"/>
                  </a:cubicBezTo>
                  <a:close/>
                  <a:moveTo>
                    <a:pt x="159" y="178"/>
                  </a:moveTo>
                  <a:cubicBezTo>
                    <a:pt x="126" y="211"/>
                    <a:pt x="78" y="213"/>
                    <a:pt x="47" y="181"/>
                  </a:cubicBezTo>
                  <a:cubicBezTo>
                    <a:pt x="31" y="166"/>
                    <a:pt x="24" y="145"/>
                    <a:pt x="25" y="123"/>
                  </a:cubicBezTo>
                  <a:cubicBezTo>
                    <a:pt x="27" y="102"/>
                    <a:pt x="38" y="83"/>
                    <a:pt x="55" y="71"/>
                  </a:cubicBezTo>
                  <a:cubicBezTo>
                    <a:pt x="74" y="58"/>
                    <a:pt x="91" y="57"/>
                    <a:pt x="114" y="56"/>
                  </a:cubicBezTo>
                  <a:cubicBezTo>
                    <a:pt x="141" y="56"/>
                    <a:pt x="171" y="54"/>
                    <a:pt x="209" y="30"/>
                  </a:cubicBezTo>
                  <a:cubicBezTo>
                    <a:pt x="215" y="89"/>
                    <a:pt x="190" y="148"/>
                    <a:pt x="159" y="178"/>
                  </a:cubicBezTo>
                  <a:close/>
                  <a:moveTo>
                    <a:pt x="160" y="90"/>
                  </a:moveTo>
                  <a:cubicBezTo>
                    <a:pt x="161" y="95"/>
                    <a:pt x="157" y="101"/>
                    <a:pt x="151" y="102"/>
                  </a:cubicBezTo>
                  <a:cubicBezTo>
                    <a:pt x="97" y="112"/>
                    <a:pt x="76" y="163"/>
                    <a:pt x="76" y="163"/>
                  </a:cubicBezTo>
                  <a:cubicBezTo>
                    <a:pt x="75" y="168"/>
                    <a:pt x="71" y="170"/>
                    <a:pt x="66" y="170"/>
                  </a:cubicBezTo>
                  <a:cubicBezTo>
                    <a:pt x="65" y="170"/>
                    <a:pt x="64" y="170"/>
                    <a:pt x="62" y="169"/>
                  </a:cubicBezTo>
                  <a:cubicBezTo>
                    <a:pt x="57" y="167"/>
                    <a:pt x="54" y="161"/>
                    <a:pt x="56" y="156"/>
                  </a:cubicBezTo>
                  <a:cubicBezTo>
                    <a:pt x="57" y="153"/>
                    <a:pt x="81" y="93"/>
                    <a:pt x="148" y="81"/>
                  </a:cubicBezTo>
                  <a:cubicBezTo>
                    <a:pt x="154" y="80"/>
                    <a:pt x="159" y="84"/>
                    <a:pt x="160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0" name="Group 349"/>
          <p:cNvGrpSpPr>
            <a:grpSpLocks noChangeAspect="1"/>
          </p:cNvGrpSpPr>
          <p:nvPr/>
        </p:nvGrpSpPr>
        <p:grpSpPr bwMode="auto">
          <a:xfrm>
            <a:off x="6403935" y="2918210"/>
            <a:ext cx="367982" cy="367983"/>
            <a:chOff x="3731" y="3177"/>
            <a:chExt cx="340" cy="340"/>
          </a:xfrm>
          <a:solidFill>
            <a:schemeClr val="accent1"/>
          </a:solidFill>
        </p:grpSpPr>
        <p:sp>
          <p:nvSpPr>
            <p:cNvPr id="351" name="Freeform 570"/>
            <p:cNvSpPr>
              <a:spLocks noEditPoints="1"/>
            </p:cNvSpPr>
            <p:nvPr/>
          </p:nvSpPr>
          <p:spPr bwMode="auto">
            <a:xfrm>
              <a:off x="3731" y="3177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9 w 512"/>
                <a:gd name="T11" fmla="*/ 361 h 512"/>
                <a:gd name="T12" fmla="*/ 373 w 512"/>
                <a:gd name="T13" fmla="*/ 372 h 512"/>
                <a:gd name="T14" fmla="*/ 372 w 512"/>
                <a:gd name="T15" fmla="*/ 372 h 512"/>
                <a:gd name="T16" fmla="*/ 372 w 512"/>
                <a:gd name="T17" fmla="*/ 373 h 512"/>
                <a:gd name="T18" fmla="*/ 361 w 512"/>
                <a:gd name="T19" fmla="*/ 399 h 512"/>
                <a:gd name="T20" fmla="*/ 335 w 512"/>
                <a:gd name="T21" fmla="*/ 410 h 512"/>
                <a:gd name="T22" fmla="*/ 308 w 512"/>
                <a:gd name="T23" fmla="*/ 399 h 512"/>
                <a:gd name="T24" fmla="*/ 298 w 512"/>
                <a:gd name="T25" fmla="*/ 373 h 512"/>
                <a:gd name="T26" fmla="*/ 302 w 512"/>
                <a:gd name="T27" fmla="*/ 355 h 512"/>
                <a:gd name="T28" fmla="*/ 157 w 512"/>
                <a:gd name="T29" fmla="*/ 209 h 512"/>
                <a:gd name="T30" fmla="*/ 112 w 512"/>
                <a:gd name="T31" fmla="*/ 203 h 512"/>
                <a:gd name="T32" fmla="*/ 101 w 512"/>
                <a:gd name="T33" fmla="*/ 176 h 512"/>
                <a:gd name="T34" fmla="*/ 112 w 512"/>
                <a:gd name="T35" fmla="*/ 150 h 512"/>
                <a:gd name="T36" fmla="*/ 139 w 512"/>
                <a:gd name="T37" fmla="*/ 140 h 512"/>
                <a:gd name="T38" fmla="*/ 139 w 512"/>
                <a:gd name="T39" fmla="*/ 139 h 512"/>
                <a:gd name="T40" fmla="*/ 150 w 512"/>
                <a:gd name="T41" fmla="*/ 112 h 512"/>
                <a:gd name="T42" fmla="*/ 203 w 512"/>
                <a:gd name="T43" fmla="*/ 112 h 512"/>
                <a:gd name="T44" fmla="*/ 214 w 512"/>
                <a:gd name="T45" fmla="*/ 139 h 512"/>
                <a:gd name="T46" fmla="*/ 209 w 512"/>
                <a:gd name="T47" fmla="*/ 157 h 512"/>
                <a:gd name="T48" fmla="*/ 355 w 512"/>
                <a:gd name="T49" fmla="*/ 302 h 512"/>
                <a:gd name="T50" fmla="*/ 399 w 512"/>
                <a:gd name="T51" fmla="*/ 308 h 512"/>
                <a:gd name="T52" fmla="*/ 410 w 512"/>
                <a:gd name="T53" fmla="*/ 335 h 512"/>
                <a:gd name="T54" fmla="*/ 399 w 512"/>
                <a:gd name="T55" fmla="*/ 36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9" y="361"/>
                  </a:moveTo>
                  <a:cubicBezTo>
                    <a:pt x="392" y="368"/>
                    <a:pt x="383" y="372"/>
                    <a:pt x="373" y="372"/>
                  </a:cubicBezTo>
                  <a:cubicBezTo>
                    <a:pt x="372" y="372"/>
                    <a:pt x="372" y="372"/>
                    <a:pt x="372" y="372"/>
                  </a:cubicBezTo>
                  <a:cubicBezTo>
                    <a:pt x="372" y="372"/>
                    <a:pt x="372" y="372"/>
                    <a:pt x="372" y="373"/>
                  </a:cubicBezTo>
                  <a:cubicBezTo>
                    <a:pt x="372" y="383"/>
                    <a:pt x="368" y="392"/>
                    <a:pt x="361" y="399"/>
                  </a:cubicBezTo>
                  <a:cubicBezTo>
                    <a:pt x="354" y="406"/>
                    <a:pt x="345" y="410"/>
                    <a:pt x="335" y="410"/>
                  </a:cubicBezTo>
                  <a:cubicBezTo>
                    <a:pt x="325" y="410"/>
                    <a:pt x="316" y="406"/>
                    <a:pt x="308" y="399"/>
                  </a:cubicBezTo>
                  <a:cubicBezTo>
                    <a:pt x="301" y="392"/>
                    <a:pt x="298" y="383"/>
                    <a:pt x="298" y="373"/>
                  </a:cubicBezTo>
                  <a:cubicBezTo>
                    <a:pt x="298" y="366"/>
                    <a:pt x="299" y="360"/>
                    <a:pt x="302" y="355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43" y="217"/>
                    <a:pt x="124" y="214"/>
                    <a:pt x="112" y="203"/>
                  </a:cubicBezTo>
                  <a:cubicBezTo>
                    <a:pt x="105" y="196"/>
                    <a:pt x="101" y="186"/>
                    <a:pt x="101" y="176"/>
                  </a:cubicBezTo>
                  <a:cubicBezTo>
                    <a:pt x="101" y="166"/>
                    <a:pt x="105" y="157"/>
                    <a:pt x="112" y="150"/>
                  </a:cubicBezTo>
                  <a:cubicBezTo>
                    <a:pt x="120" y="143"/>
                    <a:pt x="129" y="139"/>
                    <a:pt x="139" y="140"/>
                  </a:cubicBezTo>
                  <a:cubicBezTo>
                    <a:pt x="139" y="139"/>
                    <a:pt x="139" y="139"/>
                    <a:pt x="139" y="139"/>
                  </a:cubicBezTo>
                  <a:cubicBezTo>
                    <a:pt x="139" y="129"/>
                    <a:pt x="143" y="119"/>
                    <a:pt x="150" y="112"/>
                  </a:cubicBezTo>
                  <a:cubicBezTo>
                    <a:pt x="164" y="98"/>
                    <a:pt x="189" y="98"/>
                    <a:pt x="203" y="112"/>
                  </a:cubicBezTo>
                  <a:cubicBezTo>
                    <a:pt x="210" y="119"/>
                    <a:pt x="214" y="129"/>
                    <a:pt x="214" y="139"/>
                  </a:cubicBezTo>
                  <a:cubicBezTo>
                    <a:pt x="214" y="145"/>
                    <a:pt x="212" y="151"/>
                    <a:pt x="209" y="157"/>
                  </a:cubicBezTo>
                  <a:cubicBezTo>
                    <a:pt x="355" y="302"/>
                    <a:pt x="355" y="302"/>
                    <a:pt x="355" y="302"/>
                  </a:cubicBezTo>
                  <a:cubicBezTo>
                    <a:pt x="369" y="294"/>
                    <a:pt x="387" y="297"/>
                    <a:pt x="399" y="308"/>
                  </a:cubicBezTo>
                  <a:cubicBezTo>
                    <a:pt x="406" y="316"/>
                    <a:pt x="410" y="325"/>
                    <a:pt x="410" y="335"/>
                  </a:cubicBezTo>
                  <a:cubicBezTo>
                    <a:pt x="410" y="345"/>
                    <a:pt x="406" y="354"/>
                    <a:pt x="399" y="3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Freeform 571"/>
            <p:cNvSpPr>
              <a:spLocks/>
            </p:cNvSpPr>
            <p:nvPr/>
          </p:nvSpPr>
          <p:spPr bwMode="auto">
            <a:xfrm>
              <a:off x="3813" y="3257"/>
              <a:ext cx="176" cy="179"/>
            </a:xfrm>
            <a:custGeom>
              <a:avLst/>
              <a:gdLst>
                <a:gd name="T0" fmla="*/ 238 w 266"/>
                <a:gd name="T1" fmla="*/ 203 h 269"/>
                <a:gd name="T2" fmla="*/ 223 w 266"/>
                <a:gd name="T3" fmla="*/ 203 h 269"/>
                <a:gd name="T4" fmla="*/ 65 w 266"/>
                <a:gd name="T5" fmla="*/ 44 h 269"/>
                <a:gd name="T6" fmla="*/ 65 w 266"/>
                <a:gd name="T7" fmla="*/ 29 h 269"/>
                <a:gd name="T8" fmla="*/ 69 w 266"/>
                <a:gd name="T9" fmla="*/ 18 h 269"/>
                <a:gd name="T10" fmla="*/ 65 w 266"/>
                <a:gd name="T11" fmla="*/ 6 h 269"/>
                <a:gd name="T12" fmla="*/ 42 w 266"/>
                <a:gd name="T13" fmla="*/ 6 h 269"/>
                <a:gd name="T14" fmla="*/ 37 w 266"/>
                <a:gd name="T15" fmla="*/ 18 h 269"/>
                <a:gd name="T16" fmla="*/ 42 w 266"/>
                <a:gd name="T17" fmla="*/ 29 h 269"/>
                <a:gd name="T18" fmla="*/ 42 w 266"/>
                <a:gd name="T19" fmla="*/ 44 h 269"/>
                <a:gd name="T20" fmla="*/ 27 w 266"/>
                <a:gd name="T21" fmla="*/ 44 h 269"/>
                <a:gd name="T22" fmla="*/ 4 w 266"/>
                <a:gd name="T23" fmla="*/ 44 h 269"/>
                <a:gd name="T24" fmla="*/ 0 w 266"/>
                <a:gd name="T25" fmla="*/ 55 h 269"/>
                <a:gd name="T26" fmla="*/ 4 w 266"/>
                <a:gd name="T27" fmla="*/ 67 h 269"/>
                <a:gd name="T28" fmla="*/ 27 w 266"/>
                <a:gd name="T29" fmla="*/ 67 h 269"/>
                <a:gd name="T30" fmla="*/ 42 w 266"/>
                <a:gd name="T31" fmla="*/ 67 h 269"/>
                <a:gd name="T32" fmla="*/ 201 w 266"/>
                <a:gd name="T33" fmla="*/ 225 h 269"/>
                <a:gd name="T34" fmla="*/ 201 w 266"/>
                <a:gd name="T35" fmla="*/ 240 h 269"/>
                <a:gd name="T36" fmla="*/ 196 w 266"/>
                <a:gd name="T37" fmla="*/ 252 h 269"/>
                <a:gd name="T38" fmla="*/ 201 w 266"/>
                <a:gd name="T39" fmla="*/ 263 h 269"/>
                <a:gd name="T40" fmla="*/ 223 w 266"/>
                <a:gd name="T41" fmla="*/ 263 h 269"/>
                <a:gd name="T42" fmla="*/ 228 w 266"/>
                <a:gd name="T43" fmla="*/ 252 h 269"/>
                <a:gd name="T44" fmla="*/ 223 w 266"/>
                <a:gd name="T45" fmla="*/ 240 h 269"/>
                <a:gd name="T46" fmla="*/ 223 w 266"/>
                <a:gd name="T47" fmla="*/ 225 h 269"/>
                <a:gd name="T48" fmla="*/ 238 w 266"/>
                <a:gd name="T49" fmla="*/ 225 h 269"/>
                <a:gd name="T50" fmla="*/ 261 w 266"/>
                <a:gd name="T51" fmla="*/ 225 h 269"/>
                <a:gd name="T52" fmla="*/ 266 w 266"/>
                <a:gd name="T53" fmla="*/ 214 h 269"/>
                <a:gd name="T54" fmla="*/ 261 w 266"/>
                <a:gd name="T55" fmla="*/ 203 h 269"/>
                <a:gd name="T56" fmla="*/ 238 w 266"/>
                <a:gd name="T57" fmla="*/ 203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" h="269">
                  <a:moveTo>
                    <a:pt x="238" y="203"/>
                  </a:moveTo>
                  <a:cubicBezTo>
                    <a:pt x="234" y="207"/>
                    <a:pt x="227" y="207"/>
                    <a:pt x="223" y="203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1" y="40"/>
                    <a:pt x="61" y="33"/>
                    <a:pt x="65" y="29"/>
                  </a:cubicBezTo>
                  <a:cubicBezTo>
                    <a:pt x="68" y="26"/>
                    <a:pt x="69" y="22"/>
                    <a:pt x="69" y="18"/>
                  </a:cubicBezTo>
                  <a:cubicBezTo>
                    <a:pt x="69" y="13"/>
                    <a:pt x="68" y="9"/>
                    <a:pt x="65" y="6"/>
                  </a:cubicBezTo>
                  <a:cubicBezTo>
                    <a:pt x="59" y="0"/>
                    <a:pt x="48" y="0"/>
                    <a:pt x="42" y="6"/>
                  </a:cubicBezTo>
                  <a:cubicBezTo>
                    <a:pt x="39" y="9"/>
                    <a:pt x="37" y="13"/>
                    <a:pt x="37" y="18"/>
                  </a:cubicBezTo>
                  <a:cubicBezTo>
                    <a:pt x="37" y="22"/>
                    <a:pt x="39" y="26"/>
                    <a:pt x="42" y="29"/>
                  </a:cubicBezTo>
                  <a:cubicBezTo>
                    <a:pt x="46" y="33"/>
                    <a:pt x="46" y="40"/>
                    <a:pt x="42" y="44"/>
                  </a:cubicBezTo>
                  <a:cubicBezTo>
                    <a:pt x="38" y="48"/>
                    <a:pt x="31" y="48"/>
                    <a:pt x="27" y="44"/>
                  </a:cubicBezTo>
                  <a:cubicBezTo>
                    <a:pt x="21" y="38"/>
                    <a:pt x="10" y="38"/>
                    <a:pt x="4" y="44"/>
                  </a:cubicBezTo>
                  <a:cubicBezTo>
                    <a:pt x="1" y="47"/>
                    <a:pt x="0" y="51"/>
                    <a:pt x="0" y="55"/>
                  </a:cubicBezTo>
                  <a:cubicBezTo>
                    <a:pt x="0" y="60"/>
                    <a:pt x="1" y="64"/>
                    <a:pt x="4" y="67"/>
                  </a:cubicBezTo>
                  <a:cubicBezTo>
                    <a:pt x="10" y="73"/>
                    <a:pt x="21" y="73"/>
                    <a:pt x="27" y="67"/>
                  </a:cubicBezTo>
                  <a:cubicBezTo>
                    <a:pt x="31" y="63"/>
                    <a:pt x="38" y="63"/>
                    <a:pt x="42" y="67"/>
                  </a:cubicBezTo>
                  <a:cubicBezTo>
                    <a:pt x="201" y="225"/>
                    <a:pt x="201" y="225"/>
                    <a:pt x="201" y="225"/>
                  </a:cubicBezTo>
                  <a:cubicBezTo>
                    <a:pt x="205" y="229"/>
                    <a:pt x="205" y="236"/>
                    <a:pt x="201" y="240"/>
                  </a:cubicBezTo>
                  <a:cubicBezTo>
                    <a:pt x="198" y="243"/>
                    <a:pt x="196" y="247"/>
                    <a:pt x="196" y="252"/>
                  </a:cubicBezTo>
                  <a:cubicBezTo>
                    <a:pt x="196" y="256"/>
                    <a:pt x="198" y="260"/>
                    <a:pt x="201" y="263"/>
                  </a:cubicBezTo>
                  <a:cubicBezTo>
                    <a:pt x="207" y="269"/>
                    <a:pt x="217" y="269"/>
                    <a:pt x="223" y="263"/>
                  </a:cubicBezTo>
                  <a:cubicBezTo>
                    <a:pt x="226" y="260"/>
                    <a:pt x="228" y="256"/>
                    <a:pt x="228" y="252"/>
                  </a:cubicBezTo>
                  <a:cubicBezTo>
                    <a:pt x="228" y="247"/>
                    <a:pt x="226" y="243"/>
                    <a:pt x="223" y="240"/>
                  </a:cubicBezTo>
                  <a:cubicBezTo>
                    <a:pt x="219" y="236"/>
                    <a:pt x="219" y="229"/>
                    <a:pt x="223" y="225"/>
                  </a:cubicBezTo>
                  <a:cubicBezTo>
                    <a:pt x="227" y="221"/>
                    <a:pt x="234" y="221"/>
                    <a:pt x="238" y="225"/>
                  </a:cubicBezTo>
                  <a:cubicBezTo>
                    <a:pt x="244" y="231"/>
                    <a:pt x="255" y="231"/>
                    <a:pt x="261" y="225"/>
                  </a:cubicBezTo>
                  <a:cubicBezTo>
                    <a:pt x="264" y="222"/>
                    <a:pt x="266" y="218"/>
                    <a:pt x="266" y="214"/>
                  </a:cubicBezTo>
                  <a:cubicBezTo>
                    <a:pt x="266" y="210"/>
                    <a:pt x="264" y="206"/>
                    <a:pt x="261" y="203"/>
                  </a:cubicBezTo>
                  <a:cubicBezTo>
                    <a:pt x="255" y="197"/>
                    <a:pt x="244" y="197"/>
                    <a:pt x="238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3" name="Group 574"/>
          <p:cNvGrpSpPr>
            <a:grpSpLocks noChangeAspect="1"/>
          </p:cNvGrpSpPr>
          <p:nvPr/>
        </p:nvGrpSpPr>
        <p:grpSpPr bwMode="auto">
          <a:xfrm>
            <a:off x="6901595" y="2918206"/>
            <a:ext cx="367982" cy="367982"/>
            <a:chOff x="2538" y="2688"/>
            <a:chExt cx="340" cy="340"/>
          </a:xfrm>
          <a:solidFill>
            <a:schemeClr val="accent1"/>
          </a:solidFill>
        </p:grpSpPr>
        <p:sp>
          <p:nvSpPr>
            <p:cNvPr id="354" name="Freeform 353"/>
            <p:cNvSpPr>
              <a:spLocks noEditPoints="1"/>
            </p:cNvSpPr>
            <p:nvPr/>
          </p:nvSpPr>
          <p:spPr bwMode="auto">
            <a:xfrm>
              <a:off x="2538" y="26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354"/>
            <p:cNvSpPr>
              <a:spLocks noEditPoints="1"/>
            </p:cNvSpPr>
            <p:nvPr/>
          </p:nvSpPr>
          <p:spPr bwMode="auto">
            <a:xfrm>
              <a:off x="2605" y="2753"/>
              <a:ext cx="205" cy="207"/>
            </a:xfrm>
            <a:custGeom>
              <a:avLst/>
              <a:gdLst>
                <a:gd name="T0" fmla="*/ 298 w 309"/>
                <a:gd name="T1" fmla="*/ 210 h 312"/>
                <a:gd name="T2" fmla="*/ 254 w 309"/>
                <a:gd name="T3" fmla="*/ 204 h 312"/>
                <a:gd name="T4" fmla="*/ 108 w 309"/>
                <a:gd name="T5" fmla="*/ 59 h 312"/>
                <a:gd name="T6" fmla="*/ 113 w 309"/>
                <a:gd name="T7" fmla="*/ 41 h 312"/>
                <a:gd name="T8" fmla="*/ 102 w 309"/>
                <a:gd name="T9" fmla="*/ 14 h 312"/>
                <a:gd name="T10" fmla="*/ 49 w 309"/>
                <a:gd name="T11" fmla="*/ 14 h 312"/>
                <a:gd name="T12" fmla="*/ 38 w 309"/>
                <a:gd name="T13" fmla="*/ 41 h 312"/>
                <a:gd name="T14" fmla="*/ 38 w 309"/>
                <a:gd name="T15" fmla="*/ 42 h 312"/>
                <a:gd name="T16" fmla="*/ 11 w 309"/>
                <a:gd name="T17" fmla="*/ 52 h 312"/>
                <a:gd name="T18" fmla="*/ 0 w 309"/>
                <a:gd name="T19" fmla="*/ 78 h 312"/>
                <a:gd name="T20" fmla="*/ 11 w 309"/>
                <a:gd name="T21" fmla="*/ 105 h 312"/>
                <a:gd name="T22" fmla="*/ 56 w 309"/>
                <a:gd name="T23" fmla="*/ 111 h 312"/>
                <a:gd name="T24" fmla="*/ 201 w 309"/>
                <a:gd name="T25" fmla="*/ 257 h 312"/>
                <a:gd name="T26" fmla="*/ 197 w 309"/>
                <a:gd name="T27" fmla="*/ 275 h 312"/>
                <a:gd name="T28" fmla="*/ 207 w 309"/>
                <a:gd name="T29" fmla="*/ 301 h 312"/>
                <a:gd name="T30" fmla="*/ 234 w 309"/>
                <a:gd name="T31" fmla="*/ 312 h 312"/>
                <a:gd name="T32" fmla="*/ 260 w 309"/>
                <a:gd name="T33" fmla="*/ 301 h 312"/>
                <a:gd name="T34" fmla="*/ 271 w 309"/>
                <a:gd name="T35" fmla="*/ 275 h 312"/>
                <a:gd name="T36" fmla="*/ 271 w 309"/>
                <a:gd name="T37" fmla="*/ 274 h 312"/>
                <a:gd name="T38" fmla="*/ 272 w 309"/>
                <a:gd name="T39" fmla="*/ 274 h 312"/>
                <a:gd name="T40" fmla="*/ 298 w 309"/>
                <a:gd name="T41" fmla="*/ 263 h 312"/>
                <a:gd name="T42" fmla="*/ 309 w 309"/>
                <a:gd name="T43" fmla="*/ 237 h 312"/>
                <a:gd name="T44" fmla="*/ 298 w 309"/>
                <a:gd name="T45" fmla="*/ 210 h 312"/>
                <a:gd name="T46" fmla="*/ 283 w 309"/>
                <a:gd name="T47" fmla="*/ 248 h 312"/>
                <a:gd name="T48" fmla="*/ 260 w 309"/>
                <a:gd name="T49" fmla="*/ 248 h 312"/>
                <a:gd name="T50" fmla="*/ 245 w 309"/>
                <a:gd name="T51" fmla="*/ 248 h 312"/>
                <a:gd name="T52" fmla="*/ 245 w 309"/>
                <a:gd name="T53" fmla="*/ 263 h 312"/>
                <a:gd name="T54" fmla="*/ 250 w 309"/>
                <a:gd name="T55" fmla="*/ 275 h 312"/>
                <a:gd name="T56" fmla="*/ 245 w 309"/>
                <a:gd name="T57" fmla="*/ 286 h 312"/>
                <a:gd name="T58" fmla="*/ 223 w 309"/>
                <a:gd name="T59" fmla="*/ 286 h 312"/>
                <a:gd name="T60" fmla="*/ 218 w 309"/>
                <a:gd name="T61" fmla="*/ 275 h 312"/>
                <a:gd name="T62" fmla="*/ 223 w 309"/>
                <a:gd name="T63" fmla="*/ 263 h 312"/>
                <a:gd name="T64" fmla="*/ 223 w 309"/>
                <a:gd name="T65" fmla="*/ 248 h 312"/>
                <a:gd name="T66" fmla="*/ 64 w 309"/>
                <a:gd name="T67" fmla="*/ 90 h 312"/>
                <a:gd name="T68" fmla="*/ 49 w 309"/>
                <a:gd name="T69" fmla="*/ 90 h 312"/>
                <a:gd name="T70" fmla="*/ 26 w 309"/>
                <a:gd name="T71" fmla="*/ 90 h 312"/>
                <a:gd name="T72" fmla="*/ 22 w 309"/>
                <a:gd name="T73" fmla="*/ 78 h 312"/>
                <a:gd name="T74" fmla="*/ 26 w 309"/>
                <a:gd name="T75" fmla="*/ 67 h 312"/>
                <a:gd name="T76" fmla="*/ 49 w 309"/>
                <a:gd name="T77" fmla="*/ 67 h 312"/>
                <a:gd name="T78" fmla="*/ 64 w 309"/>
                <a:gd name="T79" fmla="*/ 67 h 312"/>
                <a:gd name="T80" fmla="*/ 64 w 309"/>
                <a:gd name="T81" fmla="*/ 52 h 312"/>
                <a:gd name="T82" fmla="*/ 59 w 309"/>
                <a:gd name="T83" fmla="*/ 41 h 312"/>
                <a:gd name="T84" fmla="*/ 64 w 309"/>
                <a:gd name="T85" fmla="*/ 29 h 312"/>
                <a:gd name="T86" fmla="*/ 87 w 309"/>
                <a:gd name="T87" fmla="*/ 29 h 312"/>
                <a:gd name="T88" fmla="*/ 91 w 309"/>
                <a:gd name="T89" fmla="*/ 41 h 312"/>
                <a:gd name="T90" fmla="*/ 87 w 309"/>
                <a:gd name="T91" fmla="*/ 52 h 312"/>
                <a:gd name="T92" fmla="*/ 87 w 309"/>
                <a:gd name="T93" fmla="*/ 67 h 312"/>
                <a:gd name="T94" fmla="*/ 245 w 309"/>
                <a:gd name="T95" fmla="*/ 226 h 312"/>
                <a:gd name="T96" fmla="*/ 260 w 309"/>
                <a:gd name="T97" fmla="*/ 226 h 312"/>
                <a:gd name="T98" fmla="*/ 283 w 309"/>
                <a:gd name="T99" fmla="*/ 226 h 312"/>
                <a:gd name="T100" fmla="*/ 288 w 309"/>
                <a:gd name="T101" fmla="*/ 237 h 312"/>
                <a:gd name="T102" fmla="*/ 283 w 309"/>
                <a:gd name="T103" fmla="*/ 24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9" h="312">
                  <a:moveTo>
                    <a:pt x="298" y="210"/>
                  </a:moveTo>
                  <a:cubicBezTo>
                    <a:pt x="286" y="199"/>
                    <a:pt x="268" y="196"/>
                    <a:pt x="254" y="204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11" y="53"/>
                    <a:pt x="113" y="47"/>
                    <a:pt x="113" y="41"/>
                  </a:cubicBezTo>
                  <a:cubicBezTo>
                    <a:pt x="113" y="31"/>
                    <a:pt x="109" y="21"/>
                    <a:pt x="102" y="14"/>
                  </a:cubicBezTo>
                  <a:cubicBezTo>
                    <a:pt x="88" y="0"/>
                    <a:pt x="63" y="0"/>
                    <a:pt x="49" y="14"/>
                  </a:cubicBezTo>
                  <a:cubicBezTo>
                    <a:pt x="42" y="21"/>
                    <a:pt x="38" y="31"/>
                    <a:pt x="38" y="41"/>
                  </a:cubicBezTo>
                  <a:cubicBezTo>
                    <a:pt x="38" y="41"/>
                    <a:pt x="38" y="41"/>
                    <a:pt x="38" y="42"/>
                  </a:cubicBezTo>
                  <a:cubicBezTo>
                    <a:pt x="28" y="41"/>
                    <a:pt x="19" y="45"/>
                    <a:pt x="11" y="52"/>
                  </a:cubicBezTo>
                  <a:cubicBezTo>
                    <a:pt x="4" y="59"/>
                    <a:pt x="0" y="68"/>
                    <a:pt x="0" y="78"/>
                  </a:cubicBezTo>
                  <a:cubicBezTo>
                    <a:pt x="0" y="88"/>
                    <a:pt x="4" y="98"/>
                    <a:pt x="11" y="105"/>
                  </a:cubicBezTo>
                  <a:cubicBezTo>
                    <a:pt x="23" y="116"/>
                    <a:pt x="42" y="119"/>
                    <a:pt x="56" y="111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198" y="262"/>
                    <a:pt x="197" y="268"/>
                    <a:pt x="197" y="275"/>
                  </a:cubicBezTo>
                  <a:cubicBezTo>
                    <a:pt x="197" y="285"/>
                    <a:pt x="200" y="294"/>
                    <a:pt x="207" y="301"/>
                  </a:cubicBezTo>
                  <a:cubicBezTo>
                    <a:pt x="215" y="308"/>
                    <a:pt x="224" y="312"/>
                    <a:pt x="234" y="312"/>
                  </a:cubicBezTo>
                  <a:cubicBezTo>
                    <a:pt x="244" y="312"/>
                    <a:pt x="253" y="308"/>
                    <a:pt x="260" y="301"/>
                  </a:cubicBezTo>
                  <a:cubicBezTo>
                    <a:pt x="267" y="294"/>
                    <a:pt x="271" y="285"/>
                    <a:pt x="271" y="275"/>
                  </a:cubicBezTo>
                  <a:cubicBezTo>
                    <a:pt x="271" y="274"/>
                    <a:pt x="271" y="274"/>
                    <a:pt x="271" y="274"/>
                  </a:cubicBezTo>
                  <a:cubicBezTo>
                    <a:pt x="271" y="274"/>
                    <a:pt x="271" y="274"/>
                    <a:pt x="272" y="274"/>
                  </a:cubicBezTo>
                  <a:cubicBezTo>
                    <a:pt x="282" y="274"/>
                    <a:pt x="291" y="270"/>
                    <a:pt x="298" y="263"/>
                  </a:cubicBezTo>
                  <a:cubicBezTo>
                    <a:pt x="305" y="256"/>
                    <a:pt x="309" y="247"/>
                    <a:pt x="309" y="237"/>
                  </a:cubicBezTo>
                  <a:cubicBezTo>
                    <a:pt x="309" y="227"/>
                    <a:pt x="305" y="218"/>
                    <a:pt x="298" y="210"/>
                  </a:cubicBezTo>
                  <a:close/>
                  <a:moveTo>
                    <a:pt x="283" y="248"/>
                  </a:moveTo>
                  <a:cubicBezTo>
                    <a:pt x="277" y="254"/>
                    <a:pt x="266" y="254"/>
                    <a:pt x="260" y="248"/>
                  </a:cubicBezTo>
                  <a:cubicBezTo>
                    <a:pt x="256" y="244"/>
                    <a:pt x="249" y="244"/>
                    <a:pt x="245" y="248"/>
                  </a:cubicBezTo>
                  <a:cubicBezTo>
                    <a:pt x="241" y="252"/>
                    <a:pt x="241" y="259"/>
                    <a:pt x="245" y="263"/>
                  </a:cubicBezTo>
                  <a:cubicBezTo>
                    <a:pt x="248" y="266"/>
                    <a:pt x="250" y="270"/>
                    <a:pt x="250" y="275"/>
                  </a:cubicBezTo>
                  <a:cubicBezTo>
                    <a:pt x="250" y="279"/>
                    <a:pt x="248" y="283"/>
                    <a:pt x="245" y="286"/>
                  </a:cubicBezTo>
                  <a:cubicBezTo>
                    <a:pt x="239" y="292"/>
                    <a:pt x="229" y="292"/>
                    <a:pt x="223" y="286"/>
                  </a:cubicBezTo>
                  <a:cubicBezTo>
                    <a:pt x="220" y="283"/>
                    <a:pt x="218" y="279"/>
                    <a:pt x="218" y="275"/>
                  </a:cubicBezTo>
                  <a:cubicBezTo>
                    <a:pt x="218" y="270"/>
                    <a:pt x="220" y="266"/>
                    <a:pt x="223" y="263"/>
                  </a:cubicBezTo>
                  <a:cubicBezTo>
                    <a:pt x="227" y="259"/>
                    <a:pt x="227" y="252"/>
                    <a:pt x="223" y="248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0" y="86"/>
                    <a:pt x="53" y="86"/>
                    <a:pt x="49" y="90"/>
                  </a:cubicBezTo>
                  <a:cubicBezTo>
                    <a:pt x="43" y="96"/>
                    <a:pt x="32" y="96"/>
                    <a:pt x="26" y="90"/>
                  </a:cubicBezTo>
                  <a:cubicBezTo>
                    <a:pt x="23" y="87"/>
                    <a:pt x="22" y="83"/>
                    <a:pt x="22" y="78"/>
                  </a:cubicBezTo>
                  <a:cubicBezTo>
                    <a:pt x="22" y="74"/>
                    <a:pt x="23" y="70"/>
                    <a:pt x="26" y="67"/>
                  </a:cubicBezTo>
                  <a:cubicBezTo>
                    <a:pt x="32" y="61"/>
                    <a:pt x="43" y="61"/>
                    <a:pt x="49" y="67"/>
                  </a:cubicBezTo>
                  <a:cubicBezTo>
                    <a:pt x="53" y="71"/>
                    <a:pt x="60" y="71"/>
                    <a:pt x="64" y="67"/>
                  </a:cubicBezTo>
                  <a:cubicBezTo>
                    <a:pt x="68" y="63"/>
                    <a:pt x="68" y="56"/>
                    <a:pt x="64" y="52"/>
                  </a:cubicBezTo>
                  <a:cubicBezTo>
                    <a:pt x="61" y="49"/>
                    <a:pt x="59" y="45"/>
                    <a:pt x="59" y="41"/>
                  </a:cubicBezTo>
                  <a:cubicBezTo>
                    <a:pt x="59" y="36"/>
                    <a:pt x="61" y="32"/>
                    <a:pt x="64" y="29"/>
                  </a:cubicBezTo>
                  <a:cubicBezTo>
                    <a:pt x="70" y="23"/>
                    <a:pt x="81" y="23"/>
                    <a:pt x="87" y="29"/>
                  </a:cubicBezTo>
                  <a:cubicBezTo>
                    <a:pt x="90" y="32"/>
                    <a:pt x="91" y="36"/>
                    <a:pt x="91" y="41"/>
                  </a:cubicBezTo>
                  <a:cubicBezTo>
                    <a:pt x="91" y="45"/>
                    <a:pt x="90" y="49"/>
                    <a:pt x="87" y="52"/>
                  </a:cubicBezTo>
                  <a:cubicBezTo>
                    <a:pt x="83" y="56"/>
                    <a:pt x="83" y="63"/>
                    <a:pt x="87" y="67"/>
                  </a:cubicBezTo>
                  <a:cubicBezTo>
                    <a:pt x="245" y="226"/>
                    <a:pt x="245" y="226"/>
                    <a:pt x="245" y="226"/>
                  </a:cubicBezTo>
                  <a:cubicBezTo>
                    <a:pt x="249" y="230"/>
                    <a:pt x="256" y="230"/>
                    <a:pt x="260" y="226"/>
                  </a:cubicBezTo>
                  <a:cubicBezTo>
                    <a:pt x="266" y="220"/>
                    <a:pt x="277" y="220"/>
                    <a:pt x="283" y="226"/>
                  </a:cubicBezTo>
                  <a:cubicBezTo>
                    <a:pt x="286" y="229"/>
                    <a:pt x="288" y="233"/>
                    <a:pt x="288" y="237"/>
                  </a:cubicBezTo>
                  <a:cubicBezTo>
                    <a:pt x="288" y="241"/>
                    <a:pt x="286" y="245"/>
                    <a:pt x="283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6" name="Freeform 547"/>
          <p:cNvSpPr>
            <a:spLocks noChangeAspect="1" noEditPoints="1"/>
          </p:cNvSpPr>
          <p:nvPr/>
        </p:nvSpPr>
        <p:spPr bwMode="auto">
          <a:xfrm>
            <a:off x="7399255" y="2918206"/>
            <a:ext cx="367041" cy="368120"/>
          </a:xfrm>
          <a:custGeom>
            <a:avLst/>
            <a:gdLst>
              <a:gd name="T0" fmla="*/ 282 w 512"/>
              <a:gd name="T1" fmla="*/ 215 h 512"/>
              <a:gd name="T2" fmla="*/ 221 w 512"/>
              <a:gd name="T3" fmla="*/ 275 h 512"/>
              <a:gd name="T4" fmla="*/ 233 w 512"/>
              <a:gd name="T5" fmla="*/ 192 h 512"/>
              <a:gd name="T6" fmla="*/ 278 w 512"/>
              <a:gd name="T7" fmla="*/ 192 h 512"/>
              <a:gd name="T8" fmla="*/ 282 w 512"/>
              <a:gd name="T9" fmla="*/ 215 h 512"/>
              <a:gd name="T10" fmla="*/ 277 w 512"/>
              <a:gd name="T11" fmla="*/ 133 h 512"/>
              <a:gd name="T12" fmla="*/ 256 w 512"/>
              <a:gd name="T13" fmla="*/ 119 h 512"/>
              <a:gd name="T14" fmla="*/ 234 w 512"/>
              <a:gd name="T15" fmla="*/ 133 h 512"/>
              <a:gd name="T16" fmla="*/ 234 w 512"/>
              <a:gd name="T17" fmla="*/ 170 h 512"/>
              <a:gd name="T18" fmla="*/ 277 w 512"/>
              <a:gd name="T19" fmla="*/ 170 h 512"/>
              <a:gd name="T20" fmla="*/ 277 w 512"/>
              <a:gd name="T21" fmla="*/ 133 h 512"/>
              <a:gd name="T22" fmla="*/ 285 w 512"/>
              <a:gd name="T23" fmla="*/ 241 h 512"/>
              <a:gd name="T24" fmla="*/ 216 w 512"/>
              <a:gd name="T25" fmla="*/ 310 h 512"/>
              <a:gd name="T26" fmla="*/ 204 w 512"/>
              <a:gd name="T27" fmla="*/ 394 h 512"/>
              <a:gd name="T28" fmla="*/ 209 w 512"/>
              <a:gd name="T29" fmla="*/ 394 h 512"/>
              <a:gd name="T30" fmla="*/ 295 w 512"/>
              <a:gd name="T31" fmla="*/ 308 h 512"/>
              <a:gd name="T32" fmla="*/ 285 w 512"/>
              <a:gd name="T33" fmla="*/ 241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405 h 512"/>
              <a:gd name="T46" fmla="*/ 362 w 512"/>
              <a:gd name="T47" fmla="*/ 394 h 512"/>
              <a:gd name="T48" fmla="*/ 329 w 512"/>
              <a:gd name="T49" fmla="*/ 394 h 512"/>
              <a:gd name="T50" fmla="*/ 300 w 512"/>
              <a:gd name="T51" fmla="*/ 192 h 512"/>
              <a:gd name="T52" fmla="*/ 330 w 512"/>
              <a:gd name="T53" fmla="*/ 192 h 512"/>
              <a:gd name="T54" fmla="*/ 341 w 512"/>
              <a:gd name="T55" fmla="*/ 181 h 512"/>
              <a:gd name="T56" fmla="*/ 341 w 512"/>
              <a:gd name="T57" fmla="*/ 160 h 512"/>
              <a:gd name="T58" fmla="*/ 330 w 512"/>
              <a:gd name="T59" fmla="*/ 149 h 512"/>
              <a:gd name="T60" fmla="*/ 320 w 512"/>
              <a:gd name="T61" fmla="*/ 160 h 512"/>
              <a:gd name="T62" fmla="*/ 320 w 512"/>
              <a:gd name="T63" fmla="*/ 170 h 512"/>
              <a:gd name="T64" fmla="*/ 298 w 512"/>
              <a:gd name="T65" fmla="*/ 170 h 512"/>
              <a:gd name="T66" fmla="*/ 298 w 512"/>
              <a:gd name="T67" fmla="*/ 128 h 512"/>
              <a:gd name="T68" fmla="*/ 294 w 512"/>
              <a:gd name="T69" fmla="*/ 119 h 512"/>
              <a:gd name="T70" fmla="*/ 262 w 512"/>
              <a:gd name="T71" fmla="*/ 97 h 512"/>
              <a:gd name="T72" fmla="*/ 250 w 512"/>
              <a:gd name="T73" fmla="*/ 97 h 512"/>
              <a:gd name="T74" fmla="*/ 218 w 512"/>
              <a:gd name="T75" fmla="*/ 119 h 512"/>
              <a:gd name="T76" fmla="*/ 213 w 512"/>
              <a:gd name="T77" fmla="*/ 128 h 512"/>
              <a:gd name="T78" fmla="*/ 213 w 512"/>
              <a:gd name="T79" fmla="*/ 170 h 512"/>
              <a:gd name="T80" fmla="*/ 192 w 512"/>
              <a:gd name="T81" fmla="*/ 170 h 512"/>
              <a:gd name="T82" fmla="*/ 192 w 512"/>
              <a:gd name="T83" fmla="*/ 160 h 512"/>
              <a:gd name="T84" fmla="*/ 181 w 512"/>
              <a:gd name="T85" fmla="*/ 149 h 512"/>
              <a:gd name="T86" fmla="*/ 170 w 512"/>
              <a:gd name="T87" fmla="*/ 160 h 512"/>
              <a:gd name="T88" fmla="*/ 170 w 512"/>
              <a:gd name="T89" fmla="*/ 181 h 512"/>
              <a:gd name="T90" fmla="*/ 181 w 512"/>
              <a:gd name="T91" fmla="*/ 192 h 512"/>
              <a:gd name="T92" fmla="*/ 211 w 512"/>
              <a:gd name="T93" fmla="*/ 192 h 512"/>
              <a:gd name="T94" fmla="*/ 182 w 512"/>
              <a:gd name="T95" fmla="*/ 394 h 512"/>
              <a:gd name="T96" fmla="*/ 149 w 512"/>
              <a:gd name="T97" fmla="*/ 394 h 512"/>
              <a:gd name="T98" fmla="*/ 138 w 512"/>
              <a:gd name="T99" fmla="*/ 405 h 512"/>
              <a:gd name="T100" fmla="*/ 149 w 512"/>
              <a:gd name="T101" fmla="*/ 416 h 512"/>
              <a:gd name="T102" fmla="*/ 362 w 512"/>
              <a:gd name="T103" fmla="*/ 416 h 512"/>
              <a:gd name="T104" fmla="*/ 373 w 512"/>
              <a:gd name="T105" fmla="*/ 405 h 512"/>
              <a:gd name="T106" fmla="*/ 239 w 512"/>
              <a:gd name="T107" fmla="*/ 394 h 512"/>
              <a:gd name="T108" fmla="*/ 307 w 512"/>
              <a:gd name="T109" fmla="*/ 394 h 512"/>
              <a:gd name="T110" fmla="*/ 299 w 512"/>
              <a:gd name="T111" fmla="*/ 334 h 512"/>
              <a:gd name="T112" fmla="*/ 239 w 512"/>
              <a:gd name="T11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82" y="215"/>
                </a:moveTo>
                <a:cubicBezTo>
                  <a:pt x="221" y="275"/>
                  <a:pt x="221" y="275"/>
                  <a:pt x="221" y="275"/>
                </a:cubicBezTo>
                <a:cubicBezTo>
                  <a:pt x="233" y="192"/>
                  <a:pt x="233" y="192"/>
                  <a:pt x="233" y="192"/>
                </a:cubicBezTo>
                <a:cubicBezTo>
                  <a:pt x="278" y="192"/>
                  <a:pt x="278" y="192"/>
                  <a:pt x="278" y="192"/>
                </a:cubicBezTo>
                <a:lnTo>
                  <a:pt x="282" y="215"/>
                </a:lnTo>
                <a:close/>
                <a:moveTo>
                  <a:pt x="277" y="133"/>
                </a:moveTo>
                <a:cubicBezTo>
                  <a:pt x="256" y="119"/>
                  <a:pt x="256" y="119"/>
                  <a:pt x="256" y="119"/>
                </a:cubicBezTo>
                <a:cubicBezTo>
                  <a:pt x="234" y="133"/>
                  <a:pt x="234" y="133"/>
                  <a:pt x="234" y="133"/>
                </a:cubicBezTo>
                <a:cubicBezTo>
                  <a:pt x="234" y="170"/>
                  <a:pt x="234" y="170"/>
                  <a:pt x="234" y="170"/>
                </a:cubicBezTo>
                <a:cubicBezTo>
                  <a:pt x="277" y="170"/>
                  <a:pt x="277" y="170"/>
                  <a:pt x="277" y="170"/>
                </a:cubicBezTo>
                <a:lnTo>
                  <a:pt x="277" y="133"/>
                </a:lnTo>
                <a:close/>
                <a:moveTo>
                  <a:pt x="285" y="241"/>
                </a:moveTo>
                <a:cubicBezTo>
                  <a:pt x="216" y="310"/>
                  <a:pt x="216" y="310"/>
                  <a:pt x="216" y="310"/>
                </a:cubicBezTo>
                <a:cubicBezTo>
                  <a:pt x="204" y="394"/>
                  <a:pt x="204" y="394"/>
                  <a:pt x="204" y="394"/>
                </a:cubicBezTo>
                <a:cubicBezTo>
                  <a:pt x="209" y="394"/>
                  <a:pt x="209" y="394"/>
                  <a:pt x="209" y="394"/>
                </a:cubicBezTo>
                <a:cubicBezTo>
                  <a:pt x="295" y="308"/>
                  <a:pt x="295" y="308"/>
                  <a:pt x="295" y="308"/>
                </a:cubicBezTo>
                <a:lnTo>
                  <a:pt x="285" y="2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405"/>
                </a:moveTo>
                <a:cubicBezTo>
                  <a:pt x="373" y="399"/>
                  <a:pt x="368" y="394"/>
                  <a:pt x="362" y="394"/>
                </a:cubicBezTo>
                <a:cubicBezTo>
                  <a:pt x="329" y="394"/>
                  <a:pt x="329" y="394"/>
                  <a:pt x="329" y="394"/>
                </a:cubicBezTo>
                <a:cubicBezTo>
                  <a:pt x="300" y="192"/>
                  <a:pt x="300" y="192"/>
                  <a:pt x="300" y="192"/>
                </a:cubicBezTo>
                <a:cubicBezTo>
                  <a:pt x="330" y="192"/>
                  <a:pt x="330" y="192"/>
                  <a:pt x="330" y="192"/>
                </a:cubicBezTo>
                <a:cubicBezTo>
                  <a:pt x="336" y="192"/>
                  <a:pt x="341" y="187"/>
                  <a:pt x="341" y="181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1" y="154"/>
                  <a:pt x="336" y="149"/>
                  <a:pt x="330" y="149"/>
                </a:cubicBezTo>
                <a:cubicBezTo>
                  <a:pt x="324" y="149"/>
                  <a:pt x="320" y="154"/>
                  <a:pt x="320" y="160"/>
                </a:cubicBezTo>
                <a:cubicBezTo>
                  <a:pt x="320" y="170"/>
                  <a:pt x="320" y="170"/>
                  <a:pt x="320" y="170"/>
                </a:cubicBezTo>
                <a:cubicBezTo>
                  <a:pt x="298" y="170"/>
                  <a:pt x="298" y="170"/>
                  <a:pt x="298" y="170"/>
                </a:cubicBezTo>
                <a:cubicBezTo>
                  <a:pt x="298" y="128"/>
                  <a:pt x="298" y="128"/>
                  <a:pt x="298" y="128"/>
                </a:cubicBezTo>
                <a:cubicBezTo>
                  <a:pt x="298" y="124"/>
                  <a:pt x="297" y="121"/>
                  <a:pt x="294" y="119"/>
                </a:cubicBezTo>
                <a:cubicBezTo>
                  <a:pt x="262" y="97"/>
                  <a:pt x="262" y="97"/>
                  <a:pt x="262" y="97"/>
                </a:cubicBezTo>
                <a:cubicBezTo>
                  <a:pt x="258" y="95"/>
                  <a:pt x="253" y="95"/>
                  <a:pt x="250" y="97"/>
                </a:cubicBezTo>
                <a:cubicBezTo>
                  <a:pt x="218" y="119"/>
                  <a:pt x="218" y="119"/>
                  <a:pt x="218" y="119"/>
                </a:cubicBezTo>
                <a:cubicBezTo>
                  <a:pt x="215" y="121"/>
                  <a:pt x="213" y="124"/>
                  <a:pt x="213" y="128"/>
                </a:cubicBezTo>
                <a:cubicBezTo>
                  <a:pt x="213" y="170"/>
                  <a:pt x="213" y="170"/>
                  <a:pt x="213" y="170"/>
                </a:cubicBezTo>
                <a:cubicBezTo>
                  <a:pt x="192" y="170"/>
                  <a:pt x="192" y="170"/>
                  <a:pt x="192" y="170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192" y="154"/>
                  <a:pt x="187" y="149"/>
                  <a:pt x="181" y="149"/>
                </a:cubicBezTo>
                <a:cubicBezTo>
                  <a:pt x="175" y="149"/>
                  <a:pt x="170" y="154"/>
                  <a:pt x="170" y="160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70" y="187"/>
                  <a:pt x="175" y="192"/>
                  <a:pt x="181" y="192"/>
                </a:cubicBezTo>
                <a:cubicBezTo>
                  <a:pt x="211" y="192"/>
                  <a:pt x="211" y="192"/>
                  <a:pt x="211" y="192"/>
                </a:cubicBezTo>
                <a:cubicBezTo>
                  <a:pt x="182" y="394"/>
                  <a:pt x="182" y="394"/>
                  <a:pt x="18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3" y="394"/>
                  <a:pt x="138" y="399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lose/>
                <a:moveTo>
                  <a:pt x="239" y="394"/>
                </a:moveTo>
                <a:cubicBezTo>
                  <a:pt x="307" y="394"/>
                  <a:pt x="307" y="394"/>
                  <a:pt x="307" y="394"/>
                </a:cubicBezTo>
                <a:cubicBezTo>
                  <a:pt x="299" y="334"/>
                  <a:pt x="299" y="334"/>
                  <a:pt x="299" y="334"/>
                </a:cubicBezTo>
                <a:lnTo>
                  <a:pt x="239" y="39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7" name="Group 550"/>
          <p:cNvGrpSpPr>
            <a:grpSpLocks noChangeAspect="1"/>
          </p:cNvGrpSpPr>
          <p:nvPr/>
        </p:nvGrpSpPr>
        <p:grpSpPr bwMode="auto">
          <a:xfrm>
            <a:off x="7895974" y="2918210"/>
            <a:ext cx="367041" cy="367041"/>
            <a:chOff x="5990" y="2438"/>
            <a:chExt cx="340" cy="340"/>
          </a:xfrm>
          <a:solidFill>
            <a:schemeClr val="accent6"/>
          </a:solidFill>
        </p:grpSpPr>
        <p:sp>
          <p:nvSpPr>
            <p:cNvPr id="358" name="Freeform 551"/>
            <p:cNvSpPr>
              <a:spLocks noEditPoints="1"/>
            </p:cNvSpPr>
            <p:nvPr/>
          </p:nvSpPr>
          <p:spPr bwMode="auto">
            <a:xfrm>
              <a:off x="5990" y="243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Freeform 552"/>
            <p:cNvSpPr>
              <a:spLocks noEditPoints="1"/>
            </p:cNvSpPr>
            <p:nvPr/>
          </p:nvSpPr>
          <p:spPr bwMode="auto">
            <a:xfrm>
              <a:off x="6082" y="2501"/>
              <a:ext cx="156" cy="213"/>
            </a:xfrm>
            <a:custGeom>
              <a:avLst/>
              <a:gdLst>
                <a:gd name="T0" fmla="*/ 224 w 235"/>
                <a:gd name="T1" fmla="*/ 299 h 321"/>
                <a:gd name="T2" fmla="*/ 191 w 235"/>
                <a:gd name="T3" fmla="*/ 299 h 321"/>
                <a:gd name="T4" fmla="*/ 162 w 235"/>
                <a:gd name="T5" fmla="*/ 97 h 321"/>
                <a:gd name="T6" fmla="*/ 192 w 235"/>
                <a:gd name="T7" fmla="*/ 97 h 321"/>
                <a:gd name="T8" fmla="*/ 203 w 235"/>
                <a:gd name="T9" fmla="*/ 86 h 321"/>
                <a:gd name="T10" fmla="*/ 203 w 235"/>
                <a:gd name="T11" fmla="*/ 65 h 321"/>
                <a:gd name="T12" fmla="*/ 192 w 235"/>
                <a:gd name="T13" fmla="*/ 54 h 321"/>
                <a:gd name="T14" fmla="*/ 182 w 235"/>
                <a:gd name="T15" fmla="*/ 65 h 321"/>
                <a:gd name="T16" fmla="*/ 182 w 235"/>
                <a:gd name="T17" fmla="*/ 75 h 321"/>
                <a:gd name="T18" fmla="*/ 160 w 235"/>
                <a:gd name="T19" fmla="*/ 75 h 321"/>
                <a:gd name="T20" fmla="*/ 160 w 235"/>
                <a:gd name="T21" fmla="*/ 33 h 321"/>
                <a:gd name="T22" fmla="*/ 156 w 235"/>
                <a:gd name="T23" fmla="*/ 24 h 321"/>
                <a:gd name="T24" fmla="*/ 124 w 235"/>
                <a:gd name="T25" fmla="*/ 2 h 321"/>
                <a:gd name="T26" fmla="*/ 112 w 235"/>
                <a:gd name="T27" fmla="*/ 2 h 321"/>
                <a:gd name="T28" fmla="*/ 80 w 235"/>
                <a:gd name="T29" fmla="*/ 24 h 321"/>
                <a:gd name="T30" fmla="*/ 75 w 235"/>
                <a:gd name="T31" fmla="*/ 33 h 321"/>
                <a:gd name="T32" fmla="*/ 75 w 235"/>
                <a:gd name="T33" fmla="*/ 75 h 321"/>
                <a:gd name="T34" fmla="*/ 54 w 235"/>
                <a:gd name="T35" fmla="*/ 75 h 321"/>
                <a:gd name="T36" fmla="*/ 54 w 235"/>
                <a:gd name="T37" fmla="*/ 65 h 321"/>
                <a:gd name="T38" fmla="*/ 43 w 235"/>
                <a:gd name="T39" fmla="*/ 54 h 321"/>
                <a:gd name="T40" fmla="*/ 32 w 235"/>
                <a:gd name="T41" fmla="*/ 65 h 321"/>
                <a:gd name="T42" fmla="*/ 32 w 235"/>
                <a:gd name="T43" fmla="*/ 86 h 321"/>
                <a:gd name="T44" fmla="*/ 43 w 235"/>
                <a:gd name="T45" fmla="*/ 97 h 321"/>
                <a:gd name="T46" fmla="*/ 73 w 235"/>
                <a:gd name="T47" fmla="*/ 97 h 321"/>
                <a:gd name="T48" fmla="*/ 44 w 235"/>
                <a:gd name="T49" fmla="*/ 299 h 321"/>
                <a:gd name="T50" fmla="*/ 11 w 235"/>
                <a:gd name="T51" fmla="*/ 299 h 321"/>
                <a:gd name="T52" fmla="*/ 0 w 235"/>
                <a:gd name="T53" fmla="*/ 310 h 321"/>
                <a:gd name="T54" fmla="*/ 11 w 235"/>
                <a:gd name="T55" fmla="*/ 321 h 321"/>
                <a:gd name="T56" fmla="*/ 224 w 235"/>
                <a:gd name="T57" fmla="*/ 321 h 321"/>
                <a:gd name="T58" fmla="*/ 235 w 235"/>
                <a:gd name="T59" fmla="*/ 310 h 321"/>
                <a:gd name="T60" fmla="*/ 224 w 235"/>
                <a:gd name="T61" fmla="*/ 299 h 321"/>
                <a:gd name="T62" fmla="*/ 140 w 235"/>
                <a:gd name="T63" fmla="*/ 97 h 321"/>
                <a:gd name="T64" fmla="*/ 144 w 235"/>
                <a:gd name="T65" fmla="*/ 120 h 321"/>
                <a:gd name="T66" fmla="*/ 83 w 235"/>
                <a:gd name="T67" fmla="*/ 180 h 321"/>
                <a:gd name="T68" fmla="*/ 95 w 235"/>
                <a:gd name="T69" fmla="*/ 97 h 321"/>
                <a:gd name="T70" fmla="*/ 140 w 235"/>
                <a:gd name="T71" fmla="*/ 97 h 321"/>
                <a:gd name="T72" fmla="*/ 169 w 235"/>
                <a:gd name="T73" fmla="*/ 299 h 321"/>
                <a:gd name="T74" fmla="*/ 101 w 235"/>
                <a:gd name="T75" fmla="*/ 299 h 321"/>
                <a:gd name="T76" fmla="*/ 161 w 235"/>
                <a:gd name="T77" fmla="*/ 239 h 321"/>
                <a:gd name="T78" fmla="*/ 169 w 235"/>
                <a:gd name="T79" fmla="*/ 299 h 321"/>
                <a:gd name="T80" fmla="*/ 96 w 235"/>
                <a:gd name="T81" fmla="*/ 38 h 321"/>
                <a:gd name="T82" fmla="*/ 118 w 235"/>
                <a:gd name="T83" fmla="*/ 24 h 321"/>
                <a:gd name="T84" fmla="*/ 139 w 235"/>
                <a:gd name="T85" fmla="*/ 38 h 321"/>
                <a:gd name="T86" fmla="*/ 139 w 235"/>
                <a:gd name="T87" fmla="*/ 75 h 321"/>
                <a:gd name="T88" fmla="*/ 96 w 235"/>
                <a:gd name="T89" fmla="*/ 75 h 321"/>
                <a:gd name="T90" fmla="*/ 96 w 235"/>
                <a:gd name="T91" fmla="*/ 38 h 321"/>
                <a:gd name="T92" fmla="*/ 78 w 235"/>
                <a:gd name="T93" fmla="*/ 215 h 321"/>
                <a:gd name="T94" fmla="*/ 147 w 235"/>
                <a:gd name="T95" fmla="*/ 146 h 321"/>
                <a:gd name="T96" fmla="*/ 157 w 235"/>
                <a:gd name="T97" fmla="*/ 213 h 321"/>
                <a:gd name="T98" fmla="*/ 71 w 235"/>
                <a:gd name="T99" fmla="*/ 299 h 321"/>
                <a:gd name="T100" fmla="*/ 66 w 235"/>
                <a:gd name="T101" fmla="*/ 299 h 321"/>
                <a:gd name="T102" fmla="*/ 78 w 235"/>
                <a:gd name="T103" fmla="*/ 21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321">
                  <a:moveTo>
                    <a:pt x="224" y="299"/>
                  </a:moveTo>
                  <a:cubicBezTo>
                    <a:pt x="191" y="299"/>
                    <a:pt x="191" y="299"/>
                    <a:pt x="191" y="299"/>
                  </a:cubicBezTo>
                  <a:cubicBezTo>
                    <a:pt x="162" y="97"/>
                    <a:pt x="162" y="97"/>
                    <a:pt x="162" y="97"/>
                  </a:cubicBezTo>
                  <a:cubicBezTo>
                    <a:pt x="192" y="97"/>
                    <a:pt x="192" y="97"/>
                    <a:pt x="192" y="97"/>
                  </a:cubicBezTo>
                  <a:cubicBezTo>
                    <a:pt x="198" y="97"/>
                    <a:pt x="203" y="92"/>
                    <a:pt x="203" y="86"/>
                  </a:cubicBezTo>
                  <a:cubicBezTo>
                    <a:pt x="203" y="65"/>
                    <a:pt x="203" y="65"/>
                    <a:pt x="203" y="65"/>
                  </a:cubicBezTo>
                  <a:cubicBezTo>
                    <a:pt x="203" y="59"/>
                    <a:pt x="198" y="54"/>
                    <a:pt x="192" y="54"/>
                  </a:cubicBezTo>
                  <a:cubicBezTo>
                    <a:pt x="186" y="54"/>
                    <a:pt x="182" y="59"/>
                    <a:pt x="182" y="65"/>
                  </a:cubicBezTo>
                  <a:cubicBezTo>
                    <a:pt x="182" y="75"/>
                    <a:pt x="182" y="75"/>
                    <a:pt x="182" y="75"/>
                  </a:cubicBezTo>
                  <a:cubicBezTo>
                    <a:pt x="160" y="75"/>
                    <a:pt x="160" y="75"/>
                    <a:pt x="160" y="7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60" y="29"/>
                    <a:pt x="159" y="26"/>
                    <a:pt x="156" y="24"/>
                  </a:cubicBezTo>
                  <a:cubicBezTo>
                    <a:pt x="124" y="2"/>
                    <a:pt x="124" y="2"/>
                    <a:pt x="124" y="2"/>
                  </a:cubicBezTo>
                  <a:cubicBezTo>
                    <a:pt x="120" y="0"/>
                    <a:pt x="115" y="0"/>
                    <a:pt x="112" y="2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77" y="26"/>
                    <a:pt x="75" y="29"/>
                    <a:pt x="75" y="33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4" y="59"/>
                    <a:pt x="49" y="54"/>
                    <a:pt x="43" y="54"/>
                  </a:cubicBezTo>
                  <a:cubicBezTo>
                    <a:pt x="37" y="54"/>
                    <a:pt x="32" y="59"/>
                    <a:pt x="32" y="65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92"/>
                    <a:pt x="37" y="97"/>
                    <a:pt x="43" y="97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44" y="299"/>
                    <a:pt x="44" y="299"/>
                    <a:pt x="44" y="299"/>
                  </a:cubicBezTo>
                  <a:cubicBezTo>
                    <a:pt x="11" y="299"/>
                    <a:pt x="11" y="299"/>
                    <a:pt x="11" y="299"/>
                  </a:cubicBezTo>
                  <a:cubicBezTo>
                    <a:pt x="5" y="299"/>
                    <a:pt x="0" y="304"/>
                    <a:pt x="0" y="310"/>
                  </a:cubicBezTo>
                  <a:cubicBezTo>
                    <a:pt x="0" y="316"/>
                    <a:pt x="5" y="321"/>
                    <a:pt x="11" y="321"/>
                  </a:cubicBezTo>
                  <a:cubicBezTo>
                    <a:pt x="224" y="321"/>
                    <a:pt x="224" y="321"/>
                    <a:pt x="224" y="321"/>
                  </a:cubicBezTo>
                  <a:cubicBezTo>
                    <a:pt x="230" y="321"/>
                    <a:pt x="235" y="316"/>
                    <a:pt x="235" y="310"/>
                  </a:cubicBezTo>
                  <a:cubicBezTo>
                    <a:pt x="235" y="304"/>
                    <a:pt x="230" y="299"/>
                    <a:pt x="224" y="299"/>
                  </a:cubicBezTo>
                  <a:close/>
                  <a:moveTo>
                    <a:pt x="140" y="97"/>
                  </a:moveTo>
                  <a:cubicBezTo>
                    <a:pt x="144" y="120"/>
                    <a:pt x="144" y="120"/>
                    <a:pt x="144" y="120"/>
                  </a:cubicBezTo>
                  <a:cubicBezTo>
                    <a:pt x="83" y="180"/>
                    <a:pt x="83" y="180"/>
                    <a:pt x="83" y="180"/>
                  </a:cubicBezTo>
                  <a:cubicBezTo>
                    <a:pt x="95" y="97"/>
                    <a:pt x="95" y="97"/>
                    <a:pt x="95" y="97"/>
                  </a:cubicBezTo>
                  <a:lnTo>
                    <a:pt x="140" y="97"/>
                  </a:lnTo>
                  <a:close/>
                  <a:moveTo>
                    <a:pt x="169" y="299"/>
                  </a:moveTo>
                  <a:cubicBezTo>
                    <a:pt x="101" y="299"/>
                    <a:pt x="101" y="299"/>
                    <a:pt x="101" y="299"/>
                  </a:cubicBezTo>
                  <a:cubicBezTo>
                    <a:pt x="161" y="239"/>
                    <a:pt x="161" y="239"/>
                    <a:pt x="161" y="239"/>
                  </a:cubicBezTo>
                  <a:lnTo>
                    <a:pt x="169" y="299"/>
                  </a:lnTo>
                  <a:close/>
                  <a:moveTo>
                    <a:pt x="96" y="38"/>
                  </a:moveTo>
                  <a:cubicBezTo>
                    <a:pt x="118" y="24"/>
                    <a:pt x="118" y="24"/>
                    <a:pt x="118" y="24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96" y="75"/>
                    <a:pt x="96" y="75"/>
                    <a:pt x="96" y="75"/>
                  </a:cubicBezTo>
                  <a:lnTo>
                    <a:pt x="96" y="38"/>
                  </a:lnTo>
                  <a:close/>
                  <a:moveTo>
                    <a:pt x="78" y="215"/>
                  </a:moveTo>
                  <a:cubicBezTo>
                    <a:pt x="147" y="146"/>
                    <a:pt x="147" y="146"/>
                    <a:pt x="147" y="146"/>
                  </a:cubicBezTo>
                  <a:cubicBezTo>
                    <a:pt x="157" y="213"/>
                    <a:pt x="157" y="213"/>
                    <a:pt x="157" y="213"/>
                  </a:cubicBezTo>
                  <a:cubicBezTo>
                    <a:pt x="71" y="299"/>
                    <a:pt x="71" y="299"/>
                    <a:pt x="71" y="299"/>
                  </a:cubicBezTo>
                  <a:cubicBezTo>
                    <a:pt x="66" y="299"/>
                    <a:pt x="66" y="299"/>
                    <a:pt x="66" y="299"/>
                  </a:cubicBezTo>
                  <a:lnTo>
                    <a:pt x="78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0" name="Freeform 556"/>
          <p:cNvSpPr>
            <a:spLocks noChangeAspect="1" noEditPoints="1"/>
          </p:cNvSpPr>
          <p:nvPr/>
        </p:nvSpPr>
        <p:spPr bwMode="auto">
          <a:xfrm>
            <a:off x="448982" y="3748214"/>
            <a:ext cx="367041" cy="368120"/>
          </a:xfrm>
          <a:custGeom>
            <a:avLst/>
            <a:gdLst>
              <a:gd name="T0" fmla="*/ 298 w 512"/>
              <a:gd name="T1" fmla="*/ 213 h 512"/>
              <a:gd name="T2" fmla="*/ 349 w 512"/>
              <a:gd name="T3" fmla="*/ 213 h 512"/>
              <a:gd name="T4" fmla="*/ 215 w 512"/>
              <a:gd name="T5" fmla="*/ 363 h 512"/>
              <a:gd name="T6" fmla="*/ 245 w 512"/>
              <a:gd name="T7" fmla="*/ 259 h 512"/>
              <a:gd name="T8" fmla="*/ 243 w 512"/>
              <a:gd name="T9" fmla="*/ 249 h 512"/>
              <a:gd name="T10" fmla="*/ 234 w 512"/>
              <a:gd name="T11" fmla="*/ 245 h 512"/>
              <a:gd name="T12" fmla="*/ 187 w 512"/>
              <a:gd name="T13" fmla="*/ 245 h 512"/>
              <a:gd name="T14" fmla="*/ 241 w 512"/>
              <a:gd name="T15" fmla="*/ 117 h 512"/>
              <a:gd name="T16" fmla="*/ 325 w 512"/>
              <a:gd name="T17" fmla="*/ 117 h 512"/>
              <a:gd name="T18" fmla="*/ 289 w 512"/>
              <a:gd name="T19" fmla="*/ 198 h 512"/>
              <a:gd name="T20" fmla="*/ 289 w 512"/>
              <a:gd name="T21" fmla="*/ 208 h 512"/>
              <a:gd name="T22" fmla="*/ 298 w 512"/>
              <a:gd name="T23" fmla="*/ 213 h 512"/>
              <a:gd name="T24" fmla="*/ 512 w 512"/>
              <a:gd name="T25" fmla="*/ 256 h 512"/>
              <a:gd name="T26" fmla="*/ 256 w 512"/>
              <a:gd name="T27" fmla="*/ 512 h 512"/>
              <a:gd name="T28" fmla="*/ 0 w 512"/>
              <a:gd name="T29" fmla="*/ 256 h 512"/>
              <a:gd name="T30" fmla="*/ 256 w 512"/>
              <a:gd name="T31" fmla="*/ 0 h 512"/>
              <a:gd name="T32" fmla="*/ 512 w 512"/>
              <a:gd name="T33" fmla="*/ 256 h 512"/>
              <a:gd name="T34" fmla="*/ 383 w 512"/>
              <a:gd name="T35" fmla="*/ 198 h 512"/>
              <a:gd name="T36" fmla="*/ 373 w 512"/>
              <a:gd name="T37" fmla="*/ 192 h 512"/>
              <a:gd name="T38" fmla="*/ 315 w 512"/>
              <a:gd name="T39" fmla="*/ 192 h 512"/>
              <a:gd name="T40" fmla="*/ 351 w 512"/>
              <a:gd name="T41" fmla="*/ 111 h 512"/>
              <a:gd name="T42" fmla="*/ 350 w 512"/>
              <a:gd name="T43" fmla="*/ 101 h 512"/>
              <a:gd name="T44" fmla="*/ 341 w 512"/>
              <a:gd name="T45" fmla="*/ 96 h 512"/>
              <a:gd name="T46" fmla="*/ 234 w 512"/>
              <a:gd name="T47" fmla="*/ 96 h 512"/>
              <a:gd name="T48" fmla="*/ 225 w 512"/>
              <a:gd name="T49" fmla="*/ 102 h 512"/>
              <a:gd name="T50" fmla="*/ 161 w 512"/>
              <a:gd name="T51" fmla="*/ 251 h 512"/>
              <a:gd name="T52" fmla="*/ 161 w 512"/>
              <a:gd name="T53" fmla="*/ 262 h 512"/>
              <a:gd name="T54" fmla="*/ 170 w 512"/>
              <a:gd name="T55" fmla="*/ 266 h 512"/>
              <a:gd name="T56" fmla="*/ 220 w 512"/>
              <a:gd name="T57" fmla="*/ 266 h 512"/>
              <a:gd name="T58" fmla="*/ 181 w 512"/>
              <a:gd name="T59" fmla="*/ 402 h 512"/>
              <a:gd name="T60" fmla="*/ 187 w 512"/>
              <a:gd name="T61" fmla="*/ 414 h 512"/>
              <a:gd name="T62" fmla="*/ 192 w 512"/>
              <a:gd name="T63" fmla="*/ 416 h 512"/>
              <a:gd name="T64" fmla="*/ 200 w 512"/>
              <a:gd name="T65" fmla="*/ 412 h 512"/>
              <a:gd name="T66" fmla="*/ 381 w 512"/>
              <a:gd name="T67" fmla="*/ 209 h 512"/>
              <a:gd name="T68" fmla="*/ 383 w 512"/>
              <a:gd name="T69" fmla="*/ 1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98" y="213"/>
                </a:moveTo>
                <a:cubicBezTo>
                  <a:pt x="349" y="213"/>
                  <a:pt x="349" y="213"/>
                  <a:pt x="349" y="213"/>
                </a:cubicBezTo>
                <a:cubicBezTo>
                  <a:pt x="215" y="363"/>
                  <a:pt x="215" y="363"/>
                  <a:pt x="215" y="363"/>
                </a:cubicBezTo>
                <a:cubicBezTo>
                  <a:pt x="245" y="259"/>
                  <a:pt x="245" y="259"/>
                  <a:pt x="245" y="259"/>
                </a:cubicBezTo>
                <a:cubicBezTo>
                  <a:pt x="246" y="255"/>
                  <a:pt x="245" y="252"/>
                  <a:pt x="243" y="249"/>
                </a:cubicBezTo>
                <a:cubicBezTo>
                  <a:pt x="241" y="247"/>
                  <a:pt x="238" y="245"/>
                  <a:pt x="234" y="245"/>
                </a:cubicBezTo>
                <a:cubicBezTo>
                  <a:pt x="187" y="245"/>
                  <a:pt x="187" y="245"/>
                  <a:pt x="187" y="245"/>
                </a:cubicBezTo>
                <a:cubicBezTo>
                  <a:pt x="241" y="117"/>
                  <a:pt x="241" y="117"/>
                  <a:pt x="241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289" y="198"/>
                  <a:pt x="289" y="198"/>
                  <a:pt x="289" y="198"/>
                </a:cubicBezTo>
                <a:cubicBezTo>
                  <a:pt x="287" y="201"/>
                  <a:pt x="287" y="205"/>
                  <a:pt x="289" y="208"/>
                </a:cubicBezTo>
                <a:cubicBezTo>
                  <a:pt x="291" y="211"/>
                  <a:pt x="295" y="213"/>
                  <a:pt x="298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3" y="198"/>
                </a:moveTo>
                <a:cubicBezTo>
                  <a:pt x="381" y="194"/>
                  <a:pt x="377" y="192"/>
                  <a:pt x="373" y="192"/>
                </a:cubicBezTo>
                <a:cubicBezTo>
                  <a:pt x="315" y="192"/>
                  <a:pt x="315" y="192"/>
                  <a:pt x="315" y="192"/>
                </a:cubicBezTo>
                <a:cubicBezTo>
                  <a:pt x="351" y="111"/>
                  <a:pt x="351" y="111"/>
                  <a:pt x="351" y="111"/>
                </a:cubicBezTo>
                <a:cubicBezTo>
                  <a:pt x="352" y="107"/>
                  <a:pt x="352" y="104"/>
                  <a:pt x="350" y="101"/>
                </a:cubicBezTo>
                <a:cubicBezTo>
                  <a:pt x="348" y="97"/>
                  <a:pt x="345" y="96"/>
                  <a:pt x="341" y="96"/>
                </a:cubicBezTo>
                <a:cubicBezTo>
                  <a:pt x="234" y="96"/>
                  <a:pt x="234" y="96"/>
                  <a:pt x="234" y="96"/>
                </a:cubicBezTo>
                <a:cubicBezTo>
                  <a:pt x="230" y="96"/>
                  <a:pt x="226" y="98"/>
                  <a:pt x="225" y="102"/>
                </a:cubicBezTo>
                <a:cubicBezTo>
                  <a:pt x="161" y="251"/>
                  <a:pt x="161" y="251"/>
                  <a:pt x="161" y="251"/>
                </a:cubicBezTo>
                <a:cubicBezTo>
                  <a:pt x="159" y="255"/>
                  <a:pt x="159" y="259"/>
                  <a:pt x="161" y="262"/>
                </a:cubicBezTo>
                <a:cubicBezTo>
                  <a:pt x="163" y="265"/>
                  <a:pt x="167" y="266"/>
                  <a:pt x="170" y="266"/>
                </a:cubicBezTo>
                <a:cubicBezTo>
                  <a:pt x="220" y="266"/>
                  <a:pt x="220" y="266"/>
                  <a:pt x="220" y="266"/>
                </a:cubicBezTo>
                <a:cubicBezTo>
                  <a:pt x="181" y="402"/>
                  <a:pt x="181" y="402"/>
                  <a:pt x="181" y="402"/>
                </a:cubicBezTo>
                <a:cubicBezTo>
                  <a:pt x="180" y="407"/>
                  <a:pt x="182" y="412"/>
                  <a:pt x="187" y="414"/>
                </a:cubicBezTo>
                <a:cubicBezTo>
                  <a:pt x="188" y="415"/>
                  <a:pt x="190" y="416"/>
                  <a:pt x="192" y="416"/>
                </a:cubicBezTo>
                <a:cubicBezTo>
                  <a:pt x="195" y="416"/>
                  <a:pt x="198" y="414"/>
                  <a:pt x="200" y="412"/>
                </a:cubicBezTo>
                <a:cubicBezTo>
                  <a:pt x="381" y="209"/>
                  <a:pt x="381" y="209"/>
                  <a:pt x="381" y="209"/>
                </a:cubicBezTo>
                <a:cubicBezTo>
                  <a:pt x="384" y="206"/>
                  <a:pt x="384" y="202"/>
                  <a:pt x="383" y="19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1" name="Group 559"/>
          <p:cNvGrpSpPr>
            <a:grpSpLocks noChangeAspect="1"/>
          </p:cNvGrpSpPr>
          <p:nvPr/>
        </p:nvGrpSpPr>
        <p:grpSpPr bwMode="auto">
          <a:xfrm>
            <a:off x="940701" y="3748219"/>
            <a:ext cx="367041" cy="367041"/>
            <a:chOff x="6726" y="2883"/>
            <a:chExt cx="340" cy="340"/>
          </a:xfrm>
          <a:solidFill>
            <a:schemeClr val="accent6"/>
          </a:solidFill>
        </p:grpSpPr>
        <p:sp>
          <p:nvSpPr>
            <p:cNvPr id="362" name="Freeform 560"/>
            <p:cNvSpPr>
              <a:spLocks noEditPoints="1"/>
            </p:cNvSpPr>
            <p:nvPr/>
          </p:nvSpPr>
          <p:spPr bwMode="auto">
            <a:xfrm>
              <a:off x="6832" y="2947"/>
              <a:ext cx="149" cy="212"/>
            </a:xfrm>
            <a:custGeom>
              <a:avLst/>
              <a:gdLst>
                <a:gd name="T0" fmla="*/ 33 w 225"/>
                <a:gd name="T1" fmla="*/ 320 h 320"/>
                <a:gd name="T2" fmla="*/ 28 w 225"/>
                <a:gd name="T3" fmla="*/ 318 h 320"/>
                <a:gd name="T4" fmla="*/ 22 w 225"/>
                <a:gd name="T5" fmla="*/ 306 h 320"/>
                <a:gd name="T6" fmla="*/ 61 w 225"/>
                <a:gd name="T7" fmla="*/ 170 h 320"/>
                <a:gd name="T8" fmla="*/ 11 w 225"/>
                <a:gd name="T9" fmla="*/ 170 h 320"/>
                <a:gd name="T10" fmla="*/ 2 w 225"/>
                <a:gd name="T11" fmla="*/ 166 h 320"/>
                <a:gd name="T12" fmla="*/ 2 w 225"/>
                <a:gd name="T13" fmla="*/ 155 h 320"/>
                <a:gd name="T14" fmla="*/ 66 w 225"/>
                <a:gd name="T15" fmla="*/ 6 h 320"/>
                <a:gd name="T16" fmla="*/ 75 w 225"/>
                <a:gd name="T17" fmla="*/ 0 h 320"/>
                <a:gd name="T18" fmla="*/ 182 w 225"/>
                <a:gd name="T19" fmla="*/ 0 h 320"/>
                <a:gd name="T20" fmla="*/ 191 w 225"/>
                <a:gd name="T21" fmla="*/ 5 h 320"/>
                <a:gd name="T22" fmla="*/ 192 w 225"/>
                <a:gd name="T23" fmla="*/ 15 h 320"/>
                <a:gd name="T24" fmla="*/ 156 w 225"/>
                <a:gd name="T25" fmla="*/ 96 h 320"/>
                <a:gd name="T26" fmla="*/ 214 w 225"/>
                <a:gd name="T27" fmla="*/ 96 h 320"/>
                <a:gd name="T28" fmla="*/ 224 w 225"/>
                <a:gd name="T29" fmla="*/ 102 h 320"/>
                <a:gd name="T30" fmla="*/ 222 w 225"/>
                <a:gd name="T31" fmla="*/ 113 h 320"/>
                <a:gd name="T32" fmla="*/ 41 w 225"/>
                <a:gd name="T33" fmla="*/ 316 h 320"/>
                <a:gd name="T34" fmla="*/ 33 w 225"/>
                <a:gd name="T35" fmla="*/ 320 h 320"/>
                <a:gd name="T36" fmla="*/ 28 w 225"/>
                <a:gd name="T37" fmla="*/ 149 h 320"/>
                <a:gd name="T38" fmla="*/ 75 w 225"/>
                <a:gd name="T39" fmla="*/ 149 h 320"/>
                <a:gd name="T40" fmla="*/ 84 w 225"/>
                <a:gd name="T41" fmla="*/ 153 h 320"/>
                <a:gd name="T42" fmla="*/ 86 w 225"/>
                <a:gd name="T43" fmla="*/ 163 h 320"/>
                <a:gd name="T44" fmla="*/ 56 w 225"/>
                <a:gd name="T45" fmla="*/ 267 h 320"/>
                <a:gd name="T46" fmla="*/ 190 w 225"/>
                <a:gd name="T47" fmla="*/ 117 h 320"/>
                <a:gd name="T48" fmla="*/ 139 w 225"/>
                <a:gd name="T49" fmla="*/ 117 h 320"/>
                <a:gd name="T50" fmla="*/ 130 w 225"/>
                <a:gd name="T51" fmla="*/ 112 h 320"/>
                <a:gd name="T52" fmla="*/ 130 w 225"/>
                <a:gd name="T53" fmla="*/ 102 h 320"/>
                <a:gd name="T54" fmla="*/ 166 w 225"/>
                <a:gd name="T55" fmla="*/ 21 h 320"/>
                <a:gd name="T56" fmla="*/ 82 w 225"/>
                <a:gd name="T57" fmla="*/ 21 h 320"/>
                <a:gd name="T58" fmla="*/ 28 w 225"/>
                <a:gd name="T59" fmla="*/ 14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5" h="320">
                  <a:moveTo>
                    <a:pt x="33" y="320"/>
                  </a:moveTo>
                  <a:cubicBezTo>
                    <a:pt x="31" y="320"/>
                    <a:pt x="29" y="319"/>
                    <a:pt x="28" y="318"/>
                  </a:cubicBezTo>
                  <a:cubicBezTo>
                    <a:pt x="23" y="316"/>
                    <a:pt x="21" y="311"/>
                    <a:pt x="22" y="306"/>
                  </a:cubicBezTo>
                  <a:cubicBezTo>
                    <a:pt x="61" y="170"/>
                    <a:pt x="61" y="170"/>
                    <a:pt x="61" y="170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8" y="170"/>
                    <a:pt x="4" y="169"/>
                    <a:pt x="2" y="166"/>
                  </a:cubicBezTo>
                  <a:cubicBezTo>
                    <a:pt x="0" y="163"/>
                    <a:pt x="0" y="159"/>
                    <a:pt x="2" y="15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2"/>
                    <a:pt x="71" y="0"/>
                    <a:pt x="7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6" y="0"/>
                    <a:pt x="189" y="1"/>
                    <a:pt x="191" y="5"/>
                  </a:cubicBezTo>
                  <a:cubicBezTo>
                    <a:pt x="193" y="8"/>
                    <a:pt x="193" y="11"/>
                    <a:pt x="192" y="15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8" y="96"/>
                    <a:pt x="222" y="98"/>
                    <a:pt x="224" y="102"/>
                  </a:cubicBezTo>
                  <a:cubicBezTo>
                    <a:pt x="225" y="106"/>
                    <a:pt x="225" y="110"/>
                    <a:pt x="222" y="113"/>
                  </a:cubicBezTo>
                  <a:cubicBezTo>
                    <a:pt x="41" y="316"/>
                    <a:pt x="41" y="316"/>
                    <a:pt x="41" y="316"/>
                  </a:cubicBezTo>
                  <a:cubicBezTo>
                    <a:pt x="39" y="318"/>
                    <a:pt x="36" y="320"/>
                    <a:pt x="33" y="320"/>
                  </a:cubicBezTo>
                  <a:close/>
                  <a:moveTo>
                    <a:pt x="28" y="149"/>
                  </a:moveTo>
                  <a:cubicBezTo>
                    <a:pt x="75" y="149"/>
                    <a:pt x="75" y="149"/>
                    <a:pt x="75" y="149"/>
                  </a:cubicBezTo>
                  <a:cubicBezTo>
                    <a:pt x="79" y="149"/>
                    <a:pt x="82" y="151"/>
                    <a:pt x="84" y="153"/>
                  </a:cubicBezTo>
                  <a:cubicBezTo>
                    <a:pt x="86" y="156"/>
                    <a:pt x="87" y="159"/>
                    <a:pt x="86" y="163"/>
                  </a:cubicBezTo>
                  <a:cubicBezTo>
                    <a:pt x="56" y="267"/>
                    <a:pt x="56" y="267"/>
                    <a:pt x="56" y="267"/>
                  </a:cubicBezTo>
                  <a:cubicBezTo>
                    <a:pt x="190" y="117"/>
                    <a:pt x="190" y="117"/>
                    <a:pt x="190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6" y="117"/>
                    <a:pt x="132" y="115"/>
                    <a:pt x="130" y="112"/>
                  </a:cubicBezTo>
                  <a:cubicBezTo>
                    <a:pt x="128" y="109"/>
                    <a:pt x="128" y="105"/>
                    <a:pt x="130" y="102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82" y="21"/>
                    <a:pt x="82" y="21"/>
                    <a:pt x="82" y="21"/>
                  </a:cubicBezTo>
                  <a:lnTo>
                    <a:pt x="28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561"/>
            <p:cNvSpPr>
              <a:spLocks noEditPoints="1"/>
            </p:cNvSpPr>
            <p:nvPr/>
          </p:nvSpPr>
          <p:spPr bwMode="auto">
            <a:xfrm>
              <a:off x="6726" y="28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4" name="Freeform 565"/>
          <p:cNvSpPr>
            <a:spLocks noChangeAspect="1" noEditPoints="1"/>
          </p:cNvSpPr>
          <p:nvPr/>
        </p:nvSpPr>
        <p:spPr bwMode="auto">
          <a:xfrm>
            <a:off x="1404129" y="3748219"/>
            <a:ext cx="403745" cy="367041"/>
          </a:xfrm>
          <a:custGeom>
            <a:avLst/>
            <a:gdLst>
              <a:gd name="T0" fmla="*/ 419 w 562"/>
              <a:gd name="T1" fmla="*/ 234 h 512"/>
              <a:gd name="T2" fmla="*/ 387 w 562"/>
              <a:gd name="T3" fmla="*/ 266 h 512"/>
              <a:gd name="T4" fmla="*/ 192 w 562"/>
              <a:gd name="T5" fmla="*/ 266 h 512"/>
              <a:gd name="T6" fmla="*/ 142 w 562"/>
              <a:gd name="T7" fmla="*/ 217 h 512"/>
              <a:gd name="T8" fmla="*/ 192 w 562"/>
              <a:gd name="T9" fmla="*/ 167 h 512"/>
              <a:gd name="T10" fmla="*/ 216 w 562"/>
              <a:gd name="T11" fmla="*/ 175 h 512"/>
              <a:gd name="T12" fmla="*/ 226 w 562"/>
              <a:gd name="T13" fmla="*/ 176 h 512"/>
              <a:gd name="T14" fmla="*/ 232 w 562"/>
              <a:gd name="T15" fmla="*/ 169 h 512"/>
              <a:gd name="T16" fmla="*/ 297 w 562"/>
              <a:gd name="T17" fmla="*/ 117 h 512"/>
              <a:gd name="T18" fmla="*/ 362 w 562"/>
              <a:gd name="T19" fmla="*/ 182 h 512"/>
              <a:gd name="T20" fmla="*/ 361 w 562"/>
              <a:gd name="T21" fmla="*/ 190 h 512"/>
              <a:gd name="T22" fmla="*/ 360 w 562"/>
              <a:gd name="T23" fmla="*/ 195 h 512"/>
              <a:gd name="T24" fmla="*/ 365 w 562"/>
              <a:gd name="T25" fmla="*/ 206 h 512"/>
              <a:gd name="T26" fmla="*/ 378 w 562"/>
              <a:gd name="T27" fmla="*/ 205 h 512"/>
              <a:gd name="T28" fmla="*/ 380 w 562"/>
              <a:gd name="T29" fmla="*/ 203 h 512"/>
              <a:gd name="T30" fmla="*/ 387 w 562"/>
              <a:gd name="T31" fmla="*/ 202 h 512"/>
              <a:gd name="T32" fmla="*/ 419 w 562"/>
              <a:gd name="T33" fmla="*/ 234 h 512"/>
              <a:gd name="T34" fmla="*/ 462 w 562"/>
              <a:gd name="T35" fmla="*/ 437 h 512"/>
              <a:gd name="T36" fmla="*/ 281 w 562"/>
              <a:gd name="T37" fmla="*/ 512 h 512"/>
              <a:gd name="T38" fmla="*/ 100 w 562"/>
              <a:gd name="T39" fmla="*/ 437 h 512"/>
              <a:gd name="T40" fmla="*/ 100 w 562"/>
              <a:gd name="T41" fmla="*/ 75 h 512"/>
              <a:gd name="T42" fmla="*/ 281 w 562"/>
              <a:gd name="T43" fmla="*/ 0 h 512"/>
              <a:gd name="T44" fmla="*/ 462 w 562"/>
              <a:gd name="T45" fmla="*/ 75 h 512"/>
              <a:gd name="T46" fmla="*/ 462 w 562"/>
              <a:gd name="T47" fmla="*/ 437 h 512"/>
              <a:gd name="T48" fmla="*/ 300 w 562"/>
              <a:gd name="T49" fmla="*/ 357 h 512"/>
              <a:gd name="T50" fmla="*/ 291 w 562"/>
              <a:gd name="T51" fmla="*/ 352 h 512"/>
              <a:gd name="T52" fmla="*/ 277 w 562"/>
              <a:gd name="T53" fmla="*/ 352 h 512"/>
              <a:gd name="T54" fmla="*/ 290 w 562"/>
              <a:gd name="T55" fmla="*/ 324 h 512"/>
              <a:gd name="T56" fmla="*/ 285 w 562"/>
              <a:gd name="T57" fmla="*/ 310 h 512"/>
              <a:gd name="T58" fmla="*/ 271 w 562"/>
              <a:gd name="T59" fmla="*/ 315 h 512"/>
              <a:gd name="T60" fmla="*/ 250 w 562"/>
              <a:gd name="T61" fmla="*/ 358 h 512"/>
              <a:gd name="T62" fmla="*/ 250 w 562"/>
              <a:gd name="T63" fmla="*/ 368 h 512"/>
              <a:gd name="T64" fmla="*/ 259 w 562"/>
              <a:gd name="T65" fmla="*/ 373 h 512"/>
              <a:gd name="T66" fmla="*/ 274 w 562"/>
              <a:gd name="T67" fmla="*/ 373 h 512"/>
              <a:gd name="T68" fmla="*/ 260 w 562"/>
              <a:gd name="T69" fmla="*/ 400 h 512"/>
              <a:gd name="T70" fmla="*/ 265 w 562"/>
              <a:gd name="T71" fmla="*/ 415 h 512"/>
              <a:gd name="T72" fmla="*/ 270 w 562"/>
              <a:gd name="T73" fmla="*/ 416 h 512"/>
              <a:gd name="T74" fmla="*/ 280 w 562"/>
              <a:gd name="T75" fmla="*/ 410 h 512"/>
              <a:gd name="T76" fmla="*/ 301 w 562"/>
              <a:gd name="T77" fmla="*/ 367 h 512"/>
              <a:gd name="T78" fmla="*/ 300 w 562"/>
              <a:gd name="T79" fmla="*/ 357 h 512"/>
              <a:gd name="T80" fmla="*/ 441 w 562"/>
              <a:gd name="T81" fmla="*/ 234 h 512"/>
              <a:gd name="T82" fmla="*/ 387 w 562"/>
              <a:gd name="T83" fmla="*/ 181 h 512"/>
              <a:gd name="T84" fmla="*/ 383 w 562"/>
              <a:gd name="T85" fmla="*/ 181 h 512"/>
              <a:gd name="T86" fmla="*/ 297 w 562"/>
              <a:gd name="T87" fmla="*/ 96 h 512"/>
              <a:gd name="T88" fmla="*/ 215 w 562"/>
              <a:gd name="T89" fmla="*/ 151 h 512"/>
              <a:gd name="T90" fmla="*/ 192 w 562"/>
              <a:gd name="T91" fmla="*/ 146 h 512"/>
              <a:gd name="T92" fmla="*/ 121 w 562"/>
              <a:gd name="T93" fmla="*/ 217 h 512"/>
              <a:gd name="T94" fmla="*/ 192 w 562"/>
              <a:gd name="T95" fmla="*/ 288 h 512"/>
              <a:gd name="T96" fmla="*/ 387 w 562"/>
              <a:gd name="T97" fmla="*/ 288 h 512"/>
              <a:gd name="T98" fmla="*/ 441 w 562"/>
              <a:gd name="T99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62" h="512">
                <a:moveTo>
                  <a:pt x="419" y="234"/>
                </a:moveTo>
                <a:cubicBezTo>
                  <a:pt x="419" y="252"/>
                  <a:pt x="405" y="266"/>
                  <a:pt x="387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64" y="266"/>
                  <a:pt x="142" y="244"/>
                  <a:pt x="142" y="217"/>
                </a:cubicBezTo>
                <a:cubicBezTo>
                  <a:pt x="142" y="189"/>
                  <a:pt x="164" y="167"/>
                  <a:pt x="192" y="167"/>
                </a:cubicBezTo>
                <a:cubicBezTo>
                  <a:pt x="201" y="167"/>
                  <a:pt x="208" y="170"/>
                  <a:pt x="216" y="175"/>
                </a:cubicBezTo>
                <a:cubicBezTo>
                  <a:pt x="219" y="177"/>
                  <a:pt x="222" y="178"/>
                  <a:pt x="226" y="176"/>
                </a:cubicBezTo>
                <a:cubicBezTo>
                  <a:pt x="229" y="175"/>
                  <a:pt x="231" y="172"/>
                  <a:pt x="232" y="169"/>
                </a:cubicBezTo>
                <a:cubicBezTo>
                  <a:pt x="238" y="139"/>
                  <a:pt x="266" y="117"/>
                  <a:pt x="297" y="117"/>
                </a:cubicBezTo>
                <a:cubicBezTo>
                  <a:pt x="333" y="117"/>
                  <a:pt x="362" y="146"/>
                  <a:pt x="362" y="182"/>
                </a:cubicBezTo>
                <a:cubicBezTo>
                  <a:pt x="362" y="185"/>
                  <a:pt x="361" y="187"/>
                  <a:pt x="361" y="190"/>
                </a:cubicBezTo>
                <a:cubicBezTo>
                  <a:pt x="361" y="192"/>
                  <a:pt x="361" y="193"/>
                  <a:pt x="360" y="195"/>
                </a:cubicBezTo>
                <a:cubicBezTo>
                  <a:pt x="359" y="199"/>
                  <a:pt x="361" y="204"/>
                  <a:pt x="365" y="206"/>
                </a:cubicBezTo>
                <a:cubicBezTo>
                  <a:pt x="369" y="208"/>
                  <a:pt x="374" y="208"/>
                  <a:pt x="378" y="205"/>
                </a:cubicBezTo>
                <a:cubicBezTo>
                  <a:pt x="378" y="204"/>
                  <a:pt x="379" y="204"/>
                  <a:pt x="380" y="203"/>
                </a:cubicBezTo>
                <a:cubicBezTo>
                  <a:pt x="383" y="203"/>
                  <a:pt x="385" y="202"/>
                  <a:pt x="387" y="202"/>
                </a:cubicBezTo>
                <a:cubicBezTo>
                  <a:pt x="405" y="202"/>
                  <a:pt x="419" y="217"/>
                  <a:pt x="419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300" y="357"/>
                </a:moveTo>
                <a:cubicBezTo>
                  <a:pt x="298" y="354"/>
                  <a:pt x="295" y="352"/>
                  <a:pt x="291" y="352"/>
                </a:cubicBezTo>
                <a:cubicBezTo>
                  <a:pt x="277" y="352"/>
                  <a:pt x="277" y="352"/>
                  <a:pt x="277" y="352"/>
                </a:cubicBezTo>
                <a:cubicBezTo>
                  <a:pt x="290" y="324"/>
                  <a:pt x="290" y="324"/>
                  <a:pt x="290" y="324"/>
                </a:cubicBezTo>
                <a:cubicBezTo>
                  <a:pt x="293" y="319"/>
                  <a:pt x="291" y="313"/>
                  <a:pt x="285" y="310"/>
                </a:cubicBezTo>
                <a:cubicBezTo>
                  <a:pt x="280" y="308"/>
                  <a:pt x="274" y="310"/>
                  <a:pt x="271" y="315"/>
                </a:cubicBezTo>
                <a:cubicBezTo>
                  <a:pt x="250" y="358"/>
                  <a:pt x="250" y="358"/>
                  <a:pt x="250" y="358"/>
                </a:cubicBezTo>
                <a:cubicBezTo>
                  <a:pt x="248" y="361"/>
                  <a:pt x="248" y="365"/>
                  <a:pt x="250" y="368"/>
                </a:cubicBezTo>
                <a:cubicBezTo>
                  <a:pt x="252" y="371"/>
                  <a:pt x="256" y="373"/>
                  <a:pt x="259" y="373"/>
                </a:cubicBezTo>
                <a:cubicBezTo>
                  <a:pt x="274" y="373"/>
                  <a:pt x="274" y="373"/>
                  <a:pt x="274" y="373"/>
                </a:cubicBezTo>
                <a:cubicBezTo>
                  <a:pt x="260" y="400"/>
                  <a:pt x="260" y="400"/>
                  <a:pt x="260" y="400"/>
                </a:cubicBezTo>
                <a:cubicBezTo>
                  <a:pt x="258" y="406"/>
                  <a:pt x="260" y="412"/>
                  <a:pt x="265" y="415"/>
                </a:cubicBezTo>
                <a:cubicBezTo>
                  <a:pt x="267" y="415"/>
                  <a:pt x="268" y="416"/>
                  <a:pt x="270" y="416"/>
                </a:cubicBezTo>
                <a:cubicBezTo>
                  <a:pt x="274" y="416"/>
                  <a:pt x="278" y="414"/>
                  <a:pt x="280" y="410"/>
                </a:cubicBezTo>
                <a:cubicBezTo>
                  <a:pt x="301" y="367"/>
                  <a:pt x="301" y="367"/>
                  <a:pt x="301" y="367"/>
                </a:cubicBezTo>
                <a:cubicBezTo>
                  <a:pt x="303" y="364"/>
                  <a:pt x="302" y="360"/>
                  <a:pt x="300" y="357"/>
                </a:cubicBezTo>
                <a:close/>
                <a:moveTo>
                  <a:pt x="441" y="234"/>
                </a:moveTo>
                <a:cubicBezTo>
                  <a:pt x="441" y="205"/>
                  <a:pt x="417" y="181"/>
                  <a:pt x="387" y="181"/>
                </a:cubicBezTo>
                <a:cubicBezTo>
                  <a:pt x="386" y="181"/>
                  <a:pt x="384" y="181"/>
                  <a:pt x="383" y="181"/>
                </a:cubicBezTo>
                <a:cubicBezTo>
                  <a:pt x="383" y="134"/>
                  <a:pt x="344" y="96"/>
                  <a:pt x="297" y="96"/>
                </a:cubicBezTo>
                <a:cubicBezTo>
                  <a:pt x="260" y="96"/>
                  <a:pt x="228" y="118"/>
                  <a:pt x="215" y="151"/>
                </a:cubicBezTo>
                <a:cubicBezTo>
                  <a:pt x="208" y="148"/>
                  <a:pt x="201" y="146"/>
                  <a:pt x="192" y="146"/>
                </a:cubicBezTo>
                <a:cubicBezTo>
                  <a:pt x="152" y="146"/>
                  <a:pt x="121" y="178"/>
                  <a:pt x="121" y="217"/>
                </a:cubicBezTo>
                <a:cubicBezTo>
                  <a:pt x="121" y="256"/>
                  <a:pt x="152" y="288"/>
                  <a:pt x="192" y="288"/>
                </a:cubicBezTo>
                <a:cubicBezTo>
                  <a:pt x="387" y="288"/>
                  <a:pt x="387" y="288"/>
                  <a:pt x="387" y="288"/>
                </a:cubicBezTo>
                <a:cubicBezTo>
                  <a:pt x="417" y="288"/>
                  <a:pt x="441" y="264"/>
                  <a:pt x="441" y="23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5" name="Group 568"/>
          <p:cNvGrpSpPr>
            <a:grpSpLocks noChangeAspect="1"/>
          </p:cNvGrpSpPr>
          <p:nvPr/>
        </p:nvGrpSpPr>
        <p:grpSpPr bwMode="auto">
          <a:xfrm>
            <a:off x="1892777" y="3748219"/>
            <a:ext cx="404825" cy="367041"/>
            <a:chOff x="6616" y="2941"/>
            <a:chExt cx="375" cy="340"/>
          </a:xfrm>
          <a:solidFill>
            <a:schemeClr val="accent6"/>
          </a:solidFill>
        </p:grpSpPr>
        <p:sp>
          <p:nvSpPr>
            <p:cNvPr id="366" name="Freeform 365"/>
            <p:cNvSpPr>
              <a:spLocks noEditPoints="1"/>
            </p:cNvSpPr>
            <p:nvPr/>
          </p:nvSpPr>
          <p:spPr bwMode="auto">
            <a:xfrm>
              <a:off x="6616" y="2941"/>
              <a:ext cx="375" cy="340"/>
            </a:xfrm>
            <a:custGeom>
              <a:avLst/>
              <a:gdLst>
                <a:gd name="T0" fmla="*/ 281 w 562"/>
                <a:gd name="T1" fmla="*/ 21 h 512"/>
                <a:gd name="T2" fmla="*/ 447 w 562"/>
                <a:gd name="T3" fmla="*/ 90 h 512"/>
                <a:gd name="T4" fmla="*/ 447 w 562"/>
                <a:gd name="T5" fmla="*/ 422 h 512"/>
                <a:gd name="T6" fmla="*/ 281 w 562"/>
                <a:gd name="T7" fmla="*/ 490 h 512"/>
                <a:gd name="T8" fmla="*/ 115 w 562"/>
                <a:gd name="T9" fmla="*/ 422 h 512"/>
                <a:gd name="T10" fmla="*/ 115 w 562"/>
                <a:gd name="T11" fmla="*/ 90 h 512"/>
                <a:gd name="T12" fmla="*/ 281 w 562"/>
                <a:gd name="T13" fmla="*/ 21 h 512"/>
                <a:gd name="T14" fmla="*/ 281 w 562"/>
                <a:gd name="T15" fmla="*/ 0 h 512"/>
                <a:gd name="T16" fmla="*/ 100 w 562"/>
                <a:gd name="T17" fmla="*/ 75 h 512"/>
                <a:gd name="T18" fmla="*/ 100 w 562"/>
                <a:gd name="T19" fmla="*/ 437 h 512"/>
                <a:gd name="T20" fmla="*/ 281 w 562"/>
                <a:gd name="T21" fmla="*/ 512 h 512"/>
                <a:gd name="T22" fmla="*/ 462 w 562"/>
                <a:gd name="T23" fmla="*/ 437 h 512"/>
                <a:gd name="T24" fmla="*/ 462 w 562"/>
                <a:gd name="T25" fmla="*/ 75 h 512"/>
                <a:gd name="T26" fmla="*/ 281 w 56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2" h="512">
                  <a:moveTo>
                    <a:pt x="281" y="21"/>
                  </a:moveTo>
                  <a:cubicBezTo>
                    <a:pt x="343" y="21"/>
                    <a:pt x="402" y="45"/>
                    <a:pt x="447" y="90"/>
                  </a:cubicBezTo>
                  <a:cubicBezTo>
                    <a:pt x="538" y="181"/>
                    <a:pt x="538" y="330"/>
                    <a:pt x="447" y="422"/>
                  </a:cubicBezTo>
                  <a:cubicBezTo>
                    <a:pt x="402" y="466"/>
                    <a:pt x="343" y="490"/>
                    <a:pt x="281" y="490"/>
                  </a:cubicBezTo>
                  <a:cubicBezTo>
                    <a:pt x="218" y="490"/>
                    <a:pt x="159" y="466"/>
                    <a:pt x="115" y="422"/>
                  </a:cubicBezTo>
                  <a:cubicBezTo>
                    <a:pt x="23" y="330"/>
                    <a:pt x="23" y="181"/>
                    <a:pt x="115" y="90"/>
                  </a:cubicBezTo>
                  <a:cubicBezTo>
                    <a:pt x="159" y="45"/>
                    <a:pt x="218" y="21"/>
                    <a:pt x="281" y="21"/>
                  </a:cubicBezTo>
                  <a:moveTo>
                    <a:pt x="281" y="0"/>
                  </a:moveTo>
                  <a:cubicBezTo>
                    <a:pt x="215" y="0"/>
                    <a:pt x="150" y="25"/>
                    <a:pt x="100" y="75"/>
                  </a:cubicBezTo>
                  <a:cubicBezTo>
                    <a:pt x="0" y="175"/>
                    <a:pt x="0" y="337"/>
                    <a:pt x="100" y="437"/>
                  </a:cubicBezTo>
                  <a:cubicBezTo>
                    <a:pt x="150" y="487"/>
                    <a:pt x="215" y="512"/>
                    <a:pt x="281" y="512"/>
                  </a:cubicBezTo>
                  <a:cubicBezTo>
                    <a:pt x="346" y="512"/>
                    <a:pt x="412" y="487"/>
                    <a:pt x="462" y="437"/>
                  </a:cubicBezTo>
                  <a:cubicBezTo>
                    <a:pt x="562" y="337"/>
                    <a:pt x="562" y="175"/>
                    <a:pt x="462" y="75"/>
                  </a:cubicBezTo>
                  <a:cubicBezTo>
                    <a:pt x="412" y="25"/>
                    <a:pt x="34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Freeform 366"/>
            <p:cNvSpPr>
              <a:spLocks noEditPoints="1"/>
            </p:cNvSpPr>
            <p:nvPr/>
          </p:nvSpPr>
          <p:spPr bwMode="auto">
            <a:xfrm>
              <a:off x="6697" y="3005"/>
              <a:ext cx="213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39 w 320"/>
                <a:gd name="T41" fmla="*/ 99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6"/>
                    <a:pt x="240" y="97"/>
                    <a:pt x="239" y="99"/>
                  </a:cubicBezTo>
                  <a:cubicBezTo>
                    <a:pt x="238" y="103"/>
                    <a:pt x="240" y="108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7" y="108"/>
                    <a:pt x="258" y="108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8" name="Freeform 367"/>
            <p:cNvSpPr>
              <a:spLocks/>
            </p:cNvSpPr>
            <p:nvPr/>
          </p:nvSpPr>
          <p:spPr bwMode="auto">
            <a:xfrm>
              <a:off x="6782" y="3146"/>
              <a:ext cx="36" cy="71"/>
            </a:xfrm>
            <a:custGeom>
              <a:avLst/>
              <a:gdLst>
                <a:gd name="T0" fmla="*/ 43 w 55"/>
                <a:gd name="T1" fmla="*/ 44 h 108"/>
                <a:gd name="T2" fmla="*/ 29 w 55"/>
                <a:gd name="T3" fmla="*/ 44 h 108"/>
                <a:gd name="T4" fmla="*/ 42 w 55"/>
                <a:gd name="T5" fmla="*/ 16 h 108"/>
                <a:gd name="T6" fmla="*/ 37 w 55"/>
                <a:gd name="T7" fmla="*/ 2 h 108"/>
                <a:gd name="T8" fmla="*/ 23 w 55"/>
                <a:gd name="T9" fmla="*/ 7 h 108"/>
                <a:gd name="T10" fmla="*/ 2 w 55"/>
                <a:gd name="T11" fmla="*/ 50 h 108"/>
                <a:gd name="T12" fmla="*/ 2 w 55"/>
                <a:gd name="T13" fmla="*/ 60 h 108"/>
                <a:gd name="T14" fmla="*/ 11 w 55"/>
                <a:gd name="T15" fmla="*/ 65 h 108"/>
                <a:gd name="T16" fmla="*/ 26 w 55"/>
                <a:gd name="T17" fmla="*/ 65 h 108"/>
                <a:gd name="T18" fmla="*/ 12 w 55"/>
                <a:gd name="T19" fmla="*/ 92 h 108"/>
                <a:gd name="T20" fmla="*/ 17 w 55"/>
                <a:gd name="T21" fmla="*/ 107 h 108"/>
                <a:gd name="T22" fmla="*/ 22 w 55"/>
                <a:gd name="T23" fmla="*/ 108 h 108"/>
                <a:gd name="T24" fmla="*/ 32 w 55"/>
                <a:gd name="T25" fmla="*/ 102 h 108"/>
                <a:gd name="T26" fmla="*/ 53 w 55"/>
                <a:gd name="T27" fmla="*/ 59 h 108"/>
                <a:gd name="T28" fmla="*/ 52 w 55"/>
                <a:gd name="T29" fmla="*/ 49 h 108"/>
                <a:gd name="T30" fmla="*/ 43 w 55"/>
                <a:gd name="T31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108">
                  <a:moveTo>
                    <a:pt x="43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5" y="11"/>
                    <a:pt x="43" y="5"/>
                    <a:pt x="37" y="2"/>
                  </a:cubicBezTo>
                  <a:cubicBezTo>
                    <a:pt x="32" y="0"/>
                    <a:pt x="26" y="2"/>
                    <a:pt x="23" y="7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0" y="53"/>
                    <a:pt x="0" y="57"/>
                    <a:pt x="2" y="60"/>
                  </a:cubicBezTo>
                  <a:cubicBezTo>
                    <a:pt x="4" y="63"/>
                    <a:pt x="8" y="65"/>
                    <a:pt x="11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0" y="98"/>
                    <a:pt x="12" y="104"/>
                    <a:pt x="17" y="107"/>
                  </a:cubicBezTo>
                  <a:cubicBezTo>
                    <a:pt x="19" y="107"/>
                    <a:pt x="20" y="108"/>
                    <a:pt x="22" y="108"/>
                  </a:cubicBezTo>
                  <a:cubicBezTo>
                    <a:pt x="26" y="108"/>
                    <a:pt x="30" y="106"/>
                    <a:pt x="32" y="102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5" y="56"/>
                    <a:pt x="54" y="52"/>
                    <a:pt x="52" y="49"/>
                  </a:cubicBezTo>
                  <a:cubicBezTo>
                    <a:pt x="50" y="46"/>
                    <a:pt x="47" y="44"/>
                    <a:pt x="4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69" name="Group 422"/>
          <p:cNvGrpSpPr>
            <a:grpSpLocks noChangeAspect="1"/>
          </p:cNvGrpSpPr>
          <p:nvPr/>
        </p:nvGrpSpPr>
        <p:grpSpPr bwMode="auto">
          <a:xfrm>
            <a:off x="2422280" y="3748214"/>
            <a:ext cx="367631" cy="367631"/>
            <a:chOff x="3131" y="1617"/>
            <a:chExt cx="340" cy="340"/>
          </a:xfrm>
          <a:solidFill>
            <a:schemeClr val="accent5"/>
          </a:solidFill>
        </p:grpSpPr>
        <p:sp>
          <p:nvSpPr>
            <p:cNvPr id="370" name="Freeform 423"/>
            <p:cNvSpPr>
              <a:spLocks noEditPoints="1"/>
            </p:cNvSpPr>
            <p:nvPr/>
          </p:nvSpPr>
          <p:spPr bwMode="auto">
            <a:xfrm>
              <a:off x="3131" y="1617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67 w 512"/>
                <a:gd name="T11" fmla="*/ 415 h 512"/>
                <a:gd name="T12" fmla="*/ 256 w 512"/>
                <a:gd name="T13" fmla="*/ 416 h 512"/>
                <a:gd name="T14" fmla="*/ 244 w 512"/>
                <a:gd name="T15" fmla="*/ 415 h 512"/>
                <a:gd name="T16" fmla="*/ 142 w 512"/>
                <a:gd name="T17" fmla="*/ 305 h 512"/>
                <a:gd name="T18" fmla="*/ 151 w 512"/>
                <a:gd name="T19" fmla="*/ 263 h 512"/>
                <a:gd name="T20" fmla="*/ 164 w 512"/>
                <a:gd name="T21" fmla="*/ 241 h 512"/>
                <a:gd name="T22" fmla="*/ 171 w 512"/>
                <a:gd name="T23" fmla="*/ 232 h 512"/>
                <a:gd name="T24" fmla="*/ 204 w 512"/>
                <a:gd name="T25" fmla="*/ 189 h 512"/>
                <a:gd name="T26" fmla="*/ 234 w 512"/>
                <a:gd name="T27" fmla="*/ 116 h 512"/>
                <a:gd name="T28" fmla="*/ 254 w 512"/>
                <a:gd name="T29" fmla="*/ 96 h 512"/>
                <a:gd name="T30" fmla="*/ 255 w 512"/>
                <a:gd name="T31" fmla="*/ 96 h 512"/>
                <a:gd name="T32" fmla="*/ 257 w 512"/>
                <a:gd name="T33" fmla="*/ 96 h 512"/>
                <a:gd name="T34" fmla="*/ 258 w 512"/>
                <a:gd name="T35" fmla="*/ 96 h 512"/>
                <a:gd name="T36" fmla="*/ 277 w 512"/>
                <a:gd name="T37" fmla="*/ 116 h 512"/>
                <a:gd name="T38" fmla="*/ 307 w 512"/>
                <a:gd name="T39" fmla="*/ 189 h 512"/>
                <a:gd name="T40" fmla="*/ 341 w 512"/>
                <a:gd name="T41" fmla="*/ 232 h 512"/>
                <a:gd name="T42" fmla="*/ 348 w 512"/>
                <a:gd name="T43" fmla="*/ 241 h 512"/>
                <a:gd name="T44" fmla="*/ 361 w 512"/>
                <a:gd name="T45" fmla="*/ 263 h 512"/>
                <a:gd name="T46" fmla="*/ 369 w 512"/>
                <a:gd name="T47" fmla="*/ 305 h 512"/>
                <a:gd name="T48" fmla="*/ 267 w 512"/>
                <a:gd name="T49" fmla="*/ 41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67" y="415"/>
                  </a:moveTo>
                  <a:cubicBezTo>
                    <a:pt x="267" y="415"/>
                    <a:pt x="262" y="416"/>
                    <a:pt x="256" y="416"/>
                  </a:cubicBezTo>
                  <a:cubicBezTo>
                    <a:pt x="249" y="416"/>
                    <a:pt x="244" y="415"/>
                    <a:pt x="244" y="415"/>
                  </a:cubicBezTo>
                  <a:cubicBezTo>
                    <a:pt x="186" y="409"/>
                    <a:pt x="142" y="362"/>
                    <a:pt x="142" y="305"/>
                  </a:cubicBezTo>
                  <a:cubicBezTo>
                    <a:pt x="142" y="290"/>
                    <a:pt x="148" y="270"/>
                    <a:pt x="151" y="263"/>
                  </a:cubicBezTo>
                  <a:cubicBezTo>
                    <a:pt x="153" y="256"/>
                    <a:pt x="158" y="249"/>
                    <a:pt x="164" y="241"/>
                  </a:cubicBezTo>
                  <a:cubicBezTo>
                    <a:pt x="165" y="239"/>
                    <a:pt x="167" y="236"/>
                    <a:pt x="171" y="232"/>
                  </a:cubicBezTo>
                  <a:cubicBezTo>
                    <a:pt x="179" y="222"/>
                    <a:pt x="192" y="206"/>
                    <a:pt x="204" y="189"/>
                  </a:cubicBezTo>
                  <a:cubicBezTo>
                    <a:pt x="216" y="171"/>
                    <a:pt x="230" y="143"/>
                    <a:pt x="234" y="116"/>
                  </a:cubicBezTo>
                  <a:cubicBezTo>
                    <a:pt x="234" y="104"/>
                    <a:pt x="243" y="96"/>
                    <a:pt x="254" y="96"/>
                  </a:cubicBezTo>
                  <a:cubicBezTo>
                    <a:pt x="254" y="96"/>
                    <a:pt x="254" y="96"/>
                    <a:pt x="255" y="96"/>
                  </a:cubicBezTo>
                  <a:cubicBezTo>
                    <a:pt x="255" y="96"/>
                    <a:pt x="256" y="96"/>
                    <a:pt x="257" y="96"/>
                  </a:cubicBezTo>
                  <a:cubicBezTo>
                    <a:pt x="257" y="96"/>
                    <a:pt x="257" y="96"/>
                    <a:pt x="258" y="96"/>
                  </a:cubicBezTo>
                  <a:cubicBezTo>
                    <a:pt x="269" y="96"/>
                    <a:pt x="277" y="104"/>
                    <a:pt x="277" y="116"/>
                  </a:cubicBezTo>
                  <a:cubicBezTo>
                    <a:pt x="281" y="143"/>
                    <a:pt x="296" y="171"/>
                    <a:pt x="307" y="189"/>
                  </a:cubicBezTo>
                  <a:cubicBezTo>
                    <a:pt x="319" y="206"/>
                    <a:pt x="333" y="222"/>
                    <a:pt x="341" y="232"/>
                  </a:cubicBezTo>
                  <a:cubicBezTo>
                    <a:pt x="344" y="236"/>
                    <a:pt x="346" y="239"/>
                    <a:pt x="348" y="241"/>
                  </a:cubicBezTo>
                  <a:cubicBezTo>
                    <a:pt x="354" y="249"/>
                    <a:pt x="358" y="256"/>
                    <a:pt x="361" y="263"/>
                  </a:cubicBezTo>
                  <a:cubicBezTo>
                    <a:pt x="364" y="270"/>
                    <a:pt x="369" y="290"/>
                    <a:pt x="369" y="305"/>
                  </a:cubicBezTo>
                  <a:cubicBezTo>
                    <a:pt x="369" y="362"/>
                    <a:pt x="326" y="409"/>
                    <a:pt x="267" y="4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1" name="Freeform 424"/>
            <p:cNvSpPr>
              <a:spLocks/>
            </p:cNvSpPr>
            <p:nvPr/>
          </p:nvSpPr>
          <p:spPr bwMode="auto">
            <a:xfrm>
              <a:off x="3239" y="1695"/>
              <a:ext cx="123" cy="184"/>
            </a:xfrm>
            <a:custGeom>
              <a:avLst/>
              <a:gdLst>
                <a:gd name="T0" fmla="*/ 168 w 185"/>
                <a:gd name="T1" fmla="*/ 137 h 277"/>
                <a:gd name="T2" fmla="*/ 161 w 185"/>
                <a:gd name="T3" fmla="*/ 129 h 277"/>
                <a:gd name="T4" fmla="*/ 127 w 185"/>
                <a:gd name="T5" fmla="*/ 84 h 277"/>
                <a:gd name="T6" fmla="*/ 93 w 185"/>
                <a:gd name="T7" fmla="*/ 1 h 277"/>
                <a:gd name="T8" fmla="*/ 93 w 185"/>
                <a:gd name="T9" fmla="*/ 0 h 277"/>
                <a:gd name="T10" fmla="*/ 92 w 185"/>
                <a:gd name="T11" fmla="*/ 0 h 277"/>
                <a:gd name="T12" fmla="*/ 92 w 185"/>
                <a:gd name="T13" fmla="*/ 1 h 277"/>
                <a:gd name="T14" fmla="*/ 59 w 185"/>
                <a:gd name="T15" fmla="*/ 84 h 277"/>
                <a:gd name="T16" fmla="*/ 24 w 185"/>
                <a:gd name="T17" fmla="*/ 129 h 277"/>
                <a:gd name="T18" fmla="*/ 18 w 185"/>
                <a:gd name="T19" fmla="*/ 137 h 277"/>
                <a:gd name="T20" fmla="*/ 7 w 185"/>
                <a:gd name="T21" fmla="*/ 154 h 277"/>
                <a:gd name="T22" fmla="*/ 0 w 185"/>
                <a:gd name="T23" fmla="*/ 188 h 277"/>
                <a:gd name="T24" fmla="*/ 83 w 185"/>
                <a:gd name="T25" fmla="*/ 277 h 277"/>
                <a:gd name="T26" fmla="*/ 93 w 185"/>
                <a:gd name="T27" fmla="*/ 277 h 277"/>
                <a:gd name="T28" fmla="*/ 102 w 185"/>
                <a:gd name="T29" fmla="*/ 277 h 277"/>
                <a:gd name="T30" fmla="*/ 185 w 185"/>
                <a:gd name="T31" fmla="*/ 188 h 277"/>
                <a:gd name="T32" fmla="*/ 178 w 185"/>
                <a:gd name="T33" fmla="*/ 154 h 277"/>
                <a:gd name="T34" fmla="*/ 168 w 185"/>
                <a:gd name="T35" fmla="*/ 13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5" h="277">
                  <a:moveTo>
                    <a:pt x="168" y="137"/>
                  </a:moveTo>
                  <a:cubicBezTo>
                    <a:pt x="166" y="135"/>
                    <a:pt x="164" y="132"/>
                    <a:pt x="161" y="129"/>
                  </a:cubicBezTo>
                  <a:cubicBezTo>
                    <a:pt x="153" y="119"/>
                    <a:pt x="139" y="102"/>
                    <a:pt x="127" y="84"/>
                  </a:cubicBezTo>
                  <a:cubicBezTo>
                    <a:pt x="113" y="63"/>
                    <a:pt x="97" y="33"/>
                    <a:pt x="93" y="1"/>
                  </a:cubicBezTo>
                  <a:cubicBezTo>
                    <a:pt x="93" y="1"/>
                    <a:pt x="93" y="1"/>
                    <a:pt x="93" y="0"/>
                  </a:cubicBezTo>
                  <a:cubicBezTo>
                    <a:pt x="93" y="0"/>
                    <a:pt x="93" y="0"/>
                    <a:pt x="92" y="0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88" y="33"/>
                    <a:pt x="72" y="63"/>
                    <a:pt x="59" y="84"/>
                  </a:cubicBezTo>
                  <a:cubicBezTo>
                    <a:pt x="46" y="102"/>
                    <a:pt x="32" y="119"/>
                    <a:pt x="24" y="129"/>
                  </a:cubicBezTo>
                  <a:cubicBezTo>
                    <a:pt x="21" y="132"/>
                    <a:pt x="19" y="135"/>
                    <a:pt x="18" y="137"/>
                  </a:cubicBezTo>
                  <a:cubicBezTo>
                    <a:pt x="13" y="143"/>
                    <a:pt x="9" y="149"/>
                    <a:pt x="7" y="154"/>
                  </a:cubicBezTo>
                  <a:cubicBezTo>
                    <a:pt x="5" y="160"/>
                    <a:pt x="0" y="177"/>
                    <a:pt x="0" y="188"/>
                  </a:cubicBezTo>
                  <a:cubicBezTo>
                    <a:pt x="0" y="234"/>
                    <a:pt x="36" y="272"/>
                    <a:pt x="83" y="277"/>
                  </a:cubicBezTo>
                  <a:cubicBezTo>
                    <a:pt x="83" y="277"/>
                    <a:pt x="88" y="277"/>
                    <a:pt x="93" y="277"/>
                  </a:cubicBezTo>
                  <a:cubicBezTo>
                    <a:pt x="98" y="277"/>
                    <a:pt x="102" y="277"/>
                    <a:pt x="102" y="277"/>
                  </a:cubicBezTo>
                  <a:cubicBezTo>
                    <a:pt x="150" y="272"/>
                    <a:pt x="185" y="234"/>
                    <a:pt x="185" y="188"/>
                  </a:cubicBezTo>
                  <a:cubicBezTo>
                    <a:pt x="185" y="177"/>
                    <a:pt x="180" y="160"/>
                    <a:pt x="178" y="154"/>
                  </a:cubicBezTo>
                  <a:cubicBezTo>
                    <a:pt x="176" y="149"/>
                    <a:pt x="172" y="143"/>
                    <a:pt x="168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2" name="Group 427"/>
          <p:cNvGrpSpPr>
            <a:grpSpLocks noChangeAspect="1"/>
          </p:cNvGrpSpPr>
          <p:nvPr/>
        </p:nvGrpSpPr>
        <p:grpSpPr bwMode="auto">
          <a:xfrm>
            <a:off x="2901343" y="3747678"/>
            <a:ext cx="367631" cy="367631"/>
            <a:chOff x="3492" y="1636"/>
            <a:chExt cx="340" cy="340"/>
          </a:xfrm>
          <a:solidFill>
            <a:schemeClr val="accent5"/>
          </a:solidFill>
        </p:grpSpPr>
        <p:sp>
          <p:nvSpPr>
            <p:cNvPr id="373" name="Freeform 428"/>
            <p:cNvSpPr>
              <a:spLocks noEditPoints="1"/>
            </p:cNvSpPr>
            <p:nvPr/>
          </p:nvSpPr>
          <p:spPr bwMode="auto">
            <a:xfrm>
              <a:off x="3586" y="1700"/>
              <a:ext cx="151" cy="212"/>
            </a:xfrm>
            <a:custGeom>
              <a:avLst/>
              <a:gdLst>
                <a:gd name="T0" fmla="*/ 114 w 227"/>
                <a:gd name="T1" fmla="*/ 320 h 320"/>
                <a:gd name="T2" fmla="*/ 102 w 227"/>
                <a:gd name="T3" fmla="*/ 319 h 320"/>
                <a:gd name="T4" fmla="*/ 0 w 227"/>
                <a:gd name="T5" fmla="*/ 209 h 320"/>
                <a:gd name="T6" fmla="*/ 9 w 227"/>
                <a:gd name="T7" fmla="*/ 167 h 320"/>
                <a:gd name="T8" fmla="*/ 22 w 227"/>
                <a:gd name="T9" fmla="*/ 145 h 320"/>
                <a:gd name="T10" fmla="*/ 29 w 227"/>
                <a:gd name="T11" fmla="*/ 136 h 320"/>
                <a:gd name="T12" fmla="*/ 62 w 227"/>
                <a:gd name="T13" fmla="*/ 93 h 320"/>
                <a:gd name="T14" fmla="*/ 92 w 227"/>
                <a:gd name="T15" fmla="*/ 20 h 320"/>
                <a:gd name="T16" fmla="*/ 112 w 227"/>
                <a:gd name="T17" fmla="*/ 0 h 320"/>
                <a:gd name="T18" fmla="*/ 113 w 227"/>
                <a:gd name="T19" fmla="*/ 0 h 320"/>
                <a:gd name="T20" fmla="*/ 115 w 227"/>
                <a:gd name="T21" fmla="*/ 0 h 320"/>
                <a:gd name="T22" fmla="*/ 116 w 227"/>
                <a:gd name="T23" fmla="*/ 0 h 320"/>
                <a:gd name="T24" fmla="*/ 135 w 227"/>
                <a:gd name="T25" fmla="*/ 20 h 320"/>
                <a:gd name="T26" fmla="*/ 165 w 227"/>
                <a:gd name="T27" fmla="*/ 93 h 320"/>
                <a:gd name="T28" fmla="*/ 199 w 227"/>
                <a:gd name="T29" fmla="*/ 136 h 320"/>
                <a:gd name="T30" fmla="*/ 206 w 227"/>
                <a:gd name="T31" fmla="*/ 145 h 320"/>
                <a:gd name="T32" fmla="*/ 219 w 227"/>
                <a:gd name="T33" fmla="*/ 167 h 320"/>
                <a:gd name="T34" fmla="*/ 227 w 227"/>
                <a:gd name="T35" fmla="*/ 209 h 320"/>
                <a:gd name="T36" fmla="*/ 125 w 227"/>
                <a:gd name="T37" fmla="*/ 319 h 320"/>
                <a:gd name="T38" fmla="*/ 114 w 227"/>
                <a:gd name="T39" fmla="*/ 320 h 320"/>
                <a:gd name="T40" fmla="*/ 113 w 227"/>
                <a:gd name="T41" fmla="*/ 21 h 320"/>
                <a:gd name="T42" fmla="*/ 113 w 227"/>
                <a:gd name="T43" fmla="*/ 22 h 320"/>
                <a:gd name="T44" fmla="*/ 80 w 227"/>
                <a:gd name="T45" fmla="*/ 105 h 320"/>
                <a:gd name="T46" fmla="*/ 45 w 227"/>
                <a:gd name="T47" fmla="*/ 150 h 320"/>
                <a:gd name="T48" fmla="*/ 39 w 227"/>
                <a:gd name="T49" fmla="*/ 158 h 320"/>
                <a:gd name="T50" fmla="*/ 28 w 227"/>
                <a:gd name="T51" fmla="*/ 175 h 320"/>
                <a:gd name="T52" fmla="*/ 21 w 227"/>
                <a:gd name="T53" fmla="*/ 209 h 320"/>
                <a:gd name="T54" fmla="*/ 104 w 227"/>
                <a:gd name="T55" fmla="*/ 298 h 320"/>
                <a:gd name="T56" fmla="*/ 114 w 227"/>
                <a:gd name="T57" fmla="*/ 298 h 320"/>
                <a:gd name="T58" fmla="*/ 123 w 227"/>
                <a:gd name="T59" fmla="*/ 298 h 320"/>
                <a:gd name="T60" fmla="*/ 206 w 227"/>
                <a:gd name="T61" fmla="*/ 209 h 320"/>
                <a:gd name="T62" fmla="*/ 199 w 227"/>
                <a:gd name="T63" fmla="*/ 175 h 320"/>
                <a:gd name="T64" fmla="*/ 189 w 227"/>
                <a:gd name="T65" fmla="*/ 158 h 320"/>
                <a:gd name="T66" fmla="*/ 182 w 227"/>
                <a:gd name="T67" fmla="*/ 150 h 320"/>
                <a:gd name="T68" fmla="*/ 148 w 227"/>
                <a:gd name="T69" fmla="*/ 105 h 320"/>
                <a:gd name="T70" fmla="*/ 114 w 227"/>
                <a:gd name="T71" fmla="*/ 22 h 320"/>
                <a:gd name="T72" fmla="*/ 114 w 227"/>
                <a:gd name="T73" fmla="*/ 21 h 320"/>
                <a:gd name="T74" fmla="*/ 113 w 227"/>
                <a:gd name="T75" fmla="*/ 21 h 320"/>
                <a:gd name="T76" fmla="*/ 118 w 227"/>
                <a:gd name="T77" fmla="*/ 21 h 320"/>
                <a:gd name="T78" fmla="*/ 118 w 227"/>
                <a:gd name="T79" fmla="*/ 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7" h="320">
                  <a:moveTo>
                    <a:pt x="114" y="320"/>
                  </a:moveTo>
                  <a:cubicBezTo>
                    <a:pt x="107" y="320"/>
                    <a:pt x="102" y="319"/>
                    <a:pt x="102" y="319"/>
                  </a:cubicBezTo>
                  <a:cubicBezTo>
                    <a:pt x="44" y="313"/>
                    <a:pt x="0" y="266"/>
                    <a:pt x="0" y="209"/>
                  </a:cubicBezTo>
                  <a:cubicBezTo>
                    <a:pt x="0" y="194"/>
                    <a:pt x="6" y="174"/>
                    <a:pt x="9" y="167"/>
                  </a:cubicBezTo>
                  <a:cubicBezTo>
                    <a:pt x="11" y="160"/>
                    <a:pt x="16" y="153"/>
                    <a:pt x="22" y="145"/>
                  </a:cubicBezTo>
                  <a:cubicBezTo>
                    <a:pt x="23" y="143"/>
                    <a:pt x="25" y="140"/>
                    <a:pt x="29" y="136"/>
                  </a:cubicBezTo>
                  <a:cubicBezTo>
                    <a:pt x="37" y="126"/>
                    <a:pt x="50" y="110"/>
                    <a:pt x="62" y="93"/>
                  </a:cubicBezTo>
                  <a:cubicBezTo>
                    <a:pt x="74" y="75"/>
                    <a:pt x="88" y="47"/>
                    <a:pt x="92" y="20"/>
                  </a:cubicBezTo>
                  <a:cubicBezTo>
                    <a:pt x="92" y="8"/>
                    <a:pt x="101" y="0"/>
                    <a:pt x="112" y="0"/>
                  </a:cubicBezTo>
                  <a:cubicBezTo>
                    <a:pt x="112" y="0"/>
                    <a:pt x="112" y="0"/>
                    <a:pt x="113" y="0"/>
                  </a:cubicBezTo>
                  <a:cubicBezTo>
                    <a:pt x="113" y="0"/>
                    <a:pt x="114" y="0"/>
                    <a:pt x="115" y="0"/>
                  </a:cubicBezTo>
                  <a:cubicBezTo>
                    <a:pt x="115" y="0"/>
                    <a:pt x="115" y="0"/>
                    <a:pt x="116" y="0"/>
                  </a:cubicBezTo>
                  <a:cubicBezTo>
                    <a:pt x="127" y="0"/>
                    <a:pt x="135" y="8"/>
                    <a:pt x="135" y="20"/>
                  </a:cubicBezTo>
                  <a:cubicBezTo>
                    <a:pt x="139" y="47"/>
                    <a:pt x="154" y="75"/>
                    <a:pt x="165" y="93"/>
                  </a:cubicBezTo>
                  <a:cubicBezTo>
                    <a:pt x="177" y="110"/>
                    <a:pt x="191" y="126"/>
                    <a:pt x="199" y="136"/>
                  </a:cubicBezTo>
                  <a:cubicBezTo>
                    <a:pt x="202" y="140"/>
                    <a:pt x="204" y="143"/>
                    <a:pt x="206" y="145"/>
                  </a:cubicBezTo>
                  <a:cubicBezTo>
                    <a:pt x="212" y="153"/>
                    <a:pt x="216" y="160"/>
                    <a:pt x="219" y="167"/>
                  </a:cubicBezTo>
                  <a:cubicBezTo>
                    <a:pt x="222" y="174"/>
                    <a:pt x="227" y="194"/>
                    <a:pt x="227" y="209"/>
                  </a:cubicBezTo>
                  <a:cubicBezTo>
                    <a:pt x="227" y="266"/>
                    <a:pt x="184" y="313"/>
                    <a:pt x="125" y="319"/>
                  </a:cubicBezTo>
                  <a:cubicBezTo>
                    <a:pt x="125" y="319"/>
                    <a:pt x="120" y="320"/>
                    <a:pt x="114" y="320"/>
                  </a:cubicBezTo>
                  <a:close/>
                  <a:moveTo>
                    <a:pt x="113" y="21"/>
                  </a:moveTo>
                  <a:cubicBezTo>
                    <a:pt x="113" y="22"/>
                    <a:pt x="113" y="22"/>
                    <a:pt x="113" y="22"/>
                  </a:cubicBezTo>
                  <a:cubicBezTo>
                    <a:pt x="109" y="54"/>
                    <a:pt x="93" y="84"/>
                    <a:pt x="80" y="105"/>
                  </a:cubicBezTo>
                  <a:cubicBezTo>
                    <a:pt x="67" y="123"/>
                    <a:pt x="53" y="140"/>
                    <a:pt x="45" y="150"/>
                  </a:cubicBezTo>
                  <a:cubicBezTo>
                    <a:pt x="42" y="153"/>
                    <a:pt x="40" y="156"/>
                    <a:pt x="39" y="158"/>
                  </a:cubicBezTo>
                  <a:cubicBezTo>
                    <a:pt x="34" y="164"/>
                    <a:pt x="30" y="170"/>
                    <a:pt x="28" y="175"/>
                  </a:cubicBezTo>
                  <a:cubicBezTo>
                    <a:pt x="26" y="181"/>
                    <a:pt x="21" y="198"/>
                    <a:pt x="21" y="209"/>
                  </a:cubicBezTo>
                  <a:cubicBezTo>
                    <a:pt x="21" y="255"/>
                    <a:pt x="57" y="293"/>
                    <a:pt x="104" y="298"/>
                  </a:cubicBezTo>
                  <a:cubicBezTo>
                    <a:pt x="104" y="298"/>
                    <a:pt x="109" y="298"/>
                    <a:pt x="114" y="298"/>
                  </a:cubicBezTo>
                  <a:cubicBezTo>
                    <a:pt x="119" y="298"/>
                    <a:pt x="123" y="298"/>
                    <a:pt x="123" y="298"/>
                  </a:cubicBezTo>
                  <a:cubicBezTo>
                    <a:pt x="171" y="293"/>
                    <a:pt x="206" y="255"/>
                    <a:pt x="206" y="209"/>
                  </a:cubicBezTo>
                  <a:cubicBezTo>
                    <a:pt x="206" y="198"/>
                    <a:pt x="201" y="181"/>
                    <a:pt x="199" y="175"/>
                  </a:cubicBezTo>
                  <a:cubicBezTo>
                    <a:pt x="197" y="170"/>
                    <a:pt x="193" y="164"/>
                    <a:pt x="189" y="158"/>
                  </a:cubicBezTo>
                  <a:cubicBezTo>
                    <a:pt x="187" y="156"/>
                    <a:pt x="185" y="153"/>
                    <a:pt x="182" y="150"/>
                  </a:cubicBezTo>
                  <a:cubicBezTo>
                    <a:pt x="174" y="140"/>
                    <a:pt x="160" y="123"/>
                    <a:pt x="148" y="105"/>
                  </a:cubicBezTo>
                  <a:cubicBezTo>
                    <a:pt x="134" y="84"/>
                    <a:pt x="118" y="54"/>
                    <a:pt x="114" y="22"/>
                  </a:cubicBezTo>
                  <a:cubicBezTo>
                    <a:pt x="114" y="22"/>
                    <a:pt x="114" y="22"/>
                    <a:pt x="114" y="21"/>
                  </a:cubicBezTo>
                  <a:cubicBezTo>
                    <a:pt x="114" y="21"/>
                    <a:pt x="114" y="21"/>
                    <a:pt x="113" y="21"/>
                  </a:cubicBezTo>
                  <a:close/>
                  <a:moveTo>
                    <a:pt x="118" y="21"/>
                  </a:moveTo>
                  <a:cubicBezTo>
                    <a:pt x="118" y="21"/>
                    <a:pt x="118" y="21"/>
                    <a:pt x="11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4" name="Freeform 429"/>
            <p:cNvSpPr>
              <a:spLocks noEditPoints="1"/>
            </p:cNvSpPr>
            <p:nvPr/>
          </p:nvSpPr>
          <p:spPr bwMode="auto">
            <a:xfrm>
              <a:off x="3492" y="163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7" name="Group 620"/>
          <p:cNvGrpSpPr>
            <a:grpSpLocks noChangeAspect="1"/>
          </p:cNvGrpSpPr>
          <p:nvPr/>
        </p:nvGrpSpPr>
        <p:grpSpPr bwMode="auto">
          <a:xfrm>
            <a:off x="3914231" y="3747001"/>
            <a:ext cx="369676" cy="369676"/>
            <a:chOff x="5828" y="2247"/>
            <a:chExt cx="340" cy="340"/>
          </a:xfrm>
          <a:solidFill>
            <a:schemeClr val="accent1"/>
          </a:solidFill>
        </p:grpSpPr>
        <p:sp>
          <p:nvSpPr>
            <p:cNvPr id="248" name="Freeform 621"/>
            <p:cNvSpPr>
              <a:spLocks noEditPoints="1"/>
            </p:cNvSpPr>
            <p:nvPr/>
          </p:nvSpPr>
          <p:spPr bwMode="auto">
            <a:xfrm>
              <a:off x="5898" y="2311"/>
              <a:ext cx="199" cy="212"/>
            </a:xfrm>
            <a:custGeom>
              <a:avLst/>
              <a:gdLst>
                <a:gd name="T0" fmla="*/ 160 w 299"/>
                <a:gd name="T1" fmla="*/ 21 h 320"/>
                <a:gd name="T2" fmla="*/ 160 w 299"/>
                <a:gd name="T3" fmla="*/ 10 h 320"/>
                <a:gd name="T4" fmla="*/ 150 w 299"/>
                <a:gd name="T5" fmla="*/ 0 h 320"/>
                <a:gd name="T6" fmla="*/ 139 w 299"/>
                <a:gd name="T7" fmla="*/ 10 h 320"/>
                <a:gd name="T8" fmla="*/ 139 w 299"/>
                <a:gd name="T9" fmla="*/ 21 h 320"/>
                <a:gd name="T10" fmla="*/ 0 w 299"/>
                <a:gd name="T11" fmla="*/ 148 h 320"/>
                <a:gd name="T12" fmla="*/ 5 w 299"/>
                <a:gd name="T13" fmla="*/ 158 h 320"/>
                <a:gd name="T14" fmla="*/ 16 w 299"/>
                <a:gd name="T15" fmla="*/ 159 h 320"/>
                <a:gd name="T16" fmla="*/ 91 w 299"/>
                <a:gd name="T17" fmla="*/ 158 h 320"/>
                <a:gd name="T18" fmla="*/ 103 w 299"/>
                <a:gd name="T19" fmla="*/ 158 h 320"/>
                <a:gd name="T20" fmla="*/ 139 w 299"/>
                <a:gd name="T21" fmla="*/ 140 h 320"/>
                <a:gd name="T22" fmla="*/ 139 w 299"/>
                <a:gd name="T23" fmla="*/ 288 h 320"/>
                <a:gd name="T24" fmla="*/ 128 w 299"/>
                <a:gd name="T25" fmla="*/ 298 h 320"/>
                <a:gd name="T26" fmla="*/ 118 w 299"/>
                <a:gd name="T27" fmla="*/ 288 h 320"/>
                <a:gd name="T28" fmla="*/ 107 w 299"/>
                <a:gd name="T29" fmla="*/ 277 h 320"/>
                <a:gd name="T30" fmla="*/ 96 w 299"/>
                <a:gd name="T31" fmla="*/ 288 h 320"/>
                <a:gd name="T32" fmla="*/ 128 w 299"/>
                <a:gd name="T33" fmla="*/ 320 h 320"/>
                <a:gd name="T34" fmla="*/ 160 w 299"/>
                <a:gd name="T35" fmla="*/ 288 h 320"/>
                <a:gd name="T36" fmla="*/ 160 w 299"/>
                <a:gd name="T37" fmla="*/ 139 h 320"/>
                <a:gd name="T38" fmla="*/ 195 w 299"/>
                <a:gd name="T39" fmla="*/ 156 h 320"/>
                <a:gd name="T40" fmla="*/ 203 w 299"/>
                <a:gd name="T41" fmla="*/ 160 h 320"/>
                <a:gd name="T42" fmla="*/ 207 w 299"/>
                <a:gd name="T43" fmla="*/ 159 h 320"/>
                <a:gd name="T44" fmla="*/ 282 w 299"/>
                <a:gd name="T45" fmla="*/ 157 h 320"/>
                <a:gd name="T46" fmla="*/ 293 w 299"/>
                <a:gd name="T47" fmla="*/ 158 h 320"/>
                <a:gd name="T48" fmla="*/ 299 w 299"/>
                <a:gd name="T49" fmla="*/ 148 h 320"/>
                <a:gd name="T50" fmla="*/ 160 w 299"/>
                <a:gd name="T51" fmla="*/ 21 h 320"/>
                <a:gd name="T52" fmla="*/ 86 w 299"/>
                <a:gd name="T53" fmla="*/ 132 h 320"/>
                <a:gd name="T54" fmla="*/ 25 w 299"/>
                <a:gd name="T55" fmla="*/ 132 h 320"/>
                <a:gd name="T56" fmla="*/ 118 w 299"/>
                <a:gd name="T57" fmla="*/ 46 h 320"/>
                <a:gd name="T58" fmla="*/ 86 w 299"/>
                <a:gd name="T59" fmla="*/ 132 h 320"/>
                <a:gd name="T60" fmla="*/ 153 w 299"/>
                <a:gd name="T61" fmla="*/ 117 h 320"/>
                <a:gd name="T62" fmla="*/ 108 w 299"/>
                <a:gd name="T63" fmla="*/ 129 h 320"/>
                <a:gd name="T64" fmla="*/ 150 w 299"/>
                <a:gd name="T65" fmla="*/ 44 h 320"/>
                <a:gd name="T66" fmla="*/ 191 w 299"/>
                <a:gd name="T67" fmla="*/ 127 h 320"/>
                <a:gd name="T68" fmla="*/ 153 w 299"/>
                <a:gd name="T69" fmla="*/ 117 h 320"/>
                <a:gd name="T70" fmla="*/ 213 w 299"/>
                <a:gd name="T71" fmla="*/ 134 h 320"/>
                <a:gd name="T72" fmla="*/ 181 w 299"/>
                <a:gd name="T73" fmla="*/ 46 h 320"/>
                <a:gd name="T74" fmla="*/ 275 w 299"/>
                <a:gd name="T75" fmla="*/ 131 h 320"/>
                <a:gd name="T76" fmla="*/ 213 w 299"/>
                <a:gd name="T77" fmla="*/ 1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9" h="320">
                  <a:moveTo>
                    <a:pt x="160" y="21"/>
                  </a:moveTo>
                  <a:cubicBezTo>
                    <a:pt x="160" y="10"/>
                    <a:pt x="160" y="10"/>
                    <a:pt x="160" y="10"/>
                  </a:cubicBezTo>
                  <a:cubicBezTo>
                    <a:pt x="160" y="4"/>
                    <a:pt x="156" y="0"/>
                    <a:pt x="150" y="0"/>
                  </a:cubicBezTo>
                  <a:cubicBezTo>
                    <a:pt x="144" y="0"/>
                    <a:pt x="139" y="4"/>
                    <a:pt x="139" y="10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66" y="26"/>
                    <a:pt x="6" y="80"/>
                    <a:pt x="0" y="148"/>
                  </a:cubicBezTo>
                  <a:cubicBezTo>
                    <a:pt x="0" y="152"/>
                    <a:pt x="2" y="156"/>
                    <a:pt x="5" y="158"/>
                  </a:cubicBezTo>
                  <a:cubicBezTo>
                    <a:pt x="8" y="160"/>
                    <a:pt x="12" y="160"/>
                    <a:pt x="16" y="159"/>
                  </a:cubicBezTo>
                  <a:cubicBezTo>
                    <a:pt x="16" y="158"/>
                    <a:pt x="58" y="138"/>
                    <a:pt x="91" y="158"/>
                  </a:cubicBezTo>
                  <a:cubicBezTo>
                    <a:pt x="94" y="160"/>
                    <a:pt x="99" y="160"/>
                    <a:pt x="103" y="158"/>
                  </a:cubicBezTo>
                  <a:cubicBezTo>
                    <a:pt x="116" y="148"/>
                    <a:pt x="128" y="143"/>
                    <a:pt x="139" y="140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39" y="294"/>
                    <a:pt x="134" y="298"/>
                    <a:pt x="128" y="298"/>
                  </a:cubicBezTo>
                  <a:cubicBezTo>
                    <a:pt x="122" y="298"/>
                    <a:pt x="118" y="294"/>
                    <a:pt x="118" y="288"/>
                  </a:cubicBezTo>
                  <a:cubicBezTo>
                    <a:pt x="118" y="282"/>
                    <a:pt x="113" y="277"/>
                    <a:pt x="107" y="277"/>
                  </a:cubicBezTo>
                  <a:cubicBezTo>
                    <a:pt x="101" y="277"/>
                    <a:pt x="96" y="282"/>
                    <a:pt x="96" y="288"/>
                  </a:cubicBezTo>
                  <a:cubicBezTo>
                    <a:pt x="96" y="305"/>
                    <a:pt x="111" y="320"/>
                    <a:pt x="128" y="320"/>
                  </a:cubicBezTo>
                  <a:cubicBezTo>
                    <a:pt x="146" y="320"/>
                    <a:pt x="160" y="305"/>
                    <a:pt x="160" y="288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82" y="141"/>
                    <a:pt x="194" y="155"/>
                    <a:pt x="195" y="156"/>
                  </a:cubicBezTo>
                  <a:cubicBezTo>
                    <a:pt x="197" y="158"/>
                    <a:pt x="200" y="160"/>
                    <a:pt x="203" y="160"/>
                  </a:cubicBezTo>
                  <a:cubicBezTo>
                    <a:pt x="204" y="160"/>
                    <a:pt x="206" y="159"/>
                    <a:pt x="207" y="159"/>
                  </a:cubicBezTo>
                  <a:cubicBezTo>
                    <a:pt x="255" y="138"/>
                    <a:pt x="281" y="157"/>
                    <a:pt x="282" y="157"/>
                  </a:cubicBezTo>
                  <a:cubicBezTo>
                    <a:pt x="285" y="160"/>
                    <a:pt x="290" y="160"/>
                    <a:pt x="293" y="158"/>
                  </a:cubicBezTo>
                  <a:cubicBezTo>
                    <a:pt x="297" y="156"/>
                    <a:pt x="299" y="152"/>
                    <a:pt x="299" y="148"/>
                  </a:cubicBezTo>
                  <a:cubicBezTo>
                    <a:pt x="294" y="80"/>
                    <a:pt x="234" y="26"/>
                    <a:pt x="160" y="21"/>
                  </a:cubicBezTo>
                  <a:close/>
                  <a:moveTo>
                    <a:pt x="86" y="132"/>
                  </a:moveTo>
                  <a:cubicBezTo>
                    <a:pt x="63" y="124"/>
                    <a:pt x="40" y="128"/>
                    <a:pt x="25" y="132"/>
                  </a:cubicBezTo>
                  <a:cubicBezTo>
                    <a:pt x="35" y="91"/>
                    <a:pt x="72" y="57"/>
                    <a:pt x="118" y="46"/>
                  </a:cubicBezTo>
                  <a:cubicBezTo>
                    <a:pt x="104" y="63"/>
                    <a:pt x="89" y="91"/>
                    <a:pt x="86" y="132"/>
                  </a:cubicBezTo>
                  <a:close/>
                  <a:moveTo>
                    <a:pt x="153" y="117"/>
                  </a:moveTo>
                  <a:cubicBezTo>
                    <a:pt x="140" y="117"/>
                    <a:pt x="125" y="120"/>
                    <a:pt x="108" y="129"/>
                  </a:cubicBezTo>
                  <a:cubicBezTo>
                    <a:pt x="113" y="77"/>
                    <a:pt x="139" y="53"/>
                    <a:pt x="150" y="44"/>
                  </a:cubicBezTo>
                  <a:cubicBezTo>
                    <a:pt x="160" y="53"/>
                    <a:pt x="185" y="77"/>
                    <a:pt x="191" y="127"/>
                  </a:cubicBezTo>
                  <a:cubicBezTo>
                    <a:pt x="181" y="122"/>
                    <a:pt x="169" y="117"/>
                    <a:pt x="153" y="117"/>
                  </a:cubicBezTo>
                  <a:close/>
                  <a:moveTo>
                    <a:pt x="213" y="134"/>
                  </a:moveTo>
                  <a:cubicBezTo>
                    <a:pt x="210" y="91"/>
                    <a:pt x="195" y="63"/>
                    <a:pt x="181" y="46"/>
                  </a:cubicBezTo>
                  <a:cubicBezTo>
                    <a:pt x="227" y="57"/>
                    <a:pt x="263" y="90"/>
                    <a:pt x="275" y="131"/>
                  </a:cubicBezTo>
                  <a:cubicBezTo>
                    <a:pt x="261" y="127"/>
                    <a:pt x="240" y="125"/>
                    <a:pt x="213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622"/>
            <p:cNvSpPr>
              <a:spLocks noEditPoints="1"/>
            </p:cNvSpPr>
            <p:nvPr/>
          </p:nvSpPr>
          <p:spPr bwMode="auto">
            <a:xfrm>
              <a:off x="5828" y="224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0" name="Freeform 626"/>
          <p:cNvSpPr>
            <a:spLocks noChangeAspect="1" noEditPoints="1"/>
          </p:cNvSpPr>
          <p:nvPr/>
        </p:nvSpPr>
        <p:spPr bwMode="auto">
          <a:xfrm>
            <a:off x="3406898" y="3747001"/>
            <a:ext cx="369676" cy="369676"/>
          </a:xfrm>
          <a:custGeom>
            <a:avLst/>
            <a:gdLst>
              <a:gd name="T0" fmla="*/ 381 w 512"/>
              <a:gd name="T1" fmla="*/ 227 h 512"/>
              <a:gd name="T2" fmla="*/ 319 w 512"/>
              <a:gd name="T3" fmla="*/ 230 h 512"/>
              <a:gd name="T4" fmla="*/ 287 w 512"/>
              <a:gd name="T5" fmla="*/ 142 h 512"/>
              <a:gd name="T6" fmla="*/ 381 w 512"/>
              <a:gd name="T7" fmla="*/ 227 h 512"/>
              <a:gd name="T8" fmla="*/ 256 w 512"/>
              <a:gd name="T9" fmla="*/ 140 h 512"/>
              <a:gd name="T10" fmla="*/ 214 w 512"/>
              <a:gd name="T11" fmla="*/ 225 h 512"/>
              <a:gd name="T12" fmla="*/ 259 w 512"/>
              <a:gd name="T13" fmla="*/ 213 h 512"/>
              <a:gd name="T14" fmla="*/ 297 w 512"/>
              <a:gd name="T15" fmla="*/ 223 h 512"/>
              <a:gd name="T16" fmla="*/ 256 w 512"/>
              <a:gd name="T17" fmla="*/ 140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405 w 512"/>
              <a:gd name="T29" fmla="*/ 244 h 512"/>
              <a:gd name="T30" fmla="*/ 266 w 512"/>
              <a:gd name="T31" fmla="*/ 117 h 512"/>
              <a:gd name="T32" fmla="*/ 266 w 512"/>
              <a:gd name="T33" fmla="*/ 106 h 512"/>
              <a:gd name="T34" fmla="*/ 256 w 512"/>
              <a:gd name="T35" fmla="*/ 96 h 512"/>
              <a:gd name="T36" fmla="*/ 245 w 512"/>
              <a:gd name="T37" fmla="*/ 106 h 512"/>
              <a:gd name="T38" fmla="*/ 245 w 512"/>
              <a:gd name="T39" fmla="*/ 117 h 512"/>
              <a:gd name="T40" fmla="*/ 106 w 512"/>
              <a:gd name="T41" fmla="*/ 244 h 512"/>
              <a:gd name="T42" fmla="*/ 111 w 512"/>
              <a:gd name="T43" fmla="*/ 254 h 512"/>
              <a:gd name="T44" fmla="*/ 122 w 512"/>
              <a:gd name="T45" fmla="*/ 255 h 512"/>
              <a:gd name="T46" fmla="*/ 197 w 512"/>
              <a:gd name="T47" fmla="*/ 254 h 512"/>
              <a:gd name="T48" fmla="*/ 209 w 512"/>
              <a:gd name="T49" fmla="*/ 254 h 512"/>
              <a:gd name="T50" fmla="*/ 245 w 512"/>
              <a:gd name="T51" fmla="*/ 236 h 512"/>
              <a:gd name="T52" fmla="*/ 245 w 512"/>
              <a:gd name="T53" fmla="*/ 384 h 512"/>
              <a:gd name="T54" fmla="*/ 234 w 512"/>
              <a:gd name="T55" fmla="*/ 394 h 512"/>
              <a:gd name="T56" fmla="*/ 224 w 512"/>
              <a:gd name="T57" fmla="*/ 384 h 512"/>
              <a:gd name="T58" fmla="*/ 213 w 512"/>
              <a:gd name="T59" fmla="*/ 373 h 512"/>
              <a:gd name="T60" fmla="*/ 202 w 512"/>
              <a:gd name="T61" fmla="*/ 384 h 512"/>
              <a:gd name="T62" fmla="*/ 234 w 512"/>
              <a:gd name="T63" fmla="*/ 416 h 512"/>
              <a:gd name="T64" fmla="*/ 266 w 512"/>
              <a:gd name="T65" fmla="*/ 384 h 512"/>
              <a:gd name="T66" fmla="*/ 266 w 512"/>
              <a:gd name="T67" fmla="*/ 235 h 512"/>
              <a:gd name="T68" fmla="*/ 301 w 512"/>
              <a:gd name="T69" fmla="*/ 252 h 512"/>
              <a:gd name="T70" fmla="*/ 309 w 512"/>
              <a:gd name="T71" fmla="*/ 256 h 512"/>
              <a:gd name="T72" fmla="*/ 313 w 512"/>
              <a:gd name="T73" fmla="*/ 255 h 512"/>
              <a:gd name="T74" fmla="*/ 388 w 512"/>
              <a:gd name="T75" fmla="*/ 253 h 512"/>
              <a:gd name="T76" fmla="*/ 399 w 512"/>
              <a:gd name="T77" fmla="*/ 254 h 512"/>
              <a:gd name="T78" fmla="*/ 405 w 512"/>
              <a:gd name="T79" fmla="*/ 244 h 512"/>
              <a:gd name="T80" fmla="*/ 131 w 512"/>
              <a:gd name="T81" fmla="*/ 228 h 512"/>
              <a:gd name="T82" fmla="*/ 192 w 512"/>
              <a:gd name="T83" fmla="*/ 228 h 512"/>
              <a:gd name="T84" fmla="*/ 224 w 512"/>
              <a:gd name="T85" fmla="*/ 142 h 512"/>
              <a:gd name="T86" fmla="*/ 131 w 512"/>
              <a:gd name="T87" fmla="*/ 2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81" y="227"/>
                </a:moveTo>
                <a:cubicBezTo>
                  <a:pt x="367" y="223"/>
                  <a:pt x="346" y="221"/>
                  <a:pt x="319" y="230"/>
                </a:cubicBezTo>
                <a:cubicBezTo>
                  <a:pt x="316" y="187"/>
                  <a:pt x="301" y="159"/>
                  <a:pt x="287" y="142"/>
                </a:cubicBezTo>
                <a:cubicBezTo>
                  <a:pt x="333" y="153"/>
                  <a:pt x="369" y="186"/>
                  <a:pt x="381" y="227"/>
                </a:cubicBezTo>
                <a:close/>
                <a:moveTo>
                  <a:pt x="256" y="140"/>
                </a:moveTo>
                <a:cubicBezTo>
                  <a:pt x="245" y="149"/>
                  <a:pt x="219" y="173"/>
                  <a:pt x="214" y="225"/>
                </a:cubicBezTo>
                <a:cubicBezTo>
                  <a:pt x="231" y="216"/>
                  <a:pt x="246" y="213"/>
                  <a:pt x="259" y="213"/>
                </a:cubicBezTo>
                <a:cubicBezTo>
                  <a:pt x="275" y="213"/>
                  <a:pt x="287" y="218"/>
                  <a:pt x="297" y="223"/>
                </a:cubicBezTo>
                <a:cubicBezTo>
                  <a:pt x="291" y="173"/>
                  <a:pt x="266" y="149"/>
                  <a:pt x="256" y="14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244"/>
                </a:moveTo>
                <a:cubicBezTo>
                  <a:pt x="400" y="176"/>
                  <a:pt x="340" y="122"/>
                  <a:pt x="266" y="117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172" y="122"/>
                  <a:pt x="112" y="176"/>
                  <a:pt x="106" y="244"/>
                </a:cubicBezTo>
                <a:cubicBezTo>
                  <a:pt x="106" y="248"/>
                  <a:pt x="108" y="252"/>
                  <a:pt x="111" y="254"/>
                </a:cubicBezTo>
                <a:cubicBezTo>
                  <a:pt x="114" y="256"/>
                  <a:pt x="118" y="256"/>
                  <a:pt x="122" y="255"/>
                </a:cubicBezTo>
                <a:cubicBezTo>
                  <a:pt x="122" y="254"/>
                  <a:pt x="164" y="234"/>
                  <a:pt x="197" y="254"/>
                </a:cubicBezTo>
                <a:cubicBezTo>
                  <a:pt x="200" y="256"/>
                  <a:pt x="205" y="256"/>
                  <a:pt x="209" y="254"/>
                </a:cubicBezTo>
                <a:cubicBezTo>
                  <a:pt x="222" y="244"/>
                  <a:pt x="234" y="239"/>
                  <a:pt x="245" y="236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90"/>
                  <a:pt x="240" y="394"/>
                  <a:pt x="234" y="394"/>
                </a:cubicBezTo>
                <a:cubicBezTo>
                  <a:pt x="228" y="394"/>
                  <a:pt x="224" y="390"/>
                  <a:pt x="224" y="384"/>
                </a:cubicBezTo>
                <a:cubicBezTo>
                  <a:pt x="224" y="378"/>
                  <a:pt x="219" y="373"/>
                  <a:pt x="213" y="373"/>
                </a:cubicBezTo>
                <a:cubicBezTo>
                  <a:pt x="207" y="373"/>
                  <a:pt x="202" y="378"/>
                  <a:pt x="202" y="384"/>
                </a:cubicBezTo>
                <a:cubicBezTo>
                  <a:pt x="202" y="401"/>
                  <a:pt x="217" y="416"/>
                  <a:pt x="234" y="416"/>
                </a:cubicBezTo>
                <a:cubicBezTo>
                  <a:pt x="252" y="416"/>
                  <a:pt x="266" y="401"/>
                  <a:pt x="266" y="384"/>
                </a:cubicBezTo>
                <a:cubicBezTo>
                  <a:pt x="266" y="235"/>
                  <a:pt x="266" y="235"/>
                  <a:pt x="266" y="235"/>
                </a:cubicBezTo>
                <a:cubicBezTo>
                  <a:pt x="288" y="237"/>
                  <a:pt x="300" y="251"/>
                  <a:pt x="301" y="252"/>
                </a:cubicBezTo>
                <a:cubicBezTo>
                  <a:pt x="303" y="254"/>
                  <a:pt x="306" y="256"/>
                  <a:pt x="309" y="256"/>
                </a:cubicBezTo>
                <a:cubicBezTo>
                  <a:pt x="310" y="256"/>
                  <a:pt x="312" y="255"/>
                  <a:pt x="313" y="255"/>
                </a:cubicBezTo>
                <a:cubicBezTo>
                  <a:pt x="361" y="234"/>
                  <a:pt x="387" y="253"/>
                  <a:pt x="388" y="253"/>
                </a:cubicBezTo>
                <a:cubicBezTo>
                  <a:pt x="391" y="256"/>
                  <a:pt x="396" y="256"/>
                  <a:pt x="399" y="254"/>
                </a:cubicBezTo>
                <a:cubicBezTo>
                  <a:pt x="403" y="252"/>
                  <a:pt x="405" y="248"/>
                  <a:pt x="405" y="244"/>
                </a:cubicBezTo>
                <a:close/>
                <a:moveTo>
                  <a:pt x="131" y="228"/>
                </a:moveTo>
                <a:cubicBezTo>
                  <a:pt x="146" y="224"/>
                  <a:pt x="169" y="220"/>
                  <a:pt x="192" y="228"/>
                </a:cubicBezTo>
                <a:cubicBezTo>
                  <a:pt x="195" y="187"/>
                  <a:pt x="210" y="159"/>
                  <a:pt x="224" y="142"/>
                </a:cubicBezTo>
                <a:cubicBezTo>
                  <a:pt x="178" y="153"/>
                  <a:pt x="141" y="187"/>
                  <a:pt x="131" y="2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1" name="Group 565"/>
          <p:cNvGrpSpPr>
            <a:grpSpLocks noChangeAspect="1"/>
          </p:cNvGrpSpPr>
          <p:nvPr/>
        </p:nvGrpSpPr>
        <p:grpSpPr bwMode="auto">
          <a:xfrm>
            <a:off x="4904332" y="3748219"/>
            <a:ext cx="369676" cy="369676"/>
            <a:chOff x="2724" y="1961"/>
            <a:chExt cx="340" cy="340"/>
          </a:xfrm>
          <a:solidFill>
            <a:schemeClr val="accent6"/>
          </a:solidFill>
        </p:grpSpPr>
        <p:sp>
          <p:nvSpPr>
            <p:cNvPr id="252" name="Freeform 566"/>
            <p:cNvSpPr>
              <a:spLocks noEditPoints="1"/>
            </p:cNvSpPr>
            <p:nvPr/>
          </p:nvSpPr>
          <p:spPr bwMode="auto">
            <a:xfrm>
              <a:off x="2724" y="19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567"/>
            <p:cNvSpPr>
              <a:spLocks noEditPoints="1"/>
            </p:cNvSpPr>
            <p:nvPr/>
          </p:nvSpPr>
          <p:spPr bwMode="auto">
            <a:xfrm>
              <a:off x="2802" y="2039"/>
              <a:ext cx="184" cy="198"/>
            </a:xfrm>
            <a:custGeom>
              <a:avLst/>
              <a:gdLst>
                <a:gd name="T0" fmla="*/ 229 w 278"/>
                <a:gd name="T1" fmla="*/ 219 h 299"/>
                <a:gd name="T2" fmla="*/ 228 w 278"/>
                <a:gd name="T3" fmla="*/ 139 h 299"/>
                <a:gd name="T4" fmla="*/ 277 w 278"/>
                <a:gd name="T5" fmla="*/ 84 h 299"/>
                <a:gd name="T6" fmla="*/ 250 w 278"/>
                <a:gd name="T7" fmla="*/ 65 h 299"/>
                <a:gd name="T8" fmla="*/ 198 w 278"/>
                <a:gd name="T9" fmla="*/ 86 h 299"/>
                <a:gd name="T10" fmla="*/ 181 w 278"/>
                <a:gd name="T11" fmla="*/ 76 h 299"/>
                <a:gd name="T12" fmla="*/ 181 w 278"/>
                <a:gd name="T13" fmla="*/ 53 h 299"/>
                <a:gd name="T14" fmla="*/ 128 w 278"/>
                <a:gd name="T15" fmla="*/ 0 h 299"/>
                <a:gd name="T16" fmla="*/ 96 w 278"/>
                <a:gd name="T17" fmla="*/ 75 h 299"/>
                <a:gd name="T18" fmla="*/ 81 w 278"/>
                <a:gd name="T19" fmla="*/ 88 h 299"/>
                <a:gd name="T20" fmla="*/ 37 w 278"/>
                <a:gd name="T21" fmla="*/ 65 h 299"/>
                <a:gd name="T22" fmla="*/ 6 w 278"/>
                <a:gd name="T23" fmla="*/ 76 h 299"/>
                <a:gd name="T24" fmla="*/ 3 w 278"/>
                <a:gd name="T25" fmla="*/ 93 h 299"/>
                <a:gd name="T26" fmla="*/ 43 w 278"/>
                <a:gd name="T27" fmla="*/ 181 h 299"/>
                <a:gd name="T28" fmla="*/ 4 w 278"/>
                <a:gd name="T29" fmla="*/ 259 h 299"/>
                <a:gd name="T30" fmla="*/ 4 w 278"/>
                <a:gd name="T31" fmla="*/ 275 h 299"/>
                <a:gd name="T32" fmla="*/ 32 w 278"/>
                <a:gd name="T33" fmla="*/ 293 h 299"/>
                <a:gd name="T34" fmla="*/ 78 w 278"/>
                <a:gd name="T35" fmla="*/ 272 h 299"/>
                <a:gd name="T36" fmla="*/ 200 w 278"/>
                <a:gd name="T37" fmla="*/ 272 h 299"/>
                <a:gd name="T38" fmla="*/ 245 w 278"/>
                <a:gd name="T39" fmla="*/ 293 h 299"/>
                <a:gd name="T40" fmla="*/ 273 w 278"/>
                <a:gd name="T41" fmla="*/ 275 h 299"/>
                <a:gd name="T42" fmla="*/ 274 w 278"/>
                <a:gd name="T43" fmla="*/ 259 h 299"/>
                <a:gd name="T44" fmla="*/ 187 w 278"/>
                <a:gd name="T45" fmla="*/ 192 h 299"/>
                <a:gd name="T46" fmla="*/ 196 w 278"/>
                <a:gd name="T47" fmla="*/ 243 h 299"/>
                <a:gd name="T48" fmla="*/ 139 w 278"/>
                <a:gd name="T49" fmla="*/ 85 h 299"/>
                <a:gd name="T50" fmla="*/ 155 w 278"/>
                <a:gd name="T51" fmla="*/ 139 h 299"/>
                <a:gd name="T52" fmla="*/ 96 w 278"/>
                <a:gd name="T53" fmla="*/ 103 h 299"/>
                <a:gd name="T54" fmla="*/ 213 w 278"/>
                <a:gd name="T55" fmla="*/ 171 h 299"/>
                <a:gd name="T56" fmla="*/ 173 w 278"/>
                <a:gd name="T57" fmla="*/ 150 h 299"/>
                <a:gd name="T58" fmla="*/ 213 w 278"/>
                <a:gd name="T59" fmla="*/ 171 h 299"/>
                <a:gd name="T60" fmla="*/ 90 w 278"/>
                <a:gd name="T61" fmla="*/ 171 h 299"/>
                <a:gd name="T62" fmla="*/ 82 w 278"/>
                <a:gd name="T63" fmla="*/ 120 h 299"/>
                <a:gd name="T64" fmla="*/ 82 w 278"/>
                <a:gd name="T65" fmla="*/ 243 h 299"/>
                <a:gd name="T66" fmla="*/ 90 w 278"/>
                <a:gd name="T67" fmla="*/ 192 h 299"/>
                <a:gd name="T68" fmla="*/ 82 w 278"/>
                <a:gd name="T69" fmla="*/ 243 h 299"/>
                <a:gd name="T70" fmla="*/ 109 w 278"/>
                <a:gd name="T71" fmla="*/ 181 h 299"/>
                <a:gd name="T72" fmla="*/ 154 w 278"/>
                <a:gd name="T73" fmla="*/ 160 h 299"/>
                <a:gd name="T74" fmla="*/ 154 w 278"/>
                <a:gd name="T75" fmla="*/ 203 h 299"/>
                <a:gd name="T76" fmla="*/ 245 w 278"/>
                <a:gd name="T77" fmla="*/ 87 h 299"/>
                <a:gd name="T78" fmla="*/ 219 w 278"/>
                <a:gd name="T79" fmla="*/ 118 h 299"/>
                <a:gd name="T80" fmla="*/ 245 w 278"/>
                <a:gd name="T81" fmla="*/ 87 h 299"/>
                <a:gd name="T82" fmla="*/ 129 w 278"/>
                <a:gd name="T83" fmla="*/ 21 h 299"/>
                <a:gd name="T84" fmla="*/ 160 w 278"/>
                <a:gd name="T85" fmla="*/ 53 h 299"/>
                <a:gd name="T86" fmla="*/ 139 w 278"/>
                <a:gd name="T87" fmla="*/ 64 h 299"/>
                <a:gd name="T88" fmla="*/ 117 w 278"/>
                <a:gd name="T89" fmla="*/ 53 h 299"/>
                <a:gd name="T90" fmla="*/ 32 w 278"/>
                <a:gd name="T91" fmla="*/ 87 h 299"/>
                <a:gd name="T92" fmla="*/ 58 w 278"/>
                <a:gd name="T93" fmla="*/ 118 h 299"/>
                <a:gd name="T94" fmla="*/ 33 w 278"/>
                <a:gd name="T95" fmla="*/ 270 h 299"/>
                <a:gd name="T96" fmla="*/ 56 w 278"/>
                <a:gd name="T97" fmla="*/ 241 h 299"/>
                <a:gd name="T98" fmla="*/ 33 w 278"/>
                <a:gd name="T99" fmla="*/ 270 h 299"/>
                <a:gd name="T100" fmla="*/ 123 w 278"/>
                <a:gd name="T101" fmla="*/ 224 h 299"/>
                <a:gd name="T102" fmla="*/ 182 w 278"/>
                <a:gd name="T103" fmla="*/ 260 h 299"/>
                <a:gd name="T104" fmla="*/ 96 w 278"/>
                <a:gd name="T105" fmla="*/ 260 h 299"/>
                <a:gd name="T106" fmla="*/ 213 w 278"/>
                <a:gd name="T107" fmla="*/ 255 h 299"/>
                <a:gd name="T108" fmla="*/ 250 w 278"/>
                <a:gd name="T109" fmla="*/ 26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8" h="299">
                  <a:moveTo>
                    <a:pt x="274" y="259"/>
                  </a:moveTo>
                  <a:cubicBezTo>
                    <a:pt x="229" y="219"/>
                    <a:pt x="229" y="219"/>
                    <a:pt x="229" y="219"/>
                  </a:cubicBezTo>
                  <a:cubicBezTo>
                    <a:pt x="233" y="207"/>
                    <a:pt x="235" y="195"/>
                    <a:pt x="235" y="181"/>
                  </a:cubicBezTo>
                  <a:cubicBezTo>
                    <a:pt x="235" y="166"/>
                    <a:pt x="232" y="152"/>
                    <a:pt x="228" y="139"/>
                  </a:cubicBezTo>
                  <a:cubicBezTo>
                    <a:pt x="274" y="93"/>
                    <a:pt x="274" y="93"/>
                    <a:pt x="274" y="93"/>
                  </a:cubicBezTo>
                  <a:cubicBezTo>
                    <a:pt x="277" y="90"/>
                    <a:pt x="278" y="87"/>
                    <a:pt x="277" y="84"/>
                  </a:cubicBezTo>
                  <a:cubicBezTo>
                    <a:pt x="277" y="80"/>
                    <a:pt x="275" y="77"/>
                    <a:pt x="271" y="76"/>
                  </a:cubicBezTo>
                  <a:cubicBezTo>
                    <a:pt x="250" y="65"/>
                    <a:pt x="250" y="65"/>
                    <a:pt x="250" y="65"/>
                  </a:cubicBezTo>
                  <a:cubicBezTo>
                    <a:pt x="247" y="64"/>
                    <a:pt x="244" y="64"/>
                    <a:pt x="241" y="65"/>
                  </a:cubicBezTo>
                  <a:cubicBezTo>
                    <a:pt x="198" y="86"/>
                    <a:pt x="198" y="86"/>
                    <a:pt x="198" y="86"/>
                  </a:cubicBezTo>
                  <a:cubicBezTo>
                    <a:pt x="197" y="87"/>
                    <a:pt x="197" y="87"/>
                    <a:pt x="196" y="88"/>
                  </a:cubicBezTo>
                  <a:cubicBezTo>
                    <a:pt x="192" y="83"/>
                    <a:pt x="186" y="79"/>
                    <a:pt x="181" y="76"/>
                  </a:cubicBezTo>
                  <a:cubicBezTo>
                    <a:pt x="181" y="76"/>
                    <a:pt x="181" y="75"/>
                    <a:pt x="181" y="75"/>
                  </a:cubicBezTo>
                  <a:cubicBezTo>
                    <a:pt x="181" y="53"/>
                    <a:pt x="181" y="53"/>
                    <a:pt x="181" y="53"/>
                  </a:cubicBezTo>
                  <a:cubicBezTo>
                    <a:pt x="181" y="41"/>
                    <a:pt x="171" y="0"/>
                    <a:pt x="149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06" y="0"/>
                    <a:pt x="96" y="41"/>
                    <a:pt x="96" y="53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6" y="76"/>
                    <a:pt x="96" y="76"/>
                  </a:cubicBezTo>
                  <a:cubicBezTo>
                    <a:pt x="91" y="79"/>
                    <a:pt x="86" y="83"/>
                    <a:pt x="81" y="88"/>
                  </a:cubicBezTo>
                  <a:cubicBezTo>
                    <a:pt x="81" y="87"/>
                    <a:pt x="80" y="87"/>
                    <a:pt x="79" y="86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4" y="64"/>
                    <a:pt x="30" y="64"/>
                    <a:pt x="27" y="6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3" y="77"/>
                    <a:pt x="1" y="80"/>
                    <a:pt x="0" y="84"/>
                  </a:cubicBezTo>
                  <a:cubicBezTo>
                    <a:pt x="0" y="87"/>
                    <a:pt x="1" y="90"/>
                    <a:pt x="3" y="93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45" y="152"/>
                    <a:pt x="43" y="166"/>
                    <a:pt x="43" y="181"/>
                  </a:cubicBezTo>
                  <a:cubicBezTo>
                    <a:pt x="43" y="195"/>
                    <a:pt x="45" y="207"/>
                    <a:pt x="48" y="219"/>
                  </a:cubicBezTo>
                  <a:cubicBezTo>
                    <a:pt x="4" y="259"/>
                    <a:pt x="4" y="259"/>
                    <a:pt x="4" y="259"/>
                  </a:cubicBezTo>
                  <a:cubicBezTo>
                    <a:pt x="1" y="261"/>
                    <a:pt x="0" y="264"/>
                    <a:pt x="0" y="267"/>
                  </a:cubicBezTo>
                  <a:cubicBezTo>
                    <a:pt x="0" y="270"/>
                    <a:pt x="2" y="273"/>
                    <a:pt x="4" y="275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27" y="293"/>
                    <a:pt x="30" y="293"/>
                    <a:pt x="32" y="293"/>
                  </a:cubicBezTo>
                  <a:cubicBezTo>
                    <a:pt x="34" y="293"/>
                    <a:pt x="35" y="293"/>
                    <a:pt x="37" y="292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94" y="289"/>
                    <a:pt x="115" y="299"/>
                    <a:pt x="139" y="299"/>
                  </a:cubicBezTo>
                  <a:cubicBezTo>
                    <a:pt x="162" y="299"/>
                    <a:pt x="183" y="289"/>
                    <a:pt x="200" y="272"/>
                  </a:cubicBezTo>
                  <a:cubicBezTo>
                    <a:pt x="241" y="292"/>
                    <a:pt x="241" y="292"/>
                    <a:pt x="241" y="292"/>
                  </a:cubicBezTo>
                  <a:cubicBezTo>
                    <a:pt x="242" y="293"/>
                    <a:pt x="244" y="293"/>
                    <a:pt x="245" y="293"/>
                  </a:cubicBezTo>
                  <a:cubicBezTo>
                    <a:pt x="248" y="293"/>
                    <a:pt x="250" y="293"/>
                    <a:pt x="252" y="291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6" y="273"/>
                    <a:pt x="277" y="270"/>
                    <a:pt x="277" y="267"/>
                  </a:cubicBezTo>
                  <a:cubicBezTo>
                    <a:pt x="277" y="264"/>
                    <a:pt x="276" y="261"/>
                    <a:pt x="274" y="259"/>
                  </a:cubicBezTo>
                  <a:close/>
                  <a:moveTo>
                    <a:pt x="173" y="213"/>
                  </a:moveTo>
                  <a:cubicBezTo>
                    <a:pt x="187" y="192"/>
                    <a:pt x="187" y="192"/>
                    <a:pt x="187" y="192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11" y="211"/>
                    <a:pt x="205" y="229"/>
                    <a:pt x="196" y="243"/>
                  </a:cubicBezTo>
                  <a:lnTo>
                    <a:pt x="173" y="213"/>
                  </a:lnTo>
                  <a:close/>
                  <a:moveTo>
                    <a:pt x="139" y="85"/>
                  </a:moveTo>
                  <a:cubicBezTo>
                    <a:pt x="155" y="85"/>
                    <a:pt x="169" y="92"/>
                    <a:pt x="182" y="103"/>
                  </a:cubicBezTo>
                  <a:cubicBezTo>
                    <a:pt x="155" y="139"/>
                    <a:pt x="155" y="139"/>
                    <a:pt x="155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108" y="92"/>
                    <a:pt x="123" y="85"/>
                    <a:pt x="139" y="85"/>
                  </a:cubicBezTo>
                  <a:close/>
                  <a:moveTo>
                    <a:pt x="213" y="171"/>
                  </a:moveTo>
                  <a:cubicBezTo>
                    <a:pt x="187" y="171"/>
                    <a:pt x="187" y="171"/>
                    <a:pt x="187" y="171"/>
                  </a:cubicBezTo>
                  <a:cubicBezTo>
                    <a:pt x="173" y="150"/>
                    <a:pt x="173" y="150"/>
                    <a:pt x="173" y="150"/>
                  </a:cubicBezTo>
                  <a:cubicBezTo>
                    <a:pt x="196" y="120"/>
                    <a:pt x="196" y="120"/>
                    <a:pt x="196" y="120"/>
                  </a:cubicBezTo>
                  <a:cubicBezTo>
                    <a:pt x="205" y="134"/>
                    <a:pt x="211" y="151"/>
                    <a:pt x="213" y="171"/>
                  </a:cubicBezTo>
                  <a:close/>
                  <a:moveTo>
                    <a:pt x="104" y="150"/>
                  </a:moveTo>
                  <a:cubicBezTo>
                    <a:pt x="90" y="171"/>
                    <a:pt x="90" y="171"/>
                    <a:pt x="90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66" y="151"/>
                    <a:pt x="72" y="134"/>
                    <a:pt x="82" y="120"/>
                  </a:cubicBezTo>
                  <a:lnTo>
                    <a:pt x="104" y="150"/>
                  </a:lnTo>
                  <a:close/>
                  <a:moveTo>
                    <a:pt x="82" y="243"/>
                  </a:moveTo>
                  <a:cubicBezTo>
                    <a:pt x="72" y="229"/>
                    <a:pt x="66" y="211"/>
                    <a:pt x="64" y="192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104" y="213"/>
                    <a:pt x="104" y="213"/>
                    <a:pt x="104" y="213"/>
                  </a:cubicBezTo>
                  <a:lnTo>
                    <a:pt x="82" y="243"/>
                  </a:lnTo>
                  <a:close/>
                  <a:moveTo>
                    <a:pt x="123" y="203"/>
                  </a:moveTo>
                  <a:cubicBezTo>
                    <a:pt x="109" y="181"/>
                    <a:pt x="109" y="181"/>
                    <a:pt x="109" y="181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54" y="160"/>
                    <a:pt x="154" y="160"/>
                    <a:pt x="154" y="160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154" y="203"/>
                    <a:pt x="154" y="203"/>
                    <a:pt x="154" y="203"/>
                  </a:cubicBezTo>
                  <a:lnTo>
                    <a:pt x="123" y="203"/>
                  </a:lnTo>
                  <a:close/>
                  <a:moveTo>
                    <a:pt x="245" y="87"/>
                  </a:moveTo>
                  <a:cubicBezTo>
                    <a:pt x="249" y="88"/>
                    <a:pt x="249" y="88"/>
                    <a:pt x="249" y="88"/>
                  </a:cubicBezTo>
                  <a:cubicBezTo>
                    <a:pt x="219" y="118"/>
                    <a:pt x="219" y="118"/>
                    <a:pt x="219" y="118"/>
                  </a:cubicBezTo>
                  <a:cubicBezTo>
                    <a:pt x="217" y="113"/>
                    <a:pt x="214" y="108"/>
                    <a:pt x="211" y="104"/>
                  </a:cubicBezTo>
                  <a:lnTo>
                    <a:pt x="245" y="87"/>
                  </a:lnTo>
                  <a:close/>
                  <a:moveTo>
                    <a:pt x="117" y="53"/>
                  </a:moveTo>
                  <a:cubicBezTo>
                    <a:pt x="117" y="44"/>
                    <a:pt x="124" y="25"/>
                    <a:pt x="129" y="21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53" y="25"/>
                    <a:pt x="160" y="44"/>
                    <a:pt x="160" y="53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3" y="65"/>
                    <a:pt x="146" y="64"/>
                    <a:pt x="139" y="64"/>
                  </a:cubicBezTo>
                  <a:cubicBezTo>
                    <a:pt x="131" y="64"/>
                    <a:pt x="124" y="65"/>
                    <a:pt x="117" y="67"/>
                  </a:cubicBezTo>
                  <a:lnTo>
                    <a:pt x="117" y="53"/>
                  </a:lnTo>
                  <a:close/>
                  <a:moveTo>
                    <a:pt x="29" y="88"/>
                  </a:moveTo>
                  <a:cubicBezTo>
                    <a:pt x="32" y="87"/>
                    <a:pt x="32" y="87"/>
                    <a:pt x="32" y="87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4" y="108"/>
                    <a:pt x="61" y="113"/>
                    <a:pt x="58" y="118"/>
                  </a:cubicBezTo>
                  <a:lnTo>
                    <a:pt x="29" y="88"/>
                  </a:lnTo>
                  <a:close/>
                  <a:moveTo>
                    <a:pt x="33" y="270"/>
                  </a:moveTo>
                  <a:cubicBezTo>
                    <a:pt x="28" y="266"/>
                    <a:pt x="28" y="266"/>
                    <a:pt x="28" y="266"/>
                  </a:cubicBezTo>
                  <a:cubicBezTo>
                    <a:pt x="56" y="241"/>
                    <a:pt x="56" y="241"/>
                    <a:pt x="56" y="241"/>
                  </a:cubicBezTo>
                  <a:cubicBezTo>
                    <a:pt x="58" y="246"/>
                    <a:pt x="61" y="250"/>
                    <a:pt x="64" y="255"/>
                  </a:cubicBezTo>
                  <a:lnTo>
                    <a:pt x="33" y="270"/>
                  </a:lnTo>
                  <a:close/>
                  <a:moveTo>
                    <a:pt x="96" y="260"/>
                  </a:moveTo>
                  <a:cubicBezTo>
                    <a:pt x="123" y="224"/>
                    <a:pt x="123" y="224"/>
                    <a:pt x="123" y="224"/>
                  </a:cubicBezTo>
                  <a:cubicBezTo>
                    <a:pt x="155" y="224"/>
                    <a:pt x="155" y="224"/>
                    <a:pt x="155" y="224"/>
                  </a:cubicBezTo>
                  <a:cubicBezTo>
                    <a:pt x="182" y="260"/>
                    <a:pt x="182" y="260"/>
                    <a:pt x="182" y="260"/>
                  </a:cubicBezTo>
                  <a:cubicBezTo>
                    <a:pt x="169" y="271"/>
                    <a:pt x="155" y="277"/>
                    <a:pt x="139" y="277"/>
                  </a:cubicBezTo>
                  <a:cubicBezTo>
                    <a:pt x="123" y="277"/>
                    <a:pt x="108" y="271"/>
                    <a:pt x="96" y="260"/>
                  </a:cubicBezTo>
                  <a:close/>
                  <a:moveTo>
                    <a:pt x="244" y="270"/>
                  </a:moveTo>
                  <a:cubicBezTo>
                    <a:pt x="213" y="255"/>
                    <a:pt x="213" y="255"/>
                    <a:pt x="213" y="255"/>
                  </a:cubicBezTo>
                  <a:cubicBezTo>
                    <a:pt x="216" y="250"/>
                    <a:pt x="219" y="246"/>
                    <a:pt x="221" y="241"/>
                  </a:cubicBezTo>
                  <a:cubicBezTo>
                    <a:pt x="250" y="266"/>
                    <a:pt x="250" y="266"/>
                    <a:pt x="250" y="266"/>
                  </a:cubicBezTo>
                  <a:lnTo>
                    <a:pt x="244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4" name="Freeform 571"/>
          <p:cNvSpPr>
            <a:spLocks noChangeAspect="1" noEditPoints="1"/>
          </p:cNvSpPr>
          <p:nvPr/>
        </p:nvSpPr>
        <p:spPr bwMode="auto">
          <a:xfrm>
            <a:off x="4409076" y="3747001"/>
            <a:ext cx="369676" cy="369676"/>
          </a:xfrm>
          <a:custGeom>
            <a:avLst/>
            <a:gdLst>
              <a:gd name="T0" fmla="*/ 181 w 512"/>
              <a:gd name="T1" fmla="*/ 372 h 512"/>
              <a:gd name="T2" fmla="*/ 145 w 512"/>
              <a:gd name="T3" fmla="*/ 383 h 512"/>
              <a:gd name="T4" fmla="*/ 184 w 512"/>
              <a:gd name="T5" fmla="*/ 221 h 512"/>
              <a:gd name="T6" fmla="*/ 146 w 512"/>
              <a:gd name="T7" fmla="*/ 205 h 512"/>
              <a:gd name="T8" fmla="*/ 184 w 512"/>
              <a:gd name="T9" fmla="*/ 221 h 512"/>
              <a:gd name="T10" fmla="*/ 226 w 512"/>
              <a:gd name="T11" fmla="*/ 298 h 512"/>
              <a:gd name="T12" fmla="*/ 271 w 512"/>
              <a:gd name="T13" fmla="*/ 320 h 512"/>
              <a:gd name="T14" fmla="*/ 271 w 512"/>
              <a:gd name="T15" fmla="*/ 277 h 512"/>
              <a:gd name="T16" fmla="*/ 207 w 512"/>
              <a:gd name="T17" fmla="*/ 288 h 512"/>
              <a:gd name="T18" fmla="*/ 199 w 512"/>
              <a:gd name="T19" fmla="*/ 237 h 512"/>
              <a:gd name="T20" fmla="*/ 207 w 512"/>
              <a:gd name="T21" fmla="*/ 288 h 512"/>
              <a:gd name="T22" fmla="*/ 299 w 512"/>
              <a:gd name="T23" fmla="*/ 220 h 512"/>
              <a:gd name="T24" fmla="*/ 213 w 512"/>
              <a:gd name="T25" fmla="*/ 220 h 512"/>
              <a:gd name="T26" fmla="*/ 272 w 512"/>
              <a:gd name="T27" fmla="*/ 256 h 512"/>
              <a:gd name="T28" fmla="*/ 362 w 512"/>
              <a:gd name="T29" fmla="*/ 204 h 512"/>
              <a:gd name="T30" fmla="*/ 336 w 512"/>
              <a:gd name="T31" fmla="*/ 235 h 512"/>
              <a:gd name="T32" fmla="*/ 277 w 512"/>
              <a:gd name="T33" fmla="*/ 184 h 512"/>
              <a:gd name="T34" fmla="*/ 265 w 512"/>
              <a:gd name="T35" fmla="*/ 138 h 512"/>
              <a:gd name="T36" fmla="*/ 234 w 512"/>
              <a:gd name="T37" fmla="*/ 170 h 512"/>
              <a:gd name="T38" fmla="*/ 256 w 512"/>
              <a:gd name="T39" fmla="*/ 181 h 512"/>
              <a:gd name="T40" fmla="*/ 330 w 512"/>
              <a:gd name="T41" fmla="*/ 372 h 512"/>
              <a:gd name="T42" fmla="*/ 367 w 512"/>
              <a:gd name="T43" fmla="*/ 383 h 512"/>
              <a:gd name="T44" fmla="*/ 330 w 512"/>
              <a:gd name="T45" fmla="*/ 372 h 512"/>
              <a:gd name="T46" fmla="*/ 256 w 512"/>
              <a:gd name="T47" fmla="*/ 512 h 512"/>
              <a:gd name="T48" fmla="*/ 256 w 512"/>
              <a:gd name="T49" fmla="*/ 0 h 512"/>
              <a:gd name="T50" fmla="*/ 394 w 512"/>
              <a:gd name="T51" fmla="*/ 384 h 512"/>
              <a:gd name="T52" fmla="*/ 346 w 512"/>
              <a:gd name="T53" fmla="*/ 336 h 512"/>
              <a:gd name="T54" fmla="*/ 345 w 512"/>
              <a:gd name="T55" fmla="*/ 256 h 512"/>
              <a:gd name="T56" fmla="*/ 394 w 512"/>
              <a:gd name="T57" fmla="*/ 201 h 512"/>
              <a:gd name="T58" fmla="*/ 367 w 512"/>
              <a:gd name="T59" fmla="*/ 182 h 512"/>
              <a:gd name="T60" fmla="*/ 315 w 512"/>
              <a:gd name="T61" fmla="*/ 203 h 512"/>
              <a:gd name="T62" fmla="*/ 298 w 512"/>
              <a:gd name="T63" fmla="*/ 193 h 512"/>
              <a:gd name="T64" fmla="*/ 298 w 512"/>
              <a:gd name="T65" fmla="*/ 170 h 512"/>
              <a:gd name="T66" fmla="*/ 245 w 512"/>
              <a:gd name="T67" fmla="*/ 117 h 512"/>
              <a:gd name="T68" fmla="*/ 213 w 512"/>
              <a:gd name="T69" fmla="*/ 192 h 512"/>
              <a:gd name="T70" fmla="*/ 198 w 512"/>
              <a:gd name="T71" fmla="*/ 205 h 512"/>
              <a:gd name="T72" fmla="*/ 154 w 512"/>
              <a:gd name="T73" fmla="*/ 182 h 512"/>
              <a:gd name="T74" fmla="*/ 123 w 512"/>
              <a:gd name="T75" fmla="*/ 193 h 512"/>
              <a:gd name="T76" fmla="*/ 120 w 512"/>
              <a:gd name="T77" fmla="*/ 210 h 512"/>
              <a:gd name="T78" fmla="*/ 160 w 512"/>
              <a:gd name="T79" fmla="*/ 298 h 512"/>
              <a:gd name="T80" fmla="*/ 121 w 512"/>
              <a:gd name="T81" fmla="*/ 376 h 512"/>
              <a:gd name="T82" fmla="*/ 121 w 512"/>
              <a:gd name="T83" fmla="*/ 392 h 512"/>
              <a:gd name="T84" fmla="*/ 149 w 512"/>
              <a:gd name="T85" fmla="*/ 410 h 512"/>
              <a:gd name="T86" fmla="*/ 195 w 512"/>
              <a:gd name="T87" fmla="*/ 389 h 512"/>
              <a:gd name="T88" fmla="*/ 317 w 512"/>
              <a:gd name="T89" fmla="*/ 389 h 512"/>
              <a:gd name="T90" fmla="*/ 362 w 512"/>
              <a:gd name="T91" fmla="*/ 410 h 512"/>
              <a:gd name="T92" fmla="*/ 390 w 512"/>
              <a:gd name="T93" fmla="*/ 392 h 512"/>
              <a:gd name="T94" fmla="*/ 290 w 512"/>
              <a:gd name="T95" fmla="*/ 267 h 512"/>
              <a:gd name="T96" fmla="*/ 330 w 512"/>
              <a:gd name="T97" fmla="*/ 288 h 512"/>
              <a:gd name="T98" fmla="*/ 290 w 512"/>
              <a:gd name="T99" fmla="*/ 267 h 512"/>
              <a:gd name="T100" fmla="*/ 181 w 512"/>
              <a:gd name="T101" fmla="*/ 309 h 512"/>
              <a:gd name="T102" fmla="*/ 221 w 512"/>
              <a:gd name="T103" fmla="*/ 330 h 512"/>
              <a:gd name="T104" fmla="*/ 240 w 512"/>
              <a:gd name="T105" fmla="*/ 341 h 512"/>
              <a:gd name="T106" fmla="*/ 256 w 512"/>
              <a:gd name="T107" fmla="*/ 394 h 512"/>
              <a:gd name="T108" fmla="*/ 272 w 512"/>
              <a:gd name="T109" fmla="*/ 341 h 512"/>
              <a:gd name="T110" fmla="*/ 290 w 512"/>
              <a:gd name="T111" fmla="*/ 330 h 512"/>
              <a:gd name="T112" fmla="*/ 330 w 512"/>
              <a:gd name="T113" fmla="*/ 309 h 512"/>
              <a:gd name="T114" fmla="*/ 290 w 512"/>
              <a:gd name="T115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73" y="358"/>
                </a:moveTo>
                <a:cubicBezTo>
                  <a:pt x="175" y="363"/>
                  <a:pt x="178" y="367"/>
                  <a:pt x="181" y="372"/>
                </a:cubicBezTo>
                <a:cubicBezTo>
                  <a:pt x="150" y="387"/>
                  <a:pt x="150" y="387"/>
                  <a:pt x="150" y="387"/>
                </a:cubicBezTo>
                <a:cubicBezTo>
                  <a:pt x="145" y="383"/>
                  <a:pt x="145" y="383"/>
                  <a:pt x="145" y="383"/>
                </a:cubicBezTo>
                <a:lnTo>
                  <a:pt x="173" y="358"/>
                </a:lnTo>
                <a:close/>
                <a:moveTo>
                  <a:pt x="184" y="221"/>
                </a:moveTo>
                <a:cubicBezTo>
                  <a:pt x="149" y="204"/>
                  <a:pt x="149" y="204"/>
                  <a:pt x="149" y="204"/>
                </a:cubicBezTo>
                <a:cubicBezTo>
                  <a:pt x="146" y="205"/>
                  <a:pt x="146" y="205"/>
                  <a:pt x="146" y="205"/>
                </a:cubicBezTo>
                <a:cubicBezTo>
                  <a:pt x="175" y="235"/>
                  <a:pt x="175" y="235"/>
                  <a:pt x="175" y="235"/>
                </a:cubicBezTo>
                <a:cubicBezTo>
                  <a:pt x="178" y="230"/>
                  <a:pt x="181" y="225"/>
                  <a:pt x="184" y="221"/>
                </a:cubicBezTo>
                <a:close/>
                <a:moveTo>
                  <a:pt x="240" y="277"/>
                </a:moveTo>
                <a:cubicBezTo>
                  <a:pt x="226" y="298"/>
                  <a:pt x="226" y="298"/>
                  <a:pt x="226" y="298"/>
                </a:cubicBezTo>
                <a:cubicBezTo>
                  <a:pt x="240" y="320"/>
                  <a:pt x="240" y="320"/>
                  <a:pt x="240" y="320"/>
                </a:cubicBezTo>
                <a:cubicBezTo>
                  <a:pt x="271" y="320"/>
                  <a:pt x="271" y="320"/>
                  <a:pt x="271" y="320"/>
                </a:cubicBezTo>
                <a:cubicBezTo>
                  <a:pt x="286" y="298"/>
                  <a:pt x="286" y="298"/>
                  <a:pt x="286" y="298"/>
                </a:cubicBezTo>
                <a:cubicBezTo>
                  <a:pt x="271" y="277"/>
                  <a:pt x="271" y="277"/>
                  <a:pt x="271" y="277"/>
                </a:cubicBezTo>
                <a:lnTo>
                  <a:pt x="240" y="277"/>
                </a:lnTo>
                <a:close/>
                <a:moveTo>
                  <a:pt x="207" y="288"/>
                </a:moveTo>
                <a:cubicBezTo>
                  <a:pt x="221" y="267"/>
                  <a:pt x="221" y="267"/>
                  <a:pt x="221" y="267"/>
                </a:cubicBezTo>
                <a:cubicBezTo>
                  <a:pt x="199" y="237"/>
                  <a:pt x="199" y="237"/>
                  <a:pt x="199" y="237"/>
                </a:cubicBezTo>
                <a:cubicBezTo>
                  <a:pt x="189" y="251"/>
                  <a:pt x="183" y="268"/>
                  <a:pt x="181" y="288"/>
                </a:cubicBezTo>
                <a:lnTo>
                  <a:pt x="207" y="288"/>
                </a:lnTo>
                <a:close/>
                <a:moveTo>
                  <a:pt x="272" y="256"/>
                </a:moveTo>
                <a:cubicBezTo>
                  <a:pt x="299" y="220"/>
                  <a:pt x="299" y="220"/>
                  <a:pt x="299" y="220"/>
                </a:cubicBezTo>
                <a:cubicBezTo>
                  <a:pt x="286" y="209"/>
                  <a:pt x="272" y="202"/>
                  <a:pt x="256" y="202"/>
                </a:cubicBezTo>
                <a:cubicBezTo>
                  <a:pt x="240" y="202"/>
                  <a:pt x="225" y="209"/>
                  <a:pt x="213" y="220"/>
                </a:cubicBezTo>
                <a:cubicBezTo>
                  <a:pt x="240" y="256"/>
                  <a:pt x="240" y="256"/>
                  <a:pt x="240" y="256"/>
                </a:cubicBezTo>
                <a:lnTo>
                  <a:pt x="272" y="256"/>
                </a:lnTo>
                <a:close/>
                <a:moveTo>
                  <a:pt x="366" y="205"/>
                </a:moveTo>
                <a:cubicBezTo>
                  <a:pt x="362" y="204"/>
                  <a:pt x="362" y="204"/>
                  <a:pt x="362" y="204"/>
                </a:cubicBezTo>
                <a:cubicBezTo>
                  <a:pt x="328" y="221"/>
                  <a:pt x="328" y="221"/>
                  <a:pt x="328" y="221"/>
                </a:cubicBezTo>
                <a:cubicBezTo>
                  <a:pt x="331" y="225"/>
                  <a:pt x="334" y="230"/>
                  <a:pt x="336" y="235"/>
                </a:cubicBezTo>
                <a:lnTo>
                  <a:pt x="366" y="205"/>
                </a:lnTo>
                <a:close/>
                <a:moveTo>
                  <a:pt x="277" y="184"/>
                </a:moveTo>
                <a:cubicBezTo>
                  <a:pt x="277" y="170"/>
                  <a:pt x="277" y="170"/>
                  <a:pt x="277" y="170"/>
                </a:cubicBezTo>
                <a:cubicBezTo>
                  <a:pt x="277" y="161"/>
                  <a:pt x="270" y="142"/>
                  <a:pt x="265" y="138"/>
                </a:cubicBezTo>
                <a:cubicBezTo>
                  <a:pt x="246" y="138"/>
                  <a:pt x="246" y="138"/>
                  <a:pt x="246" y="138"/>
                </a:cubicBezTo>
                <a:cubicBezTo>
                  <a:pt x="241" y="142"/>
                  <a:pt x="234" y="161"/>
                  <a:pt x="234" y="170"/>
                </a:cubicBezTo>
                <a:cubicBezTo>
                  <a:pt x="234" y="184"/>
                  <a:pt x="234" y="184"/>
                  <a:pt x="234" y="184"/>
                </a:cubicBezTo>
                <a:cubicBezTo>
                  <a:pt x="241" y="182"/>
                  <a:pt x="248" y="181"/>
                  <a:pt x="256" y="181"/>
                </a:cubicBezTo>
                <a:cubicBezTo>
                  <a:pt x="263" y="181"/>
                  <a:pt x="270" y="182"/>
                  <a:pt x="277" y="184"/>
                </a:cubicBezTo>
                <a:close/>
                <a:moveTo>
                  <a:pt x="330" y="372"/>
                </a:moveTo>
                <a:cubicBezTo>
                  <a:pt x="361" y="387"/>
                  <a:pt x="361" y="387"/>
                  <a:pt x="361" y="387"/>
                </a:cubicBezTo>
                <a:cubicBezTo>
                  <a:pt x="367" y="383"/>
                  <a:pt x="367" y="383"/>
                  <a:pt x="367" y="383"/>
                </a:cubicBezTo>
                <a:cubicBezTo>
                  <a:pt x="338" y="358"/>
                  <a:pt x="338" y="358"/>
                  <a:pt x="338" y="358"/>
                </a:cubicBezTo>
                <a:cubicBezTo>
                  <a:pt x="336" y="363"/>
                  <a:pt x="333" y="367"/>
                  <a:pt x="330" y="37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384"/>
                </a:moveTo>
                <a:cubicBezTo>
                  <a:pt x="394" y="381"/>
                  <a:pt x="393" y="378"/>
                  <a:pt x="391" y="376"/>
                </a:cubicBezTo>
                <a:cubicBezTo>
                  <a:pt x="346" y="336"/>
                  <a:pt x="346" y="336"/>
                  <a:pt x="346" y="336"/>
                </a:cubicBezTo>
                <a:cubicBezTo>
                  <a:pt x="350" y="324"/>
                  <a:pt x="352" y="312"/>
                  <a:pt x="352" y="298"/>
                </a:cubicBezTo>
                <a:cubicBezTo>
                  <a:pt x="352" y="283"/>
                  <a:pt x="349" y="269"/>
                  <a:pt x="345" y="256"/>
                </a:cubicBezTo>
                <a:cubicBezTo>
                  <a:pt x="391" y="210"/>
                  <a:pt x="391" y="210"/>
                  <a:pt x="391" y="210"/>
                </a:cubicBezTo>
                <a:cubicBezTo>
                  <a:pt x="394" y="207"/>
                  <a:pt x="395" y="204"/>
                  <a:pt x="394" y="201"/>
                </a:cubicBezTo>
                <a:cubicBezTo>
                  <a:pt x="394" y="197"/>
                  <a:pt x="392" y="194"/>
                  <a:pt x="388" y="193"/>
                </a:cubicBezTo>
                <a:cubicBezTo>
                  <a:pt x="367" y="182"/>
                  <a:pt x="367" y="182"/>
                  <a:pt x="367" y="182"/>
                </a:cubicBezTo>
                <a:cubicBezTo>
                  <a:pt x="364" y="181"/>
                  <a:pt x="361" y="181"/>
                  <a:pt x="358" y="182"/>
                </a:cubicBezTo>
                <a:cubicBezTo>
                  <a:pt x="315" y="203"/>
                  <a:pt x="315" y="203"/>
                  <a:pt x="315" y="203"/>
                </a:cubicBezTo>
                <a:cubicBezTo>
                  <a:pt x="314" y="204"/>
                  <a:pt x="314" y="204"/>
                  <a:pt x="313" y="205"/>
                </a:cubicBezTo>
                <a:cubicBezTo>
                  <a:pt x="309" y="200"/>
                  <a:pt x="303" y="196"/>
                  <a:pt x="298" y="193"/>
                </a:cubicBezTo>
                <a:cubicBezTo>
                  <a:pt x="298" y="193"/>
                  <a:pt x="298" y="192"/>
                  <a:pt x="298" y="192"/>
                </a:cubicBezTo>
                <a:cubicBezTo>
                  <a:pt x="298" y="170"/>
                  <a:pt x="298" y="170"/>
                  <a:pt x="298" y="170"/>
                </a:cubicBezTo>
                <a:cubicBezTo>
                  <a:pt x="298" y="158"/>
                  <a:pt x="288" y="117"/>
                  <a:pt x="266" y="117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23" y="117"/>
                  <a:pt x="213" y="158"/>
                  <a:pt x="213" y="170"/>
                </a:cubicBezTo>
                <a:cubicBezTo>
                  <a:pt x="213" y="192"/>
                  <a:pt x="213" y="192"/>
                  <a:pt x="213" y="192"/>
                </a:cubicBezTo>
                <a:cubicBezTo>
                  <a:pt x="213" y="192"/>
                  <a:pt x="213" y="193"/>
                  <a:pt x="213" y="193"/>
                </a:cubicBezTo>
                <a:cubicBezTo>
                  <a:pt x="208" y="196"/>
                  <a:pt x="203" y="200"/>
                  <a:pt x="198" y="205"/>
                </a:cubicBezTo>
                <a:cubicBezTo>
                  <a:pt x="198" y="204"/>
                  <a:pt x="197" y="204"/>
                  <a:pt x="196" y="203"/>
                </a:cubicBezTo>
                <a:cubicBezTo>
                  <a:pt x="154" y="182"/>
                  <a:pt x="154" y="182"/>
                  <a:pt x="154" y="182"/>
                </a:cubicBezTo>
                <a:cubicBezTo>
                  <a:pt x="151" y="181"/>
                  <a:pt x="147" y="181"/>
                  <a:pt x="144" y="182"/>
                </a:cubicBezTo>
                <a:cubicBezTo>
                  <a:pt x="123" y="193"/>
                  <a:pt x="123" y="193"/>
                  <a:pt x="123" y="193"/>
                </a:cubicBezTo>
                <a:cubicBezTo>
                  <a:pt x="120" y="194"/>
                  <a:pt x="118" y="197"/>
                  <a:pt x="117" y="201"/>
                </a:cubicBezTo>
                <a:cubicBezTo>
                  <a:pt x="117" y="204"/>
                  <a:pt x="118" y="207"/>
                  <a:pt x="120" y="210"/>
                </a:cubicBezTo>
                <a:cubicBezTo>
                  <a:pt x="166" y="256"/>
                  <a:pt x="166" y="256"/>
                  <a:pt x="166" y="256"/>
                </a:cubicBezTo>
                <a:cubicBezTo>
                  <a:pt x="162" y="269"/>
                  <a:pt x="160" y="283"/>
                  <a:pt x="160" y="298"/>
                </a:cubicBezTo>
                <a:cubicBezTo>
                  <a:pt x="160" y="312"/>
                  <a:pt x="162" y="324"/>
                  <a:pt x="165" y="336"/>
                </a:cubicBezTo>
                <a:cubicBezTo>
                  <a:pt x="121" y="376"/>
                  <a:pt x="121" y="376"/>
                  <a:pt x="121" y="376"/>
                </a:cubicBezTo>
                <a:cubicBezTo>
                  <a:pt x="118" y="378"/>
                  <a:pt x="117" y="381"/>
                  <a:pt x="117" y="384"/>
                </a:cubicBezTo>
                <a:cubicBezTo>
                  <a:pt x="117" y="387"/>
                  <a:pt x="119" y="390"/>
                  <a:pt x="121" y="392"/>
                </a:cubicBezTo>
                <a:cubicBezTo>
                  <a:pt x="143" y="408"/>
                  <a:pt x="143" y="408"/>
                  <a:pt x="143" y="408"/>
                </a:cubicBezTo>
                <a:cubicBezTo>
                  <a:pt x="144" y="410"/>
                  <a:pt x="147" y="410"/>
                  <a:pt x="149" y="410"/>
                </a:cubicBezTo>
                <a:cubicBezTo>
                  <a:pt x="151" y="410"/>
                  <a:pt x="152" y="410"/>
                  <a:pt x="154" y="409"/>
                </a:cubicBezTo>
                <a:cubicBezTo>
                  <a:pt x="195" y="389"/>
                  <a:pt x="195" y="389"/>
                  <a:pt x="195" y="389"/>
                </a:cubicBezTo>
                <a:cubicBezTo>
                  <a:pt x="211" y="406"/>
                  <a:pt x="232" y="416"/>
                  <a:pt x="256" y="416"/>
                </a:cubicBezTo>
                <a:cubicBezTo>
                  <a:pt x="279" y="416"/>
                  <a:pt x="300" y="406"/>
                  <a:pt x="317" y="389"/>
                </a:cubicBezTo>
                <a:cubicBezTo>
                  <a:pt x="358" y="409"/>
                  <a:pt x="358" y="409"/>
                  <a:pt x="358" y="409"/>
                </a:cubicBezTo>
                <a:cubicBezTo>
                  <a:pt x="359" y="410"/>
                  <a:pt x="361" y="410"/>
                  <a:pt x="362" y="410"/>
                </a:cubicBezTo>
                <a:cubicBezTo>
                  <a:pt x="365" y="410"/>
                  <a:pt x="367" y="410"/>
                  <a:pt x="369" y="408"/>
                </a:cubicBezTo>
                <a:cubicBezTo>
                  <a:pt x="390" y="392"/>
                  <a:pt x="390" y="392"/>
                  <a:pt x="390" y="392"/>
                </a:cubicBezTo>
                <a:cubicBezTo>
                  <a:pt x="393" y="390"/>
                  <a:pt x="394" y="387"/>
                  <a:pt x="394" y="384"/>
                </a:cubicBezTo>
                <a:close/>
                <a:moveTo>
                  <a:pt x="290" y="267"/>
                </a:moveTo>
                <a:cubicBezTo>
                  <a:pt x="304" y="288"/>
                  <a:pt x="304" y="288"/>
                  <a:pt x="304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28" y="268"/>
                  <a:pt x="322" y="251"/>
                  <a:pt x="313" y="237"/>
                </a:cubicBezTo>
                <a:lnTo>
                  <a:pt x="290" y="267"/>
                </a:lnTo>
                <a:close/>
                <a:moveTo>
                  <a:pt x="207" y="309"/>
                </a:moveTo>
                <a:cubicBezTo>
                  <a:pt x="181" y="309"/>
                  <a:pt x="181" y="309"/>
                  <a:pt x="181" y="309"/>
                </a:cubicBezTo>
                <a:cubicBezTo>
                  <a:pt x="183" y="328"/>
                  <a:pt x="189" y="346"/>
                  <a:pt x="199" y="360"/>
                </a:cubicBezTo>
                <a:cubicBezTo>
                  <a:pt x="221" y="330"/>
                  <a:pt x="221" y="330"/>
                  <a:pt x="221" y="330"/>
                </a:cubicBezTo>
                <a:lnTo>
                  <a:pt x="207" y="309"/>
                </a:lnTo>
                <a:close/>
                <a:moveTo>
                  <a:pt x="240" y="341"/>
                </a:moveTo>
                <a:cubicBezTo>
                  <a:pt x="213" y="377"/>
                  <a:pt x="213" y="377"/>
                  <a:pt x="213" y="377"/>
                </a:cubicBezTo>
                <a:cubicBezTo>
                  <a:pt x="225" y="388"/>
                  <a:pt x="240" y="394"/>
                  <a:pt x="256" y="394"/>
                </a:cubicBezTo>
                <a:cubicBezTo>
                  <a:pt x="272" y="394"/>
                  <a:pt x="286" y="388"/>
                  <a:pt x="299" y="377"/>
                </a:cubicBezTo>
                <a:cubicBezTo>
                  <a:pt x="272" y="341"/>
                  <a:pt x="272" y="341"/>
                  <a:pt x="272" y="341"/>
                </a:cubicBezTo>
                <a:lnTo>
                  <a:pt x="240" y="341"/>
                </a:lnTo>
                <a:close/>
                <a:moveTo>
                  <a:pt x="290" y="330"/>
                </a:moveTo>
                <a:cubicBezTo>
                  <a:pt x="313" y="360"/>
                  <a:pt x="313" y="360"/>
                  <a:pt x="313" y="360"/>
                </a:cubicBezTo>
                <a:cubicBezTo>
                  <a:pt x="322" y="346"/>
                  <a:pt x="328" y="328"/>
                  <a:pt x="330" y="309"/>
                </a:cubicBezTo>
                <a:cubicBezTo>
                  <a:pt x="304" y="309"/>
                  <a:pt x="304" y="309"/>
                  <a:pt x="304" y="309"/>
                </a:cubicBezTo>
                <a:lnTo>
                  <a:pt x="290" y="3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5" name="Group 691"/>
          <p:cNvGrpSpPr>
            <a:grpSpLocks noChangeAspect="1"/>
          </p:cNvGrpSpPr>
          <p:nvPr/>
        </p:nvGrpSpPr>
        <p:grpSpPr bwMode="auto">
          <a:xfrm>
            <a:off x="5905898" y="3748357"/>
            <a:ext cx="369676" cy="369676"/>
            <a:chOff x="387" y="2314"/>
            <a:chExt cx="340" cy="340"/>
          </a:xfrm>
          <a:solidFill>
            <a:schemeClr val="accent1"/>
          </a:solidFill>
        </p:grpSpPr>
        <p:sp>
          <p:nvSpPr>
            <p:cNvPr id="275" name="Freeform 274"/>
            <p:cNvSpPr>
              <a:spLocks noEditPoints="1"/>
            </p:cNvSpPr>
            <p:nvPr/>
          </p:nvSpPr>
          <p:spPr bwMode="auto">
            <a:xfrm>
              <a:off x="387" y="231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275"/>
            <p:cNvSpPr>
              <a:spLocks noEditPoints="1"/>
            </p:cNvSpPr>
            <p:nvPr/>
          </p:nvSpPr>
          <p:spPr bwMode="auto">
            <a:xfrm>
              <a:off x="461" y="2378"/>
              <a:ext cx="188" cy="212"/>
            </a:xfrm>
            <a:custGeom>
              <a:avLst/>
              <a:gdLst>
                <a:gd name="T0" fmla="*/ 257 w 282"/>
                <a:gd name="T1" fmla="*/ 116 h 320"/>
                <a:gd name="T2" fmla="*/ 261 w 282"/>
                <a:gd name="T3" fmla="*/ 96 h 320"/>
                <a:gd name="T4" fmla="*/ 213 w 282"/>
                <a:gd name="T5" fmla="*/ 43 h 320"/>
                <a:gd name="T6" fmla="*/ 143 w 282"/>
                <a:gd name="T7" fmla="*/ 0 h 320"/>
                <a:gd name="T8" fmla="*/ 69 w 282"/>
                <a:gd name="T9" fmla="*/ 55 h 320"/>
                <a:gd name="T10" fmla="*/ 26 w 282"/>
                <a:gd name="T11" fmla="*/ 112 h 320"/>
                <a:gd name="T12" fmla="*/ 30 w 282"/>
                <a:gd name="T13" fmla="*/ 133 h 320"/>
                <a:gd name="T14" fmla="*/ 0 w 282"/>
                <a:gd name="T15" fmla="*/ 181 h 320"/>
                <a:gd name="T16" fmla="*/ 53 w 282"/>
                <a:gd name="T17" fmla="*/ 234 h 320"/>
                <a:gd name="T18" fmla="*/ 91 w 282"/>
                <a:gd name="T19" fmla="*/ 218 h 320"/>
                <a:gd name="T20" fmla="*/ 112 w 282"/>
                <a:gd name="T21" fmla="*/ 230 h 320"/>
                <a:gd name="T22" fmla="*/ 112 w 282"/>
                <a:gd name="T23" fmla="*/ 309 h 320"/>
                <a:gd name="T24" fmla="*/ 122 w 282"/>
                <a:gd name="T25" fmla="*/ 320 h 320"/>
                <a:gd name="T26" fmla="*/ 165 w 282"/>
                <a:gd name="T27" fmla="*/ 320 h 320"/>
                <a:gd name="T28" fmla="*/ 176 w 282"/>
                <a:gd name="T29" fmla="*/ 309 h 320"/>
                <a:gd name="T30" fmla="*/ 176 w 282"/>
                <a:gd name="T31" fmla="*/ 221 h 320"/>
                <a:gd name="T32" fmla="*/ 216 w 282"/>
                <a:gd name="T33" fmla="*/ 234 h 320"/>
                <a:gd name="T34" fmla="*/ 282 w 282"/>
                <a:gd name="T35" fmla="*/ 168 h 320"/>
                <a:gd name="T36" fmla="*/ 257 w 282"/>
                <a:gd name="T37" fmla="*/ 116 h 320"/>
                <a:gd name="T38" fmla="*/ 133 w 282"/>
                <a:gd name="T39" fmla="*/ 298 h 320"/>
                <a:gd name="T40" fmla="*/ 133 w 282"/>
                <a:gd name="T41" fmla="*/ 234 h 320"/>
                <a:gd name="T42" fmla="*/ 154 w 282"/>
                <a:gd name="T43" fmla="*/ 231 h 320"/>
                <a:gd name="T44" fmla="*/ 154 w 282"/>
                <a:gd name="T45" fmla="*/ 298 h 320"/>
                <a:gd name="T46" fmla="*/ 133 w 282"/>
                <a:gd name="T47" fmla="*/ 298 h 320"/>
                <a:gd name="T48" fmla="*/ 216 w 282"/>
                <a:gd name="T49" fmla="*/ 213 h 320"/>
                <a:gd name="T50" fmla="*/ 182 w 282"/>
                <a:gd name="T51" fmla="*/ 197 h 320"/>
                <a:gd name="T52" fmla="*/ 174 w 282"/>
                <a:gd name="T53" fmla="*/ 194 h 320"/>
                <a:gd name="T54" fmla="*/ 174 w 282"/>
                <a:gd name="T55" fmla="*/ 194 h 320"/>
                <a:gd name="T56" fmla="*/ 166 w 282"/>
                <a:gd name="T57" fmla="*/ 198 h 320"/>
                <a:gd name="T58" fmla="*/ 133 w 282"/>
                <a:gd name="T59" fmla="*/ 213 h 320"/>
                <a:gd name="T60" fmla="*/ 99 w 282"/>
                <a:gd name="T61" fmla="*/ 195 h 320"/>
                <a:gd name="T62" fmla="*/ 89 w 282"/>
                <a:gd name="T63" fmla="*/ 191 h 320"/>
                <a:gd name="T64" fmla="*/ 81 w 282"/>
                <a:gd name="T65" fmla="*/ 197 h 320"/>
                <a:gd name="T66" fmla="*/ 53 w 282"/>
                <a:gd name="T67" fmla="*/ 213 h 320"/>
                <a:gd name="T68" fmla="*/ 21 w 282"/>
                <a:gd name="T69" fmla="*/ 181 h 320"/>
                <a:gd name="T70" fmla="*/ 47 w 282"/>
                <a:gd name="T71" fmla="*/ 150 h 320"/>
                <a:gd name="T72" fmla="*/ 56 w 282"/>
                <a:gd name="T73" fmla="*/ 143 h 320"/>
                <a:gd name="T74" fmla="*/ 54 w 282"/>
                <a:gd name="T75" fmla="*/ 133 h 320"/>
                <a:gd name="T76" fmla="*/ 48 w 282"/>
                <a:gd name="T77" fmla="*/ 112 h 320"/>
                <a:gd name="T78" fmla="*/ 79 w 282"/>
                <a:gd name="T79" fmla="*/ 75 h 320"/>
                <a:gd name="T80" fmla="*/ 88 w 282"/>
                <a:gd name="T81" fmla="*/ 66 h 320"/>
                <a:gd name="T82" fmla="*/ 143 w 282"/>
                <a:gd name="T83" fmla="*/ 21 h 320"/>
                <a:gd name="T84" fmla="*/ 196 w 282"/>
                <a:gd name="T85" fmla="*/ 57 h 320"/>
                <a:gd name="T86" fmla="*/ 206 w 282"/>
                <a:gd name="T87" fmla="*/ 64 h 320"/>
                <a:gd name="T88" fmla="*/ 208 w 282"/>
                <a:gd name="T89" fmla="*/ 64 h 320"/>
                <a:gd name="T90" fmla="*/ 240 w 282"/>
                <a:gd name="T91" fmla="*/ 96 h 320"/>
                <a:gd name="T92" fmla="*/ 234 w 282"/>
                <a:gd name="T93" fmla="*/ 113 h 320"/>
                <a:gd name="T94" fmla="*/ 233 w 282"/>
                <a:gd name="T95" fmla="*/ 122 h 320"/>
                <a:gd name="T96" fmla="*/ 238 w 282"/>
                <a:gd name="T97" fmla="*/ 128 h 320"/>
                <a:gd name="T98" fmla="*/ 261 w 282"/>
                <a:gd name="T99" fmla="*/ 168 h 320"/>
                <a:gd name="T100" fmla="*/ 216 w 282"/>
                <a:gd name="T101" fmla="*/ 21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2" h="320">
                  <a:moveTo>
                    <a:pt x="257" y="116"/>
                  </a:moveTo>
                  <a:cubicBezTo>
                    <a:pt x="260" y="109"/>
                    <a:pt x="261" y="103"/>
                    <a:pt x="261" y="96"/>
                  </a:cubicBezTo>
                  <a:cubicBezTo>
                    <a:pt x="261" y="68"/>
                    <a:pt x="240" y="45"/>
                    <a:pt x="213" y="43"/>
                  </a:cubicBezTo>
                  <a:cubicBezTo>
                    <a:pt x="200" y="17"/>
                    <a:pt x="173" y="0"/>
                    <a:pt x="143" y="0"/>
                  </a:cubicBezTo>
                  <a:cubicBezTo>
                    <a:pt x="109" y="0"/>
                    <a:pt x="79" y="23"/>
                    <a:pt x="69" y="55"/>
                  </a:cubicBezTo>
                  <a:cubicBezTo>
                    <a:pt x="44" y="62"/>
                    <a:pt x="26" y="85"/>
                    <a:pt x="26" y="112"/>
                  </a:cubicBezTo>
                  <a:cubicBezTo>
                    <a:pt x="26" y="119"/>
                    <a:pt x="28" y="126"/>
                    <a:pt x="30" y="133"/>
                  </a:cubicBezTo>
                  <a:cubicBezTo>
                    <a:pt x="12" y="141"/>
                    <a:pt x="0" y="160"/>
                    <a:pt x="0" y="181"/>
                  </a:cubicBezTo>
                  <a:cubicBezTo>
                    <a:pt x="0" y="210"/>
                    <a:pt x="24" y="234"/>
                    <a:pt x="53" y="234"/>
                  </a:cubicBezTo>
                  <a:cubicBezTo>
                    <a:pt x="67" y="234"/>
                    <a:pt x="81" y="228"/>
                    <a:pt x="91" y="218"/>
                  </a:cubicBezTo>
                  <a:cubicBezTo>
                    <a:pt x="97" y="224"/>
                    <a:pt x="104" y="228"/>
                    <a:pt x="112" y="230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2" y="315"/>
                    <a:pt x="116" y="320"/>
                    <a:pt x="122" y="320"/>
                  </a:cubicBezTo>
                  <a:cubicBezTo>
                    <a:pt x="165" y="320"/>
                    <a:pt x="165" y="320"/>
                    <a:pt x="165" y="320"/>
                  </a:cubicBezTo>
                  <a:cubicBezTo>
                    <a:pt x="171" y="320"/>
                    <a:pt x="176" y="315"/>
                    <a:pt x="176" y="309"/>
                  </a:cubicBezTo>
                  <a:cubicBezTo>
                    <a:pt x="176" y="221"/>
                    <a:pt x="176" y="221"/>
                    <a:pt x="176" y="221"/>
                  </a:cubicBezTo>
                  <a:cubicBezTo>
                    <a:pt x="187" y="229"/>
                    <a:pt x="201" y="234"/>
                    <a:pt x="216" y="234"/>
                  </a:cubicBezTo>
                  <a:cubicBezTo>
                    <a:pt x="252" y="234"/>
                    <a:pt x="282" y="204"/>
                    <a:pt x="282" y="168"/>
                  </a:cubicBezTo>
                  <a:cubicBezTo>
                    <a:pt x="282" y="147"/>
                    <a:pt x="273" y="128"/>
                    <a:pt x="257" y="116"/>
                  </a:cubicBezTo>
                  <a:close/>
                  <a:moveTo>
                    <a:pt x="133" y="298"/>
                  </a:moveTo>
                  <a:cubicBezTo>
                    <a:pt x="133" y="234"/>
                    <a:pt x="133" y="234"/>
                    <a:pt x="133" y="234"/>
                  </a:cubicBezTo>
                  <a:cubicBezTo>
                    <a:pt x="140" y="234"/>
                    <a:pt x="148" y="233"/>
                    <a:pt x="154" y="231"/>
                  </a:cubicBezTo>
                  <a:cubicBezTo>
                    <a:pt x="154" y="298"/>
                    <a:pt x="154" y="298"/>
                    <a:pt x="154" y="298"/>
                  </a:cubicBezTo>
                  <a:lnTo>
                    <a:pt x="133" y="298"/>
                  </a:lnTo>
                  <a:close/>
                  <a:moveTo>
                    <a:pt x="216" y="213"/>
                  </a:moveTo>
                  <a:cubicBezTo>
                    <a:pt x="203" y="213"/>
                    <a:pt x="191" y="207"/>
                    <a:pt x="182" y="197"/>
                  </a:cubicBezTo>
                  <a:cubicBezTo>
                    <a:pt x="180" y="195"/>
                    <a:pt x="177" y="194"/>
                    <a:pt x="174" y="194"/>
                  </a:cubicBezTo>
                  <a:cubicBezTo>
                    <a:pt x="174" y="194"/>
                    <a:pt x="174" y="194"/>
                    <a:pt x="174" y="194"/>
                  </a:cubicBezTo>
                  <a:cubicBezTo>
                    <a:pt x="170" y="194"/>
                    <a:pt x="168" y="195"/>
                    <a:pt x="166" y="198"/>
                  </a:cubicBezTo>
                  <a:cubicBezTo>
                    <a:pt x="157" y="207"/>
                    <a:pt x="145" y="213"/>
                    <a:pt x="133" y="213"/>
                  </a:cubicBezTo>
                  <a:cubicBezTo>
                    <a:pt x="119" y="213"/>
                    <a:pt x="107" y="207"/>
                    <a:pt x="99" y="195"/>
                  </a:cubicBezTo>
                  <a:cubicBezTo>
                    <a:pt x="97" y="193"/>
                    <a:pt x="93" y="191"/>
                    <a:pt x="89" y="191"/>
                  </a:cubicBezTo>
                  <a:cubicBezTo>
                    <a:pt x="86" y="191"/>
                    <a:pt x="83" y="193"/>
                    <a:pt x="81" y="197"/>
                  </a:cubicBezTo>
                  <a:cubicBezTo>
                    <a:pt x="75" y="207"/>
                    <a:pt x="64" y="213"/>
                    <a:pt x="53" y="213"/>
                  </a:cubicBezTo>
                  <a:cubicBezTo>
                    <a:pt x="35" y="213"/>
                    <a:pt x="21" y="199"/>
                    <a:pt x="21" y="181"/>
                  </a:cubicBezTo>
                  <a:cubicBezTo>
                    <a:pt x="21" y="165"/>
                    <a:pt x="32" y="152"/>
                    <a:pt x="47" y="150"/>
                  </a:cubicBezTo>
                  <a:cubicBezTo>
                    <a:pt x="51" y="149"/>
                    <a:pt x="54" y="147"/>
                    <a:pt x="56" y="143"/>
                  </a:cubicBezTo>
                  <a:cubicBezTo>
                    <a:pt x="57" y="140"/>
                    <a:pt x="56" y="136"/>
                    <a:pt x="54" y="133"/>
                  </a:cubicBezTo>
                  <a:cubicBezTo>
                    <a:pt x="50" y="127"/>
                    <a:pt x="48" y="119"/>
                    <a:pt x="48" y="112"/>
                  </a:cubicBezTo>
                  <a:cubicBezTo>
                    <a:pt x="48" y="93"/>
                    <a:pt x="61" y="78"/>
                    <a:pt x="79" y="75"/>
                  </a:cubicBezTo>
                  <a:cubicBezTo>
                    <a:pt x="84" y="74"/>
                    <a:pt x="88" y="71"/>
                    <a:pt x="88" y="66"/>
                  </a:cubicBezTo>
                  <a:cubicBezTo>
                    <a:pt x="93" y="40"/>
                    <a:pt x="117" y="21"/>
                    <a:pt x="143" y="21"/>
                  </a:cubicBezTo>
                  <a:cubicBezTo>
                    <a:pt x="166" y="21"/>
                    <a:pt x="187" y="35"/>
                    <a:pt x="196" y="57"/>
                  </a:cubicBezTo>
                  <a:cubicBezTo>
                    <a:pt x="197" y="61"/>
                    <a:pt x="201" y="64"/>
                    <a:pt x="206" y="64"/>
                  </a:cubicBezTo>
                  <a:cubicBezTo>
                    <a:pt x="206" y="64"/>
                    <a:pt x="207" y="64"/>
                    <a:pt x="208" y="64"/>
                  </a:cubicBezTo>
                  <a:cubicBezTo>
                    <a:pt x="225" y="64"/>
                    <a:pt x="240" y="78"/>
                    <a:pt x="240" y="96"/>
                  </a:cubicBezTo>
                  <a:cubicBezTo>
                    <a:pt x="240" y="102"/>
                    <a:pt x="238" y="108"/>
                    <a:pt x="234" y="113"/>
                  </a:cubicBezTo>
                  <a:cubicBezTo>
                    <a:pt x="233" y="116"/>
                    <a:pt x="232" y="119"/>
                    <a:pt x="233" y="122"/>
                  </a:cubicBezTo>
                  <a:cubicBezTo>
                    <a:pt x="234" y="125"/>
                    <a:pt x="235" y="127"/>
                    <a:pt x="238" y="128"/>
                  </a:cubicBezTo>
                  <a:cubicBezTo>
                    <a:pt x="252" y="137"/>
                    <a:pt x="261" y="152"/>
                    <a:pt x="261" y="168"/>
                  </a:cubicBezTo>
                  <a:cubicBezTo>
                    <a:pt x="261" y="193"/>
                    <a:pt x="241" y="213"/>
                    <a:pt x="216" y="2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697"/>
          <p:cNvSpPr>
            <a:spLocks noChangeAspect="1" noEditPoints="1"/>
          </p:cNvSpPr>
          <p:nvPr/>
        </p:nvSpPr>
        <p:spPr bwMode="auto">
          <a:xfrm>
            <a:off x="5411665" y="3748219"/>
            <a:ext cx="369676" cy="369676"/>
          </a:xfrm>
          <a:custGeom>
            <a:avLst/>
            <a:gdLst>
              <a:gd name="T0" fmla="*/ 373 w 512"/>
              <a:gd name="T1" fmla="*/ 264 h 512"/>
              <a:gd name="T2" fmla="*/ 328 w 512"/>
              <a:gd name="T3" fmla="*/ 309 h 512"/>
              <a:gd name="T4" fmla="*/ 294 w 512"/>
              <a:gd name="T5" fmla="*/ 293 h 512"/>
              <a:gd name="T6" fmla="*/ 286 w 512"/>
              <a:gd name="T7" fmla="*/ 290 h 512"/>
              <a:gd name="T8" fmla="*/ 286 w 512"/>
              <a:gd name="T9" fmla="*/ 290 h 512"/>
              <a:gd name="T10" fmla="*/ 278 w 512"/>
              <a:gd name="T11" fmla="*/ 294 h 512"/>
              <a:gd name="T12" fmla="*/ 245 w 512"/>
              <a:gd name="T13" fmla="*/ 309 h 512"/>
              <a:gd name="T14" fmla="*/ 211 w 512"/>
              <a:gd name="T15" fmla="*/ 291 h 512"/>
              <a:gd name="T16" fmla="*/ 201 w 512"/>
              <a:gd name="T17" fmla="*/ 287 h 512"/>
              <a:gd name="T18" fmla="*/ 193 w 512"/>
              <a:gd name="T19" fmla="*/ 293 h 512"/>
              <a:gd name="T20" fmla="*/ 165 w 512"/>
              <a:gd name="T21" fmla="*/ 309 h 512"/>
              <a:gd name="T22" fmla="*/ 133 w 512"/>
              <a:gd name="T23" fmla="*/ 277 h 512"/>
              <a:gd name="T24" fmla="*/ 159 w 512"/>
              <a:gd name="T25" fmla="*/ 246 h 512"/>
              <a:gd name="T26" fmla="*/ 168 w 512"/>
              <a:gd name="T27" fmla="*/ 239 h 512"/>
              <a:gd name="T28" fmla="*/ 166 w 512"/>
              <a:gd name="T29" fmla="*/ 229 h 512"/>
              <a:gd name="T30" fmla="*/ 160 w 512"/>
              <a:gd name="T31" fmla="*/ 208 h 512"/>
              <a:gd name="T32" fmla="*/ 191 w 512"/>
              <a:gd name="T33" fmla="*/ 171 h 512"/>
              <a:gd name="T34" fmla="*/ 200 w 512"/>
              <a:gd name="T35" fmla="*/ 162 h 512"/>
              <a:gd name="T36" fmla="*/ 255 w 512"/>
              <a:gd name="T37" fmla="*/ 117 h 512"/>
              <a:gd name="T38" fmla="*/ 308 w 512"/>
              <a:gd name="T39" fmla="*/ 153 h 512"/>
              <a:gd name="T40" fmla="*/ 318 w 512"/>
              <a:gd name="T41" fmla="*/ 160 h 512"/>
              <a:gd name="T42" fmla="*/ 320 w 512"/>
              <a:gd name="T43" fmla="*/ 160 h 512"/>
              <a:gd name="T44" fmla="*/ 352 w 512"/>
              <a:gd name="T45" fmla="*/ 192 h 512"/>
              <a:gd name="T46" fmla="*/ 346 w 512"/>
              <a:gd name="T47" fmla="*/ 209 h 512"/>
              <a:gd name="T48" fmla="*/ 345 w 512"/>
              <a:gd name="T49" fmla="*/ 218 h 512"/>
              <a:gd name="T50" fmla="*/ 350 w 512"/>
              <a:gd name="T51" fmla="*/ 224 h 512"/>
              <a:gd name="T52" fmla="*/ 373 w 512"/>
              <a:gd name="T53" fmla="*/ 264 h 512"/>
              <a:gd name="T54" fmla="*/ 245 w 512"/>
              <a:gd name="T55" fmla="*/ 394 h 512"/>
              <a:gd name="T56" fmla="*/ 266 w 512"/>
              <a:gd name="T57" fmla="*/ 394 h 512"/>
              <a:gd name="T58" fmla="*/ 266 w 512"/>
              <a:gd name="T59" fmla="*/ 327 h 512"/>
              <a:gd name="T60" fmla="*/ 245 w 512"/>
              <a:gd name="T61" fmla="*/ 330 h 512"/>
              <a:gd name="T62" fmla="*/ 245 w 512"/>
              <a:gd name="T63" fmla="*/ 394 h 512"/>
              <a:gd name="T64" fmla="*/ 512 w 512"/>
              <a:gd name="T65" fmla="*/ 256 h 512"/>
              <a:gd name="T66" fmla="*/ 256 w 512"/>
              <a:gd name="T67" fmla="*/ 512 h 512"/>
              <a:gd name="T68" fmla="*/ 0 w 512"/>
              <a:gd name="T69" fmla="*/ 256 h 512"/>
              <a:gd name="T70" fmla="*/ 256 w 512"/>
              <a:gd name="T71" fmla="*/ 0 h 512"/>
              <a:gd name="T72" fmla="*/ 512 w 512"/>
              <a:gd name="T73" fmla="*/ 256 h 512"/>
              <a:gd name="T74" fmla="*/ 394 w 512"/>
              <a:gd name="T75" fmla="*/ 264 h 512"/>
              <a:gd name="T76" fmla="*/ 369 w 512"/>
              <a:gd name="T77" fmla="*/ 212 h 512"/>
              <a:gd name="T78" fmla="*/ 373 w 512"/>
              <a:gd name="T79" fmla="*/ 192 h 512"/>
              <a:gd name="T80" fmla="*/ 325 w 512"/>
              <a:gd name="T81" fmla="*/ 139 h 512"/>
              <a:gd name="T82" fmla="*/ 255 w 512"/>
              <a:gd name="T83" fmla="*/ 96 h 512"/>
              <a:gd name="T84" fmla="*/ 181 w 512"/>
              <a:gd name="T85" fmla="*/ 151 h 512"/>
              <a:gd name="T86" fmla="*/ 138 w 512"/>
              <a:gd name="T87" fmla="*/ 208 h 512"/>
              <a:gd name="T88" fmla="*/ 142 w 512"/>
              <a:gd name="T89" fmla="*/ 229 h 512"/>
              <a:gd name="T90" fmla="*/ 112 w 512"/>
              <a:gd name="T91" fmla="*/ 277 h 512"/>
              <a:gd name="T92" fmla="*/ 165 w 512"/>
              <a:gd name="T93" fmla="*/ 330 h 512"/>
              <a:gd name="T94" fmla="*/ 203 w 512"/>
              <a:gd name="T95" fmla="*/ 314 h 512"/>
              <a:gd name="T96" fmla="*/ 224 w 512"/>
              <a:gd name="T97" fmla="*/ 326 h 512"/>
              <a:gd name="T98" fmla="*/ 224 w 512"/>
              <a:gd name="T99" fmla="*/ 405 h 512"/>
              <a:gd name="T100" fmla="*/ 234 w 512"/>
              <a:gd name="T101" fmla="*/ 416 h 512"/>
              <a:gd name="T102" fmla="*/ 277 w 512"/>
              <a:gd name="T103" fmla="*/ 416 h 512"/>
              <a:gd name="T104" fmla="*/ 288 w 512"/>
              <a:gd name="T105" fmla="*/ 405 h 512"/>
              <a:gd name="T106" fmla="*/ 288 w 512"/>
              <a:gd name="T107" fmla="*/ 317 h 512"/>
              <a:gd name="T108" fmla="*/ 328 w 512"/>
              <a:gd name="T109" fmla="*/ 330 h 512"/>
              <a:gd name="T110" fmla="*/ 394 w 512"/>
              <a:gd name="T111" fmla="*/ 26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73" y="264"/>
                </a:moveTo>
                <a:cubicBezTo>
                  <a:pt x="373" y="289"/>
                  <a:pt x="353" y="309"/>
                  <a:pt x="328" y="309"/>
                </a:cubicBezTo>
                <a:cubicBezTo>
                  <a:pt x="315" y="309"/>
                  <a:pt x="303" y="303"/>
                  <a:pt x="294" y="293"/>
                </a:cubicBezTo>
                <a:cubicBezTo>
                  <a:pt x="292" y="291"/>
                  <a:pt x="289" y="290"/>
                  <a:pt x="286" y="290"/>
                </a:cubicBezTo>
                <a:cubicBezTo>
                  <a:pt x="286" y="290"/>
                  <a:pt x="286" y="290"/>
                  <a:pt x="286" y="290"/>
                </a:cubicBezTo>
                <a:cubicBezTo>
                  <a:pt x="282" y="290"/>
                  <a:pt x="280" y="291"/>
                  <a:pt x="278" y="294"/>
                </a:cubicBezTo>
                <a:cubicBezTo>
                  <a:pt x="269" y="303"/>
                  <a:pt x="257" y="309"/>
                  <a:pt x="245" y="309"/>
                </a:cubicBezTo>
                <a:cubicBezTo>
                  <a:pt x="231" y="309"/>
                  <a:pt x="219" y="303"/>
                  <a:pt x="211" y="291"/>
                </a:cubicBezTo>
                <a:cubicBezTo>
                  <a:pt x="209" y="289"/>
                  <a:pt x="205" y="287"/>
                  <a:pt x="201" y="287"/>
                </a:cubicBezTo>
                <a:cubicBezTo>
                  <a:pt x="198" y="287"/>
                  <a:pt x="195" y="289"/>
                  <a:pt x="193" y="293"/>
                </a:cubicBezTo>
                <a:cubicBezTo>
                  <a:pt x="187" y="303"/>
                  <a:pt x="176" y="309"/>
                  <a:pt x="165" y="309"/>
                </a:cubicBezTo>
                <a:cubicBezTo>
                  <a:pt x="147" y="309"/>
                  <a:pt x="133" y="295"/>
                  <a:pt x="133" y="277"/>
                </a:cubicBezTo>
                <a:cubicBezTo>
                  <a:pt x="133" y="261"/>
                  <a:pt x="144" y="248"/>
                  <a:pt x="159" y="246"/>
                </a:cubicBezTo>
                <a:cubicBezTo>
                  <a:pt x="163" y="245"/>
                  <a:pt x="166" y="243"/>
                  <a:pt x="168" y="239"/>
                </a:cubicBezTo>
                <a:cubicBezTo>
                  <a:pt x="169" y="236"/>
                  <a:pt x="168" y="232"/>
                  <a:pt x="166" y="229"/>
                </a:cubicBezTo>
                <a:cubicBezTo>
                  <a:pt x="162" y="223"/>
                  <a:pt x="160" y="215"/>
                  <a:pt x="160" y="208"/>
                </a:cubicBezTo>
                <a:cubicBezTo>
                  <a:pt x="160" y="189"/>
                  <a:pt x="173" y="174"/>
                  <a:pt x="191" y="171"/>
                </a:cubicBezTo>
                <a:cubicBezTo>
                  <a:pt x="196" y="170"/>
                  <a:pt x="200" y="167"/>
                  <a:pt x="200" y="162"/>
                </a:cubicBezTo>
                <a:cubicBezTo>
                  <a:pt x="205" y="136"/>
                  <a:pt x="229" y="117"/>
                  <a:pt x="255" y="117"/>
                </a:cubicBezTo>
                <a:cubicBezTo>
                  <a:pt x="278" y="117"/>
                  <a:pt x="299" y="131"/>
                  <a:pt x="308" y="153"/>
                </a:cubicBezTo>
                <a:cubicBezTo>
                  <a:pt x="309" y="157"/>
                  <a:pt x="313" y="160"/>
                  <a:pt x="318" y="160"/>
                </a:cubicBezTo>
                <a:cubicBezTo>
                  <a:pt x="318" y="160"/>
                  <a:pt x="319" y="160"/>
                  <a:pt x="320" y="160"/>
                </a:cubicBezTo>
                <a:cubicBezTo>
                  <a:pt x="337" y="160"/>
                  <a:pt x="352" y="174"/>
                  <a:pt x="352" y="192"/>
                </a:cubicBezTo>
                <a:cubicBezTo>
                  <a:pt x="352" y="198"/>
                  <a:pt x="350" y="204"/>
                  <a:pt x="346" y="209"/>
                </a:cubicBezTo>
                <a:cubicBezTo>
                  <a:pt x="345" y="212"/>
                  <a:pt x="344" y="215"/>
                  <a:pt x="345" y="218"/>
                </a:cubicBezTo>
                <a:cubicBezTo>
                  <a:pt x="346" y="221"/>
                  <a:pt x="347" y="223"/>
                  <a:pt x="350" y="224"/>
                </a:cubicBezTo>
                <a:cubicBezTo>
                  <a:pt x="364" y="233"/>
                  <a:pt x="373" y="248"/>
                  <a:pt x="373" y="264"/>
                </a:cubicBezTo>
                <a:close/>
                <a:moveTo>
                  <a:pt x="245" y="394"/>
                </a:moveTo>
                <a:cubicBezTo>
                  <a:pt x="266" y="394"/>
                  <a:pt x="266" y="394"/>
                  <a:pt x="266" y="394"/>
                </a:cubicBezTo>
                <a:cubicBezTo>
                  <a:pt x="266" y="327"/>
                  <a:pt x="266" y="327"/>
                  <a:pt x="266" y="327"/>
                </a:cubicBezTo>
                <a:cubicBezTo>
                  <a:pt x="260" y="329"/>
                  <a:pt x="252" y="330"/>
                  <a:pt x="245" y="330"/>
                </a:cubicBezTo>
                <a:lnTo>
                  <a:pt x="245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64"/>
                </a:moveTo>
                <a:cubicBezTo>
                  <a:pt x="394" y="243"/>
                  <a:pt x="385" y="224"/>
                  <a:pt x="369" y="212"/>
                </a:cubicBezTo>
                <a:cubicBezTo>
                  <a:pt x="372" y="205"/>
                  <a:pt x="373" y="199"/>
                  <a:pt x="373" y="192"/>
                </a:cubicBezTo>
                <a:cubicBezTo>
                  <a:pt x="373" y="164"/>
                  <a:pt x="352" y="141"/>
                  <a:pt x="325" y="139"/>
                </a:cubicBezTo>
                <a:cubicBezTo>
                  <a:pt x="312" y="113"/>
                  <a:pt x="285" y="96"/>
                  <a:pt x="255" y="96"/>
                </a:cubicBezTo>
                <a:cubicBezTo>
                  <a:pt x="221" y="96"/>
                  <a:pt x="191" y="119"/>
                  <a:pt x="181" y="151"/>
                </a:cubicBezTo>
                <a:cubicBezTo>
                  <a:pt x="156" y="158"/>
                  <a:pt x="138" y="181"/>
                  <a:pt x="138" y="208"/>
                </a:cubicBezTo>
                <a:cubicBezTo>
                  <a:pt x="138" y="215"/>
                  <a:pt x="140" y="222"/>
                  <a:pt x="142" y="229"/>
                </a:cubicBezTo>
                <a:cubicBezTo>
                  <a:pt x="124" y="237"/>
                  <a:pt x="112" y="256"/>
                  <a:pt x="112" y="277"/>
                </a:cubicBezTo>
                <a:cubicBezTo>
                  <a:pt x="112" y="306"/>
                  <a:pt x="136" y="330"/>
                  <a:pt x="165" y="330"/>
                </a:cubicBezTo>
                <a:cubicBezTo>
                  <a:pt x="179" y="330"/>
                  <a:pt x="193" y="324"/>
                  <a:pt x="203" y="314"/>
                </a:cubicBezTo>
                <a:cubicBezTo>
                  <a:pt x="209" y="320"/>
                  <a:pt x="216" y="324"/>
                  <a:pt x="224" y="326"/>
                </a:cubicBezTo>
                <a:cubicBezTo>
                  <a:pt x="224" y="405"/>
                  <a:pt x="224" y="405"/>
                  <a:pt x="224" y="405"/>
                </a:cubicBezTo>
                <a:cubicBezTo>
                  <a:pt x="224" y="411"/>
                  <a:pt x="228" y="416"/>
                  <a:pt x="234" y="416"/>
                </a:cubicBezTo>
                <a:cubicBezTo>
                  <a:pt x="277" y="416"/>
                  <a:pt x="277" y="416"/>
                  <a:pt x="277" y="416"/>
                </a:cubicBezTo>
                <a:cubicBezTo>
                  <a:pt x="283" y="416"/>
                  <a:pt x="288" y="411"/>
                  <a:pt x="288" y="405"/>
                </a:cubicBezTo>
                <a:cubicBezTo>
                  <a:pt x="288" y="317"/>
                  <a:pt x="288" y="317"/>
                  <a:pt x="288" y="317"/>
                </a:cubicBezTo>
                <a:cubicBezTo>
                  <a:pt x="299" y="325"/>
                  <a:pt x="313" y="330"/>
                  <a:pt x="328" y="330"/>
                </a:cubicBezTo>
                <a:cubicBezTo>
                  <a:pt x="364" y="330"/>
                  <a:pt x="394" y="300"/>
                  <a:pt x="394" y="2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8" name="Freeform 231"/>
          <p:cNvSpPr>
            <a:spLocks noChangeAspect="1" noEditPoints="1"/>
          </p:cNvSpPr>
          <p:nvPr/>
        </p:nvSpPr>
        <p:spPr bwMode="auto">
          <a:xfrm>
            <a:off x="9390410" y="2051054"/>
            <a:ext cx="369021" cy="369021"/>
          </a:xfrm>
          <a:custGeom>
            <a:avLst/>
            <a:gdLst>
              <a:gd name="T0" fmla="*/ 307 w 512"/>
              <a:gd name="T1" fmla="*/ 373 h 512"/>
              <a:gd name="T2" fmla="*/ 256 w 512"/>
              <a:gd name="T3" fmla="*/ 336 h 512"/>
              <a:gd name="T4" fmla="*/ 204 w 512"/>
              <a:gd name="T5" fmla="*/ 373 h 512"/>
              <a:gd name="T6" fmla="*/ 256 w 512"/>
              <a:gd name="T7" fmla="*/ 266 h 512"/>
              <a:gd name="T8" fmla="*/ 211 w 512"/>
              <a:gd name="T9" fmla="*/ 202 h 512"/>
              <a:gd name="T10" fmla="*/ 218 w 512"/>
              <a:gd name="T11" fmla="*/ 202 h 512"/>
              <a:gd name="T12" fmla="*/ 207 w 512"/>
              <a:gd name="T13" fmla="*/ 148 h 512"/>
              <a:gd name="T14" fmla="*/ 195 w 512"/>
              <a:gd name="T15" fmla="*/ 154 h 512"/>
              <a:gd name="T16" fmla="*/ 211 w 512"/>
              <a:gd name="T17" fmla="*/ 202 h 512"/>
              <a:gd name="T18" fmla="*/ 292 w 512"/>
              <a:gd name="T19" fmla="*/ 202 h 512"/>
              <a:gd name="T20" fmla="*/ 317 w 512"/>
              <a:gd name="T21" fmla="*/ 177 h 512"/>
              <a:gd name="T22" fmla="*/ 306 w 512"/>
              <a:gd name="T23" fmla="*/ 149 h 512"/>
              <a:gd name="T24" fmla="*/ 288 w 512"/>
              <a:gd name="T25" fmla="*/ 173 h 512"/>
              <a:gd name="T26" fmla="*/ 151 w 512"/>
              <a:gd name="T27" fmla="*/ 229 h 512"/>
              <a:gd name="T28" fmla="*/ 131 w 512"/>
              <a:gd name="T29" fmla="*/ 223 h 512"/>
              <a:gd name="T30" fmla="*/ 138 w 512"/>
              <a:gd name="T31" fmla="*/ 242 h 512"/>
              <a:gd name="T32" fmla="*/ 162 w 512"/>
              <a:gd name="T33" fmla="*/ 247 h 512"/>
              <a:gd name="T34" fmla="*/ 358 w 512"/>
              <a:gd name="T35" fmla="*/ 229 h 512"/>
              <a:gd name="T36" fmla="*/ 350 w 512"/>
              <a:gd name="T37" fmla="*/ 248 h 512"/>
              <a:gd name="T38" fmla="*/ 380 w 512"/>
              <a:gd name="T39" fmla="*/ 229 h 512"/>
              <a:gd name="T40" fmla="*/ 358 w 512"/>
              <a:gd name="T41" fmla="*/ 229 h 512"/>
              <a:gd name="T42" fmla="*/ 256 w 512"/>
              <a:gd name="T43" fmla="*/ 512 h 512"/>
              <a:gd name="T44" fmla="*/ 256 w 512"/>
              <a:gd name="T45" fmla="*/ 0 h 512"/>
              <a:gd name="T46" fmla="*/ 284 w 512"/>
              <a:gd name="T47" fmla="*/ 222 h 512"/>
              <a:gd name="T48" fmla="*/ 309 w 512"/>
              <a:gd name="T49" fmla="*/ 221 h 512"/>
              <a:gd name="T50" fmla="*/ 334 w 512"/>
              <a:gd name="T51" fmla="*/ 143 h 512"/>
              <a:gd name="T52" fmla="*/ 267 w 512"/>
              <a:gd name="T53" fmla="*/ 167 h 512"/>
              <a:gd name="T54" fmla="*/ 173 w 512"/>
              <a:gd name="T55" fmla="*/ 182 h 512"/>
              <a:gd name="T56" fmla="*/ 216 w 512"/>
              <a:gd name="T57" fmla="*/ 224 h 512"/>
              <a:gd name="T58" fmla="*/ 243 w 512"/>
              <a:gd name="T59" fmla="*/ 167 h 512"/>
              <a:gd name="T60" fmla="*/ 177 w 512"/>
              <a:gd name="T61" fmla="*/ 143 h 512"/>
              <a:gd name="T62" fmla="*/ 156 w 512"/>
              <a:gd name="T63" fmla="*/ 270 h 512"/>
              <a:gd name="T64" fmla="*/ 181 w 512"/>
              <a:gd name="T65" fmla="*/ 257 h 512"/>
              <a:gd name="T66" fmla="*/ 164 w 512"/>
              <a:gd name="T67" fmla="*/ 212 h 512"/>
              <a:gd name="T68" fmla="*/ 108 w 512"/>
              <a:gd name="T69" fmla="*/ 231 h 512"/>
              <a:gd name="T70" fmla="*/ 156 w 512"/>
              <a:gd name="T71" fmla="*/ 270 h 512"/>
              <a:gd name="T72" fmla="*/ 256 w 512"/>
              <a:gd name="T73" fmla="*/ 245 h 512"/>
              <a:gd name="T74" fmla="*/ 201 w 512"/>
              <a:gd name="T75" fmla="*/ 394 h 512"/>
              <a:gd name="T76" fmla="*/ 245 w 512"/>
              <a:gd name="T77" fmla="*/ 369 h 512"/>
              <a:gd name="T78" fmla="*/ 266 w 512"/>
              <a:gd name="T79" fmla="*/ 369 h 512"/>
              <a:gd name="T80" fmla="*/ 348 w 512"/>
              <a:gd name="T81" fmla="*/ 333 h 512"/>
              <a:gd name="T82" fmla="*/ 395 w 512"/>
              <a:gd name="T83" fmla="*/ 209 h 512"/>
              <a:gd name="T84" fmla="*/ 329 w 512"/>
              <a:gd name="T85" fmla="*/ 257 h 512"/>
              <a:gd name="T86" fmla="*/ 346 w 512"/>
              <a:gd name="T87" fmla="*/ 269 h 512"/>
              <a:gd name="T88" fmla="*/ 385 w 512"/>
              <a:gd name="T89" fmla="*/ 25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327" y="333"/>
                </a:moveTo>
                <a:cubicBezTo>
                  <a:pt x="327" y="370"/>
                  <a:pt x="312" y="372"/>
                  <a:pt x="307" y="373"/>
                </a:cubicBezTo>
                <a:cubicBezTo>
                  <a:pt x="297" y="375"/>
                  <a:pt x="292" y="370"/>
                  <a:pt x="284" y="357"/>
                </a:cubicBezTo>
                <a:cubicBezTo>
                  <a:pt x="278" y="348"/>
                  <a:pt x="270" y="336"/>
                  <a:pt x="256" y="336"/>
                </a:cubicBezTo>
                <a:cubicBezTo>
                  <a:pt x="241" y="336"/>
                  <a:pt x="234" y="348"/>
                  <a:pt x="227" y="357"/>
                </a:cubicBezTo>
                <a:cubicBezTo>
                  <a:pt x="219" y="370"/>
                  <a:pt x="214" y="375"/>
                  <a:pt x="204" y="373"/>
                </a:cubicBezTo>
                <a:cubicBezTo>
                  <a:pt x="199" y="372"/>
                  <a:pt x="184" y="370"/>
                  <a:pt x="184" y="333"/>
                </a:cubicBezTo>
                <a:cubicBezTo>
                  <a:pt x="184" y="314"/>
                  <a:pt x="213" y="266"/>
                  <a:pt x="256" y="266"/>
                </a:cubicBezTo>
                <a:cubicBezTo>
                  <a:pt x="299" y="266"/>
                  <a:pt x="327" y="314"/>
                  <a:pt x="327" y="333"/>
                </a:cubicBezTo>
                <a:close/>
                <a:moveTo>
                  <a:pt x="211" y="202"/>
                </a:moveTo>
                <a:cubicBezTo>
                  <a:pt x="215" y="204"/>
                  <a:pt x="217" y="203"/>
                  <a:pt x="218" y="202"/>
                </a:cubicBezTo>
                <a:cubicBezTo>
                  <a:pt x="218" y="202"/>
                  <a:pt x="218" y="202"/>
                  <a:pt x="218" y="202"/>
                </a:cubicBezTo>
                <a:cubicBezTo>
                  <a:pt x="228" y="198"/>
                  <a:pt x="225" y="180"/>
                  <a:pt x="223" y="173"/>
                </a:cubicBezTo>
                <a:cubicBezTo>
                  <a:pt x="217" y="152"/>
                  <a:pt x="212" y="148"/>
                  <a:pt x="207" y="148"/>
                </a:cubicBezTo>
                <a:cubicBezTo>
                  <a:pt x="206" y="148"/>
                  <a:pt x="205" y="148"/>
                  <a:pt x="204" y="149"/>
                </a:cubicBezTo>
                <a:cubicBezTo>
                  <a:pt x="200" y="150"/>
                  <a:pt x="197" y="151"/>
                  <a:pt x="195" y="154"/>
                </a:cubicBezTo>
                <a:cubicBezTo>
                  <a:pt x="192" y="159"/>
                  <a:pt x="191" y="167"/>
                  <a:pt x="194" y="177"/>
                </a:cubicBezTo>
                <a:cubicBezTo>
                  <a:pt x="196" y="187"/>
                  <a:pt x="204" y="198"/>
                  <a:pt x="211" y="202"/>
                </a:cubicBezTo>
                <a:close/>
                <a:moveTo>
                  <a:pt x="292" y="202"/>
                </a:moveTo>
                <a:cubicBezTo>
                  <a:pt x="292" y="202"/>
                  <a:pt x="292" y="202"/>
                  <a:pt x="292" y="202"/>
                </a:cubicBezTo>
                <a:cubicBezTo>
                  <a:pt x="293" y="203"/>
                  <a:pt x="295" y="204"/>
                  <a:pt x="299" y="202"/>
                </a:cubicBezTo>
                <a:cubicBezTo>
                  <a:pt x="307" y="198"/>
                  <a:pt x="315" y="187"/>
                  <a:pt x="317" y="177"/>
                </a:cubicBezTo>
                <a:cubicBezTo>
                  <a:pt x="319" y="167"/>
                  <a:pt x="319" y="159"/>
                  <a:pt x="316" y="154"/>
                </a:cubicBezTo>
                <a:cubicBezTo>
                  <a:pt x="314" y="151"/>
                  <a:pt x="311" y="150"/>
                  <a:pt x="306" y="149"/>
                </a:cubicBezTo>
                <a:cubicBezTo>
                  <a:pt x="306" y="148"/>
                  <a:pt x="305" y="148"/>
                  <a:pt x="304" y="148"/>
                </a:cubicBezTo>
                <a:cubicBezTo>
                  <a:pt x="299" y="148"/>
                  <a:pt x="294" y="152"/>
                  <a:pt x="288" y="173"/>
                </a:cubicBezTo>
                <a:cubicBezTo>
                  <a:pt x="286" y="180"/>
                  <a:pt x="282" y="198"/>
                  <a:pt x="292" y="202"/>
                </a:cubicBezTo>
                <a:close/>
                <a:moveTo>
                  <a:pt x="151" y="229"/>
                </a:moveTo>
                <a:cubicBezTo>
                  <a:pt x="142" y="223"/>
                  <a:pt x="138" y="221"/>
                  <a:pt x="135" y="221"/>
                </a:cubicBezTo>
                <a:cubicBezTo>
                  <a:pt x="133" y="221"/>
                  <a:pt x="132" y="222"/>
                  <a:pt x="131" y="223"/>
                </a:cubicBezTo>
                <a:cubicBezTo>
                  <a:pt x="129" y="226"/>
                  <a:pt x="129" y="228"/>
                  <a:pt x="129" y="229"/>
                </a:cubicBezTo>
                <a:cubicBezTo>
                  <a:pt x="129" y="233"/>
                  <a:pt x="133" y="238"/>
                  <a:pt x="138" y="242"/>
                </a:cubicBezTo>
                <a:cubicBezTo>
                  <a:pt x="144" y="247"/>
                  <a:pt x="153" y="249"/>
                  <a:pt x="159" y="248"/>
                </a:cubicBezTo>
                <a:cubicBezTo>
                  <a:pt x="160" y="248"/>
                  <a:pt x="161" y="247"/>
                  <a:pt x="162" y="247"/>
                </a:cubicBezTo>
                <a:cubicBezTo>
                  <a:pt x="165" y="240"/>
                  <a:pt x="154" y="232"/>
                  <a:pt x="151" y="229"/>
                </a:cubicBezTo>
                <a:close/>
                <a:moveTo>
                  <a:pt x="358" y="229"/>
                </a:moveTo>
                <a:cubicBezTo>
                  <a:pt x="355" y="232"/>
                  <a:pt x="344" y="240"/>
                  <a:pt x="347" y="247"/>
                </a:cubicBezTo>
                <a:cubicBezTo>
                  <a:pt x="348" y="247"/>
                  <a:pt x="349" y="248"/>
                  <a:pt x="350" y="248"/>
                </a:cubicBezTo>
                <a:cubicBezTo>
                  <a:pt x="356" y="249"/>
                  <a:pt x="366" y="247"/>
                  <a:pt x="371" y="242"/>
                </a:cubicBezTo>
                <a:cubicBezTo>
                  <a:pt x="377" y="238"/>
                  <a:pt x="380" y="233"/>
                  <a:pt x="380" y="229"/>
                </a:cubicBezTo>
                <a:cubicBezTo>
                  <a:pt x="381" y="228"/>
                  <a:pt x="380" y="226"/>
                  <a:pt x="378" y="223"/>
                </a:cubicBezTo>
                <a:cubicBezTo>
                  <a:pt x="377" y="221"/>
                  <a:pt x="374" y="218"/>
                  <a:pt x="358" y="22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4" y="222"/>
                </a:moveTo>
                <a:cubicBezTo>
                  <a:pt x="287" y="223"/>
                  <a:pt x="291" y="224"/>
                  <a:pt x="295" y="224"/>
                </a:cubicBezTo>
                <a:cubicBezTo>
                  <a:pt x="299" y="224"/>
                  <a:pt x="304" y="223"/>
                  <a:pt x="309" y="221"/>
                </a:cubicBezTo>
                <a:cubicBezTo>
                  <a:pt x="322" y="214"/>
                  <a:pt x="334" y="198"/>
                  <a:pt x="338" y="182"/>
                </a:cubicBezTo>
                <a:cubicBezTo>
                  <a:pt x="341" y="166"/>
                  <a:pt x="340" y="153"/>
                  <a:pt x="334" y="143"/>
                </a:cubicBezTo>
                <a:cubicBezTo>
                  <a:pt x="329" y="135"/>
                  <a:pt x="321" y="130"/>
                  <a:pt x="311" y="128"/>
                </a:cubicBezTo>
                <a:cubicBezTo>
                  <a:pt x="280" y="121"/>
                  <a:pt x="270" y="156"/>
                  <a:pt x="267" y="167"/>
                </a:cubicBezTo>
                <a:cubicBezTo>
                  <a:pt x="260" y="194"/>
                  <a:pt x="266" y="214"/>
                  <a:pt x="284" y="222"/>
                </a:cubicBezTo>
                <a:close/>
                <a:moveTo>
                  <a:pt x="173" y="182"/>
                </a:moveTo>
                <a:cubicBezTo>
                  <a:pt x="177" y="198"/>
                  <a:pt x="188" y="214"/>
                  <a:pt x="202" y="221"/>
                </a:cubicBezTo>
                <a:cubicBezTo>
                  <a:pt x="207" y="223"/>
                  <a:pt x="211" y="224"/>
                  <a:pt x="216" y="224"/>
                </a:cubicBezTo>
                <a:cubicBezTo>
                  <a:pt x="220" y="224"/>
                  <a:pt x="223" y="223"/>
                  <a:pt x="227" y="222"/>
                </a:cubicBezTo>
                <a:cubicBezTo>
                  <a:pt x="245" y="214"/>
                  <a:pt x="251" y="194"/>
                  <a:pt x="243" y="167"/>
                </a:cubicBezTo>
                <a:cubicBezTo>
                  <a:pt x="240" y="156"/>
                  <a:pt x="231" y="121"/>
                  <a:pt x="200" y="128"/>
                </a:cubicBezTo>
                <a:cubicBezTo>
                  <a:pt x="190" y="130"/>
                  <a:pt x="182" y="135"/>
                  <a:pt x="177" y="143"/>
                </a:cubicBezTo>
                <a:cubicBezTo>
                  <a:pt x="171" y="153"/>
                  <a:pt x="169" y="166"/>
                  <a:pt x="173" y="182"/>
                </a:cubicBezTo>
                <a:close/>
                <a:moveTo>
                  <a:pt x="156" y="270"/>
                </a:moveTo>
                <a:cubicBezTo>
                  <a:pt x="158" y="270"/>
                  <a:pt x="161" y="270"/>
                  <a:pt x="163" y="269"/>
                </a:cubicBezTo>
                <a:cubicBezTo>
                  <a:pt x="171" y="267"/>
                  <a:pt x="177" y="263"/>
                  <a:pt x="181" y="257"/>
                </a:cubicBezTo>
                <a:cubicBezTo>
                  <a:pt x="181" y="257"/>
                  <a:pt x="181" y="257"/>
                  <a:pt x="181" y="257"/>
                </a:cubicBezTo>
                <a:cubicBezTo>
                  <a:pt x="188" y="242"/>
                  <a:pt x="182" y="226"/>
                  <a:pt x="164" y="212"/>
                </a:cubicBezTo>
                <a:cubicBezTo>
                  <a:pt x="143" y="196"/>
                  <a:pt x="126" y="196"/>
                  <a:pt x="115" y="209"/>
                </a:cubicBezTo>
                <a:cubicBezTo>
                  <a:pt x="109" y="216"/>
                  <a:pt x="107" y="223"/>
                  <a:pt x="108" y="231"/>
                </a:cubicBezTo>
                <a:cubicBezTo>
                  <a:pt x="109" y="241"/>
                  <a:pt x="114" y="251"/>
                  <a:pt x="125" y="259"/>
                </a:cubicBezTo>
                <a:cubicBezTo>
                  <a:pt x="133" y="266"/>
                  <a:pt x="145" y="270"/>
                  <a:pt x="156" y="270"/>
                </a:cubicBezTo>
                <a:close/>
                <a:moveTo>
                  <a:pt x="348" y="333"/>
                </a:moveTo>
                <a:cubicBezTo>
                  <a:pt x="348" y="302"/>
                  <a:pt x="310" y="245"/>
                  <a:pt x="256" y="245"/>
                </a:cubicBezTo>
                <a:cubicBezTo>
                  <a:pt x="201" y="245"/>
                  <a:pt x="163" y="302"/>
                  <a:pt x="163" y="333"/>
                </a:cubicBezTo>
                <a:cubicBezTo>
                  <a:pt x="163" y="378"/>
                  <a:pt x="183" y="391"/>
                  <a:pt x="201" y="394"/>
                </a:cubicBezTo>
                <a:cubicBezTo>
                  <a:pt x="203" y="394"/>
                  <a:pt x="205" y="395"/>
                  <a:pt x="208" y="395"/>
                </a:cubicBezTo>
                <a:cubicBezTo>
                  <a:pt x="228" y="395"/>
                  <a:pt x="238" y="379"/>
                  <a:pt x="245" y="369"/>
                </a:cubicBezTo>
                <a:cubicBezTo>
                  <a:pt x="249" y="363"/>
                  <a:pt x="253" y="358"/>
                  <a:pt x="256" y="358"/>
                </a:cubicBezTo>
                <a:cubicBezTo>
                  <a:pt x="259" y="358"/>
                  <a:pt x="262" y="363"/>
                  <a:pt x="266" y="369"/>
                </a:cubicBezTo>
                <a:cubicBezTo>
                  <a:pt x="274" y="381"/>
                  <a:pt x="286" y="398"/>
                  <a:pt x="311" y="394"/>
                </a:cubicBezTo>
                <a:cubicBezTo>
                  <a:pt x="328" y="391"/>
                  <a:pt x="348" y="378"/>
                  <a:pt x="348" y="333"/>
                </a:cubicBezTo>
                <a:close/>
                <a:moveTo>
                  <a:pt x="402" y="231"/>
                </a:moveTo>
                <a:cubicBezTo>
                  <a:pt x="402" y="223"/>
                  <a:pt x="400" y="216"/>
                  <a:pt x="395" y="209"/>
                </a:cubicBezTo>
                <a:cubicBezTo>
                  <a:pt x="383" y="196"/>
                  <a:pt x="367" y="196"/>
                  <a:pt x="346" y="212"/>
                </a:cubicBezTo>
                <a:cubicBezTo>
                  <a:pt x="327" y="226"/>
                  <a:pt x="321" y="242"/>
                  <a:pt x="329" y="257"/>
                </a:cubicBezTo>
                <a:cubicBezTo>
                  <a:pt x="329" y="257"/>
                  <a:pt x="329" y="257"/>
                  <a:pt x="329" y="257"/>
                </a:cubicBezTo>
                <a:cubicBezTo>
                  <a:pt x="332" y="263"/>
                  <a:pt x="338" y="267"/>
                  <a:pt x="346" y="269"/>
                </a:cubicBezTo>
                <a:cubicBezTo>
                  <a:pt x="348" y="270"/>
                  <a:pt x="351" y="270"/>
                  <a:pt x="353" y="270"/>
                </a:cubicBezTo>
                <a:cubicBezTo>
                  <a:pt x="364" y="270"/>
                  <a:pt x="376" y="266"/>
                  <a:pt x="385" y="259"/>
                </a:cubicBezTo>
                <a:cubicBezTo>
                  <a:pt x="395" y="251"/>
                  <a:pt x="401" y="241"/>
                  <a:pt x="402" y="23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9" name="Group 234"/>
          <p:cNvGrpSpPr>
            <a:grpSpLocks noChangeAspect="1"/>
          </p:cNvGrpSpPr>
          <p:nvPr/>
        </p:nvGrpSpPr>
        <p:grpSpPr bwMode="auto">
          <a:xfrm>
            <a:off x="9888786" y="2051050"/>
            <a:ext cx="369021" cy="369021"/>
            <a:chOff x="2695" y="782"/>
            <a:chExt cx="340" cy="340"/>
          </a:xfrm>
          <a:solidFill>
            <a:schemeClr val="accent3"/>
          </a:solidFill>
        </p:grpSpPr>
        <p:sp>
          <p:nvSpPr>
            <p:cNvPr id="280" name="Freeform 235"/>
            <p:cNvSpPr>
              <a:spLocks noEditPoints="1"/>
            </p:cNvSpPr>
            <p:nvPr/>
          </p:nvSpPr>
          <p:spPr bwMode="auto">
            <a:xfrm>
              <a:off x="2695" y="78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236"/>
            <p:cNvSpPr>
              <a:spLocks noEditPoints="1"/>
            </p:cNvSpPr>
            <p:nvPr/>
          </p:nvSpPr>
          <p:spPr bwMode="auto">
            <a:xfrm>
              <a:off x="2766" y="862"/>
              <a:ext cx="196" cy="184"/>
            </a:xfrm>
            <a:custGeom>
              <a:avLst/>
              <a:gdLst>
                <a:gd name="T0" fmla="*/ 95 w 295"/>
                <a:gd name="T1" fmla="*/ 100 h 277"/>
                <a:gd name="T2" fmla="*/ 70 w 295"/>
                <a:gd name="T3" fmla="*/ 22 h 277"/>
                <a:gd name="T4" fmla="*/ 136 w 295"/>
                <a:gd name="T5" fmla="*/ 46 h 277"/>
                <a:gd name="T6" fmla="*/ 109 w 295"/>
                <a:gd name="T7" fmla="*/ 103 h 277"/>
                <a:gd name="T8" fmla="*/ 97 w 295"/>
                <a:gd name="T9" fmla="*/ 28 h 277"/>
                <a:gd name="T10" fmla="*/ 87 w 295"/>
                <a:gd name="T11" fmla="*/ 56 h 277"/>
                <a:gd name="T12" fmla="*/ 111 w 295"/>
                <a:gd name="T13" fmla="*/ 81 h 277"/>
                <a:gd name="T14" fmla="*/ 116 w 295"/>
                <a:gd name="T15" fmla="*/ 52 h 277"/>
                <a:gd name="T16" fmla="*/ 101 w 295"/>
                <a:gd name="T17" fmla="*/ 274 h 277"/>
                <a:gd name="T18" fmla="*/ 56 w 295"/>
                <a:gd name="T19" fmla="*/ 212 h 277"/>
                <a:gd name="T20" fmla="*/ 241 w 295"/>
                <a:gd name="T21" fmla="*/ 212 h 277"/>
                <a:gd name="T22" fmla="*/ 159 w 295"/>
                <a:gd name="T23" fmla="*/ 248 h 277"/>
                <a:gd name="T24" fmla="*/ 138 w 295"/>
                <a:gd name="T25" fmla="*/ 248 h 277"/>
                <a:gd name="T26" fmla="*/ 149 w 295"/>
                <a:gd name="T27" fmla="*/ 145 h 277"/>
                <a:gd name="T28" fmla="*/ 97 w 295"/>
                <a:gd name="T29" fmla="*/ 252 h 277"/>
                <a:gd name="T30" fmla="*/ 149 w 295"/>
                <a:gd name="T31" fmla="*/ 215 h 277"/>
                <a:gd name="T32" fmla="*/ 200 w 295"/>
                <a:gd name="T33" fmla="*/ 252 h 277"/>
                <a:gd name="T34" fmla="*/ 149 w 295"/>
                <a:gd name="T35" fmla="*/ 145 h 277"/>
                <a:gd name="T36" fmla="*/ 177 w 295"/>
                <a:gd name="T37" fmla="*/ 101 h 277"/>
                <a:gd name="T38" fmla="*/ 160 w 295"/>
                <a:gd name="T39" fmla="*/ 46 h 277"/>
                <a:gd name="T40" fmla="*/ 227 w 295"/>
                <a:gd name="T41" fmla="*/ 22 h 277"/>
                <a:gd name="T42" fmla="*/ 202 w 295"/>
                <a:gd name="T43" fmla="*/ 100 h 277"/>
                <a:gd name="T44" fmla="*/ 197 w 295"/>
                <a:gd name="T45" fmla="*/ 27 h 277"/>
                <a:gd name="T46" fmla="*/ 185 w 295"/>
                <a:gd name="T47" fmla="*/ 81 h 277"/>
                <a:gd name="T48" fmla="*/ 192 w 295"/>
                <a:gd name="T49" fmla="*/ 81 h 277"/>
                <a:gd name="T50" fmla="*/ 209 w 295"/>
                <a:gd name="T51" fmla="*/ 33 h 277"/>
                <a:gd name="T52" fmla="*/ 197 w 295"/>
                <a:gd name="T53" fmla="*/ 27 h 277"/>
                <a:gd name="T54" fmla="*/ 239 w 295"/>
                <a:gd name="T55" fmla="*/ 148 h 277"/>
                <a:gd name="T56" fmla="*/ 222 w 295"/>
                <a:gd name="T57" fmla="*/ 136 h 277"/>
                <a:gd name="T58" fmla="*/ 288 w 295"/>
                <a:gd name="T59" fmla="*/ 88 h 277"/>
                <a:gd name="T60" fmla="*/ 278 w 295"/>
                <a:gd name="T61" fmla="*/ 138 h 277"/>
                <a:gd name="T62" fmla="*/ 240 w 295"/>
                <a:gd name="T63" fmla="*/ 126 h 277"/>
                <a:gd name="T64" fmla="*/ 264 w 295"/>
                <a:gd name="T65" fmla="*/ 121 h 277"/>
                <a:gd name="T66" fmla="*/ 271 w 295"/>
                <a:gd name="T67" fmla="*/ 102 h 277"/>
                <a:gd name="T68" fmla="*/ 240 w 295"/>
                <a:gd name="T69" fmla="*/ 126 h 277"/>
                <a:gd name="T70" fmla="*/ 18 w 295"/>
                <a:gd name="T71" fmla="*/ 138 h 277"/>
                <a:gd name="T72" fmla="*/ 8 w 295"/>
                <a:gd name="T73" fmla="*/ 88 h 277"/>
                <a:gd name="T74" fmla="*/ 74 w 295"/>
                <a:gd name="T75" fmla="*/ 136 h 277"/>
                <a:gd name="T76" fmla="*/ 56 w 295"/>
                <a:gd name="T77" fmla="*/ 148 h 277"/>
                <a:gd name="T78" fmla="*/ 64 w 295"/>
                <a:gd name="T79" fmla="*/ 131 h 277"/>
                <a:gd name="T80" fmla="*/ 28 w 295"/>
                <a:gd name="T81" fmla="*/ 100 h 277"/>
                <a:gd name="T82" fmla="*/ 22 w 295"/>
                <a:gd name="T83" fmla="*/ 108 h 277"/>
                <a:gd name="T84" fmla="*/ 52 w 295"/>
                <a:gd name="T85" fmla="*/ 127 h 277"/>
                <a:gd name="T86" fmla="*/ 55 w 295"/>
                <a:gd name="T87" fmla="*/ 126 h 277"/>
                <a:gd name="T88" fmla="*/ 28 w 295"/>
                <a:gd name="T89" fmla="*/ 10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5" h="277">
                  <a:moveTo>
                    <a:pt x="109" y="103"/>
                  </a:moveTo>
                  <a:cubicBezTo>
                    <a:pt x="104" y="103"/>
                    <a:pt x="100" y="102"/>
                    <a:pt x="95" y="100"/>
                  </a:cubicBezTo>
                  <a:cubicBezTo>
                    <a:pt x="81" y="93"/>
                    <a:pt x="70" y="77"/>
                    <a:pt x="66" y="61"/>
                  </a:cubicBezTo>
                  <a:cubicBezTo>
                    <a:pt x="62" y="45"/>
                    <a:pt x="64" y="32"/>
                    <a:pt x="70" y="22"/>
                  </a:cubicBezTo>
                  <a:cubicBezTo>
                    <a:pt x="75" y="14"/>
                    <a:pt x="83" y="9"/>
                    <a:pt x="93" y="7"/>
                  </a:cubicBezTo>
                  <a:cubicBezTo>
                    <a:pt x="124" y="0"/>
                    <a:pt x="133" y="35"/>
                    <a:pt x="136" y="46"/>
                  </a:cubicBezTo>
                  <a:cubicBezTo>
                    <a:pt x="144" y="73"/>
                    <a:pt x="138" y="93"/>
                    <a:pt x="120" y="101"/>
                  </a:cubicBezTo>
                  <a:cubicBezTo>
                    <a:pt x="116" y="102"/>
                    <a:pt x="113" y="103"/>
                    <a:pt x="109" y="103"/>
                  </a:cubicBezTo>
                  <a:close/>
                  <a:moveTo>
                    <a:pt x="100" y="27"/>
                  </a:moveTo>
                  <a:cubicBezTo>
                    <a:pt x="99" y="27"/>
                    <a:pt x="98" y="27"/>
                    <a:pt x="97" y="28"/>
                  </a:cubicBezTo>
                  <a:cubicBezTo>
                    <a:pt x="93" y="29"/>
                    <a:pt x="90" y="30"/>
                    <a:pt x="88" y="33"/>
                  </a:cubicBezTo>
                  <a:cubicBezTo>
                    <a:pt x="85" y="38"/>
                    <a:pt x="84" y="46"/>
                    <a:pt x="87" y="56"/>
                  </a:cubicBezTo>
                  <a:cubicBezTo>
                    <a:pt x="89" y="66"/>
                    <a:pt x="97" y="77"/>
                    <a:pt x="104" y="81"/>
                  </a:cubicBezTo>
                  <a:cubicBezTo>
                    <a:pt x="108" y="83"/>
                    <a:pt x="110" y="82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21" y="77"/>
                    <a:pt x="118" y="59"/>
                    <a:pt x="116" y="52"/>
                  </a:cubicBezTo>
                  <a:cubicBezTo>
                    <a:pt x="110" y="31"/>
                    <a:pt x="105" y="27"/>
                    <a:pt x="100" y="27"/>
                  </a:cubicBezTo>
                  <a:close/>
                  <a:moveTo>
                    <a:pt x="101" y="274"/>
                  </a:moveTo>
                  <a:cubicBezTo>
                    <a:pt x="98" y="274"/>
                    <a:pt x="96" y="273"/>
                    <a:pt x="94" y="273"/>
                  </a:cubicBezTo>
                  <a:cubicBezTo>
                    <a:pt x="76" y="270"/>
                    <a:pt x="56" y="257"/>
                    <a:pt x="56" y="212"/>
                  </a:cubicBezTo>
                  <a:cubicBezTo>
                    <a:pt x="56" y="181"/>
                    <a:pt x="94" y="124"/>
                    <a:pt x="149" y="124"/>
                  </a:cubicBezTo>
                  <a:cubicBezTo>
                    <a:pt x="203" y="124"/>
                    <a:pt x="241" y="181"/>
                    <a:pt x="241" y="212"/>
                  </a:cubicBezTo>
                  <a:cubicBezTo>
                    <a:pt x="241" y="257"/>
                    <a:pt x="221" y="270"/>
                    <a:pt x="204" y="273"/>
                  </a:cubicBezTo>
                  <a:cubicBezTo>
                    <a:pt x="179" y="277"/>
                    <a:pt x="167" y="260"/>
                    <a:pt x="159" y="248"/>
                  </a:cubicBezTo>
                  <a:cubicBezTo>
                    <a:pt x="155" y="242"/>
                    <a:pt x="152" y="237"/>
                    <a:pt x="149" y="237"/>
                  </a:cubicBezTo>
                  <a:cubicBezTo>
                    <a:pt x="146" y="237"/>
                    <a:pt x="142" y="242"/>
                    <a:pt x="138" y="248"/>
                  </a:cubicBezTo>
                  <a:cubicBezTo>
                    <a:pt x="131" y="258"/>
                    <a:pt x="121" y="274"/>
                    <a:pt x="101" y="274"/>
                  </a:cubicBezTo>
                  <a:close/>
                  <a:moveTo>
                    <a:pt x="149" y="145"/>
                  </a:moveTo>
                  <a:cubicBezTo>
                    <a:pt x="106" y="145"/>
                    <a:pt x="77" y="193"/>
                    <a:pt x="77" y="212"/>
                  </a:cubicBezTo>
                  <a:cubicBezTo>
                    <a:pt x="77" y="249"/>
                    <a:pt x="92" y="251"/>
                    <a:pt x="97" y="252"/>
                  </a:cubicBezTo>
                  <a:cubicBezTo>
                    <a:pt x="107" y="254"/>
                    <a:pt x="112" y="249"/>
                    <a:pt x="120" y="236"/>
                  </a:cubicBezTo>
                  <a:cubicBezTo>
                    <a:pt x="127" y="227"/>
                    <a:pt x="134" y="215"/>
                    <a:pt x="149" y="215"/>
                  </a:cubicBezTo>
                  <a:cubicBezTo>
                    <a:pt x="163" y="215"/>
                    <a:pt x="171" y="227"/>
                    <a:pt x="177" y="236"/>
                  </a:cubicBezTo>
                  <a:cubicBezTo>
                    <a:pt x="185" y="249"/>
                    <a:pt x="190" y="254"/>
                    <a:pt x="200" y="252"/>
                  </a:cubicBezTo>
                  <a:cubicBezTo>
                    <a:pt x="205" y="251"/>
                    <a:pt x="220" y="249"/>
                    <a:pt x="220" y="212"/>
                  </a:cubicBezTo>
                  <a:cubicBezTo>
                    <a:pt x="220" y="193"/>
                    <a:pt x="192" y="145"/>
                    <a:pt x="149" y="145"/>
                  </a:cubicBezTo>
                  <a:close/>
                  <a:moveTo>
                    <a:pt x="188" y="103"/>
                  </a:moveTo>
                  <a:cubicBezTo>
                    <a:pt x="184" y="103"/>
                    <a:pt x="180" y="102"/>
                    <a:pt x="177" y="101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59" y="93"/>
                    <a:pt x="153" y="73"/>
                    <a:pt x="160" y="46"/>
                  </a:cubicBezTo>
                  <a:cubicBezTo>
                    <a:pt x="163" y="35"/>
                    <a:pt x="173" y="0"/>
                    <a:pt x="204" y="7"/>
                  </a:cubicBezTo>
                  <a:cubicBezTo>
                    <a:pt x="214" y="9"/>
                    <a:pt x="222" y="14"/>
                    <a:pt x="227" y="22"/>
                  </a:cubicBezTo>
                  <a:cubicBezTo>
                    <a:pt x="233" y="32"/>
                    <a:pt x="234" y="45"/>
                    <a:pt x="231" y="61"/>
                  </a:cubicBezTo>
                  <a:cubicBezTo>
                    <a:pt x="227" y="77"/>
                    <a:pt x="215" y="93"/>
                    <a:pt x="202" y="100"/>
                  </a:cubicBezTo>
                  <a:cubicBezTo>
                    <a:pt x="197" y="102"/>
                    <a:pt x="192" y="103"/>
                    <a:pt x="188" y="103"/>
                  </a:cubicBezTo>
                  <a:close/>
                  <a:moveTo>
                    <a:pt x="197" y="27"/>
                  </a:moveTo>
                  <a:cubicBezTo>
                    <a:pt x="192" y="27"/>
                    <a:pt x="187" y="31"/>
                    <a:pt x="181" y="52"/>
                  </a:cubicBezTo>
                  <a:cubicBezTo>
                    <a:pt x="179" y="59"/>
                    <a:pt x="175" y="77"/>
                    <a:pt x="185" y="81"/>
                  </a:cubicBezTo>
                  <a:cubicBezTo>
                    <a:pt x="185" y="81"/>
                    <a:pt x="185" y="81"/>
                    <a:pt x="185" y="81"/>
                  </a:cubicBezTo>
                  <a:cubicBezTo>
                    <a:pt x="186" y="82"/>
                    <a:pt x="188" y="83"/>
                    <a:pt x="192" y="81"/>
                  </a:cubicBezTo>
                  <a:cubicBezTo>
                    <a:pt x="200" y="77"/>
                    <a:pt x="208" y="66"/>
                    <a:pt x="210" y="56"/>
                  </a:cubicBezTo>
                  <a:cubicBezTo>
                    <a:pt x="212" y="46"/>
                    <a:pt x="212" y="38"/>
                    <a:pt x="209" y="33"/>
                  </a:cubicBezTo>
                  <a:cubicBezTo>
                    <a:pt x="207" y="30"/>
                    <a:pt x="204" y="29"/>
                    <a:pt x="199" y="28"/>
                  </a:cubicBezTo>
                  <a:cubicBezTo>
                    <a:pt x="199" y="27"/>
                    <a:pt x="198" y="27"/>
                    <a:pt x="197" y="27"/>
                  </a:cubicBezTo>
                  <a:close/>
                  <a:moveTo>
                    <a:pt x="246" y="149"/>
                  </a:moveTo>
                  <a:cubicBezTo>
                    <a:pt x="244" y="149"/>
                    <a:pt x="241" y="149"/>
                    <a:pt x="239" y="148"/>
                  </a:cubicBezTo>
                  <a:cubicBezTo>
                    <a:pt x="231" y="146"/>
                    <a:pt x="225" y="142"/>
                    <a:pt x="222" y="136"/>
                  </a:cubicBezTo>
                  <a:cubicBezTo>
                    <a:pt x="222" y="136"/>
                    <a:pt x="222" y="136"/>
                    <a:pt x="222" y="136"/>
                  </a:cubicBezTo>
                  <a:cubicBezTo>
                    <a:pt x="214" y="121"/>
                    <a:pt x="220" y="105"/>
                    <a:pt x="239" y="91"/>
                  </a:cubicBezTo>
                  <a:cubicBezTo>
                    <a:pt x="260" y="75"/>
                    <a:pt x="276" y="75"/>
                    <a:pt x="288" y="88"/>
                  </a:cubicBezTo>
                  <a:cubicBezTo>
                    <a:pt x="293" y="95"/>
                    <a:pt x="295" y="102"/>
                    <a:pt x="295" y="110"/>
                  </a:cubicBezTo>
                  <a:cubicBezTo>
                    <a:pt x="294" y="120"/>
                    <a:pt x="288" y="130"/>
                    <a:pt x="278" y="138"/>
                  </a:cubicBezTo>
                  <a:cubicBezTo>
                    <a:pt x="269" y="145"/>
                    <a:pt x="257" y="149"/>
                    <a:pt x="246" y="149"/>
                  </a:cubicBezTo>
                  <a:close/>
                  <a:moveTo>
                    <a:pt x="240" y="126"/>
                  </a:moveTo>
                  <a:cubicBezTo>
                    <a:pt x="241" y="126"/>
                    <a:pt x="242" y="127"/>
                    <a:pt x="243" y="127"/>
                  </a:cubicBezTo>
                  <a:cubicBezTo>
                    <a:pt x="249" y="128"/>
                    <a:pt x="259" y="126"/>
                    <a:pt x="264" y="121"/>
                  </a:cubicBezTo>
                  <a:cubicBezTo>
                    <a:pt x="270" y="117"/>
                    <a:pt x="273" y="112"/>
                    <a:pt x="273" y="108"/>
                  </a:cubicBezTo>
                  <a:cubicBezTo>
                    <a:pt x="274" y="107"/>
                    <a:pt x="273" y="105"/>
                    <a:pt x="271" y="102"/>
                  </a:cubicBezTo>
                  <a:cubicBezTo>
                    <a:pt x="270" y="100"/>
                    <a:pt x="267" y="97"/>
                    <a:pt x="251" y="108"/>
                  </a:cubicBezTo>
                  <a:cubicBezTo>
                    <a:pt x="248" y="111"/>
                    <a:pt x="237" y="119"/>
                    <a:pt x="240" y="126"/>
                  </a:cubicBezTo>
                  <a:close/>
                  <a:moveTo>
                    <a:pt x="49" y="149"/>
                  </a:moveTo>
                  <a:cubicBezTo>
                    <a:pt x="38" y="149"/>
                    <a:pt x="26" y="145"/>
                    <a:pt x="18" y="138"/>
                  </a:cubicBezTo>
                  <a:cubicBezTo>
                    <a:pt x="7" y="130"/>
                    <a:pt x="2" y="120"/>
                    <a:pt x="1" y="110"/>
                  </a:cubicBezTo>
                  <a:cubicBezTo>
                    <a:pt x="0" y="102"/>
                    <a:pt x="2" y="95"/>
                    <a:pt x="8" y="88"/>
                  </a:cubicBezTo>
                  <a:cubicBezTo>
                    <a:pt x="19" y="75"/>
                    <a:pt x="36" y="75"/>
                    <a:pt x="57" y="91"/>
                  </a:cubicBezTo>
                  <a:cubicBezTo>
                    <a:pt x="75" y="105"/>
                    <a:pt x="81" y="121"/>
                    <a:pt x="74" y="136"/>
                  </a:cubicBezTo>
                  <a:cubicBezTo>
                    <a:pt x="74" y="136"/>
                    <a:pt x="74" y="136"/>
                    <a:pt x="74" y="136"/>
                  </a:cubicBezTo>
                  <a:cubicBezTo>
                    <a:pt x="70" y="142"/>
                    <a:pt x="64" y="146"/>
                    <a:pt x="56" y="148"/>
                  </a:cubicBezTo>
                  <a:cubicBezTo>
                    <a:pt x="54" y="149"/>
                    <a:pt x="51" y="149"/>
                    <a:pt x="49" y="149"/>
                  </a:cubicBezTo>
                  <a:close/>
                  <a:moveTo>
                    <a:pt x="64" y="131"/>
                  </a:moveTo>
                  <a:cubicBezTo>
                    <a:pt x="64" y="131"/>
                    <a:pt x="64" y="131"/>
                    <a:pt x="64" y="131"/>
                  </a:cubicBezTo>
                  <a:close/>
                  <a:moveTo>
                    <a:pt x="28" y="100"/>
                  </a:moveTo>
                  <a:cubicBezTo>
                    <a:pt x="26" y="100"/>
                    <a:pt x="25" y="101"/>
                    <a:pt x="24" y="102"/>
                  </a:cubicBezTo>
                  <a:cubicBezTo>
                    <a:pt x="22" y="105"/>
                    <a:pt x="22" y="107"/>
                    <a:pt x="22" y="108"/>
                  </a:cubicBezTo>
                  <a:cubicBezTo>
                    <a:pt x="22" y="112"/>
                    <a:pt x="26" y="117"/>
                    <a:pt x="31" y="121"/>
                  </a:cubicBezTo>
                  <a:cubicBezTo>
                    <a:pt x="37" y="126"/>
                    <a:pt x="46" y="128"/>
                    <a:pt x="52" y="127"/>
                  </a:cubicBezTo>
                  <a:cubicBezTo>
                    <a:pt x="53" y="127"/>
                    <a:pt x="54" y="126"/>
                    <a:pt x="5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8" y="119"/>
                    <a:pt x="47" y="111"/>
                    <a:pt x="44" y="108"/>
                  </a:cubicBezTo>
                  <a:cubicBezTo>
                    <a:pt x="35" y="102"/>
                    <a:pt x="31" y="100"/>
                    <a:pt x="28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2" name="Group 647"/>
          <p:cNvGrpSpPr>
            <a:grpSpLocks noChangeAspect="1"/>
          </p:cNvGrpSpPr>
          <p:nvPr/>
        </p:nvGrpSpPr>
        <p:grpSpPr bwMode="auto">
          <a:xfrm>
            <a:off x="8891392" y="2918210"/>
            <a:ext cx="369021" cy="369021"/>
            <a:chOff x="1136" y="2353"/>
            <a:chExt cx="340" cy="340"/>
          </a:xfrm>
          <a:solidFill>
            <a:schemeClr val="accent1"/>
          </a:solidFill>
        </p:grpSpPr>
        <p:sp>
          <p:nvSpPr>
            <p:cNvPr id="375" name="Freeform 648"/>
            <p:cNvSpPr>
              <a:spLocks noEditPoints="1"/>
            </p:cNvSpPr>
            <p:nvPr/>
          </p:nvSpPr>
          <p:spPr bwMode="auto">
            <a:xfrm>
              <a:off x="1136" y="23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6" name="Freeform 649"/>
            <p:cNvSpPr>
              <a:spLocks noEditPoints="1"/>
            </p:cNvSpPr>
            <p:nvPr/>
          </p:nvSpPr>
          <p:spPr bwMode="auto">
            <a:xfrm>
              <a:off x="1201" y="2431"/>
              <a:ext cx="211" cy="184"/>
            </a:xfrm>
            <a:custGeom>
              <a:avLst/>
              <a:gdLst>
                <a:gd name="T0" fmla="*/ 318 w 318"/>
                <a:gd name="T1" fmla="*/ 160 h 277"/>
                <a:gd name="T2" fmla="*/ 262 w 318"/>
                <a:gd name="T3" fmla="*/ 97 h 277"/>
                <a:gd name="T4" fmla="*/ 229 w 318"/>
                <a:gd name="T5" fmla="*/ 24 h 277"/>
                <a:gd name="T6" fmla="*/ 159 w 318"/>
                <a:gd name="T7" fmla="*/ 0 h 277"/>
                <a:gd name="T8" fmla="*/ 149 w 318"/>
                <a:gd name="T9" fmla="*/ 5 h 277"/>
                <a:gd name="T10" fmla="*/ 149 w 318"/>
                <a:gd name="T11" fmla="*/ 16 h 277"/>
                <a:gd name="T12" fmla="*/ 207 w 318"/>
                <a:gd name="T13" fmla="*/ 114 h 277"/>
                <a:gd name="T14" fmla="*/ 193 w 318"/>
                <a:gd name="T15" fmla="*/ 123 h 277"/>
                <a:gd name="T16" fmla="*/ 139 w 318"/>
                <a:gd name="T17" fmla="*/ 86 h 277"/>
                <a:gd name="T18" fmla="*/ 61 w 318"/>
                <a:gd name="T19" fmla="*/ 90 h 277"/>
                <a:gd name="T20" fmla="*/ 8 w 318"/>
                <a:gd name="T21" fmla="*/ 194 h 277"/>
                <a:gd name="T22" fmla="*/ 8 w 318"/>
                <a:gd name="T23" fmla="*/ 194 h 277"/>
                <a:gd name="T24" fmla="*/ 3 w 318"/>
                <a:gd name="T25" fmla="*/ 219 h 277"/>
                <a:gd name="T26" fmla="*/ 62 w 318"/>
                <a:gd name="T27" fmla="*/ 277 h 277"/>
                <a:gd name="T28" fmla="*/ 275 w 318"/>
                <a:gd name="T29" fmla="*/ 277 h 277"/>
                <a:gd name="T30" fmla="*/ 286 w 318"/>
                <a:gd name="T31" fmla="*/ 267 h 277"/>
                <a:gd name="T32" fmla="*/ 275 w 318"/>
                <a:gd name="T33" fmla="*/ 256 h 277"/>
                <a:gd name="T34" fmla="*/ 266 w 318"/>
                <a:gd name="T35" fmla="*/ 256 h 277"/>
                <a:gd name="T36" fmla="*/ 274 w 318"/>
                <a:gd name="T37" fmla="*/ 212 h 277"/>
                <a:gd name="T38" fmla="*/ 318 w 318"/>
                <a:gd name="T39" fmla="*/ 160 h 277"/>
                <a:gd name="T40" fmla="*/ 219 w 318"/>
                <a:gd name="T41" fmla="*/ 256 h 277"/>
                <a:gd name="T42" fmla="*/ 211 w 318"/>
                <a:gd name="T43" fmla="*/ 221 h 277"/>
                <a:gd name="T44" fmla="*/ 198 w 318"/>
                <a:gd name="T45" fmla="*/ 214 h 277"/>
                <a:gd name="T46" fmla="*/ 190 w 318"/>
                <a:gd name="T47" fmla="*/ 227 h 277"/>
                <a:gd name="T48" fmla="*/ 197 w 318"/>
                <a:gd name="T49" fmla="*/ 256 h 277"/>
                <a:gd name="T50" fmla="*/ 62 w 318"/>
                <a:gd name="T51" fmla="*/ 256 h 277"/>
                <a:gd name="T52" fmla="*/ 24 w 318"/>
                <a:gd name="T53" fmla="*/ 219 h 277"/>
                <a:gd name="T54" fmla="*/ 62 w 318"/>
                <a:gd name="T55" fmla="*/ 181 h 277"/>
                <a:gd name="T56" fmla="*/ 99 w 318"/>
                <a:gd name="T57" fmla="*/ 219 h 277"/>
                <a:gd name="T58" fmla="*/ 110 w 318"/>
                <a:gd name="T59" fmla="*/ 229 h 277"/>
                <a:gd name="T60" fmla="*/ 120 w 318"/>
                <a:gd name="T61" fmla="*/ 219 h 277"/>
                <a:gd name="T62" fmla="*/ 62 w 318"/>
                <a:gd name="T63" fmla="*/ 160 h 277"/>
                <a:gd name="T64" fmla="*/ 28 w 318"/>
                <a:gd name="T65" fmla="*/ 170 h 277"/>
                <a:gd name="T66" fmla="*/ 70 w 318"/>
                <a:gd name="T67" fmla="*/ 110 h 277"/>
                <a:gd name="T68" fmla="*/ 133 w 318"/>
                <a:gd name="T69" fmla="*/ 106 h 277"/>
                <a:gd name="T70" fmla="*/ 180 w 318"/>
                <a:gd name="T71" fmla="*/ 143 h 277"/>
                <a:gd name="T72" fmla="*/ 187 w 318"/>
                <a:gd name="T73" fmla="*/ 149 h 277"/>
                <a:gd name="T74" fmla="*/ 196 w 318"/>
                <a:gd name="T75" fmla="*/ 148 h 277"/>
                <a:gd name="T76" fmla="*/ 228 w 318"/>
                <a:gd name="T77" fmla="*/ 126 h 277"/>
                <a:gd name="T78" fmla="*/ 231 w 318"/>
                <a:gd name="T79" fmla="*/ 112 h 277"/>
                <a:gd name="T80" fmla="*/ 179 w 318"/>
                <a:gd name="T81" fmla="*/ 25 h 277"/>
                <a:gd name="T82" fmla="*/ 214 w 318"/>
                <a:gd name="T83" fmla="*/ 40 h 277"/>
                <a:gd name="T84" fmla="*/ 243 w 318"/>
                <a:gd name="T85" fmla="*/ 109 h 277"/>
                <a:gd name="T86" fmla="*/ 253 w 318"/>
                <a:gd name="T87" fmla="*/ 117 h 277"/>
                <a:gd name="T88" fmla="*/ 254 w 318"/>
                <a:gd name="T89" fmla="*/ 117 h 277"/>
                <a:gd name="T90" fmla="*/ 296 w 318"/>
                <a:gd name="T91" fmla="*/ 160 h 277"/>
                <a:gd name="T92" fmla="*/ 264 w 318"/>
                <a:gd name="T93" fmla="*/ 192 h 277"/>
                <a:gd name="T94" fmla="*/ 264 w 318"/>
                <a:gd name="T95" fmla="*/ 192 h 277"/>
                <a:gd name="T96" fmla="*/ 254 w 318"/>
                <a:gd name="T97" fmla="*/ 201 h 277"/>
                <a:gd name="T98" fmla="*/ 245 w 318"/>
                <a:gd name="T99" fmla="*/ 256 h 277"/>
                <a:gd name="T100" fmla="*/ 219 w 318"/>
                <a:gd name="T10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8" h="277">
                  <a:moveTo>
                    <a:pt x="318" y="160"/>
                  </a:moveTo>
                  <a:cubicBezTo>
                    <a:pt x="318" y="133"/>
                    <a:pt x="289" y="103"/>
                    <a:pt x="262" y="97"/>
                  </a:cubicBezTo>
                  <a:cubicBezTo>
                    <a:pt x="257" y="80"/>
                    <a:pt x="245" y="40"/>
                    <a:pt x="229" y="24"/>
                  </a:cubicBezTo>
                  <a:cubicBezTo>
                    <a:pt x="210" y="5"/>
                    <a:pt x="164" y="0"/>
                    <a:pt x="159" y="0"/>
                  </a:cubicBezTo>
                  <a:cubicBezTo>
                    <a:pt x="155" y="0"/>
                    <a:pt x="151" y="2"/>
                    <a:pt x="149" y="5"/>
                  </a:cubicBezTo>
                  <a:cubicBezTo>
                    <a:pt x="146" y="8"/>
                    <a:pt x="146" y="13"/>
                    <a:pt x="149" y="16"/>
                  </a:cubicBezTo>
                  <a:cubicBezTo>
                    <a:pt x="207" y="114"/>
                    <a:pt x="207" y="114"/>
                    <a:pt x="207" y="114"/>
                  </a:cubicBezTo>
                  <a:cubicBezTo>
                    <a:pt x="193" y="123"/>
                    <a:pt x="193" y="123"/>
                    <a:pt x="193" y="123"/>
                  </a:cubicBezTo>
                  <a:cubicBezTo>
                    <a:pt x="181" y="106"/>
                    <a:pt x="162" y="92"/>
                    <a:pt x="139" y="86"/>
                  </a:cubicBezTo>
                  <a:cubicBezTo>
                    <a:pt x="113" y="78"/>
                    <a:pt x="84" y="79"/>
                    <a:pt x="61" y="90"/>
                  </a:cubicBezTo>
                  <a:cubicBezTo>
                    <a:pt x="22" y="109"/>
                    <a:pt x="0" y="151"/>
                    <a:pt x="8" y="194"/>
                  </a:cubicBezTo>
                  <a:cubicBezTo>
                    <a:pt x="8" y="194"/>
                    <a:pt x="8" y="194"/>
                    <a:pt x="8" y="194"/>
                  </a:cubicBezTo>
                  <a:cubicBezTo>
                    <a:pt x="5" y="202"/>
                    <a:pt x="3" y="210"/>
                    <a:pt x="3" y="219"/>
                  </a:cubicBezTo>
                  <a:cubicBezTo>
                    <a:pt x="3" y="251"/>
                    <a:pt x="29" y="277"/>
                    <a:pt x="62" y="277"/>
                  </a:cubicBezTo>
                  <a:cubicBezTo>
                    <a:pt x="275" y="277"/>
                    <a:pt x="275" y="277"/>
                    <a:pt x="275" y="277"/>
                  </a:cubicBezTo>
                  <a:cubicBezTo>
                    <a:pt x="281" y="277"/>
                    <a:pt x="286" y="273"/>
                    <a:pt x="286" y="267"/>
                  </a:cubicBezTo>
                  <a:cubicBezTo>
                    <a:pt x="286" y="261"/>
                    <a:pt x="281" y="256"/>
                    <a:pt x="275" y="256"/>
                  </a:cubicBezTo>
                  <a:cubicBezTo>
                    <a:pt x="266" y="256"/>
                    <a:pt x="266" y="256"/>
                    <a:pt x="266" y="256"/>
                  </a:cubicBezTo>
                  <a:cubicBezTo>
                    <a:pt x="274" y="212"/>
                    <a:pt x="274" y="212"/>
                    <a:pt x="274" y="212"/>
                  </a:cubicBezTo>
                  <a:cubicBezTo>
                    <a:pt x="299" y="208"/>
                    <a:pt x="318" y="186"/>
                    <a:pt x="318" y="160"/>
                  </a:cubicBezTo>
                  <a:close/>
                  <a:moveTo>
                    <a:pt x="219" y="256"/>
                  </a:moveTo>
                  <a:cubicBezTo>
                    <a:pt x="211" y="221"/>
                    <a:pt x="211" y="221"/>
                    <a:pt x="211" y="221"/>
                  </a:cubicBezTo>
                  <a:cubicBezTo>
                    <a:pt x="209" y="216"/>
                    <a:pt x="203" y="212"/>
                    <a:pt x="198" y="214"/>
                  </a:cubicBezTo>
                  <a:cubicBezTo>
                    <a:pt x="192" y="215"/>
                    <a:pt x="189" y="221"/>
                    <a:pt x="190" y="227"/>
                  </a:cubicBezTo>
                  <a:cubicBezTo>
                    <a:pt x="197" y="256"/>
                    <a:pt x="197" y="256"/>
                    <a:pt x="197" y="256"/>
                  </a:cubicBezTo>
                  <a:cubicBezTo>
                    <a:pt x="62" y="256"/>
                    <a:pt x="62" y="256"/>
                    <a:pt x="62" y="256"/>
                  </a:cubicBezTo>
                  <a:cubicBezTo>
                    <a:pt x="41" y="256"/>
                    <a:pt x="24" y="239"/>
                    <a:pt x="24" y="219"/>
                  </a:cubicBezTo>
                  <a:cubicBezTo>
                    <a:pt x="24" y="198"/>
                    <a:pt x="41" y="181"/>
                    <a:pt x="62" y="181"/>
                  </a:cubicBezTo>
                  <a:cubicBezTo>
                    <a:pt x="82" y="181"/>
                    <a:pt x="99" y="198"/>
                    <a:pt x="99" y="219"/>
                  </a:cubicBezTo>
                  <a:cubicBezTo>
                    <a:pt x="99" y="225"/>
                    <a:pt x="104" y="229"/>
                    <a:pt x="110" y="229"/>
                  </a:cubicBezTo>
                  <a:cubicBezTo>
                    <a:pt x="116" y="229"/>
                    <a:pt x="120" y="225"/>
                    <a:pt x="120" y="219"/>
                  </a:cubicBezTo>
                  <a:cubicBezTo>
                    <a:pt x="120" y="186"/>
                    <a:pt x="94" y="160"/>
                    <a:pt x="62" y="160"/>
                  </a:cubicBezTo>
                  <a:cubicBezTo>
                    <a:pt x="49" y="160"/>
                    <a:pt x="38" y="164"/>
                    <a:pt x="28" y="170"/>
                  </a:cubicBezTo>
                  <a:cubicBezTo>
                    <a:pt x="31" y="145"/>
                    <a:pt x="46" y="121"/>
                    <a:pt x="70" y="110"/>
                  </a:cubicBezTo>
                  <a:cubicBezTo>
                    <a:pt x="89" y="101"/>
                    <a:pt x="112" y="100"/>
                    <a:pt x="133" y="106"/>
                  </a:cubicBezTo>
                  <a:cubicBezTo>
                    <a:pt x="155" y="113"/>
                    <a:pt x="172" y="126"/>
                    <a:pt x="180" y="143"/>
                  </a:cubicBezTo>
                  <a:cubicBezTo>
                    <a:pt x="181" y="146"/>
                    <a:pt x="184" y="148"/>
                    <a:pt x="187" y="149"/>
                  </a:cubicBezTo>
                  <a:cubicBezTo>
                    <a:pt x="190" y="150"/>
                    <a:pt x="193" y="149"/>
                    <a:pt x="196" y="148"/>
                  </a:cubicBezTo>
                  <a:cubicBezTo>
                    <a:pt x="228" y="126"/>
                    <a:pt x="228" y="126"/>
                    <a:pt x="228" y="126"/>
                  </a:cubicBezTo>
                  <a:cubicBezTo>
                    <a:pt x="232" y="123"/>
                    <a:pt x="234" y="117"/>
                    <a:pt x="231" y="112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93" y="28"/>
                    <a:pt x="207" y="33"/>
                    <a:pt x="214" y="40"/>
                  </a:cubicBezTo>
                  <a:cubicBezTo>
                    <a:pt x="225" y="51"/>
                    <a:pt x="238" y="88"/>
                    <a:pt x="243" y="109"/>
                  </a:cubicBezTo>
                  <a:cubicBezTo>
                    <a:pt x="245" y="114"/>
                    <a:pt x="249" y="117"/>
                    <a:pt x="253" y="117"/>
                  </a:cubicBezTo>
                  <a:cubicBezTo>
                    <a:pt x="253" y="117"/>
                    <a:pt x="254" y="117"/>
                    <a:pt x="254" y="117"/>
                  </a:cubicBezTo>
                  <a:cubicBezTo>
                    <a:pt x="271" y="117"/>
                    <a:pt x="296" y="142"/>
                    <a:pt x="296" y="160"/>
                  </a:cubicBezTo>
                  <a:cubicBezTo>
                    <a:pt x="296" y="178"/>
                    <a:pt x="282" y="192"/>
                    <a:pt x="264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59" y="192"/>
                    <a:pt x="255" y="196"/>
                    <a:pt x="254" y="201"/>
                  </a:cubicBezTo>
                  <a:cubicBezTo>
                    <a:pt x="245" y="256"/>
                    <a:pt x="245" y="256"/>
                    <a:pt x="245" y="256"/>
                  </a:cubicBezTo>
                  <a:lnTo>
                    <a:pt x="219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7" name="Freeform 653"/>
          <p:cNvSpPr>
            <a:spLocks noChangeAspect="1" noEditPoints="1"/>
          </p:cNvSpPr>
          <p:nvPr/>
        </p:nvSpPr>
        <p:spPr bwMode="auto">
          <a:xfrm>
            <a:off x="8392693" y="2918207"/>
            <a:ext cx="369021" cy="370106"/>
          </a:xfrm>
          <a:custGeom>
            <a:avLst/>
            <a:gdLst>
              <a:gd name="T0" fmla="*/ 394 w 512"/>
              <a:gd name="T1" fmla="*/ 277 h 512"/>
              <a:gd name="T2" fmla="*/ 362 w 512"/>
              <a:gd name="T3" fmla="*/ 309 h 512"/>
              <a:gd name="T4" fmla="*/ 362 w 512"/>
              <a:gd name="T5" fmla="*/ 309 h 512"/>
              <a:gd name="T6" fmla="*/ 352 w 512"/>
              <a:gd name="T7" fmla="*/ 318 h 512"/>
              <a:gd name="T8" fmla="*/ 343 w 512"/>
              <a:gd name="T9" fmla="*/ 373 h 512"/>
              <a:gd name="T10" fmla="*/ 317 w 512"/>
              <a:gd name="T11" fmla="*/ 373 h 512"/>
              <a:gd name="T12" fmla="*/ 309 w 512"/>
              <a:gd name="T13" fmla="*/ 338 h 512"/>
              <a:gd name="T14" fmla="*/ 296 w 512"/>
              <a:gd name="T15" fmla="*/ 331 h 512"/>
              <a:gd name="T16" fmla="*/ 288 w 512"/>
              <a:gd name="T17" fmla="*/ 344 h 512"/>
              <a:gd name="T18" fmla="*/ 295 w 512"/>
              <a:gd name="T19" fmla="*/ 373 h 512"/>
              <a:gd name="T20" fmla="*/ 160 w 512"/>
              <a:gd name="T21" fmla="*/ 373 h 512"/>
              <a:gd name="T22" fmla="*/ 122 w 512"/>
              <a:gd name="T23" fmla="*/ 336 h 512"/>
              <a:gd name="T24" fmla="*/ 160 w 512"/>
              <a:gd name="T25" fmla="*/ 298 h 512"/>
              <a:gd name="T26" fmla="*/ 197 w 512"/>
              <a:gd name="T27" fmla="*/ 336 h 512"/>
              <a:gd name="T28" fmla="*/ 208 w 512"/>
              <a:gd name="T29" fmla="*/ 346 h 512"/>
              <a:gd name="T30" fmla="*/ 218 w 512"/>
              <a:gd name="T31" fmla="*/ 336 h 512"/>
              <a:gd name="T32" fmla="*/ 160 w 512"/>
              <a:gd name="T33" fmla="*/ 277 h 512"/>
              <a:gd name="T34" fmla="*/ 126 w 512"/>
              <a:gd name="T35" fmla="*/ 287 h 512"/>
              <a:gd name="T36" fmla="*/ 168 w 512"/>
              <a:gd name="T37" fmla="*/ 227 h 512"/>
              <a:gd name="T38" fmla="*/ 231 w 512"/>
              <a:gd name="T39" fmla="*/ 223 h 512"/>
              <a:gd name="T40" fmla="*/ 278 w 512"/>
              <a:gd name="T41" fmla="*/ 260 h 512"/>
              <a:gd name="T42" fmla="*/ 285 w 512"/>
              <a:gd name="T43" fmla="*/ 266 h 512"/>
              <a:gd name="T44" fmla="*/ 294 w 512"/>
              <a:gd name="T45" fmla="*/ 265 h 512"/>
              <a:gd name="T46" fmla="*/ 326 w 512"/>
              <a:gd name="T47" fmla="*/ 243 h 512"/>
              <a:gd name="T48" fmla="*/ 329 w 512"/>
              <a:gd name="T49" fmla="*/ 229 h 512"/>
              <a:gd name="T50" fmla="*/ 277 w 512"/>
              <a:gd name="T51" fmla="*/ 142 h 512"/>
              <a:gd name="T52" fmla="*/ 312 w 512"/>
              <a:gd name="T53" fmla="*/ 157 h 512"/>
              <a:gd name="T54" fmla="*/ 341 w 512"/>
              <a:gd name="T55" fmla="*/ 226 h 512"/>
              <a:gd name="T56" fmla="*/ 351 w 512"/>
              <a:gd name="T57" fmla="*/ 234 h 512"/>
              <a:gd name="T58" fmla="*/ 352 w 512"/>
              <a:gd name="T59" fmla="*/ 234 h 512"/>
              <a:gd name="T60" fmla="*/ 394 w 512"/>
              <a:gd name="T61" fmla="*/ 277 h 512"/>
              <a:gd name="T62" fmla="*/ 512 w 512"/>
              <a:gd name="T63" fmla="*/ 256 h 512"/>
              <a:gd name="T64" fmla="*/ 256 w 512"/>
              <a:gd name="T65" fmla="*/ 512 h 512"/>
              <a:gd name="T66" fmla="*/ 0 w 512"/>
              <a:gd name="T67" fmla="*/ 256 h 512"/>
              <a:gd name="T68" fmla="*/ 256 w 512"/>
              <a:gd name="T69" fmla="*/ 0 h 512"/>
              <a:gd name="T70" fmla="*/ 512 w 512"/>
              <a:gd name="T71" fmla="*/ 256 h 512"/>
              <a:gd name="T72" fmla="*/ 416 w 512"/>
              <a:gd name="T73" fmla="*/ 277 h 512"/>
              <a:gd name="T74" fmla="*/ 360 w 512"/>
              <a:gd name="T75" fmla="*/ 214 h 512"/>
              <a:gd name="T76" fmla="*/ 327 w 512"/>
              <a:gd name="T77" fmla="*/ 141 h 512"/>
              <a:gd name="T78" fmla="*/ 257 w 512"/>
              <a:gd name="T79" fmla="*/ 117 h 512"/>
              <a:gd name="T80" fmla="*/ 247 w 512"/>
              <a:gd name="T81" fmla="*/ 122 h 512"/>
              <a:gd name="T82" fmla="*/ 247 w 512"/>
              <a:gd name="T83" fmla="*/ 133 h 512"/>
              <a:gd name="T84" fmla="*/ 305 w 512"/>
              <a:gd name="T85" fmla="*/ 231 h 512"/>
              <a:gd name="T86" fmla="*/ 291 w 512"/>
              <a:gd name="T87" fmla="*/ 240 h 512"/>
              <a:gd name="T88" fmla="*/ 237 w 512"/>
              <a:gd name="T89" fmla="*/ 203 h 512"/>
              <a:gd name="T90" fmla="*/ 159 w 512"/>
              <a:gd name="T91" fmla="*/ 207 h 512"/>
              <a:gd name="T92" fmla="*/ 106 w 512"/>
              <a:gd name="T93" fmla="*/ 311 h 512"/>
              <a:gd name="T94" fmla="*/ 106 w 512"/>
              <a:gd name="T95" fmla="*/ 311 h 512"/>
              <a:gd name="T96" fmla="*/ 101 w 512"/>
              <a:gd name="T97" fmla="*/ 336 h 512"/>
              <a:gd name="T98" fmla="*/ 160 w 512"/>
              <a:gd name="T99" fmla="*/ 394 h 512"/>
              <a:gd name="T100" fmla="*/ 373 w 512"/>
              <a:gd name="T101" fmla="*/ 394 h 512"/>
              <a:gd name="T102" fmla="*/ 384 w 512"/>
              <a:gd name="T103" fmla="*/ 384 h 512"/>
              <a:gd name="T104" fmla="*/ 373 w 512"/>
              <a:gd name="T105" fmla="*/ 373 h 512"/>
              <a:gd name="T106" fmla="*/ 364 w 512"/>
              <a:gd name="T107" fmla="*/ 373 h 512"/>
              <a:gd name="T108" fmla="*/ 372 w 512"/>
              <a:gd name="T109" fmla="*/ 329 h 512"/>
              <a:gd name="T110" fmla="*/ 416 w 512"/>
              <a:gd name="T111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94" y="277"/>
                </a:moveTo>
                <a:cubicBezTo>
                  <a:pt x="394" y="295"/>
                  <a:pt x="380" y="309"/>
                  <a:pt x="362" y="309"/>
                </a:cubicBezTo>
                <a:cubicBezTo>
                  <a:pt x="362" y="309"/>
                  <a:pt x="362" y="309"/>
                  <a:pt x="362" y="309"/>
                </a:cubicBezTo>
                <a:cubicBezTo>
                  <a:pt x="357" y="309"/>
                  <a:pt x="353" y="313"/>
                  <a:pt x="352" y="318"/>
                </a:cubicBezTo>
                <a:cubicBezTo>
                  <a:pt x="343" y="373"/>
                  <a:pt x="343" y="373"/>
                  <a:pt x="343" y="373"/>
                </a:cubicBezTo>
                <a:cubicBezTo>
                  <a:pt x="317" y="373"/>
                  <a:pt x="317" y="373"/>
                  <a:pt x="317" y="373"/>
                </a:cubicBezTo>
                <a:cubicBezTo>
                  <a:pt x="309" y="338"/>
                  <a:pt x="309" y="338"/>
                  <a:pt x="309" y="338"/>
                </a:cubicBezTo>
                <a:cubicBezTo>
                  <a:pt x="307" y="333"/>
                  <a:pt x="301" y="329"/>
                  <a:pt x="296" y="331"/>
                </a:cubicBezTo>
                <a:cubicBezTo>
                  <a:pt x="290" y="332"/>
                  <a:pt x="287" y="338"/>
                  <a:pt x="288" y="344"/>
                </a:cubicBezTo>
                <a:cubicBezTo>
                  <a:pt x="295" y="373"/>
                  <a:pt x="295" y="373"/>
                  <a:pt x="295" y="373"/>
                </a:cubicBezTo>
                <a:cubicBezTo>
                  <a:pt x="160" y="373"/>
                  <a:pt x="160" y="373"/>
                  <a:pt x="160" y="373"/>
                </a:cubicBezTo>
                <a:cubicBezTo>
                  <a:pt x="139" y="373"/>
                  <a:pt x="122" y="356"/>
                  <a:pt x="122" y="336"/>
                </a:cubicBezTo>
                <a:cubicBezTo>
                  <a:pt x="122" y="315"/>
                  <a:pt x="139" y="298"/>
                  <a:pt x="160" y="298"/>
                </a:cubicBezTo>
                <a:cubicBezTo>
                  <a:pt x="180" y="298"/>
                  <a:pt x="197" y="315"/>
                  <a:pt x="197" y="336"/>
                </a:cubicBezTo>
                <a:cubicBezTo>
                  <a:pt x="197" y="342"/>
                  <a:pt x="202" y="346"/>
                  <a:pt x="208" y="346"/>
                </a:cubicBezTo>
                <a:cubicBezTo>
                  <a:pt x="214" y="346"/>
                  <a:pt x="218" y="342"/>
                  <a:pt x="218" y="336"/>
                </a:cubicBezTo>
                <a:cubicBezTo>
                  <a:pt x="218" y="303"/>
                  <a:pt x="192" y="277"/>
                  <a:pt x="160" y="277"/>
                </a:cubicBezTo>
                <a:cubicBezTo>
                  <a:pt x="147" y="277"/>
                  <a:pt x="136" y="281"/>
                  <a:pt x="126" y="287"/>
                </a:cubicBezTo>
                <a:cubicBezTo>
                  <a:pt x="129" y="262"/>
                  <a:pt x="144" y="238"/>
                  <a:pt x="168" y="227"/>
                </a:cubicBezTo>
                <a:cubicBezTo>
                  <a:pt x="187" y="218"/>
                  <a:pt x="210" y="217"/>
                  <a:pt x="231" y="223"/>
                </a:cubicBezTo>
                <a:cubicBezTo>
                  <a:pt x="253" y="230"/>
                  <a:pt x="270" y="243"/>
                  <a:pt x="278" y="260"/>
                </a:cubicBezTo>
                <a:cubicBezTo>
                  <a:pt x="279" y="263"/>
                  <a:pt x="282" y="265"/>
                  <a:pt x="285" y="266"/>
                </a:cubicBezTo>
                <a:cubicBezTo>
                  <a:pt x="288" y="267"/>
                  <a:pt x="291" y="266"/>
                  <a:pt x="294" y="265"/>
                </a:cubicBezTo>
                <a:cubicBezTo>
                  <a:pt x="326" y="243"/>
                  <a:pt x="326" y="243"/>
                  <a:pt x="326" y="243"/>
                </a:cubicBezTo>
                <a:cubicBezTo>
                  <a:pt x="330" y="240"/>
                  <a:pt x="332" y="234"/>
                  <a:pt x="329" y="229"/>
                </a:cubicBezTo>
                <a:cubicBezTo>
                  <a:pt x="277" y="142"/>
                  <a:pt x="277" y="142"/>
                  <a:pt x="277" y="142"/>
                </a:cubicBezTo>
                <a:cubicBezTo>
                  <a:pt x="291" y="145"/>
                  <a:pt x="305" y="150"/>
                  <a:pt x="312" y="157"/>
                </a:cubicBezTo>
                <a:cubicBezTo>
                  <a:pt x="323" y="168"/>
                  <a:pt x="336" y="205"/>
                  <a:pt x="341" y="226"/>
                </a:cubicBezTo>
                <a:cubicBezTo>
                  <a:pt x="343" y="231"/>
                  <a:pt x="347" y="234"/>
                  <a:pt x="351" y="234"/>
                </a:cubicBezTo>
                <a:cubicBezTo>
                  <a:pt x="351" y="234"/>
                  <a:pt x="352" y="234"/>
                  <a:pt x="352" y="234"/>
                </a:cubicBezTo>
                <a:cubicBezTo>
                  <a:pt x="369" y="234"/>
                  <a:pt x="394" y="259"/>
                  <a:pt x="394" y="27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77"/>
                </a:moveTo>
                <a:cubicBezTo>
                  <a:pt x="416" y="250"/>
                  <a:pt x="387" y="220"/>
                  <a:pt x="360" y="214"/>
                </a:cubicBezTo>
                <a:cubicBezTo>
                  <a:pt x="355" y="197"/>
                  <a:pt x="343" y="157"/>
                  <a:pt x="327" y="141"/>
                </a:cubicBezTo>
                <a:cubicBezTo>
                  <a:pt x="308" y="122"/>
                  <a:pt x="262" y="117"/>
                  <a:pt x="257" y="117"/>
                </a:cubicBezTo>
                <a:cubicBezTo>
                  <a:pt x="253" y="117"/>
                  <a:pt x="249" y="119"/>
                  <a:pt x="247" y="122"/>
                </a:cubicBezTo>
                <a:cubicBezTo>
                  <a:pt x="244" y="125"/>
                  <a:pt x="244" y="130"/>
                  <a:pt x="247" y="133"/>
                </a:cubicBezTo>
                <a:cubicBezTo>
                  <a:pt x="305" y="231"/>
                  <a:pt x="305" y="231"/>
                  <a:pt x="305" y="231"/>
                </a:cubicBezTo>
                <a:cubicBezTo>
                  <a:pt x="291" y="240"/>
                  <a:pt x="291" y="240"/>
                  <a:pt x="291" y="240"/>
                </a:cubicBezTo>
                <a:cubicBezTo>
                  <a:pt x="279" y="223"/>
                  <a:pt x="260" y="209"/>
                  <a:pt x="237" y="203"/>
                </a:cubicBezTo>
                <a:cubicBezTo>
                  <a:pt x="211" y="195"/>
                  <a:pt x="182" y="196"/>
                  <a:pt x="159" y="207"/>
                </a:cubicBezTo>
                <a:cubicBezTo>
                  <a:pt x="120" y="226"/>
                  <a:pt x="98" y="268"/>
                  <a:pt x="106" y="311"/>
                </a:cubicBezTo>
                <a:cubicBezTo>
                  <a:pt x="106" y="311"/>
                  <a:pt x="106" y="311"/>
                  <a:pt x="106" y="311"/>
                </a:cubicBezTo>
                <a:cubicBezTo>
                  <a:pt x="103" y="319"/>
                  <a:pt x="101" y="327"/>
                  <a:pt x="101" y="336"/>
                </a:cubicBezTo>
                <a:cubicBezTo>
                  <a:pt x="101" y="368"/>
                  <a:pt x="127" y="394"/>
                  <a:pt x="160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378"/>
                  <a:pt x="379" y="373"/>
                  <a:pt x="373" y="373"/>
                </a:cubicBezTo>
                <a:cubicBezTo>
                  <a:pt x="364" y="373"/>
                  <a:pt x="364" y="373"/>
                  <a:pt x="364" y="373"/>
                </a:cubicBezTo>
                <a:cubicBezTo>
                  <a:pt x="372" y="329"/>
                  <a:pt x="372" y="329"/>
                  <a:pt x="372" y="329"/>
                </a:cubicBezTo>
                <a:cubicBezTo>
                  <a:pt x="397" y="325"/>
                  <a:pt x="416" y="303"/>
                  <a:pt x="416" y="2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8" name="Group 1003"/>
          <p:cNvGrpSpPr>
            <a:grpSpLocks noChangeAspect="1"/>
          </p:cNvGrpSpPr>
          <p:nvPr/>
        </p:nvGrpSpPr>
        <p:grpSpPr bwMode="auto">
          <a:xfrm>
            <a:off x="9888786" y="2918206"/>
            <a:ext cx="369021" cy="369021"/>
            <a:chOff x="2647" y="3988"/>
            <a:chExt cx="340" cy="340"/>
          </a:xfrm>
          <a:solidFill>
            <a:schemeClr val="accent5"/>
          </a:solidFill>
        </p:grpSpPr>
        <p:sp>
          <p:nvSpPr>
            <p:cNvPr id="379" name="Freeform 1004"/>
            <p:cNvSpPr>
              <a:spLocks noEditPoints="1"/>
            </p:cNvSpPr>
            <p:nvPr/>
          </p:nvSpPr>
          <p:spPr bwMode="auto">
            <a:xfrm>
              <a:off x="2647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Freeform 1005"/>
            <p:cNvSpPr>
              <a:spLocks noEditPoints="1"/>
            </p:cNvSpPr>
            <p:nvPr/>
          </p:nvSpPr>
          <p:spPr bwMode="auto">
            <a:xfrm>
              <a:off x="2710" y="4078"/>
              <a:ext cx="213" cy="186"/>
            </a:xfrm>
            <a:custGeom>
              <a:avLst/>
              <a:gdLst>
                <a:gd name="T0" fmla="*/ 320 w 321"/>
                <a:gd name="T1" fmla="*/ 27 h 280"/>
                <a:gd name="T2" fmla="*/ 312 w 321"/>
                <a:gd name="T3" fmla="*/ 19 h 280"/>
                <a:gd name="T4" fmla="*/ 147 w 321"/>
                <a:gd name="T5" fmla="*/ 32 h 280"/>
                <a:gd name="T6" fmla="*/ 133 w 321"/>
                <a:gd name="T7" fmla="*/ 56 h 280"/>
                <a:gd name="T8" fmla="*/ 9 w 321"/>
                <a:gd name="T9" fmla="*/ 55 h 280"/>
                <a:gd name="T10" fmla="*/ 1 w 321"/>
                <a:gd name="T11" fmla="*/ 63 h 280"/>
                <a:gd name="T12" fmla="*/ 4 w 321"/>
                <a:gd name="T13" fmla="*/ 73 h 280"/>
                <a:gd name="T14" fmla="*/ 114 w 321"/>
                <a:gd name="T15" fmla="*/ 140 h 280"/>
                <a:gd name="T16" fmla="*/ 125 w 321"/>
                <a:gd name="T17" fmla="*/ 139 h 280"/>
                <a:gd name="T18" fmla="*/ 129 w 321"/>
                <a:gd name="T19" fmla="*/ 138 h 280"/>
                <a:gd name="T20" fmla="*/ 129 w 321"/>
                <a:gd name="T21" fmla="*/ 269 h 280"/>
                <a:gd name="T22" fmla="*/ 139 w 321"/>
                <a:gd name="T23" fmla="*/ 280 h 280"/>
                <a:gd name="T24" fmla="*/ 150 w 321"/>
                <a:gd name="T25" fmla="*/ 269 h 280"/>
                <a:gd name="T26" fmla="*/ 150 w 321"/>
                <a:gd name="T27" fmla="*/ 125 h 280"/>
                <a:gd name="T28" fmla="*/ 165 w 321"/>
                <a:gd name="T29" fmla="*/ 133 h 280"/>
                <a:gd name="T30" fmla="*/ 176 w 321"/>
                <a:gd name="T31" fmla="*/ 134 h 280"/>
                <a:gd name="T32" fmla="*/ 318 w 321"/>
                <a:gd name="T33" fmla="*/ 37 h 280"/>
                <a:gd name="T34" fmla="*/ 320 w 321"/>
                <a:gd name="T35" fmla="*/ 27 h 280"/>
                <a:gd name="T36" fmla="*/ 119 w 321"/>
                <a:gd name="T37" fmla="*/ 118 h 280"/>
                <a:gd name="T38" fmla="*/ 33 w 321"/>
                <a:gd name="T39" fmla="*/ 72 h 280"/>
                <a:gd name="T40" fmla="*/ 124 w 321"/>
                <a:gd name="T41" fmla="*/ 75 h 280"/>
                <a:gd name="T42" fmla="*/ 131 w 321"/>
                <a:gd name="T43" fmla="*/ 82 h 280"/>
                <a:gd name="T44" fmla="*/ 132 w 321"/>
                <a:gd name="T45" fmla="*/ 92 h 280"/>
                <a:gd name="T46" fmla="*/ 134 w 321"/>
                <a:gd name="T47" fmla="*/ 96 h 280"/>
                <a:gd name="T48" fmla="*/ 132 w 321"/>
                <a:gd name="T49" fmla="*/ 99 h 280"/>
                <a:gd name="T50" fmla="*/ 119 w 321"/>
                <a:gd name="T51" fmla="*/ 118 h 280"/>
                <a:gd name="T52" fmla="*/ 171 w 321"/>
                <a:gd name="T53" fmla="*/ 112 h 280"/>
                <a:gd name="T54" fmla="*/ 153 w 321"/>
                <a:gd name="T55" fmla="*/ 87 h 280"/>
                <a:gd name="T56" fmla="*/ 153 w 321"/>
                <a:gd name="T57" fmla="*/ 87 h 280"/>
                <a:gd name="T58" fmla="*/ 162 w 321"/>
                <a:gd name="T59" fmla="*/ 47 h 280"/>
                <a:gd name="T60" fmla="*/ 224 w 321"/>
                <a:gd name="T61" fmla="*/ 29 h 280"/>
                <a:gd name="T62" fmla="*/ 290 w 321"/>
                <a:gd name="T63" fmla="*/ 36 h 280"/>
                <a:gd name="T64" fmla="*/ 171 w 321"/>
                <a:gd name="T65" fmla="*/ 11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280">
                  <a:moveTo>
                    <a:pt x="320" y="27"/>
                  </a:moveTo>
                  <a:cubicBezTo>
                    <a:pt x="319" y="23"/>
                    <a:pt x="316" y="20"/>
                    <a:pt x="312" y="19"/>
                  </a:cubicBezTo>
                  <a:cubicBezTo>
                    <a:pt x="229" y="0"/>
                    <a:pt x="173" y="4"/>
                    <a:pt x="147" y="32"/>
                  </a:cubicBezTo>
                  <a:cubicBezTo>
                    <a:pt x="140" y="40"/>
                    <a:pt x="136" y="48"/>
                    <a:pt x="133" y="56"/>
                  </a:cubicBezTo>
                  <a:cubicBezTo>
                    <a:pt x="110" y="41"/>
                    <a:pt x="68" y="41"/>
                    <a:pt x="9" y="55"/>
                  </a:cubicBezTo>
                  <a:cubicBezTo>
                    <a:pt x="5" y="56"/>
                    <a:pt x="2" y="59"/>
                    <a:pt x="1" y="63"/>
                  </a:cubicBezTo>
                  <a:cubicBezTo>
                    <a:pt x="0" y="66"/>
                    <a:pt x="1" y="70"/>
                    <a:pt x="4" y="73"/>
                  </a:cubicBezTo>
                  <a:cubicBezTo>
                    <a:pt x="11" y="81"/>
                    <a:pt x="71" y="140"/>
                    <a:pt x="114" y="140"/>
                  </a:cubicBezTo>
                  <a:cubicBezTo>
                    <a:pt x="118" y="140"/>
                    <a:pt x="122" y="140"/>
                    <a:pt x="125" y="139"/>
                  </a:cubicBezTo>
                  <a:cubicBezTo>
                    <a:pt x="126" y="139"/>
                    <a:pt x="127" y="138"/>
                    <a:pt x="129" y="138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9" y="275"/>
                    <a:pt x="133" y="280"/>
                    <a:pt x="139" y="280"/>
                  </a:cubicBezTo>
                  <a:cubicBezTo>
                    <a:pt x="145" y="280"/>
                    <a:pt x="150" y="275"/>
                    <a:pt x="150" y="269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4" y="129"/>
                    <a:pt x="160" y="132"/>
                    <a:pt x="165" y="133"/>
                  </a:cubicBezTo>
                  <a:cubicBezTo>
                    <a:pt x="169" y="134"/>
                    <a:pt x="173" y="134"/>
                    <a:pt x="176" y="134"/>
                  </a:cubicBezTo>
                  <a:cubicBezTo>
                    <a:pt x="230" y="134"/>
                    <a:pt x="309" y="47"/>
                    <a:pt x="318" y="37"/>
                  </a:cubicBezTo>
                  <a:cubicBezTo>
                    <a:pt x="320" y="34"/>
                    <a:pt x="321" y="30"/>
                    <a:pt x="320" y="27"/>
                  </a:cubicBezTo>
                  <a:close/>
                  <a:moveTo>
                    <a:pt x="119" y="118"/>
                  </a:moveTo>
                  <a:cubicBezTo>
                    <a:pt x="100" y="124"/>
                    <a:pt x="61" y="97"/>
                    <a:pt x="33" y="72"/>
                  </a:cubicBezTo>
                  <a:cubicBezTo>
                    <a:pt x="92" y="60"/>
                    <a:pt x="116" y="68"/>
                    <a:pt x="124" y="75"/>
                  </a:cubicBezTo>
                  <a:cubicBezTo>
                    <a:pt x="127" y="77"/>
                    <a:pt x="129" y="80"/>
                    <a:pt x="131" y="82"/>
                  </a:cubicBezTo>
                  <a:cubicBezTo>
                    <a:pt x="131" y="87"/>
                    <a:pt x="132" y="91"/>
                    <a:pt x="132" y="92"/>
                  </a:cubicBezTo>
                  <a:cubicBezTo>
                    <a:pt x="133" y="94"/>
                    <a:pt x="133" y="95"/>
                    <a:pt x="134" y="96"/>
                  </a:cubicBezTo>
                  <a:cubicBezTo>
                    <a:pt x="133" y="97"/>
                    <a:pt x="133" y="98"/>
                    <a:pt x="132" y="99"/>
                  </a:cubicBezTo>
                  <a:cubicBezTo>
                    <a:pt x="129" y="116"/>
                    <a:pt x="122" y="118"/>
                    <a:pt x="119" y="118"/>
                  </a:cubicBezTo>
                  <a:close/>
                  <a:moveTo>
                    <a:pt x="171" y="112"/>
                  </a:moveTo>
                  <a:cubicBezTo>
                    <a:pt x="168" y="112"/>
                    <a:pt x="158" y="109"/>
                    <a:pt x="153" y="87"/>
                  </a:cubicBezTo>
                  <a:cubicBezTo>
                    <a:pt x="153" y="87"/>
                    <a:pt x="153" y="87"/>
                    <a:pt x="153" y="87"/>
                  </a:cubicBezTo>
                  <a:cubicBezTo>
                    <a:pt x="153" y="86"/>
                    <a:pt x="147" y="63"/>
                    <a:pt x="162" y="47"/>
                  </a:cubicBezTo>
                  <a:cubicBezTo>
                    <a:pt x="171" y="38"/>
                    <a:pt x="189" y="29"/>
                    <a:pt x="224" y="29"/>
                  </a:cubicBezTo>
                  <a:cubicBezTo>
                    <a:pt x="241" y="29"/>
                    <a:pt x="263" y="31"/>
                    <a:pt x="290" y="36"/>
                  </a:cubicBezTo>
                  <a:cubicBezTo>
                    <a:pt x="253" y="74"/>
                    <a:pt x="198" y="119"/>
                    <a:pt x="17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1" name="Freeform 1009"/>
          <p:cNvSpPr>
            <a:spLocks noChangeAspect="1" noEditPoints="1"/>
          </p:cNvSpPr>
          <p:nvPr/>
        </p:nvSpPr>
        <p:spPr bwMode="auto">
          <a:xfrm>
            <a:off x="9390091" y="2918210"/>
            <a:ext cx="369021" cy="369021"/>
          </a:xfrm>
          <a:custGeom>
            <a:avLst/>
            <a:gdLst>
              <a:gd name="T0" fmla="*/ 227 w 512"/>
              <a:gd name="T1" fmla="*/ 228 h 512"/>
              <a:gd name="T2" fmla="*/ 229 w 512"/>
              <a:gd name="T3" fmla="*/ 232 h 512"/>
              <a:gd name="T4" fmla="*/ 227 w 512"/>
              <a:gd name="T5" fmla="*/ 235 h 512"/>
              <a:gd name="T6" fmla="*/ 214 w 512"/>
              <a:gd name="T7" fmla="*/ 254 h 512"/>
              <a:gd name="T8" fmla="*/ 128 w 512"/>
              <a:gd name="T9" fmla="*/ 208 h 512"/>
              <a:gd name="T10" fmla="*/ 219 w 512"/>
              <a:gd name="T11" fmla="*/ 211 h 512"/>
              <a:gd name="T12" fmla="*/ 226 w 512"/>
              <a:gd name="T13" fmla="*/ 218 h 512"/>
              <a:gd name="T14" fmla="*/ 227 w 512"/>
              <a:gd name="T15" fmla="*/ 228 h 512"/>
              <a:gd name="T16" fmla="*/ 257 w 512"/>
              <a:gd name="T17" fmla="*/ 183 h 512"/>
              <a:gd name="T18" fmla="*/ 248 w 512"/>
              <a:gd name="T19" fmla="*/ 223 h 512"/>
              <a:gd name="T20" fmla="*/ 248 w 512"/>
              <a:gd name="T21" fmla="*/ 223 h 512"/>
              <a:gd name="T22" fmla="*/ 266 w 512"/>
              <a:gd name="T23" fmla="*/ 248 h 512"/>
              <a:gd name="T24" fmla="*/ 385 w 512"/>
              <a:gd name="T25" fmla="*/ 172 h 512"/>
              <a:gd name="T26" fmla="*/ 319 w 512"/>
              <a:gd name="T27" fmla="*/ 165 h 512"/>
              <a:gd name="T28" fmla="*/ 257 w 512"/>
              <a:gd name="T29" fmla="*/ 18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5 w 512"/>
              <a:gd name="T41" fmla="*/ 163 h 512"/>
              <a:gd name="T42" fmla="*/ 407 w 512"/>
              <a:gd name="T43" fmla="*/ 155 h 512"/>
              <a:gd name="T44" fmla="*/ 242 w 512"/>
              <a:gd name="T45" fmla="*/ 168 h 512"/>
              <a:gd name="T46" fmla="*/ 228 w 512"/>
              <a:gd name="T47" fmla="*/ 192 h 512"/>
              <a:gd name="T48" fmla="*/ 104 w 512"/>
              <a:gd name="T49" fmla="*/ 191 h 512"/>
              <a:gd name="T50" fmla="*/ 96 w 512"/>
              <a:gd name="T51" fmla="*/ 199 h 512"/>
              <a:gd name="T52" fmla="*/ 99 w 512"/>
              <a:gd name="T53" fmla="*/ 209 h 512"/>
              <a:gd name="T54" fmla="*/ 209 w 512"/>
              <a:gd name="T55" fmla="*/ 276 h 512"/>
              <a:gd name="T56" fmla="*/ 220 w 512"/>
              <a:gd name="T57" fmla="*/ 275 h 512"/>
              <a:gd name="T58" fmla="*/ 224 w 512"/>
              <a:gd name="T59" fmla="*/ 274 h 512"/>
              <a:gd name="T60" fmla="*/ 224 w 512"/>
              <a:gd name="T61" fmla="*/ 405 h 512"/>
              <a:gd name="T62" fmla="*/ 234 w 512"/>
              <a:gd name="T63" fmla="*/ 416 h 512"/>
              <a:gd name="T64" fmla="*/ 245 w 512"/>
              <a:gd name="T65" fmla="*/ 405 h 512"/>
              <a:gd name="T66" fmla="*/ 245 w 512"/>
              <a:gd name="T67" fmla="*/ 261 h 512"/>
              <a:gd name="T68" fmla="*/ 260 w 512"/>
              <a:gd name="T69" fmla="*/ 269 h 512"/>
              <a:gd name="T70" fmla="*/ 271 w 512"/>
              <a:gd name="T71" fmla="*/ 270 h 512"/>
              <a:gd name="T72" fmla="*/ 413 w 512"/>
              <a:gd name="T73" fmla="*/ 173 h 512"/>
              <a:gd name="T74" fmla="*/ 415 w 512"/>
              <a:gd name="T75" fmla="*/ 1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27" y="228"/>
                </a:moveTo>
                <a:cubicBezTo>
                  <a:pt x="228" y="230"/>
                  <a:pt x="228" y="231"/>
                  <a:pt x="229" y="232"/>
                </a:cubicBezTo>
                <a:cubicBezTo>
                  <a:pt x="228" y="233"/>
                  <a:pt x="228" y="234"/>
                  <a:pt x="227" y="235"/>
                </a:cubicBezTo>
                <a:cubicBezTo>
                  <a:pt x="224" y="252"/>
                  <a:pt x="217" y="254"/>
                  <a:pt x="214" y="254"/>
                </a:cubicBezTo>
                <a:cubicBezTo>
                  <a:pt x="195" y="260"/>
                  <a:pt x="156" y="233"/>
                  <a:pt x="128" y="208"/>
                </a:cubicBezTo>
                <a:cubicBezTo>
                  <a:pt x="187" y="196"/>
                  <a:pt x="211" y="204"/>
                  <a:pt x="219" y="211"/>
                </a:cubicBezTo>
                <a:cubicBezTo>
                  <a:pt x="222" y="213"/>
                  <a:pt x="224" y="216"/>
                  <a:pt x="226" y="218"/>
                </a:cubicBezTo>
                <a:cubicBezTo>
                  <a:pt x="226" y="223"/>
                  <a:pt x="227" y="227"/>
                  <a:pt x="227" y="228"/>
                </a:cubicBezTo>
                <a:close/>
                <a:moveTo>
                  <a:pt x="257" y="183"/>
                </a:moveTo>
                <a:cubicBezTo>
                  <a:pt x="242" y="199"/>
                  <a:pt x="248" y="222"/>
                  <a:pt x="248" y="223"/>
                </a:cubicBezTo>
                <a:cubicBezTo>
                  <a:pt x="248" y="223"/>
                  <a:pt x="248" y="223"/>
                  <a:pt x="248" y="223"/>
                </a:cubicBezTo>
                <a:cubicBezTo>
                  <a:pt x="253" y="245"/>
                  <a:pt x="263" y="248"/>
                  <a:pt x="266" y="248"/>
                </a:cubicBezTo>
                <a:cubicBezTo>
                  <a:pt x="293" y="255"/>
                  <a:pt x="348" y="210"/>
                  <a:pt x="385" y="172"/>
                </a:cubicBezTo>
                <a:cubicBezTo>
                  <a:pt x="358" y="167"/>
                  <a:pt x="336" y="165"/>
                  <a:pt x="319" y="165"/>
                </a:cubicBezTo>
                <a:cubicBezTo>
                  <a:pt x="284" y="165"/>
                  <a:pt x="266" y="174"/>
                  <a:pt x="257" y="18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163"/>
                </a:moveTo>
                <a:cubicBezTo>
                  <a:pt x="414" y="159"/>
                  <a:pt x="411" y="156"/>
                  <a:pt x="407" y="155"/>
                </a:cubicBezTo>
                <a:cubicBezTo>
                  <a:pt x="324" y="136"/>
                  <a:pt x="268" y="140"/>
                  <a:pt x="242" y="168"/>
                </a:cubicBezTo>
                <a:cubicBezTo>
                  <a:pt x="235" y="176"/>
                  <a:pt x="231" y="184"/>
                  <a:pt x="228" y="192"/>
                </a:cubicBezTo>
                <a:cubicBezTo>
                  <a:pt x="205" y="177"/>
                  <a:pt x="163" y="177"/>
                  <a:pt x="104" y="191"/>
                </a:cubicBezTo>
                <a:cubicBezTo>
                  <a:pt x="100" y="192"/>
                  <a:pt x="97" y="195"/>
                  <a:pt x="96" y="199"/>
                </a:cubicBezTo>
                <a:cubicBezTo>
                  <a:pt x="95" y="202"/>
                  <a:pt x="96" y="206"/>
                  <a:pt x="99" y="209"/>
                </a:cubicBezTo>
                <a:cubicBezTo>
                  <a:pt x="106" y="217"/>
                  <a:pt x="166" y="276"/>
                  <a:pt x="209" y="276"/>
                </a:cubicBezTo>
                <a:cubicBezTo>
                  <a:pt x="213" y="276"/>
                  <a:pt x="217" y="276"/>
                  <a:pt x="220" y="275"/>
                </a:cubicBezTo>
                <a:cubicBezTo>
                  <a:pt x="221" y="275"/>
                  <a:pt x="222" y="274"/>
                  <a:pt x="224" y="274"/>
                </a:cubicBezTo>
                <a:cubicBezTo>
                  <a:pt x="224" y="405"/>
                  <a:pt x="224" y="405"/>
                  <a:pt x="224" y="405"/>
                </a:cubicBezTo>
                <a:cubicBezTo>
                  <a:pt x="224" y="411"/>
                  <a:pt x="228" y="416"/>
                  <a:pt x="234" y="416"/>
                </a:cubicBezTo>
                <a:cubicBezTo>
                  <a:pt x="240" y="416"/>
                  <a:pt x="245" y="411"/>
                  <a:pt x="245" y="405"/>
                </a:cubicBezTo>
                <a:cubicBezTo>
                  <a:pt x="245" y="261"/>
                  <a:pt x="245" y="261"/>
                  <a:pt x="245" y="261"/>
                </a:cubicBezTo>
                <a:cubicBezTo>
                  <a:pt x="249" y="265"/>
                  <a:pt x="255" y="268"/>
                  <a:pt x="260" y="269"/>
                </a:cubicBezTo>
                <a:cubicBezTo>
                  <a:pt x="264" y="270"/>
                  <a:pt x="268" y="270"/>
                  <a:pt x="271" y="270"/>
                </a:cubicBezTo>
                <a:cubicBezTo>
                  <a:pt x="325" y="270"/>
                  <a:pt x="404" y="183"/>
                  <a:pt x="413" y="173"/>
                </a:cubicBezTo>
                <a:cubicBezTo>
                  <a:pt x="415" y="170"/>
                  <a:pt x="416" y="166"/>
                  <a:pt x="415" y="16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2" name="Freeform 439"/>
          <p:cNvSpPr>
            <a:spLocks noChangeAspect="1" noEditPoints="1"/>
          </p:cNvSpPr>
          <p:nvPr/>
        </p:nvSpPr>
        <p:spPr bwMode="auto">
          <a:xfrm>
            <a:off x="6399688" y="3748219"/>
            <a:ext cx="367041" cy="367041"/>
          </a:xfrm>
          <a:custGeom>
            <a:avLst/>
            <a:gdLst>
              <a:gd name="T0" fmla="*/ 294 w 512"/>
              <a:gd name="T1" fmla="*/ 256 h 512"/>
              <a:gd name="T2" fmla="*/ 218 w 512"/>
              <a:gd name="T3" fmla="*/ 256 h 512"/>
              <a:gd name="T4" fmla="*/ 195 w 512"/>
              <a:gd name="T5" fmla="*/ 224 h 512"/>
              <a:gd name="T6" fmla="*/ 356 w 512"/>
              <a:gd name="T7" fmla="*/ 256 h 512"/>
              <a:gd name="T8" fmla="*/ 182 w 512"/>
              <a:gd name="T9" fmla="*/ 310 h 512"/>
              <a:gd name="T10" fmla="*/ 149 w 512"/>
              <a:gd name="T11" fmla="*/ 278 h 512"/>
              <a:gd name="T12" fmla="*/ 331 w 512"/>
              <a:gd name="T13" fmla="*/ 363 h 512"/>
              <a:gd name="T14" fmla="*/ 363 w 512"/>
              <a:gd name="T15" fmla="*/ 331 h 512"/>
              <a:gd name="T16" fmla="*/ 331 w 512"/>
              <a:gd name="T17" fmla="*/ 363 h 512"/>
              <a:gd name="T18" fmla="*/ 221 w 512"/>
              <a:gd name="T19" fmla="*/ 203 h 512"/>
              <a:gd name="T20" fmla="*/ 256 w 512"/>
              <a:gd name="T21" fmla="*/ 174 h 512"/>
              <a:gd name="T22" fmla="*/ 256 w 512"/>
              <a:gd name="T23" fmla="*/ 512 h 512"/>
              <a:gd name="T24" fmla="*/ 256 w 512"/>
              <a:gd name="T25" fmla="*/ 0 h 512"/>
              <a:gd name="T26" fmla="*/ 384 w 512"/>
              <a:gd name="T27" fmla="*/ 256 h 512"/>
              <a:gd name="T28" fmla="*/ 263 w 512"/>
              <a:gd name="T29" fmla="*/ 152 h 512"/>
              <a:gd name="T30" fmla="*/ 132 w 512"/>
              <a:gd name="T31" fmla="*/ 248 h 512"/>
              <a:gd name="T32" fmla="*/ 128 w 512"/>
              <a:gd name="T33" fmla="*/ 278 h 512"/>
              <a:gd name="T34" fmla="*/ 139 w 512"/>
              <a:gd name="T35" fmla="*/ 384 h 512"/>
              <a:gd name="T36" fmla="*/ 203 w 512"/>
              <a:gd name="T37" fmla="*/ 374 h 512"/>
              <a:gd name="T38" fmla="*/ 256 w 512"/>
              <a:gd name="T39" fmla="*/ 267 h 512"/>
              <a:gd name="T40" fmla="*/ 309 w 512"/>
              <a:gd name="T41" fmla="*/ 374 h 512"/>
              <a:gd name="T42" fmla="*/ 373 w 512"/>
              <a:gd name="T43" fmla="*/ 384 h 512"/>
              <a:gd name="T44" fmla="*/ 384 w 512"/>
              <a:gd name="T45" fmla="*/ 256 h 512"/>
              <a:gd name="T46" fmla="*/ 263 w 512"/>
              <a:gd name="T47" fmla="*/ 109 h 512"/>
              <a:gd name="T48" fmla="*/ 101 w 512"/>
              <a:gd name="T49" fmla="*/ 227 h 512"/>
              <a:gd name="T50" fmla="*/ 114 w 512"/>
              <a:gd name="T51" fmla="*/ 243 h 512"/>
              <a:gd name="T52" fmla="*/ 398 w 512"/>
              <a:gd name="T53" fmla="*/ 243 h 512"/>
              <a:gd name="T54" fmla="*/ 413 w 512"/>
              <a:gd name="T55" fmla="*/ 242 h 512"/>
              <a:gd name="T56" fmla="*/ 330 w 512"/>
              <a:gd name="T57" fmla="*/ 310 h 512"/>
              <a:gd name="T58" fmla="*/ 363 w 512"/>
              <a:gd name="T59" fmla="*/ 310 h 512"/>
              <a:gd name="T60" fmla="*/ 317 w 512"/>
              <a:gd name="T61" fmla="*/ 278 h 512"/>
              <a:gd name="T62" fmla="*/ 149 w 512"/>
              <a:gd name="T63" fmla="*/ 363 h 512"/>
              <a:gd name="T64" fmla="*/ 181 w 512"/>
              <a:gd name="T65" fmla="*/ 331 h 512"/>
              <a:gd name="T66" fmla="*/ 149 w 512"/>
              <a:gd name="T67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356" y="256"/>
                </a:moveTo>
                <a:cubicBezTo>
                  <a:pt x="294" y="256"/>
                  <a:pt x="294" y="256"/>
                  <a:pt x="294" y="256"/>
                </a:cubicBezTo>
                <a:cubicBezTo>
                  <a:pt x="283" y="250"/>
                  <a:pt x="270" y="246"/>
                  <a:pt x="256" y="246"/>
                </a:cubicBezTo>
                <a:cubicBezTo>
                  <a:pt x="242" y="246"/>
                  <a:pt x="229" y="250"/>
                  <a:pt x="218" y="256"/>
                </a:cubicBezTo>
                <a:cubicBezTo>
                  <a:pt x="156" y="256"/>
                  <a:pt x="156" y="256"/>
                  <a:pt x="156" y="256"/>
                </a:cubicBezTo>
                <a:cubicBezTo>
                  <a:pt x="195" y="224"/>
                  <a:pt x="195" y="224"/>
                  <a:pt x="195" y="224"/>
                </a:cubicBezTo>
                <a:cubicBezTo>
                  <a:pt x="317" y="224"/>
                  <a:pt x="317" y="224"/>
                  <a:pt x="317" y="224"/>
                </a:cubicBezTo>
                <a:lnTo>
                  <a:pt x="356" y="256"/>
                </a:lnTo>
                <a:close/>
                <a:moveTo>
                  <a:pt x="149" y="310"/>
                </a:moveTo>
                <a:cubicBezTo>
                  <a:pt x="182" y="310"/>
                  <a:pt x="182" y="310"/>
                  <a:pt x="182" y="310"/>
                </a:cubicBezTo>
                <a:cubicBezTo>
                  <a:pt x="184" y="298"/>
                  <a:pt x="188" y="287"/>
                  <a:pt x="195" y="278"/>
                </a:cubicBezTo>
                <a:cubicBezTo>
                  <a:pt x="149" y="278"/>
                  <a:pt x="149" y="278"/>
                  <a:pt x="149" y="278"/>
                </a:cubicBezTo>
                <a:lnTo>
                  <a:pt x="149" y="310"/>
                </a:lnTo>
                <a:close/>
                <a:moveTo>
                  <a:pt x="331" y="363"/>
                </a:moveTo>
                <a:cubicBezTo>
                  <a:pt x="363" y="363"/>
                  <a:pt x="363" y="363"/>
                  <a:pt x="363" y="363"/>
                </a:cubicBezTo>
                <a:cubicBezTo>
                  <a:pt x="363" y="331"/>
                  <a:pt x="363" y="331"/>
                  <a:pt x="363" y="331"/>
                </a:cubicBezTo>
                <a:cubicBezTo>
                  <a:pt x="331" y="331"/>
                  <a:pt x="331" y="331"/>
                  <a:pt x="331" y="331"/>
                </a:cubicBezTo>
                <a:lnTo>
                  <a:pt x="331" y="363"/>
                </a:lnTo>
                <a:close/>
                <a:moveTo>
                  <a:pt x="256" y="174"/>
                </a:moveTo>
                <a:cubicBezTo>
                  <a:pt x="221" y="203"/>
                  <a:pt x="221" y="203"/>
                  <a:pt x="221" y="203"/>
                </a:cubicBezTo>
                <a:cubicBezTo>
                  <a:pt x="291" y="203"/>
                  <a:pt x="291" y="203"/>
                  <a:pt x="291" y="203"/>
                </a:cubicBezTo>
                <a:lnTo>
                  <a:pt x="256" y="174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84" y="256"/>
                </a:moveTo>
                <a:cubicBezTo>
                  <a:pt x="384" y="253"/>
                  <a:pt x="383" y="250"/>
                  <a:pt x="380" y="248"/>
                </a:cubicBezTo>
                <a:cubicBezTo>
                  <a:pt x="263" y="152"/>
                  <a:pt x="263" y="152"/>
                  <a:pt x="263" y="152"/>
                </a:cubicBezTo>
                <a:cubicBezTo>
                  <a:pt x="259" y="149"/>
                  <a:pt x="253" y="149"/>
                  <a:pt x="249" y="152"/>
                </a:cubicBezTo>
                <a:cubicBezTo>
                  <a:pt x="132" y="248"/>
                  <a:pt x="132" y="248"/>
                  <a:pt x="132" y="248"/>
                </a:cubicBezTo>
                <a:cubicBezTo>
                  <a:pt x="129" y="250"/>
                  <a:pt x="128" y="253"/>
                  <a:pt x="128" y="256"/>
                </a:cubicBezTo>
                <a:cubicBezTo>
                  <a:pt x="128" y="278"/>
                  <a:pt x="128" y="278"/>
                  <a:pt x="128" y="278"/>
                </a:cubicBezTo>
                <a:cubicBezTo>
                  <a:pt x="128" y="374"/>
                  <a:pt x="128" y="374"/>
                  <a:pt x="128" y="374"/>
                </a:cubicBezTo>
                <a:cubicBezTo>
                  <a:pt x="128" y="380"/>
                  <a:pt x="133" y="384"/>
                  <a:pt x="139" y="384"/>
                </a:cubicBezTo>
                <a:cubicBezTo>
                  <a:pt x="192" y="384"/>
                  <a:pt x="192" y="384"/>
                  <a:pt x="192" y="384"/>
                </a:cubicBezTo>
                <a:cubicBezTo>
                  <a:pt x="198" y="384"/>
                  <a:pt x="203" y="380"/>
                  <a:pt x="203" y="374"/>
                </a:cubicBezTo>
                <a:cubicBezTo>
                  <a:pt x="203" y="320"/>
                  <a:pt x="203" y="320"/>
                  <a:pt x="203" y="320"/>
                </a:cubicBezTo>
                <a:cubicBezTo>
                  <a:pt x="203" y="291"/>
                  <a:pt x="227" y="267"/>
                  <a:pt x="256" y="267"/>
                </a:cubicBezTo>
                <a:cubicBezTo>
                  <a:pt x="285" y="267"/>
                  <a:pt x="309" y="291"/>
                  <a:pt x="309" y="320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309" y="380"/>
                  <a:pt x="314" y="384"/>
                  <a:pt x="320" y="384"/>
                </a:cubicBezTo>
                <a:cubicBezTo>
                  <a:pt x="373" y="384"/>
                  <a:pt x="373" y="384"/>
                  <a:pt x="373" y="384"/>
                </a:cubicBezTo>
                <a:cubicBezTo>
                  <a:pt x="379" y="384"/>
                  <a:pt x="384" y="380"/>
                  <a:pt x="384" y="374"/>
                </a:cubicBezTo>
                <a:lnTo>
                  <a:pt x="384" y="256"/>
                </a:lnTo>
                <a:close/>
                <a:moveTo>
                  <a:pt x="411" y="227"/>
                </a:moveTo>
                <a:cubicBezTo>
                  <a:pt x="263" y="109"/>
                  <a:pt x="263" y="109"/>
                  <a:pt x="263" y="109"/>
                </a:cubicBezTo>
                <a:cubicBezTo>
                  <a:pt x="259" y="106"/>
                  <a:pt x="253" y="106"/>
                  <a:pt x="249" y="109"/>
                </a:cubicBezTo>
                <a:cubicBezTo>
                  <a:pt x="101" y="227"/>
                  <a:pt x="101" y="227"/>
                  <a:pt x="101" y="227"/>
                </a:cubicBezTo>
                <a:cubicBezTo>
                  <a:pt x="97" y="230"/>
                  <a:pt x="96" y="237"/>
                  <a:pt x="99" y="242"/>
                </a:cubicBezTo>
                <a:cubicBezTo>
                  <a:pt x="103" y="246"/>
                  <a:pt x="110" y="247"/>
                  <a:pt x="114" y="243"/>
                </a:cubicBezTo>
                <a:cubicBezTo>
                  <a:pt x="256" y="131"/>
                  <a:pt x="256" y="131"/>
                  <a:pt x="256" y="131"/>
                </a:cubicBezTo>
                <a:cubicBezTo>
                  <a:pt x="398" y="243"/>
                  <a:pt x="398" y="243"/>
                  <a:pt x="398" y="243"/>
                </a:cubicBezTo>
                <a:cubicBezTo>
                  <a:pt x="399" y="245"/>
                  <a:pt x="402" y="246"/>
                  <a:pt x="404" y="246"/>
                </a:cubicBezTo>
                <a:cubicBezTo>
                  <a:pt x="407" y="246"/>
                  <a:pt x="410" y="244"/>
                  <a:pt x="413" y="242"/>
                </a:cubicBezTo>
                <a:cubicBezTo>
                  <a:pt x="416" y="237"/>
                  <a:pt x="415" y="230"/>
                  <a:pt x="411" y="227"/>
                </a:cubicBezTo>
                <a:close/>
                <a:moveTo>
                  <a:pt x="330" y="310"/>
                </a:moveTo>
                <a:cubicBezTo>
                  <a:pt x="330" y="310"/>
                  <a:pt x="330" y="310"/>
                  <a:pt x="331" y="310"/>
                </a:cubicBezTo>
                <a:cubicBezTo>
                  <a:pt x="363" y="310"/>
                  <a:pt x="363" y="310"/>
                  <a:pt x="363" y="310"/>
                </a:cubicBezTo>
                <a:cubicBezTo>
                  <a:pt x="363" y="278"/>
                  <a:pt x="363" y="278"/>
                  <a:pt x="363" y="278"/>
                </a:cubicBezTo>
                <a:cubicBezTo>
                  <a:pt x="317" y="278"/>
                  <a:pt x="317" y="278"/>
                  <a:pt x="317" y="278"/>
                </a:cubicBezTo>
                <a:cubicBezTo>
                  <a:pt x="324" y="287"/>
                  <a:pt x="328" y="298"/>
                  <a:pt x="330" y="310"/>
                </a:cubicBezTo>
                <a:close/>
                <a:moveTo>
                  <a:pt x="149" y="363"/>
                </a:moveTo>
                <a:cubicBezTo>
                  <a:pt x="181" y="363"/>
                  <a:pt x="181" y="363"/>
                  <a:pt x="181" y="363"/>
                </a:cubicBezTo>
                <a:cubicBezTo>
                  <a:pt x="181" y="331"/>
                  <a:pt x="181" y="331"/>
                  <a:pt x="181" y="331"/>
                </a:cubicBezTo>
                <a:cubicBezTo>
                  <a:pt x="149" y="331"/>
                  <a:pt x="149" y="331"/>
                  <a:pt x="149" y="331"/>
                </a:cubicBezTo>
                <a:lnTo>
                  <a:pt x="149" y="36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3" name="Group 442"/>
          <p:cNvGrpSpPr>
            <a:grpSpLocks noChangeAspect="1"/>
          </p:cNvGrpSpPr>
          <p:nvPr/>
        </p:nvGrpSpPr>
        <p:grpSpPr bwMode="auto">
          <a:xfrm>
            <a:off x="6903308" y="3748219"/>
            <a:ext cx="367041" cy="367041"/>
            <a:chOff x="5294" y="1904"/>
            <a:chExt cx="340" cy="340"/>
          </a:xfrm>
          <a:solidFill>
            <a:schemeClr val="accent5"/>
          </a:solidFill>
        </p:grpSpPr>
        <p:sp>
          <p:nvSpPr>
            <p:cNvPr id="384" name="Freeform 443"/>
            <p:cNvSpPr>
              <a:spLocks noEditPoints="1"/>
            </p:cNvSpPr>
            <p:nvPr/>
          </p:nvSpPr>
          <p:spPr bwMode="auto">
            <a:xfrm>
              <a:off x="5358" y="1974"/>
              <a:ext cx="212" cy="185"/>
            </a:xfrm>
            <a:custGeom>
              <a:avLst/>
              <a:gdLst>
                <a:gd name="T0" fmla="*/ 317 w 320"/>
                <a:gd name="T1" fmla="*/ 136 h 278"/>
                <a:gd name="T2" fmla="*/ 308 w 320"/>
                <a:gd name="T3" fmla="*/ 140 h 278"/>
                <a:gd name="T4" fmla="*/ 302 w 320"/>
                <a:gd name="T5" fmla="*/ 137 h 278"/>
                <a:gd name="T6" fmla="*/ 160 w 320"/>
                <a:gd name="T7" fmla="*/ 25 h 278"/>
                <a:gd name="T8" fmla="*/ 18 w 320"/>
                <a:gd name="T9" fmla="*/ 137 h 278"/>
                <a:gd name="T10" fmla="*/ 3 w 320"/>
                <a:gd name="T11" fmla="*/ 136 h 278"/>
                <a:gd name="T12" fmla="*/ 5 w 320"/>
                <a:gd name="T13" fmla="*/ 121 h 278"/>
                <a:gd name="T14" fmla="*/ 153 w 320"/>
                <a:gd name="T15" fmla="*/ 3 h 278"/>
                <a:gd name="T16" fmla="*/ 167 w 320"/>
                <a:gd name="T17" fmla="*/ 3 h 278"/>
                <a:gd name="T18" fmla="*/ 315 w 320"/>
                <a:gd name="T19" fmla="*/ 121 h 278"/>
                <a:gd name="T20" fmla="*/ 317 w 320"/>
                <a:gd name="T21" fmla="*/ 136 h 278"/>
                <a:gd name="T22" fmla="*/ 284 w 320"/>
                <a:gd name="T23" fmla="*/ 142 h 278"/>
                <a:gd name="T24" fmla="*/ 288 w 320"/>
                <a:gd name="T25" fmla="*/ 150 h 278"/>
                <a:gd name="T26" fmla="*/ 288 w 320"/>
                <a:gd name="T27" fmla="*/ 268 h 278"/>
                <a:gd name="T28" fmla="*/ 277 w 320"/>
                <a:gd name="T29" fmla="*/ 278 h 278"/>
                <a:gd name="T30" fmla="*/ 224 w 320"/>
                <a:gd name="T31" fmla="*/ 278 h 278"/>
                <a:gd name="T32" fmla="*/ 213 w 320"/>
                <a:gd name="T33" fmla="*/ 268 h 278"/>
                <a:gd name="T34" fmla="*/ 213 w 320"/>
                <a:gd name="T35" fmla="*/ 214 h 278"/>
                <a:gd name="T36" fmla="*/ 160 w 320"/>
                <a:gd name="T37" fmla="*/ 161 h 278"/>
                <a:gd name="T38" fmla="*/ 107 w 320"/>
                <a:gd name="T39" fmla="*/ 214 h 278"/>
                <a:gd name="T40" fmla="*/ 107 w 320"/>
                <a:gd name="T41" fmla="*/ 268 h 278"/>
                <a:gd name="T42" fmla="*/ 96 w 320"/>
                <a:gd name="T43" fmla="*/ 278 h 278"/>
                <a:gd name="T44" fmla="*/ 43 w 320"/>
                <a:gd name="T45" fmla="*/ 278 h 278"/>
                <a:gd name="T46" fmla="*/ 32 w 320"/>
                <a:gd name="T47" fmla="*/ 268 h 278"/>
                <a:gd name="T48" fmla="*/ 32 w 320"/>
                <a:gd name="T49" fmla="*/ 172 h 278"/>
                <a:gd name="T50" fmla="*/ 32 w 320"/>
                <a:gd name="T51" fmla="*/ 150 h 278"/>
                <a:gd name="T52" fmla="*/ 36 w 320"/>
                <a:gd name="T53" fmla="*/ 142 h 278"/>
                <a:gd name="T54" fmla="*/ 153 w 320"/>
                <a:gd name="T55" fmla="*/ 46 h 278"/>
                <a:gd name="T56" fmla="*/ 167 w 320"/>
                <a:gd name="T57" fmla="*/ 46 h 278"/>
                <a:gd name="T58" fmla="*/ 284 w 320"/>
                <a:gd name="T59" fmla="*/ 142 h 278"/>
                <a:gd name="T60" fmla="*/ 235 w 320"/>
                <a:gd name="T61" fmla="*/ 204 h 278"/>
                <a:gd name="T62" fmla="*/ 267 w 320"/>
                <a:gd name="T63" fmla="*/ 204 h 278"/>
                <a:gd name="T64" fmla="*/ 267 w 320"/>
                <a:gd name="T65" fmla="*/ 172 h 278"/>
                <a:gd name="T66" fmla="*/ 221 w 320"/>
                <a:gd name="T67" fmla="*/ 172 h 278"/>
                <a:gd name="T68" fmla="*/ 234 w 320"/>
                <a:gd name="T69" fmla="*/ 204 h 278"/>
                <a:gd name="T70" fmla="*/ 235 w 320"/>
                <a:gd name="T71" fmla="*/ 204 h 278"/>
                <a:gd name="T72" fmla="*/ 125 w 320"/>
                <a:gd name="T73" fmla="*/ 97 h 278"/>
                <a:gd name="T74" fmla="*/ 195 w 320"/>
                <a:gd name="T75" fmla="*/ 97 h 278"/>
                <a:gd name="T76" fmla="*/ 160 w 320"/>
                <a:gd name="T77" fmla="*/ 68 h 278"/>
                <a:gd name="T78" fmla="*/ 125 w 320"/>
                <a:gd name="T79" fmla="*/ 97 h 278"/>
                <a:gd name="T80" fmla="*/ 53 w 320"/>
                <a:gd name="T81" fmla="*/ 172 h 278"/>
                <a:gd name="T82" fmla="*/ 53 w 320"/>
                <a:gd name="T83" fmla="*/ 204 h 278"/>
                <a:gd name="T84" fmla="*/ 86 w 320"/>
                <a:gd name="T85" fmla="*/ 204 h 278"/>
                <a:gd name="T86" fmla="*/ 99 w 320"/>
                <a:gd name="T87" fmla="*/ 172 h 278"/>
                <a:gd name="T88" fmla="*/ 53 w 320"/>
                <a:gd name="T89" fmla="*/ 172 h 278"/>
                <a:gd name="T90" fmla="*/ 53 w 320"/>
                <a:gd name="T91" fmla="*/ 257 h 278"/>
                <a:gd name="T92" fmla="*/ 85 w 320"/>
                <a:gd name="T93" fmla="*/ 257 h 278"/>
                <a:gd name="T94" fmla="*/ 85 w 320"/>
                <a:gd name="T95" fmla="*/ 225 h 278"/>
                <a:gd name="T96" fmla="*/ 53 w 320"/>
                <a:gd name="T97" fmla="*/ 225 h 278"/>
                <a:gd name="T98" fmla="*/ 53 w 320"/>
                <a:gd name="T99" fmla="*/ 257 h 278"/>
                <a:gd name="T100" fmla="*/ 160 w 320"/>
                <a:gd name="T101" fmla="*/ 140 h 278"/>
                <a:gd name="T102" fmla="*/ 198 w 320"/>
                <a:gd name="T103" fmla="*/ 150 h 278"/>
                <a:gd name="T104" fmla="*/ 260 w 320"/>
                <a:gd name="T105" fmla="*/ 150 h 278"/>
                <a:gd name="T106" fmla="*/ 221 w 320"/>
                <a:gd name="T107" fmla="*/ 118 h 278"/>
                <a:gd name="T108" fmla="*/ 99 w 320"/>
                <a:gd name="T109" fmla="*/ 118 h 278"/>
                <a:gd name="T110" fmla="*/ 60 w 320"/>
                <a:gd name="T111" fmla="*/ 150 h 278"/>
                <a:gd name="T112" fmla="*/ 122 w 320"/>
                <a:gd name="T113" fmla="*/ 150 h 278"/>
                <a:gd name="T114" fmla="*/ 160 w 320"/>
                <a:gd name="T115" fmla="*/ 140 h 278"/>
                <a:gd name="T116" fmla="*/ 267 w 320"/>
                <a:gd name="T117" fmla="*/ 257 h 278"/>
                <a:gd name="T118" fmla="*/ 267 w 320"/>
                <a:gd name="T119" fmla="*/ 225 h 278"/>
                <a:gd name="T120" fmla="*/ 235 w 320"/>
                <a:gd name="T121" fmla="*/ 225 h 278"/>
                <a:gd name="T122" fmla="*/ 235 w 320"/>
                <a:gd name="T123" fmla="*/ 257 h 278"/>
                <a:gd name="T124" fmla="*/ 267 w 320"/>
                <a:gd name="T125" fmla="*/ 25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0" h="278">
                  <a:moveTo>
                    <a:pt x="317" y="136"/>
                  </a:moveTo>
                  <a:cubicBezTo>
                    <a:pt x="314" y="138"/>
                    <a:pt x="311" y="140"/>
                    <a:pt x="308" y="140"/>
                  </a:cubicBezTo>
                  <a:cubicBezTo>
                    <a:pt x="306" y="140"/>
                    <a:pt x="303" y="139"/>
                    <a:pt x="302" y="137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4" y="141"/>
                    <a:pt x="7" y="140"/>
                    <a:pt x="3" y="136"/>
                  </a:cubicBezTo>
                  <a:cubicBezTo>
                    <a:pt x="0" y="131"/>
                    <a:pt x="1" y="124"/>
                    <a:pt x="5" y="12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7" y="0"/>
                    <a:pt x="163" y="0"/>
                    <a:pt x="167" y="3"/>
                  </a:cubicBezTo>
                  <a:cubicBezTo>
                    <a:pt x="315" y="121"/>
                    <a:pt x="315" y="121"/>
                    <a:pt x="315" y="121"/>
                  </a:cubicBezTo>
                  <a:cubicBezTo>
                    <a:pt x="319" y="124"/>
                    <a:pt x="320" y="131"/>
                    <a:pt x="317" y="136"/>
                  </a:cubicBezTo>
                  <a:close/>
                  <a:moveTo>
                    <a:pt x="284" y="142"/>
                  </a:moveTo>
                  <a:cubicBezTo>
                    <a:pt x="287" y="144"/>
                    <a:pt x="288" y="147"/>
                    <a:pt x="288" y="150"/>
                  </a:cubicBezTo>
                  <a:cubicBezTo>
                    <a:pt x="288" y="268"/>
                    <a:pt x="288" y="268"/>
                    <a:pt x="288" y="268"/>
                  </a:cubicBezTo>
                  <a:cubicBezTo>
                    <a:pt x="288" y="274"/>
                    <a:pt x="283" y="278"/>
                    <a:pt x="277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18" y="278"/>
                    <a:pt x="213" y="274"/>
                    <a:pt x="213" y="268"/>
                  </a:cubicBezTo>
                  <a:cubicBezTo>
                    <a:pt x="213" y="214"/>
                    <a:pt x="213" y="214"/>
                    <a:pt x="213" y="214"/>
                  </a:cubicBezTo>
                  <a:cubicBezTo>
                    <a:pt x="213" y="185"/>
                    <a:pt x="189" y="161"/>
                    <a:pt x="160" y="161"/>
                  </a:cubicBezTo>
                  <a:cubicBezTo>
                    <a:pt x="131" y="161"/>
                    <a:pt x="107" y="185"/>
                    <a:pt x="107" y="214"/>
                  </a:cubicBezTo>
                  <a:cubicBezTo>
                    <a:pt x="107" y="268"/>
                    <a:pt x="107" y="268"/>
                    <a:pt x="107" y="268"/>
                  </a:cubicBezTo>
                  <a:cubicBezTo>
                    <a:pt x="107" y="274"/>
                    <a:pt x="102" y="278"/>
                    <a:pt x="96" y="278"/>
                  </a:cubicBezTo>
                  <a:cubicBezTo>
                    <a:pt x="43" y="278"/>
                    <a:pt x="43" y="278"/>
                    <a:pt x="43" y="278"/>
                  </a:cubicBezTo>
                  <a:cubicBezTo>
                    <a:pt x="37" y="278"/>
                    <a:pt x="32" y="274"/>
                    <a:pt x="32" y="268"/>
                  </a:cubicBezTo>
                  <a:cubicBezTo>
                    <a:pt x="32" y="172"/>
                    <a:pt x="32" y="172"/>
                    <a:pt x="32" y="172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47"/>
                    <a:pt x="33" y="144"/>
                    <a:pt x="36" y="142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7" y="43"/>
                    <a:pt x="163" y="43"/>
                    <a:pt x="167" y="46"/>
                  </a:cubicBezTo>
                  <a:lnTo>
                    <a:pt x="284" y="142"/>
                  </a:lnTo>
                  <a:close/>
                  <a:moveTo>
                    <a:pt x="235" y="204"/>
                  </a:moveTo>
                  <a:cubicBezTo>
                    <a:pt x="267" y="204"/>
                    <a:pt x="267" y="204"/>
                    <a:pt x="267" y="204"/>
                  </a:cubicBezTo>
                  <a:cubicBezTo>
                    <a:pt x="267" y="172"/>
                    <a:pt x="267" y="172"/>
                    <a:pt x="267" y="172"/>
                  </a:cubicBezTo>
                  <a:cubicBezTo>
                    <a:pt x="221" y="172"/>
                    <a:pt x="221" y="172"/>
                    <a:pt x="221" y="172"/>
                  </a:cubicBezTo>
                  <a:cubicBezTo>
                    <a:pt x="228" y="181"/>
                    <a:pt x="232" y="192"/>
                    <a:pt x="234" y="204"/>
                  </a:cubicBezTo>
                  <a:cubicBezTo>
                    <a:pt x="234" y="204"/>
                    <a:pt x="234" y="204"/>
                    <a:pt x="235" y="204"/>
                  </a:cubicBezTo>
                  <a:close/>
                  <a:moveTo>
                    <a:pt x="125" y="97"/>
                  </a:moveTo>
                  <a:cubicBezTo>
                    <a:pt x="195" y="97"/>
                    <a:pt x="195" y="97"/>
                    <a:pt x="195" y="97"/>
                  </a:cubicBezTo>
                  <a:cubicBezTo>
                    <a:pt x="160" y="68"/>
                    <a:pt x="160" y="68"/>
                    <a:pt x="160" y="68"/>
                  </a:cubicBezTo>
                  <a:lnTo>
                    <a:pt x="125" y="97"/>
                  </a:lnTo>
                  <a:close/>
                  <a:moveTo>
                    <a:pt x="53" y="172"/>
                  </a:moveTo>
                  <a:cubicBezTo>
                    <a:pt x="53" y="204"/>
                    <a:pt x="53" y="204"/>
                    <a:pt x="53" y="204"/>
                  </a:cubicBezTo>
                  <a:cubicBezTo>
                    <a:pt x="86" y="204"/>
                    <a:pt x="86" y="204"/>
                    <a:pt x="86" y="204"/>
                  </a:cubicBezTo>
                  <a:cubicBezTo>
                    <a:pt x="88" y="192"/>
                    <a:pt x="92" y="181"/>
                    <a:pt x="99" y="172"/>
                  </a:cubicBezTo>
                  <a:lnTo>
                    <a:pt x="53" y="172"/>
                  </a:lnTo>
                  <a:close/>
                  <a:moveTo>
                    <a:pt x="53" y="257"/>
                  </a:moveTo>
                  <a:cubicBezTo>
                    <a:pt x="85" y="257"/>
                    <a:pt x="85" y="257"/>
                    <a:pt x="85" y="257"/>
                  </a:cubicBezTo>
                  <a:cubicBezTo>
                    <a:pt x="85" y="225"/>
                    <a:pt x="85" y="225"/>
                    <a:pt x="85" y="225"/>
                  </a:cubicBezTo>
                  <a:cubicBezTo>
                    <a:pt x="53" y="225"/>
                    <a:pt x="53" y="225"/>
                    <a:pt x="53" y="225"/>
                  </a:cubicBezTo>
                  <a:lnTo>
                    <a:pt x="53" y="257"/>
                  </a:lnTo>
                  <a:close/>
                  <a:moveTo>
                    <a:pt x="160" y="140"/>
                  </a:moveTo>
                  <a:cubicBezTo>
                    <a:pt x="174" y="140"/>
                    <a:pt x="187" y="144"/>
                    <a:pt x="198" y="150"/>
                  </a:cubicBezTo>
                  <a:cubicBezTo>
                    <a:pt x="260" y="150"/>
                    <a:pt x="260" y="150"/>
                    <a:pt x="260" y="150"/>
                  </a:cubicBezTo>
                  <a:cubicBezTo>
                    <a:pt x="221" y="118"/>
                    <a:pt x="221" y="118"/>
                    <a:pt x="221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60" y="150"/>
                    <a:pt x="60" y="150"/>
                    <a:pt x="60" y="150"/>
                  </a:cubicBezTo>
                  <a:cubicBezTo>
                    <a:pt x="122" y="150"/>
                    <a:pt x="122" y="150"/>
                    <a:pt x="122" y="150"/>
                  </a:cubicBezTo>
                  <a:cubicBezTo>
                    <a:pt x="133" y="144"/>
                    <a:pt x="146" y="140"/>
                    <a:pt x="160" y="140"/>
                  </a:cubicBezTo>
                  <a:close/>
                  <a:moveTo>
                    <a:pt x="267" y="257"/>
                  </a:moveTo>
                  <a:cubicBezTo>
                    <a:pt x="267" y="225"/>
                    <a:pt x="267" y="225"/>
                    <a:pt x="267" y="225"/>
                  </a:cubicBezTo>
                  <a:cubicBezTo>
                    <a:pt x="235" y="225"/>
                    <a:pt x="235" y="225"/>
                    <a:pt x="235" y="225"/>
                  </a:cubicBezTo>
                  <a:cubicBezTo>
                    <a:pt x="235" y="257"/>
                    <a:pt x="235" y="257"/>
                    <a:pt x="235" y="257"/>
                  </a:cubicBezTo>
                  <a:lnTo>
                    <a:pt x="267" y="2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5" name="Freeform 444"/>
            <p:cNvSpPr>
              <a:spLocks noEditPoints="1"/>
            </p:cNvSpPr>
            <p:nvPr/>
          </p:nvSpPr>
          <p:spPr bwMode="auto">
            <a:xfrm>
              <a:off x="5294" y="1904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6" name="Freeform 876"/>
          <p:cNvSpPr>
            <a:spLocks noChangeAspect="1" noEditPoints="1"/>
          </p:cNvSpPr>
          <p:nvPr/>
        </p:nvSpPr>
        <p:spPr bwMode="auto">
          <a:xfrm>
            <a:off x="7395357" y="3747677"/>
            <a:ext cx="367631" cy="367631"/>
          </a:xfrm>
          <a:custGeom>
            <a:avLst/>
            <a:gdLst>
              <a:gd name="T0" fmla="*/ 245 w 512"/>
              <a:gd name="T1" fmla="*/ 394 h 512"/>
              <a:gd name="T2" fmla="*/ 171 w 512"/>
              <a:gd name="T3" fmla="*/ 330 h 512"/>
              <a:gd name="T4" fmla="*/ 280 w 512"/>
              <a:gd name="T5" fmla="*/ 257 h 512"/>
              <a:gd name="T6" fmla="*/ 301 w 512"/>
              <a:gd name="T7" fmla="*/ 242 h 512"/>
              <a:gd name="T8" fmla="*/ 275 w 512"/>
              <a:gd name="T9" fmla="*/ 246 h 512"/>
              <a:gd name="T10" fmla="*/ 214 w 512"/>
              <a:gd name="T11" fmla="*/ 176 h 512"/>
              <a:gd name="T12" fmla="*/ 183 w 512"/>
              <a:gd name="T13" fmla="*/ 170 h 512"/>
              <a:gd name="T14" fmla="*/ 178 w 512"/>
              <a:gd name="T15" fmla="*/ 185 h 512"/>
              <a:gd name="T16" fmla="*/ 207 w 512"/>
              <a:gd name="T17" fmla="*/ 197 h 512"/>
              <a:gd name="T18" fmla="*/ 316 w 512"/>
              <a:gd name="T19" fmla="*/ 195 h 512"/>
              <a:gd name="T20" fmla="*/ 336 w 512"/>
              <a:gd name="T21" fmla="*/ 175 h 512"/>
              <a:gd name="T22" fmla="*/ 308 w 512"/>
              <a:gd name="T23" fmla="*/ 170 h 512"/>
              <a:gd name="T24" fmla="*/ 304 w 512"/>
              <a:gd name="T25" fmla="*/ 197 h 512"/>
              <a:gd name="T26" fmla="*/ 248 w 512"/>
              <a:gd name="T27" fmla="*/ 153 h 512"/>
              <a:gd name="T28" fmla="*/ 269 w 512"/>
              <a:gd name="T29" fmla="*/ 142 h 512"/>
              <a:gd name="T30" fmla="*/ 243 w 512"/>
              <a:gd name="T31" fmla="*/ 142 h 512"/>
              <a:gd name="T32" fmla="*/ 248 w 512"/>
              <a:gd name="T33" fmla="*/ 153 h 512"/>
              <a:gd name="T34" fmla="*/ 256 w 512"/>
              <a:gd name="T35" fmla="*/ 512 h 512"/>
              <a:gd name="T36" fmla="*/ 256 w 512"/>
              <a:gd name="T37" fmla="*/ 0 h 512"/>
              <a:gd name="T38" fmla="*/ 362 w 512"/>
              <a:gd name="T39" fmla="*/ 320 h 512"/>
              <a:gd name="T40" fmla="*/ 273 w 512"/>
              <a:gd name="T41" fmla="*/ 334 h 512"/>
              <a:gd name="T42" fmla="*/ 266 w 512"/>
              <a:gd name="T43" fmla="*/ 274 h 512"/>
              <a:gd name="T44" fmla="*/ 318 w 512"/>
              <a:gd name="T45" fmla="*/ 287 h 512"/>
              <a:gd name="T46" fmla="*/ 308 w 512"/>
              <a:gd name="T47" fmla="*/ 218 h 512"/>
              <a:gd name="T48" fmla="*/ 350 w 512"/>
              <a:gd name="T49" fmla="*/ 197 h 512"/>
              <a:gd name="T50" fmla="*/ 334 w 512"/>
              <a:gd name="T51" fmla="*/ 149 h 512"/>
              <a:gd name="T52" fmla="*/ 289 w 512"/>
              <a:gd name="T53" fmla="*/ 156 h 512"/>
              <a:gd name="T54" fmla="*/ 256 w 512"/>
              <a:gd name="T55" fmla="*/ 96 h 512"/>
              <a:gd name="T56" fmla="*/ 223 w 512"/>
              <a:gd name="T57" fmla="*/ 156 h 512"/>
              <a:gd name="T58" fmla="*/ 177 w 512"/>
              <a:gd name="T59" fmla="*/ 149 h 512"/>
              <a:gd name="T60" fmla="*/ 162 w 512"/>
              <a:gd name="T61" fmla="*/ 198 h 512"/>
              <a:gd name="T62" fmla="*/ 203 w 512"/>
              <a:gd name="T63" fmla="*/ 219 h 512"/>
              <a:gd name="T64" fmla="*/ 182 w 512"/>
              <a:gd name="T65" fmla="*/ 260 h 512"/>
              <a:gd name="T66" fmla="*/ 210 w 512"/>
              <a:gd name="T67" fmla="*/ 292 h 512"/>
              <a:gd name="T68" fmla="*/ 245 w 512"/>
              <a:gd name="T69" fmla="*/ 274 h 512"/>
              <a:gd name="T70" fmla="*/ 238 w 512"/>
              <a:gd name="T71" fmla="*/ 333 h 512"/>
              <a:gd name="T72" fmla="*/ 149 w 512"/>
              <a:gd name="T73" fmla="*/ 320 h 512"/>
              <a:gd name="T74" fmla="*/ 250 w 512"/>
              <a:gd name="T75" fmla="*/ 416 h 512"/>
              <a:gd name="T76" fmla="*/ 334 w 512"/>
              <a:gd name="T77" fmla="*/ 392 h 512"/>
              <a:gd name="T78" fmla="*/ 267 w 512"/>
              <a:gd name="T79" fmla="*/ 394 h 512"/>
              <a:gd name="T80" fmla="*/ 341 w 512"/>
              <a:gd name="T81" fmla="*/ 330 h 512"/>
              <a:gd name="T82" fmla="*/ 267 w 512"/>
              <a:gd name="T83" fmla="*/ 394 h 512"/>
              <a:gd name="T84" fmla="*/ 210 w 512"/>
              <a:gd name="T85" fmla="*/ 242 h 512"/>
              <a:gd name="T86" fmla="*/ 206 w 512"/>
              <a:gd name="T87" fmla="*/ 270 h 512"/>
              <a:gd name="T88" fmla="*/ 231 w 512"/>
              <a:gd name="T89" fmla="*/ 257 h 512"/>
              <a:gd name="T90" fmla="*/ 227 w 512"/>
              <a:gd name="T91" fmla="*/ 241 h 512"/>
              <a:gd name="T92" fmla="*/ 278 w 512"/>
              <a:gd name="T93" fmla="*/ 217 h 512"/>
              <a:gd name="T94" fmla="*/ 256 w 512"/>
              <a:gd name="T95" fmla="*/ 174 h 512"/>
              <a:gd name="T96" fmla="*/ 233 w 512"/>
              <a:gd name="T97" fmla="*/ 185 h 512"/>
              <a:gd name="T98" fmla="*/ 240 w 512"/>
              <a:gd name="T99" fmla="*/ 224 h 512"/>
              <a:gd name="T100" fmla="*/ 278 w 512"/>
              <a:gd name="T101" fmla="*/ 2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24" y="349"/>
                </a:moveTo>
                <a:cubicBezTo>
                  <a:pt x="236" y="359"/>
                  <a:pt x="243" y="375"/>
                  <a:pt x="245" y="394"/>
                </a:cubicBezTo>
                <a:cubicBezTo>
                  <a:pt x="231" y="394"/>
                  <a:pt x="208" y="390"/>
                  <a:pt x="191" y="375"/>
                </a:cubicBezTo>
                <a:cubicBezTo>
                  <a:pt x="179" y="364"/>
                  <a:pt x="173" y="349"/>
                  <a:pt x="171" y="330"/>
                </a:cubicBezTo>
                <a:cubicBezTo>
                  <a:pt x="184" y="330"/>
                  <a:pt x="207" y="334"/>
                  <a:pt x="224" y="349"/>
                </a:cubicBezTo>
                <a:close/>
                <a:moveTo>
                  <a:pt x="280" y="257"/>
                </a:moveTo>
                <a:cubicBezTo>
                  <a:pt x="289" y="268"/>
                  <a:pt x="301" y="273"/>
                  <a:pt x="306" y="270"/>
                </a:cubicBezTo>
                <a:cubicBezTo>
                  <a:pt x="310" y="266"/>
                  <a:pt x="310" y="253"/>
                  <a:pt x="301" y="242"/>
                </a:cubicBezTo>
                <a:cubicBezTo>
                  <a:pt x="299" y="238"/>
                  <a:pt x="296" y="235"/>
                  <a:pt x="292" y="233"/>
                </a:cubicBezTo>
                <a:cubicBezTo>
                  <a:pt x="288" y="239"/>
                  <a:pt x="282" y="243"/>
                  <a:pt x="275" y="246"/>
                </a:cubicBezTo>
                <a:cubicBezTo>
                  <a:pt x="276" y="250"/>
                  <a:pt x="278" y="254"/>
                  <a:pt x="280" y="257"/>
                </a:cubicBezTo>
                <a:close/>
                <a:moveTo>
                  <a:pt x="214" y="176"/>
                </a:moveTo>
                <a:cubicBezTo>
                  <a:pt x="211" y="174"/>
                  <a:pt x="207" y="172"/>
                  <a:pt x="203" y="171"/>
                </a:cubicBezTo>
                <a:cubicBezTo>
                  <a:pt x="196" y="168"/>
                  <a:pt x="189" y="168"/>
                  <a:pt x="183" y="170"/>
                </a:cubicBezTo>
                <a:cubicBezTo>
                  <a:pt x="181" y="170"/>
                  <a:pt x="176" y="172"/>
                  <a:pt x="175" y="175"/>
                </a:cubicBezTo>
                <a:cubicBezTo>
                  <a:pt x="174" y="179"/>
                  <a:pt x="177" y="183"/>
                  <a:pt x="178" y="185"/>
                </a:cubicBezTo>
                <a:cubicBezTo>
                  <a:pt x="182" y="189"/>
                  <a:pt x="188" y="193"/>
                  <a:pt x="195" y="196"/>
                </a:cubicBezTo>
                <a:cubicBezTo>
                  <a:pt x="199" y="197"/>
                  <a:pt x="203" y="197"/>
                  <a:pt x="207" y="197"/>
                </a:cubicBezTo>
                <a:cubicBezTo>
                  <a:pt x="208" y="190"/>
                  <a:pt x="210" y="183"/>
                  <a:pt x="214" y="176"/>
                </a:cubicBezTo>
                <a:close/>
                <a:moveTo>
                  <a:pt x="316" y="195"/>
                </a:moveTo>
                <a:cubicBezTo>
                  <a:pt x="323" y="193"/>
                  <a:pt x="329" y="189"/>
                  <a:pt x="333" y="184"/>
                </a:cubicBezTo>
                <a:cubicBezTo>
                  <a:pt x="334" y="183"/>
                  <a:pt x="337" y="178"/>
                  <a:pt x="336" y="175"/>
                </a:cubicBezTo>
                <a:cubicBezTo>
                  <a:pt x="335" y="171"/>
                  <a:pt x="330" y="170"/>
                  <a:pt x="328" y="169"/>
                </a:cubicBezTo>
                <a:cubicBezTo>
                  <a:pt x="322" y="168"/>
                  <a:pt x="315" y="168"/>
                  <a:pt x="308" y="170"/>
                </a:cubicBezTo>
                <a:cubicBezTo>
                  <a:pt x="304" y="172"/>
                  <a:pt x="300" y="174"/>
                  <a:pt x="297" y="176"/>
                </a:cubicBezTo>
                <a:cubicBezTo>
                  <a:pt x="301" y="182"/>
                  <a:pt x="303" y="190"/>
                  <a:pt x="304" y="197"/>
                </a:cubicBezTo>
                <a:cubicBezTo>
                  <a:pt x="308" y="197"/>
                  <a:pt x="312" y="197"/>
                  <a:pt x="316" y="195"/>
                </a:cubicBezTo>
                <a:close/>
                <a:moveTo>
                  <a:pt x="248" y="153"/>
                </a:moveTo>
                <a:cubicBezTo>
                  <a:pt x="254" y="152"/>
                  <a:pt x="261" y="153"/>
                  <a:pt x="267" y="154"/>
                </a:cubicBezTo>
                <a:cubicBezTo>
                  <a:pt x="268" y="150"/>
                  <a:pt x="269" y="146"/>
                  <a:pt x="269" y="142"/>
                </a:cubicBezTo>
                <a:cubicBezTo>
                  <a:pt x="269" y="128"/>
                  <a:pt x="262" y="117"/>
                  <a:pt x="256" y="117"/>
                </a:cubicBezTo>
                <a:cubicBezTo>
                  <a:pt x="250" y="117"/>
                  <a:pt x="243" y="128"/>
                  <a:pt x="243" y="142"/>
                </a:cubicBezTo>
                <a:cubicBezTo>
                  <a:pt x="243" y="146"/>
                  <a:pt x="243" y="150"/>
                  <a:pt x="245" y="154"/>
                </a:cubicBezTo>
                <a:cubicBezTo>
                  <a:pt x="246" y="154"/>
                  <a:pt x="247" y="154"/>
                  <a:pt x="248" y="15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2" y="320"/>
                </a:moveTo>
                <a:cubicBezTo>
                  <a:pt x="362" y="314"/>
                  <a:pt x="358" y="309"/>
                  <a:pt x="353" y="309"/>
                </a:cubicBezTo>
                <a:cubicBezTo>
                  <a:pt x="351" y="309"/>
                  <a:pt x="304" y="305"/>
                  <a:pt x="273" y="334"/>
                </a:cubicBezTo>
                <a:cubicBezTo>
                  <a:pt x="270" y="336"/>
                  <a:pt x="268" y="338"/>
                  <a:pt x="266" y="340"/>
                </a:cubicBezTo>
                <a:cubicBezTo>
                  <a:pt x="266" y="274"/>
                  <a:pt x="266" y="274"/>
                  <a:pt x="266" y="274"/>
                </a:cubicBezTo>
                <a:cubicBezTo>
                  <a:pt x="276" y="286"/>
                  <a:pt x="289" y="292"/>
                  <a:pt x="301" y="292"/>
                </a:cubicBezTo>
                <a:cubicBezTo>
                  <a:pt x="307" y="292"/>
                  <a:pt x="313" y="290"/>
                  <a:pt x="318" y="287"/>
                </a:cubicBezTo>
                <a:cubicBezTo>
                  <a:pt x="334" y="275"/>
                  <a:pt x="334" y="250"/>
                  <a:pt x="319" y="229"/>
                </a:cubicBezTo>
                <a:cubicBezTo>
                  <a:pt x="316" y="225"/>
                  <a:pt x="312" y="221"/>
                  <a:pt x="308" y="218"/>
                </a:cubicBezTo>
                <a:cubicBezTo>
                  <a:pt x="313" y="218"/>
                  <a:pt x="318" y="217"/>
                  <a:pt x="323" y="215"/>
                </a:cubicBezTo>
                <a:cubicBezTo>
                  <a:pt x="334" y="212"/>
                  <a:pt x="343" y="205"/>
                  <a:pt x="350" y="197"/>
                </a:cubicBezTo>
                <a:cubicBezTo>
                  <a:pt x="357" y="188"/>
                  <a:pt x="359" y="178"/>
                  <a:pt x="356" y="168"/>
                </a:cubicBezTo>
                <a:cubicBezTo>
                  <a:pt x="353" y="159"/>
                  <a:pt x="345" y="152"/>
                  <a:pt x="334" y="149"/>
                </a:cubicBezTo>
                <a:cubicBezTo>
                  <a:pt x="324" y="146"/>
                  <a:pt x="312" y="146"/>
                  <a:pt x="301" y="150"/>
                </a:cubicBezTo>
                <a:cubicBezTo>
                  <a:pt x="297" y="152"/>
                  <a:pt x="292" y="154"/>
                  <a:pt x="289" y="156"/>
                </a:cubicBezTo>
                <a:cubicBezTo>
                  <a:pt x="290" y="151"/>
                  <a:pt x="290" y="147"/>
                  <a:pt x="290" y="142"/>
                </a:cubicBezTo>
                <a:cubicBezTo>
                  <a:pt x="290" y="116"/>
                  <a:pt x="275" y="96"/>
                  <a:pt x="256" y="96"/>
                </a:cubicBezTo>
                <a:cubicBezTo>
                  <a:pt x="236" y="96"/>
                  <a:pt x="221" y="116"/>
                  <a:pt x="221" y="142"/>
                </a:cubicBezTo>
                <a:cubicBezTo>
                  <a:pt x="221" y="147"/>
                  <a:pt x="222" y="152"/>
                  <a:pt x="223" y="156"/>
                </a:cubicBezTo>
                <a:cubicBezTo>
                  <a:pt x="219" y="154"/>
                  <a:pt x="214" y="152"/>
                  <a:pt x="210" y="150"/>
                </a:cubicBezTo>
                <a:cubicBezTo>
                  <a:pt x="199" y="147"/>
                  <a:pt x="187" y="146"/>
                  <a:pt x="177" y="149"/>
                </a:cubicBezTo>
                <a:cubicBezTo>
                  <a:pt x="166" y="152"/>
                  <a:pt x="158" y="159"/>
                  <a:pt x="155" y="169"/>
                </a:cubicBezTo>
                <a:cubicBezTo>
                  <a:pt x="152" y="178"/>
                  <a:pt x="154" y="189"/>
                  <a:pt x="162" y="198"/>
                </a:cubicBezTo>
                <a:cubicBezTo>
                  <a:pt x="168" y="206"/>
                  <a:pt x="177" y="212"/>
                  <a:pt x="189" y="216"/>
                </a:cubicBezTo>
                <a:cubicBezTo>
                  <a:pt x="193" y="217"/>
                  <a:pt x="198" y="218"/>
                  <a:pt x="203" y="219"/>
                </a:cubicBezTo>
                <a:cubicBezTo>
                  <a:pt x="199" y="222"/>
                  <a:pt x="196" y="225"/>
                  <a:pt x="193" y="229"/>
                </a:cubicBezTo>
                <a:cubicBezTo>
                  <a:pt x="186" y="239"/>
                  <a:pt x="182" y="250"/>
                  <a:pt x="182" y="260"/>
                </a:cubicBezTo>
                <a:cubicBezTo>
                  <a:pt x="181" y="271"/>
                  <a:pt x="186" y="281"/>
                  <a:pt x="194" y="287"/>
                </a:cubicBezTo>
                <a:cubicBezTo>
                  <a:pt x="198" y="291"/>
                  <a:pt x="204" y="292"/>
                  <a:pt x="210" y="292"/>
                </a:cubicBezTo>
                <a:cubicBezTo>
                  <a:pt x="215" y="292"/>
                  <a:pt x="219" y="292"/>
                  <a:pt x="223" y="290"/>
                </a:cubicBezTo>
                <a:cubicBezTo>
                  <a:pt x="231" y="287"/>
                  <a:pt x="239" y="281"/>
                  <a:pt x="245" y="274"/>
                </a:cubicBezTo>
                <a:cubicBezTo>
                  <a:pt x="245" y="340"/>
                  <a:pt x="245" y="340"/>
                  <a:pt x="245" y="340"/>
                </a:cubicBezTo>
                <a:cubicBezTo>
                  <a:pt x="243" y="337"/>
                  <a:pt x="241" y="335"/>
                  <a:pt x="238" y="333"/>
                </a:cubicBezTo>
                <a:cubicBezTo>
                  <a:pt x="207" y="304"/>
                  <a:pt x="160" y="309"/>
                  <a:pt x="159" y="309"/>
                </a:cubicBezTo>
                <a:cubicBezTo>
                  <a:pt x="153" y="310"/>
                  <a:pt x="149" y="314"/>
                  <a:pt x="149" y="320"/>
                </a:cubicBezTo>
                <a:cubicBezTo>
                  <a:pt x="149" y="350"/>
                  <a:pt x="158" y="374"/>
                  <a:pt x="177" y="390"/>
                </a:cubicBezTo>
                <a:cubicBezTo>
                  <a:pt x="201" y="413"/>
                  <a:pt x="235" y="416"/>
                  <a:pt x="250" y="416"/>
                </a:cubicBezTo>
                <a:cubicBezTo>
                  <a:pt x="253" y="416"/>
                  <a:pt x="260" y="416"/>
                  <a:pt x="263" y="416"/>
                </a:cubicBezTo>
                <a:cubicBezTo>
                  <a:pt x="279" y="416"/>
                  <a:pt x="311" y="413"/>
                  <a:pt x="334" y="392"/>
                </a:cubicBezTo>
                <a:cubicBezTo>
                  <a:pt x="353" y="375"/>
                  <a:pt x="362" y="351"/>
                  <a:pt x="362" y="320"/>
                </a:cubicBezTo>
                <a:close/>
                <a:moveTo>
                  <a:pt x="267" y="394"/>
                </a:moveTo>
                <a:cubicBezTo>
                  <a:pt x="280" y="394"/>
                  <a:pt x="303" y="391"/>
                  <a:pt x="320" y="376"/>
                </a:cubicBezTo>
                <a:cubicBezTo>
                  <a:pt x="332" y="365"/>
                  <a:pt x="339" y="350"/>
                  <a:pt x="341" y="330"/>
                </a:cubicBezTo>
                <a:cubicBezTo>
                  <a:pt x="327" y="331"/>
                  <a:pt x="304" y="334"/>
                  <a:pt x="287" y="350"/>
                </a:cubicBezTo>
                <a:cubicBezTo>
                  <a:pt x="275" y="360"/>
                  <a:pt x="269" y="375"/>
                  <a:pt x="267" y="394"/>
                </a:cubicBezTo>
                <a:close/>
                <a:moveTo>
                  <a:pt x="219" y="233"/>
                </a:moveTo>
                <a:cubicBezTo>
                  <a:pt x="216" y="236"/>
                  <a:pt x="213" y="238"/>
                  <a:pt x="210" y="242"/>
                </a:cubicBezTo>
                <a:cubicBezTo>
                  <a:pt x="206" y="248"/>
                  <a:pt x="203" y="255"/>
                  <a:pt x="203" y="261"/>
                </a:cubicBezTo>
                <a:cubicBezTo>
                  <a:pt x="203" y="263"/>
                  <a:pt x="203" y="268"/>
                  <a:pt x="206" y="270"/>
                </a:cubicBezTo>
                <a:cubicBezTo>
                  <a:pt x="209" y="272"/>
                  <a:pt x="214" y="271"/>
                  <a:pt x="216" y="270"/>
                </a:cubicBezTo>
                <a:cubicBezTo>
                  <a:pt x="222" y="268"/>
                  <a:pt x="227" y="263"/>
                  <a:pt x="231" y="257"/>
                </a:cubicBezTo>
                <a:cubicBezTo>
                  <a:pt x="234" y="254"/>
                  <a:pt x="236" y="250"/>
                  <a:pt x="237" y="246"/>
                </a:cubicBezTo>
                <a:cubicBezTo>
                  <a:pt x="233" y="245"/>
                  <a:pt x="230" y="243"/>
                  <a:pt x="227" y="241"/>
                </a:cubicBezTo>
                <a:cubicBezTo>
                  <a:pt x="224" y="239"/>
                  <a:pt x="221" y="236"/>
                  <a:pt x="219" y="233"/>
                </a:cubicBezTo>
                <a:close/>
                <a:moveTo>
                  <a:pt x="278" y="217"/>
                </a:moveTo>
                <a:cubicBezTo>
                  <a:pt x="287" y="205"/>
                  <a:pt x="284" y="188"/>
                  <a:pt x="272" y="179"/>
                </a:cubicBezTo>
                <a:cubicBezTo>
                  <a:pt x="267" y="176"/>
                  <a:pt x="261" y="174"/>
                  <a:pt x="256" y="174"/>
                </a:cubicBezTo>
                <a:cubicBezTo>
                  <a:pt x="254" y="174"/>
                  <a:pt x="253" y="174"/>
                  <a:pt x="251" y="174"/>
                </a:cubicBezTo>
                <a:cubicBezTo>
                  <a:pt x="244" y="176"/>
                  <a:pt x="238" y="179"/>
                  <a:pt x="233" y="185"/>
                </a:cubicBezTo>
                <a:cubicBezTo>
                  <a:pt x="229" y="191"/>
                  <a:pt x="227" y="199"/>
                  <a:pt x="229" y="206"/>
                </a:cubicBezTo>
                <a:cubicBezTo>
                  <a:pt x="230" y="213"/>
                  <a:pt x="234" y="219"/>
                  <a:pt x="240" y="224"/>
                </a:cubicBezTo>
                <a:cubicBezTo>
                  <a:pt x="246" y="228"/>
                  <a:pt x="253" y="230"/>
                  <a:pt x="260" y="228"/>
                </a:cubicBezTo>
                <a:cubicBezTo>
                  <a:pt x="267" y="227"/>
                  <a:pt x="274" y="223"/>
                  <a:pt x="278" y="2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7" name="Group 879"/>
          <p:cNvGrpSpPr>
            <a:grpSpLocks noChangeAspect="1"/>
          </p:cNvGrpSpPr>
          <p:nvPr/>
        </p:nvGrpSpPr>
        <p:grpSpPr bwMode="auto">
          <a:xfrm>
            <a:off x="7889590" y="3747676"/>
            <a:ext cx="367631" cy="367631"/>
            <a:chOff x="7362" y="3175"/>
            <a:chExt cx="340" cy="340"/>
          </a:xfrm>
          <a:solidFill>
            <a:schemeClr val="accent3"/>
          </a:solidFill>
        </p:grpSpPr>
        <p:sp>
          <p:nvSpPr>
            <p:cNvPr id="388" name="Freeform 880"/>
            <p:cNvSpPr>
              <a:spLocks noEditPoints="1"/>
            </p:cNvSpPr>
            <p:nvPr/>
          </p:nvSpPr>
          <p:spPr bwMode="auto">
            <a:xfrm>
              <a:off x="7461" y="3239"/>
              <a:ext cx="141" cy="212"/>
            </a:xfrm>
            <a:custGeom>
              <a:avLst/>
              <a:gdLst>
                <a:gd name="T0" fmla="*/ 124 w 213"/>
                <a:gd name="T1" fmla="*/ 238 h 320"/>
                <a:gd name="T2" fmla="*/ 117 w 213"/>
                <a:gd name="T3" fmla="*/ 178 h 320"/>
                <a:gd name="T4" fmla="*/ 169 w 213"/>
                <a:gd name="T5" fmla="*/ 191 h 320"/>
                <a:gd name="T6" fmla="*/ 159 w 213"/>
                <a:gd name="T7" fmla="*/ 122 h 320"/>
                <a:gd name="T8" fmla="*/ 201 w 213"/>
                <a:gd name="T9" fmla="*/ 101 h 320"/>
                <a:gd name="T10" fmla="*/ 185 w 213"/>
                <a:gd name="T11" fmla="*/ 53 h 320"/>
                <a:gd name="T12" fmla="*/ 140 w 213"/>
                <a:gd name="T13" fmla="*/ 60 h 320"/>
                <a:gd name="T14" fmla="*/ 107 w 213"/>
                <a:gd name="T15" fmla="*/ 0 h 320"/>
                <a:gd name="T16" fmla="*/ 74 w 213"/>
                <a:gd name="T17" fmla="*/ 60 h 320"/>
                <a:gd name="T18" fmla="*/ 28 w 213"/>
                <a:gd name="T19" fmla="*/ 53 h 320"/>
                <a:gd name="T20" fmla="*/ 13 w 213"/>
                <a:gd name="T21" fmla="*/ 102 h 320"/>
                <a:gd name="T22" fmla="*/ 54 w 213"/>
                <a:gd name="T23" fmla="*/ 123 h 320"/>
                <a:gd name="T24" fmla="*/ 33 w 213"/>
                <a:gd name="T25" fmla="*/ 164 h 320"/>
                <a:gd name="T26" fmla="*/ 61 w 213"/>
                <a:gd name="T27" fmla="*/ 196 h 320"/>
                <a:gd name="T28" fmla="*/ 96 w 213"/>
                <a:gd name="T29" fmla="*/ 178 h 320"/>
                <a:gd name="T30" fmla="*/ 89 w 213"/>
                <a:gd name="T31" fmla="*/ 237 h 320"/>
                <a:gd name="T32" fmla="*/ 0 w 213"/>
                <a:gd name="T33" fmla="*/ 224 h 320"/>
                <a:gd name="T34" fmla="*/ 101 w 213"/>
                <a:gd name="T35" fmla="*/ 320 h 320"/>
                <a:gd name="T36" fmla="*/ 185 w 213"/>
                <a:gd name="T37" fmla="*/ 296 h 320"/>
                <a:gd name="T38" fmla="*/ 204 w 213"/>
                <a:gd name="T39" fmla="*/ 213 h 320"/>
                <a:gd name="T40" fmla="*/ 102 w 213"/>
                <a:gd name="T41" fmla="*/ 78 h 320"/>
                <a:gd name="T42" fmla="*/ 123 w 213"/>
                <a:gd name="T43" fmla="*/ 83 h 320"/>
                <a:gd name="T44" fmla="*/ 111 w 213"/>
                <a:gd name="T45" fmla="*/ 132 h 320"/>
                <a:gd name="T46" fmla="*/ 80 w 213"/>
                <a:gd name="T47" fmla="*/ 110 h 320"/>
                <a:gd name="T48" fmla="*/ 157 w 213"/>
                <a:gd name="T49" fmla="*/ 174 h 320"/>
                <a:gd name="T50" fmla="*/ 126 w 213"/>
                <a:gd name="T51" fmla="*/ 150 h 320"/>
                <a:gd name="T52" fmla="*/ 152 w 213"/>
                <a:gd name="T53" fmla="*/ 146 h 320"/>
                <a:gd name="T54" fmla="*/ 159 w 213"/>
                <a:gd name="T55" fmla="*/ 74 h 320"/>
                <a:gd name="T56" fmla="*/ 187 w 213"/>
                <a:gd name="T57" fmla="*/ 79 h 320"/>
                <a:gd name="T58" fmla="*/ 167 w 213"/>
                <a:gd name="T59" fmla="*/ 99 h 320"/>
                <a:gd name="T60" fmla="*/ 148 w 213"/>
                <a:gd name="T61" fmla="*/ 80 h 320"/>
                <a:gd name="T62" fmla="*/ 107 w 213"/>
                <a:gd name="T63" fmla="*/ 21 h 320"/>
                <a:gd name="T64" fmla="*/ 118 w 213"/>
                <a:gd name="T65" fmla="*/ 58 h 320"/>
                <a:gd name="T66" fmla="*/ 96 w 213"/>
                <a:gd name="T67" fmla="*/ 58 h 320"/>
                <a:gd name="T68" fmla="*/ 107 w 213"/>
                <a:gd name="T69" fmla="*/ 21 h 320"/>
                <a:gd name="T70" fmla="*/ 26 w 213"/>
                <a:gd name="T71" fmla="*/ 79 h 320"/>
                <a:gd name="T72" fmla="*/ 54 w 213"/>
                <a:gd name="T73" fmla="*/ 75 h 320"/>
                <a:gd name="T74" fmla="*/ 58 w 213"/>
                <a:gd name="T75" fmla="*/ 101 h 320"/>
                <a:gd name="T76" fmla="*/ 29 w 213"/>
                <a:gd name="T77" fmla="*/ 89 h 320"/>
                <a:gd name="T78" fmla="*/ 57 w 213"/>
                <a:gd name="T79" fmla="*/ 174 h 320"/>
                <a:gd name="T80" fmla="*/ 61 w 213"/>
                <a:gd name="T81" fmla="*/ 146 h 320"/>
                <a:gd name="T82" fmla="*/ 78 w 213"/>
                <a:gd name="T83" fmla="*/ 145 h 320"/>
                <a:gd name="T84" fmla="*/ 82 w 213"/>
                <a:gd name="T85" fmla="*/ 161 h 320"/>
                <a:gd name="T86" fmla="*/ 42 w 213"/>
                <a:gd name="T87" fmla="*/ 279 h 320"/>
                <a:gd name="T88" fmla="*/ 75 w 213"/>
                <a:gd name="T89" fmla="*/ 253 h 320"/>
                <a:gd name="T90" fmla="*/ 42 w 213"/>
                <a:gd name="T91" fmla="*/ 279 h 320"/>
                <a:gd name="T92" fmla="*/ 118 w 213"/>
                <a:gd name="T93" fmla="*/ 298 h 320"/>
                <a:gd name="T94" fmla="*/ 192 w 213"/>
                <a:gd name="T9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3" h="320">
                  <a:moveTo>
                    <a:pt x="204" y="213"/>
                  </a:moveTo>
                  <a:cubicBezTo>
                    <a:pt x="202" y="213"/>
                    <a:pt x="155" y="209"/>
                    <a:pt x="124" y="238"/>
                  </a:cubicBezTo>
                  <a:cubicBezTo>
                    <a:pt x="121" y="240"/>
                    <a:pt x="119" y="242"/>
                    <a:pt x="117" y="244"/>
                  </a:cubicBezTo>
                  <a:cubicBezTo>
                    <a:pt x="117" y="178"/>
                    <a:pt x="117" y="178"/>
                    <a:pt x="117" y="178"/>
                  </a:cubicBezTo>
                  <a:cubicBezTo>
                    <a:pt x="127" y="190"/>
                    <a:pt x="140" y="196"/>
                    <a:pt x="152" y="196"/>
                  </a:cubicBezTo>
                  <a:cubicBezTo>
                    <a:pt x="158" y="196"/>
                    <a:pt x="164" y="194"/>
                    <a:pt x="169" y="191"/>
                  </a:cubicBezTo>
                  <a:cubicBezTo>
                    <a:pt x="185" y="179"/>
                    <a:pt x="185" y="154"/>
                    <a:pt x="170" y="133"/>
                  </a:cubicBezTo>
                  <a:cubicBezTo>
                    <a:pt x="167" y="129"/>
                    <a:pt x="163" y="125"/>
                    <a:pt x="159" y="122"/>
                  </a:cubicBezTo>
                  <a:cubicBezTo>
                    <a:pt x="164" y="122"/>
                    <a:pt x="169" y="121"/>
                    <a:pt x="174" y="119"/>
                  </a:cubicBezTo>
                  <a:cubicBezTo>
                    <a:pt x="185" y="116"/>
                    <a:pt x="194" y="109"/>
                    <a:pt x="201" y="101"/>
                  </a:cubicBezTo>
                  <a:cubicBezTo>
                    <a:pt x="208" y="92"/>
                    <a:pt x="210" y="82"/>
                    <a:pt x="207" y="72"/>
                  </a:cubicBezTo>
                  <a:cubicBezTo>
                    <a:pt x="204" y="63"/>
                    <a:pt x="196" y="56"/>
                    <a:pt x="185" y="53"/>
                  </a:cubicBezTo>
                  <a:cubicBezTo>
                    <a:pt x="175" y="50"/>
                    <a:pt x="163" y="50"/>
                    <a:pt x="152" y="54"/>
                  </a:cubicBezTo>
                  <a:cubicBezTo>
                    <a:pt x="148" y="56"/>
                    <a:pt x="143" y="58"/>
                    <a:pt x="140" y="60"/>
                  </a:cubicBezTo>
                  <a:cubicBezTo>
                    <a:pt x="141" y="55"/>
                    <a:pt x="141" y="51"/>
                    <a:pt x="141" y="46"/>
                  </a:cubicBezTo>
                  <a:cubicBezTo>
                    <a:pt x="141" y="20"/>
                    <a:pt x="126" y="0"/>
                    <a:pt x="107" y="0"/>
                  </a:cubicBezTo>
                  <a:cubicBezTo>
                    <a:pt x="87" y="0"/>
                    <a:pt x="72" y="20"/>
                    <a:pt x="72" y="46"/>
                  </a:cubicBezTo>
                  <a:cubicBezTo>
                    <a:pt x="72" y="51"/>
                    <a:pt x="73" y="56"/>
                    <a:pt x="74" y="60"/>
                  </a:cubicBezTo>
                  <a:cubicBezTo>
                    <a:pt x="70" y="58"/>
                    <a:pt x="65" y="56"/>
                    <a:pt x="61" y="54"/>
                  </a:cubicBezTo>
                  <a:cubicBezTo>
                    <a:pt x="50" y="51"/>
                    <a:pt x="38" y="50"/>
                    <a:pt x="28" y="53"/>
                  </a:cubicBezTo>
                  <a:cubicBezTo>
                    <a:pt x="17" y="56"/>
                    <a:pt x="9" y="63"/>
                    <a:pt x="6" y="73"/>
                  </a:cubicBezTo>
                  <a:cubicBezTo>
                    <a:pt x="3" y="82"/>
                    <a:pt x="5" y="93"/>
                    <a:pt x="13" y="102"/>
                  </a:cubicBezTo>
                  <a:cubicBezTo>
                    <a:pt x="19" y="110"/>
                    <a:pt x="28" y="116"/>
                    <a:pt x="40" y="120"/>
                  </a:cubicBezTo>
                  <a:cubicBezTo>
                    <a:pt x="44" y="121"/>
                    <a:pt x="49" y="122"/>
                    <a:pt x="54" y="123"/>
                  </a:cubicBezTo>
                  <a:cubicBezTo>
                    <a:pt x="50" y="126"/>
                    <a:pt x="47" y="129"/>
                    <a:pt x="44" y="133"/>
                  </a:cubicBezTo>
                  <a:cubicBezTo>
                    <a:pt x="37" y="143"/>
                    <a:pt x="33" y="154"/>
                    <a:pt x="33" y="164"/>
                  </a:cubicBezTo>
                  <a:cubicBezTo>
                    <a:pt x="32" y="175"/>
                    <a:pt x="37" y="185"/>
                    <a:pt x="45" y="191"/>
                  </a:cubicBezTo>
                  <a:cubicBezTo>
                    <a:pt x="49" y="195"/>
                    <a:pt x="55" y="196"/>
                    <a:pt x="61" y="196"/>
                  </a:cubicBezTo>
                  <a:cubicBezTo>
                    <a:pt x="66" y="196"/>
                    <a:pt x="70" y="196"/>
                    <a:pt x="74" y="194"/>
                  </a:cubicBezTo>
                  <a:cubicBezTo>
                    <a:pt x="82" y="191"/>
                    <a:pt x="90" y="185"/>
                    <a:pt x="96" y="178"/>
                  </a:cubicBezTo>
                  <a:cubicBezTo>
                    <a:pt x="96" y="244"/>
                    <a:pt x="96" y="244"/>
                    <a:pt x="96" y="244"/>
                  </a:cubicBezTo>
                  <a:cubicBezTo>
                    <a:pt x="94" y="241"/>
                    <a:pt x="92" y="239"/>
                    <a:pt x="89" y="237"/>
                  </a:cubicBezTo>
                  <a:cubicBezTo>
                    <a:pt x="58" y="208"/>
                    <a:pt x="11" y="213"/>
                    <a:pt x="10" y="213"/>
                  </a:cubicBezTo>
                  <a:cubicBezTo>
                    <a:pt x="4" y="214"/>
                    <a:pt x="0" y="218"/>
                    <a:pt x="0" y="224"/>
                  </a:cubicBezTo>
                  <a:cubicBezTo>
                    <a:pt x="0" y="254"/>
                    <a:pt x="9" y="278"/>
                    <a:pt x="28" y="294"/>
                  </a:cubicBezTo>
                  <a:cubicBezTo>
                    <a:pt x="52" y="317"/>
                    <a:pt x="86" y="320"/>
                    <a:pt x="101" y="320"/>
                  </a:cubicBezTo>
                  <a:cubicBezTo>
                    <a:pt x="104" y="320"/>
                    <a:pt x="111" y="320"/>
                    <a:pt x="114" y="320"/>
                  </a:cubicBezTo>
                  <a:cubicBezTo>
                    <a:pt x="130" y="320"/>
                    <a:pt x="162" y="317"/>
                    <a:pt x="185" y="296"/>
                  </a:cubicBezTo>
                  <a:cubicBezTo>
                    <a:pt x="204" y="279"/>
                    <a:pt x="213" y="255"/>
                    <a:pt x="213" y="224"/>
                  </a:cubicBezTo>
                  <a:cubicBezTo>
                    <a:pt x="213" y="218"/>
                    <a:pt x="209" y="213"/>
                    <a:pt x="204" y="213"/>
                  </a:cubicBezTo>
                  <a:close/>
                  <a:moveTo>
                    <a:pt x="84" y="89"/>
                  </a:moveTo>
                  <a:cubicBezTo>
                    <a:pt x="89" y="83"/>
                    <a:pt x="95" y="80"/>
                    <a:pt x="102" y="78"/>
                  </a:cubicBezTo>
                  <a:cubicBezTo>
                    <a:pt x="104" y="78"/>
                    <a:pt x="105" y="78"/>
                    <a:pt x="107" y="78"/>
                  </a:cubicBezTo>
                  <a:cubicBezTo>
                    <a:pt x="112" y="78"/>
                    <a:pt x="118" y="80"/>
                    <a:pt x="123" y="83"/>
                  </a:cubicBezTo>
                  <a:cubicBezTo>
                    <a:pt x="135" y="92"/>
                    <a:pt x="138" y="109"/>
                    <a:pt x="129" y="121"/>
                  </a:cubicBezTo>
                  <a:cubicBezTo>
                    <a:pt x="125" y="127"/>
                    <a:pt x="118" y="131"/>
                    <a:pt x="111" y="132"/>
                  </a:cubicBezTo>
                  <a:cubicBezTo>
                    <a:pt x="104" y="134"/>
                    <a:pt x="97" y="132"/>
                    <a:pt x="91" y="128"/>
                  </a:cubicBezTo>
                  <a:cubicBezTo>
                    <a:pt x="85" y="123"/>
                    <a:pt x="81" y="117"/>
                    <a:pt x="80" y="110"/>
                  </a:cubicBezTo>
                  <a:cubicBezTo>
                    <a:pt x="78" y="103"/>
                    <a:pt x="80" y="95"/>
                    <a:pt x="84" y="89"/>
                  </a:cubicBezTo>
                  <a:close/>
                  <a:moveTo>
                    <a:pt x="157" y="174"/>
                  </a:moveTo>
                  <a:cubicBezTo>
                    <a:pt x="152" y="177"/>
                    <a:pt x="140" y="172"/>
                    <a:pt x="131" y="161"/>
                  </a:cubicBezTo>
                  <a:cubicBezTo>
                    <a:pt x="129" y="158"/>
                    <a:pt x="127" y="154"/>
                    <a:pt x="126" y="150"/>
                  </a:cubicBezTo>
                  <a:cubicBezTo>
                    <a:pt x="133" y="147"/>
                    <a:pt x="139" y="143"/>
                    <a:pt x="143" y="137"/>
                  </a:cubicBezTo>
                  <a:cubicBezTo>
                    <a:pt x="147" y="139"/>
                    <a:pt x="150" y="142"/>
                    <a:pt x="152" y="146"/>
                  </a:cubicBezTo>
                  <a:cubicBezTo>
                    <a:pt x="161" y="157"/>
                    <a:pt x="161" y="170"/>
                    <a:pt x="157" y="174"/>
                  </a:cubicBezTo>
                  <a:close/>
                  <a:moveTo>
                    <a:pt x="159" y="74"/>
                  </a:moveTo>
                  <a:cubicBezTo>
                    <a:pt x="166" y="72"/>
                    <a:pt x="173" y="72"/>
                    <a:pt x="179" y="73"/>
                  </a:cubicBezTo>
                  <a:cubicBezTo>
                    <a:pt x="181" y="74"/>
                    <a:pt x="186" y="75"/>
                    <a:pt x="187" y="79"/>
                  </a:cubicBezTo>
                  <a:cubicBezTo>
                    <a:pt x="188" y="82"/>
                    <a:pt x="185" y="87"/>
                    <a:pt x="184" y="88"/>
                  </a:cubicBezTo>
                  <a:cubicBezTo>
                    <a:pt x="180" y="93"/>
                    <a:pt x="174" y="97"/>
                    <a:pt x="167" y="99"/>
                  </a:cubicBezTo>
                  <a:cubicBezTo>
                    <a:pt x="163" y="101"/>
                    <a:pt x="159" y="101"/>
                    <a:pt x="155" y="101"/>
                  </a:cubicBezTo>
                  <a:cubicBezTo>
                    <a:pt x="154" y="94"/>
                    <a:pt x="152" y="86"/>
                    <a:pt x="148" y="80"/>
                  </a:cubicBezTo>
                  <a:cubicBezTo>
                    <a:pt x="151" y="78"/>
                    <a:pt x="155" y="76"/>
                    <a:pt x="159" y="74"/>
                  </a:cubicBezTo>
                  <a:close/>
                  <a:moveTo>
                    <a:pt x="107" y="21"/>
                  </a:moveTo>
                  <a:cubicBezTo>
                    <a:pt x="113" y="21"/>
                    <a:pt x="120" y="32"/>
                    <a:pt x="120" y="46"/>
                  </a:cubicBezTo>
                  <a:cubicBezTo>
                    <a:pt x="120" y="50"/>
                    <a:pt x="119" y="54"/>
                    <a:pt x="118" y="58"/>
                  </a:cubicBezTo>
                  <a:cubicBezTo>
                    <a:pt x="112" y="57"/>
                    <a:pt x="105" y="56"/>
                    <a:pt x="99" y="57"/>
                  </a:cubicBezTo>
                  <a:cubicBezTo>
                    <a:pt x="98" y="58"/>
                    <a:pt x="97" y="58"/>
                    <a:pt x="96" y="58"/>
                  </a:cubicBezTo>
                  <a:cubicBezTo>
                    <a:pt x="94" y="54"/>
                    <a:pt x="94" y="50"/>
                    <a:pt x="94" y="46"/>
                  </a:cubicBezTo>
                  <a:cubicBezTo>
                    <a:pt x="94" y="32"/>
                    <a:pt x="101" y="21"/>
                    <a:pt x="107" y="21"/>
                  </a:cubicBezTo>
                  <a:close/>
                  <a:moveTo>
                    <a:pt x="29" y="89"/>
                  </a:moveTo>
                  <a:cubicBezTo>
                    <a:pt x="28" y="87"/>
                    <a:pt x="25" y="83"/>
                    <a:pt x="26" y="79"/>
                  </a:cubicBezTo>
                  <a:cubicBezTo>
                    <a:pt x="27" y="76"/>
                    <a:pt x="32" y="74"/>
                    <a:pt x="34" y="74"/>
                  </a:cubicBezTo>
                  <a:cubicBezTo>
                    <a:pt x="40" y="72"/>
                    <a:pt x="47" y="72"/>
                    <a:pt x="54" y="75"/>
                  </a:cubicBezTo>
                  <a:cubicBezTo>
                    <a:pt x="58" y="76"/>
                    <a:pt x="62" y="78"/>
                    <a:pt x="65" y="80"/>
                  </a:cubicBezTo>
                  <a:cubicBezTo>
                    <a:pt x="61" y="87"/>
                    <a:pt x="59" y="94"/>
                    <a:pt x="58" y="101"/>
                  </a:cubicBezTo>
                  <a:cubicBezTo>
                    <a:pt x="54" y="101"/>
                    <a:pt x="50" y="101"/>
                    <a:pt x="46" y="100"/>
                  </a:cubicBezTo>
                  <a:cubicBezTo>
                    <a:pt x="39" y="97"/>
                    <a:pt x="33" y="93"/>
                    <a:pt x="29" y="89"/>
                  </a:cubicBezTo>
                  <a:close/>
                  <a:moveTo>
                    <a:pt x="67" y="174"/>
                  </a:moveTo>
                  <a:cubicBezTo>
                    <a:pt x="65" y="175"/>
                    <a:pt x="60" y="176"/>
                    <a:pt x="57" y="174"/>
                  </a:cubicBezTo>
                  <a:cubicBezTo>
                    <a:pt x="54" y="172"/>
                    <a:pt x="54" y="167"/>
                    <a:pt x="54" y="165"/>
                  </a:cubicBezTo>
                  <a:cubicBezTo>
                    <a:pt x="54" y="159"/>
                    <a:pt x="57" y="152"/>
                    <a:pt x="61" y="146"/>
                  </a:cubicBezTo>
                  <a:cubicBezTo>
                    <a:pt x="64" y="142"/>
                    <a:pt x="67" y="140"/>
                    <a:pt x="70" y="137"/>
                  </a:cubicBezTo>
                  <a:cubicBezTo>
                    <a:pt x="72" y="140"/>
                    <a:pt x="75" y="143"/>
                    <a:pt x="78" y="145"/>
                  </a:cubicBezTo>
                  <a:cubicBezTo>
                    <a:pt x="81" y="147"/>
                    <a:pt x="84" y="149"/>
                    <a:pt x="88" y="150"/>
                  </a:cubicBezTo>
                  <a:cubicBezTo>
                    <a:pt x="87" y="154"/>
                    <a:pt x="85" y="158"/>
                    <a:pt x="82" y="161"/>
                  </a:cubicBezTo>
                  <a:cubicBezTo>
                    <a:pt x="78" y="167"/>
                    <a:pt x="73" y="172"/>
                    <a:pt x="67" y="174"/>
                  </a:cubicBezTo>
                  <a:close/>
                  <a:moveTo>
                    <a:pt x="42" y="279"/>
                  </a:moveTo>
                  <a:cubicBezTo>
                    <a:pt x="30" y="268"/>
                    <a:pt x="24" y="253"/>
                    <a:pt x="22" y="234"/>
                  </a:cubicBezTo>
                  <a:cubicBezTo>
                    <a:pt x="35" y="234"/>
                    <a:pt x="58" y="238"/>
                    <a:pt x="75" y="253"/>
                  </a:cubicBezTo>
                  <a:cubicBezTo>
                    <a:pt x="87" y="263"/>
                    <a:pt x="94" y="279"/>
                    <a:pt x="96" y="298"/>
                  </a:cubicBezTo>
                  <a:cubicBezTo>
                    <a:pt x="82" y="298"/>
                    <a:pt x="59" y="294"/>
                    <a:pt x="42" y="279"/>
                  </a:cubicBezTo>
                  <a:close/>
                  <a:moveTo>
                    <a:pt x="171" y="280"/>
                  </a:moveTo>
                  <a:cubicBezTo>
                    <a:pt x="154" y="295"/>
                    <a:pt x="131" y="298"/>
                    <a:pt x="118" y="298"/>
                  </a:cubicBezTo>
                  <a:cubicBezTo>
                    <a:pt x="120" y="279"/>
                    <a:pt x="126" y="264"/>
                    <a:pt x="138" y="254"/>
                  </a:cubicBezTo>
                  <a:cubicBezTo>
                    <a:pt x="155" y="238"/>
                    <a:pt x="178" y="235"/>
                    <a:pt x="192" y="234"/>
                  </a:cubicBezTo>
                  <a:cubicBezTo>
                    <a:pt x="190" y="254"/>
                    <a:pt x="183" y="269"/>
                    <a:pt x="171" y="2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881"/>
            <p:cNvSpPr>
              <a:spLocks noEditPoints="1"/>
            </p:cNvSpPr>
            <p:nvPr/>
          </p:nvSpPr>
          <p:spPr bwMode="auto">
            <a:xfrm>
              <a:off x="7362" y="317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0" name="Group 790"/>
          <p:cNvGrpSpPr>
            <a:grpSpLocks noChangeAspect="1"/>
          </p:cNvGrpSpPr>
          <p:nvPr/>
        </p:nvGrpSpPr>
        <p:grpSpPr bwMode="auto">
          <a:xfrm>
            <a:off x="8394832" y="3747134"/>
            <a:ext cx="367633" cy="368713"/>
            <a:chOff x="-11" y="3149"/>
            <a:chExt cx="340" cy="341"/>
          </a:xfrm>
          <a:solidFill>
            <a:schemeClr val="accent3"/>
          </a:solidFill>
        </p:grpSpPr>
        <p:sp>
          <p:nvSpPr>
            <p:cNvPr id="391" name="Freeform 791"/>
            <p:cNvSpPr>
              <a:spLocks/>
            </p:cNvSpPr>
            <p:nvPr/>
          </p:nvSpPr>
          <p:spPr bwMode="auto">
            <a:xfrm>
              <a:off x="102" y="3232"/>
              <a:ext cx="113" cy="179"/>
            </a:xfrm>
            <a:custGeom>
              <a:avLst/>
              <a:gdLst>
                <a:gd name="T0" fmla="*/ 119 w 171"/>
                <a:gd name="T1" fmla="*/ 154 h 270"/>
                <a:gd name="T2" fmla="*/ 119 w 171"/>
                <a:gd name="T3" fmla="*/ 153 h 270"/>
                <a:gd name="T4" fmla="*/ 129 w 171"/>
                <a:gd name="T5" fmla="*/ 142 h 270"/>
                <a:gd name="T6" fmla="*/ 150 w 171"/>
                <a:gd name="T7" fmla="*/ 142 h 270"/>
                <a:gd name="T8" fmla="*/ 98 w 171"/>
                <a:gd name="T9" fmla="*/ 74 h 270"/>
                <a:gd name="T10" fmla="*/ 97 w 171"/>
                <a:gd name="T11" fmla="*/ 63 h 270"/>
                <a:gd name="T12" fmla="*/ 107 w 171"/>
                <a:gd name="T13" fmla="*/ 57 h 270"/>
                <a:gd name="T14" fmla="*/ 128 w 171"/>
                <a:gd name="T15" fmla="*/ 57 h 270"/>
                <a:gd name="T16" fmla="*/ 86 w 171"/>
                <a:gd name="T17" fmla="*/ 0 h 270"/>
                <a:gd name="T18" fmla="*/ 43 w 171"/>
                <a:gd name="T19" fmla="*/ 57 h 270"/>
                <a:gd name="T20" fmla="*/ 64 w 171"/>
                <a:gd name="T21" fmla="*/ 57 h 270"/>
                <a:gd name="T22" fmla="*/ 74 w 171"/>
                <a:gd name="T23" fmla="*/ 63 h 270"/>
                <a:gd name="T24" fmla="*/ 73 w 171"/>
                <a:gd name="T25" fmla="*/ 74 h 270"/>
                <a:gd name="T26" fmla="*/ 22 w 171"/>
                <a:gd name="T27" fmla="*/ 142 h 270"/>
                <a:gd name="T28" fmla="*/ 43 w 171"/>
                <a:gd name="T29" fmla="*/ 142 h 270"/>
                <a:gd name="T30" fmla="*/ 53 w 171"/>
                <a:gd name="T31" fmla="*/ 148 h 270"/>
                <a:gd name="T32" fmla="*/ 52 w 171"/>
                <a:gd name="T33" fmla="*/ 159 h 270"/>
                <a:gd name="T34" fmla="*/ 0 w 171"/>
                <a:gd name="T35" fmla="*/ 228 h 270"/>
                <a:gd name="T36" fmla="*/ 64 w 171"/>
                <a:gd name="T37" fmla="*/ 228 h 270"/>
                <a:gd name="T38" fmla="*/ 75 w 171"/>
                <a:gd name="T39" fmla="*/ 238 h 270"/>
                <a:gd name="T40" fmla="*/ 75 w 171"/>
                <a:gd name="T41" fmla="*/ 270 h 270"/>
                <a:gd name="T42" fmla="*/ 96 w 171"/>
                <a:gd name="T43" fmla="*/ 270 h 270"/>
                <a:gd name="T44" fmla="*/ 96 w 171"/>
                <a:gd name="T45" fmla="*/ 238 h 270"/>
                <a:gd name="T46" fmla="*/ 107 w 171"/>
                <a:gd name="T47" fmla="*/ 228 h 270"/>
                <a:gd name="T48" fmla="*/ 171 w 171"/>
                <a:gd name="T49" fmla="*/ 228 h 270"/>
                <a:gd name="T50" fmla="*/ 121 w 171"/>
                <a:gd name="T51" fmla="*/ 161 h 270"/>
                <a:gd name="T52" fmla="*/ 119 w 171"/>
                <a:gd name="T53" fmla="*/ 15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70">
                  <a:moveTo>
                    <a:pt x="119" y="154"/>
                  </a:moveTo>
                  <a:cubicBezTo>
                    <a:pt x="119" y="153"/>
                    <a:pt x="119" y="153"/>
                    <a:pt x="119" y="153"/>
                  </a:cubicBezTo>
                  <a:cubicBezTo>
                    <a:pt x="119" y="147"/>
                    <a:pt x="124" y="142"/>
                    <a:pt x="129" y="142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6" y="71"/>
                    <a:pt x="96" y="67"/>
                    <a:pt x="97" y="63"/>
                  </a:cubicBezTo>
                  <a:cubicBezTo>
                    <a:pt x="99" y="59"/>
                    <a:pt x="103" y="57"/>
                    <a:pt x="107" y="57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8" y="57"/>
                    <a:pt x="72" y="59"/>
                    <a:pt x="74" y="63"/>
                  </a:cubicBezTo>
                  <a:cubicBezTo>
                    <a:pt x="76" y="67"/>
                    <a:pt x="75" y="71"/>
                    <a:pt x="73" y="74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7" y="142"/>
                    <a:pt x="51" y="145"/>
                    <a:pt x="53" y="148"/>
                  </a:cubicBezTo>
                  <a:cubicBezTo>
                    <a:pt x="54" y="152"/>
                    <a:pt x="54" y="156"/>
                    <a:pt x="52" y="159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70" y="228"/>
                    <a:pt x="75" y="232"/>
                    <a:pt x="75" y="238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96" y="270"/>
                    <a:pt x="96" y="270"/>
                    <a:pt x="96" y="270"/>
                  </a:cubicBezTo>
                  <a:cubicBezTo>
                    <a:pt x="96" y="238"/>
                    <a:pt x="96" y="238"/>
                    <a:pt x="96" y="238"/>
                  </a:cubicBezTo>
                  <a:cubicBezTo>
                    <a:pt x="96" y="232"/>
                    <a:pt x="101" y="228"/>
                    <a:pt x="107" y="228"/>
                  </a:cubicBezTo>
                  <a:cubicBezTo>
                    <a:pt x="171" y="228"/>
                    <a:pt x="171" y="228"/>
                    <a:pt x="171" y="228"/>
                  </a:cubicBezTo>
                  <a:cubicBezTo>
                    <a:pt x="121" y="161"/>
                    <a:pt x="121" y="161"/>
                    <a:pt x="121" y="161"/>
                  </a:cubicBezTo>
                  <a:cubicBezTo>
                    <a:pt x="119" y="159"/>
                    <a:pt x="119" y="156"/>
                    <a:pt x="119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2" name="Freeform 792"/>
            <p:cNvSpPr>
              <a:spLocks noEditPoints="1"/>
            </p:cNvSpPr>
            <p:nvPr/>
          </p:nvSpPr>
          <p:spPr bwMode="auto">
            <a:xfrm>
              <a:off x="-11" y="3149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2 w 512"/>
                <a:gd name="T11" fmla="*/ 367 h 512"/>
                <a:gd name="T12" fmla="*/ 362 w 512"/>
                <a:gd name="T13" fmla="*/ 373 h 512"/>
                <a:gd name="T14" fmla="*/ 288 w 512"/>
                <a:gd name="T15" fmla="*/ 373 h 512"/>
                <a:gd name="T16" fmla="*/ 288 w 512"/>
                <a:gd name="T17" fmla="*/ 405 h 512"/>
                <a:gd name="T18" fmla="*/ 277 w 512"/>
                <a:gd name="T19" fmla="*/ 416 h 512"/>
                <a:gd name="T20" fmla="*/ 234 w 512"/>
                <a:gd name="T21" fmla="*/ 416 h 512"/>
                <a:gd name="T22" fmla="*/ 224 w 512"/>
                <a:gd name="T23" fmla="*/ 405 h 512"/>
                <a:gd name="T24" fmla="*/ 224 w 512"/>
                <a:gd name="T25" fmla="*/ 373 h 512"/>
                <a:gd name="T26" fmla="*/ 149 w 512"/>
                <a:gd name="T27" fmla="*/ 373 h 512"/>
                <a:gd name="T28" fmla="*/ 139 w 512"/>
                <a:gd name="T29" fmla="*/ 367 h 512"/>
                <a:gd name="T30" fmla="*/ 140 w 512"/>
                <a:gd name="T31" fmla="*/ 356 h 512"/>
                <a:gd name="T32" fmla="*/ 192 w 512"/>
                <a:gd name="T33" fmla="*/ 288 h 512"/>
                <a:gd name="T34" fmla="*/ 170 w 512"/>
                <a:gd name="T35" fmla="*/ 288 h 512"/>
                <a:gd name="T36" fmla="*/ 161 w 512"/>
                <a:gd name="T37" fmla="*/ 282 h 512"/>
                <a:gd name="T38" fmla="*/ 162 w 512"/>
                <a:gd name="T39" fmla="*/ 271 h 512"/>
                <a:gd name="T40" fmla="*/ 213 w 512"/>
                <a:gd name="T41" fmla="*/ 202 h 512"/>
                <a:gd name="T42" fmla="*/ 192 w 512"/>
                <a:gd name="T43" fmla="*/ 202 h 512"/>
                <a:gd name="T44" fmla="*/ 182 w 512"/>
                <a:gd name="T45" fmla="*/ 196 h 512"/>
                <a:gd name="T46" fmla="*/ 183 w 512"/>
                <a:gd name="T47" fmla="*/ 185 h 512"/>
                <a:gd name="T48" fmla="*/ 247 w 512"/>
                <a:gd name="T49" fmla="*/ 100 h 512"/>
                <a:gd name="T50" fmla="*/ 264 w 512"/>
                <a:gd name="T51" fmla="*/ 100 h 512"/>
                <a:gd name="T52" fmla="*/ 328 w 512"/>
                <a:gd name="T53" fmla="*/ 185 h 512"/>
                <a:gd name="T54" fmla="*/ 329 w 512"/>
                <a:gd name="T55" fmla="*/ 196 h 512"/>
                <a:gd name="T56" fmla="*/ 320 w 512"/>
                <a:gd name="T57" fmla="*/ 202 h 512"/>
                <a:gd name="T58" fmla="*/ 298 w 512"/>
                <a:gd name="T59" fmla="*/ 202 h 512"/>
                <a:gd name="T60" fmla="*/ 350 w 512"/>
                <a:gd name="T61" fmla="*/ 271 h 512"/>
                <a:gd name="T62" fmla="*/ 351 w 512"/>
                <a:gd name="T63" fmla="*/ 282 h 512"/>
                <a:gd name="T64" fmla="*/ 341 w 512"/>
                <a:gd name="T65" fmla="*/ 288 h 512"/>
                <a:gd name="T66" fmla="*/ 320 w 512"/>
                <a:gd name="T67" fmla="*/ 288 h 512"/>
                <a:gd name="T68" fmla="*/ 371 w 512"/>
                <a:gd name="T69" fmla="*/ 356 h 512"/>
                <a:gd name="T70" fmla="*/ 372 w 512"/>
                <a:gd name="T71" fmla="*/ 36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2" y="367"/>
                  </a:moveTo>
                  <a:cubicBezTo>
                    <a:pt x="370" y="371"/>
                    <a:pt x="366" y="373"/>
                    <a:pt x="362" y="373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88" y="405"/>
                    <a:pt x="288" y="405"/>
                    <a:pt x="288" y="405"/>
                  </a:cubicBezTo>
                  <a:cubicBezTo>
                    <a:pt x="288" y="411"/>
                    <a:pt x="283" y="416"/>
                    <a:pt x="277" y="416"/>
                  </a:cubicBezTo>
                  <a:cubicBezTo>
                    <a:pt x="234" y="416"/>
                    <a:pt x="234" y="416"/>
                    <a:pt x="234" y="416"/>
                  </a:cubicBezTo>
                  <a:cubicBezTo>
                    <a:pt x="228" y="416"/>
                    <a:pt x="224" y="411"/>
                    <a:pt x="224" y="405"/>
                  </a:cubicBezTo>
                  <a:cubicBezTo>
                    <a:pt x="224" y="373"/>
                    <a:pt x="224" y="373"/>
                    <a:pt x="224" y="373"/>
                  </a:cubicBezTo>
                  <a:cubicBezTo>
                    <a:pt x="149" y="373"/>
                    <a:pt x="149" y="373"/>
                    <a:pt x="149" y="373"/>
                  </a:cubicBezTo>
                  <a:cubicBezTo>
                    <a:pt x="145" y="373"/>
                    <a:pt x="141" y="371"/>
                    <a:pt x="139" y="367"/>
                  </a:cubicBezTo>
                  <a:cubicBezTo>
                    <a:pt x="138" y="363"/>
                    <a:pt x="138" y="359"/>
                    <a:pt x="140" y="356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166" y="288"/>
                    <a:pt x="163" y="285"/>
                    <a:pt x="161" y="282"/>
                  </a:cubicBezTo>
                  <a:cubicBezTo>
                    <a:pt x="159" y="278"/>
                    <a:pt x="159" y="274"/>
                    <a:pt x="162" y="271"/>
                  </a:cubicBezTo>
                  <a:cubicBezTo>
                    <a:pt x="213" y="202"/>
                    <a:pt x="213" y="202"/>
                    <a:pt x="213" y="202"/>
                  </a:cubicBezTo>
                  <a:cubicBezTo>
                    <a:pt x="192" y="202"/>
                    <a:pt x="192" y="202"/>
                    <a:pt x="192" y="202"/>
                  </a:cubicBezTo>
                  <a:cubicBezTo>
                    <a:pt x="188" y="202"/>
                    <a:pt x="184" y="200"/>
                    <a:pt x="182" y="196"/>
                  </a:cubicBezTo>
                  <a:cubicBezTo>
                    <a:pt x="180" y="193"/>
                    <a:pt x="181" y="188"/>
                    <a:pt x="183" y="185"/>
                  </a:cubicBezTo>
                  <a:cubicBezTo>
                    <a:pt x="247" y="100"/>
                    <a:pt x="247" y="100"/>
                    <a:pt x="247" y="100"/>
                  </a:cubicBezTo>
                  <a:cubicBezTo>
                    <a:pt x="251" y="95"/>
                    <a:pt x="260" y="95"/>
                    <a:pt x="264" y="100"/>
                  </a:cubicBezTo>
                  <a:cubicBezTo>
                    <a:pt x="328" y="185"/>
                    <a:pt x="328" y="185"/>
                    <a:pt x="328" y="185"/>
                  </a:cubicBezTo>
                  <a:cubicBezTo>
                    <a:pt x="331" y="188"/>
                    <a:pt x="331" y="193"/>
                    <a:pt x="329" y="196"/>
                  </a:cubicBezTo>
                  <a:cubicBezTo>
                    <a:pt x="327" y="200"/>
                    <a:pt x="324" y="202"/>
                    <a:pt x="320" y="202"/>
                  </a:cubicBezTo>
                  <a:cubicBezTo>
                    <a:pt x="298" y="202"/>
                    <a:pt x="298" y="202"/>
                    <a:pt x="298" y="202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52" y="274"/>
                    <a:pt x="352" y="278"/>
                    <a:pt x="351" y="282"/>
                  </a:cubicBezTo>
                  <a:cubicBezTo>
                    <a:pt x="349" y="285"/>
                    <a:pt x="345" y="288"/>
                    <a:pt x="341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71" y="356"/>
                    <a:pt x="371" y="356"/>
                    <a:pt x="371" y="356"/>
                  </a:cubicBezTo>
                  <a:cubicBezTo>
                    <a:pt x="373" y="359"/>
                    <a:pt x="374" y="363"/>
                    <a:pt x="372" y="3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3" name="Group 795"/>
          <p:cNvGrpSpPr>
            <a:grpSpLocks noChangeAspect="1"/>
          </p:cNvGrpSpPr>
          <p:nvPr/>
        </p:nvGrpSpPr>
        <p:grpSpPr bwMode="auto">
          <a:xfrm>
            <a:off x="8888520" y="3747674"/>
            <a:ext cx="367631" cy="367631"/>
            <a:chOff x="390" y="3164"/>
            <a:chExt cx="340" cy="340"/>
          </a:xfrm>
          <a:solidFill>
            <a:schemeClr val="accent3"/>
          </a:solidFill>
        </p:grpSpPr>
        <p:sp>
          <p:nvSpPr>
            <p:cNvPr id="394" name="Freeform 796"/>
            <p:cNvSpPr>
              <a:spLocks noEditPoints="1"/>
            </p:cNvSpPr>
            <p:nvPr/>
          </p:nvSpPr>
          <p:spPr bwMode="auto">
            <a:xfrm>
              <a:off x="482" y="3227"/>
              <a:ext cx="156" cy="213"/>
            </a:xfrm>
            <a:custGeom>
              <a:avLst/>
              <a:gdLst>
                <a:gd name="T0" fmla="*/ 139 w 236"/>
                <a:gd name="T1" fmla="*/ 321 h 321"/>
                <a:gd name="T2" fmla="*/ 96 w 236"/>
                <a:gd name="T3" fmla="*/ 321 h 321"/>
                <a:gd name="T4" fmla="*/ 86 w 236"/>
                <a:gd name="T5" fmla="*/ 310 h 321"/>
                <a:gd name="T6" fmla="*/ 86 w 236"/>
                <a:gd name="T7" fmla="*/ 278 h 321"/>
                <a:gd name="T8" fmla="*/ 11 w 236"/>
                <a:gd name="T9" fmla="*/ 278 h 321"/>
                <a:gd name="T10" fmla="*/ 1 w 236"/>
                <a:gd name="T11" fmla="*/ 272 h 321"/>
                <a:gd name="T12" fmla="*/ 2 w 236"/>
                <a:gd name="T13" fmla="*/ 261 h 321"/>
                <a:gd name="T14" fmla="*/ 54 w 236"/>
                <a:gd name="T15" fmla="*/ 193 h 321"/>
                <a:gd name="T16" fmla="*/ 32 w 236"/>
                <a:gd name="T17" fmla="*/ 193 h 321"/>
                <a:gd name="T18" fmla="*/ 23 w 236"/>
                <a:gd name="T19" fmla="*/ 187 h 321"/>
                <a:gd name="T20" fmla="*/ 24 w 236"/>
                <a:gd name="T21" fmla="*/ 176 h 321"/>
                <a:gd name="T22" fmla="*/ 75 w 236"/>
                <a:gd name="T23" fmla="*/ 107 h 321"/>
                <a:gd name="T24" fmla="*/ 54 w 236"/>
                <a:gd name="T25" fmla="*/ 107 h 321"/>
                <a:gd name="T26" fmla="*/ 44 w 236"/>
                <a:gd name="T27" fmla="*/ 101 h 321"/>
                <a:gd name="T28" fmla="*/ 45 w 236"/>
                <a:gd name="T29" fmla="*/ 90 h 321"/>
                <a:gd name="T30" fmla="*/ 109 w 236"/>
                <a:gd name="T31" fmla="*/ 5 h 321"/>
                <a:gd name="T32" fmla="*/ 126 w 236"/>
                <a:gd name="T33" fmla="*/ 5 h 321"/>
                <a:gd name="T34" fmla="*/ 190 w 236"/>
                <a:gd name="T35" fmla="*/ 90 h 321"/>
                <a:gd name="T36" fmla="*/ 191 w 236"/>
                <a:gd name="T37" fmla="*/ 101 h 321"/>
                <a:gd name="T38" fmla="*/ 182 w 236"/>
                <a:gd name="T39" fmla="*/ 107 h 321"/>
                <a:gd name="T40" fmla="*/ 160 w 236"/>
                <a:gd name="T41" fmla="*/ 107 h 321"/>
                <a:gd name="T42" fmla="*/ 212 w 236"/>
                <a:gd name="T43" fmla="*/ 176 h 321"/>
                <a:gd name="T44" fmla="*/ 213 w 236"/>
                <a:gd name="T45" fmla="*/ 187 h 321"/>
                <a:gd name="T46" fmla="*/ 203 w 236"/>
                <a:gd name="T47" fmla="*/ 193 h 321"/>
                <a:gd name="T48" fmla="*/ 182 w 236"/>
                <a:gd name="T49" fmla="*/ 193 h 321"/>
                <a:gd name="T50" fmla="*/ 233 w 236"/>
                <a:gd name="T51" fmla="*/ 261 h 321"/>
                <a:gd name="T52" fmla="*/ 234 w 236"/>
                <a:gd name="T53" fmla="*/ 272 h 321"/>
                <a:gd name="T54" fmla="*/ 224 w 236"/>
                <a:gd name="T55" fmla="*/ 278 h 321"/>
                <a:gd name="T56" fmla="*/ 150 w 236"/>
                <a:gd name="T57" fmla="*/ 278 h 321"/>
                <a:gd name="T58" fmla="*/ 150 w 236"/>
                <a:gd name="T59" fmla="*/ 310 h 321"/>
                <a:gd name="T60" fmla="*/ 139 w 236"/>
                <a:gd name="T61" fmla="*/ 321 h 321"/>
                <a:gd name="T62" fmla="*/ 107 w 236"/>
                <a:gd name="T63" fmla="*/ 299 h 321"/>
                <a:gd name="T64" fmla="*/ 128 w 236"/>
                <a:gd name="T65" fmla="*/ 299 h 321"/>
                <a:gd name="T66" fmla="*/ 128 w 236"/>
                <a:gd name="T67" fmla="*/ 267 h 321"/>
                <a:gd name="T68" fmla="*/ 139 w 236"/>
                <a:gd name="T69" fmla="*/ 257 h 321"/>
                <a:gd name="T70" fmla="*/ 203 w 236"/>
                <a:gd name="T71" fmla="*/ 257 h 321"/>
                <a:gd name="T72" fmla="*/ 153 w 236"/>
                <a:gd name="T73" fmla="*/ 190 h 321"/>
                <a:gd name="T74" fmla="*/ 151 w 236"/>
                <a:gd name="T75" fmla="*/ 183 h 321"/>
                <a:gd name="T76" fmla="*/ 151 w 236"/>
                <a:gd name="T77" fmla="*/ 182 h 321"/>
                <a:gd name="T78" fmla="*/ 161 w 236"/>
                <a:gd name="T79" fmla="*/ 171 h 321"/>
                <a:gd name="T80" fmla="*/ 182 w 236"/>
                <a:gd name="T81" fmla="*/ 171 h 321"/>
                <a:gd name="T82" fmla="*/ 130 w 236"/>
                <a:gd name="T83" fmla="*/ 103 h 321"/>
                <a:gd name="T84" fmla="*/ 129 w 236"/>
                <a:gd name="T85" fmla="*/ 92 h 321"/>
                <a:gd name="T86" fmla="*/ 139 w 236"/>
                <a:gd name="T87" fmla="*/ 86 h 321"/>
                <a:gd name="T88" fmla="*/ 160 w 236"/>
                <a:gd name="T89" fmla="*/ 86 h 321"/>
                <a:gd name="T90" fmla="*/ 118 w 236"/>
                <a:gd name="T91" fmla="*/ 29 h 321"/>
                <a:gd name="T92" fmla="*/ 75 w 236"/>
                <a:gd name="T93" fmla="*/ 86 h 321"/>
                <a:gd name="T94" fmla="*/ 96 w 236"/>
                <a:gd name="T95" fmla="*/ 86 h 321"/>
                <a:gd name="T96" fmla="*/ 106 w 236"/>
                <a:gd name="T97" fmla="*/ 92 h 321"/>
                <a:gd name="T98" fmla="*/ 105 w 236"/>
                <a:gd name="T99" fmla="*/ 103 h 321"/>
                <a:gd name="T100" fmla="*/ 54 w 236"/>
                <a:gd name="T101" fmla="*/ 171 h 321"/>
                <a:gd name="T102" fmla="*/ 75 w 236"/>
                <a:gd name="T103" fmla="*/ 171 h 321"/>
                <a:gd name="T104" fmla="*/ 85 w 236"/>
                <a:gd name="T105" fmla="*/ 177 h 321"/>
                <a:gd name="T106" fmla="*/ 84 w 236"/>
                <a:gd name="T107" fmla="*/ 188 h 321"/>
                <a:gd name="T108" fmla="*/ 32 w 236"/>
                <a:gd name="T109" fmla="*/ 257 h 321"/>
                <a:gd name="T110" fmla="*/ 96 w 236"/>
                <a:gd name="T111" fmla="*/ 257 h 321"/>
                <a:gd name="T112" fmla="*/ 107 w 236"/>
                <a:gd name="T113" fmla="*/ 267 h 321"/>
                <a:gd name="T114" fmla="*/ 107 w 236"/>
                <a:gd name="T115" fmla="*/ 299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6" h="321">
                  <a:moveTo>
                    <a:pt x="139" y="321"/>
                  </a:moveTo>
                  <a:cubicBezTo>
                    <a:pt x="96" y="321"/>
                    <a:pt x="96" y="321"/>
                    <a:pt x="96" y="321"/>
                  </a:cubicBezTo>
                  <a:cubicBezTo>
                    <a:pt x="90" y="321"/>
                    <a:pt x="86" y="316"/>
                    <a:pt x="86" y="310"/>
                  </a:cubicBezTo>
                  <a:cubicBezTo>
                    <a:pt x="86" y="278"/>
                    <a:pt x="86" y="278"/>
                    <a:pt x="86" y="278"/>
                  </a:cubicBezTo>
                  <a:cubicBezTo>
                    <a:pt x="11" y="278"/>
                    <a:pt x="11" y="278"/>
                    <a:pt x="11" y="278"/>
                  </a:cubicBezTo>
                  <a:cubicBezTo>
                    <a:pt x="7" y="278"/>
                    <a:pt x="3" y="276"/>
                    <a:pt x="1" y="272"/>
                  </a:cubicBezTo>
                  <a:cubicBezTo>
                    <a:pt x="0" y="268"/>
                    <a:pt x="0" y="264"/>
                    <a:pt x="2" y="261"/>
                  </a:cubicBezTo>
                  <a:cubicBezTo>
                    <a:pt x="54" y="193"/>
                    <a:pt x="54" y="193"/>
                    <a:pt x="54" y="193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28" y="193"/>
                    <a:pt x="25" y="190"/>
                    <a:pt x="23" y="187"/>
                  </a:cubicBezTo>
                  <a:cubicBezTo>
                    <a:pt x="21" y="183"/>
                    <a:pt x="21" y="179"/>
                    <a:pt x="24" y="176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0" y="107"/>
                    <a:pt x="46" y="105"/>
                    <a:pt x="44" y="101"/>
                  </a:cubicBezTo>
                  <a:cubicBezTo>
                    <a:pt x="42" y="98"/>
                    <a:pt x="43" y="93"/>
                    <a:pt x="45" y="90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13" y="0"/>
                    <a:pt x="122" y="0"/>
                    <a:pt x="126" y="5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93" y="93"/>
                    <a:pt x="193" y="98"/>
                    <a:pt x="191" y="101"/>
                  </a:cubicBezTo>
                  <a:cubicBezTo>
                    <a:pt x="189" y="105"/>
                    <a:pt x="186" y="107"/>
                    <a:pt x="182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212" y="176"/>
                    <a:pt x="212" y="176"/>
                    <a:pt x="212" y="176"/>
                  </a:cubicBezTo>
                  <a:cubicBezTo>
                    <a:pt x="214" y="179"/>
                    <a:pt x="214" y="183"/>
                    <a:pt x="213" y="187"/>
                  </a:cubicBezTo>
                  <a:cubicBezTo>
                    <a:pt x="211" y="190"/>
                    <a:pt x="207" y="193"/>
                    <a:pt x="203" y="193"/>
                  </a:cubicBezTo>
                  <a:cubicBezTo>
                    <a:pt x="182" y="193"/>
                    <a:pt x="182" y="193"/>
                    <a:pt x="182" y="193"/>
                  </a:cubicBezTo>
                  <a:cubicBezTo>
                    <a:pt x="233" y="261"/>
                    <a:pt x="233" y="261"/>
                    <a:pt x="233" y="261"/>
                  </a:cubicBezTo>
                  <a:cubicBezTo>
                    <a:pt x="235" y="264"/>
                    <a:pt x="236" y="268"/>
                    <a:pt x="234" y="272"/>
                  </a:cubicBezTo>
                  <a:cubicBezTo>
                    <a:pt x="232" y="276"/>
                    <a:pt x="228" y="278"/>
                    <a:pt x="224" y="278"/>
                  </a:cubicBezTo>
                  <a:cubicBezTo>
                    <a:pt x="150" y="278"/>
                    <a:pt x="150" y="278"/>
                    <a:pt x="150" y="278"/>
                  </a:cubicBezTo>
                  <a:cubicBezTo>
                    <a:pt x="150" y="310"/>
                    <a:pt x="150" y="310"/>
                    <a:pt x="150" y="310"/>
                  </a:cubicBezTo>
                  <a:cubicBezTo>
                    <a:pt x="150" y="316"/>
                    <a:pt x="145" y="321"/>
                    <a:pt x="139" y="321"/>
                  </a:cubicBezTo>
                  <a:close/>
                  <a:moveTo>
                    <a:pt x="107" y="299"/>
                  </a:moveTo>
                  <a:cubicBezTo>
                    <a:pt x="128" y="299"/>
                    <a:pt x="128" y="299"/>
                    <a:pt x="128" y="299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61"/>
                    <a:pt x="133" y="257"/>
                    <a:pt x="139" y="257"/>
                  </a:cubicBezTo>
                  <a:cubicBezTo>
                    <a:pt x="203" y="257"/>
                    <a:pt x="203" y="257"/>
                    <a:pt x="203" y="257"/>
                  </a:cubicBezTo>
                  <a:cubicBezTo>
                    <a:pt x="153" y="190"/>
                    <a:pt x="153" y="190"/>
                    <a:pt x="153" y="190"/>
                  </a:cubicBezTo>
                  <a:cubicBezTo>
                    <a:pt x="151" y="188"/>
                    <a:pt x="151" y="185"/>
                    <a:pt x="151" y="183"/>
                  </a:cubicBezTo>
                  <a:cubicBezTo>
                    <a:pt x="151" y="182"/>
                    <a:pt x="151" y="182"/>
                    <a:pt x="151" y="182"/>
                  </a:cubicBezTo>
                  <a:cubicBezTo>
                    <a:pt x="151" y="176"/>
                    <a:pt x="156" y="171"/>
                    <a:pt x="161" y="171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28" y="100"/>
                    <a:pt x="128" y="96"/>
                    <a:pt x="129" y="92"/>
                  </a:cubicBezTo>
                  <a:cubicBezTo>
                    <a:pt x="131" y="88"/>
                    <a:pt x="135" y="86"/>
                    <a:pt x="139" y="86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100" y="86"/>
                    <a:pt x="104" y="88"/>
                    <a:pt x="106" y="92"/>
                  </a:cubicBezTo>
                  <a:cubicBezTo>
                    <a:pt x="108" y="96"/>
                    <a:pt x="107" y="100"/>
                    <a:pt x="105" y="103"/>
                  </a:cubicBezTo>
                  <a:cubicBezTo>
                    <a:pt x="54" y="171"/>
                    <a:pt x="54" y="171"/>
                    <a:pt x="54" y="171"/>
                  </a:cubicBezTo>
                  <a:cubicBezTo>
                    <a:pt x="75" y="171"/>
                    <a:pt x="75" y="171"/>
                    <a:pt x="75" y="171"/>
                  </a:cubicBezTo>
                  <a:cubicBezTo>
                    <a:pt x="79" y="171"/>
                    <a:pt x="83" y="174"/>
                    <a:pt x="85" y="177"/>
                  </a:cubicBezTo>
                  <a:cubicBezTo>
                    <a:pt x="86" y="181"/>
                    <a:pt x="86" y="185"/>
                    <a:pt x="84" y="188"/>
                  </a:cubicBezTo>
                  <a:cubicBezTo>
                    <a:pt x="32" y="257"/>
                    <a:pt x="32" y="257"/>
                    <a:pt x="32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102" y="257"/>
                    <a:pt x="107" y="261"/>
                    <a:pt x="107" y="267"/>
                  </a:cubicBezTo>
                  <a:lnTo>
                    <a:pt x="107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5" name="Freeform 797"/>
            <p:cNvSpPr>
              <a:spLocks noEditPoints="1"/>
            </p:cNvSpPr>
            <p:nvPr/>
          </p:nvSpPr>
          <p:spPr bwMode="auto">
            <a:xfrm>
              <a:off x="390" y="31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6" name="Group 547"/>
          <p:cNvGrpSpPr>
            <a:grpSpLocks noChangeAspect="1"/>
          </p:cNvGrpSpPr>
          <p:nvPr/>
        </p:nvGrpSpPr>
        <p:grpSpPr bwMode="auto">
          <a:xfrm>
            <a:off x="9888127" y="3748214"/>
            <a:ext cx="369676" cy="370763"/>
            <a:chOff x="4310" y="1908"/>
            <a:chExt cx="340" cy="341"/>
          </a:xfrm>
          <a:solidFill>
            <a:schemeClr val="accent6"/>
          </a:solidFill>
        </p:grpSpPr>
        <p:sp>
          <p:nvSpPr>
            <p:cNvPr id="397" name="Freeform 548"/>
            <p:cNvSpPr>
              <a:spLocks noEditPoints="1"/>
            </p:cNvSpPr>
            <p:nvPr/>
          </p:nvSpPr>
          <p:spPr bwMode="auto">
            <a:xfrm>
              <a:off x="4310" y="190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8" name="Freeform 549"/>
            <p:cNvSpPr>
              <a:spLocks noEditPoints="1"/>
            </p:cNvSpPr>
            <p:nvPr/>
          </p:nvSpPr>
          <p:spPr bwMode="auto">
            <a:xfrm>
              <a:off x="4388" y="1972"/>
              <a:ext cx="184" cy="198"/>
            </a:xfrm>
            <a:custGeom>
              <a:avLst/>
              <a:gdLst>
                <a:gd name="T0" fmla="*/ 267 w 277"/>
                <a:gd name="T1" fmla="*/ 277 h 298"/>
                <a:gd name="T2" fmla="*/ 245 w 277"/>
                <a:gd name="T3" fmla="*/ 277 h 298"/>
                <a:gd name="T4" fmla="*/ 245 w 277"/>
                <a:gd name="T5" fmla="*/ 274 h 298"/>
                <a:gd name="T6" fmla="*/ 159 w 277"/>
                <a:gd name="T7" fmla="*/ 7 h 298"/>
                <a:gd name="T8" fmla="*/ 149 w 277"/>
                <a:gd name="T9" fmla="*/ 0 h 298"/>
                <a:gd name="T10" fmla="*/ 128 w 277"/>
                <a:gd name="T11" fmla="*/ 0 h 298"/>
                <a:gd name="T12" fmla="*/ 118 w 277"/>
                <a:gd name="T13" fmla="*/ 7 h 298"/>
                <a:gd name="T14" fmla="*/ 33 w 277"/>
                <a:gd name="T15" fmla="*/ 274 h 298"/>
                <a:gd name="T16" fmla="*/ 32 w 277"/>
                <a:gd name="T17" fmla="*/ 277 h 298"/>
                <a:gd name="T18" fmla="*/ 11 w 277"/>
                <a:gd name="T19" fmla="*/ 277 h 298"/>
                <a:gd name="T20" fmla="*/ 0 w 277"/>
                <a:gd name="T21" fmla="*/ 288 h 298"/>
                <a:gd name="T22" fmla="*/ 11 w 277"/>
                <a:gd name="T23" fmla="*/ 298 h 298"/>
                <a:gd name="T24" fmla="*/ 267 w 277"/>
                <a:gd name="T25" fmla="*/ 298 h 298"/>
                <a:gd name="T26" fmla="*/ 277 w 277"/>
                <a:gd name="T27" fmla="*/ 288 h 298"/>
                <a:gd name="T28" fmla="*/ 267 w 277"/>
                <a:gd name="T29" fmla="*/ 277 h 298"/>
                <a:gd name="T30" fmla="*/ 108 w 277"/>
                <a:gd name="T31" fmla="*/ 106 h 298"/>
                <a:gd name="T32" fmla="*/ 169 w 277"/>
                <a:gd name="T33" fmla="*/ 106 h 298"/>
                <a:gd name="T34" fmla="*/ 193 w 277"/>
                <a:gd name="T35" fmla="*/ 181 h 298"/>
                <a:gd name="T36" fmla="*/ 85 w 277"/>
                <a:gd name="T37" fmla="*/ 181 h 298"/>
                <a:gd name="T38" fmla="*/ 108 w 277"/>
                <a:gd name="T39" fmla="*/ 106 h 298"/>
                <a:gd name="T40" fmla="*/ 136 w 277"/>
                <a:gd name="T41" fmla="*/ 21 h 298"/>
                <a:gd name="T42" fmla="*/ 142 w 277"/>
                <a:gd name="T43" fmla="*/ 21 h 298"/>
                <a:gd name="T44" fmla="*/ 162 w 277"/>
                <a:gd name="T45" fmla="*/ 85 h 298"/>
                <a:gd name="T46" fmla="*/ 115 w 277"/>
                <a:gd name="T47" fmla="*/ 85 h 298"/>
                <a:gd name="T48" fmla="*/ 136 w 277"/>
                <a:gd name="T49" fmla="*/ 21 h 298"/>
                <a:gd name="T50" fmla="*/ 78 w 277"/>
                <a:gd name="T51" fmla="*/ 202 h 298"/>
                <a:gd name="T52" fmla="*/ 200 w 277"/>
                <a:gd name="T53" fmla="*/ 202 h 298"/>
                <a:gd name="T54" fmla="*/ 223 w 277"/>
                <a:gd name="T55" fmla="*/ 277 h 298"/>
                <a:gd name="T56" fmla="*/ 54 w 277"/>
                <a:gd name="T57" fmla="*/ 277 h 298"/>
                <a:gd name="T58" fmla="*/ 78 w 277"/>
                <a:gd name="T59" fmla="*/ 202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7" h="298">
                  <a:moveTo>
                    <a:pt x="267" y="277"/>
                  </a:move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5" y="275"/>
                    <a:pt x="245" y="274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8" y="3"/>
                    <a:pt x="154" y="0"/>
                    <a:pt x="149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3" y="0"/>
                    <a:pt x="119" y="3"/>
                    <a:pt x="118" y="7"/>
                  </a:cubicBezTo>
                  <a:cubicBezTo>
                    <a:pt x="33" y="274"/>
                    <a:pt x="33" y="274"/>
                    <a:pt x="33" y="274"/>
                  </a:cubicBezTo>
                  <a:cubicBezTo>
                    <a:pt x="32" y="275"/>
                    <a:pt x="32" y="277"/>
                    <a:pt x="32" y="277"/>
                  </a:cubicBezTo>
                  <a:cubicBezTo>
                    <a:pt x="11" y="277"/>
                    <a:pt x="11" y="277"/>
                    <a:pt x="11" y="277"/>
                  </a:cubicBezTo>
                  <a:cubicBezTo>
                    <a:pt x="5" y="277"/>
                    <a:pt x="0" y="282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282"/>
                    <a:pt x="273" y="277"/>
                    <a:pt x="267" y="277"/>
                  </a:cubicBezTo>
                  <a:close/>
                  <a:moveTo>
                    <a:pt x="108" y="106"/>
                  </a:moveTo>
                  <a:cubicBezTo>
                    <a:pt x="169" y="106"/>
                    <a:pt x="169" y="106"/>
                    <a:pt x="169" y="106"/>
                  </a:cubicBezTo>
                  <a:cubicBezTo>
                    <a:pt x="193" y="181"/>
                    <a:pt x="193" y="181"/>
                    <a:pt x="193" y="181"/>
                  </a:cubicBezTo>
                  <a:cubicBezTo>
                    <a:pt x="85" y="181"/>
                    <a:pt x="85" y="181"/>
                    <a:pt x="85" y="181"/>
                  </a:cubicBezTo>
                  <a:lnTo>
                    <a:pt x="108" y="106"/>
                  </a:lnTo>
                  <a:close/>
                  <a:moveTo>
                    <a:pt x="136" y="21"/>
                  </a:moveTo>
                  <a:cubicBezTo>
                    <a:pt x="142" y="21"/>
                    <a:pt x="142" y="21"/>
                    <a:pt x="142" y="2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15" y="85"/>
                    <a:pt x="115" y="85"/>
                    <a:pt x="115" y="85"/>
                  </a:cubicBezTo>
                  <a:lnTo>
                    <a:pt x="136" y="21"/>
                  </a:lnTo>
                  <a:close/>
                  <a:moveTo>
                    <a:pt x="78" y="202"/>
                  </a:moveTo>
                  <a:cubicBezTo>
                    <a:pt x="200" y="202"/>
                    <a:pt x="200" y="202"/>
                    <a:pt x="200" y="202"/>
                  </a:cubicBezTo>
                  <a:cubicBezTo>
                    <a:pt x="223" y="277"/>
                    <a:pt x="223" y="277"/>
                    <a:pt x="223" y="277"/>
                  </a:cubicBezTo>
                  <a:cubicBezTo>
                    <a:pt x="54" y="277"/>
                    <a:pt x="54" y="277"/>
                    <a:pt x="54" y="277"/>
                  </a:cubicBezTo>
                  <a:lnTo>
                    <a:pt x="7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9" name="Freeform 553"/>
          <p:cNvSpPr>
            <a:spLocks noChangeAspect="1" noEditPoints="1"/>
          </p:cNvSpPr>
          <p:nvPr/>
        </p:nvSpPr>
        <p:spPr bwMode="auto">
          <a:xfrm>
            <a:off x="9393764" y="3748216"/>
            <a:ext cx="369676" cy="369676"/>
          </a:xfrm>
          <a:custGeom>
            <a:avLst/>
            <a:gdLst>
              <a:gd name="T0" fmla="*/ 310 w 512"/>
              <a:gd name="T1" fmla="*/ 277 h 512"/>
              <a:gd name="T2" fmla="*/ 202 w 512"/>
              <a:gd name="T3" fmla="*/ 277 h 512"/>
              <a:gd name="T4" fmla="*/ 225 w 512"/>
              <a:gd name="T5" fmla="*/ 202 h 512"/>
              <a:gd name="T6" fmla="*/ 286 w 512"/>
              <a:gd name="T7" fmla="*/ 202 h 512"/>
              <a:gd name="T8" fmla="*/ 310 w 512"/>
              <a:gd name="T9" fmla="*/ 277 h 512"/>
              <a:gd name="T10" fmla="*/ 259 w 512"/>
              <a:gd name="T11" fmla="*/ 117 h 512"/>
              <a:gd name="T12" fmla="*/ 253 w 512"/>
              <a:gd name="T13" fmla="*/ 117 h 512"/>
              <a:gd name="T14" fmla="*/ 232 w 512"/>
              <a:gd name="T15" fmla="*/ 181 h 512"/>
              <a:gd name="T16" fmla="*/ 279 w 512"/>
              <a:gd name="T17" fmla="*/ 181 h 512"/>
              <a:gd name="T18" fmla="*/ 259 w 512"/>
              <a:gd name="T19" fmla="*/ 117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94 w 512"/>
              <a:gd name="T31" fmla="*/ 384 h 512"/>
              <a:gd name="T32" fmla="*/ 384 w 512"/>
              <a:gd name="T33" fmla="*/ 373 h 512"/>
              <a:gd name="T34" fmla="*/ 362 w 512"/>
              <a:gd name="T35" fmla="*/ 373 h 512"/>
              <a:gd name="T36" fmla="*/ 362 w 512"/>
              <a:gd name="T37" fmla="*/ 370 h 512"/>
              <a:gd name="T38" fmla="*/ 276 w 512"/>
              <a:gd name="T39" fmla="*/ 103 h 512"/>
              <a:gd name="T40" fmla="*/ 266 w 512"/>
              <a:gd name="T41" fmla="*/ 96 h 512"/>
              <a:gd name="T42" fmla="*/ 245 w 512"/>
              <a:gd name="T43" fmla="*/ 96 h 512"/>
              <a:gd name="T44" fmla="*/ 235 w 512"/>
              <a:gd name="T45" fmla="*/ 103 h 512"/>
              <a:gd name="T46" fmla="*/ 150 w 512"/>
              <a:gd name="T47" fmla="*/ 370 h 512"/>
              <a:gd name="T48" fmla="*/ 149 w 512"/>
              <a:gd name="T49" fmla="*/ 373 h 512"/>
              <a:gd name="T50" fmla="*/ 128 w 512"/>
              <a:gd name="T51" fmla="*/ 373 h 512"/>
              <a:gd name="T52" fmla="*/ 117 w 512"/>
              <a:gd name="T53" fmla="*/ 384 h 512"/>
              <a:gd name="T54" fmla="*/ 128 w 512"/>
              <a:gd name="T55" fmla="*/ 394 h 512"/>
              <a:gd name="T56" fmla="*/ 384 w 512"/>
              <a:gd name="T57" fmla="*/ 394 h 512"/>
              <a:gd name="T58" fmla="*/ 394 w 512"/>
              <a:gd name="T59" fmla="*/ 384 h 512"/>
              <a:gd name="T60" fmla="*/ 195 w 512"/>
              <a:gd name="T61" fmla="*/ 298 h 512"/>
              <a:gd name="T62" fmla="*/ 171 w 512"/>
              <a:gd name="T63" fmla="*/ 373 h 512"/>
              <a:gd name="T64" fmla="*/ 340 w 512"/>
              <a:gd name="T65" fmla="*/ 373 h 512"/>
              <a:gd name="T66" fmla="*/ 317 w 512"/>
              <a:gd name="T67" fmla="*/ 298 h 512"/>
              <a:gd name="T68" fmla="*/ 195 w 512"/>
              <a:gd name="T69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10" y="277"/>
                </a:moveTo>
                <a:cubicBezTo>
                  <a:pt x="202" y="277"/>
                  <a:pt x="202" y="277"/>
                  <a:pt x="202" y="277"/>
                </a:cubicBezTo>
                <a:cubicBezTo>
                  <a:pt x="225" y="202"/>
                  <a:pt x="225" y="202"/>
                  <a:pt x="225" y="202"/>
                </a:cubicBezTo>
                <a:cubicBezTo>
                  <a:pt x="286" y="202"/>
                  <a:pt x="286" y="202"/>
                  <a:pt x="286" y="202"/>
                </a:cubicBezTo>
                <a:lnTo>
                  <a:pt x="310" y="277"/>
                </a:lnTo>
                <a:close/>
                <a:moveTo>
                  <a:pt x="259" y="117"/>
                </a:moveTo>
                <a:cubicBezTo>
                  <a:pt x="253" y="117"/>
                  <a:pt x="253" y="117"/>
                  <a:pt x="253" y="117"/>
                </a:cubicBezTo>
                <a:cubicBezTo>
                  <a:pt x="232" y="181"/>
                  <a:pt x="232" y="181"/>
                  <a:pt x="232" y="181"/>
                </a:cubicBezTo>
                <a:cubicBezTo>
                  <a:pt x="279" y="181"/>
                  <a:pt x="279" y="181"/>
                  <a:pt x="279" y="181"/>
                </a:cubicBezTo>
                <a:lnTo>
                  <a:pt x="259" y="11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384"/>
                </a:moveTo>
                <a:cubicBezTo>
                  <a:pt x="394" y="378"/>
                  <a:pt x="390" y="373"/>
                  <a:pt x="384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2" y="373"/>
                  <a:pt x="362" y="371"/>
                  <a:pt x="362" y="370"/>
                </a:cubicBezTo>
                <a:cubicBezTo>
                  <a:pt x="276" y="103"/>
                  <a:pt x="276" y="103"/>
                  <a:pt x="276" y="103"/>
                </a:cubicBezTo>
                <a:cubicBezTo>
                  <a:pt x="275" y="99"/>
                  <a:pt x="271" y="96"/>
                  <a:pt x="266" y="96"/>
                </a:cubicBezTo>
                <a:cubicBezTo>
                  <a:pt x="245" y="96"/>
                  <a:pt x="245" y="96"/>
                  <a:pt x="245" y="96"/>
                </a:cubicBezTo>
                <a:cubicBezTo>
                  <a:pt x="240" y="96"/>
                  <a:pt x="236" y="99"/>
                  <a:pt x="235" y="103"/>
                </a:cubicBezTo>
                <a:cubicBezTo>
                  <a:pt x="150" y="370"/>
                  <a:pt x="150" y="370"/>
                  <a:pt x="150" y="370"/>
                </a:cubicBezTo>
                <a:cubicBezTo>
                  <a:pt x="149" y="371"/>
                  <a:pt x="149" y="373"/>
                  <a:pt x="149" y="373"/>
                </a:cubicBezTo>
                <a:cubicBezTo>
                  <a:pt x="128" y="373"/>
                  <a:pt x="128" y="373"/>
                  <a:pt x="128" y="373"/>
                </a:cubicBezTo>
                <a:cubicBezTo>
                  <a:pt x="122" y="373"/>
                  <a:pt x="117" y="378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lose/>
                <a:moveTo>
                  <a:pt x="195" y="298"/>
                </a:moveTo>
                <a:cubicBezTo>
                  <a:pt x="171" y="373"/>
                  <a:pt x="171" y="373"/>
                  <a:pt x="171" y="373"/>
                </a:cubicBezTo>
                <a:cubicBezTo>
                  <a:pt x="340" y="373"/>
                  <a:pt x="340" y="373"/>
                  <a:pt x="340" y="373"/>
                </a:cubicBezTo>
                <a:cubicBezTo>
                  <a:pt x="317" y="298"/>
                  <a:pt x="317" y="298"/>
                  <a:pt x="317" y="298"/>
                </a:cubicBezTo>
                <a:lnTo>
                  <a:pt x="195" y="29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0" name="Group 477"/>
          <p:cNvGrpSpPr>
            <a:grpSpLocks noChangeAspect="1"/>
          </p:cNvGrpSpPr>
          <p:nvPr/>
        </p:nvGrpSpPr>
        <p:grpSpPr bwMode="auto">
          <a:xfrm>
            <a:off x="924893" y="4575812"/>
            <a:ext cx="369676" cy="369676"/>
            <a:chOff x="373" y="1548"/>
            <a:chExt cx="340" cy="340"/>
          </a:xfrm>
          <a:solidFill>
            <a:schemeClr val="accent5"/>
          </a:solidFill>
        </p:grpSpPr>
        <p:sp>
          <p:nvSpPr>
            <p:cNvPr id="401" name="Freeform 400"/>
            <p:cNvSpPr>
              <a:spLocks noEditPoints="1"/>
            </p:cNvSpPr>
            <p:nvPr/>
          </p:nvSpPr>
          <p:spPr bwMode="auto">
            <a:xfrm>
              <a:off x="373" y="15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2" name="Freeform 401"/>
            <p:cNvSpPr>
              <a:spLocks noEditPoints="1"/>
            </p:cNvSpPr>
            <p:nvPr/>
          </p:nvSpPr>
          <p:spPr bwMode="auto">
            <a:xfrm>
              <a:off x="479" y="1654"/>
              <a:ext cx="128" cy="128"/>
            </a:xfrm>
            <a:custGeom>
              <a:avLst/>
              <a:gdLst>
                <a:gd name="T0" fmla="*/ 96 w 192"/>
                <a:gd name="T1" fmla="*/ 0 h 192"/>
                <a:gd name="T2" fmla="*/ 0 w 192"/>
                <a:gd name="T3" fmla="*/ 96 h 192"/>
                <a:gd name="T4" fmla="*/ 96 w 192"/>
                <a:gd name="T5" fmla="*/ 192 h 192"/>
                <a:gd name="T6" fmla="*/ 192 w 192"/>
                <a:gd name="T7" fmla="*/ 96 h 192"/>
                <a:gd name="T8" fmla="*/ 96 w 192"/>
                <a:gd name="T9" fmla="*/ 0 h 192"/>
                <a:gd name="T10" fmla="*/ 96 w 192"/>
                <a:gd name="T11" fmla="*/ 170 h 192"/>
                <a:gd name="T12" fmla="*/ 21 w 192"/>
                <a:gd name="T13" fmla="*/ 96 h 192"/>
                <a:gd name="T14" fmla="*/ 96 w 192"/>
                <a:gd name="T15" fmla="*/ 21 h 192"/>
                <a:gd name="T16" fmla="*/ 170 w 192"/>
                <a:gd name="T17" fmla="*/ 96 h 192"/>
                <a:gd name="T18" fmla="*/ 96 w 192"/>
                <a:gd name="T19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49"/>
                    <a:pt x="43" y="192"/>
                    <a:pt x="96" y="192"/>
                  </a:cubicBezTo>
                  <a:cubicBezTo>
                    <a:pt x="149" y="192"/>
                    <a:pt x="192" y="149"/>
                    <a:pt x="192" y="96"/>
                  </a:cubicBezTo>
                  <a:cubicBezTo>
                    <a:pt x="192" y="43"/>
                    <a:pt x="149" y="0"/>
                    <a:pt x="96" y="0"/>
                  </a:cubicBezTo>
                  <a:close/>
                  <a:moveTo>
                    <a:pt x="96" y="170"/>
                  </a:moveTo>
                  <a:cubicBezTo>
                    <a:pt x="54" y="170"/>
                    <a:pt x="21" y="137"/>
                    <a:pt x="21" y="96"/>
                  </a:cubicBezTo>
                  <a:cubicBezTo>
                    <a:pt x="21" y="54"/>
                    <a:pt x="54" y="21"/>
                    <a:pt x="96" y="21"/>
                  </a:cubicBezTo>
                  <a:cubicBezTo>
                    <a:pt x="137" y="21"/>
                    <a:pt x="170" y="54"/>
                    <a:pt x="170" y="96"/>
                  </a:cubicBezTo>
                  <a:cubicBezTo>
                    <a:pt x="170" y="137"/>
                    <a:pt x="137" y="170"/>
                    <a:pt x="9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3" name="Freeform 402"/>
            <p:cNvSpPr>
              <a:spLocks/>
            </p:cNvSpPr>
            <p:nvPr/>
          </p:nvSpPr>
          <p:spPr bwMode="auto">
            <a:xfrm>
              <a:off x="621" y="1711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4" name="Freeform 403"/>
            <p:cNvSpPr>
              <a:spLocks/>
            </p:cNvSpPr>
            <p:nvPr/>
          </p:nvSpPr>
          <p:spPr bwMode="auto">
            <a:xfrm>
              <a:off x="437" y="1711"/>
              <a:ext cx="28" cy="14"/>
            </a:xfrm>
            <a:custGeom>
              <a:avLst/>
              <a:gdLst>
                <a:gd name="T0" fmla="*/ 32 w 42"/>
                <a:gd name="T1" fmla="*/ 0 h 21"/>
                <a:gd name="T2" fmla="*/ 10 w 42"/>
                <a:gd name="T3" fmla="*/ 0 h 21"/>
                <a:gd name="T4" fmla="*/ 0 w 42"/>
                <a:gd name="T5" fmla="*/ 11 h 21"/>
                <a:gd name="T6" fmla="*/ 10 w 42"/>
                <a:gd name="T7" fmla="*/ 21 h 21"/>
                <a:gd name="T8" fmla="*/ 32 w 42"/>
                <a:gd name="T9" fmla="*/ 21 h 21"/>
                <a:gd name="T10" fmla="*/ 42 w 42"/>
                <a:gd name="T11" fmla="*/ 11 h 21"/>
                <a:gd name="T12" fmla="*/ 32 w 4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1">
                  <a:moveTo>
                    <a:pt x="3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2" y="17"/>
                    <a:pt x="42" y="11"/>
                  </a:cubicBezTo>
                  <a:cubicBezTo>
                    <a:pt x="42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5" name="Freeform 404"/>
            <p:cNvSpPr>
              <a:spLocks/>
            </p:cNvSpPr>
            <p:nvPr/>
          </p:nvSpPr>
          <p:spPr bwMode="auto">
            <a:xfrm>
              <a:off x="536" y="1612"/>
              <a:ext cx="14" cy="28"/>
            </a:xfrm>
            <a:custGeom>
              <a:avLst/>
              <a:gdLst>
                <a:gd name="T0" fmla="*/ 11 w 21"/>
                <a:gd name="T1" fmla="*/ 42 h 42"/>
                <a:gd name="T2" fmla="*/ 21 w 21"/>
                <a:gd name="T3" fmla="*/ 32 h 42"/>
                <a:gd name="T4" fmla="*/ 21 w 21"/>
                <a:gd name="T5" fmla="*/ 10 h 42"/>
                <a:gd name="T6" fmla="*/ 11 w 21"/>
                <a:gd name="T7" fmla="*/ 0 h 42"/>
                <a:gd name="T8" fmla="*/ 0 w 21"/>
                <a:gd name="T9" fmla="*/ 10 h 42"/>
                <a:gd name="T10" fmla="*/ 0 w 21"/>
                <a:gd name="T11" fmla="*/ 32 h 42"/>
                <a:gd name="T12" fmla="*/ 11 w 2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2">
                  <a:moveTo>
                    <a:pt x="11" y="42"/>
                  </a:moveTo>
                  <a:cubicBezTo>
                    <a:pt x="17" y="42"/>
                    <a:pt x="21" y="38"/>
                    <a:pt x="21" y="32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2"/>
                    <a:pt x="1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6" name="Freeform 405"/>
            <p:cNvSpPr>
              <a:spLocks/>
            </p:cNvSpPr>
            <p:nvPr/>
          </p:nvSpPr>
          <p:spPr bwMode="auto">
            <a:xfrm>
              <a:off x="536" y="1796"/>
              <a:ext cx="14" cy="28"/>
            </a:xfrm>
            <a:custGeom>
              <a:avLst/>
              <a:gdLst>
                <a:gd name="T0" fmla="*/ 11 w 21"/>
                <a:gd name="T1" fmla="*/ 0 h 43"/>
                <a:gd name="T2" fmla="*/ 0 w 21"/>
                <a:gd name="T3" fmla="*/ 11 h 43"/>
                <a:gd name="T4" fmla="*/ 0 w 21"/>
                <a:gd name="T5" fmla="*/ 32 h 43"/>
                <a:gd name="T6" fmla="*/ 11 w 21"/>
                <a:gd name="T7" fmla="*/ 43 h 43"/>
                <a:gd name="T8" fmla="*/ 21 w 21"/>
                <a:gd name="T9" fmla="*/ 32 h 43"/>
                <a:gd name="T10" fmla="*/ 21 w 21"/>
                <a:gd name="T11" fmla="*/ 11 h 43"/>
                <a:gd name="T12" fmla="*/ 11 w 21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3">
                  <a:moveTo>
                    <a:pt x="11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3"/>
                    <a:pt x="11" y="43"/>
                  </a:cubicBezTo>
                  <a:cubicBezTo>
                    <a:pt x="17" y="43"/>
                    <a:pt x="21" y="38"/>
                    <a:pt x="21" y="3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7" name="Freeform 406"/>
            <p:cNvSpPr>
              <a:spLocks/>
            </p:cNvSpPr>
            <p:nvPr/>
          </p:nvSpPr>
          <p:spPr bwMode="auto">
            <a:xfrm>
              <a:off x="595" y="164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20 h 38"/>
                <a:gd name="T4" fmla="*/ 5 w 39"/>
                <a:gd name="T5" fmla="*/ 35 h 38"/>
                <a:gd name="T6" fmla="*/ 12 w 39"/>
                <a:gd name="T7" fmla="*/ 38 h 38"/>
                <a:gd name="T8" fmla="*/ 20 w 39"/>
                <a:gd name="T9" fmla="*/ 35 h 38"/>
                <a:gd name="T10" fmla="*/ 35 w 39"/>
                <a:gd name="T11" fmla="*/ 20 h 38"/>
                <a:gd name="T12" fmla="*/ 35 w 39"/>
                <a:gd name="T13" fmla="*/ 5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0" y="24"/>
                    <a:pt x="0" y="31"/>
                    <a:pt x="5" y="35"/>
                  </a:cubicBezTo>
                  <a:cubicBezTo>
                    <a:pt x="7" y="37"/>
                    <a:pt x="9" y="38"/>
                    <a:pt x="12" y="38"/>
                  </a:cubicBezTo>
                  <a:cubicBezTo>
                    <a:pt x="15" y="38"/>
                    <a:pt x="18" y="37"/>
                    <a:pt x="20" y="35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9" y="15"/>
                    <a:pt x="39" y="9"/>
                    <a:pt x="35" y="5"/>
                  </a:cubicBezTo>
                  <a:cubicBezTo>
                    <a:pt x="31" y="0"/>
                    <a:pt x="24" y="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8" name="Freeform 407"/>
            <p:cNvSpPr>
              <a:spLocks/>
            </p:cNvSpPr>
            <p:nvPr/>
          </p:nvSpPr>
          <p:spPr bwMode="auto">
            <a:xfrm>
              <a:off x="465" y="177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20 h 38"/>
                <a:gd name="T4" fmla="*/ 5 w 39"/>
                <a:gd name="T5" fmla="*/ 35 h 38"/>
                <a:gd name="T6" fmla="*/ 12 w 39"/>
                <a:gd name="T7" fmla="*/ 38 h 38"/>
                <a:gd name="T8" fmla="*/ 20 w 39"/>
                <a:gd name="T9" fmla="*/ 35 h 38"/>
                <a:gd name="T10" fmla="*/ 35 w 39"/>
                <a:gd name="T11" fmla="*/ 20 h 38"/>
                <a:gd name="T12" fmla="*/ 35 w 39"/>
                <a:gd name="T13" fmla="*/ 5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0" y="24"/>
                    <a:pt x="0" y="31"/>
                    <a:pt x="5" y="35"/>
                  </a:cubicBezTo>
                  <a:cubicBezTo>
                    <a:pt x="7" y="37"/>
                    <a:pt x="9" y="38"/>
                    <a:pt x="12" y="38"/>
                  </a:cubicBezTo>
                  <a:cubicBezTo>
                    <a:pt x="15" y="38"/>
                    <a:pt x="18" y="37"/>
                    <a:pt x="20" y="35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9" y="16"/>
                    <a:pt x="39" y="9"/>
                    <a:pt x="35" y="5"/>
                  </a:cubicBezTo>
                  <a:cubicBezTo>
                    <a:pt x="31" y="0"/>
                    <a:pt x="24" y="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9" name="Freeform 408"/>
            <p:cNvSpPr>
              <a:spLocks/>
            </p:cNvSpPr>
            <p:nvPr/>
          </p:nvSpPr>
          <p:spPr bwMode="auto">
            <a:xfrm>
              <a:off x="465" y="1640"/>
              <a:ext cx="26" cy="25"/>
            </a:xfrm>
            <a:custGeom>
              <a:avLst/>
              <a:gdLst>
                <a:gd name="T0" fmla="*/ 20 w 39"/>
                <a:gd name="T1" fmla="*/ 35 h 38"/>
                <a:gd name="T2" fmla="*/ 27 w 39"/>
                <a:gd name="T3" fmla="*/ 38 h 38"/>
                <a:gd name="T4" fmla="*/ 35 w 39"/>
                <a:gd name="T5" fmla="*/ 35 h 38"/>
                <a:gd name="T6" fmla="*/ 35 w 39"/>
                <a:gd name="T7" fmla="*/ 20 h 38"/>
                <a:gd name="T8" fmla="*/ 20 w 39"/>
                <a:gd name="T9" fmla="*/ 5 h 38"/>
                <a:gd name="T10" fmla="*/ 5 w 39"/>
                <a:gd name="T11" fmla="*/ 5 h 38"/>
                <a:gd name="T12" fmla="*/ 5 w 39"/>
                <a:gd name="T13" fmla="*/ 20 h 38"/>
                <a:gd name="T14" fmla="*/ 20 w 39"/>
                <a:gd name="T15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35"/>
                  </a:moveTo>
                  <a:cubicBezTo>
                    <a:pt x="22" y="37"/>
                    <a:pt x="24" y="38"/>
                    <a:pt x="27" y="38"/>
                  </a:cubicBezTo>
                  <a:cubicBezTo>
                    <a:pt x="30" y="38"/>
                    <a:pt x="33" y="37"/>
                    <a:pt x="35" y="35"/>
                  </a:cubicBezTo>
                  <a:cubicBezTo>
                    <a:pt x="39" y="31"/>
                    <a:pt x="39" y="24"/>
                    <a:pt x="35" y="2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5" y="0"/>
                    <a:pt x="9" y="0"/>
                    <a:pt x="5" y="5"/>
                  </a:cubicBezTo>
                  <a:cubicBezTo>
                    <a:pt x="0" y="9"/>
                    <a:pt x="0" y="15"/>
                    <a:pt x="5" y="20"/>
                  </a:cubicBezTo>
                  <a:lnTo>
                    <a:pt x="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reeform 409"/>
            <p:cNvSpPr>
              <a:spLocks/>
            </p:cNvSpPr>
            <p:nvPr/>
          </p:nvSpPr>
          <p:spPr bwMode="auto">
            <a:xfrm>
              <a:off x="595" y="177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5 h 38"/>
                <a:gd name="T4" fmla="*/ 5 w 39"/>
                <a:gd name="T5" fmla="*/ 20 h 38"/>
                <a:gd name="T6" fmla="*/ 20 w 39"/>
                <a:gd name="T7" fmla="*/ 35 h 38"/>
                <a:gd name="T8" fmla="*/ 27 w 39"/>
                <a:gd name="T9" fmla="*/ 38 h 38"/>
                <a:gd name="T10" fmla="*/ 35 w 39"/>
                <a:gd name="T11" fmla="*/ 35 h 38"/>
                <a:gd name="T12" fmla="*/ 35 w 39"/>
                <a:gd name="T13" fmla="*/ 20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16" y="0"/>
                    <a:pt x="9" y="0"/>
                    <a:pt x="5" y="5"/>
                  </a:cubicBezTo>
                  <a:cubicBezTo>
                    <a:pt x="0" y="9"/>
                    <a:pt x="0" y="16"/>
                    <a:pt x="5" y="20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2" y="37"/>
                    <a:pt x="25" y="38"/>
                    <a:pt x="27" y="38"/>
                  </a:cubicBezTo>
                  <a:cubicBezTo>
                    <a:pt x="30" y="38"/>
                    <a:pt x="33" y="37"/>
                    <a:pt x="35" y="35"/>
                  </a:cubicBezTo>
                  <a:cubicBezTo>
                    <a:pt x="39" y="31"/>
                    <a:pt x="39" y="24"/>
                    <a:pt x="35" y="20"/>
                  </a:cubicBezTo>
                  <a:lnTo>
                    <a:pt x="2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11" name="Group 490"/>
          <p:cNvGrpSpPr>
            <a:grpSpLocks noChangeAspect="1"/>
          </p:cNvGrpSpPr>
          <p:nvPr/>
        </p:nvGrpSpPr>
        <p:grpSpPr bwMode="auto">
          <a:xfrm>
            <a:off x="431440" y="4576443"/>
            <a:ext cx="369676" cy="369676"/>
            <a:chOff x="-10" y="1542"/>
            <a:chExt cx="340" cy="340"/>
          </a:xfrm>
          <a:solidFill>
            <a:schemeClr val="accent5"/>
          </a:solidFill>
        </p:grpSpPr>
        <p:sp>
          <p:nvSpPr>
            <p:cNvPr id="412" name="Freeform 491"/>
            <p:cNvSpPr>
              <a:spLocks noEditPoints="1"/>
            </p:cNvSpPr>
            <p:nvPr/>
          </p:nvSpPr>
          <p:spPr bwMode="auto">
            <a:xfrm>
              <a:off x="-10" y="1542"/>
              <a:ext cx="340" cy="340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45 w 512"/>
                <a:gd name="T5" fmla="*/ 106 h 512"/>
                <a:gd name="T6" fmla="*/ 266 w 512"/>
                <a:gd name="T7" fmla="*/ 106 h 512"/>
                <a:gd name="T8" fmla="*/ 256 w 512"/>
                <a:gd name="T9" fmla="*/ 138 h 512"/>
                <a:gd name="T10" fmla="*/ 245 w 512"/>
                <a:gd name="T11" fmla="*/ 106 h 512"/>
                <a:gd name="T12" fmla="*/ 158 w 512"/>
                <a:gd name="T13" fmla="*/ 143 h 512"/>
                <a:gd name="T14" fmla="*/ 173 w 512"/>
                <a:gd name="T15" fmla="*/ 173 h 512"/>
                <a:gd name="T16" fmla="*/ 158 w 512"/>
                <a:gd name="T17" fmla="*/ 173 h 512"/>
                <a:gd name="T18" fmla="*/ 143 w 512"/>
                <a:gd name="T19" fmla="*/ 143 h 512"/>
                <a:gd name="T20" fmla="*/ 106 w 512"/>
                <a:gd name="T21" fmla="*/ 266 h 512"/>
                <a:gd name="T22" fmla="*/ 106 w 512"/>
                <a:gd name="T23" fmla="*/ 245 h 512"/>
                <a:gd name="T24" fmla="*/ 138 w 512"/>
                <a:gd name="T25" fmla="*/ 256 h 512"/>
                <a:gd name="T26" fmla="*/ 173 w 512"/>
                <a:gd name="T27" fmla="*/ 354 h 512"/>
                <a:gd name="T28" fmla="*/ 150 w 512"/>
                <a:gd name="T29" fmla="*/ 372 h 512"/>
                <a:gd name="T30" fmla="*/ 143 w 512"/>
                <a:gd name="T31" fmla="*/ 354 h 512"/>
                <a:gd name="T32" fmla="*/ 173 w 512"/>
                <a:gd name="T33" fmla="*/ 339 h 512"/>
                <a:gd name="T34" fmla="*/ 266 w 512"/>
                <a:gd name="T35" fmla="*/ 405 h 512"/>
                <a:gd name="T36" fmla="*/ 245 w 512"/>
                <a:gd name="T37" fmla="*/ 405 h 512"/>
                <a:gd name="T38" fmla="*/ 256 w 512"/>
                <a:gd name="T39" fmla="*/ 373 h 512"/>
                <a:gd name="T40" fmla="*/ 266 w 512"/>
                <a:gd name="T41" fmla="*/ 405 h 512"/>
                <a:gd name="T42" fmla="*/ 160 w 512"/>
                <a:gd name="T43" fmla="*/ 256 h 512"/>
                <a:gd name="T44" fmla="*/ 352 w 512"/>
                <a:gd name="T45" fmla="*/ 256 h 512"/>
                <a:gd name="T46" fmla="*/ 369 w 512"/>
                <a:gd name="T47" fmla="*/ 369 h 512"/>
                <a:gd name="T48" fmla="*/ 354 w 512"/>
                <a:gd name="T49" fmla="*/ 369 h 512"/>
                <a:gd name="T50" fmla="*/ 339 w 512"/>
                <a:gd name="T51" fmla="*/ 339 h 512"/>
                <a:gd name="T52" fmla="*/ 369 w 512"/>
                <a:gd name="T53" fmla="*/ 354 h 512"/>
                <a:gd name="T54" fmla="*/ 369 w 512"/>
                <a:gd name="T55" fmla="*/ 158 h 512"/>
                <a:gd name="T56" fmla="*/ 346 w 512"/>
                <a:gd name="T57" fmla="*/ 176 h 512"/>
                <a:gd name="T58" fmla="*/ 339 w 512"/>
                <a:gd name="T59" fmla="*/ 158 h 512"/>
                <a:gd name="T60" fmla="*/ 369 w 512"/>
                <a:gd name="T61" fmla="*/ 143 h 512"/>
                <a:gd name="T62" fmla="*/ 405 w 512"/>
                <a:gd name="T63" fmla="*/ 266 h 512"/>
                <a:gd name="T64" fmla="*/ 373 w 512"/>
                <a:gd name="T65" fmla="*/ 256 h 512"/>
                <a:gd name="T66" fmla="*/ 405 w 512"/>
                <a:gd name="T67" fmla="*/ 245 h 512"/>
                <a:gd name="T68" fmla="*/ 405 w 512"/>
                <a:gd name="T69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45" y="106"/>
                  </a:move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266" y="134"/>
                    <a:pt x="262" y="138"/>
                    <a:pt x="256" y="138"/>
                  </a:cubicBezTo>
                  <a:cubicBezTo>
                    <a:pt x="250" y="138"/>
                    <a:pt x="245" y="134"/>
                    <a:pt x="245" y="128"/>
                  </a:cubicBezTo>
                  <a:lnTo>
                    <a:pt x="245" y="106"/>
                  </a:lnTo>
                  <a:close/>
                  <a:moveTo>
                    <a:pt x="143" y="143"/>
                  </a:moveTo>
                  <a:cubicBezTo>
                    <a:pt x="147" y="138"/>
                    <a:pt x="153" y="138"/>
                    <a:pt x="158" y="143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7" y="162"/>
                    <a:pt x="177" y="169"/>
                    <a:pt x="173" y="173"/>
                  </a:cubicBezTo>
                  <a:cubicBezTo>
                    <a:pt x="171" y="175"/>
                    <a:pt x="168" y="176"/>
                    <a:pt x="165" y="176"/>
                  </a:cubicBezTo>
                  <a:cubicBezTo>
                    <a:pt x="162" y="176"/>
                    <a:pt x="160" y="175"/>
                    <a:pt x="158" y="173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38" y="153"/>
                    <a:pt x="138" y="147"/>
                    <a:pt x="143" y="143"/>
                  </a:cubicBezTo>
                  <a:close/>
                  <a:moveTo>
                    <a:pt x="128" y="266"/>
                  </a:move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34" y="245"/>
                    <a:pt x="138" y="250"/>
                    <a:pt x="138" y="256"/>
                  </a:cubicBezTo>
                  <a:cubicBezTo>
                    <a:pt x="138" y="262"/>
                    <a:pt x="134" y="266"/>
                    <a:pt x="128" y="266"/>
                  </a:cubicBezTo>
                  <a:close/>
                  <a:moveTo>
                    <a:pt x="173" y="354"/>
                  </a:moveTo>
                  <a:cubicBezTo>
                    <a:pt x="158" y="369"/>
                    <a:pt x="158" y="369"/>
                    <a:pt x="158" y="369"/>
                  </a:cubicBezTo>
                  <a:cubicBezTo>
                    <a:pt x="156" y="371"/>
                    <a:pt x="153" y="372"/>
                    <a:pt x="150" y="372"/>
                  </a:cubicBezTo>
                  <a:cubicBezTo>
                    <a:pt x="147" y="372"/>
                    <a:pt x="145" y="371"/>
                    <a:pt x="143" y="369"/>
                  </a:cubicBezTo>
                  <a:cubicBezTo>
                    <a:pt x="138" y="365"/>
                    <a:pt x="138" y="358"/>
                    <a:pt x="143" y="354"/>
                  </a:cubicBezTo>
                  <a:cubicBezTo>
                    <a:pt x="158" y="339"/>
                    <a:pt x="158" y="339"/>
                    <a:pt x="158" y="339"/>
                  </a:cubicBezTo>
                  <a:cubicBezTo>
                    <a:pt x="162" y="334"/>
                    <a:pt x="169" y="334"/>
                    <a:pt x="173" y="339"/>
                  </a:cubicBezTo>
                  <a:cubicBezTo>
                    <a:pt x="177" y="343"/>
                    <a:pt x="177" y="350"/>
                    <a:pt x="173" y="354"/>
                  </a:cubicBezTo>
                  <a:close/>
                  <a:moveTo>
                    <a:pt x="266" y="405"/>
                  </a:move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84"/>
                    <a:pt x="245" y="384"/>
                    <a:pt x="245" y="384"/>
                  </a:cubicBezTo>
                  <a:cubicBezTo>
                    <a:pt x="245" y="378"/>
                    <a:pt x="250" y="373"/>
                    <a:pt x="256" y="373"/>
                  </a:cubicBezTo>
                  <a:cubicBezTo>
                    <a:pt x="262" y="373"/>
                    <a:pt x="266" y="378"/>
                    <a:pt x="266" y="384"/>
                  </a:cubicBezTo>
                  <a:lnTo>
                    <a:pt x="266" y="405"/>
                  </a:lnTo>
                  <a:close/>
                  <a:moveTo>
                    <a:pt x="256" y="352"/>
                  </a:moveTo>
                  <a:cubicBezTo>
                    <a:pt x="203" y="352"/>
                    <a:pt x="160" y="309"/>
                    <a:pt x="160" y="256"/>
                  </a:cubicBezTo>
                  <a:cubicBezTo>
                    <a:pt x="160" y="203"/>
                    <a:pt x="203" y="160"/>
                    <a:pt x="256" y="160"/>
                  </a:cubicBezTo>
                  <a:cubicBezTo>
                    <a:pt x="309" y="160"/>
                    <a:pt x="352" y="203"/>
                    <a:pt x="352" y="256"/>
                  </a:cubicBezTo>
                  <a:cubicBezTo>
                    <a:pt x="352" y="309"/>
                    <a:pt x="309" y="352"/>
                    <a:pt x="256" y="352"/>
                  </a:cubicBezTo>
                  <a:close/>
                  <a:moveTo>
                    <a:pt x="369" y="369"/>
                  </a:moveTo>
                  <a:cubicBezTo>
                    <a:pt x="367" y="371"/>
                    <a:pt x="364" y="372"/>
                    <a:pt x="361" y="372"/>
                  </a:cubicBezTo>
                  <a:cubicBezTo>
                    <a:pt x="359" y="372"/>
                    <a:pt x="356" y="371"/>
                    <a:pt x="354" y="369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4" y="350"/>
                    <a:pt x="334" y="343"/>
                    <a:pt x="339" y="339"/>
                  </a:cubicBezTo>
                  <a:cubicBezTo>
                    <a:pt x="343" y="334"/>
                    <a:pt x="350" y="334"/>
                    <a:pt x="354" y="339"/>
                  </a:cubicBezTo>
                  <a:cubicBezTo>
                    <a:pt x="369" y="354"/>
                    <a:pt x="369" y="354"/>
                    <a:pt x="369" y="354"/>
                  </a:cubicBezTo>
                  <a:cubicBezTo>
                    <a:pt x="373" y="358"/>
                    <a:pt x="373" y="365"/>
                    <a:pt x="369" y="369"/>
                  </a:cubicBezTo>
                  <a:close/>
                  <a:moveTo>
                    <a:pt x="369" y="158"/>
                  </a:moveTo>
                  <a:cubicBezTo>
                    <a:pt x="354" y="173"/>
                    <a:pt x="354" y="173"/>
                    <a:pt x="354" y="173"/>
                  </a:cubicBezTo>
                  <a:cubicBezTo>
                    <a:pt x="352" y="175"/>
                    <a:pt x="349" y="176"/>
                    <a:pt x="346" y="176"/>
                  </a:cubicBezTo>
                  <a:cubicBezTo>
                    <a:pt x="343" y="176"/>
                    <a:pt x="341" y="175"/>
                    <a:pt x="339" y="173"/>
                  </a:cubicBezTo>
                  <a:cubicBezTo>
                    <a:pt x="334" y="169"/>
                    <a:pt x="334" y="162"/>
                    <a:pt x="339" y="158"/>
                  </a:cubicBezTo>
                  <a:cubicBezTo>
                    <a:pt x="354" y="143"/>
                    <a:pt x="354" y="143"/>
                    <a:pt x="354" y="143"/>
                  </a:cubicBezTo>
                  <a:cubicBezTo>
                    <a:pt x="358" y="138"/>
                    <a:pt x="365" y="138"/>
                    <a:pt x="369" y="143"/>
                  </a:cubicBezTo>
                  <a:cubicBezTo>
                    <a:pt x="373" y="147"/>
                    <a:pt x="373" y="153"/>
                    <a:pt x="369" y="158"/>
                  </a:cubicBezTo>
                  <a:close/>
                  <a:moveTo>
                    <a:pt x="405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78" y="266"/>
                    <a:pt x="373" y="262"/>
                    <a:pt x="373" y="256"/>
                  </a:cubicBezTo>
                  <a:cubicBezTo>
                    <a:pt x="373" y="250"/>
                    <a:pt x="378" y="245"/>
                    <a:pt x="384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Oval 492"/>
            <p:cNvSpPr>
              <a:spLocks noChangeArrowheads="1"/>
            </p:cNvSpPr>
            <p:nvPr/>
          </p:nvSpPr>
          <p:spPr bwMode="auto">
            <a:xfrm>
              <a:off x="110" y="1662"/>
              <a:ext cx="99" cy="9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4" name="Freeform 919"/>
          <p:cNvSpPr>
            <a:spLocks noChangeAspect="1" noEditPoints="1"/>
          </p:cNvSpPr>
          <p:nvPr/>
        </p:nvSpPr>
        <p:spPr bwMode="auto">
          <a:xfrm>
            <a:off x="1429255" y="4576984"/>
            <a:ext cx="367041" cy="367041"/>
          </a:xfrm>
          <a:custGeom>
            <a:avLst/>
            <a:gdLst>
              <a:gd name="T0" fmla="*/ 385 w 512"/>
              <a:gd name="T1" fmla="*/ 206 h 512"/>
              <a:gd name="T2" fmla="*/ 305 w 512"/>
              <a:gd name="T3" fmla="*/ 385 h 512"/>
              <a:gd name="T4" fmla="*/ 149 w 512"/>
              <a:gd name="T5" fmla="*/ 345 h 512"/>
              <a:gd name="T6" fmla="*/ 232 w 512"/>
              <a:gd name="T7" fmla="*/ 344 h 512"/>
              <a:gd name="T8" fmla="*/ 304 w 512"/>
              <a:gd name="T9" fmla="*/ 277 h 512"/>
              <a:gd name="T10" fmla="*/ 307 w 512"/>
              <a:gd name="T11" fmla="*/ 179 h 512"/>
              <a:gd name="T12" fmla="*/ 251 w 512"/>
              <a:gd name="T13" fmla="*/ 117 h 512"/>
              <a:gd name="T14" fmla="*/ 385 w 512"/>
              <a:gd name="T15" fmla="*/ 206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05 w 512"/>
              <a:gd name="T27" fmla="*/ 199 h 512"/>
              <a:gd name="T28" fmla="*/ 209 w 512"/>
              <a:gd name="T29" fmla="*/ 102 h 512"/>
              <a:gd name="T30" fmla="*/ 202 w 512"/>
              <a:gd name="T31" fmla="*/ 112 h 512"/>
              <a:gd name="T32" fmla="*/ 210 w 512"/>
              <a:gd name="T33" fmla="*/ 123 h 512"/>
              <a:gd name="T34" fmla="*/ 287 w 512"/>
              <a:gd name="T35" fmla="*/ 187 h 512"/>
              <a:gd name="T36" fmla="*/ 284 w 512"/>
              <a:gd name="T37" fmla="*/ 268 h 512"/>
              <a:gd name="T38" fmla="*/ 225 w 512"/>
              <a:gd name="T39" fmla="*/ 324 h 512"/>
              <a:gd name="T40" fmla="*/ 126 w 512"/>
              <a:gd name="T41" fmla="*/ 310 h 512"/>
              <a:gd name="T42" fmla="*/ 113 w 512"/>
              <a:gd name="T43" fmla="*/ 311 h 512"/>
              <a:gd name="T44" fmla="*/ 110 w 512"/>
              <a:gd name="T45" fmla="*/ 323 h 512"/>
              <a:gd name="T46" fmla="*/ 256 w 512"/>
              <a:gd name="T47" fmla="*/ 416 h 512"/>
              <a:gd name="T48" fmla="*/ 312 w 512"/>
              <a:gd name="T49" fmla="*/ 405 h 512"/>
              <a:gd name="T50" fmla="*/ 405 w 512"/>
              <a:gd name="T51" fmla="*/ 1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385" y="206"/>
                </a:moveTo>
                <a:cubicBezTo>
                  <a:pt x="412" y="278"/>
                  <a:pt x="376" y="358"/>
                  <a:pt x="305" y="385"/>
                </a:cubicBezTo>
                <a:cubicBezTo>
                  <a:pt x="249" y="407"/>
                  <a:pt x="187" y="389"/>
                  <a:pt x="149" y="345"/>
                </a:cubicBezTo>
                <a:cubicBezTo>
                  <a:pt x="177" y="354"/>
                  <a:pt x="207" y="354"/>
                  <a:pt x="232" y="344"/>
                </a:cubicBezTo>
                <a:cubicBezTo>
                  <a:pt x="264" y="332"/>
                  <a:pt x="290" y="308"/>
                  <a:pt x="304" y="277"/>
                </a:cubicBezTo>
                <a:cubicBezTo>
                  <a:pt x="318" y="246"/>
                  <a:pt x="319" y="211"/>
                  <a:pt x="307" y="179"/>
                </a:cubicBezTo>
                <a:cubicBezTo>
                  <a:pt x="297" y="154"/>
                  <a:pt x="277" y="132"/>
                  <a:pt x="251" y="117"/>
                </a:cubicBezTo>
                <a:cubicBezTo>
                  <a:pt x="308" y="116"/>
                  <a:pt x="365" y="152"/>
                  <a:pt x="385" y="20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99"/>
                </a:moveTo>
                <a:cubicBezTo>
                  <a:pt x="376" y="122"/>
                  <a:pt x="287" y="78"/>
                  <a:pt x="209" y="102"/>
                </a:cubicBezTo>
                <a:cubicBezTo>
                  <a:pt x="205" y="103"/>
                  <a:pt x="202" y="108"/>
                  <a:pt x="202" y="112"/>
                </a:cubicBezTo>
                <a:cubicBezTo>
                  <a:pt x="202" y="117"/>
                  <a:pt x="205" y="121"/>
                  <a:pt x="210" y="123"/>
                </a:cubicBezTo>
                <a:cubicBezTo>
                  <a:pt x="238" y="130"/>
                  <a:pt x="273" y="151"/>
                  <a:pt x="287" y="187"/>
                </a:cubicBezTo>
                <a:cubicBezTo>
                  <a:pt x="297" y="214"/>
                  <a:pt x="296" y="243"/>
                  <a:pt x="284" y="268"/>
                </a:cubicBezTo>
                <a:cubicBezTo>
                  <a:pt x="272" y="294"/>
                  <a:pt x="251" y="314"/>
                  <a:pt x="225" y="324"/>
                </a:cubicBezTo>
                <a:cubicBezTo>
                  <a:pt x="189" y="338"/>
                  <a:pt x="150" y="326"/>
                  <a:pt x="126" y="310"/>
                </a:cubicBezTo>
                <a:cubicBezTo>
                  <a:pt x="122" y="307"/>
                  <a:pt x="116" y="307"/>
                  <a:pt x="113" y="311"/>
                </a:cubicBezTo>
                <a:cubicBezTo>
                  <a:pt x="109" y="314"/>
                  <a:pt x="108" y="319"/>
                  <a:pt x="110" y="323"/>
                </a:cubicBezTo>
                <a:cubicBezTo>
                  <a:pt x="138" y="381"/>
                  <a:pt x="196" y="416"/>
                  <a:pt x="256" y="416"/>
                </a:cubicBezTo>
                <a:cubicBezTo>
                  <a:pt x="275" y="416"/>
                  <a:pt x="294" y="412"/>
                  <a:pt x="312" y="405"/>
                </a:cubicBezTo>
                <a:cubicBezTo>
                  <a:pt x="395" y="374"/>
                  <a:pt x="437" y="281"/>
                  <a:pt x="405" y="19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5" name="Group 922"/>
          <p:cNvGrpSpPr>
            <a:grpSpLocks noChangeAspect="1"/>
          </p:cNvGrpSpPr>
          <p:nvPr/>
        </p:nvGrpSpPr>
        <p:grpSpPr bwMode="auto">
          <a:xfrm>
            <a:off x="1920875" y="4576443"/>
            <a:ext cx="367041" cy="368121"/>
            <a:chOff x="5045" y="3564"/>
            <a:chExt cx="340" cy="341"/>
          </a:xfrm>
          <a:solidFill>
            <a:schemeClr val="accent4"/>
          </a:solidFill>
        </p:grpSpPr>
        <p:sp>
          <p:nvSpPr>
            <p:cNvPr id="416" name="Freeform 923"/>
            <p:cNvSpPr>
              <a:spLocks noEditPoints="1"/>
            </p:cNvSpPr>
            <p:nvPr/>
          </p:nvSpPr>
          <p:spPr bwMode="auto">
            <a:xfrm>
              <a:off x="5117" y="3616"/>
              <a:ext cx="218" cy="225"/>
            </a:xfrm>
            <a:custGeom>
              <a:avLst/>
              <a:gdLst>
                <a:gd name="T0" fmla="*/ 148 w 329"/>
                <a:gd name="T1" fmla="*/ 338 h 338"/>
                <a:gd name="T2" fmla="*/ 2 w 329"/>
                <a:gd name="T3" fmla="*/ 245 h 338"/>
                <a:gd name="T4" fmla="*/ 5 w 329"/>
                <a:gd name="T5" fmla="*/ 233 h 338"/>
                <a:gd name="T6" fmla="*/ 18 w 329"/>
                <a:gd name="T7" fmla="*/ 232 h 338"/>
                <a:gd name="T8" fmla="*/ 117 w 329"/>
                <a:gd name="T9" fmla="*/ 246 h 338"/>
                <a:gd name="T10" fmla="*/ 176 w 329"/>
                <a:gd name="T11" fmla="*/ 190 h 338"/>
                <a:gd name="T12" fmla="*/ 179 w 329"/>
                <a:gd name="T13" fmla="*/ 109 h 338"/>
                <a:gd name="T14" fmla="*/ 102 w 329"/>
                <a:gd name="T15" fmla="*/ 45 h 338"/>
                <a:gd name="T16" fmla="*/ 94 w 329"/>
                <a:gd name="T17" fmla="*/ 34 h 338"/>
                <a:gd name="T18" fmla="*/ 101 w 329"/>
                <a:gd name="T19" fmla="*/ 24 h 338"/>
                <a:gd name="T20" fmla="*/ 297 w 329"/>
                <a:gd name="T21" fmla="*/ 121 h 338"/>
                <a:gd name="T22" fmla="*/ 204 w 329"/>
                <a:gd name="T23" fmla="*/ 327 h 338"/>
                <a:gd name="T24" fmla="*/ 148 w 329"/>
                <a:gd name="T25" fmla="*/ 338 h 338"/>
                <a:gd name="T26" fmla="*/ 41 w 329"/>
                <a:gd name="T27" fmla="*/ 267 h 338"/>
                <a:gd name="T28" fmla="*/ 197 w 329"/>
                <a:gd name="T29" fmla="*/ 307 h 338"/>
                <a:gd name="T30" fmla="*/ 277 w 329"/>
                <a:gd name="T31" fmla="*/ 128 h 338"/>
                <a:gd name="T32" fmla="*/ 143 w 329"/>
                <a:gd name="T33" fmla="*/ 39 h 338"/>
                <a:gd name="T34" fmla="*/ 199 w 329"/>
                <a:gd name="T35" fmla="*/ 101 h 338"/>
                <a:gd name="T36" fmla="*/ 196 w 329"/>
                <a:gd name="T37" fmla="*/ 199 h 338"/>
                <a:gd name="T38" fmla="*/ 124 w 329"/>
                <a:gd name="T39" fmla="*/ 266 h 338"/>
                <a:gd name="T40" fmla="*/ 41 w 329"/>
                <a:gd name="T41" fmla="*/ 26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9" h="338">
                  <a:moveTo>
                    <a:pt x="148" y="338"/>
                  </a:moveTo>
                  <a:cubicBezTo>
                    <a:pt x="88" y="338"/>
                    <a:pt x="30" y="303"/>
                    <a:pt x="2" y="245"/>
                  </a:cubicBezTo>
                  <a:cubicBezTo>
                    <a:pt x="0" y="241"/>
                    <a:pt x="1" y="236"/>
                    <a:pt x="5" y="233"/>
                  </a:cubicBezTo>
                  <a:cubicBezTo>
                    <a:pt x="8" y="229"/>
                    <a:pt x="14" y="229"/>
                    <a:pt x="18" y="232"/>
                  </a:cubicBezTo>
                  <a:cubicBezTo>
                    <a:pt x="42" y="248"/>
                    <a:pt x="81" y="260"/>
                    <a:pt x="117" y="246"/>
                  </a:cubicBezTo>
                  <a:cubicBezTo>
                    <a:pt x="143" y="236"/>
                    <a:pt x="164" y="216"/>
                    <a:pt x="176" y="190"/>
                  </a:cubicBezTo>
                  <a:cubicBezTo>
                    <a:pt x="188" y="165"/>
                    <a:pt x="189" y="136"/>
                    <a:pt x="179" y="109"/>
                  </a:cubicBezTo>
                  <a:cubicBezTo>
                    <a:pt x="165" y="73"/>
                    <a:pt x="130" y="52"/>
                    <a:pt x="102" y="45"/>
                  </a:cubicBezTo>
                  <a:cubicBezTo>
                    <a:pt x="97" y="43"/>
                    <a:pt x="94" y="39"/>
                    <a:pt x="94" y="34"/>
                  </a:cubicBezTo>
                  <a:cubicBezTo>
                    <a:pt x="94" y="30"/>
                    <a:pt x="97" y="25"/>
                    <a:pt x="101" y="24"/>
                  </a:cubicBezTo>
                  <a:cubicBezTo>
                    <a:pt x="179" y="0"/>
                    <a:pt x="268" y="44"/>
                    <a:pt x="297" y="121"/>
                  </a:cubicBezTo>
                  <a:cubicBezTo>
                    <a:pt x="329" y="203"/>
                    <a:pt x="287" y="296"/>
                    <a:pt x="204" y="327"/>
                  </a:cubicBezTo>
                  <a:cubicBezTo>
                    <a:pt x="186" y="334"/>
                    <a:pt x="167" y="338"/>
                    <a:pt x="148" y="338"/>
                  </a:cubicBezTo>
                  <a:close/>
                  <a:moveTo>
                    <a:pt x="41" y="267"/>
                  </a:moveTo>
                  <a:cubicBezTo>
                    <a:pt x="79" y="311"/>
                    <a:pt x="141" y="329"/>
                    <a:pt x="197" y="307"/>
                  </a:cubicBezTo>
                  <a:cubicBezTo>
                    <a:pt x="268" y="280"/>
                    <a:pt x="304" y="200"/>
                    <a:pt x="277" y="128"/>
                  </a:cubicBezTo>
                  <a:cubicBezTo>
                    <a:pt x="257" y="74"/>
                    <a:pt x="200" y="38"/>
                    <a:pt x="143" y="39"/>
                  </a:cubicBezTo>
                  <a:cubicBezTo>
                    <a:pt x="169" y="54"/>
                    <a:pt x="189" y="76"/>
                    <a:pt x="199" y="101"/>
                  </a:cubicBezTo>
                  <a:cubicBezTo>
                    <a:pt x="211" y="133"/>
                    <a:pt x="210" y="168"/>
                    <a:pt x="196" y="199"/>
                  </a:cubicBezTo>
                  <a:cubicBezTo>
                    <a:pt x="182" y="230"/>
                    <a:pt x="156" y="254"/>
                    <a:pt x="124" y="266"/>
                  </a:cubicBezTo>
                  <a:cubicBezTo>
                    <a:pt x="99" y="276"/>
                    <a:pt x="69" y="276"/>
                    <a:pt x="41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7" name="Freeform 924"/>
            <p:cNvSpPr>
              <a:spLocks noEditPoints="1"/>
            </p:cNvSpPr>
            <p:nvPr/>
          </p:nvSpPr>
          <p:spPr bwMode="auto">
            <a:xfrm>
              <a:off x="5045" y="3564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8" name="Freeform 587"/>
          <p:cNvSpPr>
            <a:spLocks noChangeAspect="1" noEditPoints="1"/>
          </p:cNvSpPr>
          <p:nvPr/>
        </p:nvSpPr>
        <p:spPr bwMode="auto">
          <a:xfrm>
            <a:off x="2921429" y="4575991"/>
            <a:ext cx="369021" cy="36902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265 w 512"/>
              <a:gd name="T11" fmla="*/ 207 h 512"/>
              <a:gd name="T12" fmla="*/ 315 w 512"/>
              <a:gd name="T13" fmla="*/ 227 h 512"/>
              <a:gd name="T14" fmla="*/ 327 w 512"/>
              <a:gd name="T15" fmla="*/ 219 h 512"/>
              <a:gd name="T16" fmla="*/ 326 w 512"/>
              <a:gd name="T17" fmla="*/ 165 h 512"/>
              <a:gd name="T18" fmla="*/ 311 w 512"/>
              <a:gd name="T19" fmla="*/ 187 h 512"/>
              <a:gd name="T20" fmla="*/ 264 w 512"/>
              <a:gd name="T21" fmla="*/ 117 h 512"/>
              <a:gd name="T22" fmla="*/ 247 w 512"/>
              <a:gd name="T23" fmla="*/ 116 h 512"/>
              <a:gd name="T24" fmla="*/ 188 w 512"/>
              <a:gd name="T25" fmla="*/ 207 h 512"/>
              <a:gd name="T26" fmla="*/ 206 w 512"/>
              <a:gd name="T27" fmla="*/ 218 h 512"/>
              <a:gd name="T28" fmla="*/ 258 w 512"/>
              <a:gd name="T29" fmla="*/ 138 h 512"/>
              <a:gd name="T30" fmla="*/ 277 w 512"/>
              <a:gd name="T31" fmla="*/ 199 h 512"/>
              <a:gd name="T32" fmla="*/ 130 w 512"/>
              <a:gd name="T33" fmla="*/ 352 h 512"/>
              <a:gd name="T34" fmla="*/ 166 w 512"/>
              <a:gd name="T35" fmla="*/ 283 h 512"/>
              <a:gd name="T36" fmla="*/ 184 w 512"/>
              <a:gd name="T37" fmla="*/ 309 h 512"/>
              <a:gd name="T38" fmla="*/ 194 w 512"/>
              <a:gd name="T39" fmla="*/ 295 h 512"/>
              <a:gd name="T40" fmla="*/ 166 w 512"/>
              <a:gd name="T41" fmla="*/ 249 h 512"/>
              <a:gd name="T42" fmla="*/ 120 w 512"/>
              <a:gd name="T43" fmla="*/ 277 h 512"/>
              <a:gd name="T44" fmla="*/ 143 w 512"/>
              <a:gd name="T45" fmla="*/ 280 h 512"/>
              <a:gd name="T46" fmla="*/ 107 w 512"/>
              <a:gd name="T47" fmla="*/ 354 h 512"/>
              <a:gd name="T48" fmla="*/ 124 w 512"/>
              <a:gd name="T49" fmla="*/ 373 h 512"/>
              <a:gd name="T50" fmla="*/ 234 w 512"/>
              <a:gd name="T51" fmla="*/ 362 h 512"/>
              <a:gd name="T52" fmla="*/ 405 w 512"/>
              <a:gd name="T53" fmla="*/ 343 h 512"/>
              <a:gd name="T54" fmla="*/ 341 w 512"/>
              <a:gd name="T55" fmla="*/ 254 h 512"/>
              <a:gd name="T56" fmla="*/ 383 w 512"/>
              <a:gd name="T57" fmla="*/ 348 h 512"/>
              <a:gd name="T58" fmla="*/ 304 w 512"/>
              <a:gd name="T59" fmla="*/ 352 h 512"/>
              <a:gd name="T60" fmla="*/ 311 w 512"/>
              <a:gd name="T61" fmla="*/ 330 h 512"/>
              <a:gd name="T62" fmla="*/ 266 w 512"/>
              <a:gd name="T63" fmla="*/ 359 h 512"/>
              <a:gd name="T64" fmla="*/ 296 w 512"/>
              <a:gd name="T65" fmla="*/ 404 h 512"/>
              <a:gd name="T66" fmla="*/ 311 w 512"/>
              <a:gd name="T67" fmla="*/ 404 h 512"/>
              <a:gd name="T68" fmla="*/ 295 w 512"/>
              <a:gd name="T69" fmla="*/ 373 h 512"/>
              <a:gd name="T70" fmla="*/ 396 w 512"/>
              <a:gd name="T71" fmla="*/ 368 h 512"/>
              <a:gd name="T72" fmla="*/ 405 w 512"/>
              <a:gd name="T73" fmla="*/ 34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77" y="199"/>
                </a:moveTo>
                <a:cubicBezTo>
                  <a:pt x="271" y="198"/>
                  <a:pt x="266" y="202"/>
                  <a:pt x="265" y="207"/>
                </a:cubicBezTo>
                <a:cubicBezTo>
                  <a:pt x="264" y="213"/>
                  <a:pt x="268" y="219"/>
                  <a:pt x="274" y="220"/>
                </a:cubicBezTo>
                <a:cubicBezTo>
                  <a:pt x="315" y="227"/>
                  <a:pt x="315" y="227"/>
                  <a:pt x="315" y="227"/>
                </a:cubicBezTo>
                <a:cubicBezTo>
                  <a:pt x="315" y="227"/>
                  <a:pt x="316" y="227"/>
                  <a:pt x="317" y="227"/>
                </a:cubicBezTo>
                <a:cubicBezTo>
                  <a:pt x="322" y="227"/>
                  <a:pt x="326" y="224"/>
                  <a:pt x="327" y="219"/>
                </a:cubicBezTo>
                <a:cubicBezTo>
                  <a:pt x="335" y="177"/>
                  <a:pt x="335" y="177"/>
                  <a:pt x="335" y="177"/>
                </a:cubicBezTo>
                <a:cubicBezTo>
                  <a:pt x="336" y="171"/>
                  <a:pt x="332" y="166"/>
                  <a:pt x="326" y="165"/>
                </a:cubicBezTo>
                <a:cubicBezTo>
                  <a:pt x="320" y="164"/>
                  <a:pt x="315" y="168"/>
                  <a:pt x="314" y="174"/>
                </a:cubicBezTo>
                <a:cubicBezTo>
                  <a:pt x="311" y="187"/>
                  <a:pt x="311" y="187"/>
                  <a:pt x="311" y="187"/>
                </a:cubicBezTo>
                <a:cubicBezTo>
                  <a:pt x="273" y="122"/>
                  <a:pt x="273" y="122"/>
                  <a:pt x="273" y="122"/>
                </a:cubicBezTo>
                <a:cubicBezTo>
                  <a:pt x="271" y="118"/>
                  <a:pt x="267" y="117"/>
                  <a:pt x="264" y="117"/>
                </a:cubicBezTo>
                <a:cubicBezTo>
                  <a:pt x="264" y="117"/>
                  <a:pt x="264" y="117"/>
                  <a:pt x="264" y="117"/>
                </a:cubicBezTo>
                <a:cubicBezTo>
                  <a:pt x="247" y="116"/>
                  <a:pt x="247" y="116"/>
                  <a:pt x="247" y="116"/>
                </a:cubicBezTo>
                <a:cubicBezTo>
                  <a:pt x="243" y="116"/>
                  <a:pt x="239" y="118"/>
                  <a:pt x="237" y="121"/>
                </a:cubicBezTo>
                <a:cubicBezTo>
                  <a:pt x="188" y="207"/>
                  <a:pt x="188" y="207"/>
                  <a:pt x="188" y="207"/>
                </a:cubicBezTo>
                <a:cubicBezTo>
                  <a:pt x="185" y="212"/>
                  <a:pt x="186" y="219"/>
                  <a:pt x="192" y="222"/>
                </a:cubicBezTo>
                <a:cubicBezTo>
                  <a:pt x="197" y="225"/>
                  <a:pt x="203" y="224"/>
                  <a:pt x="206" y="218"/>
                </a:cubicBezTo>
                <a:cubicBezTo>
                  <a:pt x="253" y="138"/>
                  <a:pt x="253" y="138"/>
                  <a:pt x="253" y="138"/>
                </a:cubicBezTo>
                <a:cubicBezTo>
                  <a:pt x="258" y="138"/>
                  <a:pt x="258" y="138"/>
                  <a:pt x="258" y="138"/>
                </a:cubicBezTo>
                <a:cubicBezTo>
                  <a:pt x="295" y="202"/>
                  <a:pt x="295" y="202"/>
                  <a:pt x="295" y="202"/>
                </a:cubicBezTo>
                <a:lnTo>
                  <a:pt x="277" y="199"/>
                </a:lnTo>
                <a:close/>
                <a:moveTo>
                  <a:pt x="224" y="352"/>
                </a:moveTo>
                <a:cubicBezTo>
                  <a:pt x="130" y="352"/>
                  <a:pt x="130" y="352"/>
                  <a:pt x="130" y="352"/>
                </a:cubicBezTo>
                <a:cubicBezTo>
                  <a:pt x="128" y="348"/>
                  <a:pt x="128" y="348"/>
                  <a:pt x="128" y="348"/>
                </a:cubicBezTo>
                <a:cubicBezTo>
                  <a:pt x="166" y="283"/>
                  <a:pt x="166" y="283"/>
                  <a:pt x="166" y="283"/>
                </a:cubicBezTo>
                <a:cubicBezTo>
                  <a:pt x="174" y="302"/>
                  <a:pt x="174" y="302"/>
                  <a:pt x="174" y="302"/>
                </a:cubicBezTo>
                <a:cubicBezTo>
                  <a:pt x="175" y="307"/>
                  <a:pt x="179" y="309"/>
                  <a:pt x="184" y="309"/>
                </a:cubicBezTo>
                <a:cubicBezTo>
                  <a:pt x="185" y="309"/>
                  <a:pt x="186" y="309"/>
                  <a:pt x="187" y="309"/>
                </a:cubicBezTo>
                <a:cubicBezTo>
                  <a:pt x="193" y="307"/>
                  <a:pt x="196" y="301"/>
                  <a:pt x="194" y="295"/>
                </a:cubicBezTo>
                <a:cubicBezTo>
                  <a:pt x="180" y="256"/>
                  <a:pt x="180" y="256"/>
                  <a:pt x="180" y="256"/>
                </a:cubicBezTo>
                <a:cubicBezTo>
                  <a:pt x="178" y="250"/>
                  <a:pt x="171" y="247"/>
                  <a:pt x="166" y="249"/>
                </a:cubicBezTo>
                <a:cubicBezTo>
                  <a:pt x="126" y="263"/>
                  <a:pt x="126" y="263"/>
                  <a:pt x="126" y="263"/>
                </a:cubicBezTo>
                <a:cubicBezTo>
                  <a:pt x="121" y="265"/>
                  <a:pt x="118" y="271"/>
                  <a:pt x="120" y="277"/>
                </a:cubicBezTo>
                <a:cubicBezTo>
                  <a:pt x="122" y="282"/>
                  <a:pt x="128" y="285"/>
                  <a:pt x="134" y="283"/>
                </a:cubicBezTo>
                <a:cubicBezTo>
                  <a:pt x="143" y="280"/>
                  <a:pt x="143" y="280"/>
                  <a:pt x="143" y="280"/>
                </a:cubicBezTo>
                <a:cubicBezTo>
                  <a:pt x="107" y="343"/>
                  <a:pt x="107" y="343"/>
                  <a:pt x="107" y="343"/>
                </a:cubicBezTo>
                <a:cubicBezTo>
                  <a:pt x="105" y="347"/>
                  <a:pt x="105" y="351"/>
                  <a:pt x="107" y="354"/>
                </a:cubicBezTo>
                <a:cubicBezTo>
                  <a:pt x="115" y="368"/>
                  <a:pt x="115" y="368"/>
                  <a:pt x="115" y="368"/>
                </a:cubicBezTo>
                <a:cubicBezTo>
                  <a:pt x="117" y="371"/>
                  <a:pt x="121" y="373"/>
                  <a:pt x="124" y="373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230" y="373"/>
                  <a:pt x="234" y="368"/>
                  <a:pt x="234" y="362"/>
                </a:cubicBezTo>
                <a:cubicBezTo>
                  <a:pt x="234" y="356"/>
                  <a:pt x="230" y="352"/>
                  <a:pt x="224" y="352"/>
                </a:cubicBezTo>
                <a:close/>
                <a:moveTo>
                  <a:pt x="405" y="343"/>
                </a:moveTo>
                <a:cubicBezTo>
                  <a:pt x="355" y="258"/>
                  <a:pt x="355" y="258"/>
                  <a:pt x="355" y="258"/>
                </a:cubicBezTo>
                <a:cubicBezTo>
                  <a:pt x="352" y="253"/>
                  <a:pt x="346" y="251"/>
                  <a:pt x="341" y="254"/>
                </a:cubicBezTo>
                <a:cubicBezTo>
                  <a:pt x="335" y="257"/>
                  <a:pt x="334" y="263"/>
                  <a:pt x="337" y="268"/>
                </a:cubicBezTo>
                <a:cubicBezTo>
                  <a:pt x="383" y="348"/>
                  <a:pt x="383" y="348"/>
                  <a:pt x="383" y="348"/>
                </a:cubicBezTo>
                <a:cubicBezTo>
                  <a:pt x="381" y="352"/>
                  <a:pt x="381" y="352"/>
                  <a:pt x="381" y="352"/>
                </a:cubicBezTo>
                <a:cubicBezTo>
                  <a:pt x="304" y="352"/>
                  <a:pt x="304" y="352"/>
                  <a:pt x="304" y="352"/>
                </a:cubicBezTo>
                <a:cubicBezTo>
                  <a:pt x="311" y="345"/>
                  <a:pt x="311" y="345"/>
                  <a:pt x="311" y="345"/>
                </a:cubicBezTo>
                <a:cubicBezTo>
                  <a:pt x="315" y="341"/>
                  <a:pt x="315" y="334"/>
                  <a:pt x="311" y="330"/>
                </a:cubicBezTo>
                <a:cubicBezTo>
                  <a:pt x="307" y="325"/>
                  <a:pt x="300" y="325"/>
                  <a:pt x="296" y="330"/>
                </a:cubicBezTo>
                <a:cubicBezTo>
                  <a:pt x="266" y="359"/>
                  <a:pt x="266" y="359"/>
                  <a:pt x="266" y="359"/>
                </a:cubicBezTo>
                <a:cubicBezTo>
                  <a:pt x="262" y="363"/>
                  <a:pt x="262" y="370"/>
                  <a:pt x="266" y="374"/>
                </a:cubicBezTo>
                <a:cubicBezTo>
                  <a:pt x="296" y="404"/>
                  <a:pt x="296" y="404"/>
                  <a:pt x="296" y="404"/>
                </a:cubicBezTo>
                <a:cubicBezTo>
                  <a:pt x="298" y="406"/>
                  <a:pt x="300" y="407"/>
                  <a:pt x="303" y="407"/>
                </a:cubicBezTo>
                <a:cubicBezTo>
                  <a:pt x="306" y="407"/>
                  <a:pt x="309" y="406"/>
                  <a:pt x="311" y="404"/>
                </a:cubicBezTo>
                <a:cubicBezTo>
                  <a:pt x="315" y="400"/>
                  <a:pt x="315" y="393"/>
                  <a:pt x="311" y="389"/>
                </a:cubicBezTo>
                <a:cubicBezTo>
                  <a:pt x="295" y="373"/>
                  <a:pt x="295" y="373"/>
                  <a:pt x="295" y="373"/>
                </a:cubicBezTo>
                <a:cubicBezTo>
                  <a:pt x="387" y="373"/>
                  <a:pt x="387" y="373"/>
                  <a:pt x="387" y="373"/>
                </a:cubicBezTo>
                <a:cubicBezTo>
                  <a:pt x="391" y="373"/>
                  <a:pt x="394" y="371"/>
                  <a:pt x="396" y="368"/>
                </a:cubicBezTo>
                <a:cubicBezTo>
                  <a:pt x="405" y="354"/>
                  <a:pt x="405" y="354"/>
                  <a:pt x="405" y="354"/>
                </a:cubicBezTo>
                <a:cubicBezTo>
                  <a:pt x="407" y="351"/>
                  <a:pt x="407" y="347"/>
                  <a:pt x="405" y="3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9" name="Freeform 591"/>
          <p:cNvSpPr>
            <a:spLocks noChangeAspect="1" noEditPoints="1"/>
          </p:cNvSpPr>
          <p:nvPr/>
        </p:nvSpPr>
        <p:spPr bwMode="auto">
          <a:xfrm>
            <a:off x="2430806" y="4575992"/>
            <a:ext cx="369021" cy="36902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95 w 512"/>
              <a:gd name="T5" fmla="*/ 202 h 512"/>
              <a:gd name="T6" fmla="*/ 253 w 512"/>
              <a:gd name="T7" fmla="*/ 138 h 512"/>
              <a:gd name="T8" fmla="*/ 192 w 512"/>
              <a:gd name="T9" fmla="*/ 222 h 512"/>
              <a:gd name="T10" fmla="*/ 237 w 512"/>
              <a:gd name="T11" fmla="*/ 121 h 512"/>
              <a:gd name="T12" fmla="*/ 264 w 512"/>
              <a:gd name="T13" fmla="*/ 117 h 512"/>
              <a:gd name="T14" fmla="*/ 273 w 512"/>
              <a:gd name="T15" fmla="*/ 122 h 512"/>
              <a:gd name="T16" fmla="*/ 314 w 512"/>
              <a:gd name="T17" fmla="*/ 174 h 512"/>
              <a:gd name="T18" fmla="*/ 335 w 512"/>
              <a:gd name="T19" fmla="*/ 177 h 512"/>
              <a:gd name="T20" fmla="*/ 317 w 512"/>
              <a:gd name="T21" fmla="*/ 227 h 512"/>
              <a:gd name="T22" fmla="*/ 274 w 512"/>
              <a:gd name="T23" fmla="*/ 220 h 512"/>
              <a:gd name="T24" fmla="*/ 277 w 512"/>
              <a:gd name="T25" fmla="*/ 199 h 512"/>
              <a:gd name="T26" fmla="*/ 234 w 512"/>
              <a:gd name="T27" fmla="*/ 362 h 512"/>
              <a:gd name="T28" fmla="*/ 124 w 512"/>
              <a:gd name="T29" fmla="*/ 373 h 512"/>
              <a:gd name="T30" fmla="*/ 107 w 512"/>
              <a:gd name="T31" fmla="*/ 354 h 512"/>
              <a:gd name="T32" fmla="*/ 143 w 512"/>
              <a:gd name="T33" fmla="*/ 280 h 512"/>
              <a:gd name="T34" fmla="*/ 120 w 512"/>
              <a:gd name="T35" fmla="*/ 277 h 512"/>
              <a:gd name="T36" fmla="*/ 166 w 512"/>
              <a:gd name="T37" fmla="*/ 249 h 512"/>
              <a:gd name="T38" fmla="*/ 194 w 512"/>
              <a:gd name="T39" fmla="*/ 295 h 512"/>
              <a:gd name="T40" fmla="*/ 184 w 512"/>
              <a:gd name="T41" fmla="*/ 309 h 512"/>
              <a:gd name="T42" fmla="*/ 166 w 512"/>
              <a:gd name="T43" fmla="*/ 283 h 512"/>
              <a:gd name="T44" fmla="*/ 130 w 512"/>
              <a:gd name="T45" fmla="*/ 352 h 512"/>
              <a:gd name="T46" fmla="*/ 234 w 512"/>
              <a:gd name="T47" fmla="*/ 362 h 512"/>
              <a:gd name="T48" fmla="*/ 396 w 512"/>
              <a:gd name="T49" fmla="*/ 368 h 512"/>
              <a:gd name="T50" fmla="*/ 295 w 512"/>
              <a:gd name="T51" fmla="*/ 373 h 512"/>
              <a:gd name="T52" fmla="*/ 311 w 512"/>
              <a:gd name="T53" fmla="*/ 404 h 512"/>
              <a:gd name="T54" fmla="*/ 296 w 512"/>
              <a:gd name="T55" fmla="*/ 404 h 512"/>
              <a:gd name="T56" fmla="*/ 266 w 512"/>
              <a:gd name="T57" fmla="*/ 359 h 512"/>
              <a:gd name="T58" fmla="*/ 311 w 512"/>
              <a:gd name="T59" fmla="*/ 330 h 512"/>
              <a:gd name="T60" fmla="*/ 304 w 512"/>
              <a:gd name="T61" fmla="*/ 352 h 512"/>
              <a:gd name="T62" fmla="*/ 383 w 512"/>
              <a:gd name="T63" fmla="*/ 348 h 512"/>
              <a:gd name="T64" fmla="*/ 341 w 512"/>
              <a:gd name="T65" fmla="*/ 254 h 512"/>
              <a:gd name="T66" fmla="*/ 405 w 512"/>
              <a:gd name="T67" fmla="*/ 34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202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3" y="138"/>
                  <a:pt x="253" y="138"/>
                  <a:pt x="253" y="138"/>
                </a:cubicBezTo>
                <a:cubicBezTo>
                  <a:pt x="206" y="218"/>
                  <a:pt x="206" y="218"/>
                  <a:pt x="206" y="218"/>
                </a:cubicBezTo>
                <a:cubicBezTo>
                  <a:pt x="203" y="224"/>
                  <a:pt x="197" y="225"/>
                  <a:pt x="192" y="222"/>
                </a:cubicBezTo>
                <a:cubicBezTo>
                  <a:pt x="186" y="219"/>
                  <a:pt x="185" y="212"/>
                  <a:pt x="188" y="207"/>
                </a:cubicBezTo>
                <a:cubicBezTo>
                  <a:pt x="237" y="121"/>
                  <a:pt x="237" y="121"/>
                  <a:pt x="237" y="121"/>
                </a:cubicBezTo>
                <a:cubicBezTo>
                  <a:pt x="239" y="118"/>
                  <a:pt x="243" y="116"/>
                  <a:pt x="247" y="116"/>
                </a:cubicBezTo>
                <a:cubicBezTo>
                  <a:pt x="264" y="117"/>
                  <a:pt x="264" y="117"/>
                  <a:pt x="264" y="117"/>
                </a:cubicBezTo>
                <a:cubicBezTo>
                  <a:pt x="264" y="117"/>
                  <a:pt x="264" y="117"/>
                  <a:pt x="264" y="117"/>
                </a:cubicBezTo>
                <a:cubicBezTo>
                  <a:pt x="267" y="117"/>
                  <a:pt x="271" y="118"/>
                  <a:pt x="273" y="122"/>
                </a:cubicBezTo>
                <a:cubicBezTo>
                  <a:pt x="311" y="187"/>
                  <a:pt x="311" y="187"/>
                  <a:pt x="311" y="187"/>
                </a:cubicBezTo>
                <a:cubicBezTo>
                  <a:pt x="314" y="174"/>
                  <a:pt x="314" y="174"/>
                  <a:pt x="314" y="174"/>
                </a:cubicBezTo>
                <a:cubicBezTo>
                  <a:pt x="315" y="168"/>
                  <a:pt x="320" y="164"/>
                  <a:pt x="326" y="165"/>
                </a:cubicBezTo>
                <a:cubicBezTo>
                  <a:pt x="332" y="166"/>
                  <a:pt x="336" y="171"/>
                  <a:pt x="335" y="177"/>
                </a:cubicBezTo>
                <a:cubicBezTo>
                  <a:pt x="327" y="219"/>
                  <a:pt x="327" y="219"/>
                  <a:pt x="327" y="219"/>
                </a:cubicBezTo>
                <a:cubicBezTo>
                  <a:pt x="326" y="224"/>
                  <a:pt x="322" y="227"/>
                  <a:pt x="317" y="227"/>
                </a:cubicBezTo>
                <a:cubicBezTo>
                  <a:pt x="316" y="227"/>
                  <a:pt x="315" y="227"/>
                  <a:pt x="315" y="227"/>
                </a:cubicBezTo>
                <a:cubicBezTo>
                  <a:pt x="274" y="220"/>
                  <a:pt x="274" y="220"/>
                  <a:pt x="274" y="220"/>
                </a:cubicBezTo>
                <a:cubicBezTo>
                  <a:pt x="268" y="219"/>
                  <a:pt x="264" y="213"/>
                  <a:pt x="265" y="207"/>
                </a:cubicBezTo>
                <a:cubicBezTo>
                  <a:pt x="266" y="202"/>
                  <a:pt x="271" y="198"/>
                  <a:pt x="277" y="199"/>
                </a:cubicBezTo>
                <a:lnTo>
                  <a:pt x="295" y="202"/>
                </a:lnTo>
                <a:close/>
                <a:moveTo>
                  <a:pt x="234" y="362"/>
                </a:moveTo>
                <a:cubicBezTo>
                  <a:pt x="234" y="368"/>
                  <a:pt x="230" y="373"/>
                  <a:pt x="224" y="373"/>
                </a:cubicBezTo>
                <a:cubicBezTo>
                  <a:pt x="124" y="373"/>
                  <a:pt x="124" y="373"/>
                  <a:pt x="124" y="373"/>
                </a:cubicBezTo>
                <a:cubicBezTo>
                  <a:pt x="121" y="373"/>
                  <a:pt x="117" y="371"/>
                  <a:pt x="115" y="368"/>
                </a:cubicBezTo>
                <a:cubicBezTo>
                  <a:pt x="107" y="354"/>
                  <a:pt x="107" y="354"/>
                  <a:pt x="107" y="354"/>
                </a:cubicBezTo>
                <a:cubicBezTo>
                  <a:pt x="105" y="351"/>
                  <a:pt x="105" y="347"/>
                  <a:pt x="107" y="343"/>
                </a:cubicBezTo>
                <a:cubicBezTo>
                  <a:pt x="143" y="280"/>
                  <a:pt x="143" y="280"/>
                  <a:pt x="143" y="280"/>
                </a:cubicBezTo>
                <a:cubicBezTo>
                  <a:pt x="134" y="283"/>
                  <a:pt x="134" y="283"/>
                  <a:pt x="134" y="283"/>
                </a:cubicBezTo>
                <a:cubicBezTo>
                  <a:pt x="128" y="285"/>
                  <a:pt x="122" y="282"/>
                  <a:pt x="120" y="277"/>
                </a:cubicBezTo>
                <a:cubicBezTo>
                  <a:pt x="118" y="271"/>
                  <a:pt x="121" y="265"/>
                  <a:pt x="126" y="263"/>
                </a:cubicBezTo>
                <a:cubicBezTo>
                  <a:pt x="166" y="249"/>
                  <a:pt x="166" y="249"/>
                  <a:pt x="166" y="249"/>
                </a:cubicBezTo>
                <a:cubicBezTo>
                  <a:pt x="171" y="247"/>
                  <a:pt x="178" y="250"/>
                  <a:pt x="180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196" y="301"/>
                  <a:pt x="193" y="307"/>
                  <a:pt x="187" y="309"/>
                </a:cubicBezTo>
                <a:cubicBezTo>
                  <a:pt x="186" y="309"/>
                  <a:pt x="185" y="309"/>
                  <a:pt x="184" y="309"/>
                </a:cubicBezTo>
                <a:cubicBezTo>
                  <a:pt x="179" y="309"/>
                  <a:pt x="175" y="307"/>
                  <a:pt x="174" y="302"/>
                </a:cubicBezTo>
                <a:cubicBezTo>
                  <a:pt x="166" y="283"/>
                  <a:pt x="166" y="283"/>
                  <a:pt x="166" y="283"/>
                </a:cubicBezTo>
                <a:cubicBezTo>
                  <a:pt x="128" y="348"/>
                  <a:pt x="128" y="348"/>
                  <a:pt x="128" y="348"/>
                </a:cubicBezTo>
                <a:cubicBezTo>
                  <a:pt x="130" y="352"/>
                  <a:pt x="130" y="352"/>
                  <a:pt x="130" y="352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30" y="352"/>
                  <a:pt x="234" y="356"/>
                  <a:pt x="234" y="362"/>
                </a:cubicBezTo>
                <a:close/>
                <a:moveTo>
                  <a:pt x="405" y="354"/>
                </a:moveTo>
                <a:cubicBezTo>
                  <a:pt x="396" y="368"/>
                  <a:pt x="396" y="368"/>
                  <a:pt x="396" y="368"/>
                </a:cubicBezTo>
                <a:cubicBezTo>
                  <a:pt x="394" y="371"/>
                  <a:pt x="391" y="373"/>
                  <a:pt x="387" y="373"/>
                </a:cubicBezTo>
                <a:cubicBezTo>
                  <a:pt x="295" y="373"/>
                  <a:pt x="295" y="373"/>
                  <a:pt x="295" y="373"/>
                </a:cubicBezTo>
                <a:cubicBezTo>
                  <a:pt x="311" y="389"/>
                  <a:pt x="311" y="389"/>
                  <a:pt x="311" y="389"/>
                </a:cubicBezTo>
                <a:cubicBezTo>
                  <a:pt x="315" y="393"/>
                  <a:pt x="315" y="400"/>
                  <a:pt x="311" y="404"/>
                </a:cubicBezTo>
                <a:cubicBezTo>
                  <a:pt x="309" y="406"/>
                  <a:pt x="306" y="407"/>
                  <a:pt x="303" y="407"/>
                </a:cubicBezTo>
                <a:cubicBezTo>
                  <a:pt x="300" y="407"/>
                  <a:pt x="298" y="406"/>
                  <a:pt x="296" y="404"/>
                </a:cubicBezTo>
                <a:cubicBezTo>
                  <a:pt x="266" y="374"/>
                  <a:pt x="266" y="374"/>
                  <a:pt x="266" y="374"/>
                </a:cubicBezTo>
                <a:cubicBezTo>
                  <a:pt x="262" y="370"/>
                  <a:pt x="262" y="363"/>
                  <a:pt x="266" y="359"/>
                </a:cubicBezTo>
                <a:cubicBezTo>
                  <a:pt x="296" y="330"/>
                  <a:pt x="296" y="330"/>
                  <a:pt x="296" y="330"/>
                </a:cubicBezTo>
                <a:cubicBezTo>
                  <a:pt x="300" y="325"/>
                  <a:pt x="307" y="325"/>
                  <a:pt x="311" y="330"/>
                </a:cubicBezTo>
                <a:cubicBezTo>
                  <a:pt x="315" y="334"/>
                  <a:pt x="315" y="341"/>
                  <a:pt x="311" y="345"/>
                </a:cubicBezTo>
                <a:cubicBezTo>
                  <a:pt x="304" y="352"/>
                  <a:pt x="304" y="352"/>
                  <a:pt x="304" y="352"/>
                </a:cubicBezTo>
                <a:cubicBezTo>
                  <a:pt x="381" y="352"/>
                  <a:pt x="381" y="352"/>
                  <a:pt x="381" y="352"/>
                </a:cubicBezTo>
                <a:cubicBezTo>
                  <a:pt x="383" y="348"/>
                  <a:pt x="383" y="348"/>
                  <a:pt x="383" y="348"/>
                </a:cubicBezTo>
                <a:cubicBezTo>
                  <a:pt x="337" y="268"/>
                  <a:pt x="337" y="268"/>
                  <a:pt x="337" y="268"/>
                </a:cubicBezTo>
                <a:cubicBezTo>
                  <a:pt x="334" y="263"/>
                  <a:pt x="335" y="257"/>
                  <a:pt x="341" y="254"/>
                </a:cubicBezTo>
                <a:cubicBezTo>
                  <a:pt x="346" y="251"/>
                  <a:pt x="352" y="253"/>
                  <a:pt x="355" y="258"/>
                </a:cubicBezTo>
                <a:cubicBezTo>
                  <a:pt x="405" y="343"/>
                  <a:pt x="405" y="343"/>
                  <a:pt x="405" y="343"/>
                </a:cubicBezTo>
                <a:cubicBezTo>
                  <a:pt x="407" y="347"/>
                  <a:pt x="407" y="351"/>
                  <a:pt x="405" y="35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38047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Media/technolog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73477" y="2464057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i-Fi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61295" y="2464057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Video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63930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elevision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62850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lider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62310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hone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63390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ablet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61770" y="246405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adphones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460151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oadcast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60690" y="246405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udio waves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61230" y="246405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udio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73477" y="3307685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lapper board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60116" y="3307685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Virtual reality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61572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mart watch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58134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bile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56415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aptop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59853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adset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454696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vie reel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9449536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evices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8451258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aker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7452977" y="330768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mera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62496" y="4131516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luetooth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50355" y="4131516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SB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53031" y="413151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ack overflow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452033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dcast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451534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adio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52532" y="413151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pload to Cloud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451035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tellite dish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9449536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istory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450037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QR Code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7450536" y="413151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tellite</a:t>
            </a:r>
          </a:p>
        </p:txBody>
      </p:sp>
      <p:grpSp>
        <p:nvGrpSpPr>
          <p:cNvPr id="256" name="Group 872"/>
          <p:cNvGrpSpPr>
            <a:grpSpLocks noChangeAspect="1"/>
          </p:cNvGrpSpPr>
          <p:nvPr/>
        </p:nvGrpSpPr>
        <p:grpSpPr bwMode="auto">
          <a:xfrm>
            <a:off x="952850" y="2049965"/>
            <a:ext cx="370763" cy="369676"/>
            <a:chOff x="2723" y="3051"/>
            <a:chExt cx="341" cy="340"/>
          </a:xfrm>
          <a:solidFill>
            <a:schemeClr val="accent3"/>
          </a:solidFill>
        </p:grpSpPr>
        <p:sp>
          <p:nvSpPr>
            <p:cNvPr id="257" name="Freeform 873"/>
            <p:cNvSpPr>
              <a:spLocks noEditPoints="1"/>
            </p:cNvSpPr>
            <p:nvPr/>
          </p:nvSpPr>
          <p:spPr bwMode="auto">
            <a:xfrm>
              <a:off x="2723" y="305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874"/>
            <p:cNvSpPr>
              <a:spLocks noEditPoints="1"/>
            </p:cNvSpPr>
            <p:nvPr/>
          </p:nvSpPr>
          <p:spPr bwMode="auto">
            <a:xfrm>
              <a:off x="2786" y="3143"/>
              <a:ext cx="215" cy="170"/>
            </a:xfrm>
            <a:custGeom>
              <a:avLst/>
              <a:gdLst>
                <a:gd name="T0" fmla="*/ 318 w 322"/>
                <a:gd name="T1" fmla="*/ 83 h 256"/>
                <a:gd name="T2" fmla="*/ 310 w 322"/>
                <a:gd name="T3" fmla="*/ 86 h 256"/>
                <a:gd name="T4" fmla="*/ 302 w 322"/>
                <a:gd name="T5" fmla="*/ 83 h 256"/>
                <a:gd name="T6" fmla="*/ 161 w 322"/>
                <a:gd name="T7" fmla="*/ 22 h 256"/>
                <a:gd name="T8" fmla="*/ 19 w 322"/>
                <a:gd name="T9" fmla="*/ 83 h 256"/>
                <a:gd name="T10" fmla="*/ 4 w 322"/>
                <a:gd name="T11" fmla="*/ 83 h 256"/>
                <a:gd name="T12" fmla="*/ 4 w 322"/>
                <a:gd name="T13" fmla="*/ 67 h 256"/>
                <a:gd name="T14" fmla="*/ 161 w 322"/>
                <a:gd name="T15" fmla="*/ 0 h 256"/>
                <a:gd name="T16" fmla="*/ 318 w 322"/>
                <a:gd name="T17" fmla="*/ 67 h 256"/>
                <a:gd name="T18" fmla="*/ 318 w 322"/>
                <a:gd name="T19" fmla="*/ 83 h 256"/>
                <a:gd name="T20" fmla="*/ 161 w 322"/>
                <a:gd name="T21" fmla="*/ 75 h 256"/>
                <a:gd name="T22" fmla="*/ 57 w 322"/>
                <a:gd name="T23" fmla="*/ 121 h 256"/>
                <a:gd name="T24" fmla="*/ 57 w 322"/>
                <a:gd name="T25" fmla="*/ 136 h 256"/>
                <a:gd name="T26" fmla="*/ 65 w 322"/>
                <a:gd name="T27" fmla="*/ 139 h 256"/>
                <a:gd name="T28" fmla="*/ 72 w 322"/>
                <a:gd name="T29" fmla="*/ 136 h 256"/>
                <a:gd name="T30" fmla="*/ 161 w 322"/>
                <a:gd name="T31" fmla="*/ 96 h 256"/>
                <a:gd name="T32" fmla="*/ 260 w 322"/>
                <a:gd name="T33" fmla="*/ 136 h 256"/>
                <a:gd name="T34" fmla="*/ 275 w 322"/>
                <a:gd name="T35" fmla="*/ 136 h 256"/>
                <a:gd name="T36" fmla="*/ 275 w 322"/>
                <a:gd name="T37" fmla="*/ 121 h 256"/>
                <a:gd name="T38" fmla="*/ 161 w 322"/>
                <a:gd name="T39" fmla="*/ 75 h 256"/>
                <a:gd name="T40" fmla="*/ 161 w 322"/>
                <a:gd name="T41" fmla="*/ 150 h 256"/>
                <a:gd name="T42" fmla="*/ 100 w 322"/>
                <a:gd name="T43" fmla="*/ 174 h 256"/>
                <a:gd name="T44" fmla="*/ 100 w 322"/>
                <a:gd name="T45" fmla="*/ 189 h 256"/>
                <a:gd name="T46" fmla="*/ 107 w 322"/>
                <a:gd name="T47" fmla="*/ 192 h 256"/>
                <a:gd name="T48" fmla="*/ 115 w 322"/>
                <a:gd name="T49" fmla="*/ 189 h 256"/>
                <a:gd name="T50" fmla="*/ 161 w 322"/>
                <a:gd name="T51" fmla="*/ 171 h 256"/>
                <a:gd name="T52" fmla="*/ 206 w 322"/>
                <a:gd name="T53" fmla="*/ 189 h 256"/>
                <a:gd name="T54" fmla="*/ 222 w 322"/>
                <a:gd name="T55" fmla="*/ 189 h 256"/>
                <a:gd name="T56" fmla="*/ 222 w 322"/>
                <a:gd name="T57" fmla="*/ 174 h 256"/>
                <a:gd name="T58" fmla="*/ 161 w 322"/>
                <a:gd name="T59" fmla="*/ 150 h 256"/>
                <a:gd name="T60" fmla="*/ 161 w 322"/>
                <a:gd name="T61" fmla="*/ 214 h 256"/>
                <a:gd name="T62" fmla="*/ 139 w 322"/>
                <a:gd name="T63" fmla="*/ 235 h 256"/>
                <a:gd name="T64" fmla="*/ 161 w 322"/>
                <a:gd name="T65" fmla="*/ 256 h 256"/>
                <a:gd name="T66" fmla="*/ 182 w 322"/>
                <a:gd name="T67" fmla="*/ 235 h 256"/>
                <a:gd name="T68" fmla="*/ 161 w 322"/>
                <a:gd name="T69" fmla="*/ 21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2" h="256">
                  <a:moveTo>
                    <a:pt x="318" y="83"/>
                  </a:moveTo>
                  <a:cubicBezTo>
                    <a:pt x="315" y="85"/>
                    <a:pt x="313" y="86"/>
                    <a:pt x="310" y="86"/>
                  </a:cubicBezTo>
                  <a:cubicBezTo>
                    <a:pt x="307" y="86"/>
                    <a:pt x="305" y="85"/>
                    <a:pt x="302" y="83"/>
                  </a:cubicBezTo>
                  <a:cubicBezTo>
                    <a:pt x="263" y="43"/>
                    <a:pt x="214" y="22"/>
                    <a:pt x="161" y="22"/>
                  </a:cubicBezTo>
                  <a:cubicBezTo>
                    <a:pt x="108" y="22"/>
                    <a:pt x="59" y="43"/>
                    <a:pt x="19" y="83"/>
                  </a:cubicBezTo>
                  <a:cubicBezTo>
                    <a:pt x="15" y="87"/>
                    <a:pt x="8" y="87"/>
                    <a:pt x="4" y="83"/>
                  </a:cubicBezTo>
                  <a:cubicBezTo>
                    <a:pt x="0" y="78"/>
                    <a:pt x="0" y="72"/>
                    <a:pt x="4" y="67"/>
                  </a:cubicBezTo>
                  <a:cubicBezTo>
                    <a:pt x="48" y="24"/>
                    <a:pt x="102" y="0"/>
                    <a:pt x="161" y="0"/>
                  </a:cubicBezTo>
                  <a:cubicBezTo>
                    <a:pt x="219" y="0"/>
                    <a:pt x="274" y="24"/>
                    <a:pt x="318" y="67"/>
                  </a:cubicBezTo>
                  <a:cubicBezTo>
                    <a:pt x="322" y="72"/>
                    <a:pt x="322" y="78"/>
                    <a:pt x="318" y="83"/>
                  </a:cubicBezTo>
                  <a:close/>
                  <a:moveTo>
                    <a:pt x="161" y="75"/>
                  </a:moveTo>
                  <a:cubicBezTo>
                    <a:pt x="121" y="75"/>
                    <a:pt x="88" y="90"/>
                    <a:pt x="57" y="121"/>
                  </a:cubicBezTo>
                  <a:cubicBezTo>
                    <a:pt x="53" y="125"/>
                    <a:pt x="53" y="132"/>
                    <a:pt x="57" y="136"/>
                  </a:cubicBezTo>
                  <a:cubicBezTo>
                    <a:pt x="59" y="138"/>
                    <a:pt x="62" y="139"/>
                    <a:pt x="65" y="139"/>
                  </a:cubicBezTo>
                  <a:cubicBezTo>
                    <a:pt x="67" y="139"/>
                    <a:pt x="70" y="138"/>
                    <a:pt x="72" y="136"/>
                  </a:cubicBezTo>
                  <a:cubicBezTo>
                    <a:pt x="99" y="109"/>
                    <a:pt x="127" y="96"/>
                    <a:pt x="161" y="96"/>
                  </a:cubicBezTo>
                  <a:cubicBezTo>
                    <a:pt x="197" y="96"/>
                    <a:pt x="235" y="111"/>
                    <a:pt x="260" y="136"/>
                  </a:cubicBezTo>
                  <a:cubicBezTo>
                    <a:pt x="264" y="140"/>
                    <a:pt x="271" y="140"/>
                    <a:pt x="275" y="136"/>
                  </a:cubicBezTo>
                  <a:cubicBezTo>
                    <a:pt x="279" y="132"/>
                    <a:pt x="279" y="125"/>
                    <a:pt x="275" y="121"/>
                  </a:cubicBezTo>
                  <a:cubicBezTo>
                    <a:pt x="247" y="93"/>
                    <a:pt x="203" y="75"/>
                    <a:pt x="161" y="75"/>
                  </a:cubicBezTo>
                  <a:close/>
                  <a:moveTo>
                    <a:pt x="161" y="150"/>
                  </a:moveTo>
                  <a:cubicBezTo>
                    <a:pt x="138" y="150"/>
                    <a:pt x="115" y="159"/>
                    <a:pt x="100" y="174"/>
                  </a:cubicBezTo>
                  <a:cubicBezTo>
                    <a:pt x="96" y="178"/>
                    <a:pt x="96" y="185"/>
                    <a:pt x="100" y="189"/>
                  </a:cubicBezTo>
                  <a:cubicBezTo>
                    <a:pt x="102" y="191"/>
                    <a:pt x="105" y="192"/>
                    <a:pt x="107" y="192"/>
                  </a:cubicBezTo>
                  <a:cubicBezTo>
                    <a:pt x="110" y="192"/>
                    <a:pt x="113" y="191"/>
                    <a:pt x="115" y="189"/>
                  </a:cubicBezTo>
                  <a:cubicBezTo>
                    <a:pt x="126" y="178"/>
                    <a:pt x="144" y="171"/>
                    <a:pt x="161" y="171"/>
                  </a:cubicBezTo>
                  <a:cubicBezTo>
                    <a:pt x="178" y="171"/>
                    <a:pt x="195" y="178"/>
                    <a:pt x="206" y="189"/>
                  </a:cubicBezTo>
                  <a:cubicBezTo>
                    <a:pt x="211" y="193"/>
                    <a:pt x="217" y="193"/>
                    <a:pt x="222" y="189"/>
                  </a:cubicBezTo>
                  <a:cubicBezTo>
                    <a:pt x="226" y="185"/>
                    <a:pt x="226" y="178"/>
                    <a:pt x="222" y="174"/>
                  </a:cubicBezTo>
                  <a:cubicBezTo>
                    <a:pt x="206" y="159"/>
                    <a:pt x="183" y="150"/>
                    <a:pt x="161" y="150"/>
                  </a:cubicBezTo>
                  <a:close/>
                  <a:moveTo>
                    <a:pt x="161" y="214"/>
                  </a:moveTo>
                  <a:cubicBezTo>
                    <a:pt x="149" y="214"/>
                    <a:pt x="139" y="223"/>
                    <a:pt x="139" y="235"/>
                  </a:cubicBezTo>
                  <a:cubicBezTo>
                    <a:pt x="139" y="247"/>
                    <a:pt x="149" y="256"/>
                    <a:pt x="161" y="256"/>
                  </a:cubicBezTo>
                  <a:cubicBezTo>
                    <a:pt x="172" y="256"/>
                    <a:pt x="182" y="247"/>
                    <a:pt x="182" y="235"/>
                  </a:cubicBezTo>
                  <a:cubicBezTo>
                    <a:pt x="182" y="223"/>
                    <a:pt x="172" y="214"/>
                    <a:pt x="161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9" name="Freeform 878"/>
          <p:cNvSpPr>
            <a:spLocks noChangeAspect="1" noEditPoints="1"/>
          </p:cNvSpPr>
          <p:nvPr/>
        </p:nvSpPr>
        <p:spPr bwMode="auto">
          <a:xfrm>
            <a:off x="454504" y="2049964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94 h 512"/>
              <a:gd name="T12" fmla="*/ 234 w 512"/>
              <a:gd name="T13" fmla="*/ 373 h 512"/>
              <a:gd name="T14" fmla="*/ 256 w 512"/>
              <a:gd name="T15" fmla="*/ 352 h 512"/>
              <a:gd name="T16" fmla="*/ 277 w 512"/>
              <a:gd name="T17" fmla="*/ 373 h 512"/>
              <a:gd name="T18" fmla="*/ 256 w 512"/>
              <a:gd name="T19" fmla="*/ 394 h 512"/>
              <a:gd name="T20" fmla="*/ 317 w 512"/>
              <a:gd name="T21" fmla="*/ 327 h 512"/>
              <a:gd name="T22" fmla="*/ 301 w 512"/>
              <a:gd name="T23" fmla="*/ 327 h 512"/>
              <a:gd name="T24" fmla="*/ 256 w 512"/>
              <a:gd name="T25" fmla="*/ 309 h 512"/>
              <a:gd name="T26" fmla="*/ 210 w 512"/>
              <a:gd name="T27" fmla="*/ 327 h 512"/>
              <a:gd name="T28" fmla="*/ 202 w 512"/>
              <a:gd name="T29" fmla="*/ 330 h 512"/>
              <a:gd name="T30" fmla="*/ 195 w 512"/>
              <a:gd name="T31" fmla="*/ 327 h 512"/>
              <a:gd name="T32" fmla="*/ 195 w 512"/>
              <a:gd name="T33" fmla="*/ 312 h 512"/>
              <a:gd name="T34" fmla="*/ 256 w 512"/>
              <a:gd name="T35" fmla="*/ 288 h 512"/>
              <a:gd name="T36" fmla="*/ 317 w 512"/>
              <a:gd name="T37" fmla="*/ 312 h 512"/>
              <a:gd name="T38" fmla="*/ 317 w 512"/>
              <a:gd name="T39" fmla="*/ 327 h 512"/>
              <a:gd name="T40" fmla="*/ 370 w 512"/>
              <a:gd name="T41" fmla="*/ 274 h 512"/>
              <a:gd name="T42" fmla="*/ 355 w 512"/>
              <a:gd name="T43" fmla="*/ 274 h 512"/>
              <a:gd name="T44" fmla="*/ 256 w 512"/>
              <a:gd name="T45" fmla="*/ 234 h 512"/>
              <a:gd name="T46" fmla="*/ 167 w 512"/>
              <a:gd name="T47" fmla="*/ 274 h 512"/>
              <a:gd name="T48" fmla="*/ 160 w 512"/>
              <a:gd name="T49" fmla="*/ 277 h 512"/>
              <a:gd name="T50" fmla="*/ 152 w 512"/>
              <a:gd name="T51" fmla="*/ 274 h 512"/>
              <a:gd name="T52" fmla="*/ 152 w 512"/>
              <a:gd name="T53" fmla="*/ 259 h 512"/>
              <a:gd name="T54" fmla="*/ 256 w 512"/>
              <a:gd name="T55" fmla="*/ 213 h 512"/>
              <a:gd name="T56" fmla="*/ 370 w 512"/>
              <a:gd name="T57" fmla="*/ 259 h 512"/>
              <a:gd name="T58" fmla="*/ 370 w 512"/>
              <a:gd name="T59" fmla="*/ 274 h 512"/>
              <a:gd name="T60" fmla="*/ 413 w 512"/>
              <a:gd name="T61" fmla="*/ 221 h 512"/>
              <a:gd name="T62" fmla="*/ 405 w 512"/>
              <a:gd name="T63" fmla="*/ 224 h 512"/>
              <a:gd name="T64" fmla="*/ 397 w 512"/>
              <a:gd name="T65" fmla="*/ 221 h 512"/>
              <a:gd name="T66" fmla="*/ 256 w 512"/>
              <a:gd name="T67" fmla="*/ 160 h 512"/>
              <a:gd name="T68" fmla="*/ 114 w 512"/>
              <a:gd name="T69" fmla="*/ 221 h 512"/>
              <a:gd name="T70" fmla="*/ 99 w 512"/>
              <a:gd name="T71" fmla="*/ 221 h 512"/>
              <a:gd name="T72" fmla="*/ 99 w 512"/>
              <a:gd name="T73" fmla="*/ 205 h 512"/>
              <a:gd name="T74" fmla="*/ 256 w 512"/>
              <a:gd name="T75" fmla="*/ 138 h 512"/>
              <a:gd name="T76" fmla="*/ 413 w 512"/>
              <a:gd name="T77" fmla="*/ 205 h 512"/>
              <a:gd name="T78" fmla="*/ 413 w 512"/>
              <a:gd name="T7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94"/>
                </a:moveTo>
                <a:cubicBezTo>
                  <a:pt x="244" y="394"/>
                  <a:pt x="234" y="385"/>
                  <a:pt x="234" y="373"/>
                </a:cubicBezTo>
                <a:cubicBezTo>
                  <a:pt x="234" y="361"/>
                  <a:pt x="244" y="352"/>
                  <a:pt x="256" y="352"/>
                </a:cubicBezTo>
                <a:cubicBezTo>
                  <a:pt x="267" y="352"/>
                  <a:pt x="277" y="361"/>
                  <a:pt x="277" y="373"/>
                </a:cubicBezTo>
                <a:cubicBezTo>
                  <a:pt x="277" y="385"/>
                  <a:pt x="267" y="394"/>
                  <a:pt x="256" y="394"/>
                </a:cubicBezTo>
                <a:close/>
                <a:moveTo>
                  <a:pt x="317" y="327"/>
                </a:moveTo>
                <a:cubicBezTo>
                  <a:pt x="312" y="331"/>
                  <a:pt x="306" y="331"/>
                  <a:pt x="301" y="327"/>
                </a:cubicBezTo>
                <a:cubicBezTo>
                  <a:pt x="290" y="316"/>
                  <a:pt x="273" y="309"/>
                  <a:pt x="256" y="309"/>
                </a:cubicBezTo>
                <a:cubicBezTo>
                  <a:pt x="239" y="309"/>
                  <a:pt x="221" y="316"/>
                  <a:pt x="210" y="327"/>
                </a:cubicBezTo>
                <a:cubicBezTo>
                  <a:pt x="208" y="329"/>
                  <a:pt x="205" y="330"/>
                  <a:pt x="202" y="330"/>
                </a:cubicBezTo>
                <a:cubicBezTo>
                  <a:pt x="200" y="330"/>
                  <a:pt x="197" y="329"/>
                  <a:pt x="195" y="327"/>
                </a:cubicBezTo>
                <a:cubicBezTo>
                  <a:pt x="191" y="323"/>
                  <a:pt x="191" y="316"/>
                  <a:pt x="195" y="312"/>
                </a:cubicBezTo>
                <a:cubicBezTo>
                  <a:pt x="210" y="297"/>
                  <a:pt x="233" y="288"/>
                  <a:pt x="256" y="288"/>
                </a:cubicBezTo>
                <a:cubicBezTo>
                  <a:pt x="278" y="288"/>
                  <a:pt x="301" y="297"/>
                  <a:pt x="317" y="312"/>
                </a:cubicBezTo>
                <a:cubicBezTo>
                  <a:pt x="321" y="316"/>
                  <a:pt x="321" y="323"/>
                  <a:pt x="317" y="327"/>
                </a:cubicBezTo>
                <a:close/>
                <a:moveTo>
                  <a:pt x="370" y="274"/>
                </a:moveTo>
                <a:cubicBezTo>
                  <a:pt x="366" y="278"/>
                  <a:pt x="359" y="278"/>
                  <a:pt x="355" y="274"/>
                </a:cubicBezTo>
                <a:cubicBezTo>
                  <a:pt x="330" y="249"/>
                  <a:pt x="292" y="234"/>
                  <a:pt x="256" y="234"/>
                </a:cubicBezTo>
                <a:cubicBezTo>
                  <a:pt x="222" y="234"/>
                  <a:pt x="194" y="247"/>
                  <a:pt x="167" y="274"/>
                </a:cubicBezTo>
                <a:cubicBezTo>
                  <a:pt x="165" y="276"/>
                  <a:pt x="162" y="277"/>
                  <a:pt x="160" y="277"/>
                </a:cubicBezTo>
                <a:cubicBezTo>
                  <a:pt x="157" y="277"/>
                  <a:pt x="154" y="276"/>
                  <a:pt x="152" y="274"/>
                </a:cubicBezTo>
                <a:cubicBezTo>
                  <a:pt x="148" y="270"/>
                  <a:pt x="148" y="263"/>
                  <a:pt x="152" y="259"/>
                </a:cubicBezTo>
                <a:cubicBezTo>
                  <a:pt x="183" y="228"/>
                  <a:pt x="216" y="213"/>
                  <a:pt x="256" y="213"/>
                </a:cubicBezTo>
                <a:cubicBezTo>
                  <a:pt x="298" y="213"/>
                  <a:pt x="342" y="231"/>
                  <a:pt x="370" y="259"/>
                </a:cubicBezTo>
                <a:cubicBezTo>
                  <a:pt x="374" y="263"/>
                  <a:pt x="374" y="270"/>
                  <a:pt x="370" y="274"/>
                </a:cubicBezTo>
                <a:close/>
                <a:moveTo>
                  <a:pt x="413" y="221"/>
                </a:moveTo>
                <a:cubicBezTo>
                  <a:pt x="410" y="223"/>
                  <a:pt x="408" y="224"/>
                  <a:pt x="405" y="224"/>
                </a:cubicBezTo>
                <a:cubicBezTo>
                  <a:pt x="402" y="224"/>
                  <a:pt x="400" y="223"/>
                  <a:pt x="397" y="221"/>
                </a:cubicBezTo>
                <a:cubicBezTo>
                  <a:pt x="358" y="181"/>
                  <a:pt x="309" y="160"/>
                  <a:pt x="256" y="160"/>
                </a:cubicBezTo>
                <a:cubicBezTo>
                  <a:pt x="203" y="160"/>
                  <a:pt x="154" y="181"/>
                  <a:pt x="114" y="221"/>
                </a:cubicBezTo>
                <a:cubicBezTo>
                  <a:pt x="110" y="225"/>
                  <a:pt x="103" y="225"/>
                  <a:pt x="99" y="221"/>
                </a:cubicBezTo>
                <a:cubicBezTo>
                  <a:pt x="95" y="216"/>
                  <a:pt x="95" y="210"/>
                  <a:pt x="99" y="205"/>
                </a:cubicBezTo>
                <a:cubicBezTo>
                  <a:pt x="143" y="162"/>
                  <a:pt x="197" y="138"/>
                  <a:pt x="256" y="138"/>
                </a:cubicBezTo>
                <a:cubicBezTo>
                  <a:pt x="314" y="138"/>
                  <a:pt x="369" y="162"/>
                  <a:pt x="413" y="205"/>
                </a:cubicBezTo>
                <a:cubicBezTo>
                  <a:pt x="417" y="210"/>
                  <a:pt x="417" y="216"/>
                  <a:pt x="413" y="22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0" name="Group 740"/>
          <p:cNvGrpSpPr>
            <a:grpSpLocks noChangeAspect="1"/>
          </p:cNvGrpSpPr>
          <p:nvPr/>
        </p:nvGrpSpPr>
        <p:grpSpPr bwMode="auto">
          <a:xfrm>
            <a:off x="1950629" y="2049968"/>
            <a:ext cx="369676" cy="370763"/>
            <a:chOff x="4293" y="2651"/>
            <a:chExt cx="340" cy="341"/>
          </a:xfrm>
          <a:solidFill>
            <a:schemeClr val="accent2"/>
          </a:solidFill>
        </p:grpSpPr>
        <p:sp>
          <p:nvSpPr>
            <p:cNvPr id="261" name="Freeform 741"/>
            <p:cNvSpPr>
              <a:spLocks noEditPoints="1"/>
            </p:cNvSpPr>
            <p:nvPr/>
          </p:nvSpPr>
          <p:spPr bwMode="auto">
            <a:xfrm>
              <a:off x="4293" y="265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742"/>
            <p:cNvSpPr>
              <a:spLocks noEditPoints="1"/>
            </p:cNvSpPr>
            <p:nvPr/>
          </p:nvSpPr>
          <p:spPr bwMode="auto">
            <a:xfrm>
              <a:off x="4357" y="2743"/>
              <a:ext cx="212" cy="156"/>
            </a:xfrm>
            <a:custGeom>
              <a:avLst/>
              <a:gdLst>
                <a:gd name="T0" fmla="*/ 224 w 320"/>
                <a:gd name="T1" fmla="*/ 235 h 235"/>
                <a:gd name="T2" fmla="*/ 10 w 320"/>
                <a:gd name="T3" fmla="*/ 235 h 235"/>
                <a:gd name="T4" fmla="*/ 0 w 320"/>
                <a:gd name="T5" fmla="*/ 224 h 235"/>
                <a:gd name="T6" fmla="*/ 0 w 320"/>
                <a:gd name="T7" fmla="*/ 11 h 235"/>
                <a:gd name="T8" fmla="*/ 10 w 320"/>
                <a:gd name="T9" fmla="*/ 0 h 235"/>
                <a:gd name="T10" fmla="*/ 224 w 320"/>
                <a:gd name="T11" fmla="*/ 0 h 235"/>
                <a:gd name="T12" fmla="*/ 234 w 320"/>
                <a:gd name="T13" fmla="*/ 11 h 235"/>
                <a:gd name="T14" fmla="*/ 234 w 320"/>
                <a:gd name="T15" fmla="*/ 58 h 235"/>
                <a:gd name="T16" fmla="*/ 304 w 320"/>
                <a:gd name="T17" fmla="*/ 23 h 235"/>
                <a:gd name="T18" fmla="*/ 315 w 320"/>
                <a:gd name="T19" fmla="*/ 23 h 235"/>
                <a:gd name="T20" fmla="*/ 320 w 320"/>
                <a:gd name="T21" fmla="*/ 32 h 235"/>
                <a:gd name="T22" fmla="*/ 320 w 320"/>
                <a:gd name="T23" fmla="*/ 203 h 235"/>
                <a:gd name="T24" fmla="*/ 315 w 320"/>
                <a:gd name="T25" fmla="*/ 212 h 235"/>
                <a:gd name="T26" fmla="*/ 304 w 320"/>
                <a:gd name="T27" fmla="*/ 213 h 235"/>
                <a:gd name="T28" fmla="*/ 234 w 320"/>
                <a:gd name="T29" fmla="*/ 178 h 235"/>
                <a:gd name="T30" fmla="*/ 234 w 320"/>
                <a:gd name="T31" fmla="*/ 224 h 235"/>
                <a:gd name="T32" fmla="*/ 224 w 320"/>
                <a:gd name="T33" fmla="*/ 235 h 235"/>
                <a:gd name="T34" fmla="*/ 21 w 320"/>
                <a:gd name="T35" fmla="*/ 214 h 235"/>
                <a:gd name="T36" fmla="*/ 213 w 320"/>
                <a:gd name="T37" fmla="*/ 214 h 235"/>
                <a:gd name="T38" fmla="*/ 213 w 320"/>
                <a:gd name="T39" fmla="*/ 160 h 235"/>
                <a:gd name="T40" fmla="*/ 218 w 320"/>
                <a:gd name="T41" fmla="*/ 151 h 235"/>
                <a:gd name="T42" fmla="*/ 228 w 320"/>
                <a:gd name="T43" fmla="*/ 151 h 235"/>
                <a:gd name="T44" fmla="*/ 298 w 320"/>
                <a:gd name="T45" fmla="*/ 186 h 235"/>
                <a:gd name="T46" fmla="*/ 298 w 320"/>
                <a:gd name="T47" fmla="*/ 50 h 235"/>
                <a:gd name="T48" fmla="*/ 228 w 320"/>
                <a:gd name="T49" fmla="*/ 85 h 235"/>
                <a:gd name="T50" fmla="*/ 218 w 320"/>
                <a:gd name="T51" fmla="*/ 84 h 235"/>
                <a:gd name="T52" fmla="*/ 213 w 320"/>
                <a:gd name="T53" fmla="*/ 75 h 235"/>
                <a:gd name="T54" fmla="*/ 213 w 320"/>
                <a:gd name="T55" fmla="*/ 22 h 235"/>
                <a:gd name="T56" fmla="*/ 21 w 320"/>
                <a:gd name="T57" fmla="*/ 22 h 235"/>
                <a:gd name="T58" fmla="*/ 21 w 320"/>
                <a:gd name="T59" fmla="*/ 21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0" h="235">
                  <a:moveTo>
                    <a:pt x="224" y="235"/>
                  </a:moveTo>
                  <a:cubicBezTo>
                    <a:pt x="10" y="235"/>
                    <a:pt x="10" y="235"/>
                    <a:pt x="10" y="235"/>
                  </a:cubicBezTo>
                  <a:cubicBezTo>
                    <a:pt x="4" y="235"/>
                    <a:pt x="0" y="230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30" y="0"/>
                    <a:pt x="234" y="5"/>
                    <a:pt x="234" y="11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304" y="23"/>
                    <a:pt x="304" y="23"/>
                    <a:pt x="304" y="23"/>
                  </a:cubicBezTo>
                  <a:cubicBezTo>
                    <a:pt x="308" y="21"/>
                    <a:pt x="311" y="21"/>
                    <a:pt x="315" y="23"/>
                  </a:cubicBezTo>
                  <a:cubicBezTo>
                    <a:pt x="318" y="25"/>
                    <a:pt x="320" y="29"/>
                    <a:pt x="320" y="32"/>
                  </a:cubicBezTo>
                  <a:cubicBezTo>
                    <a:pt x="320" y="203"/>
                    <a:pt x="320" y="203"/>
                    <a:pt x="320" y="203"/>
                  </a:cubicBezTo>
                  <a:cubicBezTo>
                    <a:pt x="320" y="207"/>
                    <a:pt x="318" y="210"/>
                    <a:pt x="315" y="212"/>
                  </a:cubicBezTo>
                  <a:cubicBezTo>
                    <a:pt x="311" y="214"/>
                    <a:pt x="308" y="214"/>
                    <a:pt x="304" y="213"/>
                  </a:cubicBezTo>
                  <a:cubicBezTo>
                    <a:pt x="234" y="178"/>
                    <a:pt x="234" y="178"/>
                    <a:pt x="234" y="178"/>
                  </a:cubicBezTo>
                  <a:cubicBezTo>
                    <a:pt x="234" y="224"/>
                    <a:pt x="234" y="224"/>
                    <a:pt x="234" y="224"/>
                  </a:cubicBezTo>
                  <a:cubicBezTo>
                    <a:pt x="234" y="230"/>
                    <a:pt x="230" y="235"/>
                    <a:pt x="224" y="235"/>
                  </a:cubicBezTo>
                  <a:close/>
                  <a:moveTo>
                    <a:pt x="21" y="214"/>
                  </a:moveTo>
                  <a:cubicBezTo>
                    <a:pt x="213" y="214"/>
                    <a:pt x="213" y="214"/>
                    <a:pt x="213" y="214"/>
                  </a:cubicBezTo>
                  <a:cubicBezTo>
                    <a:pt x="213" y="160"/>
                    <a:pt x="213" y="160"/>
                    <a:pt x="213" y="160"/>
                  </a:cubicBezTo>
                  <a:cubicBezTo>
                    <a:pt x="213" y="157"/>
                    <a:pt x="215" y="153"/>
                    <a:pt x="218" y="151"/>
                  </a:cubicBezTo>
                  <a:cubicBezTo>
                    <a:pt x="221" y="149"/>
                    <a:pt x="225" y="149"/>
                    <a:pt x="228" y="151"/>
                  </a:cubicBezTo>
                  <a:cubicBezTo>
                    <a:pt x="298" y="186"/>
                    <a:pt x="298" y="186"/>
                    <a:pt x="298" y="186"/>
                  </a:cubicBezTo>
                  <a:cubicBezTo>
                    <a:pt x="298" y="50"/>
                    <a:pt x="298" y="50"/>
                    <a:pt x="298" y="50"/>
                  </a:cubicBezTo>
                  <a:cubicBezTo>
                    <a:pt x="228" y="85"/>
                    <a:pt x="228" y="85"/>
                    <a:pt x="228" y="85"/>
                  </a:cubicBezTo>
                  <a:cubicBezTo>
                    <a:pt x="225" y="86"/>
                    <a:pt x="221" y="86"/>
                    <a:pt x="218" y="84"/>
                  </a:cubicBezTo>
                  <a:cubicBezTo>
                    <a:pt x="215" y="82"/>
                    <a:pt x="213" y="79"/>
                    <a:pt x="213" y="75"/>
                  </a:cubicBezTo>
                  <a:cubicBezTo>
                    <a:pt x="213" y="22"/>
                    <a:pt x="213" y="22"/>
                    <a:pt x="213" y="22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1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3" name="Freeform 746"/>
          <p:cNvSpPr>
            <a:spLocks noChangeAspect="1" noEditPoints="1"/>
          </p:cNvSpPr>
          <p:nvPr/>
        </p:nvSpPr>
        <p:spPr bwMode="auto">
          <a:xfrm>
            <a:off x="1452283" y="2049965"/>
            <a:ext cx="369676" cy="369676"/>
          </a:xfrm>
          <a:custGeom>
            <a:avLst/>
            <a:gdLst>
              <a:gd name="T0" fmla="*/ 324 w 512"/>
              <a:gd name="T1" fmla="*/ 223 h 512"/>
              <a:gd name="T2" fmla="*/ 394 w 512"/>
              <a:gd name="T3" fmla="*/ 188 h 512"/>
              <a:gd name="T4" fmla="*/ 394 w 512"/>
              <a:gd name="T5" fmla="*/ 324 h 512"/>
              <a:gd name="T6" fmla="*/ 324 w 512"/>
              <a:gd name="T7" fmla="*/ 289 h 512"/>
              <a:gd name="T8" fmla="*/ 314 w 512"/>
              <a:gd name="T9" fmla="*/ 289 h 512"/>
              <a:gd name="T10" fmla="*/ 309 w 512"/>
              <a:gd name="T11" fmla="*/ 298 h 512"/>
              <a:gd name="T12" fmla="*/ 309 w 512"/>
              <a:gd name="T13" fmla="*/ 352 h 512"/>
              <a:gd name="T14" fmla="*/ 117 w 512"/>
              <a:gd name="T15" fmla="*/ 352 h 512"/>
              <a:gd name="T16" fmla="*/ 117 w 512"/>
              <a:gd name="T17" fmla="*/ 160 h 512"/>
              <a:gd name="T18" fmla="*/ 309 w 512"/>
              <a:gd name="T19" fmla="*/ 160 h 512"/>
              <a:gd name="T20" fmla="*/ 309 w 512"/>
              <a:gd name="T21" fmla="*/ 213 h 512"/>
              <a:gd name="T22" fmla="*/ 314 w 512"/>
              <a:gd name="T23" fmla="*/ 222 h 512"/>
              <a:gd name="T24" fmla="*/ 324 w 512"/>
              <a:gd name="T25" fmla="*/ 223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416 w 512"/>
              <a:gd name="T37" fmla="*/ 170 h 512"/>
              <a:gd name="T38" fmla="*/ 411 w 512"/>
              <a:gd name="T39" fmla="*/ 161 h 512"/>
              <a:gd name="T40" fmla="*/ 400 w 512"/>
              <a:gd name="T41" fmla="*/ 161 h 512"/>
              <a:gd name="T42" fmla="*/ 330 w 512"/>
              <a:gd name="T43" fmla="*/ 196 h 512"/>
              <a:gd name="T44" fmla="*/ 330 w 512"/>
              <a:gd name="T45" fmla="*/ 149 h 512"/>
              <a:gd name="T46" fmla="*/ 320 w 512"/>
              <a:gd name="T47" fmla="*/ 138 h 512"/>
              <a:gd name="T48" fmla="*/ 106 w 512"/>
              <a:gd name="T49" fmla="*/ 138 h 512"/>
              <a:gd name="T50" fmla="*/ 96 w 512"/>
              <a:gd name="T51" fmla="*/ 149 h 512"/>
              <a:gd name="T52" fmla="*/ 96 w 512"/>
              <a:gd name="T53" fmla="*/ 362 h 512"/>
              <a:gd name="T54" fmla="*/ 106 w 512"/>
              <a:gd name="T55" fmla="*/ 373 h 512"/>
              <a:gd name="T56" fmla="*/ 320 w 512"/>
              <a:gd name="T57" fmla="*/ 373 h 512"/>
              <a:gd name="T58" fmla="*/ 330 w 512"/>
              <a:gd name="T59" fmla="*/ 362 h 512"/>
              <a:gd name="T60" fmla="*/ 330 w 512"/>
              <a:gd name="T61" fmla="*/ 316 h 512"/>
              <a:gd name="T62" fmla="*/ 400 w 512"/>
              <a:gd name="T63" fmla="*/ 351 h 512"/>
              <a:gd name="T64" fmla="*/ 411 w 512"/>
              <a:gd name="T65" fmla="*/ 350 h 512"/>
              <a:gd name="T66" fmla="*/ 416 w 512"/>
              <a:gd name="T67" fmla="*/ 341 h 512"/>
              <a:gd name="T68" fmla="*/ 416 w 512"/>
              <a:gd name="T69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24" y="223"/>
                </a:moveTo>
                <a:cubicBezTo>
                  <a:pt x="394" y="188"/>
                  <a:pt x="394" y="188"/>
                  <a:pt x="394" y="188"/>
                </a:cubicBezTo>
                <a:cubicBezTo>
                  <a:pt x="394" y="324"/>
                  <a:pt x="394" y="324"/>
                  <a:pt x="394" y="324"/>
                </a:cubicBezTo>
                <a:cubicBezTo>
                  <a:pt x="324" y="289"/>
                  <a:pt x="324" y="289"/>
                  <a:pt x="324" y="289"/>
                </a:cubicBezTo>
                <a:cubicBezTo>
                  <a:pt x="321" y="287"/>
                  <a:pt x="317" y="287"/>
                  <a:pt x="314" y="289"/>
                </a:cubicBezTo>
                <a:cubicBezTo>
                  <a:pt x="311" y="291"/>
                  <a:pt x="309" y="295"/>
                  <a:pt x="309" y="298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309" y="160"/>
                  <a:pt x="309" y="160"/>
                  <a:pt x="309" y="160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17"/>
                  <a:pt x="311" y="220"/>
                  <a:pt x="314" y="222"/>
                </a:cubicBezTo>
                <a:cubicBezTo>
                  <a:pt x="317" y="224"/>
                  <a:pt x="321" y="224"/>
                  <a:pt x="324" y="22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70"/>
                </a:moveTo>
                <a:cubicBezTo>
                  <a:pt x="416" y="167"/>
                  <a:pt x="414" y="163"/>
                  <a:pt x="411" y="161"/>
                </a:cubicBezTo>
                <a:cubicBezTo>
                  <a:pt x="407" y="159"/>
                  <a:pt x="404" y="159"/>
                  <a:pt x="400" y="161"/>
                </a:cubicBezTo>
                <a:cubicBezTo>
                  <a:pt x="330" y="196"/>
                  <a:pt x="330" y="196"/>
                  <a:pt x="330" y="196"/>
                </a:cubicBezTo>
                <a:cubicBezTo>
                  <a:pt x="330" y="149"/>
                  <a:pt x="330" y="149"/>
                  <a:pt x="330" y="149"/>
                </a:cubicBezTo>
                <a:cubicBezTo>
                  <a:pt x="330" y="143"/>
                  <a:pt x="326" y="138"/>
                  <a:pt x="320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320" y="373"/>
                  <a:pt x="320" y="373"/>
                  <a:pt x="320" y="373"/>
                </a:cubicBezTo>
                <a:cubicBezTo>
                  <a:pt x="326" y="373"/>
                  <a:pt x="330" y="368"/>
                  <a:pt x="330" y="362"/>
                </a:cubicBezTo>
                <a:cubicBezTo>
                  <a:pt x="330" y="316"/>
                  <a:pt x="330" y="316"/>
                  <a:pt x="330" y="316"/>
                </a:cubicBezTo>
                <a:cubicBezTo>
                  <a:pt x="400" y="351"/>
                  <a:pt x="400" y="351"/>
                  <a:pt x="400" y="351"/>
                </a:cubicBezTo>
                <a:cubicBezTo>
                  <a:pt x="404" y="352"/>
                  <a:pt x="407" y="352"/>
                  <a:pt x="411" y="350"/>
                </a:cubicBezTo>
                <a:cubicBezTo>
                  <a:pt x="414" y="348"/>
                  <a:pt x="416" y="345"/>
                  <a:pt x="416" y="341"/>
                </a:cubicBezTo>
                <a:lnTo>
                  <a:pt x="416" y="1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4" name="Group 414"/>
          <p:cNvGrpSpPr>
            <a:grpSpLocks noChangeAspect="1"/>
          </p:cNvGrpSpPr>
          <p:nvPr/>
        </p:nvGrpSpPr>
        <p:grpSpPr bwMode="auto">
          <a:xfrm>
            <a:off x="2947321" y="2049968"/>
            <a:ext cx="369676" cy="370763"/>
            <a:chOff x="5060" y="1524"/>
            <a:chExt cx="340" cy="341"/>
          </a:xfrm>
          <a:solidFill>
            <a:schemeClr val="accent5"/>
          </a:solidFill>
        </p:grpSpPr>
        <p:sp>
          <p:nvSpPr>
            <p:cNvPr id="265" name="Freeform 415"/>
            <p:cNvSpPr>
              <a:spLocks noEditPoints="1"/>
            </p:cNvSpPr>
            <p:nvPr/>
          </p:nvSpPr>
          <p:spPr bwMode="auto">
            <a:xfrm>
              <a:off x="5124" y="1623"/>
              <a:ext cx="212" cy="157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03 h 235"/>
                <a:gd name="T8" fmla="*/ 10 w 320"/>
                <a:gd name="T9" fmla="*/ 213 h 235"/>
                <a:gd name="T10" fmla="*/ 96 w 320"/>
                <a:gd name="T11" fmla="*/ 213 h 235"/>
                <a:gd name="T12" fmla="*/ 85 w 320"/>
                <a:gd name="T13" fmla="*/ 224 h 235"/>
                <a:gd name="T14" fmla="*/ 96 w 320"/>
                <a:gd name="T15" fmla="*/ 235 h 235"/>
                <a:gd name="T16" fmla="*/ 224 w 320"/>
                <a:gd name="T17" fmla="*/ 235 h 235"/>
                <a:gd name="T18" fmla="*/ 234 w 320"/>
                <a:gd name="T19" fmla="*/ 224 h 235"/>
                <a:gd name="T20" fmla="*/ 224 w 320"/>
                <a:gd name="T21" fmla="*/ 213 h 235"/>
                <a:gd name="T22" fmla="*/ 309 w 320"/>
                <a:gd name="T23" fmla="*/ 213 h 235"/>
                <a:gd name="T24" fmla="*/ 320 w 320"/>
                <a:gd name="T25" fmla="*/ 203 h 235"/>
                <a:gd name="T26" fmla="*/ 320 w 320"/>
                <a:gd name="T27" fmla="*/ 11 h 235"/>
                <a:gd name="T28" fmla="*/ 309 w 320"/>
                <a:gd name="T29" fmla="*/ 0 h 235"/>
                <a:gd name="T30" fmla="*/ 298 w 320"/>
                <a:gd name="T31" fmla="*/ 192 h 235"/>
                <a:gd name="T32" fmla="*/ 21 w 320"/>
                <a:gd name="T33" fmla="*/ 192 h 235"/>
                <a:gd name="T34" fmla="*/ 21 w 320"/>
                <a:gd name="T35" fmla="*/ 21 h 235"/>
                <a:gd name="T36" fmla="*/ 298 w 320"/>
                <a:gd name="T37" fmla="*/ 21 h 235"/>
                <a:gd name="T38" fmla="*/ 298 w 320"/>
                <a:gd name="T39" fmla="*/ 19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3"/>
                    <a:pt x="10" y="213"/>
                  </a:cubicBezTo>
                  <a:cubicBezTo>
                    <a:pt x="96" y="213"/>
                    <a:pt x="96" y="213"/>
                    <a:pt x="96" y="213"/>
                  </a:cubicBezTo>
                  <a:cubicBezTo>
                    <a:pt x="90" y="213"/>
                    <a:pt x="85" y="218"/>
                    <a:pt x="85" y="224"/>
                  </a:cubicBezTo>
                  <a:cubicBezTo>
                    <a:pt x="85" y="230"/>
                    <a:pt x="90" y="235"/>
                    <a:pt x="96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0" y="235"/>
                    <a:pt x="234" y="230"/>
                    <a:pt x="234" y="224"/>
                  </a:cubicBezTo>
                  <a:cubicBezTo>
                    <a:pt x="234" y="218"/>
                    <a:pt x="230" y="213"/>
                    <a:pt x="224" y="213"/>
                  </a:cubicBezTo>
                  <a:cubicBezTo>
                    <a:pt x="309" y="213"/>
                    <a:pt x="309" y="213"/>
                    <a:pt x="309" y="213"/>
                  </a:cubicBezTo>
                  <a:cubicBezTo>
                    <a:pt x="315" y="213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98" y="21"/>
                    <a:pt x="298" y="21"/>
                    <a:pt x="298" y="21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416"/>
            <p:cNvSpPr>
              <a:spLocks noEditPoints="1"/>
            </p:cNvSpPr>
            <p:nvPr/>
          </p:nvSpPr>
          <p:spPr bwMode="auto">
            <a:xfrm>
              <a:off x="5060" y="1524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7" name="Freeform 420"/>
          <p:cNvSpPr>
            <a:spLocks noChangeAspect="1" noEditPoints="1"/>
          </p:cNvSpPr>
          <p:nvPr/>
        </p:nvSpPr>
        <p:spPr bwMode="auto">
          <a:xfrm>
            <a:off x="2448975" y="2049965"/>
            <a:ext cx="369676" cy="369676"/>
          </a:xfrm>
          <a:custGeom>
            <a:avLst/>
            <a:gdLst>
              <a:gd name="T0" fmla="*/ 117 w 512"/>
              <a:gd name="T1" fmla="*/ 170 h 512"/>
              <a:gd name="T2" fmla="*/ 394 w 512"/>
              <a:gd name="T3" fmla="*/ 170 h 512"/>
              <a:gd name="T4" fmla="*/ 394 w 512"/>
              <a:gd name="T5" fmla="*/ 341 h 512"/>
              <a:gd name="T6" fmla="*/ 117 w 512"/>
              <a:gd name="T7" fmla="*/ 341 h 512"/>
              <a:gd name="T8" fmla="*/ 117 w 512"/>
              <a:gd name="T9" fmla="*/ 170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416 w 512"/>
              <a:gd name="T21" fmla="*/ 160 h 512"/>
              <a:gd name="T22" fmla="*/ 405 w 512"/>
              <a:gd name="T23" fmla="*/ 149 h 512"/>
              <a:gd name="T24" fmla="*/ 106 w 512"/>
              <a:gd name="T25" fmla="*/ 149 h 512"/>
              <a:gd name="T26" fmla="*/ 96 w 512"/>
              <a:gd name="T27" fmla="*/ 160 h 512"/>
              <a:gd name="T28" fmla="*/ 96 w 512"/>
              <a:gd name="T29" fmla="*/ 352 h 512"/>
              <a:gd name="T30" fmla="*/ 106 w 512"/>
              <a:gd name="T31" fmla="*/ 362 h 512"/>
              <a:gd name="T32" fmla="*/ 192 w 512"/>
              <a:gd name="T33" fmla="*/ 362 h 512"/>
              <a:gd name="T34" fmla="*/ 181 w 512"/>
              <a:gd name="T35" fmla="*/ 373 h 512"/>
              <a:gd name="T36" fmla="*/ 192 w 512"/>
              <a:gd name="T37" fmla="*/ 384 h 512"/>
              <a:gd name="T38" fmla="*/ 320 w 512"/>
              <a:gd name="T39" fmla="*/ 384 h 512"/>
              <a:gd name="T40" fmla="*/ 330 w 512"/>
              <a:gd name="T41" fmla="*/ 373 h 512"/>
              <a:gd name="T42" fmla="*/ 320 w 512"/>
              <a:gd name="T43" fmla="*/ 362 h 512"/>
              <a:gd name="T44" fmla="*/ 405 w 512"/>
              <a:gd name="T45" fmla="*/ 362 h 512"/>
              <a:gd name="T46" fmla="*/ 416 w 512"/>
              <a:gd name="T47" fmla="*/ 352 h 512"/>
              <a:gd name="T48" fmla="*/ 416 w 512"/>
              <a:gd name="T49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117" y="170"/>
                </a:moveTo>
                <a:cubicBezTo>
                  <a:pt x="394" y="170"/>
                  <a:pt x="394" y="170"/>
                  <a:pt x="394" y="170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117" y="341"/>
                  <a:pt x="117" y="341"/>
                  <a:pt x="117" y="341"/>
                </a:cubicBezTo>
                <a:lnTo>
                  <a:pt x="117" y="17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60"/>
                </a:moveTo>
                <a:cubicBezTo>
                  <a:pt x="416" y="154"/>
                  <a:pt x="411" y="149"/>
                  <a:pt x="405" y="149"/>
                </a:cubicBezTo>
                <a:cubicBezTo>
                  <a:pt x="106" y="149"/>
                  <a:pt x="106" y="149"/>
                  <a:pt x="106" y="149"/>
                </a:cubicBezTo>
                <a:cubicBezTo>
                  <a:pt x="100" y="149"/>
                  <a:pt x="96" y="154"/>
                  <a:pt x="96" y="160"/>
                </a:cubicBezTo>
                <a:cubicBezTo>
                  <a:pt x="96" y="352"/>
                  <a:pt x="96" y="352"/>
                  <a:pt x="96" y="352"/>
                </a:cubicBezTo>
                <a:cubicBezTo>
                  <a:pt x="96" y="358"/>
                  <a:pt x="100" y="362"/>
                  <a:pt x="106" y="362"/>
                </a:cubicBezTo>
                <a:cubicBezTo>
                  <a:pt x="192" y="362"/>
                  <a:pt x="192" y="362"/>
                  <a:pt x="192" y="362"/>
                </a:cubicBezTo>
                <a:cubicBezTo>
                  <a:pt x="186" y="362"/>
                  <a:pt x="181" y="367"/>
                  <a:pt x="181" y="373"/>
                </a:cubicBezTo>
                <a:cubicBezTo>
                  <a:pt x="181" y="379"/>
                  <a:pt x="186" y="384"/>
                  <a:pt x="192" y="384"/>
                </a:cubicBezTo>
                <a:cubicBezTo>
                  <a:pt x="320" y="384"/>
                  <a:pt x="320" y="384"/>
                  <a:pt x="320" y="384"/>
                </a:cubicBezTo>
                <a:cubicBezTo>
                  <a:pt x="326" y="384"/>
                  <a:pt x="330" y="379"/>
                  <a:pt x="330" y="373"/>
                </a:cubicBezTo>
                <a:cubicBezTo>
                  <a:pt x="330" y="367"/>
                  <a:pt x="326" y="362"/>
                  <a:pt x="320" y="362"/>
                </a:cubicBezTo>
                <a:cubicBezTo>
                  <a:pt x="405" y="362"/>
                  <a:pt x="405" y="362"/>
                  <a:pt x="405" y="362"/>
                </a:cubicBezTo>
                <a:cubicBezTo>
                  <a:pt x="411" y="362"/>
                  <a:pt x="416" y="358"/>
                  <a:pt x="416" y="352"/>
                </a:cubicBezTo>
                <a:lnTo>
                  <a:pt x="416" y="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8" name="Group 459"/>
          <p:cNvGrpSpPr>
            <a:grpSpLocks noChangeAspect="1"/>
          </p:cNvGrpSpPr>
          <p:nvPr/>
        </p:nvGrpSpPr>
        <p:grpSpPr bwMode="auto">
          <a:xfrm>
            <a:off x="3944013" y="2049965"/>
            <a:ext cx="369676" cy="369676"/>
            <a:chOff x="1918" y="1565"/>
            <a:chExt cx="340" cy="340"/>
          </a:xfrm>
          <a:solidFill>
            <a:schemeClr val="accent5"/>
          </a:solidFill>
        </p:grpSpPr>
        <p:sp>
          <p:nvSpPr>
            <p:cNvPr id="269" name="Freeform 460"/>
            <p:cNvSpPr>
              <a:spLocks noEditPoints="1"/>
            </p:cNvSpPr>
            <p:nvPr/>
          </p:nvSpPr>
          <p:spPr bwMode="auto">
            <a:xfrm>
              <a:off x="2010" y="1636"/>
              <a:ext cx="156" cy="199"/>
            </a:xfrm>
            <a:custGeom>
              <a:avLst/>
              <a:gdLst>
                <a:gd name="T0" fmla="*/ 224 w 234"/>
                <a:gd name="T1" fmla="*/ 0 h 299"/>
                <a:gd name="T2" fmla="*/ 10 w 234"/>
                <a:gd name="T3" fmla="*/ 0 h 299"/>
                <a:gd name="T4" fmla="*/ 0 w 234"/>
                <a:gd name="T5" fmla="*/ 11 h 299"/>
                <a:gd name="T6" fmla="*/ 0 w 234"/>
                <a:gd name="T7" fmla="*/ 288 h 299"/>
                <a:gd name="T8" fmla="*/ 10 w 234"/>
                <a:gd name="T9" fmla="*/ 299 h 299"/>
                <a:gd name="T10" fmla="*/ 224 w 234"/>
                <a:gd name="T11" fmla="*/ 299 h 299"/>
                <a:gd name="T12" fmla="*/ 234 w 234"/>
                <a:gd name="T13" fmla="*/ 288 h 299"/>
                <a:gd name="T14" fmla="*/ 234 w 234"/>
                <a:gd name="T15" fmla="*/ 11 h 299"/>
                <a:gd name="T16" fmla="*/ 224 w 234"/>
                <a:gd name="T17" fmla="*/ 0 h 299"/>
                <a:gd name="T18" fmla="*/ 213 w 234"/>
                <a:gd name="T19" fmla="*/ 277 h 299"/>
                <a:gd name="T20" fmla="*/ 21 w 234"/>
                <a:gd name="T21" fmla="*/ 277 h 299"/>
                <a:gd name="T22" fmla="*/ 21 w 234"/>
                <a:gd name="T23" fmla="*/ 21 h 299"/>
                <a:gd name="T24" fmla="*/ 213 w 234"/>
                <a:gd name="T25" fmla="*/ 21 h 299"/>
                <a:gd name="T26" fmla="*/ 213 w 234"/>
                <a:gd name="T27" fmla="*/ 277 h 299"/>
                <a:gd name="T28" fmla="*/ 128 w 234"/>
                <a:gd name="T29" fmla="*/ 245 h 299"/>
                <a:gd name="T30" fmla="*/ 117 w 234"/>
                <a:gd name="T31" fmla="*/ 256 h 299"/>
                <a:gd name="T32" fmla="*/ 106 w 234"/>
                <a:gd name="T33" fmla="*/ 245 h 299"/>
                <a:gd name="T34" fmla="*/ 117 w 234"/>
                <a:gd name="T35" fmla="*/ 235 h 299"/>
                <a:gd name="T36" fmla="*/ 128 w 234"/>
                <a:gd name="T37" fmla="*/ 245 h 299"/>
                <a:gd name="T38" fmla="*/ 42 w 234"/>
                <a:gd name="T39" fmla="*/ 213 h 299"/>
                <a:gd name="T40" fmla="*/ 192 w 234"/>
                <a:gd name="T41" fmla="*/ 213 h 299"/>
                <a:gd name="T42" fmla="*/ 202 w 234"/>
                <a:gd name="T43" fmla="*/ 203 h 299"/>
                <a:gd name="T44" fmla="*/ 202 w 234"/>
                <a:gd name="T45" fmla="*/ 43 h 299"/>
                <a:gd name="T46" fmla="*/ 192 w 234"/>
                <a:gd name="T47" fmla="*/ 32 h 299"/>
                <a:gd name="T48" fmla="*/ 42 w 234"/>
                <a:gd name="T49" fmla="*/ 32 h 299"/>
                <a:gd name="T50" fmla="*/ 32 w 234"/>
                <a:gd name="T51" fmla="*/ 43 h 299"/>
                <a:gd name="T52" fmla="*/ 32 w 234"/>
                <a:gd name="T53" fmla="*/ 203 h 299"/>
                <a:gd name="T54" fmla="*/ 42 w 234"/>
                <a:gd name="T55" fmla="*/ 213 h 299"/>
                <a:gd name="T56" fmla="*/ 53 w 234"/>
                <a:gd name="T57" fmla="*/ 53 h 299"/>
                <a:gd name="T58" fmla="*/ 181 w 234"/>
                <a:gd name="T59" fmla="*/ 53 h 299"/>
                <a:gd name="T60" fmla="*/ 181 w 234"/>
                <a:gd name="T61" fmla="*/ 192 h 299"/>
                <a:gd name="T62" fmla="*/ 53 w 234"/>
                <a:gd name="T63" fmla="*/ 192 h 299"/>
                <a:gd name="T64" fmla="*/ 53 w 234"/>
                <a:gd name="T65" fmla="*/ 5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99">
                  <a:moveTo>
                    <a:pt x="22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4" y="299"/>
                    <a:pt x="10" y="299"/>
                  </a:cubicBezTo>
                  <a:cubicBezTo>
                    <a:pt x="224" y="299"/>
                    <a:pt x="224" y="299"/>
                    <a:pt x="224" y="299"/>
                  </a:cubicBezTo>
                  <a:cubicBezTo>
                    <a:pt x="230" y="299"/>
                    <a:pt x="234" y="294"/>
                    <a:pt x="234" y="288"/>
                  </a:cubicBezTo>
                  <a:cubicBezTo>
                    <a:pt x="234" y="11"/>
                    <a:pt x="234" y="11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lose/>
                  <a:moveTo>
                    <a:pt x="213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lnTo>
                    <a:pt x="213" y="277"/>
                  </a:lnTo>
                  <a:close/>
                  <a:moveTo>
                    <a:pt x="128" y="245"/>
                  </a:moveTo>
                  <a:cubicBezTo>
                    <a:pt x="128" y="251"/>
                    <a:pt x="123" y="256"/>
                    <a:pt x="117" y="256"/>
                  </a:cubicBezTo>
                  <a:cubicBezTo>
                    <a:pt x="111" y="256"/>
                    <a:pt x="106" y="251"/>
                    <a:pt x="106" y="245"/>
                  </a:cubicBezTo>
                  <a:cubicBezTo>
                    <a:pt x="106" y="239"/>
                    <a:pt x="111" y="235"/>
                    <a:pt x="117" y="235"/>
                  </a:cubicBezTo>
                  <a:cubicBezTo>
                    <a:pt x="123" y="235"/>
                    <a:pt x="128" y="239"/>
                    <a:pt x="128" y="245"/>
                  </a:cubicBezTo>
                  <a:close/>
                  <a:moveTo>
                    <a:pt x="42" y="213"/>
                  </a:moveTo>
                  <a:cubicBezTo>
                    <a:pt x="192" y="213"/>
                    <a:pt x="192" y="213"/>
                    <a:pt x="192" y="213"/>
                  </a:cubicBezTo>
                  <a:cubicBezTo>
                    <a:pt x="198" y="213"/>
                    <a:pt x="202" y="209"/>
                    <a:pt x="202" y="203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02" y="37"/>
                    <a:pt x="198" y="32"/>
                    <a:pt x="19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36" y="32"/>
                    <a:pt x="32" y="37"/>
                    <a:pt x="32" y="43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9"/>
                    <a:pt x="36" y="213"/>
                    <a:pt x="42" y="213"/>
                  </a:cubicBezTo>
                  <a:close/>
                  <a:moveTo>
                    <a:pt x="53" y="53"/>
                  </a:moveTo>
                  <a:cubicBezTo>
                    <a:pt x="181" y="53"/>
                    <a:pt x="181" y="53"/>
                    <a:pt x="181" y="53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53" y="192"/>
                    <a:pt x="53" y="192"/>
                    <a:pt x="53" y="192"/>
                  </a:cubicBezTo>
                  <a:lnTo>
                    <a:pt x="5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461"/>
            <p:cNvSpPr>
              <a:spLocks noEditPoints="1"/>
            </p:cNvSpPr>
            <p:nvPr/>
          </p:nvSpPr>
          <p:spPr bwMode="auto">
            <a:xfrm>
              <a:off x="1918" y="1565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1" name="Freeform 465"/>
          <p:cNvSpPr>
            <a:spLocks noChangeAspect="1" noEditPoints="1"/>
          </p:cNvSpPr>
          <p:nvPr/>
        </p:nvSpPr>
        <p:spPr bwMode="auto">
          <a:xfrm>
            <a:off x="3445667" y="2049965"/>
            <a:ext cx="369676" cy="369676"/>
          </a:xfrm>
          <a:custGeom>
            <a:avLst/>
            <a:gdLst>
              <a:gd name="T0" fmla="*/ 160 w 512"/>
              <a:gd name="T1" fmla="*/ 384 h 512"/>
              <a:gd name="T2" fmla="*/ 352 w 512"/>
              <a:gd name="T3" fmla="*/ 384 h 512"/>
              <a:gd name="T4" fmla="*/ 352 w 512"/>
              <a:gd name="T5" fmla="*/ 128 h 512"/>
              <a:gd name="T6" fmla="*/ 160 w 512"/>
              <a:gd name="T7" fmla="*/ 128 h 512"/>
              <a:gd name="T8" fmla="*/ 160 w 512"/>
              <a:gd name="T9" fmla="*/ 384 h 512"/>
              <a:gd name="T10" fmla="*/ 256 w 512"/>
              <a:gd name="T11" fmla="*/ 363 h 512"/>
              <a:gd name="T12" fmla="*/ 245 w 512"/>
              <a:gd name="T13" fmla="*/ 352 h 512"/>
              <a:gd name="T14" fmla="*/ 256 w 512"/>
              <a:gd name="T15" fmla="*/ 342 h 512"/>
              <a:gd name="T16" fmla="*/ 267 w 512"/>
              <a:gd name="T17" fmla="*/ 352 h 512"/>
              <a:gd name="T18" fmla="*/ 256 w 512"/>
              <a:gd name="T19" fmla="*/ 363 h 512"/>
              <a:gd name="T20" fmla="*/ 171 w 512"/>
              <a:gd name="T21" fmla="*/ 150 h 512"/>
              <a:gd name="T22" fmla="*/ 181 w 512"/>
              <a:gd name="T23" fmla="*/ 139 h 512"/>
              <a:gd name="T24" fmla="*/ 331 w 512"/>
              <a:gd name="T25" fmla="*/ 139 h 512"/>
              <a:gd name="T26" fmla="*/ 341 w 512"/>
              <a:gd name="T27" fmla="*/ 150 h 512"/>
              <a:gd name="T28" fmla="*/ 341 w 512"/>
              <a:gd name="T29" fmla="*/ 310 h 512"/>
              <a:gd name="T30" fmla="*/ 331 w 512"/>
              <a:gd name="T31" fmla="*/ 320 h 512"/>
              <a:gd name="T32" fmla="*/ 181 w 512"/>
              <a:gd name="T33" fmla="*/ 320 h 512"/>
              <a:gd name="T34" fmla="*/ 171 w 512"/>
              <a:gd name="T35" fmla="*/ 310 h 512"/>
              <a:gd name="T36" fmla="*/ 171 w 512"/>
              <a:gd name="T37" fmla="*/ 150 h 512"/>
              <a:gd name="T38" fmla="*/ 320 w 512"/>
              <a:gd name="T39" fmla="*/ 299 h 512"/>
              <a:gd name="T40" fmla="*/ 192 w 512"/>
              <a:gd name="T41" fmla="*/ 299 h 512"/>
              <a:gd name="T42" fmla="*/ 192 w 512"/>
              <a:gd name="T43" fmla="*/ 160 h 512"/>
              <a:gd name="T44" fmla="*/ 320 w 512"/>
              <a:gd name="T45" fmla="*/ 160 h 512"/>
              <a:gd name="T46" fmla="*/ 320 w 512"/>
              <a:gd name="T47" fmla="*/ 299 h 512"/>
              <a:gd name="T48" fmla="*/ 256 w 512"/>
              <a:gd name="T49" fmla="*/ 0 h 512"/>
              <a:gd name="T50" fmla="*/ 0 w 512"/>
              <a:gd name="T51" fmla="*/ 256 h 512"/>
              <a:gd name="T52" fmla="*/ 256 w 512"/>
              <a:gd name="T53" fmla="*/ 512 h 512"/>
              <a:gd name="T54" fmla="*/ 512 w 512"/>
              <a:gd name="T55" fmla="*/ 256 h 512"/>
              <a:gd name="T56" fmla="*/ 256 w 512"/>
              <a:gd name="T57" fmla="*/ 0 h 512"/>
              <a:gd name="T58" fmla="*/ 373 w 512"/>
              <a:gd name="T59" fmla="*/ 395 h 512"/>
              <a:gd name="T60" fmla="*/ 363 w 512"/>
              <a:gd name="T61" fmla="*/ 406 h 512"/>
              <a:gd name="T62" fmla="*/ 149 w 512"/>
              <a:gd name="T63" fmla="*/ 406 h 512"/>
              <a:gd name="T64" fmla="*/ 139 w 512"/>
              <a:gd name="T65" fmla="*/ 395 h 512"/>
              <a:gd name="T66" fmla="*/ 139 w 512"/>
              <a:gd name="T67" fmla="*/ 118 h 512"/>
              <a:gd name="T68" fmla="*/ 149 w 512"/>
              <a:gd name="T69" fmla="*/ 107 h 512"/>
              <a:gd name="T70" fmla="*/ 363 w 512"/>
              <a:gd name="T71" fmla="*/ 107 h 512"/>
              <a:gd name="T72" fmla="*/ 373 w 512"/>
              <a:gd name="T73" fmla="*/ 118 h 512"/>
              <a:gd name="T74" fmla="*/ 373 w 512"/>
              <a:gd name="T75" fmla="*/ 39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160" y="384"/>
                </a:moveTo>
                <a:cubicBezTo>
                  <a:pt x="352" y="384"/>
                  <a:pt x="352" y="384"/>
                  <a:pt x="352" y="384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160" y="128"/>
                  <a:pt x="160" y="128"/>
                  <a:pt x="160" y="128"/>
                </a:cubicBezTo>
                <a:lnTo>
                  <a:pt x="160" y="384"/>
                </a:lnTo>
                <a:close/>
                <a:moveTo>
                  <a:pt x="256" y="363"/>
                </a:moveTo>
                <a:cubicBezTo>
                  <a:pt x="250" y="363"/>
                  <a:pt x="245" y="358"/>
                  <a:pt x="245" y="352"/>
                </a:cubicBezTo>
                <a:cubicBezTo>
                  <a:pt x="245" y="346"/>
                  <a:pt x="250" y="342"/>
                  <a:pt x="256" y="342"/>
                </a:cubicBezTo>
                <a:cubicBezTo>
                  <a:pt x="262" y="342"/>
                  <a:pt x="267" y="346"/>
                  <a:pt x="267" y="352"/>
                </a:cubicBezTo>
                <a:cubicBezTo>
                  <a:pt x="267" y="358"/>
                  <a:pt x="262" y="363"/>
                  <a:pt x="256" y="363"/>
                </a:cubicBezTo>
                <a:close/>
                <a:moveTo>
                  <a:pt x="171" y="150"/>
                </a:moveTo>
                <a:cubicBezTo>
                  <a:pt x="171" y="144"/>
                  <a:pt x="175" y="139"/>
                  <a:pt x="181" y="139"/>
                </a:cubicBezTo>
                <a:cubicBezTo>
                  <a:pt x="331" y="139"/>
                  <a:pt x="331" y="139"/>
                  <a:pt x="331" y="139"/>
                </a:cubicBezTo>
                <a:cubicBezTo>
                  <a:pt x="337" y="139"/>
                  <a:pt x="341" y="144"/>
                  <a:pt x="341" y="150"/>
                </a:cubicBezTo>
                <a:cubicBezTo>
                  <a:pt x="341" y="310"/>
                  <a:pt x="341" y="310"/>
                  <a:pt x="341" y="310"/>
                </a:cubicBezTo>
                <a:cubicBezTo>
                  <a:pt x="341" y="316"/>
                  <a:pt x="337" y="320"/>
                  <a:pt x="331" y="320"/>
                </a:cubicBezTo>
                <a:cubicBezTo>
                  <a:pt x="181" y="320"/>
                  <a:pt x="181" y="320"/>
                  <a:pt x="181" y="320"/>
                </a:cubicBezTo>
                <a:cubicBezTo>
                  <a:pt x="175" y="320"/>
                  <a:pt x="171" y="316"/>
                  <a:pt x="171" y="310"/>
                </a:cubicBezTo>
                <a:lnTo>
                  <a:pt x="171" y="150"/>
                </a:lnTo>
                <a:close/>
                <a:moveTo>
                  <a:pt x="320" y="299"/>
                </a:moveTo>
                <a:cubicBezTo>
                  <a:pt x="192" y="299"/>
                  <a:pt x="192" y="299"/>
                  <a:pt x="192" y="299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320" y="160"/>
                  <a:pt x="320" y="160"/>
                  <a:pt x="320" y="160"/>
                </a:cubicBezTo>
                <a:lnTo>
                  <a:pt x="320" y="299"/>
                </a:lnTo>
                <a:close/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373" y="395"/>
                </a:moveTo>
                <a:cubicBezTo>
                  <a:pt x="373" y="401"/>
                  <a:pt x="369" y="406"/>
                  <a:pt x="363" y="406"/>
                </a:cubicBezTo>
                <a:cubicBezTo>
                  <a:pt x="149" y="406"/>
                  <a:pt x="149" y="406"/>
                  <a:pt x="149" y="406"/>
                </a:cubicBezTo>
                <a:cubicBezTo>
                  <a:pt x="143" y="406"/>
                  <a:pt x="139" y="401"/>
                  <a:pt x="139" y="395"/>
                </a:cubicBezTo>
                <a:cubicBezTo>
                  <a:pt x="139" y="118"/>
                  <a:pt x="139" y="118"/>
                  <a:pt x="139" y="118"/>
                </a:cubicBezTo>
                <a:cubicBezTo>
                  <a:pt x="139" y="112"/>
                  <a:pt x="143" y="107"/>
                  <a:pt x="149" y="107"/>
                </a:cubicBezTo>
                <a:cubicBezTo>
                  <a:pt x="363" y="107"/>
                  <a:pt x="363" y="107"/>
                  <a:pt x="363" y="107"/>
                </a:cubicBezTo>
                <a:cubicBezTo>
                  <a:pt x="369" y="107"/>
                  <a:pt x="373" y="112"/>
                  <a:pt x="373" y="118"/>
                </a:cubicBezTo>
                <a:lnTo>
                  <a:pt x="373" y="39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2" name="Group 188"/>
          <p:cNvGrpSpPr>
            <a:grpSpLocks noChangeAspect="1"/>
          </p:cNvGrpSpPr>
          <p:nvPr/>
        </p:nvGrpSpPr>
        <p:grpSpPr bwMode="auto">
          <a:xfrm>
            <a:off x="4940705" y="2049965"/>
            <a:ext cx="370763" cy="369676"/>
            <a:chOff x="394" y="389"/>
            <a:chExt cx="341" cy="340"/>
          </a:xfrm>
          <a:solidFill>
            <a:schemeClr val="accent2"/>
          </a:solidFill>
        </p:grpSpPr>
        <p:sp>
          <p:nvSpPr>
            <p:cNvPr id="273" name="Freeform 189"/>
            <p:cNvSpPr>
              <a:spLocks noEditPoints="1"/>
            </p:cNvSpPr>
            <p:nvPr/>
          </p:nvSpPr>
          <p:spPr bwMode="auto">
            <a:xfrm>
              <a:off x="394" y="38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190"/>
            <p:cNvSpPr>
              <a:spLocks noEditPoints="1"/>
            </p:cNvSpPr>
            <p:nvPr/>
          </p:nvSpPr>
          <p:spPr bwMode="auto">
            <a:xfrm>
              <a:off x="536" y="453"/>
              <a:ext cx="56" cy="212"/>
            </a:xfrm>
            <a:custGeom>
              <a:avLst/>
              <a:gdLst>
                <a:gd name="T0" fmla="*/ 53 w 85"/>
                <a:gd name="T1" fmla="*/ 193 h 320"/>
                <a:gd name="T2" fmla="*/ 53 w 85"/>
                <a:gd name="T3" fmla="*/ 10 h 320"/>
                <a:gd name="T4" fmla="*/ 43 w 85"/>
                <a:gd name="T5" fmla="*/ 0 h 320"/>
                <a:gd name="T6" fmla="*/ 32 w 85"/>
                <a:gd name="T7" fmla="*/ 10 h 320"/>
                <a:gd name="T8" fmla="*/ 32 w 85"/>
                <a:gd name="T9" fmla="*/ 193 h 320"/>
                <a:gd name="T10" fmla="*/ 0 w 85"/>
                <a:gd name="T11" fmla="*/ 234 h 320"/>
                <a:gd name="T12" fmla="*/ 32 w 85"/>
                <a:gd name="T13" fmla="*/ 275 h 320"/>
                <a:gd name="T14" fmla="*/ 32 w 85"/>
                <a:gd name="T15" fmla="*/ 309 h 320"/>
                <a:gd name="T16" fmla="*/ 43 w 85"/>
                <a:gd name="T17" fmla="*/ 320 h 320"/>
                <a:gd name="T18" fmla="*/ 53 w 85"/>
                <a:gd name="T19" fmla="*/ 309 h 320"/>
                <a:gd name="T20" fmla="*/ 53 w 85"/>
                <a:gd name="T21" fmla="*/ 275 h 320"/>
                <a:gd name="T22" fmla="*/ 85 w 85"/>
                <a:gd name="T23" fmla="*/ 234 h 320"/>
                <a:gd name="T24" fmla="*/ 53 w 85"/>
                <a:gd name="T25" fmla="*/ 193 h 320"/>
                <a:gd name="T26" fmla="*/ 43 w 85"/>
                <a:gd name="T27" fmla="*/ 256 h 320"/>
                <a:gd name="T28" fmla="*/ 21 w 85"/>
                <a:gd name="T29" fmla="*/ 234 h 320"/>
                <a:gd name="T30" fmla="*/ 43 w 85"/>
                <a:gd name="T31" fmla="*/ 213 h 320"/>
                <a:gd name="T32" fmla="*/ 64 w 85"/>
                <a:gd name="T33" fmla="*/ 234 h 320"/>
                <a:gd name="T34" fmla="*/ 43 w 85"/>
                <a:gd name="T35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5" h="320">
                  <a:moveTo>
                    <a:pt x="53" y="193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4"/>
                    <a:pt x="49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14" y="198"/>
                    <a:pt x="0" y="215"/>
                    <a:pt x="0" y="234"/>
                  </a:cubicBezTo>
                  <a:cubicBezTo>
                    <a:pt x="0" y="254"/>
                    <a:pt x="14" y="271"/>
                    <a:pt x="32" y="275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49" y="320"/>
                    <a:pt x="53" y="315"/>
                    <a:pt x="53" y="309"/>
                  </a:cubicBezTo>
                  <a:cubicBezTo>
                    <a:pt x="53" y="275"/>
                    <a:pt x="53" y="275"/>
                    <a:pt x="53" y="275"/>
                  </a:cubicBezTo>
                  <a:cubicBezTo>
                    <a:pt x="72" y="271"/>
                    <a:pt x="85" y="254"/>
                    <a:pt x="85" y="234"/>
                  </a:cubicBezTo>
                  <a:cubicBezTo>
                    <a:pt x="85" y="215"/>
                    <a:pt x="72" y="198"/>
                    <a:pt x="53" y="193"/>
                  </a:cubicBezTo>
                  <a:close/>
                  <a:moveTo>
                    <a:pt x="43" y="256"/>
                  </a:moveTo>
                  <a:cubicBezTo>
                    <a:pt x="31" y="256"/>
                    <a:pt x="21" y="246"/>
                    <a:pt x="21" y="234"/>
                  </a:cubicBezTo>
                  <a:cubicBezTo>
                    <a:pt x="21" y="223"/>
                    <a:pt x="31" y="213"/>
                    <a:pt x="43" y="213"/>
                  </a:cubicBezTo>
                  <a:cubicBezTo>
                    <a:pt x="54" y="213"/>
                    <a:pt x="64" y="223"/>
                    <a:pt x="64" y="234"/>
                  </a:cubicBezTo>
                  <a:cubicBezTo>
                    <a:pt x="64" y="246"/>
                    <a:pt x="54" y="256"/>
                    <a:pt x="43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191"/>
            <p:cNvSpPr>
              <a:spLocks noEditPoints="1"/>
            </p:cNvSpPr>
            <p:nvPr/>
          </p:nvSpPr>
          <p:spPr bwMode="auto">
            <a:xfrm>
              <a:off x="472" y="453"/>
              <a:ext cx="57" cy="212"/>
            </a:xfrm>
            <a:custGeom>
              <a:avLst/>
              <a:gdLst>
                <a:gd name="T0" fmla="*/ 53 w 85"/>
                <a:gd name="T1" fmla="*/ 44 h 320"/>
                <a:gd name="T2" fmla="*/ 53 w 85"/>
                <a:gd name="T3" fmla="*/ 10 h 320"/>
                <a:gd name="T4" fmla="*/ 43 w 85"/>
                <a:gd name="T5" fmla="*/ 0 h 320"/>
                <a:gd name="T6" fmla="*/ 32 w 85"/>
                <a:gd name="T7" fmla="*/ 10 h 320"/>
                <a:gd name="T8" fmla="*/ 32 w 85"/>
                <a:gd name="T9" fmla="*/ 44 h 320"/>
                <a:gd name="T10" fmla="*/ 0 w 85"/>
                <a:gd name="T11" fmla="*/ 85 h 320"/>
                <a:gd name="T12" fmla="*/ 32 w 85"/>
                <a:gd name="T13" fmla="*/ 126 h 320"/>
                <a:gd name="T14" fmla="*/ 32 w 85"/>
                <a:gd name="T15" fmla="*/ 309 h 320"/>
                <a:gd name="T16" fmla="*/ 43 w 85"/>
                <a:gd name="T17" fmla="*/ 320 h 320"/>
                <a:gd name="T18" fmla="*/ 53 w 85"/>
                <a:gd name="T19" fmla="*/ 309 h 320"/>
                <a:gd name="T20" fmla="*/ 53 w 85"/>
                <a:gd name="T21" fmla="*/ 126 h 320"/>
                <a:gd name="T22" fmla="*/ 85 w 85"/>
                <a:gd name="T23" fmla="*/ 85 h 320"/>
                <a:gd name="T24" fmla="*/ 53 w 85"/>
                <a:gd name="T25" fmla="*/ 44 h 320"/>
                <a:gd name="T26" fmla="*/ 43 w 85"/>
                <a:gd name="T27" fmla="*/ 106 h 320"/>
                <a:gd name="T28" fmla="*/ 21 w 85"/>
                <a:gd name="T29" fmla="*/ 85 h 320"/>
                <a:gd name="T30" fmla="*/ 43 w 85"/>
                <a:gd name="T31" fmla="*/ 64 h 320"/>
                <a:gd name="T32" fmla="*/ 64 w 85"/>
                <a:gd name="T33" fmla="*/ 85 h 320"/>
                <a:gd name="T34" fmla="*/ 43 w 85"/>
                <a:gd name="T35" fmla="*/ 10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5" h="320">
                  <a:moveTo>
                    <a:pt x="53" y="44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4"/>
                    <a:pt x="49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14" y="49"/>
                    <a:pt x="0" y="65"/>
                    <a:pt x="0" y="85"/>
                  </a:cubicBezTo>
                  <a:cubicBezTo>
                    <a:pt x="0" y="105"/>
                    <a:pt x="14" y="121"/>
                    <a:pt x="32" y="126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49" y="320"/>
                    <a:pt x="53" y="315"/>
                    <a:pt x="53" y="309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72" y="121"/>
                    <a:pt x="85" y="105"/>
                    <a:pt x="85" y="85"/>
                  </a:cubicBezTo>
                  <a:cubicBezTo>
                    <a:pt x="85" y="65"/>
                    <a:pt x="72" y="49"/>
                    <a:pt x="53" y="44"/>
                  </a:cubicBezTo>
                  <a:close/>
                  <a:moveTo>
                    <a:pt x="43" y="106"/>
                  </a:moveTo>
                  <a:cubicBezTo>
                    <a:pt x="31" y="106"/>
                    <a:pt x="21" y="97"/>
                    <a:pt x="21" y="85"/>
                  </a:cubicBezTo>
                  <a:cubicBezTo>
                    <a:pt x="21" y="73"/>
                    <a:pt x="31" y="64"/>
                    <a:pt x="43" y="64"/>
                  </a:cubicBezTo>
                  <a:cubicBezTo>
                    <a:pt x="54" y="64"/>
                    <a:pt x="64" y="73"/>
                    <a:pt x="64" y="85"/>
                  </a:cubicBezTo>
                  <a:cubicBezTo>
                    <a:pt x="64" y="97"/>
                    <a:pt x="54" y="106"/>
                    <a:pt x="43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192"/>
            <p:cNvSpPr>
              <a:spLocks noEditPoints="1"/>
            </p:cNvSpPr>
            <p:nvPr/>
          </p:nvSpPr>
          <p:spPr bwMode="auto">
            <a:xfrm>
              <a:off x="600" y="453"/>
              <a:ext cx="56" cy="212"/>
            </a:xfrm>
            <a:custGeom>
              <a:avLst/>
              <a:gdLst>
                <a:gd name="T0" fmla="*/ 53 w 85"/>
                <a:gd name="T1" fmla="*/ 97 h 320"/>
                <a:gd name="T2" fmla="*/ 53 w 85"/>
                <a:gd name="T3" fmla="*/ 10 h 320"/>
                <a:gd name="T4" fmla="*/ 43 w 85"/>
                <a:gd name="T5" fmla="*/ 0 h 320"/>
                <a:gd name="T6" fmla="*/ 32 w 85"/>
                <a:gd name="T7" fmla="*/ 10 h 320"/>
                <a:gd name="T8" fmla="*/ 32 w 85"/>
                <a:gd name="T9" fmla="*/ 97 h 320"/>
                <a:gd name="T10" fmla="*/ 0 w 85"/>
                <a:gd name="T11" fmla="*/ 138 h 320"/>
                <a:gd name="T12" fmla="*/ 32 w 85"/>
                <a:gd name="T13" fmla="*/ 179 h 320"/>
                <a:gd name="T14" fmla="*/ 32 w 85"/>
                <a:gd name="T15" fmla="*/ 309 h 320"/>
                <a:gd name="T16" fmla="*/ 43 w 85"/>
                <a:gd name="T17" fmla="*/ 320 h 320"/>
                <a:gd name="T18" fmla="*/ 53 w 85"/>
                <a:gd name="T19" fmla="*/ 309 h 320"/>
                <a:gd name="T20" fmla="*/ 53 w 85"/>
                <a:gd name="T21" fmla="*/ 179 h 320"/>
                <a:gd name="T22" fmla="*/ 85 w 85"/>
                <a:gd name="T23" fmla="*/ 138 h 320"/>
                <a:gd name="T24" fmla="*/ 53 w 85"/>
                <a:gd name="T25" fmla="*/ 97 h 320"/>
                <a:gd name="T26" fmla="*/ 43 w 85"/>
                <a:gd name="T27" fmla="*/ 160 h 320"/>
                <a:gd name="T28" fmla="*/ 21 w 85"/>
                <a:gd name="T29" fmla="*/ 138 h 320"/>
                <a:gd name="T30" fmla="*/ 43 w 85"/>
                <a:gd name="T31" fmla="*/ 117 h 320"/>
                <a:gd name="T32" fmla="*/ 64 w 85"/>
                <a:gd name="T33" fmla="*/ 138 h 320"/>
                <a:gd name="T34" fmla="*/ 43 w 85"/>
                <a:gd name="T35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5" h="320">
                  <a:moveTo>
                    <a:pt x="53" y="97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4"/>
                    <a:pt x="49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14" y="102"/>
                    <a:pt x="0" y="119"/>
                    <a:pt x="0" y="138"/>
                  </a:cubicBezTo>
                  <a:cubicBezTo>
                    <a:pt x="0" y="158"/>
                    <a:pt x="14" y="175"/>
                    <a:pt x="32" y="179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49" y="320"/>
                    <a:pt x="53" y="315"/>
                    <a:pt x="53" y="309"/>
                  </a:cubicBezTo>
                  <a:cubicBezTo>
                    <a:pt x="53" y="179"/>
                    <a:pt x="53" y="179"/>
                    <a:pt x="53" y="179"/>
                  </a:cubicBezTo>
                  <a:cubicBezTo>
                    <a:pt x="72" y="175"/>
                    <a:pt x="85" y="158"/>
                    <a:pt x="85" y="138"/>
                  </a:cubicBezTo>
                  <a:cubicBezTo>
                    <a:pt x="85" y="119"/>
                    <a:pt x="72" y="102"/>
                    <a:pt x="53" y="97"/>
                  </a:cubicBezTo>
                  <a:close/>
                  <a:moveTo>
                    <a:pt x="43" y="160"/>
                  </a:moveTo>
                  <a:cubicBezTo>
                    <a:pt x="31" y="160"/>
                    <a:pt x="21" y="150"/>
                    <a:pt x="21" y="138"/>
                  </a:cubicBezTo>
                  <a:cubicBezTo>
                    <a:pt x="21" y="127"/>
                    <a:pt x="31" y="117"/>
                    <a:pt x="43" y="117"/>
                  </a:cubicBezTo>
                  <a:cubicBezTo>
                    <a:pt x="54" y="117"/>
                    <a:pt x="64" y="127"/>
                    <a:pt x="64" y="138"/>
                  </a:cubicBezTo>
                  <a:cubicBezTo>
                    <a:pt x="64" y="150"/>
                    <a:pt x="54" y="160"/>
                    <a:pt x="4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196"/>
          <p:cNvSpPr>
            <a:spLocks noChangeAspect="1" noEditPoints="1"/>
          </p:cNvSpPr>
          <p:nvPr/>
        </p:nvSpPr>
        <p:spPr bwMode="auto">
          <a:xfrm>
            <a:off x="4442359" y="2049965"/>
            <a:ext cx="369676" cy="369676"/>
          </a:xfrm>
          <a:custGeom>
            <a:avLst/>
            <a:gdLst>
              <a:gd name="T0" fmla="*/ 181 w 512"/>
              <a:gd name="T1" fmla="*/ 181 h 512"/>
              <a:gd name="T2" fmla="*/ 160 w 512"/>
              <a:gd name="T3" fmla="*/ 202 h 512"/>
              <a:gd name="T4" fmla="*/ 138 w 512"/>
              <a:gd name="T5" fmla="*/ 181 h 512"/>
              <a:gd name="T6" fmla="*/ 160 w 512"/>
              <a:gd name="T7" fmla="*/ 160 h 512"/>
              <a:gd name="T8" fmla="*/ 181 w 512"/>
              <a:gd name="T9" fmla="*/ 181 h 512"/>
              <a:gd name="T10" fmla="*/ 256 w 512"/>
              <a:gd name="T11" fmla="*/ 309 h 512"/>
              <a:gd name="T12" fmla="*/ 234 w 512"/>
              <a:gd name="T13" fmla="*/ 330 h 512"/>
              <a:gd name="T14" fmla="*/ 256 w 512"/>
              <a:gd name="T15" fmla="*/ 352 h 512"/>
              <a:gd name="T16" fmla="*/ 277 w 512"/>
              <a:gd name="T17" fmla="*/ 330 h 512"/>
              <a:gd name="T18" fmla="*/ 256 w 512"/>
              <a:gd name="T19" fmla="*/ 309 h 512"/>
              <a:gd name="T20" fmla="*/ 352 w 512"/>
              <a:gd name="T21" fmla="*/ 213 h 512"/>
              <a:gd name="T22" fmla="*/ 330 w 512"/>
              <a:gd name="T23" fmla="*/ 234 h 512"/>
              <a:gd name="T24" fmla="*/ 352 w 512"/>
              <a:gd name="T25" fmla="*/ 256 h 512"/>
              <a:gd name="T26" fmla="*/ 373 w 512"/>
              <a:gd name="T27" fmla="*/ 234 h 512"/>
              <a:gd name="T28" fmla="*/ 352 w 512"/>
              <a:gd name="T29" fmla="*/ 21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02 w 512"/>
              <a:gd name="T41" fmla="*/ 181 h 512"/>
              <a:gd name="T42" fmla="*/ 170 w 512"/>
              <a:gd name="T43" fmla="*/ 140 h 512"/>
              <a:gd name="T44" fmla="*/ 170 w 512"/>
              <a:gd name="T45" fmla="*/ 106 h 512"/>
              <a:gd name="T46" fmla="*/ 160 w 512"/>
              <a:gd name="T47" fmla="*/ 96 h 512"/>
              <a:gd name="T48" fmla="*/ 149 w 512"/>
              <a:gd name="T49" fmla="*/ 106 h 512"/>
              <a:gd name="T50" fmla="*/ 149 w 512"/>
              <a:gd name="T51" fmla="*/ 140 h 512"/>
              <a:gd name="T52" fmla="*/ 117 w 512"/>
              <a:gd name="T53" fmla="*/ 181 h 512"/>
              <a:gd name="T54" fmla="*/ 149 w 512"/>
              <a:gd name="T55" fmla="*/ 222 h 512"/>
              <a:gd name="T56" fmla="*/ 149 w 512"/>
              <a:gd name="T57" fmla="*/ 405 h 512"/>
              <a:gd name="T58" fmla="*/ 160 w 512"/>
              <a:gd name="T59" fmla="*/ 416 h 512"/>
              <a:gd name="T60" fmla="*/ 170 w 512"/>
              <a:gd name="T61" fmla="*/ 405 h 512"/>
              <a:gd name="T62" fmla="*/ 170 w 512"/>
              <a:gd name="T63" fmla="*/ 222 h 512"/>
              <a:gd name="T64" fmla="*/ 202 w 512"/>
              <a:gd name="T65" fmla="*/ 181 h 512"/>
              <a:gd name="T66" fmla="*/ 298 w 512"/>
              <a:gd name="T67" fmla="*/ 330 h 512"/>
              <a:gd name="T68" fmla="*/ 266 w 512"/>
              <a:gd name="T69" fmla="*/ 289 h 512"/>
              <a:gd name="T70" fmla="*/ 266 w 512"/>
              <a:gd name="T71" fmla="*/ 106 h 512"/>
              <a:gd name="T72" fmla="*/ 256 w 512"/>
              <a:gd name="T73" fmla="*/ 96 h 512"/>
              <a:gd name="T74" fmla="*/ 245 w 512"/>
              <a:gd name="T75" fmla="*/ 106 h 512"/>
              <a:gd name="T76" fmla="*/ 245 w 512"/>
              <a:gd name="T77" fmla="*/ 289 h 512"/>
              <a:gd name="T78" fmla="*/ 213 w 512"/>
              <a:gd name="T79" fmla="*/ 330 h 512"/>
              <a:gd name="T80" fmla="*/ 245 w 512"/>
              <a:gd name="T81" fmla="*/ 371 h 512"/>
              <a:gd name="T82" fmla="*/ 245 w 512"/>
              <a:gd name="T83" fmla="*/ 405 h 512"/>
              <a:gd name="T84" fmla="*/ 256 w 512"/>
              <a:gd name="T85" fmla="*/ 416 h 512"/>
              <a:gd name="T86" fmla="*/ 266 w 512"/>
              <a:gd name="T87" fmla="*/ 405 h 512"/>
              <a:gd name="T88" fmla="*/ 266 w 512"/>
              <a:gd name="T89" fmla="*/ 371 h 512"/>
              <a:gd name="T90" fmla="*/ 298 w 512"/>
              <a:gd name="T91" fmla="*/ 330 h 512"/>
              <a:gd name="T92" fmla="*/ 394 w 512"/>
              <a:gd name="T93" fmla="*/ 234 h 512"/>
              <a:gd name="T94" fmla="*/ 362 w 512"/>
              <a:gd name="T95" fmla="*/ 193 h 512"/>
              <a:gd name="T96" fmla="*/ 362 w 512"/>
              <a:gd name="T97" fmla="*/ 106 h 512"/>
              <a:gd name="T98" fmla="*/ 352 w 512"/>
              <a:gd name="T99" fmla="*/ 96 h 512"/>
              <a:gd name="T100" fmla="*/ 341 w 512"/>
              <a:gd name="T101" fmla="*/ 106 h 512"/>
              <a:gd name="T102" fmla="*/ 341 w 512"/>
              <a:gd name="T103" fmla="*/ 193 h 512"/>
              <a:gd name="T104" fmla="*/ 309 w 512"/>
              <a:gd name="T105" fmla="*/ 234 h 512"/>
              <a:gd name="T106" fmla="*/ 341 w 512"/>
              <a:gd name="T107" fmla="*/ 275 h 512"/>
              <a:gd name="T108" fmla="*/ 341 w 512"/>
              <a:gd name="T109" fmla="*/ 405 h 512"/>
              <a:gd name="T110" fmla="*/ 352 w 512"/>
              <a:gd name="T111" fmla="*/ 416 h 512"/>
              <a:gd name="T112" fmla="*/ 362 w 512"/>
              <a:gd name="T113" fmla="*/ 405 h 512"/>
              <a:gd name="T114" fmla="*/ 362 w 512"/>
              <a:gd name="T115" fmla="*/ 275 h 512"/>
              <a:gd name="T116" fmla="*/ 394 w 512"/>
              <a:gd name="T117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81" y="181"/>
                </a:moveTo>
                <a:cubicBezTo>
                  <a:pt x="181" y="193"/>
                  <a:pt x="171" y="202"/>
                  <a:pt x="160" y="202"/>
                </a:cubicBezTo>
                <a:cubicBezTo>
                  <a:pt x="148" y="202"/>
                  <a:pt x="138" y="193"/>
                  <a:pt x="138" y="181"/>
                </a:cubicBezTo>
                <a:cubicBezTo>
                  <a:pt x="138" y="169"/>
                  <a:pt x="148" y="160"/>
                  <a:pt x="160" y="160"/>
                </a:cubicBezTo>
                <a:cubicBezTo>
                  <a:pt x="171" y="160"/>
                  <a:pt x="181" y="169"/>
                  <a:pt x="181" y="181"/>
                </a:cubicBezTo>
                <a:close/>
                <a:moveTo>
                  <a:pt x="256" y="309"/>
                </a:moveTo>
                <a:cubicBezTo>
                  <a:pt x="244" y="309"/>
                  <a:pt x="234" y="319"/>
                  <a:pt x="234" y="330"/>
                </a:cubicBezTo>
                <a:cubicBezTo>
                  <a:pt x="234" y="342"/>
                  <a:pt x="244" y="352"/>
                  <a:pt x="256" y="352"/>
                </a:cubicBezTo>
                <a:cubicBezTo>
                  <a:pt x="267" y="352"/>
                  <a:pt x="277" y="342"/>
                  <a:pt x="277" y="330"/>
                </a:cubicBezTo>
                <a:cubicBezTo>
                  <a:pt x="277" y="319"/>
                  <a:pt x="267" y="309"/>
                  <a:pt x="256" y="309"/>
                </a:cubicBezTo>
                <a:close/>
                <a:moveTo>
                  <a:pt x="352" y="213"/>
                </a:moveTo>
                <a:cubicBezTo>
                  <a:pt x="340" y="213"/>
                  <a:pt x="330" y="223"/>
                  <a:pt x="330" y="234"/>
                </a:cubicBezTo>
                <a:cubicBezTo>
                  <a:pt x="330" y="246"/>
                  <a:pt x="340" y="256"/>
                  <a:pt x="352" y="256"/>
                </a:cubicBezTo>
                <a:cubicBezTo>
                  <a:pt x="363" y="256"/>
                  <a:pt x="373" y="246"/>
                  <a:pt x="373" y="234"/>
                </a:cubicBezTo>
                <a:cubicBezTo>
                  <a:pt x="373" y="223"/>
                  <a:pt x="363" y="213"/>
                  <a:pt x="352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02" y="181"/>
                </a:moveTo>
                <a:cubicBezTo>
                  <a:pt x="202" y="161"/>
                  <a:pt x="189" y="145"/>
                  <a:pt x="170" y="140"/>
                </a:cubicBezTo>
                <a:cubicBezTo>
                  <a:pt x="170" y="106"/>
                  <a:pt x="170" y="106"/>
                  <a:pt x="170" y="106"/>
                </a:cubicBezTo>
                <a:cubicBezTo>
                  <a:pt x="170" y="100"/>
                  <a:pt x="166" y="96"/>
                  <a:pt x="160" y="96"/>
                </a:cubicBezTo>
                <a:cubicBezTo>
                  <a:pt x="154" y="96"/>
                  <a:pt x="149" y="100"/>
                  <a:pt x="149" y="106"/>
                </a:cubicBezTo>
                <a:cubicBezTo>
                  <a:pt x="149" y="140"/>
                  <a:pt x="149" y="140"/>
                  <a:pt x="149" y="140"/>
                </a:cubicBezTo>
                <a:cubicBezTo>
                  <a:pt x="131" y="145"/>
                  <a:pt x="117" y="161"/>
                  <a:pt x="117" y="181"/>
                </a:cubicBezTo>
                <a:cubicBezTo>
                  <a:pt x="117" y="201"/>
                  <a:pt x="131" y="217"/>
                  <a:pt x="149" y="222"/>
                </a:cubicBezTo>
                <a:cubicBezTo>
                  <a:pt x="149" y="405"/>
                  <a:pt x="149" y="405"/>
                  <a:pt x="149" y="405"/>
                </a:cubicBezTo>
                <a:cubicBezTo>
                  <a:pt x="149" y="411"/>
                  <a:pt x="154" y="416"/>
                  <a:pt x="160" y="416"/>
                </a:cubicBezTo>
                <a:cubicBezTo>
                  <a:pt x="166" y="416"/>
                  <a:pt x="170" y="411"/>
                  <a:pt x="170" y="405"/>
                </a:cubicBezTo>
                <a:cubicBezTo>
                  <a:pt x="170" y="222"/>
                  <a:pt x="170" y="222"/>
                  <a:pt x="170" y="222"/>
                </a:cubicBezTo>
                <a:cubicBezTo>
                  <a:pt x="189" y="217"/>
                  <a:pt x="202" y="201"/>
                  <a:pt x="202" y="181"/>
                </a:cubicBezTo>
                <a:close/>
                <a:moveTo>
                  <a:pt x="298" y="330"/>
                </a:moveTo>
                <a:cubicBezTo>
                  <a:pt x="298" y="311"/>
                  <a:pt x="285" y="294"/>
                  <a:pt x="266" y="289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289"/>
                  <a:pt x="245" y="289"/>
                  <a:pt x="245" y="289"/>
                </a:cubicBezTo>
                <a:cubicBezTo>
                  <a:pt x="227" y="294"/>
                  <a:pt x="213" y="311"/>
                  <a:pt x="213" y="330"/>
                </a:cubicBezTo>
                <a:cubicBezTo>
                  <a:pt x="213" y="350"/>
                  <a:pt x="227" y="367"/>
                  <a:pt x="245" y="371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1"/>
                  <a:pt x="266" y="371"/>
                  <a:pt x="266" y="371"/>
                </a:cubicBezTo>
                <a:cubicBezTo>
                  <a:pt x="285" y="367"/>
                  <a:pt x="298" y="350"/>
                  <a:pt x="298" y="330"/>
                </a:cubicBezTo>
                <a:close/>
                <a:moveTo>
                  <a:pt x="394" y="234"/>
                </a:moveTo>
                <a:cubicBezTo>
                  <a:pt x="394" y="215"/>
                  <a:pt x="381" y="198"/>
                  <a:pt x="362" y="193"/>
                </a:cubicBezTo>
                <a:cubicBezTo>
                  <a:pt x="362" y="106"/>
                  <a:pt x="362" y="106"/>
                  <a:pt x="362" y="106"/>
                </a:cubicBezTo>
                <a:cubicBezTo>
                  <a:pt x="362" y="100"/>
                  <a:pt x="358" y="96"/>
                  <a:pt x="352" y="96"/>
                </a:cubicBezTo>
                <a:cubicBezTo>
                  <a:pt x="346" y="96"/>
                  <a:pt x="341" y="100"/>
                  <a:pt x="341" y="106"/>
                </a:cubicBezTo>
                <a:cubicBezTo>
                  <a:pt x="341" y="193"/>
                  <a:pt x="341" y="193"/>
                  <a:pt x="341" y="193"/>
                </a:cubicBezTo>
                <a:cubicBezTo>
                  <a:pt x="323" y="198"/>
                  <a:pt x="309" y="215"/>
                  <a:pt x="309" y="234"/>
                </a:cubicBezTo>
                <a:cubicBezTo>
                  <a:pt x="309" y="254"/>
                  <a:pt x="323" y="271"/>
                  <a:pt x="341" y="275"/>
                </a:cubicBezTo>
                <a:cubicBezTo>
                  <a:pt x="341" y="405"/>
                  <a:pt x="341" y="405"/>
                  <a:pt x="341" y="405"/>
                </a:cubicBezTo>
                <a:cubicBezTo>
                  <a:pt x="341" y="411"/>
                  <a:pt x="346" y="416"/>
                  <a:pt x="352" y="416"/>
                </a:cubicBezTo>
                <a:cubicBezTo>
                  <a:pt x="358" y="416"/>
                  <a:pt x="362" y="411"/>
                  <a:pt x="362" y="405"/>
                </a:cubicBezTo>
                <a:cubicBezTo>
                  <a:pt x="362" y="275"/>
                  <a:pt x="362" y="275"/>
                  <a:pt x="362" y="275"/>
                </a:cubicBezTo>
                <a:cubicBezTo>
                  <a:pt x="381" y="271"/>
                  <a:pt x="394" y="254"/>
                  <a:pt x="394" y="23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8" name="Group 382"/>
          <p:cNvGrpSpPr>
            <a:grpSpLocks noChangeAspect="1"/>
          </p:cNvGrpSpPr>
          <p:nvPr/>
        </p:nvGrpSpPr>
        <p:grpSpPr bwMode="auto">
          <a:xfrm>
            <a:off x="5938695" y="2049968"/>
            <a:ext cx="369021" cy="369021"/>
            <a:chOff x="390" y="1196"/>
            <a:chExt cx="340" cy="340"/>
          </a:xfrm>
          <a:solidFill>
            <a:schemeClr val="accent4"/>
          </a:solidFill>
        </p:grpSpPr>
        <p:sp>
          <p:nvSpPr>
            <p:cNvPr id="279" name="Freeform 383"/>
            <p:cNvSpPr>
              <a:spLocks noEditPoints="1"/>
            </p:cNvSpPr>
            <p:nvPr/>
          </p:nvSpPr>
          <p:spPr bwMode="auto">
            <a:xfrm>
              <a:off x="465" y="1266"/>
              <a:ext cx="195" cy="192"/>
            </a:xfrm>
            <a:custGeom>
              <a:avLst/>
              <a:gdLst>
                <a:gd name="T0" fmla="*/ 238 w 293"/>
                <a:gd name="T1" fmla="*/ 288 h 288"/>
                <a:gd name="T2" fmla="*/ 225 w 293"/>
                <a:gd name="T3" fmla="*/ 287 h 288"/>
                <a:gd name="T4" fmla="*/ 82 w 293"/>
                <a:gd name="T5" fmla="*/ 210 h 288"/>
                <a:gd name="T6" fmla="*/ 6 w 293"/>
                <a:gd name="T7" fmla="*/ 67 h 288"/>
                <a:gd name="T8" fmla="*/ 18 w 293"/>
                <a:gd name="T9" fmla="*/ 26 h 288"/>
                <a:gd name="T10" fmla="*/ 20 w 293"/>
                <a:gd name="T11" fmla="*/ 23 h 288"/>
                <a:gd name="T12" fmla="*/ 47 w 293"/>
                <a:gd name="T13" fmla="*/ 1 h 288"/>
                <a:gd name="T14" fmla="*/ 47 w 293"/>
                <a:gd name="T15" fmla="*/ 1 h 288"/>
                <a:gd name="T16" fmla="*/ 76 w 293"/>
                <a:gd name="T17" fmla="*/ 9 h 288"/>
                <a:gd name="T18" fmla="*/ 125 w 293"/>
                <a:gd name="T19" fmla="*/ 71 h 288"/>
                <a:gd name="T20" fmla="*/ 123 w 293"/>
                <a:gd name="T21" fmla="*/ 80 h 288"/>
                <a:gd name="T22" fmla="*/ 99 w 293"/>
                <a:gd name="T23" fmla="*/ 104 h 288"/>
                <a:gd name="T24" fmla="*/ 106 w 293"/>
                <a:gd name="T25" fmla="*/ 116 h 288"/>
                <a:gd name="T26" fmla="*/ 138 w 293"/>
                <a:gd name="T27" fmla="*/ 155 h 288"/>
                <a:gd name="T28" fmla="*/ 177 w 293"/>
                <a:gd name="T29" fmla="*/ 186 h 288"/>
                <a:gd name="T30" fmla="*/ 189 w 293"/>
                <a:gd name="T31" fmla="*/ 193 h 288"/>
                <a:gd name="T32" fmla="*/ 213 w 293"/>
                <a:gd name="T33" fmla="*/ 170 h 288"/>
                <a:gd name="T34" fmla="*/ 222 w 293"/>
                <a:gd name="T35" fmla="*/ 167 h 288"/>
                <a:gd name="T36" fmla="*/ 284 w 293"/>
                <a:gd name="T37" fmla="*/ 216 h 288"/>
                <a:gd name="T38" fmla="*/ 291 w 293"/>
                <a:gd name="T39" fmla="*/ 244 h 288"/>
                <a:gd name="T40" fmla="*/ 291 w 293"/>
                <a:gd name="T41" fmla="*/ 244 h 288"/>
                <a:gd name="T42" fmla="*/ 269 w 293"/>
                <a:gd name="T43" fmla="*/ 272 h 288"/>
                <a:gd name="T44" fmla="*/ 266 w 293"/>
                <a:gd name="T45" fmla="*/ 275 h 288"/>
                <a:gd name="T46" fmla="*/ 238 w 293"/>
                <a:gd name="T47" fmla="*/ 288 h 288"/>
                <a:gd name="T48" fmla="*/ 53 w 293"/>
                <a:gd name="T49" fmla="*/ 22 h 288"/>
                <a:gd name="T50" fmla="*/ 36 w 293"/>
                <a:gd name="T51" fmla="*/ 38 h 288"/>
                <a:gd name="T52" fmla="*/ 33 w 293"/>
                <a:gd name="T53" fmla="*/ 41 h 288"/>
                <a:gd name="T54" fmla="*/ 27 w 293"/>
                <a:gd name="T55" fmla="*/ 63 h 288"/>
                <a:gd name="T56" fmla="*/ 27 w 293"/>
                <a:gd name="T57" fmla="*/ 65 h 288"/>
                <a:gd name="T58" fmla="*/ 97 w 293"/>
                <a:gd name="T59" fmla="*/ 195 h 288"/>
                <a:gd name="T60" fmla="*/ 228 w 293"/>
                <a:gd name="T61" fmla="*/ 266 h 288"/>
                <a:gd name="T62" fmla="*/ 229 w 293"/>
                <a:gd name="T63" fmla="*/ 266 h 288"/>
                <a:gd name="T64" fmla="*/ 251 w 293"/>
                <a:gd name="T65" fmla="*/ 259 h 288"/>
                <a:gd name="T66" fmla="*/ 255 w 293"/>
                <a:gd name="T67" fmla="*/ 256 h 288"/>
                <a:gd name="T68" fmla="*/ 270 w 293"/>
                <a:gd name="T69" fmla="*/ 240 h 288"/>
                <a:gd name="T70" fmla="*/ 224 w 293"/>
                <a:gd name="T71" fmla="*/ 189 h 288"/>
                <a:gd name="T72" fmla="*/ 198 w 293"/>
                <a:gd name="T73" fmla="*/ 215 h 288"/>
                <a:gd name="T74" fmla="*/ 184 w 293"/>
                <a:gd name="T75" fmla="*/ 216 h 288"/>
                <a:gd name="T76" fmla="*/ 166 w 293"/>
                <a:gd name="T77" fmla="*/ 204 h 288"/>
                <a:gd name="T78" fmla="*/ 122 w 293"/>
                <a:gd name="T79" fmla="*/ 170 h 288"/>
                <a:gd name="T80" fmla="*/ 88 w 293"/>
                <a:gd name="T81" fmla="*/ 127 h 288"/>
                <a:gd name="T82" fmla="*/ 76 w 293"/>
                <a:gd name="T83" fmla="*/ 108 h 288"/>
                <a:gd name="T84" fmla="*/ 78 w 293"/>
                <a:gd name="T85" fmla="*/ 95 h 288"/>
                <a:gd name="T86" fmla="*/ 104 w 293"/>
                <a:gd name="T87" fmla="*/ 69 h 288"/>
                <a:gd name="T88" fmla="*/ 53 w 293"/>
                <a:gd name="T89" fmla="*/ 2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3" h="288">
                  <a:moveTo>
                    <a:pt x="238" y="288"/>
                  </a:moveTo>
                  <a:cubicBezTo>
                    <a:pt x="234" y="288"/>
                    <a:pt x="230" y="288"/>
                    <a:pt x="225" y="287"/>
                  </a:cubicBezTo>
                  <a:cubicBezTo>
                    <a:pt x="216" y="286"/>
                    <a:pt x="144" y="275"/>
                    <a:pt x="82" y="210"/>
                  </a:cubicBezTo>
                  <a:cubicBezTo>
                    <a:pt x="17" y="148"/>
                    <a:pt x="7" y="76"/>
                    <a:pt x="6" y="67"/>
                  </a:cubicBezTo>
                  <a:cubicBezTo>
                    <a:pt x="0" y="44"/>
                    <a:pt x="9" y="35"/>
                    <a:pt x="18" y="26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30" y="13"/>
                    <a:pt x="36" y="4"/>
                    <a:pt x="47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58" y="0"/>
                    <a:pt x="76" y="9"/>
                  </a:cubicBezTo>
                  <a:cubicBezTo>
                    <a:pt x="103" y="23"/>
                    <a:pt x="121" y="45"/>
                    <a:pt x="125" y="71"/>
                  </a:cubicBezTo>
                  <a:cubicBezTo>
                    <a:pt x="126" y="74"/>
                    <a:pt x="125" y="77"/>
                    <a:pt x="123" y="80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102" y="108"/>
                    <a:pt x="104" y="112"/>
                    <a:pt x="106" y="116"/>
                  </a:cubicBezTo>
                  <a:cubicBezTo>
                    <a:pt x="114" y="127"/>
                    <a:pt x="119" y="136"/>
                    <a:pt x="138" y="155"/>
                  </a:cubicBezTo>
                  <a:cubicBezTo>
                    <a:pt x="156" y="174"/>
                    <a:pt x="165" y="179"/>
                    <a:pt x="177" y="186"/>
                  </a:cubicBezTo>
                  <a:cubicBezTo>
                    <a:pt x="180" y="188"/>
                    <a:pt x="184" y="191"/>
                    <a:pt x="189" y="193"/>
                  </a:cubicBezTo>
                  <a:cubicBezTo>
                    <a:pt x="213" y="170"/>
                    <a:pt x="213" y="170"/>
                    <a:pt x="213" y="170"/>
                  </a:cubicBezTo>
                  <a:cubicBezTo>
                    <a:pt x="215" y="167"/>
                    <a:pt x="218" y="166"/>
                    <a:pt x="222" y="167"/>
                  </a:cubicBezTo>
                  <a:cubicBezTo>
                    <a:pt x="248" y="170"/>
                    <a:pt x="270" y="188"/>
                    <a:pt x="284" y="216"/>
                  </a:cubicBezTo>
                  <a:cubicBezTo>
                    <a:pt x="290" y="229"/>
                    <a:pt x="293" y="239"/>
                    <a:pt x="291" y="244"/>
                  </a:cubicBezTo>
                  <a:cubicBezTo>
                    <a:pt x="291" y="244"/>
                    <a:pt x="291" y="244"/>
                    <a:pt x="291" y="244"/>
                  </a:cubicBezTo>
                  <a:cubicBezTo>
                    <a:pt x="289" y="253"/>
                    <a:pt x="280" y="262"/>
                    <a:pt x="269" y="272"/>
                  </a:cubicBezTo>
                  <a:cubicBezTo>
                    <a:pt x="266" y="275"/>
                    <a:pt x="266" y="275"/>
                    <a:pt x="266" y="275"/>
                  </a:cubicBezTo>
                  <a:cubicBezTo>
                    <a:pt x="259" y="281"/>
                    <a:pt x="252" y="288"/>
                    <a:pt x="238" y="288"/>
                  </a:cubicBezTo>
                  <a:close/>
                  <a:moveTo>
                    <a:pt x="53" y="22"/>
                  </a:moveTo>
                  <a:cubicBezTo>
                    <a:pt x="48" y="25"/>
                    <a:pt x="40" y="34"/>
                    <a:pt x="36" y="38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26" y="49"/>
                    <a:pt x="24" y="51"/>
                    <a:pt x="27" y="63"/>
                  </a:cubicBezTo>
                  <a:cubicBezTo>
                    <a:pt x="27" y="64"/>
                    <a:pt x="27" y="64"/>
                    <a:pt x="27" y="65"/>
                  </a:cubicBezTo>
                  <a:cubicBezTo>
                    <a:pt x="27" y="65"/>
                    <a:pt x="35" y="136"/>
                    <a:pt x="97" y="195"/>
                  </a:cubicBezTo>
                  <a:cubicBezTo>
                    <a:pt x="157" y="258"/>
                    <a:pt x="227" y="265"/>
                    <a:pt x="228" y="266"/>
                  </a:cubicBezTo>
                  <a:cubicBezTo>
                    <a:pt x="228" y="266"/>
                    <a:pt x="229" y="266"/>
                    <a:pt x="229" y="266"/>
                  </a:cubicBezTo>
                  <a:cubicBezTo>
                    <a:pt x="242" y="269"/>
                    <a:pt x="244" y="267"/>
                    <a:pt x="251" y="259"/>
                  </a:cubicBezTo>
                  <a:cubicBezTo>
                    <a:pt x="255" y="256"/>
                    <a:pt x="255" y="256"/>
                    <a:pt x="255" y="256"/>
                  </a:cubicBezTo>
                  <a:cubicBezTo>
                    <a:pt x="258" y="253"/>
                    <a:pt x="267" y="244"/>
                    <a:pt x="270" y="240"/>
                  </a:cubicBezTo>
                  <a:cubicBezTo>
                    <a:pt x="267" y="230"/>
                    <a:pt x="255" y="197"/>
                    <a:pt x="224" y="189"/>
                  </a:cubicBezTo>
                  <a:cubicBezTo>
                    <a:pt x="198" y="215"/>
                    <a:pt x="198" y="215"/>
                    <a:pt x="198" y="215"/>
                  </a:cubicBezTo>
                  <a:cubicBezTo>
                    <a:pt x="194" y="218"/>
                    <a:pt x="188" y="219"/>
                    <a:pt x="184" y="216"/>
                  </a:cubicBezTo>
                  <a:cubicBezTo>
                    <a:pt x="177" y="211"/>
                    <a:pt x="171" y="207"/>
                    <a:pt x="166" y="204"/>
                  </a:cubicBezTo>
                  <a:cubicBezTo>
                    <a:pt x="154" y="197"/>
                    <a:pt x="143" y="190"/>
                    <a:pt x="122" y="170"/>
                  </a:cubicBezTo>
                  <a:cubicBezTo>
                    <a:pt x="102" y="149"/>
                    <a:pt x="96" y="139"/>
                    <a:pt x="88" y="127"/>
                  </a:cubicBezTo>
                  <a:cubicBezTo>
                    <a:pt x="85" y="121"/>
                    <a:pt x="81" y="116"/>
                    <a:pt x="76" y="108"/>
                  </a:cubicBezTo>
                  <a:cubicBezTo>
                    <a:pt x="73" y="104"/>
                    <a:pt x="74" y="98"/>
                    <a:pt x="78" y="95"/>
                  </a:cubicBezTo>
                  <a:cubicBezTo>
                    <a:pt x="104" y="69"/>
                    <a:pt x="104" y="69"/>
                    <a:pt x="104" y="69"/>
                  </a:cubicBezTo>
                  <a:cubicBezTo>
                    <a:pt x="96" y="38"/>
                    <a:pt x="62" y="25"/>
                    <a:pt x="5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384"/>
            <p:cNvSpPr>
              <a:spLocks noEditPoints="1"/>
            </p:cNvSpPr>
            <p:nvPr/>
          </p:nvSpPr>
          <p:spPr bwMode="auto">
            <a:xfrm>
              <a:off x="390" y="11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1" name="Freeform 5"/>
          <p:cNvSpPr>
            <a:spLocks noChangeAspect="1" noEditPoints="1"/>
          </p:cNvSpPr>
          <p:nvPr/>
        </p:nvSpPr>
        <p:spPr bwMode="auto">
          <a:xfrm>
            <a:off x="5440138" y="2049964"/>
            <a:ext cx="369887" cy="3683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1 w 512"/>
              <a:gd name="T11" fmla="*/ 394 h 512"/>
              <a:gd name="T12" fmla="*/ 338 w 512"/>
              <a:gd name="T13" fmla="*/ 393 h 512"/>
              <a:gd name="T14" fmla="*/ 195 w 512"/>
              <a:gd name="T15" fmla="*/ 316 h 512"/>
              <a:gd name="T16" fmla="*/ 119 w 512"/>
              <a:gd name="T17" fmla="*/ 173 h 512"/>
              <a:gd name="T18" fmla="*/ 131 w 512"/>
              <a:gd name="T19" fmla="*/ 132 h 512"/>
              <a:gd name="T20" fmla="*/ 133 w 512"/>
              <a:gd name="T21" fmla="*/ 129 h 512"/>
              <a:gd name="T22" fmla="*/ 160 w 512"/>
              <a:gd name="T23" fmla="*/ 107 h 512"/>
              <a:gd name="T24" fmla="*/ 160 w 512"/>
              <a:gd name="T25" fmla="*/ 107 h 512"/>
              <a:gd name="T26" fmla="*/ 189 w 512"/>
              <a:gd name="T27" fmla="*/ 115 h 512"/>
              <a:gd name="T28" fmla="*/ 238 w 512"/>
              <a:gd name="T29" fmla="*/ 177 h 512"/>
              <a:gd name="T30" fmla="*/ 236 w 512"/>
              <a:gd name="T31" fmla="*/ 186 h 512"/>
              <a:gd name="T32" fmla="*/ 212 w 512"/>
              <a:gd name="T33" fmla="*/ 210 h 512"/>
              <a:gd name="T34" fmla="*/ 219 w 512"/>
              <a:gd name="T35" fmla="*/ 222 h 512"/>
              <a:gd name="T36" fmla="*/ 251 w 512"/>
              <a:gd name="T37" fmla="*/ 261 h 512"/>
              <a:gd name="T38" fmla="*/ 290 w 512"/>
              <a:gd name="T39" fmla="*/ 292 h 512"/>
              <a:gd name="T40" fmla="*/ 302 w 512"/>
              <a:gd name="T41" fmla="*/ 299 h 512"/>
              <a:gd name="T42" fmla="*/ 326 w 512"/>
              <a:gd name="T43" fmla="*/ 276 h 512"/>
              <a:gd name="T44" fmla="*/ 335 w 512"/>
              <a:gd name="T45" fmla="*/ 273 h 512"/>
              <a:gd name="T46" fmla="*/ 397 w 512"/>
              <a:gd name="T47" fmla="*/ 322 h 512"/>
              <a:gd name="T48" fmla="*/ 404 w 512"/>
              <a:gd name="T49" fmla="*/ 350 h 512"/>
              <a:gd name="T50" fmla="*/ 404 w 512"/>
              <a:gd name="T51" fmla="*/ 350 h 512"/>
              <a:gd name="T52" fmla="*/ 382 w 512"/>
              <a:gd name="T53" fmla="*/ 378 h 512"/>
              <a:gd name="T54" fmla="*/ 379 w 512"/>
              <a:gd name="T55" fmla="*/ 381 h 512"/>
              <a:gd name="T56" fmla="*/ 351 w 512"/>
              <a:gd name="T57" fmla="*/ 394 h 512"/>
              <a:gd name="T58" fmla="*/ 166 w 512"/>
              <a:gd name="T59" fmla="*/ 128 h 512"/>
              <a:gd name="T60" fmla="*/ 149 w 512"/>
              <a:gd name="T61" fmla="*/ 144 h 512"/>
              <a:gd name="T62" fmla="*/ 146 w 512"/>
              <a:gd name="T63" fmla="*/ 147 h 512"/>
              <a:gd name="T64" fmla="*/ 140 w 512"/>
              <a:gd name="T65" fmla="*/ 169 h 512"/>
              <a:gd name="T66" fmla="*/ 140 w 512"/>
              <a:gd name="T67" fmla="*/ 171 h 512"/>
              <a:gd name="T68" fmla="*/ 210 w 512"/>
              <a:gd name="T69" fmla="*/ 301 h 512"/>
              <a:gd name="T70" fmla="*/ 341 w 512"/>
              <a:gd name="T71" fmla="*/ 372 h 512"/>
              <a:gd name="T72" fmla="*/ 342 w 512"/>
              <a:gd name="T73" fmla="*/ 372 h 512"/>
              <a:gd name="T74" fmla="*/ 364 w 512"/>
              <a:gd name="T75" fmla="*/ 365 h 512"/>
              <a:gd name="T76" fmla="*/ 368 w 512"/>
              <a:gd name="T77" fmla="*/ 362 h 512"/>
              <a:gd name="T78" fmla="*/ 383 w 512"/>
              <a:gd name="T79" fmla="*/ 346 h 512"/>
              <a:gd name="T80" fmla="*/ 337 w 512"/>
              <a:gd name="T81" fmla="*/ 295 h 512"/>
              <a:gd name="T82" fmla="*/ 311 w 512"/>
              <a:gd name="T83" fmla="*/ 321 h 512"/>
              <a:gd name="T84" fmla="*/ 297 w 512"/>
              <a:gd name="T85" fmla="*/ 322 h 512"/>
              <a:gd name="T86" fmla="*/ 279 w 512"/>
              <a:gd name="T87" fmla="*/ 310 h 512"/>
              <a:gd name="T88" fmla="*/ 235 w 512"/>
              <a:gd name="T89" fmla="*/ 276 h 512"/>
              <a:gd name="T90" fmla="*/ 201 w 512"/>
              <a:gd name="T91" fmla="*/ 233 h 512"/>
              <a:gd name="T92" fmla="*/ 189 w 512"/>
              <a:gd name="T93" fmla="*/ 214 h 512"/>
              <a:gd name="T94" fmla="*/ 191 w 512"/>
              <a:gd name="T95" fmla="*/ 201 h 512"/>
              <a:gd name="T96" fmla="*/ 217 w 512"/>
              <a:gd name="T97" fmla="*/ 175 h 512"/>
              <a:gd name="T98" fmla="*/ 166 w 512"/>
              <a:gd name="T99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1" y="394"/>
                </a:moveTo>
                <a:cubicBezTo>
                  <a:pt x="347" y="394"/>
                  <a:pt x="343" y="394"/>
                  <a:pt x="338" y="393"/>
                </a:cubicBezTo>
                <a:cubicBezTo>
                  <a:pt x="329" y="392"/>
                  <a:pt x="257" y="381"/>
                  <a:pt x="195" y="316"/>
                </a:cubicBezTo>
                <a:cubicBezTo>
                  <a:pt x="130" y="254"/>
                  <a:pt x="120" y="182"/>
                  <a:pt x="119" y="173"/>
                </a:cubicBezTo>
                <a:cubicBezTo>
                  <a:pt x="113" y="150"/>
                  <a:pt x="122" y="141"/>
                  <a:pt x="131" y="132"/>
                </a:cubicBezTo>
                <a:cubicBezTo>
                  <a:pt x="133" y="129"/>
                  <a:pt x="133" y="129"/>
                  <a:pt x="133" y="129"/>
                </a:cubicBezTo>
                <a:cubicBezTo>
                  <a:pt x="143" y="119"/>
                  <a:pt x="149" y="110"/>
                  <a:pt x="160" y="107"/>
                </a:cubicBezTo>
                <a:cubicBezTo>
                  <a:pt x="160" y="107"/>
                  <a:pt x="160" y="107"/>
                  <a:pt x="160" y="107"/>
                </a:cubicBezTo>
                <a:cubicBezTo>
                  <a:pt x="160" y="106"/>
                  <a:pt x="171" y="106"/>
                  <a:pt x="189" y="115"/>
                </a:cubicBezTo>
                <a:cubicBezTo>
                  <a:pt x="216" y="129"/>
                  <a:pt x="234" y="151"/>
                  <a:pt x="238" y="177"/>
                </a:cubicBezTo>
                <a:cubicBezTo>
                  <a:pt x="239" y="180"/>
                  <a:pt x="238" y="183"/>
                  <a:pt x="236" y="186"/>
                </a:cubicBezTo>
                <a:cubicBezTo>
                  <a:pt x="212" y="210"/>
                  <a:pt x="212" y="210"/>
                  <a:pt x="212" y="210"/>
                </a:cubicBezTo>
                <a:cubicBezTo>
                  <a:pt x="215" y="214"/>
                  <a:pt x="217" y="218"/>
                  <a:pt x="219" y="222"/>
                </a:cubicBezTo>
                <a:cubicBezTo>
                  <a:pt x="227" y="233"/>
                  <a:pt x="232" y="242"/>
                  <a:pt x="251" y="261"/>
                </a:cubicBezTo>
                <a:cubicBezTo>
                  <a:pt x="269" y="280"/>
                  <a:pt x="278" y="285"/>
                  <a:pt x="290" y="292"/>
                </a:cubicBezTo>
                <a:cubicBezTo>
                  <a:pt x="293" y="294"/>
                  <a:pt x="297" y="297"/>
                  <a:pt x="302" y="299"/>
                </a:cubicBezTo>
                <a:cubicBezTo>
                  <a:pt x="326" y="276"/>
                  <a:pt x="326" y="276"/>
                  <a:pt x="326" y="276"/>
                </a:cubicBezTo>
                <a:cubicBezTo>
                  <a:pt x="328" y="273"/>
                  <a:pt x="331" y="272"/>
                  <a:pt x="335" y="273"/>
                </a:cubicBezTo>
                <a:cubicBezTo>
                  <a:pt x="361" y="276"/>
                  <a:pt x="383" y="294"/>
                  <a:pt x="397" y="322"/>
                </a:cubicBezTo>
                <a:cubicBezTo>
                  <a:pt x="403" y="335"/>
                  <a:pt x="406" y="345"/>
                  <a:pt x="404" y="350"/>
                </a:cubicBezTo>
                <a:cubicBezTo>
                  <a:pt x="404" y="350"/>
                  <a:pt x="404" y="350"/>
                  <a:pt x="404" y="350"/>
                </a:cubicBezTo>
                <a:cubicBezTo>
                  <a:pt x="402" y="359"/>
                  <a:pt x="393" y="368"/>
                  <a:pt x="382" y="378"/>
                </a:cubicBezTo>
                <a:cubicBezTo>
                  <a:pt x="379" y="381"/>
                  <a:pt x="379" y="381"/>
                  <a:pt x="379" y="381"/>
                </a:cubicBezTo>
                <a:cubicBezTo>
                  <a:pt x="372" y="387"/>
                  <a:pt x="365" y="394"/>
                  <a:pt x="351" y="394"/>
                </a:cubicBezTo>
                <a:close/>
                <a:moveTo>
                  <a:pt x="166" y="128"/>
                </a:moveTo>
                <a:cubicBezTo>
                  <a:pt x="161" y="131"/>
                  <a:pt x="153" y="140"/>
                  <a:pt x="149" y="144"/>
                </a:cubicBezTo>
                <a:cubicBezTo>
                  <a:pt x="146" y="147"/>
                  <a:pt x="146" y="147"/>
                  <a:pt x="146" y="147"/>
                </a:cubicBezTo>
                <a:cubicBezTo>
                  <a:pt x="139" y="155"/>
                  <a:pt x="137" y="157"/>
                  <a:pt x="140" y="169"/>
                </a:cubicBezTo>
                <a:cubicBezTo>
                  <a:pt x="140" y="170"/>
                  <a:pt x="140" y="170"/>
                  <a:pt x="140" y="171"/>
                </a:cubicBezTo>
                <a:cubicBezTo>
                  <a:pt x="140" y="171"/>
                  <a:pt x="148" y="242"/>
                  <a:pt x="210" y="301"/>
                </a:cubicBezTo>
                <a:cubicBezTo>
                  <a:pt x="270" y="364"/>
                  <a:pt x="340" y="371"/>
                  <a:pt x="341" y="372"/>
                </a:cubicBezTo>
                <a:cubicBezTo>
                  <a:pt x="341" y="372"/>
                  <a:pt x="342" y="372"/>
                  <a:pt x="342" y="372"/>
                </a:cubicBezTo>
                <a:cubicBezTo>
                  <a:pt x="355" y="375"/>
                  <a:pt x="357" y="373"/>
                  <a:pt x="364" y="365"/>
                </a:cubicBezTo>
                <a:cubicBezTo>
                  <a:pt x="368" y="362"/>
                  <a:pt x="368" y="362"/>
                  <a:pt x="368" y="362"/>
                </a:cubicBezTo>
                <a:cubicBezTo>
                  <a:pt x="371" y="359"/>
                  <a:pt x="380" y="350"/>
                  <a:pt x="383" y="346"/>
                </a:cubicBezTo>
                <a:cubicBezTo>
                  <a:pt x="380" y="336"/>
                  <a:pt x="368" y="303"/>
                  <a:pt x="337" y="295"/>
                </a:cubicBezTo>
                <a:cubicBezTo>
                  <a:pt x="311" y="321"/>
                  <a:pt x="311" y="321"/>
                  <a:pt x="311" y="321"/>
                </a:cubicBezTo>
                <a:cubicBezTo>
                  <a:pt x="307" y="324"/>
                  <a:pt x="301" y="325"/>
                  <a:pt x="297" y="322"/>
                </a:cubicBezTo>
                <a:cubicBezTo>
                  <a:pt x="290" y="317"/>
                  <a:pt x="284" y="313"/>
                  <a:pt x="279" y="310"/>
                </a:cubicBezTo>
                <a:cubicBezTo>
                  <a:pt x="267" y="303"/>
                  <a:pt x="256" y="296"/>
                  <a:pt x="235" y="276"/>
                </a:cubicBezTo>
                <a:cubicBezTo>
                  <a:pt x="215" y="255"/>
                  <a:pt x="209" y="245"/>
                  <a:pt x="201" y="233"/>
                </a:cubicBezTo>
                <a:cubicBezTo>
                  <a:pt x="198" y="227"/>
                  <a:pt x="194" y="222"/>
                  <a:pt x="189" y="214"/>
                </a:cubicBezTo>
                <a:cubicBezTo>
                  <a:pt x="186" y="210"/>
                  <a:pt x="187" y="204"/>
                  <a:pt x="191" y="201"/>
                </a:cubicBezTo>
                <a:cubicBezTo>
                  <a:pt x="217" y="175"/>
                  <a:pt x="217" y="175"/>
                  <a:pt x="217" y="175"/>
                </a:cubicBezTo>
                <a:cubicBezTo>
                  <a:pt x="209" y="144"/>
                  <a:pt x="175" y="131"/>
                  <a:pt x="166" y="12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2" name="Freeform 221"/>
          <p:cNvSpPr>
            <a:spLocks noChangeAspect="1" noEditPoints="1"/>
          </p:cNvSpPr>
          <p:nvPr/>
        </p:nvSpPr>
        <p:spPr bwMode="auto">
          <a:xfrm>
            <a:off x="6436386" y="2049968"/>
            <a:ext cx="367041" cy="367041"/>
          </a:xfrm>
          <a:custGeom>
            <a:avLst/>
            <a:gdLst>
              <a:gd name="T0" fmla="*/ 138 w 512"/>
              <a:gd name="T1" fmla="*/ 272 h 512"/>
              <a:gd name="T2" fmla="*/ 154 w 512"/>
              <a:gd name="T3" fmla="*/ 256 h 512"/>
              <a:gd name="T4" fmla="*/ 170 w 512"/>
              <a:gd name="T5" fmla="*/ 272 h 512"/>
              <a:gd name="T6" fmla="*/ 170 w 512"/>
              <a:gd name="T7" fmla="*/ 346 h 512"/>
              <a:gd name="T8" fmla="*/ 154 w 512"/>
              <a:gd name="T9" fmla="*/ 362 h 512"/>
              <a:gd name="T10" fmla="*/ 138 w 512"/>
              <a:gd name="T11" fmla="*/ 346 h 512"/>
              <a:gd name="T12" fmla="*/ 138 w 512"/>
              <a:gd name="T13" fmla="*/ 272 h 512"/>
              <a:gd name="T14" fmla="*/ 357 w 512"/>
              <a:gd name="T15" fmla="*/ 256 h 512"/>
              <a:gd name="T16" fmla="*/ 341 w 512"/>
              <a:gd name="T17" fmla="*/ 272 h 512"/>
              <a:gd name="T18" fmla="*/ 341 w 512"/>
              <a:gd name="T19" fmla="*/ 346 h 512"/>
              <a:gd name="T20" fmla="*/ 357 w 512"/>
              <a:gd name="T21" fmla="*/ 362 h 512"/>
              <a:gd name="T22" fmla="*/ 373 w 512"/>
              <a:gd name="T23" fmla="*/ 346 h 512"/>
              <a:gd name="T24" fmla="*/ 373 w 512"/>
              <a:gd name="T25" fmla="*/ 272 h 512"/>
              <a:gd name="T26" fmla="*/ 357 w 512"/>
              <a:gd name="T27" fmla="*/ 256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94 w 512"/>
              <a:gd name="T39" fmla="*/ 240 h 512"/>
              <a:gd name="T40" fmla="*/ 256 w 512"/>
              <a:gd name="T41" fmla="*/ 106 h 512"/>
              <a:gd name="T42" fmla="*/ 117 w 512"/>
              <a:gd name="T43" fmla="*/ 240 h 512"/>
              <a:gd name="T44" fmla="*/ 117 w 512"/>
              <a:gd name="T45" fmla="*/ 346 h 512"/>
              <a:gd name="T46" fmla="*/ 154 w 512"/>
              <a:gd name="T47" fmla="*/ 384 h 512"/>
              <a:gd name="T48" fmla="*/ 192 w 512"/>
              <a:gd name="T49" fmla="*/ 346 h 512"/>
              <a:gd name="T50" fmla="*/ 192 w 512"/>
              <a:gd name="T51" fmla="*/ 272 h 512"/>
              <a:gd name="T52" fmla="*/ 154 w 512"/>
              <a:gd name="T53" fmla="*/ 234 h 512"/>
              <a:gd name="T54" fmla="*/ 138 w 512"/>
              <a:gd name="T55" fmla="*/ 238 h 512"/>
              <a:gd name="T56" fmla="*/ 256 w 512"/>
              <a:gd name="T57" fmla="*/ 128 h 512"/>
              <a:gd name="T58" fmla="*/ 373 w 512"/>
              <a:gd name="T59" fmla="*/ 238 h 512"/>
              <a:gd name="T60" fmla="*/ 357 w 512"/>
              <a:gd name="T61" fmla="*/ 234 h 512"/>
              <a:gd name="T62" fmla="*/ 320 w 512"/>
              <a:gd name="T63" fmla="*/ 272 h 512"/>
              <a:gd name="T64" fmla="*/ 320 w 512"/>
              <a:gd name="T65" fmla="*/ 346 h 512"/>
              <a:gd name="T66" fmla="*/ 357 w 512"/>
              <a:gd name="T67" fmla="*/ 384 h 512"/>
              <a:gd name="T68" fmla="*/ 394 w 512"/>
              <a:gd name="T69" fmla="*/ 346 h 512"/>
              <a:gd name="T70" fmla="*/ 394 w 512"/>
              <a:gd name="T71" fmla="*/ 24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138" y="272"/>
                </a:moveTo>
                <a:cubicBezTo>
                  <a:pt x="138" y="263"/>
                  <a:pt x="146" y="256"/>
                  <a:pt x="154" y="256"/>
                </a:cubicBezTo>
                <a:cubicBezTo>
                  <a:pt x="163" y="256"/>
                  <a:pt x="170" y="263"/>
                  <a:pt x="170" y="272"/>
                </a:cubicBezTo>
                <a:cubicBezTo>
                  <a:pt x="170" y="346"/>
                  <a:pt x="170" y="346"/>
                  <a:pt x="170" y="346"/>
                </a:cubicBezTo>
                <a:cubicBezTo>
                  <a:pt x="170" y="355"/>
                  <a:pt x="163" y="362"/>
                  <a:pt x="154" y="362"/>
                </a:cubicBezTo>
                <a:cubicBezTo>
                  <a:pt x="146" y="362"/>
                  <a:pt x="138" y="355"/>
                  <a:pt x="138" y="346"/>
                </a:cubicBezTo>
                <a:lnTo>
                  <a:pt x="138" y="272"/>
                </a:lnTo>
                <a:close/>
                <a:moveTo>
                  <a:pt x="357" y="256"/>
                </a:moveTo>
                <a:cubicBezTo>
                  <a:pt x="348" y="256"/>
                  <a:pt x="341" y="263"/>
                  <a:pt x="341" y="272"/>
                </a:cubicBezTo>
                <a:cubicBezTo>
                  <a:pt x="341" y="346"/>
                  <a:pt x="341" y="346"/>
                  <a:pt x="341" y="346"/>
                </a:cubicBezTo>
                <a:cubicBezTo>
                  <a:pt x="341" y="355"/>
                  <a:pt x="348" y="362"/>
                  <a:pt x="357" y="362"/>
                </a:cubicBezTo>
                <a:cubicBezTo>
                  <a:pt x="366" y="362"/>
                  <a:pt x="373" y="355"/>
                  <a:pt x="373" y="346"/>
                </a:cubicBezTo>
                <a:cubicBezTo>
                  <a:pt x="373" y="272"/>
                  <a:pt x="373" y="272"/>
                  <a:pt x="373" y="272"/>
                </a:cubicBezTo>
                <a:cubicBezTo>
                  <a:pt x="373" y="263"/>
                  <a:pt x="366" y="256"/>
                  <a:pt x="357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40"/>
                </a:moveTo>
                <a:cubicBezTo>
                  <a:pt x="394" y="166"/>
                  <a:pt x="332" y="106"/>
                  <a:pt x="256" y="106"/>
                </a:cubicBezTo>
                <a:cubicBezTo>
                  <a:pt x="179" y="106"/>
                  <a:pt x="117" y="166"/>
                  <a:pt x="117" y="240"/>
                </a:cubicBezTo>
                <a:cubicBezTo>
                  <a:pt x="117" y="346"/>
                  <a:pt x="117" y="346"/>
                  <a:pt x="117" y="346"/>
                </a:cubicBezTo>
                <a:cubicBezTo>
                  <a:pt x="117" y="367"/>
                  <a:pt x="134" y="384"/>
                  <a:pt x="154" y="384"/>
                </a:cubicBezTo>
                <a:cubicBezTo>
                  <a:pt x="175" y="384"/>
                  <a:pt x="192" y="367"/>
                  <a:pt x="192" y="346"/>
                </a:cubicBezTo>
                <a:cubicBezTo>
                  <a:pt x="192" y="272"/>
                  <a:pt x="192" y="272"/>
                  <a:pt x="192" y="272"/>
                </a:cubicBezTo>
                <a:cubicBezTo>
                  <a:pt x="192" y="251"/>
                  <a:pt x="175" y="234"/>
                  <a:pt x="154" y="234"/>
                </a:cubicBezTo>
                <a:cubicBezTo>
                  <a:pt x="149" y="234"/>
                  <a:pt x="143" y="236"/>
                  <a:pt x="138" y="238"/>
                </a:cubicBezTo>
                <a:cubicBezTo>
                  <a:pt x="139" y="177"/>
                  <a:pt x="192" y="128"/>
                  <a:pt x="256" y="128"/>
                </a:cubicBezTo>
                <a:cubicBezTo>
                  <a:pt x="320" y="128"/>
                  <a:pt x="372" y="177"/>
                  <a:pt x="373" y="238"/>
                </a:cubicBezTo>
                <a:cubicBezTo>
                  <a:pt x="368" y="236"/>
                  <a:pt x="363" y="234"/>
                  <a:pt x="357" y="234"/>
                </a:cubicBezTo>
                <a:cubicBezTo>
                  <a:pt x="336" y="234"/>
                  <a:pt x="320" y="251"/>
                  <a:pt x="320" y="272"/>
                </a:cubicBezTo>
                <a:cubicBezTo>
                  <a:pt x="320" y="346"/>
                  <a:pt x="320" y="346"/>
                  <a:pt x="320" y="346"/>
                </a:cubicBezTo>
                <a:cubicBezTo>
                  <a:pt x="320" y="367"/>
                  <a:pt x="336" y="384"/>
                  <a:pt x="357" y="384"/>
                </a:cubicBezTo>
                <a:cubicBezTo>
                  <a:pt x="378" y="384"/>
                  <a:pt x="394" y="367"/>
                  <a:pt x="394" y="346"/>
                </a:cubicBezTo>
                <a:lnTo>
                  <a:pt x="394" y="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3" name="Group 224"/>
          <p:cNvGrpSpPr>
            <a:grpSpLocks noChangeAspect="1"/>
          </p:cNvGrpSpPr>
          <p:nvPr/>
        </p:nvGrpSpPr>
        <p:grpSpPr bwMode="auto">
          <a:xfrm>
            <a:off x="6932097" y="2049968"/>
            <a:ext cx="367041" cy="367041"/>
            <a:chOff x="2713" y="721"/>
            <a:chExt cx="340" cy="340"/>
          </a:xfrm>
          <a:solidFill>
            <a:schemeClr val="accent3"/>
          </a:solidFill>
        </p:grpSpPr>
        <p:sp>
          <p:nvSpPr>
            <p:cNvPr id="284" name="Freeform 225"/>
            <p:cNvSpPr>
              <a:spLocks noEditPoints="1"/>
            </p:cNvSpPr>
            <p:nvPr/>
          </p:nvSpPr>
          <p:spPr bwMode="auto">
            <a:xfrm>
              <a:off x="2713" y="72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226"/>
            <p:cNvSpPr>
              <a:spLocks noEditPoints="1"/>
            </p:cNvSpPr>
            <p:nvPr/>
          </p:nvSpPr>
          <p:spPr bwMode="auto">
            <a:xfrm>
              <a:off x="2791" y="791"/>
              <a:ext cx="184" cy="185"/>
            </a:xfrm>
            <a:custGeom>
              <a:avLst/>
              <a:gdLst>
                <a:gd name="T0" fmla="*/ 139 w 277"/>
                <a:gd name="T1" fmla="*/ 0 h 278"/>
                <a:gd name="T2" fmla="*/ 0 w 277"/>
                <a:gd name="T3" fmla="*/ 134 h 278"/>
                <a:gd name="T4" fmla="*/ 0 w 277"/>
                <a:gd name="T5" fmla="*/ 240 h 278"/>
                <a:gd name="T6" fmla="*/ 37 w 277"/>
                <a:gd name="T7" fmla="*/ 278 h 278"/>
                <a:gd name="T8" fmla="*/ 75 w 277"/>
                <a:gd name="T9" fmla="*/ 240 h 278"/>
                <a:gd name="T10" fmla="*/ 75 w 277"/>
                <a:gd name="T11" fmla="*/ 166 h 278"/>
                <a:gd name="T12" fmla="*/ 37 w 277"/>
                <a:gd name="T13" fmla="*/ 128 h 278"/>
                <a:gd name="T14" fmla="*/ 21 w 277"/>
                <a:gd name="T15" fmla="*/ 132 h 278"/>
                <a:gd name="T16" fmla="*/ 139 w 277"/>
                <a:gd name="T17" fmla="*/ 22 h 278"/>
                <a:gd name="T18" fmla="*/ 256 w 277"/>
                <a:gd name="T19" fmla="*/ 132 h 278"/>
                <a:gd name="T20" fmla="*/ 240 w 277"/>
                <a:gd name="T21" fmla="*/ 128 h 278"/>
                <a:gd name="T22" fmla="*/ 203 w 277"/>
                <a:gd name="T23" fmla="*/ 166 h 278"/>
                <a:gd name="T24" fmla="*/ 203 w 277"/>
                <a:gd name="T25" fmla="*/ 240 h 278"/>
                <a:gd name="T26" fmla="*/ 240 w 277"/>
                <a:gd name="T27" fmla="*/ 278 h 278"/>
                <a:gd name="T28" fmla="*/ 277 w 277"/>
                <a:gd name="T29" fmla="*/ 240 h 278"/>
                <a:gd name="T30" fmla="*/ 277 w 277"/>
                <a:gd name="T31" fmla="*/ 134 h 278"/>
                <a:gd name="T32" fmla="*/ 139 w 277"/>
                <a:gd name="T33" fmla="*/ 0 h 278"/>
                <a:gd name="T34" fmla="*/ 37 w 277"/>
                <a:gd name="T35" fmla="*/ 150 h 278"/>
                <a:gd name="T36" fmla="*/ 53 w 277"/>
                <a:gd name="T37" fmla="*/ 166 h 278"/>
                <a:gd name="T38" fmla="*/ 53 w 277"/>
                <a:gd name="T39" fmla="*/ 240 h 278"/>
                <a:gd name="T40" fmla="*/ 37 w 277"/>
                <a:gd name="T41" fmla="*/ 256 h 278"/>
                <a:gd name="T42" fmla="*/ 21 w 277"/>
                <a:gd name="T43" fmla="*/ 240 h 278"/>
                <a:gd name="T44" fmla="*/ 21 w 277"/>
                <a:gd name="T45" fmla="*/ 166 h 278"/>
                <a:gd name="T46" fmla="*/ 37 w 277"/>
                <a:gd name="T47" fmla="*/ 150 h 278"/>
                <a:gd name="T48" fmla="*/ 256 w 277"/>
                <a:gd name="T49" fmla="*/ 240 h 278"/>
                <a:gd name="T50" fmla="*/ 240 w 277"/>
                <a:gd name="T51" fmla="*/ 256 h 278"/>
                <a:gd name="T52" fmla="*/ 224 w 277"/>
                <a:gd name="T53" fmla="*/ 240 h 278"/>
                <a:gd name="T54" fmla="*/ 224 w 277"/>
                <a:gd name="T55" fmla="*/ 166 h 278"/>
                <a:gd name="T56" fmla="*/ 240 w 277"/>
                <a:gd name="T57" fmla="*/ 150 h 278"/>
                <a:gd name="T58" fmla="*/ 256 w 277"/>
                <a:gd name="T59" fmla="*/ 166 h 278"/>
                <a:gd name="T60" fmla="*/ 256 w 277"/>
                <a:gd name="T61" fmla="*/ 24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7" h="278">
                  <a:moveTo>
                    <a:pt x="139" y="0"/>
                  </a:moveTo>
                  <a:cubicBezTo>
                    <a:pt x="62" y="0"/>
                    <a:pt x="0" y="60"/>
                    <a:pt x="0" y="134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61"/>
                    <a:pt x="17" y="278"/>
                    <a:pt x="37" y="278"/>
                  </a:cubicBezTo>
                  <a:cubicBezTo>
                    <a:pt x="58" y="278"/>
                    <a:pt x="75" y="261"/>
                    <a:pt x="75" y="240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75" y="145"/>
                    <a:pt x="58" y="128"/>
                    <a:pt x="37" y="128"/>
                  </a:cubicBezTo>
                  <a:cubicBezTo>
                    <a:pt x="32" y="128"/>
                    <a:pt x="26" y="130"/>
                    <a:pt x="21" y="132"/>
                  </a:cubicBezTo>
                  <a:cubicBezTo>
                    <a:pt x="22" y="71"/>
                    <a:pt x="75" y="22"/>
                    <a:pt x="139" y="22"/>
                  </a:cubicBezTo>
                  <a:cubicBezTo>
                    <a:pt x="203" y="22"/>
                    <a:pt x="255" y="71"/>
                    <a:pt x="256" y="132"/>
                  </a:cubicBezTo>
                  <a:cubicBezTo>
                    <a:pt x="251" y="130"/>
                    <a:pt x="246" y="128"/>
                    <a:pt x="240" y="128"/>
                  </a:cubicBezTo>
                  <a:cubicBezTo>
                    <a:pt x="219" y="128"/>
                    <a:pt x="203" y="145"/>
                    <a:pt x="203" y="166"/>
                  </a:cubicBezTo>
                  <a:cubicBezTo>
                    <a:pt x="203" y="240"/>
                    <a:pt x="203" y="240"/>
                    <a:pt x="203" y="240"/>
                  </a:cubicBezTo>
                  <a:cubicBezTo>
                    <a:pt x="203" y="261"/>
                    <a:pt x="219" y="278"/>
                    <a:pt x="240" y="278"/>
                  </a:cubicBezTo>
                  <a:cubicBezTo>
                    <a:pt x="261" y="278"/>
                    <a:pt x="277" y="261"/>
                    <a:pt x="277" y="240"/>
                  </a:cubicBezTo>
                  <a:cubicBezTo>
                    <a:pt x="277" y="134"/>
                    <a:pt x="277" y="134"/>
                    <a:pt x="277" y="134"/>
                  </a:cubicBezTo>
                  <a:cubicBezTo>
                    <a:pt x="277" y="60"/>
                    <a:pt x="215" y="0"/>
                    <a:pt x="139" y="0"/>
                  </a:cubicBezTo>
                  <a:close/>
                  <a:moveTo>
                    <a:pt x="37" y="150"/>
                  </a:moveTo>
                  <a:cubicBezTo>
                    <a:pt x="46" y="150"/>
                    <a:pt x="53" y="157"/>
                    <a:pt x="53" y="166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3" y="249"/>
                    <a:pt x="46" y="256"/>
                    <a:pt x="37" y="256"/>
                  </a:cubicBezTo>
                  <a:cubicBezTo>
                    <a:pt x="29" y="256"/>
                    <a:pt x="21" y="249"/>
                    <a:pt x="21" y="240"/>
                  </a:cubicBezTo>
                  <a:cubicBezTo>
                    <a:pt x="21" y="166"/>
                    <a:pt x="21" y="166"/>
                    <a:pt x="21" y="166"/>
                  </a:cubicBezTo>
                  <a:cubicBezTo>
                    <a:pt x="21" y="157"/>
                    <a:pt x="29" y="150"/>
                    <a:pt x="37" y="150"/>
                  </a:cubicBezTo>
                  <a:close/>
                  <a:moveTo>
                    <a:pt x="256" y="240"/>
                  </a:moveTo>
                  <a:cubicBezTo>
                    <a:pt x="256" y="249"/>
                    <a:pt x="249" y="256"/>
                    <a:pt x="240" y="256"/>
                  </a:cubicBezTo>
                  <a:cubicBezTo>
                    <a:pt x="231" y="256"/>
                    <a:pt x="224" y="249"/>
                    <a:pt x="224" y="240"/>
                  </a:cubicBezTo>
                  <a:cubicBezTo>
                    <a:pt x="224" y="166"/>
                    <a:pt x="224" y="166"/>
                    <a:pt x="224" y="166"/>
                  </a:cubicBezTo>
                  <a:cubicBezTo>
                    <a:pt x="224" y="157"/>
                    <a:pt x="231" y="150"/>
                    <a:pt x="240" y="150"/>
                  </a:cubicBezTo>
                  <a:cubicBezTo>
                    <a:pt x="249" y="150"/>
                    <a:pt x="256" y="157"/>
                    <a:pt x="256" y="166"/>
                  </a:cubicBezTo>
                  <a:lnTo>
                    <a:pt x="256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6" name="Freeform 283"/>
          <p:cNvSpPr>
            <a:spLocks noChangeAspect="1" noEditPoints="1"/>
          </p:cNvSpPr>
          <p:nvPr/>
        </p:nvSpPr>
        <p:spPr bwMode="auto">
          <a:xfrm>
            <a:off x="7427808" y="2049964"/>
            <a:ext cx="367982" cy="369064"/>
          </a:xfrm>
          <a:custGeom>
            <a:avLst/>
            <a:gdLst>
              <a:gd name="T0" fmla="*/ 256 w 512"/>
              <a:gd name="T1" fmla="*/ 512 h 512"/>
              <a:gd name="T2" fmla="*/ 138 w 512"/>
              <a:gd name="T3" fmla="*/ 373 h 512"/>
              <a:gd name="T4" fmla="*/ 117 w 512"/>
              <a:gd name="T5" fmla="*/ 352 h 512"/>
              <a:gd name="T6" fmla="*/ 138 w 512"/>
              <a:gd name="T7" fmla="*/ 373 h 512"/>
              <a:gd name="T8" fmla="*/ 106 w 512"/>
              <a:gd name="T9" fmla="*/ 320 h 512"/>
              <a:gd name="T10" fmla="*/ 149 w 512"/>
              <a:gd name="T11" fmla="*/ 320 h 512"/>
              <a:gd name="T12" fmla="*/ 117 w 512"/>
              <a:gd name="T13" fmla="*/ 288 h 512"/>
              <a:gd name="T14" fmla="*/ 138 w 512"/>
              <a:gd name="T15" fmla="*/ 266 h 512"/>
              <a:gd name="T16" fmla="*/ 138 w 512"/>
              <a:gd name="T17" fmla="*/ 245 h 512"/>
              <a:gd name="T18" fmla="*/ 117 w 512"/>
              <a:gd name="T19" fmla="*/ 224 h 512"/>
              <a:gd name="T20" fmla="*/ 138 w 512"/>
              <a:gd name="T21" fmla="*/ 245 h 512"/>
              <a:gd name="T22" fmla="*/ 192 w 512"/>
              <a:gd name="T23" fmla="*/ 362 h 512"/>
              <a:gd name="T24" fmla="*/ 234 w 512"/>
              <a:gd name="T25" fmla="*/ 362 h 512"/>
              <a:gd name="T26" fmla="*/ 202 w 512"/>
              <a:gd name="T27" fmla="*/ 330 h 512"/>
              <a:gd name="T28" fmla="*/ 224 w 512"/>
              <a:gd name="T29" fmla="*/ 309 h 512"/>
              <a:gd name="T30" fmla="*/ 224 w 512"/>
              <a:gd name="T31" fmla="*/ 288 h 512"/>
              <a:gd name="T32" fmla="*/ 202 w 512"/>
              <a:gd name="T33" fmla="*/ 266 h 512"/>
              <a:gd name="T34" fmla="*/ 224 w 512"/>
              <a:gd name="T35" fmla="*/ 288 h 512"/>
              <a:gd name="T36" fmla="*/ 277 w 512"/>
              <a:gd name="T37" fmla="*/ 362 h 512"/>
              <a:gd name="T38" fmla="*/ 320 w 512"/>
              <a:gd name="T39" fmla="*/ 362 h 512"/>
              <a:gd name="T40" fmla="*/ 288 w 512"/>
              <a:gd name="T41" fmla="*/ 330 h 512"/>
              <a:gd name="T42" fmla="*/ 309 w 512"/>
              <a:gd name="T43" fmla="*/ 309 h 512"/>
              <a:gd name="T44" fmla="*/ 309 w 512"/>
              <a:gd name="T45" fmla="*/ 288 h 512"/>
              <a:gd name="T46" fmla="*/ 288 w 512"/>
              <a:gd name="T47" fmla="*/ 266 h 512"/>
              <a:gd name="T48" fmla="*/ 309 w 512"/>
              <a:gd name="T49" fmla="*/ 288 h 512"/>
              <a:gd name="T50" fmla="*/ 277 w 512"/>
              <a:gd name="T51" fmla="*/ 234 h 512"/>
              <a:gd name="T52" fmla="*/ 320 w 512"/>
              <a:gd name="T53" fmla="*/ 234 h 512"/>
              <a:gd name="T54" fmla="*/ 288 w 512"/>
              <a:gd name="T55" fmla="*/ 202 h 512"/>
              <a:gd name="T56" fmla="*/ 309 w 512"/>
              <a:gd name="T57" fmla="*/ 181 h 512"/>
              <a:gd name="T58" fmla="*/ 309 w 512"/>
              <a:gd name="T59" fmla="*/ 160 h 512"/>
              <a:gd name="T60" fmla="*/ 288 w 512"/>
              <a:gd name="T61" fmla="*/ 138 h 512"/>
              <a:gd name="T62" fmla="*/ 309 w 512"/>
              <a:gd name="T63" fmla="*/ 160 h 512"/>
              <a:gd name="T64" fmla="*/ 277 w 512"/>
              <a:gd name="T65" fmla="*/ 106 h 512"/>
              <a:gd name="T66" fmla="*/ 320 w 512"/>
              <a:gd name="T67" fmla="*/ 106 h 512"/>
              <a:gd name="T68" fmla="*/ 373 w 512"/>
              <a:gd name="T69" fmla="*/ 373 h 512"/>
              <a:gd name="T70" fmla="*/ 394 w 512"/>
              <a:gd name="T71" fmla="*/ 352 h 512"/>
              <a:gd name="T72" fmla="*/ 394 w 512"/>
              <a:gd name="T73" fmla="*/ 330 h 512"/>
              <a:gd name="T74" fmla="*/ 373 w 512"/>
              <a:gd name="T75" fmla="*/ 309 h 512"/>
              <a:gd name="T76" fmla="*/ 394 w 512"/>
              <a:gd name="T77" fmla="*/ 330 h 512"/>
              <a:gd name="T78" fmla="*/ 362 w 512"/>
              <a:gd name="T79" fmla="*/ 277 h 512"/>
              <a:gd name="T80" fmla="*/ 405 w 512"/>
              <a:gd name="T81" fmla="*/ 277 h 512"/>
              <a:gd name="T82" fmla="*/ 373 w 512"/>
              <a:gd name="T83" fmla="*/ 245 h 512"/>
              <a:gd name="T84" fmla="*/ 394 w 512"/>
              <a:gd name="T85" fmla="*/ 224 h 512"/>
              <a:gd name="T86" fmla="*/ 394 w 512"/>
              <a:gd name="T87" fmla="*/ 202 h 512"/>
              <a:gd name="T88" fmla="*/ 373 w 512"/>
              <a:gd name="T89" fmla="*/ 181 h 512"/>
              <a:gd name="T90" fmla="*/ 394 w 512"/>
              <a:gd name="T91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38" y="373"/>
                </a:moveTo>
                <a:cubicBezTo>
                  <a:pt x="117" y="373"/>
                  <a:pt x="117" y="373"/>
                  <a:pt x="117" y="373"/>
                </a:cubicBezTo>
                <a:cubicBezTo>
                  <a:pt x="111" y="373"/>
                  <a:pt x="106" y="368"/>
                  <a:pt x="106" y="362"/>
                </a:cubicBezTo>
                <a:cubicBezTo>
                  <a:pt x="106" y="356"/>
                  <a:pt x="111" y="352"/>
                  <a:pt x="117" y="352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44" y="352"/>
                  <a:pt x="149" y="356"/>
                  <a:pt x="149" y="362"/>
                </a:cubicBezTo>
                <a:cubicBezTo>
                  <a:pt x="149" y="368"/>
                  <a:pt x="144" y="373"/>
                  <a:pt x="138" y="373"/>
                </a:cubicBezTo>
                <a:close/>
                <a:moveTo>
                  <a:pt x="138" y="330"/>
                </a:moveTo>
                <a:cubicBezTo>
                  <a:pt x="117" y="330"/>
                  <a:pt x="117" y="330"/>
                  <a:pt x="117" y="330"/>
                </a:cubicBezTo>
                <a:cubicBezTo>
                  <a:pt x="111" y="330"/>
                  <a:pt x="106" y="326"/>
                  <a:pt x="106" y="320"/>
                </a:cubicBezTo>
                <a:cubicBezTo>
                  <a:pt x="106" y="314"/>
                  <a:pt x="111" y="309"/>
                  <a:pt x="117" y="309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44" y="309"/>
                  <a:pt x="149" y="314"/>
                  <a:pt x="149" y="320"/>
                </a:cubicBezTo>
                <a:cubicBezTo>
                  <a:pt x="149" y="326"/>
                  <a:pt x="144" y="330"/>
                  <a:pt x="138" y="330"/>
                </a:cubicBezTo>
                <a:close/>
                <a:moveTo>
                  <a:pt x="138" y="288"/>
                </a:moveTo>
                <a:cubicBezTo>
                  <a:pt x="117" y="288"/>
                  <a:pt x="117" y="288"/>
                  <a:pt x="117" y="288"/>
                </a:cubicBezTo>
                <a:cubicBezTo>
                  <a:pt x="111" y="288"/>
                  <a:pt x="106" y="283"/>
                  <a:pt x="106" y="277"/>
                </a:cubicBezTo>
                <a:cubicBezTo>
                  <a:pt x="106" y="271"/>
                  <a:pt x="111" y="266"/>
                  <a:pt x="117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44" y="266"/>
                  <a:pt x="149" y="271"/>
                  <a:pt x="149" y="277"/>
                </a:cubicBezTo>
                <a:cubicBezTo>
                  <a:pt x="149" y="283"/>
                  <a:pt x="144" y="288"/>
                  <a:pt x="138" y="288"/>
                </a:cubicBezTo>
                <a:close/>
                <a:moveTo>
                  <a:pt x="138" y="245"/>
                </a:moveTo>
                <a:cubicBezTo>
                  <a:pt x="117" y="245"/>
                  <a:pt x="117" y="245"/>
                  <a:pt x="117" y="245"/>
                </a:cubicBezTo>
                <a:cubicBezTo>
                  <a:pt x="111" y="245"/>
                  <a:pt x="106" y="240"/>
                  <a:pt x="106" y="234"/>
                </a:cubicBezTo>
                <a:cubicBezTo>
                  <a:pt x="106" y="228"/>
                  <a:pt x="111" y="224"/>
                  <a:pt x="117" y="224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44" y="224"/>
                  <a:pt x="149" y="228"/>
                  <a:pt x="149" y="234"/>
                </a:cubicBezTo>
                <a:cubicBezTo>
                  <a:pt x="149" y="240"/>
                  <a:pt x="144" y="245"/>
                  <a:pt x="138" y="245"/>
                </a:cubicBezTo>
                <a:close/>
                <a:moveTo>
                  <a:pt x="224" y="373"/>
                </a:moveTo>
                <a:cubicBezTo>
                  <a:pt x="202" y="373"/>
                  <a:pt x="202" y="373"/>
                  <a:pt x="202" y="373"/>
                </a:cubicBezTo>
                <a:cubicBezTo>
                  <a:pt x="196" y="373"/>
                  <a:pt x="192" y="368"/>
                  <a:pt x="192" y="362"/>
                </a:cubicBezTo>
                <a:cubicBezTo>
                  <a:pt x="192" y="356"/>
                  <a:pt x="196" y="352"/>
                  <a:pt x="202" y="352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30" y="352"/>
                  <a:pt x="234" y="356"/>
                  <a:pt x="234" y="362"/>
                </a:cubicBezTo>
                <a:cubicBezTo>
                  <a:pt x="234" y="368"/>
                  <a:pt x="230" y="373"/>
                  <a:pt x="224" y="373"/>
                </a:cubicBezTo>
                <a:close/>
                <a:moveTo>
                  <a:pt x="224" y="330"/>
                </a:moveTo>
                <a:cubicBezTo>
                  <a:pt x="202" y="330"/>
                  <a:pt x="202" y="330"/>
                  <a:pt x="202" y="330"/>
                </a:cubicBezTo>
                <a:cubicBezTo>
                  <a:pt x="196" y="330"/>
                  <a:pt x="192" y="326"/>
                  <a:pt x="192" y="320"/>
                </a:cubicBezTo>
                <a:cubicBezTo>
                  <a:pt x="192" y="314"/>
                  <a:pt x="196" y="309"/>
                  <a:pt x="202" y="309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30" y="309"/>
                  <a:pt x="234" y="314"/>
                  <a:pt x="234" y="320"/>
                </a:cubicBezTo>
                <a:cubicBezTo>
                  <a:pt x="234" y="326"/>
                  <a:pt x="230" y="330"/>
                  <a:pt x="224" y="330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196" y="288"/>
                  <a:pt x="192" y="283"/>
                  <a:pt x="192" y="277"/>
                </a:cubicBezTo>
                <a:cubicBezTo>
                  <a:pt x="192" y="271"/>
                  <a:pt x="196" y="266"/>
                  <a:pt x="202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30" y="266"/>
                  <a:pt x="234" y="271"/>
                  <a:pt x="234" y="277"/>
                </a:cubicBezTo>
                <a:cubicBezTo>
                  <a:pt x="234" y="283"/>
                  <a:pt x="230" y="288"/>
                  <a:pt x="224" y="288"/>
                </a:cubicBezTo>
                <a:close/>
                <a:moveTo>
                  <a:pt x="309" y="373"/>
                </a:moveTo>
                <a:cubicBezTo>
                  <a:pt x="288" y="373"/>
                  <a:pt x="288" y="373"/>
                  <a:pt x="288" y="373"/>
                </a:cubicBezTo>
                <a:cubicBezTo>
                  <a:pt x="282" y="373"/>
                  <a:pt x="277" y="368"/>
                  <a:pt x="277" y="362"/>
                </a:cubicBezTo>
                <a:cubicBezTo>
                  <a:pt x="277" y="356"/>
                  <a:pt x="282" y="352"/>
                  <a:pt x="288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15" y="352"/>
                  <a:pt x="320" y="356"/>
                  <a:pt x="320" y="362"/>
                </a:cubicBezTo>
                <a:cubicBezTo>
                  <a:pt x="320" y="368"/>
                  <a:pt x="315" y="373"/>
                  <a:pt x="309" y="373"/>
                </a:cubicBezTo>
                <a:close/>
                <a:moveTo>
                  <a:pt x="309" y="330"/>
                </a:moveTo>
                <a:cubicBezTo>
                  <a:pt x="288" y="330"/>
                  <a:pt x="288" y="330"/>
                  <a:pt x="288" y="330"/>
                </a:cubicBezTo>
                <a:cubicBezTo>
                  <a:pt x="282" y="330"/>
                  <a:pt x="277" y="326"/>
                  <a:pt x="277" y="320"/>
                </a:cubicBezTo>
                <a:cubicBezTo>
                  <a:pt x="277" y="314"/>
                  <a:pt x="282" y="309"/>
                  <a:pt x="288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5" y="309"/>
                  <a:pt x="320" y="314"/>
                  <a:pt x="320" y="320"/>
                </a:cubicBezTo>
                <a:cubicBezTo>
                  <a:pt x="320" y="326"/>
                  <a:pt x="315" y="330"/>
                  <a:pt x="309" y="330"/>
                </a:cubicBezTo>
                <a:close/>
                <a:moveTo>
                  <a:pt x="309" y="288"/>
                </a:moveTo>
                <a:cubicBezTo>
                  <a:pt x="288" y="288"/>
                  <a:pt x="288" y="288"/>
                  <a:pt x="288" y="288"/>
                </a:cubicBezTo>
                <a:cubicBezTo>
                  <a:pt x="282" y="288"/>
                  <a:pt x="277" y="283"/>
                  <a:pt x="277" y="277"/>
                </a:cubicBezTo>
                <a:cubicBezTo>
                  <a:pt x="277" y="271"/>
                  <a:pt x="282" y="266"/>
                  <a:pt x="288" y="266"/>
                </a:cubicBezTo>
                <a:cubicBezTo>
                  <a:pt x="309" y="266"/>
                  <a:pt x="309" y="266"/>
                  <a:pt x="309" y="266"/>
                </a:cubicBezTo>
                <a:cubicBezTo>
                  <a:pt x="315" y="266"/>
                  <a:pt x="320" y="271"/>
                  <a:pt x="320" y="277"/>
                </a:cubicBezTo>
                <a:cubicBezTo>
                  <a:pt x="320" y="283"/>
                  <a:pt x="315" y="288"/>
                  <a:pt x="309" y="288"/>
                </a:cubicBezTo>
                <a:close/>
                <a:moveTo>
                  <a:pt x="309" y="245"/>
                </a:moveTo>
                <a:cubicBezTo>
                  <a:pt x="288" y="245"/>
                  <a:pt x="288" y="245"/>
                  <a:pt x="288" y="245"/>
                </a:cubicBezTo>
                <a:cubicBezTo>
                  <a:pt x="282" y="245"/>
                  <a:pt x="277" y="240"/>
                  <a:pt x="277" y="234"/>
                </a:cubicBezTo>
                <a:cubicBezTo>
                  <a:pt x="277" y="228"/>
                  <a:pt x="282" y="224"/>
                  <a:pt x="288" y="224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15" y="224"/>
                  <a:pt x="320" y="228"/>
                  <a:pt x="320" y="234"/>
                </a:cubicBezTo>
                <a:cubicBezTo>
                  <a:pt x="320" y="240"/>
                  <a:pt x="315" y="245"/>
                  <a:pt x="309" y="245"/>
                </a:cubicBezTo>
                <a:close/>
                <a:moveTo>
                  <a:pt x="309" y="202"/>
                </a:moveTo>
                <a:cubicBezTo>
                  <a:pt x="288" y="202"/>
                  <a:pt x="288" y="202"/>
                  <a:pt x="288" y="202"/>
                </a:cubicBezTo>
                <a:cubicBezTo>
                  <a:pt x="282" y="202"/>
                  <a:pt x="277" y="198"/>
                  <a:pt x="277" y="192"/>
                </a:cubicBezTo>
                <a:cubicBezTo>
                  <a:pt x="277" y="186"/>
                  <a:pt x="282" y="181"/>
                  <a:pt x="288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15" y="181"/>
                  <a:pt x="320" y="186"/>
                  <a:pt x="320" y="192"/>
                </a:cubicBezTo>
                <a:cubicBezTo>
                  <a:pt x="320" y="198"/>
                  <a:pt x="315" y="202"/>
                  <a:pt x="309" y="202"/>
                </a:cubicBezTo>
                <a:close/>
                <a:moveTo>
                  <a:pt x="309" y="160"/>
                </a:moveTo>
                <a:cubicBezTo>
                  <a:pt x="288" y="160"/>
                  <a:pt x="288" y="160"/>
                  <a:pt x="288" y="160"/>
                </a:cubicBezTo>
                <a:cubicBezTo>
                  <a:pt x="282" y="160"/>
                  <a:pt x="277" y="155"/>
                  <a:pt x="277" y="149"/>
                </a:cubicBezTo>
                <a:cubicBezTo>
                  <a:pt x="277" y="143"/>
                  <a:pt x="282" y="138"/>
                  <a:pt x="288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15" y="138"/>
                  <a:pt x="320" y="143"/>
                  <a:pt x="320" y="149"/>
                </a:cubicBezTo>
                <a:cubicBezTo>
                  <a:pt x="320" y="155"/>
                  <a:pt x="315" y="160"/>
                  <a:pt x="309" y="160"/>
                </a:cubicBezTo>
                <a:close/>
                <a:moveTo>
                  <a:pt x="309" y="117"/>
                </a:move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12"/>
                  <a:pt x="277" y="106"/>
                </a:cubicBezTo>
                <a:cubicBezTo>
                  <a:pt x="277" y="100"/>
                  <a:pt x="282" y="96"/>
                  <a:pt x="288" y="96"/>
                </a:cubicBezTo>
                <a:cubicBezTo>
                  <a:pt x="309" y="96"/>
                  <a:pt x="309" y="96"/>
                  <a:pt x="309" y="96"/>
                </a:cubicBezTo>
                <a:cubicBezTo>
                  <a:pt x="315" y="96"/>
                  <a:pt x="320" y="100"/>
                  <a:pt x="320" y="106"/>
                </a:cubicBezTo>
                <a:cubicBezTo>
                  <a:pt x="320" y="112"/>
                  <a:pt x="315" y="117"/>
                  <a:pt x="309" y="117"/>
                </a:cubicBezTo>
                <a:close/>
                <a:moveTo>
                  <a:pt x="394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67" y="373"/>
                  <a:pt x="362" y="368"/>
                  <a:pt x="362" y="362"/>
                </a:cubicBezTo>
                <a:cubicBezTo>
                  <a:pt x="362" y="356"/>
                  <a:pt x="367" y="352"/>
                  <a:pt x="373" y="35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400" y="352"/>
                  <a:pt x="405" y="356"/>
                  <a:pt x="405" y="362"/>
                </a:cubicBezTo>
                <a:cubicBezTo>
                  <a:pt x="405" y="368"/>
                  <a:pt x="400" y="373"/>
                  <a:pt x="394" y="373"/>
                </a:cubicBezTo>
                <a:close/>
                <a:moveTo>
                  <a:pt x="394" y="330"/>
                </a:moveTo>
                <a:cubicBezTo>
                  <a:pt x="373" y="330"/>
                  <a:pt x="373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314"/>
                  <a:pt x="367" y="309"/>
                  <a:pt x="373" y="309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400" y="309"/>
                  <a:pt x="405" y="314"/>
                  <a:pt x="405" y="320"/>
                </a:cubicBezTo>
                <a:cubicBezTo>
                  <a:pt x="405" y="326"/>
                  <a:pt x="400" y="330"/>
                  <a:pt x="394" y="330"/>
                </a:cubicBezTo>
                <a:close/>
                <a:moveTo>
                  <a:pt x="394" y="288"/>
                </a:moveTo>
                <a:cubicBezTo>
                  <a:pt x="373" y="288"/>
                  <a:pt x="373" y="288"/>
                  <a:pt x="373" y="288"/>
                </a:cubicBezTo>
                <a:cubicBezTo>
                  <a:pt x="367" y="288"/>
                  <a:pt x="362" y="283"/>
                  <a:pt x="362" y="277"/>
                </a:cubicBezTo>
                <a:cubicBezTo>
                  <a:pt x="362" y="271"/>
                  <a:pt x="367" y="266"/>
                  <a:pt x="373" y="266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400" y="266"/>
                  <a:pt x="405" y="271"/>
                  <a:pt x="405" y="277"/>
                </a:cubicBezTo>
                <a:cubicBezTo>
                  <a:pt x="405" y="283"/>
                  <a:pt x="400" y="288"/>
                  <a:pt x="394" y="288"/>
                </a:cubicBezTo>
                <a:close/>
                <a:moveTo>
                  <a:pt x="394" y="245"/>
                </a:moveTo>
                <a:cubicBezTo>
                  <a:pt x="373" y="245"/>
                  <a:pt x="373" y="245"/>
                  <a:pt x="373" y="245"/>
                </a:cubicBezTo>
                <a:cubicBezTo>
                  <a:pt x="367" y="245"/>
                  <a:pt x="362" y="240"/>
                  <a:pt x="362" y="234"/>
                </a:cubicBezTo>
                <a:cubicBezTo>
                  <a:pt x="362" y="228"/>
                  <a:pt x="367" y="224"/>
                  <a:pt x="373" y="224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400" y="224"/>
                  <a:pt x="405" y="228"/>
                  <a:pt x="405" y="234"/>
                </a:cubicBezTo>
                <a:cubicBezTo>
                  <a:pt x="405" y="240"/>
                  <a:pt x="400" y="245"/>
                  <a:pt x="394" y="245"/>
                </a:cubicBezTo>
                <a:close/>
                <a:moveTo>
                  <a:pt x="394" y="202"/>
                </a:moveTo>
                <a:cubicBezTo>
                  <a:pt x="373" y="202"/>
                  <a:pt x="373" y="202"/>
                  <a:pt x="373" y="202"/>
                </a:cubicBezTo>
                <a:cubicBezTo>
                  <a:pt x="367" y="202"/>
                  <a:pt x="362" y="198"/>
                  <a:pt x="362" y="192"/>
                </a:cubicBezTo>
                <a:cubicBezTo>
                  <a:pt x="362" y="186"/>
                  <a:pt x="367" y="181"/>
                  <a:pt x="373" y="181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400" y="181"/>
                  <a:pt x="405" y="186"/>
                  <a:pt x="405" y="192"/>
                </a:cubicBezTo>
                <a:cubicBezTo>
                  <a:pt x="405" y="198"/>
                  <a:pt x="400" y="202"/>
                  <a:pt x="394" y="20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7" name="Group 286"/>
          <p:cNvGrpSpPr>
            <a:grpSpLocks noChangeAspect="1"/>
          </p:cNvGrpSpPr>
          <p:nvPr/>
        </p:nvGrpSpPr>
        <p:grpSpPr bwMode="auto">
          <a:xfrm>
            <a:off x="7924460" y="2049964"/>
            <a:ext cx="367982" cy="367982"/>
            <a:chOff x="2962" y="2267"/>
            <a:chExt cx="340" cy="340"/>
          </a:xfrm>
          <a:solidFill>
            <a:schemeClr val="accent3"/>
          </a:solidFill>
        </p:grpSpPr>
        <p:sp>
          <p:nvSpPr>
            <p:cNvPr id="288" name="Freeform 287"/>
            <p:cNvSpPr>
              <a:spLocks noEditPoints="1"/>
            </p:cNvSpPr>
            <p:nvPr/>
          </p:nvSpPr>
          <p:spPr bwMode="auto">
            <a:xfrm>
              <a:off x="3032" y="2331"/>
              <a:ext cx="199" cy="184"/>
            </a:xfrm>
            <a:custGeom>
              <a:avLst/>
              <a:gdLst>
                <a:gd name="T0" fmla="*/ 11 w 299"/>
                <a:gd name="T1" fmla="*/ 149 h 277"/>
                <a:gd name="T2" fmla="*/ 32 w 299"/>
                <a:gd name="T3" fmla="*/ 128 h 277"/>
                <a:gd name="T4" fmla="*/ 11 w 299"/>
                <a:gd name="T5" fmla="*/ 170 h 277"/>
                <a:gd name="T6" fmla="*/ 32 w 299"/>
                <a:gd name="T7" fmla="*/ 192 h 277"/>
                <a:gd name="T8" fmla="*/ 32 w 299"/>
                <a:gd name="T9" fmla="*/ 213 h 277"/>
                <a:gd name="T10" fmla="*/ 11 w 299"/>
                <a:gd name="T11" fmla="*/ 234 h 277"/>
                <a:gd name="T12" fmla="*/ 32 w 299"/>
                <a:gd name="T13" fmla="*/ 213 h 277"/>
                <a:gd name="T14" fmla="*/ 0 w 299"/>
                <a:gd name="T15" fmla="*/ 266 h 277"/>
                <a:gd name="T16" fmla="*/ 43 w 299"/>
                <a:gd name="T17" fmla="*/ 266 h 277"/>
                <a:gd name="T18" fmla="*/ 96 w 299"/>
                <a:gd name="T19" fmla="*/ 170 h 277"/>
                <a:gd name="T20" fmla="*/ 118 w 299"/>
                <a:gd name="T21" fmla="*/ 192 h 277"/>
                <a:gd name="T22" fmla="*/ 118 w 299"/>
                <a:gd name="T23" fmla="*/ 213 h 277"/>
                <a:gd name="T24" fmla="*/ 96 w 299"/>
                <a:gd name="T25" fmla="*/ 234 h 277"/>
                <a:gd name="T26" fmla="*/ 118 w 299"/>
                <a:gd name="T27" fmla="*/ 213 h 277"/>
                <a:gd name="T28" fmla="*/ 86 w 299"/>
                <a:gd name="T29" fmla="*/ 266 h 277"/>
                <a:gd name="T30" fmla="*/ 128 w 299"/>
                <a:gd name="T31" fmla="*/ 266 h 277"/>
                <a:gd name="T32" fmla="*/ 182 w 299"/>
                <a:gd name="T33" fmla="*/ 170 h 277"/>
                <a:gd name="T34" fmla="*/ 203 w 299"/>
                <a:gd name="T35" fmla="*/ 192 h 277"/>
                <a:gd name="T36" fmla="*/ 203 w 299"/>
                <a:gd name="T37" fmla="*/ 213 h 277"/>
                <a:gd name="T38" fmla="*/ 182 w 299"/>
                <a:gd name="T39" fmla="*/ 234 h 277"/>
                <a:gd name="T40" fmla="*/ 203 w 299"/>
                <a:gd name="T41" fmla="*/ 213 h 277"/>
                <a:gd name="T42" fmla="*/ 171 w 299"/>
                <a:gd name="T43" fmla="*/ 266 h 277"/>
                <a:gd name="T44" fmla="*/ 214 w 299"/>
                <a:gd name="T45" fmla="*/ 266 h 277"/>
                <a:gd name="T46" fmla="*/ 182 w 299"/>
                <a:gd name="T47" fmla="*/ 42 h 277"/>
                <a:gd name="T48" fmla="*/ 203 w 299"/>
                <a:gd name="T49" fmla="*/ 64 h 277"/>
                <a:gd name="T50" fmla="*/ 203 w 299"/>
                <a:gd name="T51" fmla="*/ 85 h 277"/>
                <a:gd name="T52" fmla="*/ 182 w 299"/>
                <a:gd name="T53" fmla="*/ 106 h 277"/>
                <a:gd name="T54" fmla="*/ 203 w 299"/>
                <a:gd name="T55" fmla="*/ 85 h 277"/>
                <a:gd name="T56" fmla="*/ 171 w 299"/>
                <a:gd name="T57" fmla="*/ 138 h 277"/>
                <a:gd name="T58" fmla="*/ 214 w 299"/>
                <a:gd name="T59" fmla="*/ 138 h 277"/>
                <a:gd name="T60" fmla="*/ 182 w 299"/>
                <a:gd name="T61" fmla="*/ 0 h 277"/>
                <a:gd name="T62" fmla="*/ 203 w 299"/>
                <a:gd name="T63" fmla="*/ 21 h 277"/>
                <a:gd name="T64" fmla="*/ 288 w 299"/>
                <a:gd name="T65" fmla="*/ 170 h 277"/>
                <a:gd name="T66" fmla="*/ 267 w 299"/>
                <a:gd name="T67" fmla="*/ 192 h 277"/>
                <a:gd name="T68" fmla="*/ 288 w 299"/>
                <a:gd name="T69" fmla="*/ 170 h 277"/>
                <a:gd name="T70" fmla="*/ 256 w 299"/>
                <a:gd name="T71" fmla="*/ 224 h 277"/>
                <a:gd name="T72" fmla="*/ 299 w 299"/>
                <a:gd name="T73" fmla="*/ 224 h 277"/>
                <a:gd name="T74" fmla="*/ 267 w 299"/>
                <a:gd name="T75" fmla="*/ 256 h 277"/>
                <a:gd name="T76" fmla="*/ 288 w 299"/>
                <a:gd name="T77" fmla="*/ 277 h 277"/>
                <a:gd name="T78" fmla="*/ 267 w 299"/>
                <a:gd name="T79" fmla="*/ 106 h 277"/>
                <a:gd name="T80" fmla="*/ 288 w 299"/>
                <a:gd name="T81" fmla="*/ 85 h 277"/>
                <a:gd name="T82" fmla="*/ 267 w 299"/>
                <a:gd name="T83" fmla="*/ 106 h 277"/>
                <a:gd name="T84" fmla="*/ 256 w 299"/>
                <a:gd name="T85" fmla="*/ 138 h 277"/>
                <a:gd name="T86" fmla="*/ 299 w 299"/>
                <a:gd name="T87" fmla="*/ 13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9" h="277">
                  <a:moveTo>
                    <a:pt x="43" y="138"/>
                  </a:moveTo>
                  <a:cubicBezTo>
                    <a:pt x="43" y="144"/>
                    <a:pt x="38" y="149"/>
                    <a:pt x="3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44"/>
                    <a:pt x="0" y="138"/>
                  </a:cubicBezTo>
                  <a:cubicBezTo>
                    <a:pt x="0" y="132"/>
                    <a:pt x="5" y="128"/>
                    <a:pt x="11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8" y="128"/>
                    <a:pt x="43" y="132"/>
                    <a:pt x="43" y="138"/>
                  </a:cubicBezTo>
                  <a:close/>
                  <a:moveTo>
                    <a:pt x="32" y="170"/>
                  </a:moveTo>
                  <a:cubicBezTo>
                    <a:pt x="11" y="170"/>
                    <a:pt x="11" y="170"/>
                    <a:pt x="11" y="170"/>
                  </a:cubicBezTo>
                  <a:cubicBezTo>
                    <a:pt x="5" y="170"/>
                    <a:pt x="0" y="175"/>
                    <a:pt x="0" y="181"/>
                  </a:cubicBezTo>
                  <a:cubicBezTo>
                    <a:pt x="0" y="187"/>
                    <a:pt x="5" y="192"/>
                    <a:pt x="11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8" y="192"/>
                    <a:pt x="43" y="187"/>
                    <a:pt x="43" y="181"/>
                  </a:cubicBezTo>
                  <a:cubicBezTo>
                    <a:pt x="43" y="175"/>
                    <a:pt x="38" y="170"/>
                    <a:pt x="32" y="170"/>
                  </a:cubicBezTo>
                  <a:close/>
                  <a:moveTo>
                    <a:pt x="32" y="213"/>
                  </a:move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30"/>
                    <a:pt x="5" y="234"/>
                    <a:pt x="11" y="234"/>
                  </a:cubicBezTo>
                  <a:cubicBezTo>
                    <a:pt x="32" y="234"/>
                    <a:pt x="32" y="234"/>
                    <a:pt x="32" y="234"/>
                  </a:cubicBezTo>
                  <a:cubicBezTo>
                    <a:pt x="38" y="234"/>
                    <a:pt x="43" y="230"/>
                    <a:pt x="43" y="224"/>
                  </a:cubicBezTo>
                  <a:cubicBezTo>
                    <a:pt x="43" y="218"/>
                    <a:pt x="38" y="213"/>
                    <a:pt x="32" y="213"/>
                  </a:cubicBezTo>
                  <a:close/>
                  <a:moveTo>
                    <a:pt x="32" y="256"/>
                  </a:move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0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8" y="277"/>
                    <a:pt x="43" y="272"/>
                    <a:pt x="43" y="266"/>
                  </a:cubicBezTo>
                  <a:cubicBezTo>
                    <a:pt x="43" y="260"/>
                    <a:pt x="38" y="256"/>
                    <a:pt x="32" y="256"/>
                  </a:cubicBezTo>
                  <a:close/>
                  <a:moveTo>
                    <a:pt x="118" y="170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90" y="170"/>
                    <a:pt x="86" y="175"/>
                    <a:pt x="86" y="181"/>
                  </a:cubicBezTo>
                  <a:cubicBezTo>
                    <a:pt x="86" y="187"/>
                    <a:pt x="90" y="192"/>
                    <a:pt x="96" y="192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24" y="192"/>
                    <a:pt x="128" y="187"/>
                    <a:pt x="128" y="181"/>
                  </a:cubicBezTo>
                  <a:cubicBezTo>
                    <a:pt x="128" y="175"/>
                    <a:pt x="124" y="170"/>
                    <a:pt x="118" y="170"/>
                  </a:cubicBezTo>
                  <a:close/>
                  <a:moveTo>
                    <a:pt x="118" y="213"/>
                  </a:moveTo>
                  <a:cubicBezTo>
                    <a:pt x="96" y="213"/>
                    <a:pt x="96" y="213"/>
                    <a:pt x="96" y="213"/>
                  </a:cubicBezTo>
                  <a:cubicBezTo>
                    <a:pt x="90" y="213"/>
                    <a:pt x="86" y="218"/>
                    <a:pt x="86" y="224"/>
                  </a:cubicBezTo>
                  <a:cubicBezTo>
                    <a:pt x="86" y="230"/>
                    <a:pt x="90" y="234"/>
                    <a:pt x="96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24" y="234"/>
                    <a:pt x="128" y="230"/>
                    <a:pt x="128" y="224"/>
                  </a:cubicBezTo>
                  <a:cubicBezTo>
                    <a:pt x="128" y="218"/>
                    <a:pt x="124" y="213"/>
                    <a:pt x="118" y="213"/>
                  </a:cubicBezTo>
                  <a:close/>
                  <a:moveTo>
                    <a:pt x="118" y="256"/>
                  </a:moveTo>
                  <a:cubicBezTo>
                    <a:pt x="96" y="256"/>
                    <a:pt x="96" y="256"/>
                    <a:pt x="96" y="256"/>
                  </a:cubicBezTo>
                  <a:cubicBezTo>
                    <a:pt x="90" y="256"/>
                    <a:pt x="86" y="260"/>
                    <a:pt x="86" y="266"/>
                  </a:cubicBezTo>
                  <a:cubicBezTo>
                    <a:pt x="86" y="272"/>
                    <a:pt x="90" y="277"/>
                    <a:pt x="96" y="277"/>
                  </a:cubicBezTo>
                  <a:cubicBezTo>
                    <a:pt x="118" y="277"/>
                    <a:pt x="118" y="277"/>
                    <a:pt x="118" y="277"/>
                  </a:cubicBezTo>
                  <a:cubicBezTo>
                    <a:pt x="124" y="277"/>
                    <a:pt x="128" y="272"/>
                    <a:pt x="128" y="266"/>
                  </a:cubicBezTo>
                  <a:cubicBezTo>
                    <a:pt x="128" y="260"/>
                    <a:pt x="124" y="256"/>
                    <a:pt x="118" y="256"/>
                  </a:cubicBezTo>
                  <a:close/>
                  <a:moveTo>
                    <a:pt x="203" y="170"/>
                  </a:moveTo>
                  <a:cubicBezTo>
                    <a:pt x="182" y="170"/>
                    <a:pt x="182" y="170"/>
                    <a:pt x="182" y="170"/>
                  </a:cubicBezTo>
                  <a:cubicBezTo>
                    <a:pt x="176" y="170"/>
                    <a:pt x="171" y="175"/>
                    <a:pt x="171" y="181"/>
                  </a:cubicBezTo>
                  <a:cubicBezTo>
                    <a:pt x="171" y="187"/>
                    <a:pt x="176" y="192"/>
                    <a:pt x="182" y="192"/>
                  </a:cubicBezTo>
                  <a:cubicBezTo>
                    <a:pt x="203" y="192"/>
                    <a:pt x="203" y="192"/>
                    <a:pt x="203" y="192"/>
                  </a:cubicBezTo>
                  <a:cubicBezTo>
                    <a:pt x="209" y="192"/>
                    <a:pt x="214" y="187"/>
                    <a:pt x="214" y="181"/>
                  </a:cubicBezTo>
                  <a:cubicBezTo>
                    <a:pt x="214" y="175"/>
                    <a:pt x="209" y="170"/>
                    <a:pt x="203" y="170"/>
                  </a:cubicBezTo>
                  <a:close/>
                  <a:moveTo>
                    <a:pt x="203" y="213"/>
                  </a:moveTo>
                  <a:cubicBezTo>
                    <a:pt x="182" y="213"/>
                    <a:pt x="182" y="213"/>
                    <a:pt x="182" y="213"/>
                  </a:cubicBezTo>
                  <a:cubicBezTo>
                    <a:pt x="176" y="213"/>
                    <a:pt x="171" y="218"/>
                    <a:pt x="171" y="224"/>
                  </a:cubicBezTo>
                  <a:cubicBezTo>
                    <a:pt x="171" y="230"/>
                    <a:pt x="176" y="234"/>
                    <a:pt x="182" y="234"/>
                  </a:cubicBezTo>
                  <a:cubicBezTo>
                    <a:pt x="203" y="234"/>
                    <a:pt x="203" y="234"/>
                    <a:pt x="203" y="234"/>
                  </a:cubicBezTo>
                  <a:cubicBezTo>
                    <a:pt x="209" y="234"/>
                    <a:pt x="214" y="230"/>
                    <a:pt x="214" y="224"/>
                  </a:cubicBezTo>
                  <a:cubicBezTo>
                    <a:pt x="214" y="218"/>
                    <a:pt x="209" y="213"/>
                    <a:pt x="203" y="213"/>
                  </a:cubicBezTo>
                  <a:close/>
                  <a:moveTo>
                    <a:pt x="203" y="256"/>
                  </a:moveTo>
                  <a:cubicBezTo>
                    <a:pt x="182" y="256"/>
                    <a:pt x="182" y="256"/>
                    <a:pt x="182" y="256"/>
                  </a:cubicBezTo>
                  <a:cubicBezTo>
                    <a:pt x="176" y="256"/>
                    <a:pt x="171" y="260"/>
                    <a:pt x="171" y="266"/>
                  </a:cubicBezTo>
                  <a:cubicBezTo>
                    <a:pt x="171" y="272"/>
                    <a:pt x="176" y="277"/>
                    <a:pt x="182" y="277"/>
                  </a:cubicBezTo>
                  <a:cubicBezTo>
                    <a:pt x="203" y="277"/>
                    <a:pt x="203" y="277"/>
                    <a:pt x="203" y="277"/>
                  </a:cubicBezTo>
                  <a:cubicBezTo>
                    <a:pt x="209" y="277"/>
                    <a:pt x="214" y="272"/>
                    <a:pt x="214" y="266"/>
                  </a:cubicBezTo>
                  <a:cubicBezTo>
                    <a:pt x="214" y="260"/>
                    <a:pt x="209" y="256"/>
                    <a:pt x="203" y="256"/>
                  </a:cubicBezTo>
                  <a:close/>
                  <a:moveTo>
                    <a:pt x="203" y="42"/>
                  </a:moveTo>
                  <a:cubicBezTo>
                    <a:pt x="182" y="42"/>
                    <a:pt x="182" y="42"/>
                    <a:pt x="182" y="42"/>
                  </a:cubicBezTo>
                  <a:cubicBezTo>
                    <a:pt x="176" y="42"/>
                    <a:pt x="171" y="47"/>
                    <a:pt x="171" y="53"/>
                  </a:cubicBezTo>
                  <a:cubicBezTo>
                    <a:pt x="171" y="59"/>
                    <a:pt x="176" y="64"/>
                    <a:pt x="182" y="64"/>
                  </a:cubicBezTo>
                  <a:cubicBezTo>
                    <a:pt x="203" y="64"/>
                    <a:pt x="203" y="64"/>
                    <a:pt x="203" y="64"/>
                  </a:cubicBezTo>
                  <a:cubicBezTo>
                    <a:pt x="209" y="64"/>
                    <a:pt x="214" y="59"/>
                    <a:pt x="214" y="53"/>
                  </a:cubicBezTo>
                  <a:cubicBezTo>
                    <a:pt x="214" y="47"/>
                    <a:pt x="209" y="42"/>
                    <a:pt x="203" y="42"/>
                  </a:cubicBezTo>
                  <a:close/>
                  <a:moveTo>
                    <a:pt x="203" y="85"/>
                  </a:moveTo>
                  <a:cubicBezTo>
                    <a:pt x="182" y="85"/>
                    <a:pt x="182" y="85"/>
                    <a:pt x="182" y="85"/>
                  </a:cubicBezTo>
                  <a:cubicBezTo>
                    <a:pt x="176" y="85"/>
                    <a:pt x="171" y="90"/>
                    <a:pt x="171" y="96"/>
                  </a:cubicBezTo>
                  <a:cubicBezTo>
                    <a:pt x="171" y="102"/>
                    <a:pt x="176" y="106"/>
                    <a:pt x="182" y="106"/>
                  </a:cubicBezTo>
                  <a:cubicBezTo>
                    <a:pt x="203" y="106"/>
                    <a:pt x="203" y="106"/>
                    <a:pt x="203" y="106"/>
                  </a:cubicBezTo>
                  <a:cubicBezTo>
                    <a:pt x="209" y="106"/>
                    <a:pt x="214" y="102"/>
                    <a:pt x="214" y="96"/>
                  </a:cubicBezTo>
                  <a:cubicBezTo>
                    <a:pt x="214" y="90"/>
                    <a:pt x="209" y="85"/>
                    <a:pt x="203" y="85"/>
                  </a:cubicBezTo>
                  <a:close/>
                  <a:moveTo>
                    <a:pt x="203" y="128"/>
                  </a:moveTo>
                  <a:cubicBezTo>
                    <a:pt x="182" y="128"/>
                    <a:pt x="182" y="128"/>
                    <a:pt x="182" y="128"/>
                  </a:cubicBezTo>
                  <a:cubicBezTo>
                    <a:pt x="176" y="128"/>
                    <a:pt x="171" y="132"/>
                    <a:pt x="171" y="138"/>
                  </a:cubicBezTo>
                  <a:cubicBezTo>
                    <a:pt x="171" y="144"/>
                    <a:pt x="176" y="149"/>
                    <a:pt x="182" y="149"/>
                  </a:cubicBezTo>
                  <a:cubicBezTo>
                    <a:pt x="203" y="149"/>
                    <a:pt x="203" y="149"/>
                    <a:pt x="203" y="149"/>
                  </a:cubicBezTo>
                  <a:cubicBezTo>
                    <a:pt x="209" y="149"/>
                    <a:pt x="214" y="144"/>
                    <a:pt x="214" y="138"/>
                  </a:cubicBezTo>
                  <a:cubicBezTo>
                    <a:pt x="214" y="132"/>
                    <a:pt x="209" y="128"/>
                    <a:pt x="203" y="128"/>
                  </a:cubicBezTo>
                  <a:close/>
                  <a:moveTo>
                    <a:pt x="203" y="0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176" y="0"/>
                    <a:pt x="171" y="4"/>
                    <a:pt x="171" y="10"/>
                  </a:cubicBezTo>
                  <a:cubicBezTo>
                    <a:pt x="171" y="16"/>
                    <a:pt x="176" y="21"/>
                    <a:pt x="182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9" y="21"/>
                    <a:pt x="214" y="16"/>
                    <a:pt x="214" y="10"/>
                  </a:cubicBezTo>
                  <a:cubicBezTo>
                    <a:pt x="214" y="4"/>
                    <a:pt x="209" y="0"/>
                    <a:pt x="203" y="0"/>
                  </a:cubicBezTo>
                  <a:close/>
                  <a:moveTo>
                    <a:pt x="288" y="170"/>
                  </a:moveTo>
                  <a:cubicBezTo>
                    <a:pt x="267" y="170"/>
                    <a:pt x="267" y="170"/>
                    <a:pt x="267" y="170"/>
                  </a:cubicBezTo>
                  <a:cubicBezTo>
                    <a:pt x="261" y="170"/>
                    <a:pt x="256" y="175"/>
                    <a:pt x="256" y="181"/>
                  </a:cubicBezTo>
                  <a:cubicBezTo>
                    <a:pt x="256" y="187"/>
                    <a:pt x="261" y="192"/>
                    <a:pt x="267" y="192"/>
                  </a:cubicBezTo>
                  <a:cubicBezTo>
                    <a:pt x="288" y="192"/>
                    <a:pt x="288" y="192"/>
                    <a:pt x="288" y="192"/>
                  </a:cubicBezTo>
                  <a:cubicBezTo>
                    <a:pt x="294" y="192"/>
                    <a:pt x="299" y="187"/>
                    <a:pt x="299" y="181"/>
                  </a:cubicBezTo>
                  <a:cubicBezTo>
                    <a:pt x="299" y="175"/>
                    <a:pt x="294" y="170"/>
                    <a:pt x="288" y="170"/>
                  </a:cubicBezTo>
                  <a:close/>
                  <a:moveTo>
                    <a:pt x="288" y="213"/>
                  </a:moveTo>
                  <a:cubicBezTo>
                    <a:pt x="267" y="213"/>
                    <a:pt x="267" y="213"/>
                    <a:pt x="267" y="213"/>
                  </a:cubicBezTo>
                  <a:cubicBezTo>
                    <a:pt x="261" y="213"/>
                    <a:pt x="256" y="218"/>
                    <a:pt x="256" y="224"/>
                  </a:cubicBezTo>
                  <a:cubicBezTo>
                    <a:pt x="256" y="230"/>
                    <a:pt x="261" y="234"/>
                    <a:pt x="267" y="234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94" y="234"/>
                    <a:pt x="299" y="230"/>
                    <a:pt x="299" y="224"/>
                  </a:cubicBezTo>
                  <a:cubicBezTo>
                    <a:pt x="299" y="218"/>
                    <a:pt x="294" y="213"/>
                    <a:pt x="288" y="213"/>
                  </a:cubicBezTo>
                  <a:close/>
                  <a:moveTo>
                    <a:pt x="288" y="256"/>
                  </a:moveTo>
                  <a:cubicBezTo>
                    <a:pt x="267" y="256"/>
                    <a:pt x="267" y="256"/>
                    <a:pt x="267" y="256"/>
                  </a:cubicBezTo>
                  <a:cubicBezTo>
                    <a:pt x="261" y="256"/>
                    <a:pt x="256" y="260"/>
                    <a:pt x="256" y="266"/>
                  </a:cubicBezTo>
                  <a:cubicBezTo>
                    <a:pt x="256" y="272"/>
                    <a:pt x="261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260"/>
                    <a:pt x="294" y="256"/>
                    <a:pt x="288" y="256"/>
                  </a:cubicBezTo>
                  <a:close/>
                  <a:moveTo>
                    <a:pt x="267" y="106"/>
                  </a:moveTo>
                  <a:cubicBezTo>
                    <a:pt x="288" y="106"/>
                    <a:pt x="288" y="106"/>
                    <a:pt x="288" y="106"/>
                  </a:cubicBezTo>
                  <a:cubicBezTo>
                    <a:pt x="294" y="106"/>
                    <a:pt x="299" y="102"/>
                    <a:pt x="299" y="96"/>
                  </a:cubicBezTo>
                  <a:cubicBezTo>
                    <a:pt x="299" y="90"/>
                    <a:pt x="294" y="85"/>
                    <a:pt x="288" y="85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1" y="85"/>
                    <a:pt x="256" y="90"/>
                    <a:pt x="256" y="96"/>
                  </a:cubicBezTo>
                  <a:cubicBezTo>
                    <a:pt x="256" y="102"/>
                    <a:pt x="261" y="106"/>
                    <a:pt x="267" y="106"/>
                  </a:cubicBezTo>
                  <a:close/>
                  <a:moveTo>
                    <a:pt x="288" y="128"/>
                  </a:moveTo>
                  <a:cubicBezTo>
                    <a:pt x="267" y="128"/>
                    <a:pt x="267" y="128"/>
                    <a:pt x="267" y="128"/>
                  </a:cubicBezTo>
                  <a:cubicBezTo>
                    <a:pt x="261" y="128"/>
                    <a:pt x="256" y="132"/>
                    <a:pt x="256" y="138"/>
                  </a:cubicBezTo>
                  <a:cubicBezTo>
                    <a:pt x="256" y="144"/>
                    <a:pt x="261" y="149"/>
                    <a:pt x="267" y="149"/>
                  </a:cubicBezTo>
                  <a:cubicBezTo>
                    <a:pt x="288" y="149"/>
                    <a:pt x="288" y="149"/>
                    <a:pt x="288" y="149"/>
                  </a:cubicBezTo>
                  <a:cubicBezTo>
                    <a:pt x="294" y="149"/>
                    <a:pt x="299" y="144"/>
                    <a:pt x="299" y="138"/>
                  </a:cubicBezTo>
                  <a:cubicBezTo>
                    <a:pt x="299" y="132"/>
                    <a:pt x="294" y="128"/>
                    <a:pt x="288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288"/>
            <p:cNvSpPr>
              <a:spLocks noEditPoints="1"/>
            </p:cNvSpPr>
            <p:nvPr/>
          </p:nvSpPr>
          <p:spPr bwMode="auto">
            <a:xfrm>
              <a:off x="2962" y="226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0" name="Freeform 292"/>
          <p:cNvSpPr>
            <a:spLocks noChangeAspect="1" noEditPoints="1"/>
          </p:cNvSpPr>
          <p:nvPr/>
        </p:nvSpPr>
        <p:spPr bwMode="auto">
          <a:xfrm>
            <a:off x="8421112" y="2049964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17 w 512"/>
              <a:gd name="T11" fmla="*/ 277 h 512"/>
              <a:gd name="T12" fmla="*/ 106 w 512"/>
              <a:gd name="T13" fmla="*/ 288 h 512"/>
              <a:gd name="T14" fmla="*/ 96 w 512"/>
              <a:gd name="T15" fmla="*/ 277 h 512"/>
              <a:gd name="T16" fmla="*/ 96 w 512"/>
              <a:gd name="T17" fmla="*/ 234 h 512"/>
              <a:gd name="T18" fmla="*/ 106 w 512"/>
              <a:gd name="T19" fmla="*/ 224 h 512"/>
              <a:gd name="T20" fmla="*/ 117 w 512"/>
              <a:gd name="T21" fmla="*/ 234 h 512"/>
              <a:gd name="T22" fmla="*/ 117 w 512"/>
              <a:gd name="T23" fmla="*/ 277 h 512"/>
              <a:gd name="T24" fmla="*/ 160 w 512"/>
              <a:gd name="T25" fmla="*/ 320 h 512"/>
              <a:gd name="T26" fmla="*/ 149 w 512"/>
              <a:gd name="T27" fmla="*/ 330 h 512"/>
              <a:gd name="T28" fmla="*/ 138 w 512"/>
              <a:gd name="T29" fmla="*/ 320 h 512"/>
              <a:gd name="T30" fmla="*/ 138 w 512"/>
              <a:gd name="T31" fmla="*/ 192 h 512"/>
              <a:gd name="T32" fmla="*/ 149 w 512"/>
              <a:gd name="T33" fmla="*/ 181 h 512"/>
              <a:gd name="T34" fmla="*/ 160 w 512"/>
              <a:gd name="T35" fmla="*/ 192 h 512"/>
              <a:gd name="T36" fmla="*/ 160 w 512"/>
              <a:gd name="T37" fmla="*/ 320 h 512"/>
              <a:gd name="T38" fmla="*/ 202 w 512"/>
              <a:gd name="T39" fmla="*/ 352 h 512"/>
              <a:gd name="T40" fmla="*/ 192 w 512"/>
              <a:gd name="T41" fmla="*/ 362 h 512"/>
              <a:gd name="T42" fmla="*/ 181 w 512"/>
              <a:gd name="T43" fmla="*/ 352 h 512"/>
              <a:gd name="T44" fmla="*/ 181 w 512"/>
              <a:gd name="T45" fmla="*/ 160 h 512"/>
              <a:gd name="T46" fmla="*/ 192 w 512"/>
              <a:gd name="T47" fmla="*/ 149 h 512"/>
              <a:gd name="T48" fmla="*/ 202 w 512"/>
              <a:gd name="T49" fmla="*/ 160 h 512"/>
              <a:gd name="T50" fmla="*/ 202 w 512"/>
              <a:gd name="T51" fmla="*/ 352 h 512"/>
              <a:gd name="T52" fmla="*/ 245 w 512"/>
              <a:gd name="T53" fmla="*/ 309 h 512"/>
              <a:gd name="T54" fmla="*/ 234 w 512"/>
              <a:gd name="T55" fmla="*/ 320 h 512"/>
              <a:gd name="T56" fmla="*/ 224 w 512"/>
              <a:gd name="T57" fmla="*/ 309 h 512"/>
              <a:gd name="T58" fmla="*/ 224 w 512"/>
              <a:gd name="T59" fmla="*/ 202 h 512"/>
              <a:gd name="T60" fmla="*/ 234 w 512"/>
              <a:gd name="T61" fmla="*/ 192 h 512"/>
              <a:gd name="T62" fmla="*/ 245 w 512"/>
              <a:gd name="T63" fmla="*/ 202 h 512"/>
              <a:gd name="T64" fmla="*/ 245 w 512"/>
              <a:gd name="T65" fmla="*/ 309 h 512"/>
              <a:gd name="T66" fmla="*/ 288 w 512"/>
              <a:gd name="T67" fmla="*/ 362 h 512"/>
              <a:gd name="T68" fmla="*/ 277 w 512"/>
              <a:gd name="T69" fmla="*/ 373 h 512"/>
              <a:gd name="T70" fmla="*/ 266 w 512"/>
              <a:gd name="T71" fmla="*/ 362 h 512"/>
              <a:gd name="T72" fmla="*/ 266 w 512"/>
              <a:gd name="T73" fmla="*/ 149 h 512"/>
              <a:gd name="T74" fmla="*/ 277 w 512"/>
              <a:gd name="T75" fmla="*/ 138 h 512"/>
              <a:gd name="T76" fmla="*/ 288 w 512"/>
              <a:gd name="T77" fmla="*/ 149 h 512"/>
              <a:gd name="T78" fmla="*/ 288 w 512"/>
              <a:gd name="T79" fmla="*/ 362 h 512"/>
              <a:gd name="T80" fmla="*/ 330 w 512"/>
              <a:gd name="T81" fmla="*/ 320 h 512"/>
              <a:gd name="T82" fmla="*/ 320 w 512"/>
              <a:gd name="T83" fmla="*/ 330 h 512"/>
              <a:gd name="T84" fmla="*/ 309 w 512"/>
              <a:gd name="T85" fmla="*/ 320 h 512"/>
              <a:gd name="T86" fmla="*/ 309 w 512"/>
              <a:gd name="T87" fmla="*/ 192 h 512"/>
              <a:gd name="T88" fmla="*/ 320 w 512"/>
              <a:gd name="T89" fmla="*/ 181 h 512"/>
              <a:gd name="T90" fmla="*/ 330 w 512"/>
              <a:gd name="T91" fmla="*/ 192 h 512"/>
              <a:gd name="T92" fmla="*/ 330 w 512"/>
              <a:gd name="T93" fmla="*/ 320 h 512"/>
              <a:gd name="T94" fmla="*/ 373 w 512"/>
              <a:gd name="T95" fmla="*/ 298 h 512"/>
              <a:gd name="T96" fmla="*/ 362 w 512"/>
              <a:gd name="T97" fmla="*/ 309 h 512"/>
              <a:gd name="T98" fmla="*/ 352 w 512"/>
              <a:gd name="T99" fmla="*/ 298 h 512"/>
              <a:gd name="T100" fmla="*/ 352 w 512"/>
              <a:gd name="T101" fmla="*/ 213 h 512"/>
              <a:gd name="T102" fmla="*/ 362 w 512"/>
              <a:gd name="T103" fmla="*/ 202 h 512"/>
              <a:gd name="T104" fmla="*/ 373 w 512"/>
              <a:gd name="T105" fmla="*/ 213 h 512"/>
              <a:gd name="T106" fmla="*/ 373 w 512"/>
              <a:gd name="T107" fmla="*/ 298 h 512"/>
              <a:gd name="T108" fmla="*/ 416 w 512"/>
              <a:gd name="T109" fmla="*/ 266 h 512"/>
              <a:gd name="T110" fmla="*/ 405 w 512"/>
              <a:gd name="T111" fmla="*/ 277 h 512"/>
              <a:gd name="T112" fmla="*/ 394 w 512"/>
              <a:gd name="T113" fmla="*/ 266 h 512"/>
              <a:gd name="T114" fmla="*/ 394 w 512"/>
              <a:gd name="T115" fmla="*/ 245 h 512"/>
              <a:gd name="T116" fmla="*/ 405 w 512"/>
              <a:gd name="T117" fmla="*/ 234 h 512"/>
              <a:gd name="T118" fmla="*/ 416 w 512"/>
              <a:gd name="T119" fmla="*/ 245 h 512"/>
              <a:gd name="T120" fmla="*/ 416 w 512"/>
              <a:gd name="T121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277"/>
                </a:moveTo>
                <a:cubicBezTo>
                  <a:pt x="117" y="283"/>
                  <a:pt x="112" y="288"/>
                  <a:pt x="106" y="288"/>
                </a:cubicBezTo>
                <a:cubicBezTo>
                  <a:pt x="100" y="288"/>
                  <a:pt x="96" y="283"/>
                  <a:pt x="96" y="277"/>
                </a:cubicBezTo>
                <a:cubicBezTo>
                  <a:pt x="96" y="234"/>
                  <a:pt x="96" y="234"/>
                  <a:pt x="96" y="234"/>
                </a:cubicBezTo>
                <a:cubicBezTo>
                  <a:pt x="96" y="228"/>
                  <a:pt x="100" y="224"/>
                  <a:pt x="106" y="224"/>
                </a:cubicBezTo>
                <a:cubicBezTo>
                  <a:pt x="112" y="224"/>
                  <a:pt x="117" y="228"/>
                  <a:pt x="117" y="234"/>
                </a:cubicBezTo>
                <a:lnTo>
                  <a:pt x="117" y="277"/>
                </a:lnTo>
                <a:close/>
                <a:moveTo>
                  <a:pt x="160" y="320"/>
                </a:move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8" y="186"/>
                  <a:pt x="143" y="181"/>
                  <a:pt x="149" y="181"/>
                </a:cubicBezTo>
                <a:cubicBezTo>
                  <a:pt x="155" y="181"/>
                  <a:pt x="160" y="186"/>
                  <a:pt x="160" y="192"/>
                </a:cubicBezTo>
                <a:lnTo>
                  <a:pt x="160" y="320"/>
                </a:lnTo>
                <a:close/>
                <a:moveTo>
                  <a:pt x="202" y="352"/>
                </a:moveTo>
                <a:cubicBezTo>
                  <a:pt x="202" y="358"/>
                  <a:pt x="198" y="362"/>
                  <a:pt x="192" y="362"/>
                </a:cubicBezTo>
                <a:cubicBezTo>
                  <a:pt x="186" y="362"/>
                  <a:pt x="181" y="358"/>
                  <a:pt x="181" y="352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81" y="154"/>
                  <a:pt x="186" y="149"/>
                  <a:pt x="192" y="149"/>
                </a:cubicBezTo>
                <a:cubicBezTo>
                  <a:pt x="198" y="149"/>
                  <a:pt x="202" y="154"/>
                  <a:pt x="202" y="160"/>
                </a:cubicBezTo>
                <a:lnTo>
                  <a:pt x="202" y="352"/>
                </a:lnTo>
                <a:close/>
                <a:moveTo>
                  <a:pt x="245" y="309"/>
                </a:moveTo>
                <a:cubicBezTo>
                  <a:pt x="245" y="315"/>
                  <a:pt x="240" y="320"/>
                  <a:pt x="234" y="320"/>
                </a:cubicBezTo>
                <a:cubicBezTo>
                  <a:pt x="228" y="320"/>
                  <a:pt x="224" y="315"/>
                  <a:pt x="224" y="309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28" y="192"/>
                  <a:pt x="234" y="192"/>
                </a:cubicBezTo>
                <a:cubicBezTo>
                  <a:pt x="240" y="192"/>
                  <a:pt x="245" y="196"/>
                  <a:pt x="245" y="202"/>
                </a:cubicBezTo>
                <a:lnTo>
                  <a:pt x="245" y="309"/>
                </a:lnTo>
                <a:close/>
                <a:moveTo>
                  <a:pt x="288" y="362"/>
                </a:moveTo>
                <a:cubicBezTo>
                  <a:pt x="288" y="368"/>
                  <a:pt x="283" y="373"/>
                  <a:pt x="277" y="373"/>
                </a:cubicBezTo>
                <a:cubicBezTo>
                  <a:pt x="271" y="373"/>
                  <a:pt x="266" y="368"/>
                  <a:pt x="266" y="362"/>
                </a:cubicBezTo>
                <a:cubicBezTo>
                  <a:pt x="266" y="149"/>
                  <a:pt x="266" y="149"/>
                  <a:pt x="266" y="149"/>
                </a:cubicBezTo>
                <a:cubicBezTo>
                  <a:pt x="266" y="143"/>
                  <a:pt x="271" y="138"/>
                  <a:pt x="277" y="138"/>
                </a:cubicBezTo>
                <a:cubicBezTo>
                  <a:pt x="283" y="138"/>
                  <a:pt x="288" y="143"/>
                  <a:pt x="288" y="149"/>
                </a:cubicBezTo>
                <a:lnTo>
                  <a:pt x="288" y="362"/>
                </a:lnTo>
                <a:close/>
                <a:moveTo>
                  <a:pt x="330" y="320"/>
                </a:move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09" y="186"/>
                  <a:pt x="314" y="181"/>
                  <a:pt x="320" y="181"/>
                </a:cubicBezTo>
                <a:cubicBezTo>
                  <a:pt x="326" y="181"/>
                  <a:pt x="330" y="186"/>
                  <a:pt x="330" y="192"/>
                </a:cubicBezTo>
                <a:lnTo>
                  <a:pt x="330" y="320"/>
                </a:lnTo>
                <a:close/>
                <a:moveTo>
                  <a:pt x="373" y="298"/>
                </a:moveTo>
                <a:cubicBezTo>
                  <a:pt x="373" y="304"/>
                  <a:pt x="368" y="309"/>
                  <a:pt x="362" y="309"/>
                </a:cubicBezTo>
                <a:cubicBezTo>
                  <a:pt x="356" y="309"/>
                  <a:pt x="352" y="304"/>
                  <a:pt x="352" y="298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2" y="207"/>
                  <a:pt x="356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298"/>
                </a:lnTo>
                <a:close/>
                <a:moveTo>
                  <a:pt x="416" y="266"/>
                </a:moveTo>
                <a:cubicBezTo>
                  <a:pt x="416" y="272"/>
                  <a:pt x="411" y="277"/>
                  <a:pt x="405" y="277"/>
                </a:cubicBezTo>
                <a:cubicBezTo>
                  <a:pt x="399" y="277"/>
                  <a:pt x="394" y="272"/>
                  <a:pt x="394" y="266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239"/>
                  <a:pt x="399" y="234"/>
                  <a:pt x="405" y="234"/>
                </a:cubicBezTo>
                <a:cubicBezTo>
                  <a:pt x="411" y="234"/>
                  <a:pt x="416" y="239"/>
                  <a:pt x="416" y="245"/>
                </a:cubicBezTo>
                <a:lnTo>
                  <a:pt x="416" y="2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1" name="Group 295"/>
          <p:cNvGrpSpPr>
            <a:grpSpLocks noChangeAspect="1"/>
          </p:cNvGrpSpPr>
          <p:nvPr/>
        </p:nvGrpSpPr>
        <p:grpSpPr bwMode="auto">
          <a:xfrm>
            <a:off x="8917764" y="2049964"/>
            <a:ext cx="367982" cy="369064"/>
            <a:chOff x="3374" y="2060"/>
            <a:chExt cx="340" cy="341"/>
          </a:xfrm>
          <a:solidFill>
            <a:schemeClr val="accent3"/>
          </a:solidFill>
        </p:grpSpPr>
        <p:sp>
          <p:nvSpPr>
            <p:cNvPr id="292" name="Freeform 296"/>
            <p:cNvSpPr>
              <a:spLocks noEditPoints="1"/>
            </p:cNvSpPr>
            <p:nvPr/>
          </p:nvSpPr>
          <p:spPr bwMode="auto">
            <a:xfrm>
              <a:off x="3438" y="2152"/>
              <a:ext cx="212" cy="156"/>
            </a:xfrm>
            <a:custGeom>
              <a:avLst/>
              <a:gdLst>
                <a:gd name="T0" fmla="*/ 192 w 320"/>
                <a:gd name="T1" fmla="*/ 11 h 235"/>
                <a:gd name="T2" fmla="*/ 192 w 320"/>
                <a:gd name="T3" fmla="*/ 224 h 235"/>
                <a:gd name="T4" fmla="*/ 181 w 320"/>
                <a:gd name="T5" fmla="*/ 235 h 235"/>
                <a:gd name="T6" fmla="*/ 170 w 320"/>
                <a:gd name="T7" fmla="*/ 224 h 235"/>
                <a:gd name="T8" fmla="*/ 170 w 320"/>
                <a:gd name="T9" fmla="*/ 11 h 235"/>
                <a:gd name="T10" fmla="*/ 181 w 320"/>
                <a:gd name="T11" fmla="*/ 0 h 235"/>
                <a:gd name="T12" fmla="*/ 192 w 320"/>
                <a:gd name="T13" fmla="*/ 11 h 235"/>
                <a:gd name="T14" fmla="*/ 138 w 320"/>
                <a:gd name="T15" fmla="*/ 54 h 235"/>
                <a:gd name="T16" fmla="*/ 128 w 320"/>
                <a:gd name="T17" fmla="*/ 64 h 235"/>
                <a:gd name="T18" fmla="*/ 128 w 320"/>
                <a:gd name="T19" fmla="*/ 171 h 235"/>
                <a:gd name="T20" fmla="*/ 138 w 320"/>
                <a:gd name="T21" fmla="*/ 182 h 235"/>
                <a:gd name="T22" fmla="*/ 149 w 320"/>
                <a:gd name="T23" fmla="*/ 171 h 235"/>
                <a:gd name="T24" fmla="*/ 149 w 320"/>
                <a:gd name="T25" fmla="*/ 64 h 235"/>
                <a:gd name="T26" fmla="*/ 138 w 320"/>
                <a:gd name="T27" fmla="*/ 54 h 235"/>
                <a:gd name="T28" fmla="*/ 96 w 320"/>
                <a:gd name="T29" fmla="*/ 11 h 235"/>
                <a:gd name="T30" fmla="*/ 85 w 320"/>
                <a:gd name="T31" fmla="*/ 22 h 235"/>
                <a:gd name="T32" fmla="*/ 85 w 320"/>
                <a:gd name="T33" fmla="*/ 214 h 235"/>
                <a:gd name="T34" fmla="*/ 96 w 320"/>
                <a:gd name="T35" fmla="*/ 224 h 235"/>
                <a:gd name="T36" fmla="*/ 106 w 320"/>
                <a:gd name="T37" fmla="*/ 214 h 235"/>
                <a:gd name="T38" fmla="*/ 106 w 320"/>
                <a:gd name="T39" fmla="*/ 22 h 235"/>
                <a:gd name="T40" fmla="*/ 96 w 320"/>
                <a:gd name="T41" fmla="*/ 11 h 235"/>
                <a:gd name="T42" fmla="*/ 53 w 320"/>
                <a:gd name="T43" fmla="*/ 43 h 235"/>
                <a:gd name="T44" fmla="*/ 42 w 320"/>
                <a:gd name="T45" fmla="*/ 54 h 235"/>
                <a:gd name="T46" fmla="*/ 42 w 320"/>
                <a:gd name="T47" fmla="*/ 182 h 235"/>
                <a:gd name="T48" fmla="*/ 53 w 320"/>
                <a:gd name="T49" fmla="*/ 192 h 235"/>
                <a:gd name="T50" fmla="*/ 64 w 320"/>
                <a:gd name="T51" fmla="*/ 182 h 235"/>
                <a:gd name="T52" fmla="*/ 64 w 320"/>
                <a:gd name="T53" fmla="*/ 54 h 235"/>
                <a:gd name="T54" fmla="*/ 53 w 320"/>
                <a:gd name="T55" fmla="*/ 43 h 235"/>
                <a:gd name="T56" fmla="*/ 10 w 320"/>
                <a:gd name="T57" fmla="*/ 86 h 235"/>
                <a:gd name="T58" fmla="*/ 0 w 320"/>
                <a:gd name="T59" fmla="*/ 96 h 235"/>
                <a:gd name="T60" fmla="*/ 0 w 320"/>
                <a:gd name="T61" fmla="*/ 139 h 235"/>
                <a:gd name="T62" fmla="*/ 10 w 320"/>
                <a:gd name="T63" fmla="*/ 150 h 235"/>
                <a:gd name="T64" fmla="*/ 21 w 320"/>
                <a:gd name="T65" fmla="*/ 139 h 235"/>
                <a:gd name="T66" fmla="*/ 21 w 320"/>
                <a:gd name="T67" fmla="*/ 96 h 235"/>
                <a:gd name="T68" fmla="*/ 10 w 320"/>
                <a:gd name="T69" fmla="*/ 86 h 235"/>
                <a:gd name="T70" fmla="*/ 309 w 320"/>
                <a:gd name="T71" fmla="*/ 96 h 235"/>
                <a:gd name="T72" fmla="*/ 298 w 320"/>
                <a:gd name="T73" fmla="*/ 107 h 235"/>
                <a:gd name="T74" fmla="*/ 298 w 320"/>
                <a:gd name="T75" fmla="*/ 128 h 235"/>
                <a:gd name="T76" fmla="*/ 309 w 320"/>
                <a:gd name="T77" fmla="*/ 139 h 235"/>
                <a:gd name="T78" fmla="*/ 320 w 320"/>
                <a:gd name="T79" fmla="*/ 128 h 235"/>
                <a:gd name="T80" fmla="*/ 320 w 320"/>
                <a:gd name="T81" fmla="*/ 107 h 235"/>
                <a:gd name="T82" fmla="*/ 309 w 320"/>
                <a:gd name="T83" fmla="*/ 96 h 235"/>
                <a:gd name="T84" fmla="*/ 266 w 320"/>
                <a:gd name="T85" fmla="*/ 64 h 235"/>
                <a:gd name="T86" fmla="*/ 256 w 320"/>
                <a:gd name="T87" fmla="*/ 75 h 235"/>
                <a:gd name="T88" fmla="*/ 256 w 320"/>
                <a:gd name="T89" fmla="*/ 160 h 235"/>
                <a:gd name="T90" fmla="*/ 266 w 320"/>
                <a:gd name="T91" fmla="*/ 171 h 235"/>
                <a:gd name="T92" fmla="*/ 277 w 320"/>
                <a:gd name="T93" fmla="*/ 160 h 235"/>
                <a:gd name="T94" fmla="*/ 277 w 320"/>
                <a:gd name="T95" fmla="*/ 75 h 235"/>
                <a:gd name="T96" fmla="*/ 266 w 320"/>
                <a:gd name="T97" fmla="*/ 64 h 235"/>
                <a:gd name="T98" fmla="*/ 224 w 320"/>
                <a:gd name="T99" fmla="*/ 43 h 235"/>
                <a:gd name="T100" fmla="*/ 213 w 320"/>
                <a:gd name="T101" fmla="*/ 54 h 235"/>
                <a:gd name="T102" fmla="*/ 213 w 320"/>
                <a:gd name="T103" fmla="*/ 182 h 235"/>
                <a:gd name="T104" fmla="*/ 224 w 320"/>
                <a:gd name="T105" fmla="*/ 192 h 235"/>
                <a:gd name="T106" fmla="*/ 234 w 320"/>
                <a:gd name="T107" fmla="*/ 182 h 235"/>
                <a:gd name="T108" fmla="*/ 234 w 320"/>
                <a:gd name="T109" fmla="*/ 54 h 235"/>
                <a:gd name="T110" fmla="*/ 224 w 320"/>
                <a:gd name="T111" fmla="*/ 4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35">
                  <a:moveTo>
                    <a:pt x="192" y="11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92" y="230"/>
                    <a:pt x="187" y="235"/>
                    <a:pt x="181" y="235"/>
                  </a:cubicBezTo>
                  <a:cubicBezTo>
                    <a:pt x="175" y="235"/>
                    <a:pt x="170" y="230"/>
                    <a:pt x="170" y="224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5"/>
                    <a:pt x="175" y="0"/>
                    <a:pt x="181" y="0"/>
                  </a:cubicBezTo>
                  <a:cubicBezTo>
                    <a:pt x="187" y="0"/>
                    <a:pt x="192" y="5"/>
                    <a:pt x="192" y="11"/>
                  </a:cubicBezTo>
                  <a:close/>
                  <a:moveTo>
                    <a:pt x="138" y="54"/>
                  </a:moveTo>
                  <a:cubicBezTo>
                    <a:pt x="132" y="54"/>
                    <a:pt x="128" y="58"/>
                    <a:pt x="128" y="64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77"/>
                    <a:pt x="132" y="182"/>
                    <a:pt x="138" y="182"/>
                  </a:cubicBezTo>
                  <a:cubicBezTo>
                    <a:pt x="144" y="182"/>
                    <a:pt x="149" y="177"/>
                    <a:pt x="149" y="171"/>
                  </a:cubicBezTo>
                  <a:cubicBezTo>
                    <a:pt x="149" y="64"/>
                    <a:pt x="149" y="64"/>
                    <a:pt x="149" y="64"/>
                  </a:cubicBezTo>
                  <a:cubicBezTo>
                    <a:pt x="149" y="58"/>
                    <a:pt x="144" y="54"/>
                    <a:pt x="138" y="54"/>
                  </a:cubicBezTo>
                  <a:close/>
                  <a:moveTo>
                    <a:pt x="96" y="11"/>
                  </a:moveTo>
                  <a:cubicBezTo>
                    <a:pt x="90" y="11"/>
                    <a:pt x="85" y="16"/>
                    <a:pt x="85" y="22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20"/>
                    <a:pt x="90" y="224"/>
                    <a:pt x="96" y="224"/>
                  </a:cubicBezTo>
                  <a:cubicBezTo>
                    <a:pt x="102" y="224"/>
                    <a:pt x="106" y="220"/>
                    <a:pt x="106" y="214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16"/>
                    <a:pt x="102" y="11"/>
                    <a:pt x="96" y="11"/>
                  </a:cubicBezTo>
                  <a:close/>
                  <a:moveTo>
                    <a:pt x="53" y="43"/>
                  </a:moveTo>
                  <a:cubicBezTo>
                    <a:pt x="47" y="43"/>
                    <a:pt x="42" y="48"/>
                    <a:pt x="42" y="54"/>
                  </a:cubicBezTo>
                  <a:cubicBezTo>
                    <a:pt x="42" y="182"/>
                    <a:pt x="42" y="182"/>
                    <a:pt x="42" y="182"/>
                  </a:cubicBezTo>
                  <a:cubicBezTo>
                    <a:pt x="42" y="188"/>
                    <a:pt x="47" y="192"/>
                    <a:pt x="53" y="192"/>
                  </a:cubicBezTo>
                  <a:cubicBezTo>
                    <a:pt x="59" y="192"/>
                    <a:pt x="64" y="188"/>
                    <a:pt x="64" y="182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48"/>
                    <a:pt x="59" y="43"/>
                    <a:pt x="53" y="43"/>
                  </a:cubicBezTo>
                  <a:close/>
                  <a:moveTo>
                    <a:pt x="10" y="86"/>
                  </a:moveTo>
                  <a:cubicBezTo>
                    <a:pt x="4" y="86"/>
                    <a:pt x="0" y="90"/>
                    <a:pt x="0" y="9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5"/>
                    <a:pt x="4" y="150"/>
                    <a:pt x="10" y="150"/>
                  </a:cubicBezTo>
                  <a:cubicBezTo>
                    <a:pt x="16" y="150"/>
                    <a:pt x="21" y="145"/>
                    <a:pt x="21" y="139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1" y="90"/>
                    <a:pt x="16" y="86"/>
                    <a:pt x="10" y="86"/>
                  </a:cubicBezTo>
                  <a:close/>
                  <a:moveTo>
                    <a:pt x="309" y="96"/>
                  </a:moveTo>
                  <a:cubicBezTo>
                    <a:pt x="303" y="96"/>
                    <a:pt x="298" y="101"/>
                    <a:pt x="298" y="107"/>
                  </a:cubicBezTo>
                  <a:cubicBezTo>
                    <a:pt x="298" y="128"/>
                    <a:pt x="298" y="128"/>
                    <a:pt x="298" y="128"/>
                  </a:cubicBezTo>
                  <a:cubicBezTo>
                    <a:pt x="298" y="134"/>
                    <a:pt x="303" y="139"/>
                    <a:pt x="309" y="139"/>
                  </a:cubicBezTo>
                  <a:cubicBezTo>
                    <a:pt x="315" y="139"/>
                    <a:pt x="320" y="134"/>
                    <a:pt x="320" y="128"/>
                  </a:cubicBezTo>
                  <a:cubicBezTo>
                    <a:pt x="320" y="107"/>
                    <a:pt x="320" y="107"/>
                    <a:pt x="320" y="107"/>
                  </a:cubicBezTo>
                  <a:cubicBezTo>
                    <a:pt x="320" y="101"/>
                    <a:pt x="315" y="96"/>
                    <a:pt x="309" y="96"/>
                  </a:cubicBezTo>
                  <a:close/>
                  <a:moveTo>
                    <a:pt x="266" y="64"/>
                  </a:moveTo>
                  <a:cubicBezTo>
                    <a:pt x="260" y="64"/>
                    <a:pt x="256" y="69"/>
                    <a:pt x="256" y="75"/>
                  </a:cubicBezTo>
                  <a:cubicBezTo>
                    <a:pt x="256" y="160"/>
                    <a:pt x="256" y="160"/>
                    <a:pt x="256" y="160"/>
                  </a:cubicBezTo>
                  <a:cubicBezTo>
                    <a:pt x="256" y="166"/>
                    <a:pt x="260" y="171"/>
                    <a:pt x="266" y="171"/>
                  </a:cubicBezTo>
                  <a:cubicBezTo>
                    <a:pt x="272" y="171"/>
                    <a:pt x="277" y="166"/>
                    <a:pt x="277" y="160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69"/>
                    <a:pt x="272" y="64"/>
                    <a:pt x="266" y="64"/>
                  </a:cubicBezTo>
                  <a:close/>
                  <a:moveTo>
                    <a:pt x="224" y="43"/>
                  </a:moveTo>
                  <a:cubicBezTo>
                    <a:pt x="218" y="43"/>
                    <a:pt x="213" y="48"/>
                    <a:pt x="213" y="54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3" y="188"/>
                    <a:pt x="218" y="192"/>
                    <a:pt x="224" y="192"/>
                  </a:cubicBezTo>
                  <a:cubicBezTo>
                    <a:pt x="230" y="192"/>
                    <a:pt x="234" y="188"/>
                    <a:pt x="234" y="182"/>
                  </a:cubicBezTo>
                  <a:cubicBezTo>
                    <a:pt x="234" y="54"/>
                    <a:pt x="234" y="54"/>
                    <a:pt x="234" y="54"/>
                  </a:cubicBezTo>
                  <a:cubicBezTo>
                    <a:pt x="234" y="48"/>
                    <a:pt x="230" y="43"/>
                    <a:pt x="22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297"/>
            <p:cNvSpPr>
              <a:spLocks noEditPoints="1"/>
            </p:cNvSpPr>
            <p:nvPr/>
          </p:nvSpPr>
          <p:spPr bwMode="auto">
            <a:xfrm>
              <a:off x="3374" y="206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4" name="Freeform 678"/>
          <p:cNvSpPr>
            <a:spLocks noChangeAspect="1" noEditPoints="1"/>
          </p:cNvSpPr>
          <p:nvPr/>
        </p:nvSpPr>
        <p:spPr bwMode="auto">
          <a:xfrm>
            <a:off x="9414416" y="2049964"/>
            <a:ext cx="367982" cy="367982"/>
          </a:xfrm>
          <a:custGeom>
            <a:avLst/>
            <a:gdLst>
              <a:gd name="T0" fmla="*/ 267 w 512"/>
              <a:gd name="T1" fmla="*/ 214 h 512"/>
              <a:gd name="T2" fmla="*/ 256 w 512"/>
              <a:gd name="T3" fmla="*/ 224 h 512"/>
              <a:gd name="T4" fmla="*/ 245 w 512"/>
              <a:gd name="T5" fmla="*/ 214 h 512"/>
              <a:gd name="T6" fmla="*/ 256 w 512"/>
              <a:gd name="T7" fmla="*/ 203 h 512"/>
              <a:gd name="T8" fmla="*/ 267 w 512"/>
              <a:gd name="T9" fmla="*/ 214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218 w 512"/>
              <a:gd name="T21" fmla="*/ 302 h 512"/>
              <a:gd name="T22" fmla="*/ 160 w 512"/>
              <a:gd name="T23" fmla="*/ 214 h 512"/>
              <a:gd name="T24" fmla="*/ 218 w 512"/>
              <a:gd name="T25" fmla="*/ 126 h 512"/>
              <a:gd name="T26" fmla="*/ 223 w 512"/>
              <a:gd name="T27" fmla="*/ 112 h 512"/>
              <a:gd name="T28" fmla="*/ 209 w 512"/>
              <a:gd name="T29" fmla="*/ 106 h 512"/>
              <a:gd name="T30" fmla="*/ 139 w 512"/>
              <a:gd name="T31" fmla="*/ 214 h 512"/>
              <a:gd name="T32" fmla="*/ 209 w 512"/>
              <a:gd name="T33" fmla="*/ 321 h 512"/>
              <a:gd name="T34" fmla="*/ 213 w 512"/>
              <a:gd name="T35" fmla="*/ 322 h 512"/>
              <a:gd name="T36" fmla="*/ 223 w 512"/>
              <a:gd name="T37" fmla="*/ 316 h 512"/>
              <a:gd name="T38" fmla="*/ 218 w 512"/>
              <a:gd name="T39" fmla="*/ 302 h 512"/>
              <a:gd name="T40" fmla="*/ 229 w 512"/>
              <a:gd name="T41" fmla="*/ 260 h 512"/>
              <a:gd name="T42" fmla="*/ 203 w 512"/>
              <a:gd name="T43" fmla="*/ 214 h 512"/>
              <a:gd name="T44" fmla="*/ 229 w 512"/>
              <a:gd name="T45" fmla="*/ 167 h 512"/>
              <a:gd name="T46" fmla="*/ 233 w 512"/>
              <a:gd name="T47" fmla="*/ 153 h 512"/>
              <a:gd name="T48" fmla="*/ 219 w 512"/>
              <a:gd name="T49" fmla="*/ 149 h 512"/>
              <a:gd name="T50" fmla="*/ 181 w 512"/>
              <a:gd name="T51" fmla="*/ 214 h 512"/>
              <a:gd name="T52" fmla="*/ 219 w 512"/>
              <a:gd name="T53" fmla="*/ 278 h 512"/>
              <a:gd name="T54" fmla="*/ 224 w 512"/>
              <a:gd name="T55" fmla="*/ 280 h 512"/>
              <a:gd name="T56" fmla="*/ 233 w 512"/>
              <a:gd name="T57" fmla="*/ 274 h 512"/>
              <a:gd name="T58" fmla="*/ 229 w 512"/>
              <a:gd name="T59" fmla="*/ 260 h 512"/>
              <a:gd name="T60" fmla="*/ 267 w 512"/>
              <a:gd name="T61" fmla="*/ 244 h 512"/>
              <a:gd name="T62" fmla="*/ 288 w 512"/>
              <a:gd name="T63" fmla="*/ 214 h 512"/>
              <a:gd name="T64" fmla="*/ 256 w 512"/>
              <a:gd name="T65" fmla="*/ 182 h 512"/>
              <a:gd name="T66" fmla="*/ 224 w 512"/>
              <a:gd name="T67" fmla="*/ 214 h 512"/>
              <a:gd name="T68" fmla="*/ 245 w 512"/>
              <a:gd name="T69" fmla="*/ 244 h 512"/>
              <a:gd name="T70" fmla="*/ 245 w 512"/>
              <a:gd name="T71" fmla="*/ 406 h 512"/>
              <a:gd name="T72" fmla="*/ 256 w 512"/>
              <a:gd name="T73" fmla="*/ 416 h 512"/>
              <a:gd name="T74" fmla="*/ 267 w 512"/>
              <a:gd name="T75" fmla="*/ 406 h 512"/>
              <a:gd name="T76" fmla="*/ 267 w 512"/>
              <a:gd name="T77" fmla="*/ 244 h 512"/>
              <a:gd name="T78" fmla="*/ 288 w 512"/>
              <a:gd name="T79" fmla="*/ 280 h 512"/>
              <a:gd name="T80" fmla="*/ 293 w 512"/>
              <a:gd name="T81" fmla="*/ 278 h 512"/>
              <a:gd name="T82" fmla="*/ 331 w 512"/>
              <a:gd name="T83" fmla="*/ 214 h 512"/>
              <a:gd name="T84" fmla="*/ 293 w 512"/>
              <a:gd name="T85" fmla="*/ 149 h 512"/>
              <a:gd name="T86" fmla="*/ 279 w 512"/>
              <a:gd name="T87" fmla="*/ 153 h 512"/>
              <a:gd name="T88" fmla="*/ 283 w 512"/>
              <a:gd name="T89" fmla="*/ 167 h 512"/>
              <a:gd name="T90" fmla="*/ 309 w 512"/>
              <a:gd name="T91" fmla="*/ 214 h 512"/>
              <a:gd name="T92" fmla="*/ 283 w 512"/>
              <a:gd name="T93" fmla="*/ 260 h 512"/>
              <a:gd name="T94" fmla="*/ 279 w 512"/>
              <a:gd name="T95" fmla="*/ 274 h 512"/>
              <a:gd name="T96" fmla="*/ 288 w 512"/>
              <a:gd name="T97" fmla="*/ 280 h 512"/>
              <a:gd name="T98" fmla="*/ 373 w 512"/>
              <a:gd name="T99" fmla="*/ 214 h 512"/>
              <a:gd name="T100" fmla="*/ 303 w 512"/>
              <a:gd name="T101" fmla="*/ 106 h 512"/>
              <a:gd name="T102" fmla="*/ 289 w 512"/>
              <a:gd name="T103" fmla="*/ 112 h 512"/>
              <a:gd name="T104" fmla="*/ 294 w 512"/>
              <a:gd name="T105" fmla="*/ 126 h 512"/>
              <a:gd name="T106" fmla="*/ 352 w 512"/>
              <a:gd name="T107" fmla="*/ 214 h 512"/>
              <a:gd name="T108" fmla="*/ 294 w 512"/>
              <a:gd name="T109" fmla="*/ 302 h 512"/>
              <a:gd name="T110" fmla="*/ 289 w 512"/>
              <a:gd name="T111" fmla="*/ 316 h 512"/>
              <a:gd name="T112" fmla="*/ 299 w 512"/>
              <a:gd name="T113" fmla="*/ 322 h 512"/>
              <a:gd name="T114" fmla="*/ 303 w 512"/>
              <a:gd name="T115" fmla="*/ 321 h 512"/>
              <a:gd name="T116" fmla="*/ 373 w 512"/>
              <a:gd name="T117" fmla="*/ 21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267" y="214"/>
                </a:moveTo>
                <a:cubicBezTo>
                  <a:pt x="267" y="220"/>
                  <a:pt x="262" y="224"/>
                  <a:pt x="256" y="224"/>
                </a:cubicBezTo>
                <a:cubicBezTo>
                  <a:pt x="250" y="224"/>
                  <a:pt x="245" y="220"/>
                  <a:pt x="245" y="214"/>
                </a:cubicBezTo>
                <a:cubicBezTo>
                  <a:pt x="245" y="208"/>
                  <a:pt x="250" y="203"/>
                  <a:pt x="256" y="203"/>
                </a:cubicBezTo>
                <a:cubicBezTo>
                  <a:pt x="262" y="203"/>
                  <a:pt x="267" y="208"/>
                  <a:pt x="267" y="214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18" y="302"/>
                </a:moveTo>
                <a:cubicBezTo>
                  <a:pt x="183" y="286"/>
                  <a:pt x="160" y="252"/>
                  <a:pt x="160" y="214"/>
                </a:cubicBezTo>
                <a:cubicBezTo>
                  <a:pt x="160" y="175"/>
                  <a:pt x="183" y="141"/>
                  <a:pt x="218" y="126"/>
                </a:cubicBezTo>
                <a:cubicBezTo>
                  <a:pt x="223" y="123"/>
                  <a:pt x="225" y="117"/>
                  <a:pt x="223" y="112"/>
                </a:cubicBezTo>
                <a:cubicBezTo>
                  <a:pt x="221" y="106"/>
                  <a:pt x="214" y="104"/>
                  <a:pt x="209" y="106"/>
                </a:cubicBezTo>
                <a:cubicBezTo>
                  <a:pt x="166" y="125"/>
                  <a:pt x="139" y="167"/>
                  <a:pt x="139" y="214"/>
                </a:cubicBezTo>
                <a:cubicBezTo>
                  <a:pt x="139" y="260"/>
                  <a:pt x="166" y="303"/>
                  <a:pt x="209" y="321"/>
                </a:cubicBezTo>
                <a:cubicBezTo>
                  <a:pt x="210" y="322"/>
                  <a:pt x="212" y="322"/>
                  <a:pt x="213" y="322"/>
                </a:cubicBezTo>
                <a:cubicBezTo>
                  <a:pt x="217" y="322"/>
                  <a:pt x="221" y="320"/>
                  <a:pt x="223" y="316"/>
                </a:cubicBezTo>
                <a:cubicBezTo>
                  <a:pt x="225" y="310"/>
                  <a:pt x="223" y="304"/>
                  <a:pt x="218" y="302"/>
                </a:cubicBezTo>
                <a:close/>
                <a:moveTo>
                  <a:pt x="229" y="260"/>
                </a:moveTo>
                <a:cubicBezTo>
                  <a:pt x="213" y="250"/>
                  <a:pt x="203" y="233"/>
                  <a:pt x="203" y="214"/>
                </a:cubicBezTo>
                <a:cubicBezTo>
                  <a:pt x="203" y="195"/>
                  <a:pt x="213" y="177"/>
                  <a:pt x="229" y="167"/>
                </a:cubicBezTo>
                <a:cubicBezTo>
                  <a:pt x="234" y="165"/>
                  <a:pt x="236" y="158"/>
                  <a:pt x="233" y="153"/>
                </a:cubicBezTo>
                <a:cubicBezTo>
                  <a:pt x="230" y="148"/>
                  <a:pt x="224" y="146"/>
                  <a:pt x="219" y="149"/>
                </a:cubicBezTo>
                <a:cubicBezTo>
                  <a:pt x="196" y="162"/>
                  <a:pt x="181" y="187"/>
                  <a:pt x="181" y="214"/>
                </a:cubicBezTo>
                <a:cubicBezTo>
                  <a:pt x="181" y="240"/>
                  <a:pt x="196" y="265"/>
                  <a:pt x="219" y="278"/>
                </a:cubicBezTo>
                <a:cubicBezTo>
                  <a:pt x="220" y="279"/>
                  <a:pt x="222" y="280"/>
                  <a:pt x="224" y="280"/>
                </a:cubicBezTo>
                <a:cubicBezTo>
                  <a:pt x="228" y="280"/>
                  <a:pt x="231" y="278"/>
                  <a:pt x="233" y="274"/>
                </a:cubicBezTo>
                <a:cubicBezTo>
                  <a:pt x="236" y="269"/>
                  <a:pt x="234" y="263"/>
                  <a:pt x="229" y="260"/>
                </a:cubicBezTo>
                <a:close/>
                <a:moveTo>
                  <a:pt x="267" y="244"/>
                </a:moveTo>
                <a:cubicBezTo>
                  <a:pt x="279" y="239"/>
                  <a:pt x="288" y="228"/>
                  <a:pt x="288" y="214"/>
                </a:cubicBezTo>
                <a:cubicBezTo>
                  <a:pt x="288" y="196"/>
                  <a:pt x="274" y="182"/>
                  <a:pt x="256" y="182"/>
                </a:cubicBezTo>
                <a:cubicBezTo>
                  <a:pt x="238" y="182"/>
                  <a:pt x="224" y="196"/>
                  <a:pt x="224" y="214"/>
                </a:cubicBezTo>
                <a:cubicBezTo>
                  <a:pt x="224" y="228"/>
                  <a:pt x="233" y="239"/>
                  <a:pt x="245" y="244"/>
                </a:cubicBezTo>
                <a:cubicBezTo>
                  <a:pt x="245" y="406"/>
                  <a:pt x="245" y="406"/>
                  <a:pt x="245" y="406"/>
                </a:cubicBezTo>
                <a:cubicBezTo>
                  <a:pt x="245" y="412"/>
                  <a:pt x="250" y="416"/>
                  <a:pt x="256" y="416"/>
                </a:cubicBezTo>
                <a:cubicBezTo>
                  <a:pt x="262" y="416"/>
                  <a:pt x="267" y="412"/>
                  <a:pt x="267" y="406"/>
                </a:cubicBezTo>
                <a:lnTo>
                  <a:pt x="267" y="244"/>
                </a:lnTo>
                <a:close/>
                <a:moveTo>
                  <a:pt x="288" y="280"/>
                </a:moveTo>
                <a:cubicBezTo>
                  <a:pt x="290" y="280"/>
                  <a:pt x="292" y="279"/>
                  <a:pt x="293" y="278"/>
                </a:cubicBezTo>
                <a:cubicBezTo>
                  <a:pt x="316" y="265"/>
                  <a:pt x="331" y="240"/>
                  <a:pt x="331" y="214"/>
                </a:cubicBezTo>
                <a:cubicBezTo>
                  <a:pt x="331" y="187"/>
                  <a:pt x="316" y="162"/>
                  <a:pt x="293" y="149"/>
                </a:cubicBezTo>
                <a:cubicBezTo>
                  <a:pt x="288" y="146"/>
                  <a:pt x="282" y="148"/>
                  <a:pt x="279" y="153"/>
                </a:cubicBezTo>
                <a:cubicBezTo>
                  <a:pt x="276" y="158"/>
                  <a:pt x="278" y="165"/>
                  <a:pt x="283" y="167"/>
                </a:cubicBezTo>
                <a:cubicBezTo>
                  <a:pt x="299" y="177"/>
                  <a:pt x="309" y="195"/>
                  <a:pt x="309" y="214"/>
                </a:cubicBezTo>
                <a:cubicBezTo>
                  <a:pt x="309" y="233"/>
                  <a:pt x="299" y="250"/>
                  <a:pt x="283" y="260"/>
                </a:cubicBezTo>
                <a:cubicBezTo>
                  <a:pt x="278" y="263"/>
                  <a:pt x="276" y="269"/>
                  <a:pt x="279" y="274"/>
                </a:cubicBezTo>
                <a:cubicBezTo>
                  <a:pt x="281" y="278"/>
                  <a:pt x="284" y="280"/>
                  <a:pt x="288" y="280"/>
                </a:cubicBezTo>
                <a:close/>
                <a:moveTo>
                  <a:pt x="373" y="214"/>
                </a:moveTo>
                <a:cubicBezTo>
                  <a:pt x="373" y="167"/>
                  <a:pt x="346" y="125"/>
                  <a:pt x="303" y="106"/>
                </a:cubicBezTo>
                <a:cubicBezTo>
                  <a:pt x="298" y="104"/>
                  <a:pt x="291" y="106"/>
                  <a:pt x="289" y="112"/>
                </a:cubicBezTo>
                <a:cubicBezTo>
                  <a:pt x="287" y="117"/>
                  <a:pt x="289" y="123"/>
                  <a:pt x="294" y="126"/>
                </a:cubicBezTo>
                <a:cubicBezTo>
                  <a:pt x="329" y="141"/>
                  <a:pt x="352" y="175"/>
                  <a:pt x="352" y="214"/>
                </a:cubicBezTo>
                <a:cubicBezTo>
                  <a:pt x="352" y="252"/>
                  <a:pt x="329" y="286"/>
                  <a:pt x="294" y="302"/>
                </a:cubicBezTo>
                <a:cubicBezTo>
                  <a:pt x="289" y="304"/>
                  <a:pt x="287" y="310"/>
                  <a:pt x="289" y="316"/>
                </a:cubicBezTo>
                <a:cubicBezTo>
                  <a:pt x="291" y="320"/>
                  <a:pt x="295" y="322"/>
                  <a:pt x="299" y="322"/>
                </a:cubicBezTo>
                <a:cubicBezTo>
                  <a:pt x="300" y="322"/>
                  <a:pt x="302" y="322"/>
                  <a:pt x="303" y="321"/>
                </a:cubicBezTo>
                <a:cubicBezTo>
                  <a:pt x="346" y="303"/>
                  <a:pt x="373" y="260"/>
                  <a:pt x="373" y="21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5" name="Group 681"/>
          <p:cNvGrpSpPr>
            <a:grpSpLocks noChangeAspect="1"/>
          </p:cNvGrpSpPr>
          <p:nvPr/>
        </p:nvGrpSpPr>
        <p:grpSpPr bwMode="auto">
          <a:xfrm>
            <a:off x="9911074" y="2049964"/>
            <a:ext cx="367982" cy="367982"/>
            <a:chOff x="3220" y="2949"/>
            <a:chExt cx="340" cy="340"/>
          </a:xfrm>
          <a:solidFill>
            <a:schemeClr val="accent2"/>
          </a:solidFill>
        </p:grpSpPr>
        <p:sp>
          <p:nvSpPr>
            <p:cNvPr id="296" name="Freeform 682"/>
            <p:cNvSpPr>
              <a:spLocks noEditPoints="1"/>
            </p:cNvSpPr>
            <p:nvPr/>
          </p:nvSpPr>
          <p:spPr bwMode="auto">
            <a:xfrm>
              <a:off x="3220" y="2949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683"/>
            <p:cNvSpPr>
              <a:spLocks noEditPoints="1"/>
            </p:cNvSpPr>
            <p:nvPr/>
          </p:nvSpPr>
          <p:spPr bwMode="auto">
            <a:xfrm>
              <a:off x="3312" y="3018"/>
              <a:ext cx="156" cy="207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8" name="Freeform 971"/>
          <p:cNvSpPr>
            <a:spLocks noChangeAspect="1" noEditPoints="1"/>
          </p:cNvSpPr>
          <p:nvPr/>
        </p:nvSpPr>
        <p:spPr bwMode="auto">
          <a:xfrm>
            <a:off x="454504" y="2913573"/>
            <a:ext cx="367982" cy="367982"/>
          </a:xfrm>
          <a:custGeom>
            <a:avLst/>
            <a:gdLst>
              <a:gd name="T0" fmla="*/ 177 w 512"/>
              <a:gd name="T1" fmla="*/ 266 h 512"/>
              <a:gd name="T2" fmla="*/ 138 w 512"/>
              <a:gd name="T3" fmla="*/ 245 h 512"/>
              <a:gd name="T4" fmla="*/ 312 w 512"/>
              <a:gd name="T5" fmla="*/ 160 h 512"/>
              <a:gd name="T6" fmla="*/ 242 w 512"/>
              <a:gd name="T7" fmla="*/ 161 h 512"/>
              <a:gd name="T8" fmla="*/ 312 w 512"/>
              <a:gd name="T9" fmla="*/ 160 h 512"/>
              <a:gd name="T10" fmla="*/ 214 w 512"/>
              <a:gd name="T11" fmla="*/ 171 h 512"/>
              <a:gd name="T12" fmla="*/ 199 w 512"/>
              <a:gd name="T13" fmla="*/ 199 h 512"/>
              <a:gd name="T14" fmla="*/ 350 w 512"/>
              <a:gd name="T15" fmla="*/ 147 h 512"/>
              <a:gd name="T16" fmla="*/ 313 w 512"/>
              <a:gd name="T17" fmla="*/ 137 h 512"/>
              <a:gd name="T18" fmla="*/ 350 w 512"/>
              <a:gd name="T19" fmla="*/ 147 h 512"/>
              <a:gd name="T20" fmla="*/ 305 w 512"/>
              <a:gd name="T21" fmla="*/ 245 h 512"/>
              <a:gd name="T22" fmla="*/ 281 w 512"/>
              <a:gd name="T23" fmla="*/ 266 h 512"/>
              <a:gd name="T24" fmla="*/ 207 w 512"/>
              <a:gd name="T25" fmla="*/ 266 h 512"/>
              <a:gd name="T26" fmla="*/ 230 w 512"/>
              <a:gd name="T27" fmla="*/ 245 h 512"/>
              <a:gd name="T28" fmla="*/ 207 w 512"/>
              <a:gd name="T29" fmla="*/ 266 h 512"/>
              <a:gd name="T30" fmla="*/ 127 w 512"/>
              <a:gd name="T31" fmla="*/ 201 h 512"/>
              <a:gd name="T32" fmla="*/ 170 w 512"/>
              <a:gd name="T33" fmla="*/ 208 h 512"/>
              <a:gd name="T34" fmla="*/ 512 w 512"/>
              <a:gd name="T35" fmla="*/ 256 h 512"/>
              <a:gd name="T36" fmla="*/ 0 w 512"/>
              <a:gd name="T37" fmla="*/ 256 h 512"/>
              <a:gd name="T38" fmla="*/ 512 w 512"/>
              <a:gd name="T39" fmla="*/ 256 h 512"/>
              <a:gd name="T40" fmla="*/ 384 w 512"/>
              <a:gd name="T41" fmla="*/ 224 h 512"/>
              <a:gd name="T42" fmla="*/ 201 w 512"/>
              <a:gd name="T43" fmla="*/ 220 h 512"/>
              <a:gd name="T44" fmla="*/ 271 w 512"/>
              <a:gd name="T45" fmla="*/ 196 h 512"/>
              <a:gd name="T46" fmla="*/ 342 w 512"/>
              <a:gd name="T47" fmla="*/ 172 h 512"/>
              <a:gd name="T48" fmla="*/ 367 w 512"/>
              <a:gd name="T49" fmla="*/ 164 h 512"/>
              <a:gd name="T50" fmla="*/ 374 w 512"/>
              <a:gd name="T51" fmla="*/ 150 h 512"/>
              <a:gd name="T52" fmla="*/ 346 w 512"/>
              <a:gd name="T53" fmla="*/ 103 h 512"/>
              <a:gd name="T54" fmla="*/ 104 w 512"/>
              <a:gd name="T55" fmla="*/ 197 h 512"/>
              <a:gd name="T56" fmla="*/ 117 w 512"/>
              <a:gd name="T57" fmla="*/ 384 h 512"/>
              <a:gd name="T58" fmla="*/ 384 w 512"/>
              <a:gd name="T59" fmla="*/ 394 h 512"/>
              <a:gd name="T60" fmla="*/ 394 w 512"/>
              <a:gd name="T61" fmla="*/ 234 h 512"/>
              <a:gd name="T62" fmla="*/ 373 w 512"/>
              <a:gd name="T63" fmla="*/ 266 h 512"/>
              <a:gd name="T64" fmla="*/ 335 w 512"/>
              <a:gd name="T65" fmla="*/ 245 h 512"/>
              <a:gd name="T66" fmla="*/ 138 w 512"/>
              <a:gd name="T67" fmla="*/ 373 h 512"/>
              <a:gd name="T68" fmla="*/ 373 w 512"/>
              <a:gd name="T69" fmla="*/ 288 h 512"/>
              <a:gd name="T70" fmla="*/ 138 w 512"/>
              <a:gd name="T71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155" y="245"/>
                </a:moveTo>
                <a:cubicBezTo>
                  <a:pt x="177" y="266"/>
                  <a:pt x="177" y="266"/>
                  <a:pt x="177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38" y="245"/>
                  <a:pt x="138" y="245"/>
                  <a:pt x="138" y="245"/>
                </a:cubicBezTo>
                <a:lnTo>
                  <a:pt x="155" y="245"/>
                </a:lnTo>
                <a:close/>
                <a:moveTo>
                  <a:pt x="312" y="160"/>
                </a:moveTo>
                <a:cubicBezTo>
                  <a:pt x="285" y="147"/>
                  <a:pt x="285" y="147"/>
                  <a:pt x="285" y="147"/>
                </a:cubicBezTo>
                <a:cubicBezTo>
                  <a:pt x="242" y="161"/>
                  <a:pt x="242" y="161"/>
                  <a:pt x="242" y="161"/>
                </a:cubicBezTo>
                <a:cubicBezTo>
                  <a:pt x="270" y="174"/>
                  <a:pt x="270" y="174"/>
                  <a:pt x="270" y="174"/>
                </a:cubicBezTo>
                <a:lnTo>
                  <a:pt x="312" y="160"/>
                </a:lnTo>
                <a:close/>
                <a:moveTo>
                  <a:pt x="241" y="184"/>
                </a:moveTo>
                <a:cubicBezTo>
                  <a:pt x="214" y="171"/>
                  <a:pt x="214" y="171"/>
                  <a:pt x="214" y="171"/>
                </a:cubicBezTo>
                <a:cubicBezTo>
                  <a:pt x="172" y="185"/>
                  <a:pt x="172" y="185"/>
                  <a:pt x="172" y="185"/>
                </a:cubicBezTo>
                <a:cubicBezTo>
                  <a:pt x="199" y="199"/>
                  <a:pt x="199" y="199"/>
                  <a:pt x="199" y="199"/>
                </a:cubicBezTo>
                <a:lnTo>
                  <a:pt x="241" y="184"/>
                </a:lnTo>
                <a:close/>
                <a:moveTo>
                  <a:pt x="350" y="147"/>
                </a:moveTo>
                <a:cubicBezTo>
                  <a:pt x="343" y="127"/>
                  <a:pt x="343" y="127"/>
                  <a:pt x="343" y="127"/>
                </a:cubicBezTo>
                <a:cubicBezTo>
                  <a:pt x="313" y="137"/>
                  <a:pt x="313" y="137"/>
                  <a:pt x="313" y="137"/>
                </a:cubicBezTo>
                <a:cubicBezTo>
                  <a:pt x="340" y="150"/>
                  <a:pt x="340" y="150"/>
                  <a:pt x="340" y="150"/>
                </a:cubicBezTo>
                <a:lnTo>
                  <a:pt x="350" y="147"/>
                </a:lnTo>
                <a:close/>
                <a:moveTo>
                  <a:pt x="326" y="266"/>
                </a:moveTo>
                <a:cubicBezTo>
                  <a:pt x="305" y="245"/>
                  <a:pt x="305" y="245"/>
                  <a:pt x="305" y="245"/>
                </a:cubicBezTo>
                <a:cubicBezTo>
                  <a:pt x="260" y="245"/>
                  <a:pt x="260" y="245"/>
                  <a:pt x="260" y="245"/>
                </a:cubicBezTo>
                <a:cubicBezTo>
                  <a:pt x="281" y="266"/>
                  <a:pt x="281" y="266"/>
                  <a:pt x="281" y="266"/>
                </a:cubicBezTo>
                <a:lnTo>
                  <a:pt x="326" y="266"/>
                </a:lnTo>
                <a:close/>
                <a:moveTo>
                  <a:pt x="207" y="266"/>
                </a:moveTo>
                <a:cubicBezTo>
                  <a:pt x="251" y="266"/>
                  <a:pt x="251" y="266"/>
                  <a:pt x="251" y="266"/>
                </a:cubicBezTo>
                <a:cubicBezTo>
                  <a:pt x="230" y="245"/>
                  <a:pt x="230" y="245"/>
                  <a:pt x="230" y="245"/>
                </a:cubicBezTo>
                <a:cubicBezTo>
                  <a:pt x="185" y="245"/>
                  <a:pt x="185" y="245"/>
                  <a:pt x="185" y="245"/>
                </a:cubicBezTo>
                <a:lnTo>
                  <a:pt x="207" y="266"/>
                </a:lnTo>
                <a:close/>
                <a:moveTo>
                  <a:pt x="143" y="195"/>
                </a:moveTo>
                <a:cubicBezTo>
                  <a:pt x="127" y="201"/>
                  <a:pt x="127" y="201"/>
                  <a:pt x="127" y="201"/>
                </a:cubicBezTo>
                <a:cubicBezTo>
                  <a:pt x="134" y="221"/>
                  <a:pt x="134" y="221"/>
                  <a:pt x="134" y="221"/>
                </a:cubicBezTo>
                <a:cubicBezTo>
                  <a:pt x="170" y="208"/>
                  <a:pt x="170" y="208"/>
                  <a:pt x="170" y="208"/>
                </a:cubicBezTo>
                <a:lnTo>
                  <a:pt x="143" y="19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34"/>
                </a:moveTo>
                <a:cubicBezTo>
                  <a:pt x="394" y="228"/>
                  <a:pt x="390" y="224"/>
                  <a:pt x="384" y="224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201" y="220"/>
                  <a:pt x="201" y="220"/>
                  <a:pt x="201" y="220"/>
                </a:cubicBezTo>
                <a:cubicBezTo>
                  <a:pt x="201" y="220"/>
                  <a:pt x="201" y="220"/>
                  <a:pt x="202" y="220"/>
                </a:cubicBezTo>
                <a:cubicBezTo>
                  <a:pt x="271" y="196"/>
                  <a:pt x="271" y="196"/>
                  <a:pt x="271" y="196"/>
                </a:cubicBezTo>
                <a:cubicBezTo>
                  <a:pt x="272" y="196"/>
                  <a:pt x="273" y="196"/>
                  <a:pt x="273" y="196"/>
                </a:cubicBezTo>
                <a:cubicBezTo>
                  <a:pt x="342" y="172"/>
                  <a:pt x="342" y="172"/>
                  <a:pt x="342" y="172"/>
                </a:cubicBezTo>
                <a:cubicBezTo>
                  <a:pt x="343" y="172"/>
                  <a:pt x="344" y="172"/>
                  <a:pt x="344" y="171"/>
                </a:cubicBezTo>
                <a:cubicBezTo>
                  <a:pt x="367" y="164"/>
                  <a:pt x="367" y="164"/>
                  <a:pt x="367" y="164"/>
                </a:cubicBezTo>
                <a:cubicBezTo>
                  <a:pt x="370" y="163"/>
                  <a:pt x="372" y="161"/>
                  <a:pt x="373" y="158"/>
                </a:cubicBezTo>
                <a:cubicBezTo>
                  <a:pt x="374" y="156"/>
                  <a:pt x="374" y="153"/>
                  <a:pt x="374" y="150"/>
                </a:cubicBezTo>
                <a:cubicBezTo>
                  <a:pt x="360" y="110"/>
                  <a:pt x="360" y="110"/>
                  <a:pt x="360" y="110"/>
                </a:cubicBezTo>
                <a:cubicBezTo>
                  <a:pt x="358" y="104"/>
                  <a:pt x="352" y="101"/>
                  <a:pt x="346" y="103"/>
                </a:cubicBezTo>
                <a:cubicBezTo>
                  <a:pt x="110" y="184"/>
                  <a:pt x="110" y="184"/>
                  <a:pt x="110" y="184"/>
                </a:cubicBezTo>
                <a:cubicBezTo>
                  <a:pt x="105" y="186"/>
                  <a:pt x="102" y="192"/>
                  <a:pt x="104" y="197"/>
                </a:cubicBezTo>
                <a:cubicBezTo>
                  <a:pt x="117" y="236"/>
                  <a:pt x="117" y="236"/>
                  <a:pt x="117" y="236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34"/>
                </a:lnTo>
                <a:close/>
                <a:moveTo>
                  <a:pt x="356" y="266"/>
                </a:moveTo>
                <a:cubicBezTo>
                  <a:pt x="373" y="266"/>
                  <a:pt x="373" y="266"/>
                  <a:pt x="373" y="266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35" y="245"/>
                  <a:pt x="335" y="245"/>
                  <a:pt x="335" y="245"/>
                </a:cubicBezTo>
                <a:lnTo>
                  <a:pt x="356" y="266"/>
                </a:lnTo>
                <a:close/>
                <a:moveTo>
                  <a:pt x="138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138" y="288"/>
                  <a:pt x="138" y="288"/>
                  <a:pt x="138" y="288"/>
                </a:cubicBezTo>
                <a:lnTo>
                  <a:pt x="138" y="37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9" name="Group 974"/>
          <p:cNvGrpSpPr>
            <a:grpSpLocks noChangeAspect="1"/>
          </p:cNvGrpSpPr>
          <p:nvPr/>
        </p:nvGrpSpPr>
        <p:grpSpPr bwMode="auto">
          <a:xfrm>
            <a:off x="952337" y="2913574"/>
            <a:ext cx="367982" cy="367982"/>
            <a:chOff x="3511" y="3902"/>
            <a:chExt cx="340" cy="340"/>
          </a:xfrm>
          <a:solidFill>
            <a:schemeClr val="accent5"/>
          </a:solidFill>
        </p:grpSpPr>
        <p:sp>
          <p:nvSpPr>
            <p:cNvPr id="300" name="Freeform 299"/>
            <p:cNvSpPr>
              <a:spLocks noEditPoints="1"/>
            </p:cNvSpPr>
            <p:nvPr/>
          </p:nvSpPr>
          <p:spPr bwMode="auto">
            <a:xfrm>
              <a:off x="3579" y="3969"/>
              <a:ext cx="194" cy="195"/>
            </a:xfrm>
            <a:custGeom>
              <a:avLst/>
              <a:gdLst>
                <a:gd name="T0" fmla="*/ 90 w 292"/>
                <a:gd name="T1" fmla="*/ 123 h 293"/>
                <a:gd name="T2" fmla="*/ 100 w 292"/>
                <a:gd name="T3" fmla="*/ 119 h 293"/>
                <a:gd name="T4" fmla="*/ 171 w 292"/>
                <a:gd name="T5" fmla="*/ 95 h 293"/>
                <a:gd name="T6" fmla="*/ 242 w 292"/>
                <a:gd name="T7" fmla="*/ 70 h 293"/>
                <a:gd name="T8" fmla="*/ 271 w 292"/>
                <a:gd name="T9" fmla="*/ 57 h 293"/>
                <a:gd name="T10" fmla="*/ 258 w 292"/>
                <a:gd name="T11" fmla="*/ 9 h 293"/>
                <a:gd name="T12" fmla="*/ 8 w 292"/>
                <a:gd name="T13" fmla="*/ 83 h 293"/>
                <a:gd name="T14" fmla="*/ 15 w 292"/>
                <a:gd name="T15" fmla="*/ 135 h 293"/>
                <a:gd name="T16" fmla="*/ 26 w 292"/>
                <a:gd name="T17" fmla="*/ 293 h 293"/>
                <a:gd name="T18" fmla="*/ 292 w 292"/>
                <a:gd name="T19" fmla="*/ 283 h 293"/>
                <a:gd name="T20" fmla="*/ 282 w 292"/>
                <a:gd name="T21" fmla="*/ 123 h 293"/>
                <a:gd name="T22" fmla="*/ 254 w 292"/>
                <a:gd name="T23" fmla="*/ 165 h 293"/>
                <a:gd name="T24" fmla="*/ 271 w 292"/>
                <a:gd name="T25" fmla="*/ 144 h 293"/>
                <a:gd name="T26" fmla="*/ 179 w 292"/>
                <a:gd name="T27" fmla="*/ 165 h 293"/>
                <a:gd name="T28" fmla="*/ 203 w 292"/>
                <a:gd name="T29" fmla="*/ 144 h 293"/>
                <a:gd name="T30" fmla="*/ 179 w 292"/>
                <a:gd name="T31" fmla="*/ 165 h 293"/>
                <a:gd name="T32" fmla="*/ 83 w 292"/>
                <a:gd name="T33" fmla="*/ 144 h 293"/>
                <a:gd name="T34" fmla="*/ 149 w 292"/>
                <a:gd name="T35" fmla="*/ 165 h 293"/>
                <a:gd name="T36" fmla="*/ 36 w 292"/>
                <a:gd name="T37" fmla="*/ 144 h 293"/>
                <a:gd name="T38" fmla="*/ 75 w 292"/>
                <a:gd name="T39" fmla="*/ 165 h 293"/>
                <a:gd name="T40" fmla="*/ 36 w 292"/>
                <a:gd name="T41" fmla="*/ 144 h 293"/>
                <a:gd name="T42" fmla="*/ 139 w 292"/>
                <a:gd name="T43" fmla="*/ 83 h 293"/>
                <a:gd name="T44" fmla="*/ 70 w 292"/>
                <a:gd name="T45" fmla="*/ 84 h 293"/>
                <a:gd name="T46" fmla="*/ 183 w 292"/>
                <a:gd name="T47" fmla="*/ 46 h 293"/>
                <a:gd name="T48" fmla="*/ 168 w 292"/>
                <a:gd name="T49" fmla="*/ 73 h 293"/>
                <a:gd name="T50" fmla="*/ 183 w 292"/>
                <a:gd name="T51" fmla="*/ 46 h 293"/>
                <a:gd name="T52" fmla="*/ 238 w 292"/>
                <a:gd name="T53" fmla="*/ 49 h 293"/>
                <a:gd name="T54" fmla="*/ 241 w 292"/>
                <a:gd name="T55" fmla="*/ 26 h 293"/>
                <a:gd name="T56" fmla="*/ 41 w 292"/>
                <a:gd name="T57" fmla="*/ 94 h 293"/>
                <a:gd name="T58" fmla="*/ 32 w 292"/>
                <a:gd name="T59" fmla="*/ 120 h 293"/>
                <a:gd name="T60" fmla="*/ 41 w 292"/>
                <a:gd name="T61" fmla="*/ 94 h 293"/>
                <a:gd name="T62" fmla="*/ 36 w 292"/>
                <a:gd name="T63" fmla="*/ 187 h 293"/>
                <a:gd name="T64" fmla="*/ 271 w 292"/>
                <a:gd name="T65" fmla="*/ 27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2" h="293">
                  <a:moveTo>
                    <a:pt x="282" y="123"/>
                  </a:moveTo>
                  <a:cubicBezTo>
                    <a:pt x="90" y="123"/>
                    <a:pt x="90" y="123"/>
                    <a:pt x="90" y="123"/>
                  </a:cubicBezTo>
                  <a:cubicBezTo>
                    <a:pt x="99" y="119"/>
                    <a:pt x="99" y="119"/>
                    <a:pt x="99" y="119"/>
                  </a:cubicBezTo>
                  <a:cubicBezTo>
                    <a:pt x="99" y="119"/>
                    <a:pt x="99" y="119"/>
                    <a:pt x="100" y="119"/>
                  </a:cubicBezTo>
                  <a:cubicBezTo>
                    <a:pt x="169" y="95"/>
                    <a:pt x="169" y="95"/>
                    <a:pt x="169" y="95"/>
                  </a:cubicBezTo>
                  <a:cubicBezTo>
                    <a:pt x="170" y="95"/>
                    <a:pt x="171" y="95"/>
                    <a:pt x="171" y="95"/>
                  </a:cubicBezTo>
                  <a:cubicBezTo>
                    <a:pt x="240" y="71"/>
                    <a:pt x="240" y="71"/>
                    <a:pt x="240" y="71"/>
                  </a:cubicBezTo>
                  <a:cubicBezTo>
                    <a:pt x="241" y="71"/>
                    <a:pt x="242" y="71"/>
                    <a:pt x="242" y="70"/>
                  </a:cubicBezTo>
                  <a:cubicBezTo>
                    <a:pt x="265" y="63"/>
                    <a:pt x="265" y="63"/>
                    <a:pt x="265" y="63"/>
                  </a:cubicBezTo>
                  <a:cubicBezTo>
                    <a:pt x="268" y="62"/>
                    <a:pt x="270" y="60"/>
                    <a:pt x="271" y="57"/>
                  </a:cubicBezTo>
                  <a:cubicBezTo>
                    <a:pt x="272" y="55"/>
                    <a:pt x="272" y="52"/>
                    <a:pt x="272" y="4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6" y="3"/>
                    <a:pt x="250" y="0"/>
                    <a:pt x="244" y="2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3" y="85"/>
                    <a:pt x="0" y="91"/>
                    <a:pt x="2" y="96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5" y="289"/>
                    <a:pt x="20" y="293"/>
                    <a:pt x="26" y="293"/>
                  </a:cubicBezTo>
                  <a:cubicBezTo>
                    <a:pt x="282" y="293"/>
                    <a:pt x="282" y="293"/>
                    <a:pt x="282" y="293"/>
                  </a:cubicBezTo>
                  <a:cubicBezTo>
                    <a:pt x="288" y="293"/>
                    <a:pt x="292" y="289"/>
                    <a:pt x="292" y="283"/>
                  </a:cubicBezTo>
                  <a:cubicBezTo>
                    <a:pt x="292" y="133"/>
                    <a:pt x="292" y="133"/>
                    <a:pt x="292" y="133"/>
                  </a:cubicBezTo>
                  <a:cubicBezTo>
                    <a:pt x="292" y="127"/>
                    <a:pt x="288" y="123"/>
                    <a:pt x="282" y="123"/>
                  </a:cubicBezTo>
                  <a:close/>
                  <a:moveTo>
                    <a:pt x="271" y="165"/>
                  </a:moveTo>
                  <a:cubicBezTo>
                    <a:pt x="254" y="165"/>
                    <a:pt x="254" y="165"/>
                    <a:pt x="254" y="165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71" y="144"/>
                    <a:pt x="271" y="144"/>
                    <a:pt x="271" y="144"/>
                  </a:cubicBezTo>
                  <a:lnTo>
                    <a:pt x="271" y="165"/>
                  </a:lnTo>
                  <a:close/>
                  <a:moveTo>
                    <a:pt x="179" y="165"/>
                  </a:moveTo>
                  <a:cubicBezTo>
                    <a:pt x="158" y="144"/>
                    <a:pt x="158" y="144"/>
                    <a:pt x="158" y="144"/>
                  </a:cubicBezTo>
                  <a:cubicBezTo>
                    <a:pt x="203" y="144"/>
                    <a:pt x="203" y="144"/>
                    <a:pt x="203" y="144"/>
                  </a:cubicBezTo>
                  <a:cubicBezTo>
                    <a:pt x="224" y="165"/>
                    <a:pt x="224" y="165"/>
                    <a:pt x="224" y="165"/>
                  </a:cubicBezTo>
                  <a:lnTo>
                    <a:pt x="179" y="165"/>
                  </a:lnTo>
                  <a:close/>
                  <a:moveTo>
                    <a:pt x="105" y="165"/>
                  </a:moveTo>
                  <a:cubicBezTo>
                    <a:pt x="83" y="144"/>
                    <a:pt x="83" y="144"/>
                    <a:pt x="83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49" y="165"/>
                    <a:pt x="149" y="165"/>
                    <a:pt x="149" y="165"/>
                  </a:cubicBezTo>
                  <a:lnTo>
                    <a:pt x="105" y="165"/>
                  </a:lnTo>
                  <a:close/>
                  <a:moveTo>
                    <a:pt x="36" y="144"/>
                  </a:moveTo>
                  <a:cubicBezTo>
                    <a:pt x="53" y="144"/>
                    <a:pt x="53" y="144"/>
                    <a:pt x="53" y="144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36" y="165"/>
                    <a:pt x="36" y="165"/>
                    <a:pt x="36" y="165"/>
                  </a:cubicBezTo>
                  <a:lnTo>
                    <a:pt x="36" y="144"/>
                  </a:lnTo>
                  <a:close/>
                  <a:moveTo>
                    <a:pt x="112" y="70"/>
                  </a:moveTo>
                  <a:cubicBezTo>
                    <a:pt x="139" y="83"/>
                    <a:pt x="139" y="83"/>
                    <a:pt x="139" y="83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70" y="84"/>
                    <a:pt x="70" y="84"/>
                    <a:pt x="70" y="84"/>
                  </a:cubicBezTo>
                  <a:lnTo>
                    <a:pt x="112" y="70"/>
                  </a:lnTo>
                  <a:close/>
                  <a:moveTo>
                    <a:pt x="183" y="46"/>
                  </a:moveTo>
                  <a:cubicBezTo>
                    <a:pt x="210" y="59"/>
                    <a:pt x="210" y="59"/>
                    <a:pt x="210" y="59"/>
                  </a:cubicBezTo>
                  <a:cubicBezTo>
                    <a:pt x="168" y="73"/>
                    <a:pt x="168" y="73"/>
                    <a:pt x="168" y="73"/>
                  </a:cubicBezTo>
                  <a:cubicBezTo>
                    <a:pt x="140" y="60"/>
                    <a:pt x="140" y="60"/>
                    <a:pt x="140" y="60"/>
                  </a:cubicBezTo>
                  <a:lnTo>
                    <a:pt x="183" y="46"/>
                  </a:lnTo>
                  <a:close/>
                  <a:moveTo>
                    <a:pt x="248" y="46"/>
                  </a:moveTo>
                  <a:cubicBezTo>
                    <a:pt x="238" y="49"/>
                    <a:pt x="238" y="49"/>
                    <a:pt x="238" y="49"/>
                  </a:cubicBezTo>
                  <a:cubicBezTo>
                    <a:pt x="211" y="36"/>
                    <a:pt x="211" y="36"/>
                    <a:pt x="211" y="36"/>
                  </a:cubicBezTo>
                  <a:cubicBezTo>
                    <a:pt x="241" y="26"/>
                    <a:pt x="241" y="26"/>
                    <a:pt x="241" y="26"/>
                  </a:cubicBezTo>
                  <a:lnTo>
                    <a:pt x="248" y="46"/>
                  </a:lnTo>
                  <a:close/>
                  <a:moveTo>
                    <a:pt x="41" y="94"/>
                  </a:moveTo>
                  <a:cubicBezTo>
                    <a:pt x="68" y="107"/>
                    <a:pt x="68" y="107"/>
                    <a:pt x="68" y="10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25" y="100"/>
                    <a:pt x="25" y="100"/>
                    <a:pt x="25" y="100"/>
                  </a:cubicBezTo>
                  <a:lnTo>
                    <a:pt x="41" y="94"/>
                  </a:lnTo>
                  <a:close/>
                  <a:moveTo>
                    <a:pt x="36" y="272"/>
                  </a:moveTo>
                  <a:cubicBezTo>
                    <a:pt x="36" y="187"/>
                    <a:pt x="36" y="187"/>
                    <a:pt x="36" y="187"/>
                  </a:cubicBezTo>
                  <a:cubicBezTo>
                    <a:pt x="271" y="187"/>
                    <a:pt x="271" y="187"/>
                    <a:pt x="271" y="187"/>
                  </a:cubicBezTo>
                  <a:cubicBezTo>
                    <a:pt x="271" y="272"/>
                    <a:pt x="271" y="272"/>
                    <a:pt x="271" y="272"/>
                  </a:cubicBezTo>
                  <a:lnTo>
                    <a:pt x="36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300"/>
            <p:cNvSpPr>
              <a:spLocks noEditPoints="1"/>
            </p:cNvSpPr>
            <p:nvPr/>
          </p:nvSpPr>
          <p:spPr bwMode="auto">
            <a:xfrm>
              <a:off x="3511" y="390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2" name="Group 731"/>
          <p:cNvGrpSpPr>
            <a:grpSpLocks noChangeAspect="1"/>
          </p:cNvGrpSpPr>
          <p:nvPr/>
        </p:nvGrpSpPr>
        <p:grpSpPr bwMode="auto">
          <a:xfrm>
            <a:off x="1949697" y="2913578"/>
            <a:ext cx="369676" cy="370763"/>
            <a:chOff x="5043" y="2639"/>
            <a:chExt cx="340" cy="341"/>
          </a:xfrm>
          <a:solidFill>
            <a:schemeClr val="accent2"/>
          </a:solidFill>
        </p:grpSpPr>
        <p:sp>
          <p:nvSpPr>
            <p:cNvPr id="303" name="Freeform 732"/>
            <p:cNvSpPr>
              <a:spLocks noEditPoints="1"/>
            </p:cNvSpPr>
            <p:nvPr/>
          </p:nvSpPr>
          <p:spPr bwMode="auto">
            <a:xfrm>
              <a:off x="5113" y="2710"/>
              <a:ext cx="199" cy="199"/>
            </a:xfrm>
            <a:custGeom>
              <a:avLst/>
              <a:gdLst>
                <a:gd name="T0" fmla="*/ 289 w 299"/>
                <a:gd name="T1" fmla="*/ 64 h 299"/>
                <a:gd name="T2" fmla="*/ 269 w 299"/>
                <a:gd name="T3" fmla="*/ 43 h 299"/>
                <a:gd name="T4" fmla="*/ 233 w 299"/>
                <a:gd name="T5" fmla="*/ 43 h 299"/>
                <a:gd name="T6" fmla="*/ 150 w 299"/>
                <a:gd name="T7" fmla="*/ 0 h 299"/>
                <a:gd name="T8" fmla="*/ 66 w 299"/>
                <a:gd name="T9" fmla="*/ 43 h 299"/>
                <a:gd name="T10" fmla="*/ 31 w 299"/>
                <a:gd name="T11" fmla="*/ 43 h 299"/>
                <a:gd name="T12" fmla="*/ 10 w 299"/>
                <a:gd name="T13" fmla="*/ 63 h 299"/>
                <a:gd name="T14" fmla="*/ 0 w 299"/>
                <a:gd name="T15" fmla="*/ 192 h 299"/>
                <a:gd name="T16" fmla="*/ 21 w 299"/>
                <a:gd name="T17" fmla="*/ 212 h 299"/>
                <a:gd name="T18" fmla="*/ 24 w 299"/>
                <a:gd name="T19" fmla="*/ 212 h 299"/>
                <a:gd name="T20" fmla="*/ 44 w 299"/>
                <a:gd name="T21" fmla="*/ 207 h 299"/>
                <a:gd name="T22" fmla="*/ 150 w 299"/>
                <a:gd name="T23" fmla="*/ 299 h 299"/>
                <a:gd name="T24" fmla="*/ 256 w 299"/>
                <a:gd name="T25" fmla="*/ 207 h 299"/>
                <a:gd name="T26" fmla="*/ 276 w 299"/>
                <a:gd name="T27" fmla="*/ 212 h 299"/>
                <a:gd name="T28" fmla="*/ 278 w 299"/>
                <a:gd name="T29" fmla="*/ 212 h 299"/>
                <a:gd name="T30" fmla="*/ 299 w 299"/>
                <a:gd name="T31" fmla="*/ 191 h 299"/>
                <a:gd name="T32" fmla="*/ 289 w 299"/>
                <a:gd name="T33" fmla="*/ 64 h 299"/>
                <a:gd name="T34" fmla="*/ 150 w 299"/>
                <a:gd name="T35" fmla="*/ 22 h 299"/>
                <a:gd name="T36" fmla="*/ 206 w 299"/>
                <a:gd name="T37" fmla="*/ 43 h 299"/>
                <a:gd name="T38" fmla="*/ 94 w 299"/>
                <a:gd name="T39" fmla="*/ 43 h 299"/>
                <a:gd name="T40" fmla="*/ 150 w 299"/>
                <a:gd name="T41" fmla="*/ 22 h 299"/>
                <a:gd name="T42" fmla="*/ 150 w 299"/>
                <a:gd name="T43" fmla="*/ 278 h 299"/>
                <a:gd name="T44" fmla="*/ 65 w 299"/>
                <a:gd name="T45" fmla="*/ 202 h 299"/>
                <a:gd name="T46" fmla="*/ 150 w 299"/>
                <a:gd name="T47" fmla="*/ 192 h 299"/>
                <a:gd name="T48" fmla="*/ 235 w 299"/>
                <a:gd name="T49" fmla="*/ 202 h 299"/>
                <a:gd name="T50" fmla="*/ 150 w 299"/>
                <a:gd name="T51" fmla="*/ 278 h 299"/>
                <a:gd name="T52" fmla="*/ 150 w 299"/>
                <a:gd name="T53" fmla="*/ 171 h 299"/>
                <a:gd name="T54" fmla="*/ 22 w 299"/>
                <a:gd name="T55" fmla="*/ 190 h 299"/>
                <a:gd name="T56" fmla="*/ 32 w 299"/>
                <a:gd name="T57" fmla="*/ 64 h 299"/>
                <a:gd name="T58" fmla="*/ 267 w 299"/>
                <a:gd name="T59" fmla="*/ 64 h 299"/>
                <a:gd name="T60" fmla="*/ 267 w 299"/>
                <a:gd name="T61" fmla="*/ 64 h 299"/>
                <a:gd name="T62" fmla="*/ 277 w 299"/>
                <a:gd name="T63" fmla="*/ 190 h 299"/>
                <a:gd name="T64" fmla="*/ 150 w 299"/>
                <a:gd name="T65" fmla="*/ 171 h 299"/>
                <a:gd name="T66" fmla="*/ 150 w 299"/>
                <a:gd name="T67" fmla="*/ 235 h 299"/>
                <a:gd name="T68" fmla="*/ 174 w 299"/>
                <a:gd name="T69" fmla="*/ 227 h 299"/>
                <a:gd name="T70" fmla="*/ 189 w 299"/>
                <a:gd name="T71" fmla="*/ 228 h 299"/>
                <a:gd name="T72" fmla="*/ 189 w 299"/>
                <a:gd name="T73" fmla="*/ 243 h 299"/>
                <a:gd name="T74" fmla="*/ 150 w 299"/>
                <a:gd name="T75" fmla="*/ 256 h 299"/>
                <a:gd name="T76" fmla="*/ 110 w 299"/>
                <a:gd name="T77" fmla="*/ 243 h 299"/>
                <a:gd name="T78" fmla="*/ 110 w 299"/>
                <a:gd name="T79" fmla="*/ 228 h 299"/>
                <a:gd name="T80" fmla="*/ 125 w 299"/>
                <a:gd name="T81" fmla="*/ 227 h 299"/>
                <a:gd name="T82" fmla="*/ 150 w 299"/>
                <a:gd name="T83" fmla="*/ 235 h 299"/>
                <a:gd name="T84" fmla="*/ 186 w 299"/>
                <a:gd name="T85" fmla="*/ 108 h 299"/>
                <a:gd name="T86" fmla="*/ 133 w 299"/>
                <a:gd name="T87" fmla="*/ 81 h 299"/>
                <a:gd name="T88" fmla="*/ 123 w 299"/>
                <a:gd name="T89" fmla="*/ 82 h 299"/>
                <a:gd name="T90" fmla="*/ 118 w 299"/>
                <a:gd name="T91" fmla="*/ 91 h 299"/>
                <a:gd name="T92" fmla="*/ 118 w 299"/>
                <a:gd name="T93" fmla="*/ 144 h 299"/>
                <a:gd name="T94" fmla="*/ 123 w 299"/>
                <a:gd name="T95" fmla="*/ 153 h 299"/>
                <a:gd name="T96" fmla="*/ 128 w 299"/>
                <a:gd name="T97" fmla="*/ 155 h 299"/>
                <a:gd name="T98" fmla="*/ 133 w 299"/>
                <a:gd name="T99" fmla="*/ 154 h 299"/>
                <a:gd name="T100" fmla="*/ 186 w 299"/>
                <a:gd name="T101" fmla="*/ 127 h 299"/>
                <a:gd name="T102" fmla="*/ 192 w 299"/>
                <a:gd name="T103" fmla="*/ 118 h 299"/>
                <a:gd name="T104" fmla="*/ 186 w 299"/>
                <a:gd name="T105" fmla="*/ 108 h 299"/>
                <a:gd name="T106" fmla="*/ 139 w 299"/>
                <a:gd name="T107" fmla="*/ 127 h 299"/>
                <a:gd name="T108" fmla="*/ 139 w 299"/>
                <a:gd name="T109" fmla="*/ 108 h 299"/>
                <a:gd name="T110" fmla="*/ 158 w 299"/>
                <a:gd name="T111" fmla="*/ 118 h 299"/>
                <a:gd name="T112" fmla="*/ 139 w 299"/>
                <a:gd name="T113" fmla="*/ 127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9" h="299">
                  <a:moveTo>
                    <a:pt x="289" y="64"/>
                  </a:moveTo>
                  <a:cubicBezTo>
                    <a:pt x="289" y="52"/>
                    <a:pt x="280" y="43"/>
                    <a:pt x="269" y="43"/>
                  </a:cubicBezTo>
                  <a:cubicBezTo>
                    <a:pt x="233" y="43"/>
                    <a:pt x="233" y="43"/>
                    <a:pt x="233" y="43"/>
                  </a:cubicBezTo>
                  <a:cubicBezTo>
                    <a:pt x="214" y="15"/>
                    <a:pt x="185" y="0"/>
                    <a:pt x="150" y="0"/>
                  </a:cubicBezTo>
                  <a:cubicBezTo>
                    <a:pt x="115" y="0"/>
                    <a:pt x="86" y="15"/>
                    <a:pt x="66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19" y="43"/>
                    <a:pt x="10" y="52"/>
                    <a:pt x="10" y="63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3"/>
                    <a:pt x="10" y="212"/>
                    <a:pt x="21" y="212"/>
                  </a:cubicBezTo>
                  <a:cubicBezTo>
                    <a:pt x="22" y="212"/>
                    <a:pt x="23" y="212"/>
                    <a:pt x="24" y="212"/>
                  </a:cubicBezTo>
                  <a:cubicBezTo>
                    <a:pt x="24" y="212"/>
                    <a:pt x="32" y="210"/>
                    <a:pt x="44" y="207"/>
                  </a:cubicBezTo>
                  <a:cubicBezTo>
                    <a:pt x="59" y="265"/>
                    <a:pt x="97" y="299"/>
                    <a:pt x="150" y="299"/>
                  </a:cubicBezTo>
                  <a:cubicBezTo>
                    <a:pt x="202" y="299"/>
                    <a:pt x="241" y="265"/>
                    <a:pt x="256" y="207"/>
                  </a:cubicBezTo>
                  <a:cubicBezTo>
                    <a:pt x="268" y="210"/>
                    <a:pt x="275" y="212"/>
                    <a:pt x="276" y="212"/>
                  </a:cubicBezTo>
                  <a:cubicBezTo>
                    <a:pt x="276" y="212"/>
                    <a:pt x="277" y="212"/>
                    <a:pt x="278" y="212"/>
                  </a:cubicBezTo>
                  <a:cubicBezTo>
                    <a:pt x="290" y="212"/>
                    <a:pt x="299" y="203"/>
                    <a:pt x="299" y="191"/>
                  </a:cubicBezTo>
                  <a:lnTo>
                    <a:pt x="289" y="64"/>
                  </a:lnTo>
                  <a:close/>
                  <a:moveTo>
                    <a:pt x="150" y="22"/>
                  </a:moveTo>
                  <a:cubicBezTo>
                    <a:pt x="172" y="22"/>
                    <a:pt x="191" y="29"/>
                    <a:pt x="206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108" y="29"/>
                    <a:pt x="127" y="22"/>
                    <a:pt x="150" y="22"/>
                  </a:cubicBezTo>
                  <a:close/>
                  <a:moveTo>
                    <a:pt x="150" y="278"/>
                  </a:moveTo>
                  <a:cubicBezTo>
                    <a:pt x="107" y="278"/>
                    <a:pt x="77" y="251"/>
                    <a:pt x="65" y="202"/>
                  </a:cubicBezTo>
                  <a:cubicBezTo>
                    <a:pt x="89" y="197"/>
                    <a:pt x="121" y="192"/>
                    <a:pt x="150" y="192"/>
                  </a:cubicBezTo>
                  <a:cubicBezTo>
                    <a:pt x="179" y="192"/>
                    <a:pt x="210" y="197"/>
                    <a:pt x="235" y="202"/>
                  </a:cubicBezTo>
                  <a:cubicBezTo>
                    <a:pt x="222" y="251"/>
                    <a:pt x="192" y="278"/>
                    <a:pt x="150" y="278"/>
                  </a:cubicBezTo>
                  <a:close/>
                  <a:moveTo>
                    <a:pt x="150" y="171"/>
                  </a:moveTo>
                  <a:cubicBezTo>
                    <a:pt x="97" y="171"/>
                    <a:pt x="37" y="186"/>
                    <a:pt x="22" y="190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77" y="190"/>
                    <a:pt x="277" y="190"/>
                    <a:pt x="277" y="190"/>
                  </a:cubicBezTo>
                  <a:cubicBezTo>
                    <a:pt x="262" y="186"/>
                    <a:pt x="203" y="171"/>
                    <a:pt x="150" y="171"/>
                  </a:cubicBezTo>
                  <a:close/>
                  <a:moveTo>
                    <a:pt x="150" y="235"/>
                  </a:moveTo>
                  <a:cubicBezTo>
                    <a:pt x="165" y="235"/>
                    <a:pt x="174" y="227"/>
                    <a:pt x="174" y="227"/>
                  </a:cubicBezTo>
                  <a:cubicBezTo>
                    <a:pt x="179" y="223"/>
                    <a:pt x="185" y="223"/>
                    <a:pt x="189" y="228"/>
                  </a:cubicBezTo>
                  <a:cubicBezTo>
                    <a:pt x="193" y="232"/>
                    <a:pt x="193" y="239"/>
                    <a:pt x="189" y="243"/>
                  </a:cubicBezTo>
                  <a:cubicBezTo>
                    <a:pt x="188" y="244"/>
                    <a:pt x="174" y="256"/>
                    <a:pt x="150" y="256"/>
                  </a:cubicBezTo>
                  <a:cubicBezTo>
                    <a:pt x="125" y="256"/>
                    <a:pt x="112" y="244"/>
                    <a:pt x="110" y="243"/>
                  </a:cubicBezTo>
                  <a:cubicBezTo>
                    <a:pt x="106" y="239"/>
                    <a:pt x="106" y="232"/>
                    <a:pt x="110" y="228"/>
                  </a:cubicBezTo>
                  <a:cubicBezTo>
                    <a:pt x="114" y="223"/>
                    <a:pt x="121" y="223"/>
                    <a:pt x="125" y="227"/>
                  </a:cubicBezTo>
                  <a:cubicBezTo>
                    <a:pt x="125" y="228"/>
                    <a:pt x="134" y="235"/>
                    <a:pt x="150" y="235"/>
                  </a:cubicBezTo>
                  <a:close/>
                  <a:moveTo>
                    <a:pt x="186" y="108"/>
                  </a:moveTo>
                  <a:cubicBezTo>
                    <a:pt x="133" y="81"/>
                    <a:pt x="133" y="81"/>
                    <a:pt x="133" y="81"/>
                  </a:cubicBezTo>
                  <a:cubicBezTo>
                    <a:pt x="130" y="80"/>
                    <a:pt x="126" y="80"/>
                    <a:pt x="123" y="82"/>
                  </a:cubicBezTo>
                  <a:cubicBezTo>
                    <a:pt x="120" y="84"/>
                    <a:pt x="118" y="87"/>
                    <a:pt x="118" y="91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8" y="148"/>
                    <a:pt x="120" y="151"/>
                    <a:pt x="123" y="153"/>
                  </a:cubicBezTo>
                  <a:cubicBezTo>
                    <a:pt x="124" y="154"/>
                    <a:pt x="126" y="155"/>
                    <a:pt x="128" y="155"/>
                  </a:cubicBezTo>
                  <a:cubicBezTo>
                    <a:pt x="130" y="155"/>
                    <a:pt x="132" y="155"/>
                    <a:pt x="133" y="154"/>
                  </a:cubicBezTo>
                  <a:cubicBezTo>
                    <a:pt x="186" y="127"/>
                    <a:pt x="186" y="127"/>
                    <a:pt x="186" y="127"/>
                  </a:cubicBezTo>
                  <a:cubicBezTo>
                    <a:pt x="190" y="125"/>
                    <a:pt x="192" y="122"/>
                    <a:pt x="192" y="118"/>
                  </a:cubicBezTo>
                  <a:cubicBezTo>
                    <a:pt x="192" y="114"/>
                    <a:pt x="190" y="110"/>
                    <a:pt x="186" y="108"/>
                  </a:cubicBezTo>
                  <a:close/>
                  <a:moveTo>
                    <a:pt x="139" y="127"/>
                  </a:moveTo>
                  <a:cubicBezTo>
                    <a:pt x="139" y="108"/>
                    <a:pt x="139" y="108"/>
                    <a:pt x="139" y="108"/>
                  </a:cubicBezTo>
                  <a:cubicBezTo>
                    <a:pt x="158" y="118"/>
                    <a:pt x="158" y="118"/>
                    <a:pt x="158" y="118"/>
                  </a:cubicBezTo>
                  <a:lnTo>
                    <a:pt x="139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733"/>
            <p:cNvSpPr>
              <a:spLocks noEditPoints="1"/>
            </p:cNvSpPr>
            <p:nvPr/>
          </p:nvSpPr>
          <p:spPr bwMode="auto">
            <a:xfrm>
              <a:off x="5043" y="263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737"/>
          <p:cNvSpPr>
            <a:spLocks noChangeAspect="1" noEditPoints="1"/>
          </p:cNvSpPr>
          <p:nvPr/>
        </p:nvSpPr>
        <p:spPr bwMode="auto">
          <a:xfrm>
            <a:off x="1450170" y="2913578"/>
            <a:ext cx="369676" cy="370763"/>
          </a:xfrm>
          <a:custGeom>
            <a:avLst/>
            <a:gdLst>
              <a:gd name="T0" fmla="*/ 245 w 512"/>
              <a:gd name="T1" fmla="*/ 214 h 512"/>
              <a:gd name="T2" fmla="*/ 264 w 512"/>
              <a:gd name="T3" fmla="*/ 224 h 512"/>
              <a:gd name="T4" fmla="*/ 245 w 512"/>
              <a:gd name="T5" fmla="*/ 233 h 512"/>
              <a:gd name="T6" fmla="*/ 245 w 512"/>
              <a:gd name="T7" fmla="*/ 214 h 512"/>
              <a:gd name="T8" fmla="*/ 256 w 512"/>
              <a:gd name="T9" fmla="*/ 298 h 512"/>
              <a:gd name="T10" fmla="*/ 341 w 512"/>
              <a:gd name="T11" fmla="*/ 308 h 512"/>
              <a:gd name="T12" fmla="*/ 256 w 512"/>
              <a:gd name="T13" fmla="*/ 384 h 512"/>
              <a:gd name="T14" fmla="*/ 171 w 512"/>
              <a:gd name="T15" fmla="*/ 308 h 512"/>
              <a:gd name="T16" fmla="*/ 256 w 512"/>
              <a:gd name="T17" fmla="*/ 298 h 512"/>
              <a:gd name="T18" fmla="*/ 280 w 512"/>
              <a:gd name="T19" fmla="*/ 333 h 512"/>
              <a:gd name="T20" fmla="*/ 256 w 512"/>
              <a:gd name="T21" fmla="*/ 341 h 512"/>
              <a:gd name="T22" fmla="*/ 231 w 512"/>
              <a:gd name="T23" fmla="*/ 333 h 512"/>
              <a:gd name="T24" fmla="*/ 216 w 512"/>
              <a:gd name="T25" fmla="*/ 334 h 512"/>
              <a:gd name="T26" fmla="*/ 216 w 512"/>
              <a:gd name="T27" fmla="*/ 349 h 512"/>
              <a:gd name="T28" fmla="*/ 256 w 512"/>
              <a:gd name="T29" fmla="*/ 362 h 512"/>
              <a:gd name="T30" fmla="*/ 295 w 512"/>
              <a:gd name="T31" fmla="*/ 349 h 512"/>
              <a:gd name="T32" fmla="*/ 295 w 512"/>
              <a:gd name="T33" fmla="*/ 334 h 512"/>
              <a:gd name="T34" fmla="*/ 280 w 512"/>
              <a:gd name="T35" fmla="*/ 333 h 512"/>
              <a:gd name="T36" fmla="*/ 256 w 512"/>
              <a:gd name="T37" fmla="*/ 128 h 512"/>
              <a:gd name="T38" fmla="*/ 200 w 512"/>
              <a:gd name="T39" fmla="*/ 149 h 512"/>
              <a:gd name="T40" fmla="*/ 312 w 512"/>
              <a:gd name="T41" fmla="*/ 149 h 512"/>
              <a:gd name="T42" fmla="*/ 256 w 512"/>
              <a:gd name="T43" fmla="*/ 128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405 w 512"/>
              <a:gd name="T55" fmla="*/ 297 h 512"/>
              <a:gd name="T56" fmla="*/ 395 w 512"/>
              <a:gd name="T57" fmla="*/ 170 h 512"/>
              <a:gd name="T58" fmla="*/ 375 w 512"/>
              <a:gd name="T59" fmla="*/ 149 h 512"/>
              <a:gd name="T60" fmla="*/ 339 w 512"/>
              <a:gd name="T61" fmla="*/ 149 h 512"/>
              <a:gd name="T62" fmla="*/ 256 w 512"/>
              <a:gd name="T63" fmla="*/ 106 h 512"/>
              <a:gd name="T64" fmla="*/ 172 w 512"/>
              <a:gd name="T65" fmla="*/ 149 h 512"/>
              <a:gd name="T66" fmla="*/ 137 w 512"/>
              <a:gd name="T67" fmla="*/ 149 h 512"/>
              <a:gd name="T68" fmla="*/ 116 w 512"/>
              <a:gd name="T69" fmla="*/ 169 h 512"/>
              <a:gd name="T70" fmla="*/ 106 w 512"/>
              <a:gd name="T71" fmla="*/ 298 h 512"/>
              <a:gd name="T72" fmla="*/ 127 w 512"/>
              <a:gd name="T73" fmla="*/ 318 h 512"/>
              <a:gd name="T74" fmla="*/ 130 w 512"/>
              <a:gd name="T75" fmla="*/ 318 h 512"/>
              <a:gd name="T76" fmla="*/ 150 w 512"/>
              <a:gd name="T77" fmla="*/ 313 h 512"/>
              <a:gd name="T78" fmla="*/ 256 w 512"/>
              <a:gd name="T79" fmla="*/ 405 h 512"/>
              <a:gd name="T80" fmla="*/ 362 w 512"/>
              <a:gd name="T81" fmla="*/ 313 h 512"/>
              <a:gd name="T82" fmla="*/ 382 w 512"/>
              <a:gd name="T83" fmla="*/ 318 h 512"/>
              <a:gd name="T84" fmla="*/ 384 w 512"/>
              <a:gd name="T85" fmla="*/ 318 h 512"/>
              <a:gd name="T86" fmla="*/ 405 w 512"/>
              <a:gd name="T87" fmla="*/ 297 h 512"/>
              <a:gd name="T88" fmla="*/ 373 w 512"/>
              <a:gd name="T89" fmla="*/ 170 h 512"/>
              <a:gd name="T90" fmla="*/ 383 w 512"/>
              <a:gd name="T91" fmla="*/ 296 h 512"/>
              <a:gd name="T92" fmla="*/ 256 w 512"/>
              <a:gd name="T93" fmla="*/ 277 h 512"/>
              <a:gd name="T94" fmla="*/ 128 w 512"/>
              <a:gd name="T95" fmla="*/ 296 h 512"/>
              <a:gd name="T96" fmla="*/ 138 w 512"/>
              <a:gd name="T97" fmla="*/ 170 h 512"/>
              <a:gd name="T98" fmla="*/ 373 w 512"/>
              <a:gd name="T99" fmla="*/ 170 h 512"/>
              <a:gd name="T100" fmla="*/ 373 w 512"/>
              <a:gd name="T101" fmla="*/ 170 h 512"/>
              <a:gd name="T102" fmla="*/ 298 w 512"/>
              <a:gd name="T103" fmla="*/ 224 h 512"/>
              <a:gd name="T104" fmla="*/ 292 w 512"/>
              <a:gd name="T105" fmla="*/ 214 h 512"/>
              <a:gd name="T106" fmla="*/ 239 w 512"/>
              <a:gd name="T107" fmla="*/ 187 h 512"/>
              <a:gd name="T108" fmla="*/ 229 w 512"/>
              <a:gd name="T109" fmla="*/ 188 h 512"/>
              <a:gd name="T110" fmla="*/ 224 w 512"/>
              <a:gd name="T111" fmla="*/ 197 h 512"/>
              <a:gd name="T112" fmla="*/ 224 w 512"/>
              <a:gd name="T113" fmla="*/ 250 h 512"/>
              <a:gd name="T114" fmla="*/ 229 w 512"/>
              <a:gd name="T115" fmla="*/ 259 h 512"/>
              <a:gd name="T116" fmla="*/ 234 w 512"/>
              <a:gd name="T117" fmla="*/ 261 h 512"/>
              <a:gd name="T118" fmla="*/ 239 w 512"/>
              <a:gd name="T119" fmla="*/ 260 h 512"/>
              <a:gd name="T120" fmla="*/ 292 w 512"/>
              <a:gd name="T121" fmla="*/ 233 h 512"/>
              <a:gd name="T122" fmla="*/ 298 w 512"/>
              <a:gd name="T12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245" y="214"/>
                </a:moveTo>
                <a:cubicBezTo>
                  <a:pt x="264" y="224"/>
                  <a:pt x="264" y="224"/>
                  <a:pt x="264" y="224"/>
                </a:cubicBezTo>
                <a:cubicBezTo>
                  <a:pt x="245" y="233"/>
                  <a:pt x="245" y="233"/>
                  <a:pt x="245" y="233"/>
                </a:cubicBezTo>
                <a:lnTo>
                  <a:pt x="245" y="214"/>
                </a:lnTo>
                <a:close/>
                <a:moveTo>
                  <a:pt x="256" y="298"/>
                </a:moveTo>
                <a:cubicBezTo>
                  <a:pt x="285" y="298"/>
                  <a:pt x="316" y="303"/>
                  <a:pt x="341" y="308"/>
                </a:cubicBezTo>
                <a:cubicBezTo>
                  <a:pt x="328" y="357"/>
                  <a:pt x="298" y="384"/>
                  <a:pt x="256" y="384"/>
                </a:cubicBezTo>
                <a:cubicBezTo>
                  <a:pt x="213" y="384"/>
                  <a:pt x="183" y="357"/>
                  <a:pt x="171" y="308"/>
                </a:cubicBezTo>
                <a:cubicBezTo>
                  <a:pt x="195" y="303"/>
                  <a:pt x="227" y="298"/>
                  <a:pt x="256" y="298"/>
                </a:cubicBezTo>
                <a:close/>
                <a:moveTo>
                  <a:pt x="280" y="333"/>
                </a:moveTo>
                <a:cubicBezTo>
                  <a:pt x="280" y="333"/>
                  <a:pt x="271" y="341"/>
                  <a:pt x="256" y="341"/>
                </a:cubicBezTo>
                <a:cubicBezTo>
                  <a:pt x="240" y="341"/>
                  <a:pt x="231" y="334"/>
                  <a:pt x="231" y="333"/>
                </a:cubicBezTo>
                <a:cubicBezTo>
                  <a:pt x="227" y="329"/>
                  <a:pt x="220" y="329"/>
                  <a:pt x="216" y="334"/>
                </a:cubicBezTo>
                <a:cubicBezTo>
                  <a:pt x="212" y="338"/>
                  <a:pt x="212" y="345"/>
                  <a:pt x="216" y="349"/>
                </a:cubicBezTo>
                <a:cubicBezTo>
                  <a:pt x="218" y="350"/>
                  <a:pt x="231" y="362"/>
                  <a:pt x="256" y="362"/>
                </a:cubicBezTo>
                <a:cubicBezTo>
                  <a:pt x="280" y="362"/>
                  <a:pt x="294" y="350"/>
                  <a:pt x="295" y="349"/>
                </a:cubicBezTo>
                <a:cubicBezTo>
                  <a:pt x="299" y="345"/>
                  <a:pt x="299" y="338"/>
                  <a:pt x="295" y="334"/>
                </a:cubicBezTo>
                <a:cubicBezTo>
                  <a:pt x="291" y="329"/>
                  <a:pt x="285" y="329"/>
                  <a:pt x="280" y="333"/>
                </a:cubicBezTo>
                <a:close/>
                <a:moveTo>
                  <a:pt x="256" y="128"/>
                </a:moveTo>
                <a:cubicBezTo>
                  <a:pt x="233" y="128"/>
                  <a:pt x="214" y="135"/>
                  <a:pt x="200" y="149"/>
                </a:cubicBezTo>
                <a:cubicBezTo>
                  <a:pt x="312" y="149"/>
                  <a:pt x="312" y="149"/>
                  <a:pt x="312" y="149"/>
                </a:cubicBezTo>
                <a:cubicBezTo>
                  <a:pt x="297" y="135"/>
                  <a:pt x="278" y="128"/>
                  <a:pt x="256" y="12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297"/>
                </a:moveTo>
                <a:cubicBezTo>
                  <a:pt x="395" y="170"/>
                  <a:pt x="395" y="170"/>
                  <a:pt x="395" y="170"/>
                </a:cubicBezTo>
                <a:cubicBezTo>
                  <a:pt x="395" y="158"/>
                  <a:pt x="386" y="149"/>
                  <a:pt x="375" y="149"/>
                </a:cubicBezTo>
                <a:cubicBezTo>
                  <a:pt x="339" y="149"/>
                  <a:pt x="339" y="149"/>
                  <a:pt x="339" y="149"/>
                </a:cubicBezTo>
                <a:cubicBezTo>
                  <a:pt x="320" y="121"/>
                  <a:pt x="291" y="106"/>
                  <a:pt x="256" y="106"/>
                </a:cubicBezTo>
                <a:cubicBezTo>
                  <a:pt x="221" y="106"/>
                  <a:pt x="192" y="121"/>
                  <a:pt x="172" y="149"/>
                </a:cubicBezTo>
                <a:cubicBezTo>
                  <a:pt x="137" y="149"/>
                  <a:pt x="137" y="149"/>
                  <a:pt x="137" y="149"/>
                </a:cubicBezTo>
                <a:cubicBezTo>
                  <a:pt x="125" y="149"/>
                  <a:pt x="116" y="158"/>
                  <a:pt x="116" y="169"/>
                </a:cubicBezTo>
                <a:cubicBezTo>
                  <a:pt x="106" y="298"/>
                  <a:pt x="106" y="298"/>
                  <a:pt x="106" y="298"/>
                </a:cubicBezTo>
                <a:cubicBezTo>
                  <a:pt x="106" y="309"/>
                  <a:pt x="116" y="318"/>
                  <a:pt x="127" y="318"/>
                </a:cubicBezTo>
                <a:cubicBezTo>
                  <a:pt x="128" y="318"/>
                  <a:pt x="129" y="318"/>
                  <a:pt x="130" y="318"/>
                </a:cubicBezTo>
                <a:cubicBezTo>
                  <a:pt x="130" y="318"/>
                  <a:pt x="138" y="316"/>
                  <a:pt x="150" y="313"/>
                </a:cubicBezTo>
                <a:cubicBezTo>
                  <a:pt x="165" y="371"/>
                  <a:pt x="203" y="405"/>
                  <a:pt x="256" y="405"/>
                </a:cubicBezTo>
                <a:cubicBezTo>
                  <a:pt x="308" y="405"/>
                  <a:pt x="347" y="371"/>
                  <a:pt x="362" y="313"/>
                </a:cubicBezTo>
                <a:cubicBezTo>
                  <a:pt x="374" y="316"/>
                  <a:pt x="381" y="318"/>
                  <a:pt x="382" y="318"/>
                </a:cubicBezTo>
                <a:cubicBezTo>
                  <a:pt x="382" y="318"/>
                  <a:pt x="383" y="318"/>
                  <a:pt x="384" y="318"/>
                </a:cubicBezTo>
                <a:cubicBezTo>
                  <a:pt x="396" y="318"/>
                  <a:pt x="405" y="309"/>
                  <a:pt x="405" y="297"/>
                </a:cubicBezTo>
                <a:close/>
                <a:moveTo>
                  <a:pt x="373" y="170"/>
                </a:moveTo>
                <a:cubicBezTo>
                  <a:pt x="383" y="296"/>
                  <a:pt x="383" y="296"/>
                  <a:pt x="383" y="296"/>
                </a:cubicBezTo>
                <a:cubicBezTo>
                  <a:pt x="368" y="292"/>
                  <a:pt x="309" y="277"/>
                  <a:pt x="256" y="277"/>
                </a:cubicBezTo>
                <a:cubicBezTo>
                  <a:pt x="203" y="277"/>
                  <a:pt x="143" y="292"/>
                  <a:pt x="128" y="296"/>
                </a:cubicBezTo>
                <a:cubicBezTo>
                  <a:pt x="138" y="170"/>
                  <a:pt x="138" y="170"/>
                  <a:pt x="138" y="170"/>
                </a:cubicBezTo>
                <a:cubicBezTo>
                  <a:pt x="373" y="170"/>
                  <a:pt x="373" y="170"/>
                  <a:pt x="373" y="170"/>
                </a:cubicBezTo>
                <a:cubicBezTo>
                  <a:pt x="373" y="170"/>
                  <a:pt x="373" y="170"/>
                  <a:pt x="373" y="170"/>
                </a:cubicBezTo>
                <a:close/>
                <a:moveTo>
                  <a:pt x="298" y="224"/>
                </a:moveTo>
                <a:cubicBezTo>
                  <a:pt x="298" y="220"/>
                  <a:pt x="296" y="216"/>
                  <a:pt x="292" y="214"/>
                </a:cubicBezTo>
                <a:cubicBezTo>
                  <a:pt x="239" y="187"/>
                  <a:pt x="239" y="187"/>
                  <a:pt x="239" y="187"/>
                </a:cubicBezTo>
                <a:cubicBezTo>
                  <a:pt x="236" y="186"/>
                  <a:pt x="232" y="186"/>
                  <a:pt x="229" y="188"/>
                </a:cubicBezTo>
                <a:cubicBezTo>
                  <a:pt x="226" y="190"/>
                  <a:pt x="224" y="193"/>
                  <a:pt x="224" y="197"/>
                </a:cubicBezTo>
                <a:cubicBezTo>
                  <a:pt x="224" y="250"/>
                  <a:pt x="224" y="250"/>
                  <a:pt x="224" y="250"/>
                </a:cubicBezTo>
                <a:cubicBezTo>
                  <a:pt x="224" y="254"/>
                  <a:pt x="226" y="257"/>
                  <a:pt x="229" y="259"/>
                </a:cubicBezTo>
                <a:cubicBezTo>
                  <a:pt x="230" y="260"/>
                  <a:pt x="232" y="261"/>
                  <a:pt x="234" y="261"/>
                </a:cubicBezTo>
                <a:cubicBezTo>
                  <a:pt x="236" y="261"/>
                  <a:pt x="238" y="261"/>
                  <a:pt x="239" y="260"/>
                </a:cubicBezTo>
                <a:cubicBezTo>
                  <a:pt x="292" y="233"/>
                  <a:pt x="292" y="233"/>
                  <a:pt x="292" y="233"/>
                </a:cubicBezTo>
                <a:cubicBezTo>
                  <a:pt x="296" y="231"/>
                  <a:pt x="298" y="228"/>
                  <a:pt x="298" y="22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6" name="Group 305"/>
          <p:cNvGrpSpPr>
            <a:grpSpLocks noChangeAspect="1"/>
          </p:cNvGrpSpPr>
          <p:nvPr/>
        </p:nvGrpSpPr>
        <p:grpSpPr bwMode="auto">
          <a:xfrm>
            <a:off x="2948751" y="2913575"/>
            <a:ext cx="369676" cy="369676"/>
            <a:chOff x="1161" y="385"/>
            <a:chExt cx="340" cy="340"/>
          </a:xfrm>
          <a:solidFill>
            <a:schemeClr val="accent2"/>
          </a:solidFill>
        </p:grpSpPr>
        <p:sp>
          <p:nvSpPr>
            <p:cNvPr id="307" name="Freeform 180"/>
            <p:cNvSpPr>
              <a:spLocks noEditPoints="1"/>
            </p:cNvSpPr>
            <p:nvPr/>
          </p:nvSpPr>
          <p:spPr bwMode="auto">
            <a:xfrm>
              <a:off x="1260" y="449"/>
              <a:ext cx="156" cy="212"/>
            </a:xfrm>
            <a:custGeom>
              <a:avLst/>
              <a:gdLst>
                <a:gd name="T0" fmla="*/ 224 w 235"/>
                <a:gd name="T1" fmla="*/ 96 h 320"/>
                <a:gd name="T2" fmla="*/ 213 w 235"/>
                <a:gd name="T3" fmla="*/ 106 h 320"/>
                <a:gd name="T4" fmla="*/ 213 w 235"/>
                <a:gd name="T5" fmla="*/ 64 h 320"/>
                <a:gd name="T6" fmla="*/ 192 w 235"/>
                <a:gd name="T7" fmla="*/ 42 h 320"/>
                <a:gd name="T8" fmla="*/ 181 w 235"/>
                <a:gd name="T9" fmla="*/ 42 h 320"/>
                <a:gd name="T10" fmla="*/ 181 w 235"/>
                <a:gd name="T11" fmla="*/ 21 h 320"/>
                <a:gd name="T12" fmla="*/ 160 w 235"/>
                <a:gd name="T13" fmla="*/ 0 h 320"/>
                <a:gd name="T14" fmla="*/ 53 w 235"/>
                <a:gd name="T15" fmla="*/ 0 h 320"/>
                <a:gd name="T16" fmla="*/ 32 w 235"/>
                <a:gd name="T17" fmla="*/ 21 h 320"/>
                <a:gd name="T18" fmla="*/ 32 w 235"/>
                <a:gd name="T19" fmla="*/ 42 h 320"/>
                <a:gd name="T20" fmla="*/ 21 w 235"/>
                <a:gd name="T21" fmla="*/ 42 h 320"/>
                <a:gd name="T22" fmla="*/ 0 w 235"/>
                <a:gd name="T23" fmla="*/ 64 h 320"/>
                <a:gd name="T24" fmla="*/ 0 w 235"/>
                <a:gd name="T25" fmla="*/ 256 h 320"/>
                <a:gd name="T26" fmla="*/ 21 w 235"/>
                <a:gd name="T27" fmla="*/ 277 h 320"/>
                <a:gd name="T28" fmla="*/ 32 w 235"/>
                <a:gd name="T29" fmla="*/ 277 h 320"/>
                <a:gd name="T30" fmla="*/ 32 w 235"/>
                <a:gd name="T31" fmla="*/ 298 h 320"/>
                <a:gd name="T32" fmla="*/ 53 w 235"/>
                <a:gd name="T33" fmla="*/ 320 h 320"/>
                <a:gd name="T34" fmla="*/ 160 w 235"/>
                <a:gd name="T35" fmla="*/ 320 h 320"/>
                <a:gd name="T36" fmla="*/ 181 w 235"/>
                <a:gd name="T37" fmla="*/ 298 h 320"/>
                <a:gd name="T38" fmla="*/ 181 w 235"/>
                <a:gd name="T39" fmla="*/ 277 h 320"/>
                <a:gd name="T40" fmla="*/ 192 w 235"/>
                <a:gd name="T41" fmla="*/ 277 h 320"/>
                <a:gd name="T42" fmla="*/ 213 w 235"/>
                <a:gd name="T43" fmla="*/ 256 h 320"/>
                <a:gd name="T44" fmla="*/ 213 w 235"/>
                <a:gd name="T45" fmla="*/ 138 h 320"/>
                <a:gd name="T46" fmla="*/ 224 w 235"/>
                <a:gd name="T47" fmla="*/ 149 h 320"/>
                <a:gd name="T48" fmla="*/ 235 w 235"/>
                <a:gd name="T49" fmla="*/ 138 h 320"/>
                <a:gd name="T50" fmla="*/ 235 w 235"/>
                <a:gd name="T51" fmla="*/ 106 h 320"/>
                <a:gd name="T52" fmla="*/ 224 w 235"/>
                <a:gd name="T53" fmla="*/ 96 h 320"/>
                <a:gd name="T54" fmla="*/ 53 w 235"/>
                <a:gd name="T55" fmla="*/ 21 h 320"/>
                <a:gd name="T56" fmla="*/ 160 w 235"/>
                <a:gd name="T57" fmla="*/ 21 h 320"/>
                <a:gd name="T58" fmla="*/ 160 w 235"/>
                <a:gd name="T59" fmla="*/ 42 h 320"/>
                <a:gd name="T60" fmla="*/ 53 w 235"/>
                <a:gd name="T61" fmla="*/ 42 h 320"/>
                <a:gd name="T62" fmla="*/ 53 w 235"/>
                <a:gd name="T63" fmla="*/ 21 h 320"/>
                <a:gd name="T64" fmla="*/ 160 w 235"/>
                <a:gd name="T65" fmla="*/ 298 h 320"/>
                <a:gd name="T66" fmla="*/ 53 w 235"/>
                <a:gd name="T67" fmla="*/ 298 h 320"/>
                <a:gd name="T68" fmla="*/ 53 w 235"/>
                <a:gd name="T69" fmla="*/ 277 h 320"/>
                <a:gd name="T70" fmla="*/ 160 w 235"/>
                <a:gd name="T71" fmla="*/ 277 h 320"/>
                <a:gd name="T72" fmla="*/ 160 w 235"/>
                <a:gd name="T73" fmla="*/ 298 h 320"/>
                <a:gd name="T74" fmla="*/ 192 w 235"/>
                <a:gd name="T75" fmla="*/ 256 h 320"/>
                <a:gd name="T76" fmla="*/ 21 w 235"/>
                <a:gd name="T77" fmla="*/ 256 h 320"/>
                <a:gd name="T78" fmla="*/ 21 w 235"/>
                <a:gd name="T79" fmla="*/ 64 h 320"/>
                <a:gd name="T80" fmla="*/ 192 w 235"/>
                <a:gd name="T81" fmla="*/ 64 h 320"/>
                <a:gd name="T82" fmla="*/ 192 w 235"/>
                <a:gd name="T8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5" h="320">
                  <a:moveTo>
                    <a:pt x="224" y="96"/>
                  </a:moveTo>
                  <a:cubicBezTo>
                    <a:pt x="218" y="96"/>
                    <a:pt x="213" y="100"/>
                    <a:pt x="213" y="106"/>
                  </a:cubicBezTo>
                  <a:cubicBezTo>
                    <a:pt x="213" y="64"/>
                    <a:pt x="213" y="64"/>
                    <a:pt x="213" y="64"/>
                  </a:cubicBezTo>
                  <a:cubicBezTo>
                    <a:pt x="213" y="52"/>
                    <a:pt x="204" y="42"/>
                    <a:pt x="192" y="42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9"/>
                    <a:pt x="172" y="0"/>
                    <a:pt x="160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2" y="0"/>
                    <a:pt x="32" y="9"/>
                    <a:pt x="32" y="2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10" y="42"/>
                    <a:pt x="0" y="52"/>
                    <a:pt x="0" y="6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7"/>
                    <a:pt x="10" y="277"/>
                    <a:pt x="2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298"/>
                    <a:pt x="32" y="298"/>
                    <a:pt x="32" y="298"/>
                  </a:cubicBezTo>
                  <a:cubicBezTo>
                    <a:pt x="32" y="310"/>
                    <a:pt x="42" y="320"/>
                    <a:pt x="53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72" y="320"/>
                    <a:pt x="181" y="310"/>
                    <a:pt x="181" y="298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204" y="277"/>
                    <a:pt x="213" y="267"/>
                    <a:pt x="213" y="256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213" y="144"/>
                    <a:pt x="218" y="149"/>
                    <a:pt x="224" y="149"/>
                  </a:cubicBezTo>
                  <a:cubicBezTo>
                    <a:pt x="230" y="149"/>
                    <a:pt x="235" y="144"/>
                    <a:pt x="235" y="138"/>
                  </a:cubicBezTo>
                  <a:cubicBezTo>
                    <a:pt x="235" y="106"/>
                    <a:pt x="235" y="106"/>
                    <a:pt x="235" y="106"/>
                  </a:cubicBezTo>
                  <a:cubicBezTo>
                    <a:pt x="235" y="100"/>
                    <a:pt x="230" y="96"/>
                    <a:pt x="224" y="96"/>
                  </a:cubicBezTo>
                  <a:close/>
                  <a:moveTo>
                    <a:pt x="53" y="21"/>
                  </a:moveTo>
                  <a:cubicBezTo>
                    <a:pt x="160" y="21"/>
                    <a:pt x="160" y="21"/>
                    <a:pt x="160" y="21"/>
                  </a:cubicBezTo>
                  <a:cubicBezTo>
                    <a:pt x="160" y="42"/>
                    <a:pt x="160" y="42"/>
                    <a:pt x="160" y="42"/>
                  </a:cubicBezTo>
                  <a:cubicBezTo>
                    <a:pt x="53" y="42"/>
                    <a:pt x="53" y="42"/>
                    <a:pt x="53" y="42"/>
                  </a:cubicBezTo>
                  <a:lnTo>
                    <a:pt x="53" y="21"/>
                  </a:lnTo>
                  <a:close/>
                  <a:moveTo>
                    <a:pt x="160" y="298"/>
                  </a:moveTo>
                  <a:cubicBezTo>
                    <a:pt x="53" y="298"/>
                    <a:pt x="53" y="298"/>
                    <a:pt x="53" y="298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160" y="277"/>
                    <a:pt x="160" y="277"/>
                    <a:pt x="160" y="277"/>
                  </a:cubicBezTo>
                  <a:lnTo>
                    <a:pt x="160" y="298"/>
                  </a:lnTo>
                  <a:close/>
                  <a:moveTo>
                    <a:pt x="192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192" y="64"/>
                    <a:pt x="192" y="64"/>
                    <a:pt x="192" y="64"/>
                  </a:cubicBezTo>
                  <a:lnTo>
                    <a:pt x="192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181"/>
            <p:cNvSpPr>
              <a:spLocks noEditPoints="1"/>
            </p:cNvSpPr>
            <p:nvPr/>
          </p:nvSpPr>
          <p:spPr bwMode="auto">
            <a:xfrm>
              <a:off x="1161" y="3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9" name="Freeform 308"/>
          <p:cNvSpPr>
            <a:spLocks noChangeAspect="1" noEditPoints="1"/>
          </p:cNvSpPr>
          <p:nvPr/>
        </p:nvSpPr>
        <p:spPr bwMode="auto">
          <a:xfrm>
            <a:off x="2449224" y="2913578"/>
            <a:ext cx="369676" cy="370763"/>
          </a:xfrm>
          <a:custGeom>
            <a:avLst/>
            <a:gdLst>
              <a:gd name="T0" fmla="*/ 202 w 512"/>
              <a:gd name="T1" fmla="*/ 373 h 512"/>
              <a:gd name="T2" fmla="*/ 309 w 512"/>
              <a:gd name="T3" fmla="*/ 373 h 512"/>
              <a:gd name="T4" fmla="*/ 309 w 512"/>
              <a:gd name="T5" fmla="*/ 394 h 512"/>
              <a:gd name="T6" fmla="*/ 202 w 512"/>
              <a:gd name="T7" fmla="*/ 394 h 512"/>
              <a:gd name="T8" fmla="*/ 202 w 512"/>
              <a:gd name="T9" fmla="*/ 373 h 512"/>
              <a:gd name="T10" fmla="*/ 170 w 512"/>
              <a:gd name="T11" fmla="*/ 352 h 512"/>
              <a:gd name="T12" fmla="*/ 341 w 512"/>
              <a:gd name="T13" fmla="*/ 352 h 512"/>
              <a:gd name="T14" fmla="*/ 341 w 512"/>
              <a:gd name="T15" fmla="*/ 160 h 512"/>
              <a:gd name="T16" fmla="*/ 170 w 512"/>
              <a:gd name="T17" fmla="*/ 160 h 512"/>
              <a:gd name="T18" fmla="*/ 170 w 512"/>
              <a:gd name="T19" fmla="*/ 352 h 512"/>
              <a:gd name="T20" fmla="*/ 309 w 512"/>
              <a:gd name="T21" fmla="*/ 117 h 512"/>
              <a:gd name="T22" fmla="*/ 202 w 512"/>
              <a:gd name="T23" fmla="*/ 117 h 512"/>
              <a:gd name="T24" fmla="*/ 202 w 512"/>
              <a:gd name="T25" fmla="*/ 138 h 512"/>
              <a:gd name="T26" fmla="*/ 309 w 512"/>
              <a:gd name="T27" fmla="*/ 138 h 512"/>
              <a:gd name="T28" fmla="*/ 309 w 512"/>
              <a:gd name="T29" fmla="*/ 117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84 w 512"/>
              <a:gd name="T41" fmla="*/ 202 h 512"/>
              <a:gd name="T42" fmla="*/ 373 w 512"/>
              <a:gd name="T43" fmla="*/ 192 h 512"/>
              <a:gd name="T44" fmla="*/ 362 w 512"/>
              <a:gd name="T45" fmla="*/ 202 h 512"/>
              <a:gd name="T46" fmla="*/ 362 w 512"/>
              <a:gd name="T47" fmla="*/ 160 h 512"/>
              <a:gd name="T48" fmla="*/ 341 w 512"/>
              <a:gd name="T49" fmla="*/ 138 h 512"/>
              <a:gd name="T50" fmla="*/ 330 w 512"/>
              <a:gd name="T51" fmla="*/ 138 h 512"/>
              <a:gd name="T52" fmla="*/ 330 w 512"/>
              <a:gd name="T53" fmla="*/ 117 h 512"/>
              <a:gd name="T54" fmla="*/ 309 w 512"/>
              <a:gd name="T55" fmla="*/ 96 h 512"/>
              <a:gd name="T56" fmla="*/ 202 w 512"/>
              <a:gd name="T57" fmla="*/ 96 h 512"/>
              <a:gd name="T58" fmla="*/ 181 w 512"/>
              <a:gd name="T59" fmla="*/ 117 h 512"/>
              <a:gd name="T60" fmla="*/ 181 w 512"/>
              <a:gd name="T61" fmla="*/ 138 h 512"/>
              <a:gd name="T62" fmla="*/ 170 w 512"/>
              <a:gd name="T63" fmla="*/ 138 h 512"/>
              <a:gd name="T64" fmla="*/ 149 w 512"/>
              <a:gd name="T65" fmla="*/ 160 h 512"/>
              <a:gd name="T66" fmla="*/ 149 w 512"/>
              <a:gd name="T67" fmla="*/ 352 h 512"/>
              <a:gd name="T68" fmla="*/ 170 w 512"/>
              <a:gd name="T69" fmla="*/ 373 h 512"/>
              <a:gd name="T70" fmla="*/ 181 w 512"/>
              <a:gd name="T71" fmla="*/ 373 h 512"/>
              <a:gd name="T72" fmla="*/ 181 w 512"/>
              <a:gd name="T73" fmla="*/ 394 h 512"/>
              <a:gd name="T74" fmla="*/ 202 w 512"/>
              <a:gd name="T75" fmla="*/ 416 h 512"/>
              <a:gd name="T76" fmla="*/ 309 w 512"/>
              <a:gd name="T77" fmla="*/ 416 h 512"/>
              <a:gd name="T78" fmla="*/ 330 w 512"/>
              <a:gd name="T79" fmla="*/ 394 h 512"/>
              <a:gd name="T80" fmla="*/ 330 w 512"/>
              <a:gd name="T81" fmla="*/ 373 h 512"/>
              <a:gd name="T82" fmla="*/ 341 w 512"/>
              <a:gd name="T83" fmla="*/ 373 h 512"/>
              <a:gd name="T84" fmla="*/ 362 w 512"/>
              <a:gd name="T85" fmla="*/ 352 h 512"/>
              <a:gd name="T86" fmla="*/ 362 w 512"/>
              <a:gd name="T87" fmla="*/ 234 h 512"/>
              <a:gd name="T88" fmla="*/ 373 w 512"/>
              <a:gd name="T89" fmla="*/ 245 h 512"/>
              <a:gd name="T90" fmla="*/ 384 w 512"/>
              <a:gd name="T91" fmla="*/ 234 h 512"/>
              <a:gd name="T92" fmla="*/ 384 w 512"/>
              <a:gd name="T93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02" y="373"/>
                </a:moveTo>
                <a:cubicBezTo>
                  <a:pt x="309" y="373"/>
                  <a:pt x="309" y="373"/>
                  <a:pt x="309" y="373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202" y="394"/>
                  <a:pt x="202" y="394"/>
                  <a:pt x="202" y="394"/>
                </a:cubicBezTo>
                <a:lnTo>
                  <a:pt x="202" y="373"/>
                </a:lnTo>
                <a:close/>
                <a:moveTo>
                  <a:pt x="170" y="352"/>
                </a:moveTo>
                <a:cubicBezTo>
                  <a:pt x="341" y="352"/>
                  <a:pt x="341" y="352"/>
                  <a:pt x="341" y="352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170" y="160"/>
                  <a:pt x="170" y="160"/>
                  <a:pt x="170" y="160"/>
                </a:cubicBezTo>
                <a:lnTo>
                  <a:pt x="170" y="352"/>
                </a:lnTo>
                <a:close/>
                <a:moveTo>
                  <a:pt x="309" y="117"/>
                </a:moveTo>
                <a:cubicBezTo>
                  <a:pt x="202" y="117"/>
                  <a:pt x="202" y="117"/>
                  <a:pt x="202" y="117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309" y="138"/>
                  <a:pt x="309" y="138"/>
                  <a:pt x="309" y="138"/>
                </a:cubicBezTo>
                <a:lnTo>
                  <a:pt x="309" y="11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02"/>
                </a:moveTo>
                <a:cubicBezTo>
                  <a:pt x="384" y="196"/>
                  <a:pt x="379" y="192"/>
                  <a:pt x="373" y="192"/>
                </a:cubicBezTo>
                <a:cubicBezTo>
                  <a:pt x="367" y="192"/>
                  <a:pt x="362" y="196"/>
                  <a:pt x="362" y="202"/>
                </a:cubicBezTo>
                <a:cubicBezTo>
                  <a:pt x="362" y="160"/>
                  <a:pt x="362" y="160"/>
                  <a:pt x="362" y="160"/>
                </a:cubicBezTo>
                <a:cubicBezTo>
                  <a:pt x="362" y="148"/>
                  <a:pt x="353" y="138"/>
                  <a:pt x="34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30" y="105"/>
                  <a:pt x="321" y="96"/>
                  <a:pt x="309" y="96"/>
                </a:cubicBezTo>
                <a:cubicBezTo>
                  <a:pt x="202" y="96"/>
                  <a:pt x="202" y="96"/>
                  <a:pt x="202" y="96"/>
                </a:cubicBezTo>
                <a:cubicBezTo>
                  <a:pt x="191" y="96"/>
                  <a:pt x="181" y="105"/>
                  <a:pt x="181" y="117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59" y="138"/>
                  <a:pt x="149" y="148"/>
                  <a:pt x="149" y="160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9" y="363"/>
                  <a:pt x="159" y="373"/>
                  <a:pt x="170" y="373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81" y="406"/>
                  <a:pt x="191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21" y="416"/>
                  <a:pt x="330" y="406"/>
                  <a:pt x="330" y="394"/>
                </a:cubicBezTo>
                <a:cubicBezTo>
                  <a:pt x="330" y="373"/>
                  <a:pt x="330" y="373"/>
                  <a:pt x="330" y="373"/>
                </a:cubicBezTo>
                <a:cubicBezTo>
                  <a:pt x="341" y="373"/>
                  <a:pt x="341" y="373"/>
                  <a:pt x="341" y="373"/>
                </a:cubicBezTo>
                <a:cubicBezTo>
                  <a:pt x="353" y="373"/>
                  <a:pt x="362" y="363"/>
                  <a:pt x="362" y="352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2" y="240"/>
                  <a:pt x="367" y="245"/>
                  <a:pt x="373" y="245"/>
                </a:cubicBezTo>
                <a:cubicBezTo>
                  <a:pt x="379" y="245"/>
                  <a:pt x="384" y="240"/>
                  <a:pt x="384" y="234"/>
                </a:cubicBezTo>
                <a:lnTo>
                  <a:pt x="384" y="20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0" name="Freeform 230"/>
          <p:cNvSpPr>
            <a:spLocks noChangeAspect="1" noEditPoints="1"/>
          </p:cNvSpPr>
          <p:nvPr/>
        </p:nvSpPr>
        <p:spPr bwMode="auto">
          <a:xfrm>
            <a:off x="3448278" y="2913578"/>
            <a:ext cx="367041" cy="367041"/>
          </a:xfrm>
          <a:custGeom>
            <a:avLst/>
            <a:gdLst>
              <a:gd name="T0" fmla="*/ 149 w 512"/>
              <a:gd name="T1" fmla="*/ 245 h 512"/>
              <a:gd name="T2" fmla="*/ 160 w 512"/>
              <a:gd name="T3" fmla="*/ 234 h 512"/>
              <a:gd name="T4" fmla="*/ 170 w 512"/>
              <a:gd name="T5" fmla="*/ 245 h 512"/>
              <a:gd name="T6" fmla="*/ 170 w 512"/>
              <a:gd name="T7" fmla="*/ 309 h 512"/>
              <a:gd name="T8" fmla="*/ 160 w 512"/>
              <a:gd name="T9" fmla="*/ 320 h 512"/>
              <a:gd name="T10" fmla="*/ 149 w 512"/>
              <a:gd name="T11" fmla="*/ 309 h 512"/>
              <a:gd name="T12" fmla="*/ 149 w 512"/>
              <a:gd name="T13" fmla="*/ 256 h 512"/>
              <a:gd name="T14" fmla="*/ 149 w 512"/>
              <a:gd name="T15" fmla="*/ 245 h 512"/>
              <a:gd name="T16" fmla="*/ 352 w 512"/>
              <a:gd name="T17" fmla="*/ 234 h 512"/>
              <a:gd name="T18" fmla="*/ 341 w 512"/>
              <a:gd name="T19" fmla="*/ 245 h 512"/>
              <a:gd name="T20" fmla="*/ 341 w 512"/>
              <a:gd name="T21" fmla="*/ 309 h 512"/>
              <a:gd name="T22" fmla="*/ 352 w 512"/>
              <a:gd name="T23" fmla="*/ 320 h 512"/>
              <a:gd name="T24" fmla="*/ 362 w 512"/>
              <a:gd name="T25" fmla="*/ 309 h 512"/>
              <a:gd name="T26" fmla="*/ 362 w 512"/>
              <a:gd name="T27" fmla="*/ 245 h 512"/>
              <a:gd name="T28" fmla="*/ 352 w 512"/>
              <a:gd name="T29" fmla="*/ 234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84 w 512"/>
              <a:gd name="T41" fmla="*/ 224 h 512"/>
              <a:gd name="T42" fmla="*/ 256 w 512"/>
              <a:gd name="T43" fmla="*/ 96 h 512"/>
              <a:gd name="T44" fmla="*/ 128 w 512"/>
              <a:gd name="T45" fmla="*/ 224 h 512"/>
              <a:gd name="T46" fmla="*/ 128 w 512"/>
              <a:gd name="T47" fmla="*/ 309 h 512"/>
              <a:gd name="T48" fmla="*/ 160 w 512"/>
              <a:gd name="T49" fmla="*/ 341 h 512"/>
              <a:gd name="T50" fmla="*/ 192 w 512"/>
              <a:gd name="T51" fmla="*/ 309 h 512"/>
              <a:gd name="T52" fmla="*/ 192 w 512"/>
              <a:gd name="T53" fmla="*/ 245 h 512"/>
              <a:gd name="T54" fmla="*/ 160 w 512"/>
              <a:gd name="T55" fmla="*/ 213 h 512"/>
              <a:gd name="T56" fmla="*/ 149 w 512"/>
              <a:gd name="T57" fmla="*/ 215 h 512"/>
              <a:gd name="T58" fmla="*/ 256 w 512"/>
              <a:gd name="T59" fmla="*/ 117 h 512"/>
              <a:gd name="T60" fmla="*/ 362 w 512"/>
              <a:gd name="T61" fmla="*/ 215 h 512"/>
              <a:gd name="T62" fmla="*/ 352 w 512"/>
              <a:gd name="T63" fmla="*/ 213 h 512"/>
              <a:gd name="T64" fmla="*/ 320 w 512"/>
              <a:gd name="T65" fmla="*/ 245 h 512"/>
              <a:gd name="T66" fmla="*/ 320 w 512"/>
              <a:gd name="T67" fmla="*/ 309 h 512"/>
              <a:gd name="T68" fmla="*/ 352 w 512"/>
              <a:gd name="T69" fmla="*/ 341 h 512"/>
              <a:gd name="T70" fmla="*/ 360 w 512"/>
              <a:gd name="T71" fmla="*/ 340 h 512"/>
              <a:gd name="T72" fmla="*/ 289 w 512"/>
              <a:gd name="T73" fmla="*/ 392 h 512"/>
              <a:gd name="T74" fmla="*/ 256 w 512"/>
              <a:gd name="T75" fmla="*/ 373 h 512"/>
              <a:gd name="T76" fmla="*/ 222 w 512"/>
              <a:gd name="T77" fmla="*/ 394 h 512"/>
              <a:gd name="T78" fmla="*/ 256 w 512"/>
              <a:gd name="T79" fmla="*/ 416 h 512"/>
              <a:gd name="T80" fmla="*/ 384 w 512"/>
              <a:gd name="T81" fmla="*/ 320 h 512"/>
              <a:gd name="T82" fmla="*/ 384 w 512"/>
              <a:gd name="T8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149" y="245"/>
                </a:moveTo>
                <a:cubicBezTo>
                  <a:pt x="149" y="239"/>
                  <a:pt x="154" y="234"/>
                  <a:pt x="160" y="234"/>
                </a:cubicBezTo>
                <a:cubicBezTo>
                  <a:pt x="166" y="234"/>
                  <a:pt x="170" y="239"/>
                  <a:pt x="170" y="245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70" y="315"/>
                  <a:pt x="166" y="320"/>
                  <a:pt x="160" y="320"/>
                </a:cubicBezTo>
                <a:cubicBezTo>
                  <a:pt x="154" y="320"/>
                  <a:pt x="149" y="315"/>
                  <a:pt x="149" y="309"/>
                </a:cubicBezTo>
                <a:cubicBezTo>
                  <a:pt x="149" y="256"/>
                  <a:pt x="149" y="256"/>
                  <a:pt x="149" y="256"/>
                </a:cubicBezTo>
                <a:lnTo>
                  <a:pt x="149" y="245"/>
                </a:lnTo>
                <a:close/>
                <a:moveTo>
                  <a:pt x="352" y="234"/>
                </a:moveTo>
                <a:cubicBezTo>
                  <a:pt x="346" y="234"/>
                  <a:pt x="341" y="239"/>
                  <a:pt x="341" y="245"/>
                </a:cubicBezTo>
                <a:cubicBezTo>
                  <a:pt x="341" y="309"/>
                  <a:pt x="341" y="309"/>
                  <a:pt x="341" y="309"/>
                </a:cubicBezTo>
                <a:cubicBezTo>
                  <a:pt x="341" y="315"/>
                  <a:pt x="346" y="320"/>
                  <a:pt x="352" y="320"/>
                </a:cubicBezTo>
                <a:cubicBezTo>
                  <a:pt x="358" y="320"/>
                  <a:pt x="362" y="315"/>
                  <a:pt x="362" y="309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2" y="239"/>
                  <a:pt x="358" y="234"/>
                  <a:pt x="352" y="23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24"/>
                </a:moveTo>
                <a:cubicBezTo>
                  <a:pt x="384" y="153"/>
                  <a:pt x="326" y="96"/>
                  <a:pt x="256" y="96"/>
                </a:cubicBezTo>
                <a:cubicBezTo>
                  <a:pt x="185" y="96"/>
                  <a:pt x="128" y="153"/>
                  <a:pt x="128" y="224"/>
                </a:cubicBezTo>
                <a:cubicBezTo>
                  <a:pt x="128" y="309"/>
                  <a:pt x="128" y="309"/>
                  <a:pt x="128" y="309"/>
                </a:cubicBezTo>
                <a:cubicBezTo>
                  <a:pt x="128" y="327"/>
                  <a:pt x="142" y="341"/>
                  <a:pt x="160" y="341"/>
                </a:cubicBezTo>
                <a:cubicBezTo>
                  <a:pt x="177" y="341"/>
                  <a:pt x="192" y="327"/>
                  <a:pt x="192" y="309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77" y="213"/>
                  <a:pt x="160" y="213"/>
                </a:cubicBezTo>
                <a:cubicBezTo>
                  <a:pt x="156" y="213"/>
                  <a:pt x="153" y="214"/>
                  <a:pt x="149" y="215"/>
                </a:cubicBezTo>
                <a:cubicBezTo>
                  <a:pt x="154" y="160"/>
                  <a:pt x="200" y="117"/>
                  <a:pt x="256" y="117"/>
                </a:cubicBezTo>
                <a:cubicBezTo>
                  <a:pt x="312" y="117"/>
                  <a:pt x="357" y="160"/>
                  <a:pt x="362" y="215"/>
                </a:cubicBezTo>
                <a:cubicBezTo>
                  <a:pt x="359" y="214"/>
                  <a:pt x="355" y="213"/>
                  <a:pt x="352" y="213"/>
                </a:cubicBezTo>
                <a:cubicBezTo>
                  <a:pt x="334" y="213"/>
                  <a:pt x="320" y="227"/>
                  <a:pt x="320" y="245"/>
                </a:cubicBezTo>
                <a:cubicBezTo>
                  <a:pt x="320" y="309"/>
                  <a:pt x="320" y="309"/>
                  <a:pt x="320" y="309"/>
                </a:cubicBezTo>
                <a:cubicBezTo>
                  <a:pt x="320" y="327"/>
                  <a:pt x="334" y="341"/>
                  <a:pt x="352" y="341"/>
                </a:cubicBezTo>
                <a:cubicBezTo>
                  <a:pt x="355" y="341"/>
                  <a:pt x="357" y="341"/>
                  <a:pt x="360" y="340"/>
                </a:cubicBezTo>
                <a:cubicBezTo>
                  <a:pt x="351" y="373"/>
                  <a:pt x="321" y="387"/>
                  <a:pt x="289" y="392"/>
                </a:cubicBezTo>
                <a:cubicBezTo>
                  <a:pt x="287" y="381"/>
                  <a:pt x="274" y="373"/>
                  <a:pt x="256" y="373"/>
                </a:cubicBezTo>
                <a:cubicBezTo>
                  <a:pt x="236" y="373"/>
                  <a:pt x="222" y="382"/>
                  <a:pt x="222" y="394"/>
                </a:cubicBezTo>
                <a:cubicBezTo>
                  <a:pt x="222" y="407"/>
                  <a:pt x="236" y="416"/>
                  <a:pt x="256" y="416"/>
                </a:cubicBezTo>
                <a:cubicBezTo>
                  <a:pt x="338" y="416"/>
                  <a:pt x="384" y="382"/>
                  <a:pt x="384" y="320"/>
                </a:cubicBezTo>
                <a:lnTo>
                  <a:pt x="384" y="2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1" name="Group 233"/>
          <p:cNvGrpSpPr>
            <a:grpSpLocks noChangeAspect="1"/>
          </p:cNvGrpSpPr>
          <p:nvPr/>
        </p:nvGrpSpPr>
        <p:grpSpPr bwMode="auto">
          <a:xfrm>
            <a:off x="3945170" y="2913578"/>
            <a:ext cx="367041" cy="367041"/>
            <a:chOff x="3475" y="720"/>
            <a:chExt cx="340" cy="340"/>
          </a:xfrm>
          <a:solidFill>
            <a:schemeClr val="accent3"/>
          </a:solidFill>
        </p:grpSpPr>
        <p:sp>
          <p:nvSpPr>
            <p:cNvPr id="312" name="Freeform 234"/>
            <p:cNvSpPr>
              <a:spLocks noEditPoints="1"/>
            </p:cNvSpPr>
            <p:nvPr/>
          </p:nvSpPr>
          <p:spPr bwMode="auto">
            <a:xfrm>
              <a:off x="3560" y="784"/>
              <a:ext cx="170" cy="212"/>
            </a:xfrm>
            <a:custGeom>
              <a:avLst/>
              <a:gdLst>
                <a:gd name="T0" fmla="*/ 128 w 256"/>
                <a:gd name="T1" fmla="*/ 0 h 320"/>
                <a:gd name="T2" fmla="*/ 0 w 256"/>
                <a:gd name="T3" fmla="*/ 128 h 320"/>
                <a:gd name="T4" fmla="*/ 0 w 256"/>
                <a:gd name="T5" fmla="*/ 213 h 320"/>
                <a:gd name="T6" fmla="*/ 32 w 256"/>
                <a:gd name="T7" fmla="*/ 245 h 320"/>
                <a:gd name="T8" fmla="*/ 64 w 256"/>
                <a:gd name="T9" fmla="*/ 213 h 320"/>
                <a:gd name="T10" fmla="*/ 64 w 256"/>
                <a:gd name="T11" fmla="*/ 149 h 320"/>
                <a:gd name="T12" fmla="*/ 32 w 256"/>
                <a:gd name="T13" fmla="*/ 117 h 320"/>
                <a:gd name="T14" fmla="*/ 21 w 256"/>
                <a:gd name="T15" fmla="*/ 119 h 320"/>
                <a:gd name="T16" fmla="*/ 128 w 256"/>
                <a:gd name="T17" fmla="*/ 21 h 320"/>
                <a:gd name="T18" fmla="*/ 234 w 256"/>
                <a:gd name="T19" fmla="*/ 119 h 320"/>
                <a:gd name="T20" fmla="*/ 224 w 256"/>
                <a:gd name="T21" fmla="*/ 117 h 320"/>
                <a:gd name="T22" fmla="*/ 192 w 256"/>
                <a:gd name="T23" fmla="*/ 149 h 320"/>
                <a:gd name="T24" fmla="*/ 192 w 256"/>
                <a:gd name="T25" fmla="*/ 213 h 320"/>
                <a:gd name="T26" fmla="*/ 224 w 256"/>
                <a:gd name="T27" fmla="*/ 245 h 320"/>
                <a:gd name="T28" fmla="*/ 232 w 256"/>
                <a:gd name="T29" fmla="*/ 244 h 320"/>
                <a:gd name="T30" fmla="*/ 161 w 256"/>
                <a:gd name="T31" fmla="*/ 296 h 320"/>
                <a:gd name="T32" fmla="*/ 128 w 256"/>
                <a:gd name="T33" fmla="*/ 277 h 320"/>
                <a:gd name="T34" fmla="*/ 94 w 256"/>
                <a:gd name="T35" fmla="*/ 298 h 320"/>
                <a:gd name="T36" fmla="*/ 128 w 256"/>
                <a:gd name="T37" fmla="*/ 320 h 320"/>
                <a:gd name="T38" fmla="*/ 256 w 256"/>
                <a:gd name="T39" fmla="*/ 224 h 320"/>
                <a:gd name="T40" fmla="*/ 256 w 256"/>
                <a:gd name="T41" fmla="*/ 128 h 320"/>
                <a:gd name="T42" fmla="*/ 128 w 256"/>
                <a:gd name="T43" fmla="*/ 0 h 320"/>
                <a:gd name="T44" fmla="*/ 32 w 256"/>
                <a:gd name="T45" fmla="*/ 138 h 320"/>
                <a:gd name="T46" fmla="*/ 42 w 256"/>
                <a:gd name="T47" fmla="*/ 149 h 320"/>
                <a:gd name="T48" fmla="*/ 42 w 256"/>
                <a:gd name="T49" fmla="*/ 213 h 320"/>
                <a:gd name="T50" fmla="*/ 32 w 256"/>
                <a:gd name="T51" fmla="*/ 224 h 320"/>
                <a:gd name="T52" fmla="*/ 21 w 256"/>
                <a:gd name="T53" fmla="*/ 213 h 320"/>
                <a:gd name="T54" fmla="*/ 21 w 256"/>
                <a:gd name="T55" fmla="*/ 160 h 320"/>
                <a:gd name="T56" fmla="*/ 21 w 256"/>
                <a:gd name="T57" fmla="*/ 149 h 320"/>
                <a:gd name="T58" fmla="*/ 32 w 256"/>
                <a:gd name="T59" fmla="*/ 138 h 320"/>
                <a:gd name="T60" fmla="*/ 224 w 256"/>
                <a:gd name="T61" fmla="*/ 224 h 320"/>
                <a:gd name="T62" fmla="*/ 213 w 256"/>
                <a:gd name="T63" fmla="*/ 213 h 320"/>
                <a:gd name="T64" fmla="*/ 213 w 256"/>
                <a:gd name="T65" fmla="*/ 149 h 320"/>
                <a:gd name="T66" fmla="*/ 224 w 256"/>
                <a:gd name="T67" fmla="*/ 138 h 320"/>
                <a:gd name="T68" fmla="*/ 234 w 256"/>
                <a:gd name="T69" fmla="*/ 149 h 320"/>
                <a:gd name="T70" fmla="*/ 234 w 256"/>
                <a:gd name="T71" fmla="*/ 213 h 320"/>
                <a:gd name="T72" fmla="*/ 224 w 256"/>
                <a:gd name="T73" fmla="*/ 2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6" h="320">
                  <a:moveTo>
                    <a:pt x="128" y="0"/>
                  </a:moveTo>
                  <a:cubicBezTo>
                    <a:pt x="57" y="0"/>
                    <a:pt x="0" y="57"/>
                    <a:pt x="0" y="128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31"/>
                    <a:pt x="14" y="245"/>
                    <a:pt x="32" y="245"/>
                  </a:cubicBezTo>
                  <a:cubicBezTo>
                    <a:pt x="49" y="245"/>
                    <a:pt x="64" y="231"/>
                    <a:pt x="64" y="213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131"/>
                    <a:pt x="49" y="117"/>
                    <a:pt x="32" y="117"/>
                  </a:cubicBezTo>
                  <a:cubicBezTo>
                    <a:pt x="28" y="117"/>
                    <a:pt x="25" y="118"/>
                    <a:pt x="21" y="119"/>
                  </a:cubicBezTo>
                  <a:cubicBezTo>
                    <a:pt x="26" y="64"/>
                    <a:pt x="72" y="21"/>
                    <a:pt x="128" y="21"/>
                  </a:cubicBezTo>
                  <a:cubicBezTo>
                    <a:pt x="184" y="21"/>
                    <a:pt x="229" y="64"/>
                    <a:pt x="234" y="119"/>
                  </a:cubicBezTo>
                  <a:cubicBezTo>
                    <a:pt x="231" y="118"/>
                    <a:pt x="227" y="117"/>
                    <a:pt x="224" y="117"/>
                  </a:cubicBezTo>
                  <a:cubicBezTo>
                    <a:pt x="206" y="117"/>
                    <a:pt x="192" y="131"/>
                    <a:pt x="192" y="149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92" y="231"/>
                    <a:pt x="206" y="245"/>
                    <a:pt x="224" y="245"/>
                  </a:cubicBezTo>
                  <a:cubicBezTo>
                    <a:pt x="227" y="245"/>
                    <a:pt x="229" y="245"/>
                    <a:pt x="232" y="244"/>
                  </a:cubicBezTo>
                  <a:cubicBezTo>
                    <a:pt x="223" y="277"/>
                    <a:pt x="193" y="291"/>
                    <a:pt x="161" y="296"/>
                  </a:cubicBezTo>
                  <a:cubicBezTo>
                    <a:pt x="159" y="285"/>
                    <a:pt x="146" y="277"/>
                    <a:pt x="128" y="277"/>
                  </a:cubicBezTo>
                  <a:cubicBezTo>
                    <a:pt x="108" y="277"/>
                    <a:pt x="94" y="286"/>
                    <a:pt x="94" y="298"/>
                  </a:cubicBezTo>
                  <a:cubicBezTo>
                    <a:pt x="94" y="311"/>
                    <a:pt x="108" y="320"/>
                    <a:pt x="128" y="320"/>
                  </a:cubicBezTo>
                  <a:cubicBezTo>
                    <a:pt x="210" y="320"/>
                    <a:pt x="256" y="286"/>
                    <a:pt x="256" y="224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6" y="57"/>
                    <a:pt x="198" y="0"/>
                    <a:pt x="128" y="0"/>
                  </a:cubicBezTo>
                  <a:close/>
                  <a:moveTo>
                    <a:pt x="32" y="138"/>
                  </a:moveTo>
                  <a:cubicBezTo>
                    <a:pt x="38" y="138"/>
                    <a:pt x="42" y="143"/>
                    <a:pt x="42" y="149"/>
                  </a:cubicBezTo>
                  <a:cubicBezTo>
                    <a:pt x="42" y="213"/>
                    <a:pt x="42" y="213"/>
                    <a:pt x="42" y="213"/>
                  </a:cubicBezTo>
                  <a:cubicBezTo>
                    <a:pt x="42" y="219"/>
                    <a:pt x="38" y="224"/>
                    <a:pt x="32" y="224"/>
                  </a:cubicBezTo>
                  <a:cubicBezTo>
                    <a:pt x="26" y="224"/>
                    <a:pt x="21" y="219"/>
                    <a:pt x="21" y="213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143"/>
                    <a:pt x="26" y="138"/>
                    <a:pt x="32" y="138"/>
                  </a:cubicBezTo>
                  <a:close/>
                  <a:moveTo>
                    <a:pt x="224" y="224"/>
                  </a:moveTo>
                  <a:cubicBezTo>
                    <a:pt x="218" y="224"/>
                    <a:pt x="213" y="219"/>
                    <a:pt x="213" y="213"/>
                  </a:cubicBezTo>
                  <a:cubicBezTo>
                    <a:pt x="213" y="149"/>
                    <a:pt x="213" y="149"/>
                    <a:pt x="213" y="149"/>
                  </a:cubicBezTo>
                  <a:cubicBezTo>
                    <a:pt x="213" y="143"/>
                    <a:pt x="218" y="138"/>
                    <a:pt x="224" y="138"/>
                  </a:cubicBezTo>
                  <a:cubicBezTo>
                    <a:pt x="230" y="138"/>
                    <a:pt x="234" y="143"/>
                    <a:pt x="234" y="149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219"/>
                    <a:pt x="230" y="224"/>
                    <a:pt x="224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235"/>
            <p:cNvSpPr>
              <a:spLocks noEditPoints="1"/>
            </p:cNvSpPr>
            <p:nvPr/>
          </p:nvSpPr>
          <p:spPr bwMode="auto">
            <a:xfrm>
              <a:off x="3475" y="72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4" name="Group 887"/>
          <p:cNvGrpSpPr>
            <a:grpSpLocks noChangeAspect="1"/>
          </p:cNvGrpSpPr>
          <p:nvPr/>
        </p:nvGrpSpPr>
        <p:grpSpPr bwMode="auto">
          <a:xfrm>
            <a:off x="4442062" y="2913578"/>
            <a:ext cx="367041" cy="367041"/>
            <a:chOff x="3302" y="3789"/>
            <a:chExt cx="340" cy="340"/>
          </a:xfrm>
          <a:solidFill>
            <a:schemeClr val="accent4"/>
          </a:solidFill>
        </p:grpSpPr>
        <p:sp>
          <p:nvSpPr>
            <p:cNvPr id="315" name="Rectangle 888"/>
            <p:cNvSpPr>
              <a:spLocks noChangeArrowheads="1"/>
            </p:cNvSpPr>
            <p:nvPr/>
          </p:nvSpPr>
          <p:spPr bwMode="auto">
            <a:xfrm>
              <a:off x="3443" y="3889"/>
              <a:ext cx="58" cy="1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889"/>
            <p:cNvSpPr>
              <a:spLocks noEditPoints="1"/>
            </p:cNvSpPr>
            <p:nvPr/>
          </p:nvSpPr>
          <p:spPr bwMode="auto">
            <a:xfrm>
              <a:off x="3422" y="3867"/>
              <a:ext cx="100" cy="184"/>
            </a:xfrm>
            <a:custGeom>
              <a:avLst/>
              <a:gdLst>
                <a:gd name="T0" fmla="*/ 148 w 150"/>
                <a:gd name="T1" fmla="*/ 0 h 277"/>
                <a:gd name="T2" fmla="*/ 2 w 150"/>
                <a:gd name="T3" fmla="*/ 0 h 277"/>
                <a:gd name="T4" fmla="*/ 0 w 150"/>
                <a:gd name="T5" fmla="*/ 0 h 277"/>
                <a:gd name="T6" fmla="*/ 0 w 150"/>
                <a:gd name="T7" fmla="*/ 277 h 277"/>
                <a:gd name="T8" fmla="*/ 0 w 150"/>
                <a:gd name="T9" fmla="*/ 277 h 277"/>
                <a:gd name="T10" fmla="*/ 2 w 150"/>
                <a:gd name="T11" fmla="*/ 277 h 277"/>
                <a:gd name="T12" fmla="*/ 148 w 150"/>
                <a:gd name="T13" fmla="*/ 277 h 277"/>
                <a:gd name="T14" fmla="*/ 150 w 150"/>
                <a:gd name="T15" fmla="*/ 276 h 277"/>
                <a:gd name="T16" fmla="*/ 150 w 150"/>
                <a:gd name="T17" fmla="*/ 0 h 277"/>
                <a:gd name="T18" fmla="*/ 148 w 150"/>
                <a:gd name="T19" fmla="*/ 0 h 277"/>
                <a:gd name="T20" fmla="*/ 75 w 150"/>
                <a:gd name="T21" fmla="*/ 256 h 277"/>
                <a:gd name="T22" fmla="*/ 64 w 150"/>
                <a:gd name="T23" fmla="*/ 245 h 277"/>
                <a:gd name="T24" fmla="*/ 75 w 150"/>
                <a:gd name="T25" fmla="*/ 234 h 277"/>
                <a:gd name="T26" fmla="*/ 86 w 150"/>
                <a:gd name="T27" fmla="*/ 245 h 277"/>
                <a:gd name="T28" fmla="*/ 75 w 150"/>
                <a:gd name="T29" fmla="*/ 256 h 277"/>
                <a:gd name="T30" fmla="*/ 139 w 150"/>
                <a:gd name="T31" fmla="*/ 202 h 277"/>
                <a:gd name="T32" fmla="*/ 128 w 150"/>
                <a:gd name="T33" fmla="*/ 213 h 277"/>
                <a:gd name="T34" fmla="*/ 22 w 150"/>
                <a:gd name="T35" fmla="*/ 213 h 277"/>
                <a:gd name="T36" fmla="*/ 11 w 150"/>
                <a:gd name="T37" fmla="*/ 202 h 277"/>
                <a:gd name="T38" fmla="*/ 11 w 150"/>
                <a:gd name="T39" fmla="*/ 21 h 277"/>
                <a:gd name="T40" fmla="*/ 22 w 150"/>
                <a:gd name="T41" fmla="*/ 10 h 277"/>
                <a:gd name="T42" fmla="*/ 128 w 150"/>
                <a:gd name="T43" fmla="*/ 10 h 277"/>
                <a:gd name="T44" fmla="*/ 139 w 150"/>
                <a:gd name="T45" fmla="*/ 21 h 277"/>
                <a:gd name="T46" fmla="*/ 139 w 150"/>
                <a:gd name="T47" fmla="*/ 20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" h="277">
                  <a:moveTo>
                    <a:pt x="14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" y="277"/>
                    <a:pt x="1" y="277"/>
                    <a:pt x="2" y="277"/>
                  </a:cubicBezTo>
                  <a:cubicBezTo>
                    <a:pt x="148" y="277"/>
                    <a:pt x="148" y="277"/>
                    <a:pt x="148" y="277"/>
                  </a:cubicBezTo>
                  <a:cubicBezTo>
                    <a:pt x="149" y="277"/>
                    <a:pt x="150" y="277"/>
                    <a:pt x="150" y="276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0" y="0"/>
                    <a:pt x="149" y="0"/>
                    <a:pt x="148" y="0"/>
                  </a:cubicBezTo>
                  <a:close/>
                  <a:moveTo>
                    <a:pt x="75" y="256"/>
                  </a:moveTo>
                  <a:cubicBezTo>
                    <a:pt x="69" y="256"/>
                    <a:pt x="64" y="251"/>
                    <a:pt x="64" y="245"/>
                  </a:cubicBezTo>
                  <a:cubicBezTo>
                    <a:pt x="64" y="239"/>
                    <a:pt x="69" y="234"/>
                    <a:pt x="75" y="234"/>
                  </a:cubicBezTo>
                  <a:cubicBezTo>
                    <a:pt x="81" y="234"/>
                    <a:pt x="86" y="239"/>
                    <a:pt x="86" y="245"/>
                  </a:cubicBezTo>
                  <a:cubicBezTo>
                    <a:pt x="86" y="251"/>
                    <a:pt x="81" y="256"/>
                    <a:pt x="75" y="256"/>
                  </a:cubicBezTo>
                  <a:close/>
                  <a:moveTo>
                    <a:pt x="139" y="202"/>
                  </a:moveTo>
                  <a:cubicBezTo>
                    <a:pt x="139" y="208"/>
                    <a:pt x="134" y="213"/>
                    <a:pt x="128" y="213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16" y="213"/>
                    <a:pt x="11" y="208"/>
                    <a:pt x="11" y="202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4" y="10"/>
                    <a:pt x="139" y="15"/>
                    <a:pt x="139" y="21"/>
                  </a:cubicBezTo>
                  <a:lnTo>
                    <a:pt x="139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890"/>
            <p:cNvSpPr>
              <a:spLocks noEditPoints="1"/>
            </p:cNvSpPr>
            <p:nvPr/>
          </p:nvSpPr>
          <p:spPr bwMode="auto">
            <a:xfrm>
              <a:off x="3302" y="3789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52 w 512"/>
                <a:gd name="T11" fmla="*/ 395 h 512"/>
                <a:gd name="T12" fmla="*/ 329 w 512"/>
                <a:gd name="T13" fmla="*/ 416 h 512"/>
                <a:gd name="T14" fmla="*/ 183 w 512"/>
                <a:gd name="T15" fmla="*/ 416 h 512"/>
                <a:gd name="T16" fmla="*/ 160 w 512"/>
                <a:gd name="T17" fmla="*/ 395 h 512"/>
                <a:gd name="T18" fmla="*/ 160 w 512"/>
                <a:gd name="T19" fmla="*/ 118 h 512"/>
                <a:gd name="T20" fmla="*/ 183 w 512"/>
                <a:gd name="T21" fmla="*/ 96 h 512"/>
                <a:gd name="T22" fmla="*/ 329 w 512"/>
                <a:gd name="T23" fmla="*/ 96 h 512"/>
                <a:gd name="T24" fmla="*/ 352 w 512"/>
                <a:gd name="T25" fmla="*/ 118 h 512"/>
                <a:gd name="T26" fmla="*/ 352 w 512"/>
                <a:gd name="T27" fmla="*/ 39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352" y="395"/>
                  </a:moveTo>
                  <a:cubicBezTo>
                    <a:pt x="352" y="407"/>
                    <a:pt x="342" y="416"/>
                    <a:pt x="329" y="416"/>
                  </a:cubicBezTo>
                  <a:cubicBezTo>
                    <a:pt x="183" y="416"/>
                    <a:pt x="183" y="416"/>
                    <a:pt x="183" y="416"/>
                  </a:cubicBezTo>
                  <a:cubicBezTo>
                    <a:pt x="170" y="416"/>
                    <a:pt x="160" y="407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160" y="106"/>
                    <a:pt x="170" y="96"/>
                    <a:pt x="183" y="96"/>
                  </a:cubicBezTo>
                  <a:cubicBezTo>
                    <a:pt x="329" y="96"/>
                    <a:pt x="329" y="96"/>
                    <a:pt x="329" y="96"/>
                  </a:cubicBezTo>
                  <a:cubicBezTo>
                    <a:pt x="342" y="96"/>
                    <a:pt x="352" y="106"/>
                    <a:pt x="352" y="118"/>
                  </a:cubicBezTo>
                  <a:lnTo>
                    <a:pt x="352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8" name="Group 904"/>
          <p:cNvGrpSpPr>
            <a:grpSpLocks noChangeAspect="1"/>
          </p:cNvGrpSpPr>
          <p:nvPr/>
        </p:nvGrpSpPr>
        <p:grpSpPr bwMode="auto">
          <a:xfrm>
            <a:off x="4938954" y="2913578"/>
            <a:ext cx="368121" cy="367041"/>
            <a:chOff x="3518" y="3551"/>
            <a:chExt cx="341" cy="340"/>
          </a:xfrm>
          <a:solidFill>
            <a:schemeClr val="accent4"/>
          </a:solidFill>
        </p:grpSpPr>
        <p:sp>
          <p:nvSpPr>
            <p:cNvPr id="319" name="Freeform 905"/>
            <p:cNvSpPr>
              <a:spLocks noEditPoints="1"/>
            </p:cNvSpPr>
            <p:nvPr/>
          </p:nvSpPr>
          <p:spPr bwMode="auto">
            <a:xfrm>
              <a:off x="3518" y="3551"/>
              <a:ext cx="341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906"/>
            <p:cNvSpPr>
              <a:spLocks noEditPoints="1"/>
            </p:cNvSpPr>
            <p:nvPr/>
          </p:nvSpPr>
          <p:spPr bwMode="auto">
            <a:xfrm>
              <a:off x="3625" y="3615"/>
              <a:ext cx="127" cy="212"/>
            </a:xfrm>
            <a:custGeom>
              <a:avLst/>
              <a:gdLst>
                <a:gd name="T0" fmla="*/ 107 w 192"/>
                <a:gd name="T1" fmla="*/ 267 h 320"/>
                <a:gd name="T2" fmla="*/ 96 w 192"/>
                <a:gd name="T3" fmla="*/ 278 h 320"/>
                <a:gd name="T4" fmla="*/ 85 w 192"/>
                <a:gd name="T5" fmla="*/ 267 h 320"/>
                <a:gd name="T6" fmla="*/ 96 w 192"/>
                <a:gd name="T7" fmla="*/ 256 h 320"/>
                <a:gd name="T8" fmla="*/ 107 w 192"/>
                <a:gd name="T9" fmla="*/ 267 h 320"/>
                <a:gd name="T10" fmla="*/ 192 w 192"/>
                <a:gd name="T11" fmla="*/ 22 h 320"/>
                <a:gd name="T12" fmla="*/ 192 w 192"/>
                <a:gd name="T13" fmla="*/ 299 h 320"/>
                <a:gd name="T14" fmla="*/ 169 w 192"/>
                <a:gd name="T15" fmla="*/ 320 h 320"/>
                <a:gd name="T16" fmla="*/ 23 w 192"/>
                <a:gd name="T17" fmla="*/ 320 h 320"/>
                <a:gd name="T18" fmla="*/ 0 w 192"/>
                <a:gd name="T19" fmla="*/ 299 h 320"/>
                <a:gd name="T20" fmla="*/ 0 w 192"/>
                <a:gd name="T21" fmla="*/ 22 h 320"/>
                <a:gd name="T22" fmla="*/ 23 w 192"/>
                <a:gd name="T23" fmla="*/ 0 h 320"/>
                <a:gd name="T24" fmla="*/ 169 w 192"/>
                <a:gd name="T25" fmla="*/ 0 h 320"/>
                <a:gd name="T26" fmla="*/ 192 w 192"/>
                <a:gd name="T27" fmla="*/ 22 h 320"/>
                <a:gd name="T28" fmla="*/ 171 w 192"/>
                <a:gd name="T29" fmla="*/ 298 h 320"/>
                <a:gd name="T30" fmla="*/ 171 w 192"/>
                <a:gd name="T31" fmla="*/ 22 h 320"/>
                <a:gd name="T32" fmla="*/ 169 w 192"/>
                <a:gd name="T33" fmla="*/ 22 h 320"/>
                <a:gd name="T34" fmla="*/ 23 w 192"/>
                <a:gd name="T35" fmla="*/ 22 h 320"/>
                <a:gd name="T36" fmla="*/ 21 w 192"/>
                <a:gd name="T37" fmla="*/ 22 h 320"/>
                <a:gd name="T38" fmla="*/ 21 w 192"/>
                <a:gd name="T39" fmla="*/ 299 h 320"/>
                <a:gd name="T40" fmla="*/ 21 w 192"/>
                <a:gd name="T41" fmla="*/ 299 h 320"/>
                <a:gd name="T42" fmla="*/ 23 w 192"/>
                <a:gd name="T43" fmla="*/ 299 h 320"/>
                <a:gd name="T44" fmla="*/ 169 w 192"/>
                <a:gd name="T45" fmla="*/ 299 h 320"/>
                <a:gd name="T46" fmla="*/ 171 w 192"/>
                <a:gd name="T47" fmla="*/ 298 h 320"/>
                <a:gd name="T48" fmla="*/ 160 w 192"/>
                <a:gd name="T49" fmla="*/ 43 h 320"/>
                <a:gd name="T50" fmla="*/ 160 w 192"/>
                <a:gd name="T51" fmla="*/ 224 h 320"/>
                <a:gd name="T52" fmla="*/ 149 w 192"/>
                <a:gd name="T53" fmla="*/ 235 h 320"/>
                <a:gd name="T54" fmla="*/ 43 w 192"/>
                <a:gd name="T55" fmla="*/ 235 h 320"/>
                <a:gd name="T56" fmla="*/ 32 w 192"/>
                <a:gd name="T57" fmla="*/ 224 h 320"/>
                <a:gd name="T58" fmla="*/ 32 w 192"/>
                <a:gd name="T59" fmla="*/ 43 h 320"/>
                <a:gd name="T60" fmla="*/ 43 w 192"/>
                <a:gd name="T61" fmla="*/ 32 h 320"/>
                <a:gd name="T62" fmla="*/ 149 w 192"/>
                <a:gd name="T63" fmla="*/ 32 h 320"/>
                <a:gd name="T64" fmla="*/ 160 w 192"/>
                <a:gd name="T65" fmla="*/ 43 h 320"/>
                <a:gd name="T66" fmla="*/ 139 w 192"/>
                <a:gd name="T67" fmla="*/ 54 h 320"/>
                <a:gd name="T68" fmla="*/ 53 w 192"/>
                <a:gd name="T69" fmla="*/ 54 h 320"/>
                <a:gd name="T70" fmla="*/ 53 w 192"/>
                <a:gd name="T71" fmla="*/ 214 h 320"/>
                <a:gd name="T72" fmla="*/ 139 w 192"/>
                <a:gd name="T73" fmla="*/ 214 h 320"/>
                <a:gd name="T74" fmla="*/ 139 w 192"/>
                <a:gd name="T75" fmla="*/ 5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320">
                  <a:moveTo>
                    <a:pt x="107" y="267"/>
                  </a:moveTo>
                  <a:cubicBezTo>
                    <a:pt x="107" y="273"/>
                    <a:pt x="102" y="278"/>
                    <a:pt x="96" y="278"/>
                  </a:cubicBezTo>
                  <a:cubicBezTo>
                    <a:pt x="90" y="278"/>
                    <a:pt x="85" y="273"/>
                    <a:pt x="85" y="267"/>
                  </a:cubicBezTo>
                  <a:cubicBezTo>
                    <a:pt x="85" y="261"/>
                    <a:pt x="90" y="256"/>
                    <a:pt x="96" y="256"/>
                  </a:cubicBezTo>
                  <a:cubicBezTo>
                    <a:pt x="102" y="256"/>
                    <a:pt x="107" y="261"/>
                    <a:pt x="107" y="267"/>
                  </a:cubicBezTo>
                  <a:close/>
                  <a:moveTo>
                    <a:pt x="192" y="22"/>
                  </a:moveTo>
                  <a:cubicBezTo>
                    <a:pt x="192" y="299"/>
                    <a:pt x="192" y="299"/>
                    <a:pt x="192" y="299"/>
                  </a:cubicBezTo>
                  <a:cubicBezTo>
                    <a:pt x="192" y="311"/>
                    <a:pt x="182" y="320"/>
                    <a:pt x="169" y="320"/>
                  </a:cubicBezTo>
                  <a:cubicBezTo>
                    <a:pt x="23" y="320"/>
                    <a:pt x="23" y="320"/>
                    <a:pt x="23" y="320"/>
                  </a:cubicBezTo>
                  <a:cubicBezTo>
                    <a:pt x="10" y="320"/>
                    <a:pt x="0" y="311"/>
                    <a:pt x="0" y="29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82" y="0"/>
                    <a:pt x="192" y="10"/>
                    <a:pt x="192" y="22"/>
                  </a:cubicBezTo>
                  <a:close/>
                  <a:moveTo>
                    <a:pt x="171" y="298"/>
                  </a:moveTo>
                  <a:cubicBezTo>
                    <a:pt x="171" y="22"/>
                    <a:pt x="171" y="22"/>
                    <a:pt x="171" y="22"/>
                  </a:cubicBezTo>
                  <a:cubicBezTo>
                    <a:pt x="171" y="22"/>
                    <a:pt x="170" y="22"/>
                    <a:pt x="169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2" y="22"/>
                    <a:pt x="21" y="22"/>
                    <a:pt x="21" y="22"/>
                  </a:cubicBezTo>
                  <a:cubicBezTo>
                    <a:pt x="21" y="299"/>
                    <a:pt x="21" y="299"/>
                    <a:pt x="21" y="299"/>
                  </a:cubicBezTo>
                  <a:cubicBezTo>
                    <a:pt x="21" y="299"/>
                    <a:pt x="21" y="299"/>
                    <a:pt x="21" y="299"/>
                  </a:cubicBezTo>
                  <a:cubicBezTo>
                    <a:pt x="22" y="299"/>
                    <a:pt x="22" y="299"/>
                    <a:pt x="23" y="299"/>
                  </a:cubicBezTo>
                  <a:cubicBezTo>
                    <a:pt x="169" y="299"/>
                    <a:pt x="169" y="299"/>
                    <a:pt x="169" y="299"/>
                  </a:cubicBezTo>
                  <a:cubicBezTo>
                    <a:pt x="170" y="299"/>
                    <a:pt x="171" y="299"/>
                    <a:pt x="171" y="298"/>
                  </a:cubicBezTo>
                  <a:close/>
                  <a:moveTo>
                    <a:pt x="160" y="43"/>
                  </a:moveTo>
                  <a:cubicBezTo>
                    <a:pt x="160" y="224"/>
                    <a:pt x="160" y="224"/>
                    <a:pt x="160" y="224"/>
                  </a:cubicBezTo>
                  <a:cubicBezTo>
                    <a:pt x="160" y="230"/>
                    <a:pt x="155" y="235"/>
                    <a:pt x="149" y="235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37" y="235"/>
                    <a:pt x="32" y="230"/>
                    <a:pt x="32" y="224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37"/>
                    <a:pt x="37" y="32"/>
                    <a:pt x="43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55" y="32"/>
                    <a:pt x="160" y="37"/>
                    <a:pt x="160" y="43"/>
                  </a:cubicBezTo>
                  <a:close/>
                  <a:moveTo>
                    <a:pt x="139" y="54"/>
                  </a:moveTo>
                  <a:cubicBezTo>
                    <a:pt x="53" y="54"/>
                    <a:pt x="53" y="54"/>
                    <a:pt x="53" y="54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139" y="214"/>
                    <a:pt x="139" y="214"/>
                    <a:pt x="139" y="214"/>
                  </a:cubicBezTo>
                  <a:lnTo>
                    <a:pt x="139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1" name="Freeform 486"/>
          <p:cNvSpPr>
            <a:spLocks noChangeAspect="1" noEditPoints="1"/>
          </p:cNvSpPr>
          <p:nvPr/>
        </p:nvSpPr>
        <p:spPr bwMode="auto">
          <a:xfrm>
            <a:off x="5436926" y="2913578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17 w 512"/>
              <a:gd name="T11" fmla="*/ 160 h 512"/>
              <a:gd name="T12" fmla="*/ 128 w 512"/>
              <a:gd name="T13" fmla="*/ 149 h 512"/>
              <a:gd name="T14" fmla="*/ 384 w 512"/>
              <a:gd name="T15" fmla="*/ 149 h 512"/>
              <a:gd name="T16" fmla="*/ 394 w 512"/>
              <a:gd name="T17" fmla="*/ 160 h 512"/>
              <a:gd name="T18" fmla="*/ 394 w 512"/>
              <a:gd name="T19" fmla="*/ 309 h 512"/>
              <a:gd name="T20" fmla="*/ 384 w 512"/>
              <a:gd name="T21" fmla="*/ 320 h 512"/>
              <a:gd name="T22" fmla="*/ 128 w 512"/>
              <a:gd name="T23" fmla="*/ 320 h 512"/>
              <a:gd name="T24" fmla="*/ 117 w 512"/>
              <a:gd name="T25" fmla="*/ 309 h 512"/>
              <a:gd name="T26" fmla="*/ 117 w 512"/>
              <a:gd name="T27" fmla="*/ 160 h 512"/>
              <a:gd name="T28" fmla="*/ 405 w 512"/>
              <a:gd name="T29" fmla="*/ 362 h 512"/>
              <a:gd name="T30" fmla="*/ 106 w 512"/>
              <a:gd name="T31" fmla="*/ 362 h 512"/>
              <a:gd name="T32" fmla="*/ 96 w 512"/>
              <a:gd name="T33" fmla="*/ 352 h 512"/>
              <a:gd name="T34" fmla="*/ 106 w 512"/>
              <a:gd name="T35" fmla="*/ 341 h 512"/>
              <a:gd name="T36" fmla="*/ 405 w 512"/>
              <a:gd name="T37" fmla="*/ 341 h 512"/>
              <a:gd name="T38" fmla="*/ 416 w 512"/>
              <a:gd name="T39" fmla="*/ 352 h 512"/>
              <a:gd name="T40" fmla="*/ 405 w 512"/>
              <a:gd name="T41" fmla="*/ 362 h 512"/>
              <a:gd name="T42" fmla="*/ 373 w 512"/>
              <a:gd name="T43" fmla="*/ 298 h 512"/>
              <a:gd name="T44" fmla="*/ 138 w 512"/>
              <a:gd name="T45" fmla="*/ 298 h 512"/>
              <a:gd name="T46" fmla="*/ 138 w 512"/>
              <a:gd name="T47" fmla="*/ 170 h 512"/>
              <a:gd name="T48" fmla="*/ 373 w 512"/>
              <a:gd name="T49" fmla="*/ 170 h 512"/>
              <a:gd name="T50" fmla="*/ 373 w 512"/>
              <a:gd name="T51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160"/>
                </a:moveTo>
                <a:cubicBezTo>
                  <a:pt x="117" y="154"/>
                  <a:pt x="122" y="149"/>
                  <a:pt x="128" y="149"/>
                </a:cubicBezTo>
                <a:cubicBezTo>
                  <a:pt x="384" y="149"/>
                  <a:pt x="384" y="149"/>
                  <a:pt x="384" y="149"/>
                </a:cubicBezTo>
                <a:cubicBezTo>
                  <a:pt x="390" y="149"/>
                  <a:pt x="394" y="154"/>
                  <a:pt x="394" y="160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315"/>
                  <a:pt x="390" y="320"/>
                  <a:pt x="384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2" y="320"/>
                  <a:pt x="117" y="315"/>
                  <a:pt x="117" y="309"/>
                </a:cubicBezTo>
                <a:lnTo>
                  <a:pt x="117" y="160"/>
                </a:lnTo>
                <a:close/>
                <a:moveTo>
                  <a:pt x="405" y="362"/>
                </a:moveTo>
                <a:cubicBezTo>
                  <a:pt x="106" y="362"/>
                  <a:pt x="106" y="362"/>
                  <a:pt x="106" y="362"/>
                </a:cubicBezTo>
                <a:cubicBezTo>
                  <a:pt x="100" y="362"/>
                  <a:pt x="96" y="358"/>
                  <a:pt x="96" y="352"/>
                </a:cubicBezTo>
                <a:cubicBezTo>
                  <a:pt x="96" y="346"/>
                  <a:pt x="100" y="341"/>
                  <a:pt x="106" y="341"/>
                </a:cubicBezTo>
                <a:cubicBezTo>
                  <a:pt x="405" y="341"/>
                  <a:pt x="405" y="341"/>
                  <a:pt x="405" y="341"/>
                </a:cubicBezTo>
                <a:cubicBezTo>
                  <a:pt x="411" y="341"/>
                  <a:pt x="416" y="346"/>
                  <a:pt x="416" y="352"/>
                </a:cubicBezTo>
                <a:cubicBezTo>
                  <a:pt x="416" y="358"/>
                  <a:pt x="411" y="362"/>
                  <a:pt x="405" y="362"/>
                </a:cubicBezTo>
                <a:close/>
                <a:moveTo>
                  <a:pt x="373" y="298"/>
                </a:moveTo>
                <a:cubicBezTo>
                  <a:pt x="138" y="298"/>
                  <a:pt x="138" y="298"/>
                  <a:pt x="138" y="298"/>
                </a:cubicBezTo>
                <a:cubicBezTo>
                  <a:pt x="138" y="170"/>
                  <a:pt x="138" y="170"/>
                  <a:pt x="138" y="170"/>
                </a:cubicBezTo>
                <a:cubicBezTo>
                  <a:pt x="373" y="170"/>
                  <a:pt x="373" y="170"/>
                  <a:pt x="373" y="170"/>
                </a:cubicBezTo>
                <a:lnTo>
                  <a:pt x="373" y="29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2" name="Group 489"/>
          <p:cNvGrpSpPr>
            <a:grpSpLocks noChangeAspect="1"/>
          </p:cNvGrpSpPr>
          <p:nvPr/>
        </p:nvGrpSpPr>
        <p:grpSpPr bwMode="auto">
          <a:xfrm>
            <a:off x="5933818" y="2913578"/>
            <a:ext cx="367041" cy="367041"/>
            <a:chOff x="2920" y="2264"/>
            <a:chExt cx="340" cy="340"/>
          </a:xfrm>
          <a:solidFill>
            <a:schemeClr val="accent6"/>
          </a:solidFill>
        </p:grpSpPr>
        <p:sp>
          <p:nvSpPr>
            <p:cNvPr id="323" name="Freeform 490"/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491"/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492"/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6" name="Freeform 956"/>
          <p:cNvSpPr>
            <a:spLocks noChangeAspect="1" noEditPoints="1"/>
          </p:cNvSpPr>
          <p:nvPr/>
        </p:nvSpPr>
        <p:spPr bwMode="auto">
          <a:xfrm>
            <a:off x="6430710" y="2913574"/>
            <a:ext cx="367041" cy="368120"/>
          </a:xfrm>
          <a:custGeom>
            <a:avLst/>
            <a:gdLst>
              <a:gd name="T0" fmla="*/ 320 w 512"/>
              <a:gd name="T1" fmla="*/ 266 h 512"/>
              <a:gd name="T2" fmla="*/ 320 w 512"/>
              <a:gd name="T3" fmla="*/ 245 h 512"/>
              <a:gd name="T4" fmla="*/ 256 w 512"/>
              <a:gd name="T5" fmla="*/ 309 h 512"/>
              <a:gd name="T6" fmla="*/ 256 w 512"/>
              <a:gd name="T7" fmla="*/ 330 h 512"/>
              <a:gd name="T8" fmla="*/ 256 w 512"/>
              <a:gd name="T9" fmla="*/ 309 h 512"/>
              <a:gd name="T10" fmla="*/ 181 w 512"/>
              <a:gd name="T11" fmla="*/ 256 h 512"/>
              <a:gd name="T12" fmla="*/ 202 w 512"/>
              <a:gd name="T13" fmla="*/ 256 h 512"/>
              <a:gd name="T14" fmla="*/ 512 w 512"/>
              <a:gd name="T15" fmla="*/ 256 h 512"/>
              <a:gd name="T16" fmla="*/ 0 w 512"/>
              <a:gd name="T17" fmla="*/ 256 h 512"/>
              <a:gd name="T18" fmla="*/ 512 w 512"/>
              <a:gd name="T19" fmla="*/ 256 h 512"/>
              <a:gd name="T20" fmla="*/ 394 w 512"/>
              <a:gd name="T21" fmla="*/ 256 h 512"/>
              <a:gd name="T22" fmla="*/ 117 w 512"/>
              <a:gd name="T23" fmla="*/ 256 h 512"/>
              <a:gd name="T24" fmla="*/ 256 w 512"/>
              <a:gd name="T25" fmla="*/ 394 h 512"/>
              <a:gd name="T26" fmla="*/ 356 w 512"/>
              <a:gd name="T27" fmla="*/ 413 h 512"/>
              <a:gd name="T28" fmla="*/ 371 w 512"/>
              <a:gd name="T29" fmla="*/ 412 h 512"/>
              <a:gd name="T30" fmla="*/ 322 w 512"/>
              <a:gd name="T31" fmla="*/ 377 h 512"/>
              <a:gd name="T32" fmla="*/ 266 w 512"/>
              <a:gd name="T33" fmla="*/ 192 h 512"/>
              <a:gd name="T34" fmla="*/ 245 w 512"/>
              <a:gd name="T35" fmla="*/ 192 h 512"/>
              <a:gd name="T36" fmla="*/ 373 w 512"/>
              <a:gd name="T37" fmla="*/ 256 h 512"/>
              <a:gd name="T38" fmla="*/ 138 w 512"/>
              <a:gd name="T39" fmla="*/ 256 h 512"/>
              <a:gd name="T40" fmla="*/ 373 w 512"/>
              <a:gd name="T41" fmla="*/ 256 h 512"/>
              <a:gd name="T42" fmla="*/ 256 w 512"/>
              <a:gd name="T43" fmla="*/ 224 h 512"/>
              <a:gd name="T44" fmla="*/ 256 w 512"/>
              <a:gd name="T45" fmla="*/ 160 h 512"/>
              <a:gd name="T46" fmla="*/ 256 w 512"/>
              <a:gd name="T47" fmla="*/ 245 h 512"/>
              <a:gd name="T48" fmla="*/ 256 w 512"/>
              <a:gd name="T49" fmla="*/ 266 h 512"/>
              <a:gd name="T50" fmla="*/ 256 w 512"/>
              <a:gd name="T51" fmla="*/ 245 h 512"/>
              <a:gd name="T52" fmla="*/ 192 w 512"/>
              <a:gd name="T53" fmla="*/ 224 h 512"/>
              <a:gd name="T54" fmla="*/ 192 w 512"/>
              <a:gd name="T55" fmla="*/ 288 h 512"/>
              <a:gd name="T56" fmla="*/ 288 w 512"/>
              <a:gd name="T57" fmla="*/ 320 h 512"/>
              <a:gd name="T58" fmla="*/ 224 w 512"/>
              <a:gd name="T59" fmla="*/ 320 h 512"/>
              <a:gd name="T60" fmla="*/ 288 w 512"/>
              <a:gd name="T61" fmla="*/ 320 h 512"/>
              <a:gd name="T62" fmla="*/ 320 w 512"/>
              <a:gd name="T63" fmla="*/ 224 h 512"/>
              <a:gd name="T64" fmla="*/ 320 w 512"/>
              <a:gd name="T65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30" y="256"/>
                </a:moveTo>
                <a:cubicBezTo>
                  <a:pt x="330" y="262"/>
                  <a:pt x="326" y="266"/>
                  <a:pt x="320" y="266"/>
                </a:cubicBezTo>
                <a:cubicBezTo>
                  <a:pt x="314" y="266"/>
                  <a:pt x="309" y="262"/>
                  <a:pt x="309" y="256"/>
                </a:cubicBez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lose/>
                <a:moveTo>
                  <a:pt x="256" y="309"/>
                </a:moveTo>
                <a:cubicBezTo>
                  <a:pt x="250" y="309"/>
                  <a:pt x="245" y="314"/>
                  <a:pt x="245" y="320"/>
                </a:cubicBezTo>
                <a:cubicBezTo>
                  <a:pt x="245" y="326"/>
                  <a:pt x="250" y="330"/>
                  <a:pt x="256" y="330"/>
                </a:cubicBezTo>
                <a:cubicBezTo>
                  <a:pt x="262" y="330"/>
                  <a:pt x="266" y="326"/>
                  <a:pt x="266" y="320"/>
                </a:cubicBezTo>
                <a:cubicBezTo>
                  <a:pt x="266" y="314"/>
                  <a:pt x="262" y="309"/>
                  <a:pt x="256" y="309"/>
                </a:cubicBezTo>
                <a:close/>
                <a:moveTo>
                  <a:pt x="192" y="245"/>
                </a:moveTo>
                <a:cubicBezTo>
                  <a:pt x="186" y="245"/>
                  <a:pt x="181" y="250"/>
                  <a:pt x="181" y="256"/>
                </a:cubicBezTo>
                <a:cubicBezTo>
                  <a:pt x="181" y="262"/>
                  <a:pt x="186" y="266"/>
                  <a:pt x="192" y="266"/>
                </a:cubicBezTo>
                <a:cubicBezTo>
                  <a:pt x="198" y="266"/>
                  <a:pt x="202" y="262"/>
                  <a:pt x="202" y="256"/>
                </a:cubicBezTo>
                <a:cubicBezTo>
                  <a:pt x="202" y="250"/>
                  <a:pt x="198" y="245"/>
                  <a:pt x="192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2" y="377"/>
                </a:moveTo>
                <a:cubicBezTo>
                  <a:pt x="365" y="354"/>
                  <a:pt x="394" y="308"/>
                  <a:pt x="394" y="256"/>
                </a:cubicBezTo>
                <a:cubicBezTo>
                  <a:pt x="394" y="179"/>
                  <a:pt x="332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332"/>
                  <a:pt x="179" y="394"/>
                  <a:pt x="256" y="394"/>
                </a:cubicBezTo>
                <a:cubicBezTo>
                  <a:pt x="256" y="394"/>
                  <a:pt x="256" y="394"/>
                  <a:pt x="256" y="394"/>
                </a:cubicBezTo>
                <a:cubicBezTo>
                  <a:pt x="256" y="394"/>
                  <a:pt x="256" y="394"/>
                  <a:pt x="256" y="394"/>
                </a:cubicBezTo>
                <a:cubicBezTo>
                  <a:pt x="276" y="394"/>
                  <a:pt x="332" y="394"/>
                  <a:pt x="356" y="413"/>
                </a:cubicBezTo>
                <a:cubicBezTo>
                  <a:pt x="358" y="415"/>
                  <a:pt x="360" y="416"/>
                  <a:pt x="362" y="416"/>
                </a:cubicBezTo>
                <a:cubicBezTo>
                  <a:pt x="365" y="416"/>
                  <a:pt x="369" y="414"/>
                  <a:pt x="371" y="412"/>
                </a:cubicBezTo>
                <a:cubicBezTo>
                  <a:pt x="374" y="407"/>
                  <a:pt x="374" y="400"/>
                  <a:pt x="369" y="397"/>
                </a:cubicBezTo>
                <a:cubicBezTo>
                  <a:pt x="357" y="387"/>
                  <a:pt x="339" y="381"/>
                  <a:pt x="322" y="377"/>
                </a:cubicBezTo>
                <a:close/>
                <a:moveTo>
                  <a:pt x="256" y="202"/>
                </a:moveTo>
                <a:cubicBezTo>
                  <a:pt x="262" y="202"/>
                  <a:pt x="266" y="198"/>
                  <a:pt x="266" y="192"/>
                </a:cubicBezTo>
                <a:cubicBezTo>
                  <a:pt x="266" y="186"/>
                  <a:pt x="262" y="181"/>
                  <a:pt x="256" y="181"/>
                </a:cubicBezTo>
                <a:cubicBezTo>
                  <a:pt x="250" y="181"/>
                  <a:pt x="245" y="186"/>
                  <a:pt x="245" y="192"/>
                </a:cubicBezTo>
                <a:cubicBezTo>
                  <a:pt x="245" y="198"/>
                  <a:pt x="250" y="202"/>
                  <a:pt x="256" y="202"/>
                </a:cubicBezTo>
                <a:close/>
                <a:moveTo>
                  <a:pt x="373" y="256"/>
                </a:moveTo>
                <a:cubicBezTo>
                  <a:pt x="373" y="320"/>
                  <a:pt x="320" y="373"/>
                  <a:pt x="256" y="373"/>
                </a:cubicBezTo>
                <a:cubicBezTo>
                  <a:pt x="191" y="373"/>
                  <a:pt x="138" y="320"/>
                  <a:pt x="138" y="256"/>
                </a:cubicBezTo>
                <a:cubicBezTo>
                  <a:pt x="138" y="191"/>
                  <a:pt x="191" y="138"/>
                  <a:pt x="256" y="138"/>
                </a:cubicBezTo>
                <a:cubicBezTo>
                  <a:pt x="320" y="138"/>
                  <a:pt x="373" y="191"/>
                  <a:pt x="373" y="256"/>
                </a:cubicBezTo>
                <a:close/>
                <a:moveTo>
                  <a:pt x="224" y="192"/>
                </a:moveTo>
                <a:cubicBezTo>
                  <a:pt x="224" y="209"/>
                  <a:pt x="238" y="224"/>
                  <a:pt x="256" y="224"/>
                </a:cubicBezTo>
                <a:cubicBezTo>
                  <a:pt x="273" y="224"/>
                  <a:pt x="288" y="209"/>
                  <a:pt x="288" y="192"/>
                </a:cubicBezTo>
                <a:cubicBezTo>
                  <a:pt x="288" y="174"/>
                  <a:pt x="273" y="160"/>
                  <a:pt x="256" y="160"/>
                </a:cubicBezTo>
                <a:cubicBezTo>
                  <a:pt x="238" y="160"/>
                  <a:pt x="224" y="174"/>
                  <a:pt x="224" y="192"/>
                </a:cubicBezTo>
                <a:close/>
                <a:moveTo>
                  <a:pt x="256" y="245"/>
                </a:moveTo>
                <a:cubicBezTo>
                  <a:pt x="250" y="245"/>
                  <a:pt x="245" y="250"/>
                  <a:pt x="245" y="256"/>
                </a:cubicBezTo>
                <a:cubicBezTo>
                  <a:pt x="245" y="262"/>
                  <a:pt x="250" y="266"/>
                  <a:pt x="256" y="266"/>
                </a:cubicBezTo>
                <a:cubicBezTo>
                  <a:pt x="262" y="266"/>
                  <a:pt x="266" y="262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lose/>
                <a:moveTo>
                  <a:pt x="224" y="256"/>
                </a:moveTo>
                <a:cubicBezTo>
                  <a:pt x="224" y="238"/>
                  <a:pt x="209" y="224"/>
                  <a:pt x="192" y="224"/>
                </a:cubicBezTo>
                <a:cubicBezTo>
                  <a:pt x="174" y="224"/>
                  <a:pt x="160" y="238"/>
                  <a:pt x="160" y="256"/>
                </a:cubicBezTo>
                <a:cubicBezTo>
                  <a:pt x="160" y="273"/>
                  <a:pt x="174" y="288"/>
                  <a:pt x="192" y="288"/>
                </a:cubicBezTo>
                <a:cubicBezTo>
                  <a:pt x="209" y="288"/>
                  <a:pt x="224" y="273"/>
                  <a:pt x="224" y="256"/>
                </a:cubicBezTo>
                <a:close/>
                <a:moveTo>
                  <a:pt x="288" y="320"/>
                </a:moveTo>
                <a:cubicBezTo>
                  <a:pt x="288" y="302"/>
                  <a:pt x="273" y="288"/>
                  <a:pt x="256" y="288"/>
                </a:cubicBezTo>
                <a:cubicBezTo>
                  <a:pt x="238" y="288"/>
                  <a:pt x="224" y="302"/>
                  <a:pt x="224" y="320"/>
                </a:cubicBezTo>
                <a:cubicBezTo>
                  <a:pt x="224" y="337"/>
                  <a:pt x="238" y="352"/>
                  <a:pt x="256" y="352"/>
                </a:cubicBezTo>
                <a:cubicBezTo>
                  <a:pt x="273" y="352"/>
                  <a:pt x="288" y="337"/>
                  <a:pt x="288" y="320"/>
                </a:cubicBezTo>
                <a:close/>
                <a:moveTo>
                  <a:pt x="352" y="256"/>
                </a:moveTo>
                <a:cubicBezTo>
                  <a:pt x="352" y="238"/>
                  <a:pt x="337" y="224"/>
                  <a:pt x="320" y="224"/>
                </a:cubicBezTo>
                <a:cubicBezTo>
                  <a:pt x="302" y="224"/>
                  <a:pt x="288" y="238"/>
                  <a:pt x="288" y="256"/>
                </a:cubicBezTo>
                <a:cubicBezTo>
                  <a:pt x="288" y="273"/>
                  <a:pt x="302" y="288"/>
                  <a:pt x="320" y="288"/>
                </a:cubicBezTo>
                <a:cubicBezTo>
                  <a:pt x="337" y="288"/>
                  <a:pt x="352" y="273"/>
                  <a:pt x="352" y="2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7" name="Group 959"/>
          <p:cNvGrpSpPr>
            <a:grpSpLocks noChangeAspect="1"/>
          </p:cNvGrpSpPr>
          <p:nvPr/>
        </p:nvGrpSpPr>
        <p:grpSpPr bwMode="auto">
          <a:xfrm>
            <a:off x="6927602" y="2913578"/>
            <a:ext cx="367041" cy="367041"/>
            <a:chOff x="378" y="3986"/>
            <a:chExt cx="340" cy="340"/>
          </a:xfrm>
          <a:solidFill>
            <a:schemeClr val="accent5"/>
          </a:solidFill>
        </p:grpSpPr>
        <p:sp>
          <p:nvSpPr>
            <p:cNvPr id="328" name="Freeform 960"/>
            <p:cNvSpPr>
              <a:spLocks noEditPoints="1"/>
            </p:cNvSpPr>
            <p:nvPr/>
          </p:nvSpPr>
          <p:spPr bwMode="auto">
            <a:xfrm>
              <a:off x="378" y="39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Freeform 961"/>
            <p:cNvSpPr>
              <a:spLocks noEditPoints="1"/>
            </p:cNvSpPr>
            <p:nvPr/>
          </p:nvSpPr>
          <p:spPr bwMode="auto">
            <a:xfrm>
              <a:off x="456" y="4064"/>
              <a:ext cx="184" cy="198"/>
            </a:xfrm>
            <a:custGeom>
              <a:avLst/>
              <a:gdLst>
                <a:gd name="T0" fmla="*/ 139 w 277"/>
                <a:gd name="T1" fmla="*/ 107 h 299"/>
                <a:gd name="T2" fmla="*/ 171 w 277"/>
                <a:gd name="T3" fmla="*/ 75 h 299"/>
                <a:gd name="T4" fmla="*/ 139 w 277"/>
                <a:gd name="T5" fmla="*/ 43 h 299"/>
                <a:gd name="T6" fmla="*/ 107 w 277"/>
                <a:gd name="T7" fmla="*/ 75 h 299"/>
                <a:gd name="T8" fmla="*/ 139 w 277"/>
                <a:gd name="T9" fmla="*/ 107 h 299"/>
                <a:gd name="T10" fmla="*/ 139 w 277"/>
                <a:gd name="T11" fmla="*/ 64 h 299"/>
                <a:gd name="T12" fmla="*/ 149 w 277"/>
                <a:gd name="T13" fmla="*/ 75 h 299"/>
                <a:gd name="T14" fmla="*/ 139 w 277"/>
                <a:gd name="T15" fmla="*/ 85 h 299"/>
                <a:gd name="T16" fmla="*/ 128 w 277"/>
                <a:gd name="T17" fmla="*/ 75 h 299"/>
                <a:gd name="T18" fmla="*/ 139 w 277"/>
                <a:gd name="T19" fmla="*/ 64 h 299"/>
                <a:gd name="T20" fmla="*/ 171 w 277"/>
                <a:gd name="T21" fmla="*/ 203 h 299"/>
                <a:gd name="T22" fmla="*/ 139 w 277"/>
                <a:gd name="T23" fmla="*/ 171 h 299"/>
                <a:gd name="T24" fmla="*/ 107 w 277"/>
                <a:gd name="T25" fmla="*/ 203 h 299"/>
                <a:gd name="T26" fmla="*/ 139 w 277"/>
                <a:gd name="T27" fmla="*/ 235 h 299"/>
                <a:gd name="T28" fmla="*/ 171 w 277"/>
                <a:gd name="T29" fmla="*/ 203 h 299"/>
                <a:gd name="T30" fmla="*/ 128 w 277"/>
                <a:gd name="T31" fmla="*/ 203 h 299"/>
                <a:gd name="T32" fmla="*/ 139 w 277"/>
                <a:gd name="T33" fmla="*/ 192 h 299"/>
                <a:gd name="T34" fmla="*/ 149 w 277"/>
                <a:gd name="T35" fmla="*/ 203 h 299"/>
                <a:gd name="T36" fmla="*/ 139 w 277"/>
                <a:gd name="T37" fmla="*/ 213 h 299"/>
                <a:gd name="T38" fmla="*/ 128 w 277"/>
                <a:gd name="T39" fmla="*/ 203 h 299"/>
                <a:gd name="T40" fmla="*/ 203 w 277"/>
                <a:gd name="T41" fmla="*/ 171 h 299"/>
                <a:gd name="T42" fmla="*/ 235 w 277"/>
                <a:gd name="T43" fmla="*/ 139 h 299"/>
                <a:gd name="T44" fmla="*/ 203 w 277"/>
                <a:gd name="T45" fmla="*/ 107 h 299"/>
                <a:gd name="T46" fmla="*/ 171 w 277"/>
                <a:gd name="T47" fmla="*/ 139 h 299"/>
                <a:gd name="T48" fmla="*/ 203 w 277"/>
                <a:gd name="T49" fmla="*/ 171 h 299"/>
                <a:gd name="T50" fmla="*/ 203 w 277"/>
                <a:gd name="T51" fmla="*/ 128 h 299"/>
                <a:gd name="T52" fmla="*/ 213 w 277"/>
                <a:gd name="T53" fmla="*/ 139 h 299"/>
                <a:gd name="T54" fmla="*/ 203 w 277"/>
                <a:gd name="T55" fmla="*/ 149 h 299"/>
                <a:gd name="T56" fmla="*/ 192 w 277"/>
                <a:gd name="T57" fmla="*/ 139 h 299"/>
                <a:gd name="T58" fmla="*/ 203 w 277"/>
                <a:gd name="T59" fmla="*/ 128 h 299"/>
                <a:gd name="T60" fmla="*/ 75 w 277"/>
                <a:gd name="T61" fmla="*/ 107 h 299"/>
                <a:gd name="T62" fmla="*/ 43 w 277"/>
                <a:gd name="T63" fmla="*/ 139 h 299"/>
                <a:gd name="T64" fmla="*/ 75 w 277"/>
                <a:gd name="T65" fmla="*/ 171 h 299"/>
                <a:gd name="T66" fmla="*/ 107 w 277"/>
                <a:gd name="T67" fmla="*/ 139 h 299"/>
                <a:gd name="T68" fmla="*/ 75 w 277"/>
                <a:gd name="T69" fmla="*/ 107 h 299"/>
                <a:gd name="T70" fmla="*/ 75 w 277"/>
                <a:gd name="T71" fmla="*/ 149 h 299"/>
                <a:gd name="T72" fmla="*/ 64 w 277"/>
                <a:gd name="T73" fmla="*/ 139 h 299"/>
                <a:gd name="T74" fmla="*/ 75 w 277"/>
                <a:gd name="T75" fmla="*/ 128 h 299"/>
                <a:gd name="T76" fmla="*/ 85 w 277"/>
                <a:gd name="T77" fmla="*/ 139 h 299"/>
                <a:gd name="T78" fmla="*/ 75 w 277"/>
                <a:gd name="T79" fmla="*/ 149 h 299"/>
                <a:gd name="T80" fmla="*/ 205 w 277"/>
                <a:gd name="T81" fmla="*/ 260 h 299"/>
                <a:gd name="T82" fmla="*/ 277 w 277"/>
                <a:gd name="T83" fmla="*/ 139 h 299"/>
                <a:gd name="T84" fmla="*/ 139 w 277"/>
                <a:gd name="T85" fmla="*/ 0 h 299"/>
                <a:gd name="T86" fmla="*/ 0 w 277"/>
                <a:gd name="T87" fmla="*/ 139 h 299"/>
                <a:gd name="T88" fmla="*/ 139 w 277"/>
                <a:gd name="T89" fmla="*/ 277 h 299"/>
                <a:gd name="T90" fmla="*/ 139 w 277"/>
                <a:gd name="T91" fmla="*/ 277 h 299"/>
                <a:gd name="T92" fmla="*/ 139 w 277"/>
                <a:gd name="T93" fmla="*/ 277 h 299"/>
                <a:gd name="T94" fmla="*/ 239 w 277"/>
                <a:gd name="T95" fmla="*/ 296 h 299"/>
                <a:gd name="T96" fmla="*/ 245 w 277"/>
                <a:gd name="T97" fmla="*/ 299 h 299"/>
                <a:gd name="T98" fmla="*/ 254 w 277"/>
                <a:gd name="T99" fmla="*/ 295 h 299"/>
                <a:gd name="T100" fmla="*/ 252 w 277"/>
                <a:gd name="T101" fmla="*/ 280 h 299"/>
                <a:gd name="T102" fmla="*/ 205 w 277"/>
                <a:gd name="T103" fmla="*/ 260 h 299"/>
                <a:gd name="T104" fmla="*/ 21 w 277"/>
                <a:gd name="T105" fmla="*/ 139 h 299"/>
                <a:gd name="T106" fmla="*/ 139 w 277"/>
                <a:gd name="T107" fmla="*/ 21 h 299"/>
                <a:gd name="T108" fmla="*/ 256 w 277"/>
                <a:gd name="T109" fmla="*/ 139 h 299"/>
                <a:gd name="T110" fmla="*/ 139 w 277"/>
                <a:gd name="T111" fmla="*/ 256 h 299"/>
                <a:gd name="T112" fmla="*/ 21 w 277"/>
                <a:gd name="T113" fmla="*/ 139 h 299"/>
                <a:gd name="T114" fmla="*/ 139 w 277"/>
                <a:gd name="T115" fmla="*/ 128 h 299"/>
                <a:gd name="T116" fmla="*/ 149 w 277"/>
                <a:gd name="T117" fmla="*/ 139 h 299"/>
                <a:gd name="T118" fmla="*/ 139 w 277"/>
                <a:gd name="T119" fmla="*/ 149 h 299"/>
                <a:gd name="T120" fmla="*/ 128 w 277"/>
                <a:gd name="T121" fmla="*/ 139 h 299"/>
                <a:gd name="T122" fmla="*/ 139 w 277"/>
                <a:gd name="T123" fmla="*/ 12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7" h="299">
                  <a:moveTo>
                    <a:pt x="139" y="107"/>
                  </a:moveTo>
                  <a:cubicBezTo>
                    <a:pt x="156" y="107"/>
                    <a:pt x="171" y="92"/>
                    <a:pt x="171" y="75"/>
                  </a:cubicBezTo>
                  <a:cubicBezTo>
                    <a:pt x="171" y="57"/>
                    <a:pt x="156" y="43"/>
                    <a:pt x="139" y="43"/>
                  </a:cubicBezTo>
                  <a:cubicBezTo>
                    <a:pt x="121" y="43"/>
                    <a:pt x="107" y="57"/>
                    <a:pt x="107" y="75"/>
                  </a:cubicBezTo>
                  <a:cubicBezTo>
                    <a:pt x="107" y="92"/>
                    <a:pt x="121" y="107"/>
                    <a:pt x="139" y="107"/>
                  </a:cubicBezTo>
                  <a:close/>
                  <a:moveTo>
                    <a:pt x="139" y="64"/>
                  </a:moveTo>
                  <a:cubicBezTo>
                    <a:pt x="145" y="64"/>
                    <a:pt x="149" y="69"/>
                    <a:pt x="149" y="75"/>
                  </a:cubicBezTo>
                  <a:cubicBezTo>
                    <a:pt x="149" y="81"/>
                    <a:pt x="145" y="85"/>
                    <a:pt x="139" y="85"/>
                  </a:cubicBezTo>
                  <a:cubicBezTo>
                    <a:pt x="133" y="85"/>
                    <a:pt x="128" y="81"/>
                    <a:pt x="128" y="75"/>
                  </a:cubicBezTo>
                  <a:cubicBezTo>
                    <a:pt x="128" y="69"/>
                    <a:pt x="133" y="64"/>
                    <a:pt x="139" y="64"/>
                  </a:cubicBezTo>
                  <a:close/>
                  <a:moveTo>
                    <a:pt x="171" y="203"/>
                  </a:moveTo>
                  <a:cubicBezTo>
                    <a:pt x="171" y="185"/>
                    <a:pt x="156" y="171"/>
                    <a:pt x="139" y="171"/>
                  </a:cubicBezTo>
                  <a:cubicBezTo>
                    <a:pt x="121" y="171"/>
                    <a:pt x="107" y="185"/>
                    <a:pt x="107" y="203"/>
                  </a:cubicBezTo>
                  <a:cubicBezTo>
                    <a:pt x="107" y="220"/>
                    <a:pt x="121" y="235"/>
                    <a:pt x="139" y="235"/>
                  </a:cubicBezTo>
                  <a:cubicBezTo>
                    <a:pt x="156" y="235"/>
                    <a:pt x="171" y="220"/>
                    <a:pt x="171" y="203"/>
                  </a:cubicBezTo>
                  <a:close/>
                  <a:moveTo>
                    <a:pt x="128" y="203"/>
                  </a:moveTo>
                  <a:cubicBezTo>
                    <a:pt x="128" y="197"/>
                    <a:pt x="133" y="192"/>
                    <a:pt x="139" y="192"/>
                  </a:cubicBezTo>
                  <a:cubicBezTo>
                    <a:pt x="145" y="192"/>
                    <a:pt x="149" y="197"/>
                    <a:pt x="149" y="203"/>
                  </a:cubicBezTo>
                  <a:cubicBezTo>
                    <a:pt x="149" y="209"/>
                    <a:pt x="145" y="213"/>
                    <a:pt x="139" y="213"/>
                  </a:cubicBezTo>
                  <a:cubicBezTo>
                    <a:pt x="133" y="213"/>
                    <a:pt x="128" y="209"/>
                    <a:pt x="128" y="203"/>
                  </a:cubicBezTo>
                  <a:close/>
                  <a:moveTo>
                    <a:pt x="203" y="171"/>
                  </a:moveTo>
                  <a:cubicBezTo>
                    <a:pt x="220" y="171"/>
                    <a:pt x="235" y="156"/>
                    <a:pt x="235" y="139"/>
                  </a:cubicBezTo>
                  <a:cubicBezTo>
                    <a:pt x="235" y="121"/>
                    <a:pt x="220" y="107"/>
                    <a:pt x="203" y="107"/>
                  </a:cubicBezTo>
                  <a:cubicBezTo>
                    <a:pt x="185" y="107"/>
                    <a:pt x="171" y="121"/>
                    <a:pt x="171" y="139"/>
                  </a:cubicBezTo>
                  <a:cubicBezTo>
                    <a:pt x="171" y="156"/>
                    <a:pt x="185" y="171"/>
                    <a:pt x="203" y="171"/>
                  </a:cubicBezTo>
                  <a:close/>
                  <a:moveTo>
                    <a:pt x="203" y="128"/>
                  </a:moveTo>
                  <a:cubicBezTo>
                    <a:pt x="209" y="128"/>
                    <a:pt x="213" y="133"/>
                    <a:pt x="213" y="139"/>
                  </a:cubicBezTo>
                  <a:cubicBezTo>
                    <a:pt x="213" y="145"/>
                    <a:pt x="209" y="149"/>
                    <a:pt x="203" y="149"/>
                  </a:cubicBezTo>
                  <a:cubicBezTo>
                    <a:pt x="197" y="149"/>
                    <a:pt x="192" y="145"/>
                    <a:pt x="192" y="139"/>
                  </a:cubicBezTo>
                  <a:cubicBezTo>
                    <a:pt x="192" y="133"/>
                    <a:pt x="197" y="128"/>
                    <a:pt x="203" y="128"/>
                  </a:cubicBezTo>
                  <a:close/>
                  <a:moveTo>
                    <a:pt x="75" y="107"/>
                  </a:moveTo>
                  <a:cubicBezTo>
                    <a:pt x="57" y="107"/>
                    <a:pt x="43" y="121"/>
                    <a:pt x="43" y="139"/>
                  </a:cubicBezTo>
                  <a:cubicBezTo>
                    <a:pt x="43" y="156"/>
                    <a:pt x="57" y="171"/>
                    <a:pt x="75" y="171"/>
                  </a:cubicBezTo>
                  <a:cubicBezTo>
                    <a:pt x="92" y="171"/>
                    <a:pt x="107" y="156"/>
                    <a:pt x="107" y="139"/>
                  </a:cubicBezTo>
                  <a:cubicBezTo>
                    <a:pt x="107" y="121"/>
                    <a:pt x="92" y="107"/>
                    <a:pt x="75" y="107"/>
                  </a:cubicBezTo>
                  <a:close/>
                  <a:moveTo>
                    <a:pt x="75" y="149"/>
                  </a:moveTo>
                  <a:cubicBezTo>
                    <a:pt x="69" y="149"/>
                    <a:pt x="64" y="145"/>
                    <a:pt x="64" y="139"/>
                  </a:cubicBezTo>
                  <a:cubicBezTo>
                    <a:pt x="64" y="133"/>
                    <a:pt x="69" y="128"/>
                    <a:pt x="75" y="128"/>
                  </a:cubicBezTo>
                  <a:cubicBezTo>
                    <a:pt x="81" y="128"/>
                    <a:pt x="85" y="133"/>
                    <a:pt x="85" y="139"/>
                  </a:cubicBezTo>
                  <a:cubicBezTo>
                    <a:pt x="85" y="145"/>
                    <a:pt x="81" y="149"/>
                    <a:pt x="75" y="149"/>
                  </a:cubicBezTo>
                  <a:close/>
                  <a:moveTo>
                    <a:pt x="205" y="260"/>
                  </a:moveTo>
                  <a:cubicBezTo>
                    <a:pt x="248" y="237"/>
                    <a:pt x="277" y="191"/>
                    <a:pt x="277" y="139"/>
                  </a:cubicBezTo>
                  <a:cubicBezTo>
                    <a:pt x="277" y="62"/>
                    <a:pt x="215" y="0"/>
                    <a:pt x="139" y="0"/>
                  </a:cubicBezTo>
                  <a:cubicBezTo>
                    <a:pt x="62" y="0"/>
                    <a:pt x="0" y="62"/>
                    <a:pt x="0" y="139"/>
                  </a:cubicBezTo>
                  <a:cubicBezTo>
                    <a:pt x="0" y="215"/>
                    <a:pt x="62" y="277"/>
                    <a:pt x="139" y="277"/>
                  </a:cubicBezTo>
                  <a:cubicBezTo>
                    <a:pt x="139" y="277"/>
                    <a:pt x="139" y="277"/>
                    <a:pt x="139" y="277"/>
                  </a:cubicBezTo>
                  <a:cubicBezTo>
                    <a:pt x="139" y="277"/>
                    <a:pt x="139" y="277"/>
                    <a:pt x="139" y="277"/>
                  </a:cubicBezTo>
                  <a:cubicBezTo>
                    <a:pt x="159" y="277"/>
                    <a:pt x="215" y="277"/>
                    <a:pt x="239" y="296"/>
                  </a:cubicBezTo>
                  <a:cubicBezTo>
                    <a:pt x="241" y="298"/>
                    <a:pt x="243" y="299"/>
                    <a:pt x="245" y="299"/>
                  </a:cubicBezTo>
                  <a:cubicBezTo>
                    <a:pt x="248" y="299"/>
                    <a:pt x="252" y="297"/>
                    <a:pt x="254" y="295"/>
                  </a:cubicBezTo>
                  <a:cubicBezTo>
                    <a:pt x="257" y="290"/>
                    <a:pt x="257" y="283"/>
                    <a:pt x="252" y="280"/>
                  </a:cubicBezTo>
                  <a:cubicBezTo>
                    <a:pt x="240" y="270"/>
                    <a:pt x="222" y="264"/>
                    <a:pt x="205" y="260"/>
                  </a:cubicBezTo>
                  <a:close/>
                  <a:moveTo>
                    <a:pt x="21" y="139"/>
                  </a:moveTo>
                  <a:cubicBezTo>
                    <a:pt x="21" y="74"/>
                    <a:pt x="74" y="21"/>
                    <a:pt x="139" y="21"/>
                  </a:cubicBezTo>
                  <a:cubicBezTo>
                    <a:pt x="203" y="21"/>
                    <a:pt x="256" y="74"/>
                    <a:pt x="256" y="139"/>
                  </a:cubicBezTo>
                  <a:cubicBezTo>
                    <a:pt x="256" y="203"/>
                    <a:pt x="203" y="256"/>
                    <a:pt x="139" y="256"/>
                  </a:cubicBezTo>
                  <a:cubicBezTo>
                    <a:pt x="74" y="256"/>
                    <a:pt x="21" y="203"/>
                    <a:pt x="21" y="139"/>
                  </a:cubicBezTo>
                  <a:close/>
                  <a:moveTo>
                    <a:pt x="139" y="128"/>
                  </a:moveTo>
                  <a:cubicBezTo>
                    <a:pt x="145" y="128"/>
                    <a:pt x="149" y="133"/>
                    <a:pt x="149" y="139"/>
                  </a:cubicBezTo>
                  <a:cubicBezTo>
                    <a:pt x="149" y="145"/>
                    <a:pt x="145" y="149"/>
                    <a:pt x="139" y="149"/>
                  </a:cubicBezTo>
                  <a:cubicBezTo>
                    <a:pt x="133" y="149"/>
                    <a:pt x="128" y="145"/>
                    <a:pt x="128" y="139"/>
                  </a:cubicBezTo>
                  <a:cubicBezTo>
                    <a:pt x="128" y="133"/>
                    <a:pt x="133" y="128"/>
                    <a:pt x="139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0" name="Freeform 814"/>
          <p:cNvSpPr>
            <a:spLocks noChangeAspect="1" noEditPoints="1"/>
          </p:cNvSpPr>
          <p:nvPr/>
        </p:nvSpPr>
        <p:spPr bwMode="auto">
          <a:xfrm>
            <a:off x="7424494" y="2913574"/>
            <a:ext cx="367982" cy="369064"/>
          </a:xfrm>
          <a:custGeom>
            <a:avLst/>
            <a:gdLst>
              <a:gd name="T0" fmla="*/ 309 w 512"/>
              <a:gd name="T1" fmla="*/ 256 h 512"/>
              <a:gd name="T2" fmla="*/ 256 w 512"/>
              <a:gd name="T3" fmla="*/ 309 h 512"/>
              <a:gd name="T4" fmla="*/ 202 w 512"/>
              <a:gd name="T5" fmla="*/ 256 h 512"/>
              <a:gd name="T6" fmla="*/ 256 w 512"/>
              <a:gd name="T7" fmla="*/ 202 h 512"/>
              <a:gd name="T8" fmla="*/ 309 w 512"/>
              <a:gd name="T9" fmla="*/ 256 h 512"/>
              <a:gd name="T10" fmla="*/ 349 w 512"/>
              <a:gd name="T11" fmla="*/ 181 h 512"/>
              <a:gd name="T12" fmla="*/ 394 w 512"/>
              <a:gd name="T13" fmla="*/ 181 h 512"/>
              <a:gd name="T14" fmla="*/ 394 w 512"/>
              <a:gd name="T15" fmla="*/ 352 h 512"/>
              <a:gd name="T16" fmla="*/ 117 w 512"/>
              <a:gd name="T17" fmla="*/ 352 h 512"/>
              <a:gd name="T18" fmla="*/ 117 w 512"/>
              <a:gd name="T19" fmla="*/ 181 h 512"/>
              <a:gd name="T20" fmla="*/ 157 w 512"/>
              <a:gd name="T21" fmla="*/ 181 h 512"/>
              <a:gd name="T22" fmla="*/ 165 w 512"/>
              <a:gd name="T23" fmla="*/ 177 h 512"/>
              <a:gd name="T24" fmla="*/ 186 w 512"/>
              <a:gd name="T25" fmla="*/ 149 h 512"/>
              <a:gd name="T26" fmla="*/ 324 w 512"/>
              <a:gd name="T27" fmla="*/ 149 h 512"/>
              <a:gd name="T28" fmla="*/ 339 w 512"/>
              <a:gd name="T29" fmla="*/ 176 h 512"/>
              <a:gd name="T30" fmla="*/ 349 w 512"/>
              <a:gd name="T31" fmla="*/ 181 h 512"/>
              <a:gd name="T32" fmla="*/ 330 w 512"/>
              <a:gd name="T33" fmla="*/ 256 h 512"/>
              <a:gd name="T34" fmla="*/ 256 w 512"/>
              <a:gd name="T35" fmla="*/ 181 h 512"/>
              <a:gd name="T36" fmla="*/ 181 w 512"/>
              <a:gd name="T37" fmla="*/ 256 h 512"/>
              <a:gd name="T38" fmla="*/ 256 w 512"/>
              <a:gd name="T39" fmla="*/ 330 h 512"/>
              <a:gd name="T40" fmla="*/ 330 w 512"/>
              <a:gd name="T41" fmla="*/ 256 h 512"/>
              <a:gd name="T42" fmla="*/ 512 w 512"/>
              <a:gd name="T43" fmla="*/ 256 h 512"/>
              <a:gd name="T44" fmla="*/ 256 w 512"/>
              <a:gd name="T45" fmla="*/ 512 h 512"/>
              <a:gd name="T46" fmla="*/ 0 w 512"/>
              <a:gd name="T47" fmla="*/ 256 h 512"/>
              <a:gd name="T48" fmla="*/ 256 w 512"/>
              <a:gd name="T49" fmla="*/ 0 h 512"/>
              <a:gd name="T50" fmla="*/ 512 w 512"/>
              <a:gd name="T51" fmla="*/ 256 h 512"/>
              <a:gd name="T52" fmla="*/ 416 w 512"/>
              <a:gd name="T53" fmla="*/ 170 h 512"/>
              <a:gd name="T54" fmla="*/ 405 w 512"/>
              <a:gd name="T55" fmla="*/ 160 h 512"/>
              <a:gd name="T56" fmla="*/ 355 w 512"/>
              <a:gd name="T57" fmla="*/ 160 h 512"/>
              <a:gd name="T58" fmla="*/ 340 w 512"/>
              <a:gd name="T59" fmla="*/ 133 h 512"/>
              <a:gd name="T60" fmla="*/ 330 w 512"/>
              <a:gd name="T61" fmla="*/ 128 h 512"/>
              <a:gd name="T62" fmla="*/ 181 w 512"/>
              <a:gd name="T63" fmla="*/ 128 h 512"/>
              <a:gd name="T64" fmla="*/ 173 w 512"/>
              <a:gd name="T65" fmla="*/ 132 h 512"/>
              <a:gd name="T66" fmla="*/ 151 w 512"/>
              <a:gd name="T67" fmla="*/ 160 h 512"/>
              <a:gd name="T68" fmla="*/ 106 w 512"/>
              <a:gd name="T69" fmla="*/ 160 h 512"/>
              <a:gd name="T70" fmla="*/ 96 w 512"/>
              <a:gd name="T71" fmla="*/ 170 h 512"/>
              <a:gd name="T72" fmla="*/ 96 w 512"/>
              <a:gd name="T73" fmla="*/ 362 h 512"/>
              <a:gd name="T74" fmla="*/ 106 w 512"/>
              <a:gd name="T75" fmla="*/ 373 h 512"/>
              <a:gd name="T76" fmla="*/ 405 w 512"/>
              <a:gd name="T77" fmla="*/ 373 h 512"/>
              <a:gd name="T78" fmla="*/ 416 w 512"/>
              <a:gd name="T79" fmla="*/ 362 h 512"/>
              <a:gd name="T80" fmla="*/ 416 w 512"/>
              <a:gd name="T81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309" y="256"/>
                </a:move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85" y="202"/>
                  <a:pt x="309" y="226"/>
                  <a:pt x="309" y="256"/>
                </a:cubicBezTo>
                <a:close/>
                <a:moveTo>
                  <a:pt x="349" y="181"/>
                </a:moveTo>
                <a:cubicBezTo>
                  <a:pt x="394" y="181"/>
                  <a:pt x="394" y="181"/>
                  <a:pt x="394" y="181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181"/>
                  <a:pt x="117" y="181"/>
                  <a:pt x="117" y="181"/>
                </a:cubicBezTo>
                <a:cubicBezTo>
                  <a:pt x="157" y="181"/>
                  <a:pt x="157" y="181"/>
                  <a:pt x="157" y="181"/>
                </a:cubicBezTo>
                <a:cubicBezTo>
                  <a:pt x="160" y="181"/>
                  <a:pt x="163" y="179"/>
                  <a:pt x="165" y="177"/>
                </a:cubicBezTo>
                <a:cubicBezTo>
                  <a:pt x="186" y="149"/>
                  <a:pt x="186" y="149"/>
                  <a:pt x="186" y="149"/>
                </a:cubicBezTo>
                <a:cubicBezTo>
                  <a:pt x="324" y="149"/>
                  <a:pt x="324" y="149"/>
                  <a:pt x="324" y="149"/>
                </a:cubicBezTo>
                <a:cubicBezTo>
                  <a:pt x="339" y="176"/>
                  <a:pt x="339" y="176"/>
                  <a:pt x="339" y="176"/>
                </a:cubicBezTo>
                <a:cubicBezTo>
                  <a:pt x="341" y="179"/>
                  <a:pt x="345" y="181"/>
                  <a:pt x="349" y="181"/>
                </a:cubicBezTo>
                <a:close/>
                <a:moveTo>
                  <a:pt x="330" y="256"/>
                </a:moveTo>
                <a:cubicBezTo>
                  <a:pt x="330" y="214"/>
                  <a:pt x="297" y="181"/>
                  <a:pt x="256" y="181"/>
                </a:cubicBez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70"/>
                </a:moveTo>
                <a:cubicBezTo>
                  <a:pt x="416" y="164"/>
                  <a:pt x="411" y="160"/>
                  <a:pt x="405" y="160"/>
                </a:cubicBezTo>
                <a:cubicBezTo>
                  <a:pt x="355" y="160"/>
                  <a:pt x="355" y="160"/>
                  <a:pt x="355" y="160"/>
                </a:cubicBezTo>
                <a:cubicBezTo>
                  <a:pt x="340" y="133"/>
                  <a:pt x="340" y="133"/>
                  <a:pt x="340" y="133"/>
                </a:cubicBezTo>
                <a:cubicBezTo>
                  <a:pt x="338" y="130"/>
                  <a:pt x="334" y="128"/>
                  <a:pt x="330" y="128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78" y="128"/>
                  <a:pt x="175" y="129"/>
                  <a:pt x="173" y="132"/>
                </a:cubicBezTo>
                <a:cubicBezTo>
                  <a:pt x="151" y="160"/>
                  <a:pt x="151" y="160"/>
                  <a:pt x="151" y="160"/>
                </a:cubicBezTo>
                <a:cubicBezTo>
                  <a:pt x="106" y="160"/>
                  <a:pt x="106" y="160"/>
                  <a:pt x="106" y="160"/>
                </a:cubicBezTo>
                <a:cubicBezTo>
                  <a:pt x="100" y="160"/>
                  <a:pt x="96" y="164"/>
                  <a:pt x="96" y="170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1" name="Group 817"/>
          <p:cNvGrpSpPr>
            <a:grpSpLocks noChangeAspect="1"/>
          </p:cNvGrpSpPr>
          <p:nvPr/>
        </p:nvGrpSpPr>
        <p:grpSpPr bwMode="auto">
          <a:xfrm>
            <a:off x="7922327" y="2913574"/>
            <a:ext cx="367982" cy="367982"/>
            <a:chOff x="5262" y="3737"/>
            <a:chExt cx="340" cy="340"/>
          </a:xfrm>
          <a:solidFill>
            <a:schemeClr val="accent3"/>
          </a:solidFill>
        </p:grpSpPr>
        <p:sp>
          <p:nvSpPr>
            <p:cNvPr id="332" name="Freeform 818"/>
            <p:cNvSpPr>
              <a:spLocks noEditPoints="1"/>
            </p:cNvSpPr>
            <p:nvPr/>
          </p:nvSpPr>
          <p:spPr bwMode="auto">
            <a:xfrm>
              <a:off x="5326" y="3822"/>
              <a:ext cx="212" cy="163"/>
            </a:xfrm>
            <a:custGeom>
              <a:avLst/>
              <a:gdLst>
                <a:gd name="T0" fmla="*/ 309 w 320"/>
                <a:gd name="T1" fmla="*/ 32 h 245"/>
                <a:gd name="T2" fmla="*/ 259 w 320"/>
                <a:gd name="T3" fmla="*/ 32 h 245"/>
                <a:gd name="T4" fmla="*/ 244 w 320"/>
                <a:gd name="T5" fmla="*/ 5 h 245"/>
                <a:gd name="T6" fmla="*/ 234 w 320"/>
                <a:gd name="T7" fmla="*/ 0 h 245"/>
                <a:gd name="T8" fmla="*/ 85 w 320"/>
                <a:gd name="T9" fmla="*/ 0 h 245"/>
                <a:gd name="T10" fmla="*/ 77 w 320"/>
                <a:gd name="T11" fmla="*/ 4 h 245"/>
                <a:gd name="T12" fmla="*/ 55 w 320"/>
                <a:gd name="T13" fmla="*/ 32 h 245"/>
                <a:gd name="T14" fmla="*/ 10 w 320"/>
                <a:gd name="T15" fmla="*/ 32 h 245"/>
                <a:gd name="T16" fmla="*/ 0 w 320"/>
                <a:gd name="T17" fmla="*/ 42 h 245"/>
                <a:gd name="T18" fmla="*/ 0 w 320"/>
                <a:gd name="T19" fmla="*/ 234 h 245"/>
                <a:gd name="T20" fmla="*/ 10 w 320"/>
                <a:gd name="T21" fmla="*/ 245 h 245"/>
                <a:gd name="T22" fmla="*/ 309 w 320"/>
                <a:gd name="T23" fmla="*/ 245 h 245"/>
                <a:gd name="T24" fmla="*/ 320 w 320"/>
                <a:gd name="T25" fmla="*/ 234 h 245"/>
                <a:gd name="T26" fmla="*/ 320 w 320"/>
                <a:gd name="T27" fmla="*/ 42 h 245"/>
                <a:gd name="T28" fmla="*/ 309 w 320"/>
                <a:gd name="T29" fmla="*/ 32 h 245"/>
                <a:gd name="T30" fmla="*/ 298 w 320"/>
                <a:gd name="T31" fmla="*/ 224 h 245"/>
                <a:gd name="T32" fmla="*/ 21 w 320"/>
                <a:gd name="T33" fmla="*/ 224 h 245"/>
                <a:gd name="T34" fmla="*/ 21 w 320"/>
                <a:gd name="T35" fmla="*/ 53 h 245"/>
                <a:gd name="T36" fmla="*/ 61 w 320"/>
                <a:gd name="T37" fmla="*/ 53 h 245"/>
                <a:gd name="T38" fmla="*/ 69 w 320"/>
                <a:gd name="T39" fmla="*/ 49 h 245"/>
                <a:gd name="T40" fmla="*/ 90 w 320"/>
                <a:gd name="T41" fmla="*/ 21 h 245"/>
                <a:gd name="T42" fmla="*/ 228 w 320"/>
                <a:gd name="T43" fmla="*/ 21 h 245"/>
                <a:gd name="T44" fmla="*/ 243 w 320"/>
                <a:gd name="T45" fmla="*/ 48 h 245"/>
                <a:gd name="T46" fmla="*/ 253 w 320"/>
                <a:gd name="T47" fmla="*/ 53 h 245"/>
                <a:gd name="T48" fmla="*/ 298 w 320"/>
                <a:gd name="T49" fmla="*/ 53 h 245"/>
                <a:gd name="T50" fmla="*/ 298 w 320"/>
                <a:gd name="T51" fmla="*/ 224 h 245"/>
                <a:gd name="T52" fmla="*/ 160 w 320"/>
                <a:gd name="T53" fmla="*/ 53 h 245"/>
                <a:gd name="T54" fmla="*/ 85 w 320"/>
                <a:gd name="T55" fmla="*/ 128 h 245"/>
                <a:gd name="T56" fmla="*/ 160 w 320"/>
                <a:gd name="T57" fmla="*/ 202 h 245"/>
                <a:gd name="T58" fmla="*/ 234 w 320"/>
                <a:gd name="T59" fmla="*/ 128 h 245"/>
                <a:gd name="T60" fmla="*/ 160 w 320"/>
                <a:gd name="T61" fmla="*/ 53 h 245"/>
                <a:gd name="T62" fmla="*/ 160 w 320"/>
                <a:gd name="T63" fmla="*/ 181 h 245"/>
                <a:gd name="T64" fmla="*/ 106 w 320"/>
                <a:gd name="T65" fmla="*/ 128 h 245"/>
                <a:gd name="T66" fmla="*/ 160 w 320"/>
                <a:gd name="T67" fmla="*/ 74 h 245"/>
                <a:gd name="T68" fmla="*/ 213 w 320"/>
                <a:gd name="T69" fmla="*/ 128 h 245"/>
                <a:gd name="T70" fmla="*/ 160 w 320"/>
                <a:gd name="T71" fmla="*/ 18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0" h="245">
                  <a:moveTo>
                    <a:pt x="309" y="32"/>
                  </a:moveTo>
                  <a:cubicBezTo>
                    <a:pt x="259" y="32"/>
                    <a:pt x="259" y="32"/>
                    <a:pt x="259" y="32"/>
                  </a:cubicBezTo>
                  <a:cubicBezTo>
                    <a:pt x="244" y="5"/>
                    <a:pt x="244" y="5"/>
                    <a:pt x="244" y="5"/>
                  </a:cubicBezTo>
                  <a:cubicBezTo>
                    <a:pt x="242" y="2"/>
                    <a:pt x="238" y="0"/>
                    <a:pt x="23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4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36"/>
                    <a:pt x="0" y="42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40"/>
                    <a:pt x="4" y="245"/>
                    <a:pt x="10" y="245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15" y="245"/>
                    <a:pt x="320" y="240"/>
                    <a:pt x="320" y="234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0" y="36"/>
                    <a:pt x="315" y="32"/>
                    <a:pt x="309" y="32"/>
                  </a:cubicBezTo>
                  <a:close/>
                  <a:moveTo>
                    <a:pt x="298" y="224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4" y="53"/>
                    <a:pt x="67" y="51"/>
                    <a:pt x="69" y="49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5" y="51"/>
                    <a:pt x="249" y="53"/>
                    <a:pt x="253" y="53"/>
                  </a:cubicBezTo>
                  <a:cubicBezTo>
                    <a:pt x="298" y="53"/>
                    <a:pt x="298" y="53"/>
                    <a:pt x="298" y="53"/>
                  </a:cubicBezTo>
                  <a:lnTo>
                    <a:pt x="298" y="224"/>
                  </a:lnTo>
                  <a:close/>
                  <a:moveTo>
                    <a:pt x="160" y="53"/>
                  </a:moveTo>
                  <a:cubicBezTo>
                    <a:pt x="118" y="53"/>
                    <a:pt x="85" y="86"/>
                    <a:pt x="85" y="128"/>
                  </a:cubicBezTo>
                  <a:cubicBezTo>
                    <a:pt x="85" y="169"/>
                    <a:pt x="118" y="202"/>
                    <a:pt x="160" y="202"/>
                  </a:cubicBezTo>
                  <a:cubicBezTo>
                    <a:pt x="201" y="202"/>
                    <a:pt x="234" y="169"/>
                    <a:pt x="234" y="128"/>
                  </a:cubicBezTo>
                  <a:cubicBezTo>
                    <a:pt x="234" y="86"/>
                    <a:pt x="201" y="53"/>
                    <a:pt x="160" y="53"/>
                  </a:cubicBezTo>
                  <a:close/>
                  <a:moveTo>
                    <a:pt x="160" y="181"/>
                  </a:moveTo>
                  <a:cubicBezTo>
                    <a:pt x="130" y="181"/>
                    <a:pt x="106" y="157"/>
                    <a:pt x="106" y="128"/>
                  </a:cubicBezTo>
                  <a:cubicBezTo>
                    <a:pt x="106" y="98"/>
                    <a:pt x="130" y="74"/>
                    <a:pt x="160" y="74"/>
                  </a:cubicBezTo>
                  <a:cubicBezTo>
                    <a:pt x="189" y="74"/>
                    <a:pt x="213" y="98"/>
                    <a:pt x="213" y="128"/>
                  </a:cubicBezTo>
                  <a:cubicBezTo>
                    <a:pt x="213" y="157"/>
                    <a:pt x="189" y="181"/>
                    <a:pt x="160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819"/>
            <p:cNvSpPr>
              <a:spLocks noEditPoints="1"/>
            </p:cNvSpPr>
            <p:nvPr/>
          </p:nvSpPr>
          <p:spPr bwMode="auto">
            <a:xfrm>
              <a:off x="5262" y="37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4" name="Freeform 297"/>
          <p:cNvSpPr>
            <a:spLocks noChangeAspect="1" noEditPoints="1"/>
          </p:cNvSpPr>
          <p:nvPr/>
        </p:nvSpPr>
        <p:spPr bwMode="auto">
          <a:xfrm>
            <a:off x="8420160" y="2913578"/>
            <a:ext cx="367041" cy="367041"/>
          </a:xfrm>
          <a:custGeom>
            <a:avLst/>
            <a:gdLst>
              <a:gd name="T0" fmla="*/ 332 w 512"/>
              <a:gd name="T1" fmla="*/ 117 h 512"/>
              <a:gd name="T2" fmla="*/ 179 w 512"/>
              <a:gd name="T3" fmla="*/ 117 h 512"/>
              <a:gd name="T4" fmla="*/ 160 w 512"/>
              <a:gd name="T5" fmla="*/ 137 h 512"/>
              <a:gd name="T6" fmla="*/ 160 w 512"/>
              <a:gd name="T7" fmla="*/ 375 h 512"/>
              <a:gd name="T8" fmla="*/ 179 w 512"/>
              <a:gd name="T9" fmla="*/ 394 h 512"/>
              <a:gd name="T10" fmla="*/ 332 w 512"/>
              <a:gd name="T11" fmla="*/ 394 h 512"/>
              <a:gd name="T12" fmla="*/ 352 w 512"/>
              <a:gd name="T13" fmla="*/ 375 h 512"/>
              <a:gd name="T14" fmla="*/ 352 w 512"/>
              <a:gd name="T15" fmla="*/ 137 h 512"/>
              <a:gd name="T16" fmla="*/ 332 w 512"/>
              <a:gd name="T17" fmla="*/ 117 h 512"/>
              <a:gd name="T18" fmla="*/ 256 w 512"/>
              <a:gd name="T19" fmla="*/ 138 h 512"/>
              <a:gd name="T20" fmla="*/ 288 w 512"/>
              <a:gd name="T21" fmla="*/ 170 h 512"/>
              <a:gd name="T22" fmla="*/ 256 w 512"/>
              <a:gd name="T23" fmla="*/ 202 h 512"/>
              <a:gd name="T24" fmla="*/ 224 w 512"/>
              <a:gd name="T25" fmla="*/ 170 h 512"/>
              <a:gd name="T26" fmla="*/ 256 w 512"/>
              <a:gd name="T27" fmla="*/ 138 h 512"/>
              <a:gd name="T28" fmla="*/ 256 w 512"/>
              <a:gd name="T29" fmla="*/ 373 h 512"/>
              <a:gd name="T30" fmla="*/ 181 w 512"/>
              <a:gd name="T31" fmla="*/ 298 h 512"/>
              <a:gd name="T32" fmla="*/ 256 w 512"/>
              <a:gd name="T33" fmla="*/ 224 h 512"/>
              <a:gd name="T34" fmla="*/ 330 w 512"/>
              <a:gd name="T35" fmla="*/ 298 h 512"/>
              <a:gd name="T36" fmla="*/ 256 w 512"/>
              <a:gd name="T37" fmla="*/ 373 h 512"/>
              <a:gd name="T38" fmla="*/ 256 w 512"/>
              <a:gd name="T39" fmla="*/ 245 h 512"/>
              <a:gd name="T40" fmla="*/ 202 w 512"/>
              <a:gd name="T41" fmla="*/ 298 h 512"/>
              <a:gd name="T42" fmla="*/ 256 w 512"/>
              <a:gd name="T43" fmla="*/ 352 h 512"/>
              <a:gd name="T44" fmla="*/ 309 w 512"/>
              <a:gd name="T45" fmla="*/ 298 h 512"/>
              <a:gd name="T46" fmla="*/ 256 w 512"/>
              <a:gd name="T47" fmla="*/ 245 h 512"/>
              <a:gd name="T48" fmla="*/ 256 w 512"/>
              <a:gd name="T49" fmla="*/ 309 h 512"/>
              <a:gd name="T50" fmla="*/ 245 w 512"/>
              <a:gd name="T51" fmla="*/ 298 h 512"/>
              <a:gd name="T52" fmla="*/ 256 w 512"/>
              <a:gd name="T53" fmla="*/ 288 h 512"/>
              <a:gd name="T54" fmla="*/ 256 w 512"/>
              <a:gd name="T55" fmla="*/ 288 h 512"/>
              <a:gd name="T56" fmla="*/ 267 w 512"/>
              <a:gd name="T57" fmla="*/ 298 h 512"/>
              <a:gd name="T58" fmla="*/ 256 w 512"/>
              <a:gd name="T59" fmla="*/ 309 h 512"/>
              <a:gd name="T60" fmla="*/ 245 w 512"/>
              <a:gd name="T61" fmla="*/ 170 h 512"/>
              <a:gd name="T62" fmla="*/ 256 w 512"/>
              <a:gd name="T63" fmla="*/ 160 h 512"/>
              <a:gd name="T64" fmla="*/ 266 w 512"/>
              <a:gd name="T65" fmla="*/ 170 h 512"/>
              <a:gd name="T66" fmla="*/ 256 w 512"/>
              <a:gd name="T67" fmla="*/ 181 h 512"/>
              <a:gd name="T68" fmla="*/ 245 w 512"/>
              <a:gd name="T69" fmla="*/ 170 h 512"/>
              <a:gd name="T70" fmla="*/ 256 w 512"/>
              <a:gd name="T71" fmla="*/ 0 h 512"/>
              <a:gd name="T72" fmla="*/ 0 w 512"/>
              <a:gd name="T73" fmla="*/ 256 h 512"/>
              <a:gd name="T74" fmla="*/ 256 w 512"/>
              <a:gd name="T75" fmla="*/ 512 h 512"/>
              <a:gd name="T76" fmla="*/ 512 w 512"/>
              <a:gd name="T77" fmla="*/ 256 h 512"/>
              <a:gd name="T78" fmla="*/ 256 w 512"/>
              <a:gd name="T79" fmla="*/ 0 h 512"/>
              <a:gd name="T80" fmla="*/ 373 w 512"/>
              <a:gd name="T81" fmla="*/ 375 h 512"/>
              <a:gd name="T82" fmla="*/ 332 w 512"/>
              <a:gd name="T83" fmla="*/ 416 h 512"/>
              <a:gd name="T84" fmla="*/ 179 w 512"/>
              <a:gd name="T85" fmla="*/ 416 h 512"/>
              <a:gd name="T86" fmla="*/ 138 w 512"/>
              <a:gd name="T87" fmla="*/ 375 h 512"/>
              <a:gd name="T88" fmla="*/ 138 w 512"/>
              <a:gd name="T89" fmla="*/ 137 h 512"/>
              <a:gd name="T90" fmla="*/ 179 w 512"/>
              <a:gd name="T91" fmla="*/ 96 h 512"/>
              <a:gd name="T92" fmla="*/ 332 w 512"/>
              <a:gd name="T93" fmla="*/ 96 h 512"/>
              <a:gd name="T94" fmla="*/ 373 w 512"/>
              <a:gd name="T95" fmla="*/ 137 h 512"/>
              <a:gd name="T96" fmla="*/ 373 w 512"/>
              <a:gd name="T97" fmla="*/ 37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332" y="117"/>
                </a:moveTo>
                <a:cubicBezTo>
                  <a:pt x="179" y="117"/>
                  <a:pt x="179" y="117"/>
                  <a:pt x="179" y="117"/>
                </a:cubicBezTo>
                <a:cubicBezTo>
                  <a:pt x="168" y="117"/>
                  <a:pt x="160" y="126"/>
                  <a:pt x="160" y="137"/>
                </a:cubicBezTo>
                <a:cubicBezTo>
                  <a:pt x="160" y="375"/>
                  <a:pt x="160" y="375"/>
                  <a:pt x="160" y="375"/>
                </a:cubicBezTo>
                <a:cubicBezTo>
                  <a:pt x="160" y="386"/>
                  <a:pt x="168" y="394"/>
                  <a:pt x="179" y="394"/>
                </a:cubicBezTo>
                <a:cubicBezTo>
                  <a:pt x="332" y="394"/>
                  <a:pt x="332" y="394"/>
                  <a:pt x="332" y="394"/>
                </a:cubicBezTo>
                <a:cubicBezTo>
                  <a:pt x="343" y="394"/>
                  <a:pt x="352" y="386"/>
                  <a:pt x="352" y="375"/>
                </a:cubicBezTo>
                <a:cubicBezTo>
                  <a:pt x="352" y="137"/>
                  <a:pt x="352" y="137"/>
                  <a:pt x="352" y="137"/>
                </a:cubicBezTo>
                <a:cubicBezTo>
                  <a:pt x="352" y="126"/>
                  <a:pt x="343" y="117"/>
                  <a:pt x="332" y="117"/>
                </a:cubicBezTo>
                <a:close/>
                <a:moveTo>
                  <a:pt x="256" y="138"/>
                </a:moveTo>
                <a:cubicBezTo>
                  <a:pt x="273" y="138"/>
                  <a:pt x="288" y="153"/>
                  <a:pt x="288" y="170"/>
                </a:cubicBezTo>
                <a:cubicBezTo>
                  <a:pt x="288" y="188"/>
                  <a:pt x="273" y="202"/>
                  <a:pt x="256" y="202"/>
                </a:cubicBezTo>
                <a:cubicBezTo>
                  <a:pt x="238" y="202"/>
                  <a:pt x="224" y="188"/>
                  <a:pt x="224" y="170"/>
                </a:cubicBezTo>
                <a:cubicBezTo>
                  <a:pt x="224" y="153"/>
                  <a:pt x="238" y="138"/>
                  <a:pt x="256" y="138"/>
                </a:cubicBezTo>
                <a:close/>
                <a:moveTo>
                  <a:pt x="256" y="373"/>
                </a:moveTo>
                <a:cubicBezTo>
                  <a:pt x="214" y="373"/>
                  <a:pt x="181" y="340"/>
                  <a:pt x="181" y="298"/>
                </a:cubicBezTo>
                <a:cubicBezTo>
                  <a:pt x="181" y="257"/>
                  <a:pt x="214" y="224"/>
                  <a:pt x="256" y="224"/>
                </a:cubicBezTo>
                <a:cubicBezTo>
                  <a:pt x="297" y="224"/>
                  <a:pt x="330" y="257"/>
                  <a:pt x="330" y="298"/>
                </a:cubicBezTo>
                <a:cubicBezTo>
                  <a:pt x="330" y="340"/>
                  <a:pt x="297" y="373"/>
                  <a:pt x="256" y="373"/>
                </a:cubicBezTo>
                <a:close/>
                <a:moveTo>
                  <a:pt x="256" y="245"/>
                </a:moveTo>
                <a:cubicBezTo>
                  <a:pt x="226" y="245"/>
                  <a:pt x="202" y="269"/>
                  <a:pt x="202" y="298"/>
                </a:cubicBezTo>
                <a:cubicBezTo>
                  <a:pt x="202" y="328"/>
                  <a:pt x="226" y="352"/>
                  <a:pt x="256" y="352"/>
                </a:cubicBezTo>
                <a:cubicBezTo>
                  <a:pt x="285" y="352"/>
                  <a:pt x="309" y="328"/>
                  <a:pt x="309" y="298"/>
                </a:cubicBezTo>
                <a:cubicBezTo>
                  <a:pt x="309" y="269"/>
                  <a:pt x="285" y="245"/>
                  <a:pt x="256" y="245"/>
                </a:cubicBezTo>
                <a:close/>
                <a:moveTo>
                  <a:pt x="256" y="309"/>
                </a:moveTo>
                <a:cubicBezTo>
                  <a:pt x="250" y="309"/>
                  <a:pt x="245" y="304"/>
                  <a:pt x="245" y="298"/>
                </a:cubicBezTo>
                <a:cubicBezTo>
                  <a:pt x="245" y="292"/>
                  <a:pt x="250" y="288"/>
                  <a:pt x="256" y="288"/>
                </a:cubicBezTo>
                <a:cubicBezTo>
                  <a:pt x="256" y="288"/>
                  <a:pt x="256" y="288"/>
                  <a:pt x="256" y="288"/>
                </a:cubicBezTo>
                <a:cubicBezTo>
                  <a:pt x="262" y="288"/>
                  <a:pt x="267" y="292"/>
                  <a:pt x="267" y="298"/>
                </a:cubicBezTo>
                <a:cubicBezTo>
                  <a:pt x="267" y="304"/>
                  <a:pt x="262" y="309"/>
                  <a:pt x="256" y="309"/>
                </a:cubicBezTo>
                <a:close/>
                <a:moveTo>
                  <a:pt x="245" y="170"/>
                </a:moveTo>
                <a:cubicBezTo>
                  <a:pt x="245" y="164"/>
                  <a:pt x="250" y="160"/>
                  <a:pt x="256" y="160"/>
                </a:cubicBezTo>
                <a:cubicBezTo>
                  <a:pt x="262" y="160"/>
                  <a:pt x="266" y="164"/>
                  <a:pt x="266" y="170"/>
                </a:cubicBezTo>
                <a:cubicBezTo>
                  <a:pt x="266" y="176"/>
                  <a:pt x="262" y="181"/>
                  <a:pt x="256" y="181"/>
                </a:cubicBezTo>
                <a:cubicBezTo>
                  <a:pt x="250" y="181"/>
                  <a:pt x="245" y="176"/>
                  <a:pt x="245" y="170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375"/>
                </a:moveTo>
                <a:cubicBezTo>
                  <a:pt x="373" y="397"/>
                  <a:pt x="355" y="416"/>
                  <a:pt x="332" y="416"/>
                </a:cubicBezTo>
                <a:cubicBezTo>
                  <a:pt x="179" y="416"/>
                  <a:pt x="179" y="416"/>
                  <a:pt x="179" y="416"/>
                </a:cubicBezTo>
                <a:cubicBezTo>
                  <a:pt x="157" y="416"/>
                  <a:pt x="138" y="397"/>
                  <a:pt x="138" y="375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8" y="114"/>
                  <a:pt x="157" y="96"/>
                  <a:pt x="179" y="96"/>
                </a:cubicBezTo>
                <a:cubicBezTo>
                  <a:pt x="332" y="96"/>
                  <a:pt x="332" y="96"/>
                  <a:pt x="332" y="96"/>
                </a:cubicBezTo>
                <a:cubicBezTo>
                  <a:pt x="355" y="96"/>
                  <a:pt x="373" y="114"/>
                  <a:pt x="373" y="137"/>
                </a:cubicBezTo>
                <a:lnTo>
                  <a:pt x="373" y="37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5" name="Freeform 301"/>
          <p:cNvSpPr>
            <a:spLocks noChangeAspect="1" noEditPoints="1"/>
          </p:cNvSpPr>
          <p:nvPr/>
        </p:nvSpPr>
        <p:spPr bwMode="auto">
          <a:xfrm>
            <a:off x="8917052" y="2913578"/>
            <a:ext cx="367041" cy="36704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32 w 512"/>
              <a:gd name="T21" fmla="*/ 416 h 512"/>
              <a:gd name="T22" fmla="*/ 179 w 512"/>
              <a:gd name="T23" fmla="*/ 416 h 512"/>
              <a:gd name="T24" fmla="*/ 138 w 512"/>
              <a:gd name="T25" fmla="*/ 375 h 512"/>
              <a:gd name="T26" fmla="*/ 138 w 512"/>
              <a:gd name="T27" fmla="*/ 137 h 512"/>
              <a:gd name="T28" fmla="*/ 179 w 512"/>
              <a:gd name="T29" fmla="*/ 96 h 512"/>
              <a:gd name="T30" fmla="*/ 332 w 512"/>
              <a:gd name="T31" fmla="*/ 96 h 512"/>
              <a:gd name="T32" fmla="*/ 373 w 512"/>
              <a:gd name="T33" fmla="*/ 137 h 512"/>
              <a:gd name="T34" fmla="*/ 373 w 512"/>
              <a:gd name="T35" fmla="*/ 375 h 512"/>
              <a:gd name="T36" fmla="*/ 332 w 512"/>
              <a:gd name="T37" fmla="*/ 416 h 512"/>
              <a:gd name="T38" fmla="*/ 179 w 512"/>
              <a:gd name="T39" fmla="*/ 117 h 512"/>
              <a:gd name="T40" fmla="*/ 160 w 512"/>
              <a:gd name="T41" fmla="*/ 137 h 512"/>
              <a:gd name="T42" fmla="*/ 160 w 512"/>
              <a:gd name="T43" fmla="*/ 375 h 512"/>
              <a:gd name="T44" fmla="*/ 179 w 512"/>
              <a:gd name="T45" fmla="*/ 394 h 512"/>
              <a:gd name="T46" fmla="*/ 332 w 512"/>
              <a:gd name="T47" fmla="*/ 394 h 512"/>
              <a:gd name="T48" fmla="*/ 352 w 512"/>
              <a:gd name="T49" fmla="*/ 375 h 512"/>
              <a:gd name="T50" fmla="*/ 352 w 512"/>
              <a:gd name="T51" fmla="*/ 137 h 512"/>
              <a:gd name="T52" fmla="*/ 332 w 512"/>
              <a:gd name="T53" fmla="*/ 117 h 512"/>
              <a:gd name="T54" fmla="*/ 179 w 512"/>
              <a:gd name="T55" fmla="*/ 117 h 512"/>
              <a:gd name="T56" fmla="*/ 256 w 512"/>
              <a:gd name="T57" fmla="*/ 373 h 512"/>
              <a:gd name="T58" fmla="*/ 181 w 512"/>
              <a:gd name="T59" fmla="*/ 298 h 512"/>
              <a:gd name="T60" fmla="*/ 256 w 512"/>
              <a:gd name="T61" fmla="*/ 224 h 512"/>
              <a:gd name="T62" fmla="*/ 330 w 512"/>
              <a:gd name="T63" fmla="*/ 298 h 512"/>
              <a:gd name="T64" fmla="*/ 256 w 512"/>
              <a:gd name="T65" fmla="*/ 373 h 512"/>
              <a:gd name="T66" fmla="*/ 256 w 512"/>
              <a:gd name="T67" fmla="*/ 245 h 512"/>
              <a:gd name="T68" fmla="*/ 202 w 512"/>
              <a:gd name="T69" fmla="*/ 298 h 512"/>
              <a:gd name="T70" fmla="*/ 256 w 512"/>
              <a:gd name="T71" fmla="*/ 352 h 512"/>
              <a:gd name="T72" fmla="*/ 309 w 512"/>
              <a:gd name="T73" fmla="*/ 298 h 512"/>
              <a:gd name="T74" fmla="*/ 256 w 512"/>
              <a:gd name="T75" fmla="*/ 245 h 512"/>
              <a:gd name="T76" fmla="*/ 256 w 512"/>
              <a:gd name="T77" fmla="*/ 202 h 512"/>
              <a:gd name="T78" fmla="*/ 224 w 512"/>
              <a:gd name="T79" fmla="*/ 170 h 512"/>
              <a:gd name="T80" fmla="*/ 256 w 512"/>
              <a:gd name="T81" fmla="*/ 138 h 512"/>
              <a:gd name="T82" fmla="*/ 288 w 512"/>
              <a:gd name="T83" fmla="*/ 170 h 512"/>
              <a:gd name="T84" fmla="*/ 256 w 512"/>
              <a:gd name="T85" fmla="*/ 202 h 512"/>
              <a:gd name="T86" fmla="*/ 256 w 512"/>
              <a:gd name="T87" fmla="*/ 160 h 512"/>
              <a:gd name="T88" fmla="*/ 245 w 512"/>
              <a:gd name="T89" fmla="*/ 170 h 512"/>
              <a:gd name="T90" fmla="*/ 256 w 512"/>
              <a:gd name="T91" fmla="*/ 181 h 512"/>
              <a:gd name="T92" fmla="*/ 266 w 512"/>
              <a:gd name="T93" fmla="*/ 170 h 512"/>
              <a:gd name="T94" fmla="*/ 256 w 512"/>
              <a:gd name="T95" fmla="*/ 160 h 512"/>
              <a:gd name="T96" fmla="*/ 267 w 512"/>
              <a:gd name="T97" fmla="*/ 298 h 512"/>
              <a:gd name="T98" fmla="*/ 256 w 512"/>
              <a:gd name="T99" fmla="*/ 288 h 512"/>
              <a:gd name="T100" fmla="*/ 256 w 512"/>
              <a:gd name="T101" fmla="*/ 288 h 512"/>
              <a:gd name="T102" fmla="*/ 245 w 512"/>
              <a:gd name="T103" fmla="*/ 298 h 512"/>
              <a:gd name="T104" fmla="*/ 256 w 512"/>
              <a:gd name="T105" fmla="*/ 309 h 512"/>
              <a:gd name="T106" fmla="*/ 267 w 512"/>
              <a:gd name="T107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32" y="416"/>
                </a:moveTo>
                <a:cubicBezTo>
                  <a:pt x="179" y="416"/>
                  <a:pt x="179" y="416"/>
                  <a:pt x="179" y="416"/>
                </a:cubicBezTo>
                <a:cubicBezTo>
                  <a:pt x="157" y="416"/>
                  <a:pt x="138" y="397"/>
                  <a:pt x="138" y="375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8" y="114"/>
                  <a:pt x="157" y="96"/>
                  <a:pt x="179" y="96"/>
                </a:cubicBezTo>
                <a:cubicBezTo>
                  <a:pt x="332" y="96"/>
                  <a:pt x="332" y="96"/>
                  <a:pt x="332" y="96"/>
                </a:cubicBezTo>
                <a:cubicBezTo>
                  <a:pt x="355" y="96"/>
                  <a:pt x="373" y="114"/>
                  <a:pt x="373" y="137"/>
                </a:cubicBezTo>
                <a:cubicBezTo>
                  <a:pt x="373" y="375"/>
                  <a:pt x="373" y="375"/>
                  <a:pt x="373" y="375"/>
                </a:cubicBezTo>
                <a:cubicBezTo>
                  <a:pt x="373" y="397"/>
                  <a:pt x="355" y="416"/>
                  <a:pt x="332" y="416"/>
                </a:cubicBezTo>
                <a:close/>
                <a:moveTo>
                  <a:pt x="179" y="117"/>
                </a:moveTo>
                <a:cubicBezTo>
                  <a:pt x="168" y="117"/>
                  <a:pt x="160" y="126"/>
                  <a:pt x="160" y="137"/>
                </a:cubicBezTo>
                <a:cubicBezTo>
                  <a:pt x="160" y="375"/>
                  <a:pt x="160" y="375"/>
                  <a:pt x="160" y="375"/>
                </a:cubicBezTo>
                <a:cubicBezTo>
                  <a:pt x="160" y="386"/>
                  <a:pt x="168" y="394"/>
                  <a:pt x="179" y="394"/>
                </a:cubicBezTo>
                <a:cubicBezTo>
                  <a:pt x="332" y="394"/>
                  <a:pt x="332" y="394"/>
                  <a:pt x="332" y="394"/>
                </a:cubicBezTo>
                <a:cubicBezTo>
                  <a:pt x="343" y="394"/>
                  <a:pt x="352" y="386"/>
                  <a:pt x="352" y="375"/>
                </a:cubicBezTo>
                <a:cubicBezTo>
                  <a:pt x="352" y="137"/>
                  <a:pt x="352" y="137"/>
                  <a:pt x="352" y="137"/>
                </a:cubicBezTo>
                <a:cubicBezTo>
                  <a:pt x="352" y="126"/>
                  <a:pt x="343" y="117"/>
                  <a:pt x="332" y="117"/>
                </a:cubicBezTo>
                <a:lnTo>
                  <a:pt x="179" y="117"/>
                </a:lnTo>
                <a:close/>
                <a:moveTo>
                  <a:pt x="256" y="373"/>
                </a:moveTo>
                <a:cubicBezTo>
                  <a:pt x="214" y="373"/>
                  <a:pt x="181" y="340"/>
                  <a:pt x="181" y="298"/>
                </a:cubicBezTo>
                <a:cubicBezTo>
                  <a:pt x="181" y="257"/>
                  <a:pt x="214" y="224"/>
                  <a:pt x="256" y="224"/>
                </a:cubicBezTo>
                <a:cubicBezTo>
                  <a:pt x="297" y="224"/>
                  <a:pt x="330" y="257"/>
                  <a:pt x="330" y="298"/>
                </a:cubicBezTo>
                <a:cubicBezTo>
                  <a:pt x="330" y="340"/>
                  <a:pt x="297" y="373"/>
                  <a:pt x="256" y="373"/>
                </a:cubicBezTo>
                <a:close/>
                <a:moveTo>
                  <a:pt x="256" y="245"/>
                </a:moveTo>
                <a:cubicBezTo>
                  <a:pt x="226" y="245"/>
                  <a:pt x="202" y="269"/>
                  <a:pt x="202" y="298"/>
                </a:cubicBezTo>
                <a:cubicBezTo>
                  <a:pt x="202" y="328"/>
                  <a:pt x="226" y="352"/>
                  <a:pt x="256" y="352"/>
                </a:cubicBezTo>
                <a:cubicBezTo>
                  <a:pt x="285" y="352"/>
                  <a:pt x="309" y="328"/>
                  <a:pt x="309" y="298"/>
                </a:cubicBezTo>
                <a:cubicBezTo>
                  <a:pt x="309" y="269"/>
                  <a:pt x="285" y="245"/>
                  <a:pt x="256" y="245"/>
                </a:cubicBezTo>
                <a:close/>
                <a:moveTo>
                  <a:pt x="256" y="202"/>
                </a:moveTo>
                <a:cubicBezTo>
                  <a:pt x="238" y="202"/>
                  <a:pt x="224" y="188"/>
                  <a:pt x="224" y="170"/>
                </a:cubicBezTo>
                <a:cubicBezTo>
                  <a:pt x="224" y="153"/>
                  <a:pt x="238" y="138"/>
                  <a:pt x="256" y="138"/>
                </a:cubicBezTo>
                <a:cubicBezTo>
                  <a:pt x="273" y="138"/>
                  <a:pt x="288" y="153"/>
                  <a:pt x="288" y="170"/>
                </a:cubicBezTo>
                <a:cubicBezTo>
                  <a:pt x="288" y="188"/>
                  <a:pt x="273" y="202"/>
                  <a:pt x="256" y="202"/>
                </a:cubicBezTo>
                <a:close/>
                <a:moveTo>
                  <a:pt x="256" y="160"/>
                </a:moveTo>
                <a:cubicBezTo>
                  <a:pt x="250" y="160"/>
                  <a:pt x="245" y="164"/>
                  <a:pt x="245" y="170"/>
                </a:cubicBezTo>
                <a:cubicBezTo>
                  <a:pt x="245" y="176"/>
                  <a:pt x="250" y="181"/>
                  <a:pt x="256" y="181"/>
                </a:cubicBezTo>
                <a:cubicBezTo>
                  <a:pt x="262" y="181"/>
                  <a:pt x="266" y="176"/>
                  <a:pt x="266" y="170"/>
                </a:cubicBezTo>
                <a:cubicBezTo>
                  <a:pt x="266" y="164"/>
                  <a:pt x="262" y="160"/>
                  <a:pt x="256" y="160"/>
                </a:cubicBezTo>
                <a:close/>
                <a:moveTo>
                  <a:pt x="267" y="298"/>
                </a:moveTo>
                <a:cubicBezTo>
                  <a:pt x="267" y="292"/>
                  <a:pt x="262" y="288"/>
                  <a:pt x="256" y="288"/>
                </a:cubicBezTo>
                <a:cubicBezTo>
                  <a:pt x="256" y="288"/>
                  <a:pt x="256" y="288"/>
                  <a:pt x="256" y="288"/>
                </a:cubicBezTo>
                <a:cubicBezTo>
                  <a:pt x="250" y="288"/>
                  <a:pt x="245" y="292"/>
                  <a:pt x="245" y="298"/>
                </a:cubicBezTo>
                <a:cubicBezTo>
                  <a:pt x="245" y="304"/>
                  <a:pt x="250" y="309"/>
                  <a:pt x="256" y="309"/>
                </a:cubicBezTo>
                <a:cubicBezTo>
                  <a:pt x="262" y="309"/>
                  <a:pt x="267" y="304"/>
                  <a:pt x="267" y="29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6" name="Freeform 214"/>
          <p:cNvSpPr>
            <a:spLocks noChangeAspect="1" noEditPoints="1"/>
          </p:cNvSpPr>
          <p:nvPr/>
        </p:nvSpPr>
        <p:spPr bwMode="auto">
          <a:xfrm>
            <a:off x="9413944" y="2913578"/>
            <a:ext cx="367631" cy="367631"/>
          </a:xfrm>
          <a:custGeom>
            <a:avLst/>
            <a:gdLst>
              <a:gd name="T0" fmla="*/ 320 w 512"/>
              <a:gd name="T1" fmla="*/ 245 h 512"/>
              <a:gd name="T2" fmla="*/ 373 w 512"/>
              <a:gd name="T3" fmla="*/ 245 h 512"/>
              <a:gd name="T4" fmla="*/ 373 w 512"/>
              <a:gd name="T5" fmla="*/ 373 h 512"/>
              <a:gd name="T6" fmla="*/ 320 w 512"/>
              <a:gd name="T7" fmla="*/ 373 h 512"/>
              <a:gd name="T8" fmla="*/ 320 w 512"/>
              <a:gd name="T9" fmla="*/ 245 h 512"/>
              <a:gd name="T10" fmla="*/ 330 w 512"/>
              <a:gd name="T11" fmla="*/ 224 h 512"/>
              <a:gd name="T12" fmla="*/ 309 w 512"/>
              <a:gd name="T13" fmla="*/ 224 h 512"/>
              <a:gd name="T14" fmla="*/ 298 w 512"/>
              <a:gd name="T15" fmla="*/ 234 h 512"/>
              <a:gd name="T16" fmla="*/ 298 w 512"/>
              <a:gd name="T17" fmla="*/ 352 h 512"/>
              <a:gd name="T18" fmla="*/ 160 w 512"/>
              <a:gd name="T19" fmla="*/ 352 h 512"/>
              <a:gd name="T20" fmla="*/ 160 w 512"/>
              <a:gd name="T21" fmla="*/ 128 h 512"/>
              <a:gd name="T22" fmla="*/ 330 w 512"/>
              <a:gd name="T23" fmla="*/ 128 h 512"/>
              <a:gd name="T24" fmla="*/ 330 w 512"/>
              <a:gd name="T25" fmla="*/ 224 h 512"/>
              <a:gd name="T26" fmla="*/ 256 w 512"/>
              <a:gd name="T27" fmla="*/ 320 h 512"/>
              <a:gd name="T28" fmla="*/ 245 w 512"/>
              <a:gd name="T29" fmla="*/ 309 h 512"/>
              <a:gd name="T30" fmla="*/ 234 w 512"/>
              <a:gd name="T31" fmla="*/ 320 h 512"/>
              <a:gd name="T32" fmla="*/ 245 w 512"/>
              <a:gd name="T33" fmla="*/ 330 h 512"/>
              <a:gd name="T34" fmla="*/ 256 w 512"/>
              <a:gd name="T35" fmla="*/ 320 h 512"/>
              <a:gd name="T36" fmla="*/ 512 w 512"/>
              <a:gd name="T37" fmla="*/ 256 h 512"/>
              <a:gd name="T38" fmla="*/ 256 w 512"/>
              <a:gd name="T39" fmla="*/ 512 h 512"/>
              <a:gd name="T40" fmla="*/ 0 w 512"/>
              <a:gd name="T41" fmla="*/ 256 h 512"/>
              <a:gd name="T42" fmla="*/ 256 w 512"/>
              <a:gd name="T43" fmla="*/ 0 h 512"/>
              <a:gd name="T44" fmla="*/ 512 w 512"/>
              <a:gd name="T45" fmla="*/ 256 h 512"/>
              <a:gd name="T46" fmla="*/ 394 w 512"/>
              <a:gd name="T47" fmla="*/ 234 h 512"/>
              <a:gd name="T48" fmla="*/ 384 w 512"/>
              <a:gd name="T49" fmla="*/ 224 h 512"/>
              <a:gd name="T50" fmla="*/ 352 w 512"/>
              <a:gd name="T51" fmla="*/ 224 h 512"/>
              <a:gd name="T52" fmla="*/ 352 w 512"/>
              <a:gd name="T53" fmla="*/ 117 h 512"/>
              <a:gd name="T54" fmla="*/ 341 w 512"/>
              <a:gd name="T55" fmla="*/ 106 h 512"/>
              <a:gd name="T56" fmla="*/ 149 w 512"/>
              <a:gd name="T57" fmla="*/ 106 h 512"/>
              <a:gd name="T58" fmla="*/ 138 w 512"/>
              <a:gd name="T59" fmla="*/ 117 h 512"/>
              <a:gd name="T60" fmla="*/ 138 w 512"/>
              <a:gd name="T61" fmla="*/ 362 h 512"/>
              <a:gd name="T62" fmla="*/ 149 w 512"/>
              <a:gd name="T63" fmla="*/ 373 h 512"/>
              <a:gd name="T64" fmla="*/ 298 w 512"/>
              <a:gd name="T65" fmla="*/ 373 h 512"/>
              <a:gd name="T66" fmla="*/ 298 w 512"/>
              <a:gd name="T67" fmla="*/ 384 h 512"/>
              <a:gd name="T68" fmla="*/ 309 w 512"/>
              <a:gd name="T69" fmla="*/ 394 h 512"/>
              <a:gd name="T70" fmla="*/ 384 w 512"/>
              <a:gd name="T71" fmla="*/ 394 h 512"/>
              <a:gd name="T72" fmla="*/ 394 w 512"/>
              <a:gd name="T73" fmla="*/ 384 h 512"/>
              <a:gd name="T74" fmla="*/ 394 w 512"/>
              <a:gd name="T75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320" y="245"/>
                </a:moveTo>
                <a:cubicBezTo>
                  <a:pt x="373" y="245"/>
                  <a:pt x="373" y="245"/>
                  <a:pt x="373" y="24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20" y="373"/>
                  <a:pt x="320" y="373"/>
                  <a:pt x="320" y="373"/>
                </a:cubicBezTo>
                <a:lnTo>
                  <a:pt x="320" y="245"/>
                </a:lnTo>
                <a:close/>
                <a:moveTo>
                  <a:pt x="330" y="224"/>
                </a:moveTo>
                <a:cubicBezTo>
                  <a:pt x="309" y="224"/>
                  <a:pt x="309" y="224"/>
                  <a:pt x="309" y="224"/>
                </a:cubicBezTo>
                <a:cubicBezTo>
                  <a:pt x="303" y="224"/>
                  <a:pt x="298" y="228"/>
                  <a:pt x="298" y="234"/>
                </a:cubicBezTo>
                <a:cubicBezTo>
                  <a:pt x="298" y="352"/>
                  <a:pt x="298" y="352"/>
                  <a:pt x="298" y="352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60" y="128"/>
                  <a:pt x="160" y="128"/>
                  <a:pt x="160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24"/>
                </a:lnTo>
                <a:close/>
                <a:moveTo>
                  <a:pt x="256" y="320"/>
                </a:moveTo>
                <a:cubicBezTo>
                  <a:pt x="256" y="314"/>
                  <a:pt x="251" y="309"/>
                  <a:pt x="245" y="309"/>
                </a:cubicBezTo>
                <a:cubicBezTo>
                  <a:pt x="239" y="309"/>
                  <a:pt x="234" y="314"/>
                  <a:pt x="234" y="320"/>
                </a:cubicBezTo>
                <a:cubicBezTo>
                  <a:pt x="234" y="326"/>
                  <a:pt x="239" y="330"/>
                  <a:pt x="245" y="330"/>
                </a:cubicBezTo>
                <a:cubicBezTo>
                  <a:pt x="251" y="330"/>
                  <a:pt x="256" y="326"/>
                  <a:pt x="256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34"/>
                </a:moveTo>
                <a:cubicBezTo>
                  <a:pt x="394" y="228"/>
                  <a:pt x="390" y="224"/>
                  <a:pt x="384" y="224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352" y="111"/>
                  <a:pt x="347" y="106"/>
                  <a:pt x="341" y="106"/>
                </a:cubicBezTo>
                <a:cubicBezTo>
                  <a:pt x="149" y="106"/>
                  <a:pt x="149" y="106"/>
                  <a:pt x="149" y="106"/>
                </a:cubicBezTo>
                <a:cubicBezTo>
                  <a:pt x="143" y="106"/>
                  <a:pt x="138" y="111"/>
                  <a:pt x="138" y="117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68"/>
                  <a:pt x="143" y="373"/>
                  <a:pt x="149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298" y="384"/>
                  <a:pt x="298" y="384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3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7" name="Group 217"/>
          <p:cNvGrpSpPr>
            <a:grpSpLocks noChangeAspect="1"/>
          </p:cNvGrpSpPr>
          <p:nvPr/>
        </p:nvGrpSpPr>
        <p:grpSpPr bwMode="auto">
          <a:xfrm>
            <a:off x="9911429" y="2913578"/>
            <a:ext cx="367631" cy="367631"/>
            <a:chOff x="1900" y="709"/>
            <a:chExt cx="340" cy="340"/>
          </a:xfrm>
          <a:solidFill>
            <a:schemeClr val="accent3"/>
          </a:solidFill>
        </p:grpSpPr>
        <p:sp>
          <p:nvSpPr>
            <p:cNvPr id="338" name="Freeform 218"/>
            <p:cNvSpPr>
              <a:spLocks noEditPoints="1"/>
            </p:cNvSpPr>
            <p:nvPr/>
          </p:nvSpPr>
          <p:spPr bwMode="auto">
            <a:xfrm>
              <a:off x="1900" y="7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219"/>
            <p:cNvSpPr>
              <a:spLocks noEditPoints="1"/>
            </p:cNvSpPr>
            <p:nvPr/>
          </p:nvSpPr>
          <p:spPr bwMode="auto">
            <a:xfrm>
              <a:off x="1992" y="779"/>
              <a:ext cx="170" cy="192"/>
            </a:xfrm>
            <a:custGeom>
              <a:avLst/>
              <a:gdLst>
                <a:gd name="T0" fmla="*/ 246 w 256"/>
                <a:gd name="T1" fmla="*/ 118 h 288"/>
                <a:gd name="T2" fmla="*/ 214 w 256"/>
                <a:gd name="T3" fmla="*/ 118 h 288"/>
                <a:gd name="T4" fmla="*/ 214 w 256"/>
                <a:gd name="T5" fmla="*/ 11 h 288"/>
                <a:gd name="T6" fmla="*/ 203 w 256"/>
                <a:gd name="T7" fmla="*/ 0 h 288"/>
                <a:gd name="T8" fmla="*/ 11 w 256"/>
                <a:gd name="T9" fmla="*/ 0 h 288"/>
                <a:gd name="T10" fmla="*/ 0 w 256"/>
                <a:gd name="T11" fmla="*/ 11 h 288"/>
                <a:gd name="T12" fmla="*/ 0 w 256"/>
                <a:gd name="T13" fmla="*/ 256 h 288"/>
                <a:gd name="T14" fmla="*/ 11 w 256"/>
                <a:gd name="T15" fmla="*/ 267 h 288"/>
                <a:gd name="T16" fmla="*/ 160 w 256"/>
                <a:gd name="T17" fmla="*/ 267 h 288"/>
                <a:gd name="T18" fmla="*/ 160 w 256"/>
                <a:gd name="T19" fmla="*/ 278 h 288"/>
                <a:gd name="T20" fmla="*/ 171 w 256"/>
                <a:gd name="T21" fmla="*/ 288 h 288"/>
                <a:gd name="T22" fmla="*/ 246 w 256"/>
                <a:gd name="T23" fmla="*/ 288 h 288"/>
                <a:gd name="T24" fmla="*/ 256 w 256"/>
                <a:gd name="T25" fmla="*/ 278 h 288"/>
                <a:gd name="T26" fmla="*/ 256 w 256"/>
                <a:gd name="T27" fmla="*/ 128 h 288"/>
                <a:gd name="T28" fmla="*/ 246 w 256"/>
                <a:gd name="T29" fmla="*/ 118 h 288"/>
                <a:gd name="T30" fmla="*/ 160 w 256"/>
                <a:gd name="T31" fmla="*/ 128 h 288"/>
                <a:gd name="T32" fmla="*/ 160 w 256"/>
                <a:gd name="T33" fmla="*/ 246 h 288"/>
                <a:gd name="T34" fmla="*/ 22 w 256"/>
                <a:gd name="T35" fmla="*/ 246 h 288"/>
                <a:gd name="T36" fmla="*/ 22 w 256"/>
                <a:gd name="T37" fmla="*/ 22 h 288"/>
                <a:gd name="T38" fmla="*/ 192 w 256"/>
                <a:gd name="T39" fmla="*/ 22 h 288"/>
                <a:gd name="T40" fmla="*/ 192 w 256"/>
                <a:gd name="T41" fmla="*/ 118 h 288"/>
                <a:gd name="T42" fmla="*/ 171 w 256"/>
                <a:gd name="T43" fmla="*/ 118 h 288"/>
                <a:gd name="T44" fmla="*/ 160 w 256"/>
                <a:gd name="T45" fmla="*/ 128 h 288"/>
                <a:gd name="T46" fmla="*/ 235 w 256"/>
                <a:gd name="T47" fmla="*/ 267 h 288"/>
                <a:gd name="T48" fmla="*/ 182 w 256"/>
                <a:gd name="T49" fmla="*/ 267 h 288"/>
                <a:gd name="T50" fmla="*/ 182 w 256"/>
                <a:gd name="T51" fmla="*/ 139 h 288"/>
                <a:gd name="T52" fmla="*/ 235 w 256"/>
                <a:gd name="T53" fmla="*/ 139 h 288"/>
                <a:gd name="T54" fmla="*/ 235 w 256"/>
                <a:gd name="T55" fmla="*/ 267 h 288"/>
                <a:gd name="T56" fmla="*/ 118 w 256"/>
                <a:gd name="T57" fmla="*/ 214 h 288"/>
                <a:gd name="T58" fmla="*/ 107 w 256"/>
                <a:gd name="T59" fmla="*/ 224 h 288"/>
                <a:gd name="T60" fmla="*/ 96 w 256"/>
                <a:gd name="T61" fmla="*/ 214 h 288"/>
                <a:gd name="T62" fmla="*/ 107 w 256"/>
                <a:gd name="T63" fmla="*/ 203 h 288"/>
                <a:gd name="T64" fmla="*/ 118 w 256"/>
                <a:gd name="T65" fmla="*/ 21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6" h="288">
                  <a:moveTo>
                    <a:pt x="246" y="118"/>
                  </a:moveTo>
                  <a:cubicBezTo>
                    <a:pt x="214" y="118"/>
                    <a:pt x="214" y="118"/>
                    <a:pt x="214" y="118"/>
                  </a:cubicBezTo>
                  <a:cubicBezTo>
                    <a:pt x="214" y="11"/>
                    <a:pt x="214" y="11"/>
                    <a:pt x="214" y="11"/>
                  </a:cubicBezTo>
                  <a:cubicBezTo>
                    <a:pt x="214" y="5"/>
                    <a:pt x="209" y="0"/>
                    <a:pt x="20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160" y="267"/>
                    <a:pt x="160" y="267"/>
                    <a:pt x="160" y="267"/>
                  </a:cubicBezTo>
                  <a:cubicBezTo>
                    <a:pt x="160" y="278"/>
                    <a:pt x="160" y="278"/>
                    <a:pt x="160" y="278"/>
                  </a:cubicBezTo>
                  <a:cubicBezTo>
                    <a:pt x="160" y="284"/>
                    <a:pt x="165" y="288"/>
                    <a:pt x="171" y="288"/>
                  </a:cubicBezTo>
                  <a:cubicBezTo>
                    <a:pt x="246" y="288"/>
                    <a:pt x="246" y="288"/>
                    <a:pt x="246" y="288"/>
                  </a:cubicBezTo>
                  <a:cubicBezTo>
                    <a:pt x="252" y="288"/>
                    <a:pt x="256" y="284"/>
                    <a:pt x="256" y="278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6" y="122"/>
                    <a:pt x="252" y="118"/>
                    <a:pt x="246" y="118"/>
                  </a:cubicBezTo>
                  <a:close/>
                  <a:moveTo>
                    <a:pt x="160" y="128"/>
                  </a:moveTo>
                  <a:cubicBezTo>
                    <a:pt x="160" y="246"/>
                    <a:pt x="160" y="246"/>
                    <a:pt x="160" y="246"/>
                  </a:cubicBezTo>
                  <a:cubicBezTo>
                    <a:pt x="22" y="246"/>
                    <a:pt x="22" y="246"/>
                    <a:pt x="22" y="246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71" y="118"/>
                    <a:pt x="171" y="118"/>
                    <a:pt x="171" y="118"/>
                  </a:cubicBezTo>
                  <a:cubicBezTo>
                    <a:pt x="165" y="118"/>
                    <a:pt x="160" y="122"/>
                    <a:pt x="160" y="128"/>
                  </a:cubicBezTo>
                  <a:close/>
                  <a:moveTo>
                    <a:pt x="235" y="267"/>
                  </a:moveTo>
                  <a:cubicBezTo>
                    <a:pt x="182" y="267"/>
                    <a:pt x="182" y="267"/>
                    <a:pt x="182" y="267"/>
                  </a:cubicBezTo>
                  <a:cubicBezTo>
                    <a:pt x="182" y="139"/>
                    <a:pt x="182" y="139"/>
                    <a:pt x="182" y="139"/>
                  </a:cubicBezTo>
                  <a:cubicBezTo>
                    <a:pt x="235" y="139"/>
                    <a:pt x="235" y="139"/>
                    <a:pt x="235" y="139"/>
                  </a:cubicBezTo>
                  <a:lnTo>
                    <a:pt x="235" y="267"/>
                  </a:lnTo>
                  <a:close/>
                  <a:moveTo>
                    <a:pt x="118" y="214"/>
                  </a:moveTo>
                  <a:cubicBezTo>
                    <a:pt x="118" y="220"/>
                    <a:pt x="113" y="224"/>
                    <a:pt x="107" y="224"/>
                  </a:cubicBezTo>
                  <a:cubicBezTo>
                    <a:pt x="101" y="224"/>
                    <a:pt x="96" y="220"/>
                    <a:pt x="96" y="214"/>
                  </a:cubicBezTo>
                  <a:cubicBezTo>
                    <a:pt x="96" y="208"/>
                    <a:pt x="101" y="203"/>
                    <a:pt x="107" y="203"/>
                  </a:cubicBezTo>
                  <a:cubicBezTo>
                    <a:pt x="113" y="203"/>
                    <a:pt x="118" y="208"/>
                    <a:pt x="118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0" name="Freeform 561"/>
          <p:cNvSpPr>
            <a:spLocks noChangeAspect="1" noEditPoints="1"/>
          </p:cNvSpPr>
          <p:nvPr/>
        </p:nvSpPr>
        <p:spPr bwMode="auto">
          <a:xfrm>
            <a:off x="454504" y="3740723"/>
            <a:ext cx="367982" cy="367982"/>
          </a:xfrm>
          <a:custGeom>
            <a:avLst/>
            <a:gdLst>
              <a:gd name="T0" fmla="*/ 266 w 512"/>
              <a:gd name="T1" fmla="*/ 281 h 512"/>
              <a:gd name="T2" fmla="*/ 310 w 512"/>
              <a:gd name="T3" fmla="*/ 325 h 512"/>
              <a:gd name="T4" fmla="*/ 266 w 512"/>
              <a:gd name="T5" fmla="*/ 369 h 512"/>
              <a:gd name="T6" fmla="*/ 266 w 512"/>
              <a:gd name="T7" fmla="*/ 281 h 512"/>
              <a:gd name="T8" fmla="*/ 266 w 512"/>
              <a:gd name="T9" fmla="*/ 230 h 512"/>
              <a:gd name="T10" fmla="*/ 310 w 512"/>
              <a:gd name="T11" fmla="*/ 186 h 512"/>
              <a:gd name="T12" fmla="*/ 266 w 512"/>
              <a:gd name="T13" fmla="*/ 143 h 512"/>
              <a:gd name="T14" fmla="*/ 266 w 512"/>
              <a:gd name="T15" fmla="*/ 230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271 w 512"/>
              <a:gd name="T27" fmla="*/ 256 h 512"/>
              <a:gd name="T28" fmla="*/ 333 w 512"/>
              <a:gd name="T29" fmla="*/ 194 h 512"/>
              <a:gd name="T30" fmla="*/ 333 w 512"/>
              <a:gd name="T31" fmla="*/ 179 h 512"/>
              <a:gd name="T32" fmla="*/ 263 w 512"/>
              <a:gd name="T33" fmla="*/ 109 h 512"/>
              <a:gd name="T34" fmla="*/ 252 w 512"/>
              <a:gd name="T35" fmla="*/ 107 h 512"/>
              <a:gd name="T36" fmla="*/ 245 w 512"/>
              <a:gd name="T37" fmla="*/ 117 h 512"/>
              <a:gd name="T38" fmla="*/ 245 w 512"/>
              <a:gd name="T39" fmla="*/ 230 h 512"/>
              <a:gd name="T40" fmla="*/ 194 w 512"/>
              <a:gd name="T41" fmla="*/ 179 h 512"/>
              <a:gd name="T42" fmla="*/ 179 w 512"/>
              <a:gd name="T43" fmla="*/ 179 h 512"/>
              <a:gd name="T44" fmla="*/ 179 w 512"/>
              <a:gd name="T45" fmla="*/ 194 h 512"/>
              <a:gd name="T46" fmla="*/ 241 w 512"/>
              <a:gd name="T47" fmla="*/ 256 h 512"/>
              <a:gd name="T48" fmla="*/ 179 w 512"/>
              <a:gd name="T49" fmla="*/ 317 h 512"/>
              <a:gd name="T50" fmla="*/ 179 w 512"/>
              <a:gd name="T51" fmla="*/ 333 h 512"/>
              <a:gd name="T52" fmla="*/ 194 w 512"/>
              <a:gd name="T53" fmla="*/ 333 h 512"/>
              <a:gd name="T54" fmla="*/ 245 w 512"/>
              <a:gd name="T55" fmla="*/ 281 h 512"/>
              <a:gd name="T56" fmla="*/ 245 w 512"/>
              <a:gd name="T57" fmla="*/ 394 h 512"/>
              <a:gd name="T58" fmla="*/ 252 w 512"/>
              <a:gd name="T59" fmla="*/ 404 h 512"/>
              <a:gd name="T60" fmla="*/ 256 w 512"/>
              <a:gd name="T61" fmla="*/ 405 h 512"/>
              <a:gd name="T62" fmla="*/ 263 w 512"/>
              <a:gd name="T63" fmla="*/ 402 h 512"/>
              <a:gd name="T64" fmla="*/ 333 w 512"/>
              <a:gd name="T65" fmla="*/ 333 h 512"/>
              <a:gd name="T66" fmla="*/ 333 w 512"/>
              <a:gd name="T67" fmla="*/ 317 h 512"/>
              <a:gd name="T68" fmla="*/ 271 w 512"/>
              <a:gd name="T6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281"/>
                </a:moveTo>
                <a:cubicBezTo>
                  <a:pt x="310" y="325"/>
                  <a:pt x="310" y="325"/>
                  <a:pt x="310" y="325"/>
                </a:cubicBezTo>
                <a:cubicBezTo>
                  <a:pt x="266" y="369"/>
                  <a:pt x="266" y="369"/>
                  <a:pt x="266" y="369"/>
                </a:cubicBezTo>
                <a:lnTo>
                  <a:pt x="266" y="281"/>
                </a:lnTo>
                <a:close/>
                <a:moveTo>
                  <a:pt x="266" y="230"/>
                </a:moveTo>
                <a:cubicBezTo>
                  <a:pt x="310" y="186"/>
                  <a:pt x="310" y="186"/>
                  <a:pt x="310" y="186"/>
                </a:cubicBezTo>
                <a:cubicBezTo>
                  <a:pt x="266" y="143"/>
                  <a:pt x="266" y="143"/>
                  <a:pt x="266" y="143"/>
                </a:cubicBezTo>
                <a:lnTo>
                  <a:pt x="266" y="23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71" y="256"/>
                </a:moveTo>
                <a:cubicBezTo>
                  <a:pt x="333" y="194"/>
                  <a:pt x="333" y="194"/>
                  <a:pt x="333" y="194"/>
                </a:cubicBezTo>
                <a:cubicBezTo>
                  <a:pt x="337" y="190"/>
                  <a:pt x="337" y="183"/>
                  <a:pt x="333" y="179"/>
                </a:cubicBezTo>
                <a:cubicBezTo>
                  <a:pt x="263" y="109"/>
                  <a:pt x="263" y="109"/>
                  <a:pt x="263" y="109"/>
                </a:cubicBezTo>
                <a:cubicBezTo>
                  <a:pt x="260" y="106"/>
                  <a:pt x="256" y="105"/>
                  <a:pt x="252" y="107"/>
                </a:cubicBezTo>
                <a:cubicBezTo>
                  <a:pt x="248" y="109"/>
                  <a:pt x="245" y="113"/>
                  <a:pt x="245" y="117"/>
                </a:cubicBezTo>
                <a:cubicBezTo>
                  <a:pt x="245" y="230"/>
                  <a:pt x="245" y="230"/>
                  <a:pt x="245" y="230"/>
                </a:cubicBezTo>
                <a:cubicBezTo>
                  <a:pt x="194" y="179"/>
                  <a:pt x="194" y="179"/>
                  <a:pt x="194" y="179"/>
                </a:cubicBezTo>
                <a:cubicBezTo>
                  <a:pt x="190" y="175"/>
                  <a:pt x="183" y="175"/>
                  <a:pt x="179" y="179"/>
                </a:cubicBezTo>
                <a:cubicBezTo>
                  <a:pt x="175" y="183"/>
                  <a:pt x="175" y="190"/>
                  <a:pt x="179" y="194"/>
                </a:cubicBezTo>
                <a:cubicBezTo>
                  <a:pt x="241" y="256"/>
                  <a:pt x="241" y="256"/>
                  <a:pt x="241" y="256"/>
                </a:cubicBezTo>
                <a:cubicBezTo>
                  <a:pt x="179" y="317"/>
                  <a:pt x="179" y="317"/>
                  <a:pt x="179" y="317"/>
                </a:cubicBezTo>
                <a:cubicBezTo>
                  <a:pt x="175" y="322"/>
                  <a:pt x="175" y="328"/>
                  <a:pt x="179" y="333"/>
                </a:cubicBezTo>
                <a:cubicBezTo>
                  <a:pt x="183" y="337"/>
                  <a:pt x="190" y="337"/>
                  <a:pt x="194" y="333"/>
                </a:cubicBezTo>
                <a:cubicBezTo>
                  <a:pt x="245" y="281"/>
                  <a:pt x="245" y="281"/>
                  <a:pt x="245" y="281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9"/>
                  <a:pt x="248" y="403"/>
                  <a:pt x="252" y="404"/>
                </a:cubicBezTo>
                <a:cubicBezTo>
                  <a:pt x="253" y="405"/>
                  <a:pt x="254" y="405"/>
                  <a:pt x="256" y="405"/>
                </a:cubicBezTo>
                <a:cubicBezTo>
                  <a:pt x="258" y="405"/>
                  <a:pt x="261" y="404"/>
                  <a:pt x="263" y="402"/>
                </a:cubicBezTo>
                <a:cubicBezTo>
                  <a:pt x="333" y="333"/>
                  <a:pt x="333" y="333"/>
                  <a:pt x="333" y="333"/>
                </a:cubicBezTo>
                <a:cubicBezTo>
                  <a:pt x="337" y="328"/>
                  <a:pt x="337" y="322"/>
                  <a:pt x="333" y="317"/>
                </a:cubicBezTo>
                <a:lnTo>
                  <a:pt x="271" y="25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1" name="Group 564"/>
          <p:cNvGrpSpPr>
            <a:grpSpLocks noChangeAspect="1"/>
          </p:cNvGrpSpPr>
          <p:nvPr/>
        </p:nvGrpSpPr>
        <p:grpSpPr bwMode="auto">
          <a:xfrm>
            <a:off x="950950" y="3740724"/>
            <a:ext cx="367982" cy="367982"/>
            <a:chOff x="4284" y="2965"/>
            <a:chExt cx="340" cy="340"/>
          </a:xfrm>
          <a:solidFill>
            <a:schemeClr val="accent6"/>
          </a:solidFill>
        </p:grpSpPr>
        <p:sp>
          <p:nvSpPr>
            <p:cNvPr id="342" name="Freeform 565"/>
            <p:cNvSpPr>
              <a:spLocks noEditPoints="1"/>
            </p:cNvSpPr>
            <p:nvPr/>
          </p:nvSpPr>
          <p:spPr bwMode="auto">
            <a:xfrm>
              <a:off x="4284" y="296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566"/>
            <p:cNvSpPr>
              <a:spLocks noEditPoints="1"/>
            </p:cNvSpPr>
            <p:nvPr/>
          </p:nvSpPr>
          <p:spPr bwMode="auto">
            <a:xfrm>
              <a:off x="4400" y="3035"/>
              <a:ext cx="108" cy="199"/>
            </a:xfrm>
            <a:custGeom>
              <a:avLst/>
              <a:gdLst>
                <a:gd name="T0" fmla="*/ 81 w 162"/>
                <a:gd name="T1" fmla="*/ 300 h 300"/>
                <a:gd name="T2" fmla="*/ 77 w 162"/>
                <a:gd name="T3" fmla="*/ 299 h 300"/>
                <a:gd name="T4" fmla="*/ 70 w 162"/>
                <a:gd name="T5" fmla="*/ 289 h 300"/>
                <a:gd name="T6" fmla="*/ 70 w 162"/>
                <a:gd name="T7" fmla="*/ 176 h 300"/>
                <a:gd name="T8" fmla="*/ 19 w 162"/>
                <a:gd name="T9" fmla="*/ 228 h 300"/>
                <a:gd name="T10" fmla="*/ 4 w 162"/>
                <a:gd name="T11" fmla="*/ 228 h 300"/>
                <a:gd name="T12" fmla="*/ 4 w 162"/>
                <a:gd name="T13" fmla="*/ 212 h 300"/>
                <a:gd name="T14" fmla="*/ 66 w 162"/>
                <a:gd name="T15" fmla="*/ 151 h 300"/>
                <a:gd name="T16" fmla="*/ 4 w 162"/>
                <a:gd name="T17" fmla="*/ 89 h 300"/>
                <a:gd name="T18" fmla="*/ 4 w 162"/>
                <a:gd name="T19" fmla="*/ 74 h 300"/>
                <a:gd name="T20" fmla="*/ 19 w 162"/>
                <a:gd name="T21" fmla="*/ 74 h 300"/>
                <a:gd name="T22" fmla="*/ 70 w 162"/>
                <a:gd name="T23" fmla="*/ 125 h 300"/>
                <a:gd name="T24" fmla="*/ 70 w 162"/>
                <a:gd name="T25" fmla="*/ 12 h 300"/>
                <a:gd name="T26" fmla="*/ 77 w 162"/>
                <a:gd name="T27" fmla="*/ 2 h 300"/>
                <a:gd name="T28" fmla="*/ 88 w 162"/>
                <a:gd name="T29" fmla="*/ 4 h 300"/>
                <a:gd name="T30" fmla="*/ 158 w 162"/>
                <a:gd name="T31" fmla="*/ 74 h 300"/>
                <a:gd name="T32" fmla="*/ 158 w 162"/>
                <a:gd name="T33" fmla="*/ 89 h 300"/>
                <a:gd name="T34" fmla="*/ 96 w 162"/>
                <a:gd name="T35" fmla="*/ 151 h 300"/>
                <a:gd name="T36" fmla="*/ 158 w 162"/>
                <a:gd name="T37" fmla="*/ 212 h 300"/>
                <a:gd name="T38" fmla="*/ 158 w 162"/>
                <a:gd name="T39" fmla="*/ 228 h 300"/>
                <a:gd name="T40" fmla="*/ 88 w 162"/>
                <a:gd name="T41" fmla="*/ 297 h 300"/>
                <a:gd name="T42" fmla="*/ 81 w 162"/>
                <a:gd name="T43" fmla="*/ 300 h 300"/>
                <a:gd name="T44" fmla="*/ 91 w 162"/>
                <a:gd name="T45" fmla="*/ 176 h 300"/>
                <a:gd name="T46" fmla="*/ 91 w 162"/>
                <a:gd name="T47" fmla="*/ 264 h 300"/>
                <a:gd name="T48" fmla="*/ 135 w 162"/>
                <a:gd name="T49" fmla="*/ 220 h 300"/>
                <a:gd name="T50" fmla="*/ 91 w 162"/>
                <a:gd name="T51" fmla="*/ 176 h 300"/>
                <a:gd name="T52" fmla="*/ 91 w 162"/>
                <a:gd name="T53" fmla="*/ 38 h 300"/>
                <a:gd name="T54" fmla="*/ 91 w 162"/>
                <a:gd name="T55" fmla="*/ 125 h 300"/>
                <a:gd name="T56" fmla="*/ 135 w 162"/>
                <a:gd name="T57" fmla="*/ 81 h 300"/>
                <a:gd name="T58" fmla="*/ 91 w 162"/>
                <a:gd name="T59" fmla="*/ 3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2" h="300">
                  <a:moveTo>
                    <a:pt x="81" y="300"/>
                  </a:moveTo>
                  <a:cubicBezTo>
                    <a:pt x="79" y="300"/>
                    <a:pt x="78" y="300"/>
                    <a:pt x="77" y="299"/>
                  </a:cubicBezTo>
                  <a:cubicBezTo>
                    <a:pt x="73" y="298"/>
                    <a:pt x="70" y="294"/>
                    <a:pt x="70" y="289"/>
                  </a:cubicBezTo>
                  <a:cubicBezTo>
                    <a:pt x="70" y="176"/>
                    <a:pt x="70" y="176"/>
                    <a:pt x="70" y="176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15" y="232"/>
                    <a:pt x="8" y="232"/>
                    <a:pt x="4" y="228"/>
                  </a:cubicBezTo>
                  <a:cubicBezTo>
                    <a:pt x="0" y="223"/>
                    <a:pt x="0" y="217"/>
                    <a:pt x="4" y="212"/>
                  </a:cubicBezTo>
                  <a:cubicBezTo>
                    <a:pt x="66" y="151"/>
                    <a:pt x="66" y="151"/>
                    <a:pt x="66" y="151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0" y="85"/>
                    <a:pt x="0" y="78"/>
                    <a:pt x="4" y="74"/>
                  </a:cubicBezTo>
                  <a:cubicBezTo>
                    <a:pt x="8" y="70"/>
                    <a:pt x="15" y="70"/>
                    <a:pt x="19" y="74"/>
                  </a:cubicBezTo>
                  <a:cubicBezTo>
                    <a:pt x="70" y="125"/>
                    <a:pt x="70" y="125"/>
                    <a:pt x="70" y="125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8"/>
                    <a:pt x="73" y="4"/>
                    <a:pt x="77" y="2"/>
                  </a:cubicBezTo>
                  <a:cubicBezTo>
                    <a:pt x="81" y="0"/>
                    <a:pt x="85" y="1"/>
                    <a:pt x="88" y="4"/>
                  </a:cubicBezTo>
                  <a:cubicBezTo>
                    <a:pt x="158" y="74"/>
                    <a:pt x="158" y="74"/>
                    <a:pt x="158" y="74"/>
                  </a:cubicBezTo>
                  <a:cubicBezTo>
                    <a:pt x="162" y="78"/>
                    <a:pt x="162" y="85"/>
                    <a:pt x="158" y="89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158" y="212"/>
                    <a:pt x="158" y="212"/>
                    <a:pt x="158" y="212"/>
                  </a:cubicBezTo>
                  <a:cubicBezTo>
                    <a:pt x="162" y="217"/>
                    <a:pt x="162" y="223"/>
                    <a:pt x="158" y="228"/>
                  </a:cubicBezTo>
                  <a:cubicBezTo>
                    <a:pt x="88" y="297"/>
                    <a:pt x="88" y="297"/>
                    <a:pt x="88" y="297"/>
                  </a:cubicBezTo>
                  <a:cubicBezTo>
                    <a:pt x="86" y="299"/>
                    <a:pt x="83" y="300"/>
                    <a:pt x="81" y="300"/>
                  </a:cubicBezTo>
                  <a:close/>
                  <a:moveTo>
                    <a:pt x="91" y="176"/>
                  </a:moveTo>
                  <a:cubicBezTo>
                    <a:pt x="91" y="264"/>
                    <a:pt x="91" y="264"/>
                    <a:pt x="91" y="264"/>
                  </a:cubicBezTo>
                  <a:cubicBezTo>
                    <a:pt x="135" y="220"/>
                    <a:pt x="135" y="220"/>
                    <a:pt x="135" y="220"/>
                  </a:cubicBezTo>
                  <a:lnTo>
                    <a:pt x="91" y="176"/>
                  </a:lnTo>
                  <a:close/>
                  <a:moveTo>
                    <a:pt x="91" y="38"/>
                  </a:moveTo>
                  <a:cubicBezTo>
                    <a:pt x="91" y="125"/>
                    <a:pt x="91" y="125"/>
                    <a:pt x="91" y="125"/>
                  </a:cubicBezTo>
                  <a:cubicBezTo>
                    <a:pt x="135" y="81"/>
                    <a:pt x="135" y="81"/>
                    <a:pt x="135" y="81"/>
                  </a:cubicBezTo>
                  <a:lnTo>
                    <a:pt x="91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44" name="Group 768"/>
          <p:cNvGrpSpPr>
            <a:grpSpLocks noChangeAspect="1"/>
          </p:cNvGrpSpPr>
          <p:nvPr/>
        </p:nvGrpSpPr>
        <p:grpSpPr bwMode="auto">
          <a:xfrm>
            <a:off x="1945536" y="3740724"/>
            <a:ext cx="370763" cy="369676"/>
            <a:chOff x="1943" y="2698"/>
            <a:chExt cx="341" cy="340"/>
          </a:xfrm>
          <a:solidFill>
            <a:schemeClr val="accent2"/>
          </a:solidFill>
        </p:grpSpPr>
        <p:sp>
          <p:nvSpPr>
            <p:cNvPr id="345" name="Freeform 769"/>
            <p:cNvSpPr>
              <a:spLocks noEditPoints="1"/>
            </p:cNvSpPr>
            <p:nvPr/>
          </p:nvSpPr>
          <p:spPr bwMode="auto">
            <a:xfrm>
              <a:off x="1943" y="269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Freeform 770"/>
            <p:cNvSpPr>
              <a:spLocks noEditPoints="1"/>
            </p:cNvSpPr>
            <p:nvPr/>
          </p:nvSpPr>
          <p:spPr bwMode="auto">
            <a:xfrm>
              <a:off x="2007" y="2804"/>
              <a:ext cx="213" cy="128"/>
            </a:xfrm>
            <a:custGeom>
              <a:avLst/>
              <a:gdLst>
                <a:gd name="T0" fmla="*/ 273 w 320"/>
                <a:gd name="T1" fmla="*/ 55 h 192"/>
                <a:gd name="T2" fmla="*/ 256 w 320"/>
                <a:gd name="T3" fmla="*/ 64 h 192"/>
                <a:gd name="T4" fmla="*/ 100 w 320"/>
                <a:gd name="T5" fmla="*/ 85 h 192"/>
                <a:gd name="T6" fmla="*/ 160 w 320"/>
                <a:gd name="T7" fmla="*/ 42 h 192"/>
                <a:gd name="T8" fmla="*/ 192 w 320"/>
                <a:gd name="T9" fmla="*/ 64 h 192"/>
                <a:gd name="T10" fmla="*/ 192 w 320"/>
                <a:gd name="T11" fmla="*/ 0 h 192"/>
                <a:gd name="T12" fmla="*/ 160 w 320"/>
                <a:gd name="T13" fmla="*/ 21 h 192"/>
                <a:gd name="T14" fmla="*/ 70 w 320"/>
                <a:gd name="T15" fmla="*/ 85 h 192"/>
                <a:gd name="T16" fmla="*/ 32 w 320"/>
                <a:gd name="T17" fmla="*/ 64 h 192"/>
                <a:gd name="T18" fmla="*/ 32 w 320"/>
                <a:gd name="T19" fmla="*/ 128 h 192"/>
                <a:gd name="T20" fmla="*/ 81 w 320"/>
                <a:gd name="T21" fmla="*/ 106 h 192"/>
                <a:gd name="T22" fmla="*/ 169 w 320"/>
                <a:gd name="T23" fmla="*/ 170 h 192"/>
                <a:gd name="T24" fmla="*/ 170 w 320"/>
                <a:gd name="T25" fmla="*/ 181 h 192"/>
                <a:gd name="T26" fmla="*/ 224 w 320"/>
                <a:gd name="T27" fmla="*/ 192 h 192"/>
                <a:gd name="T28" fmla="*/ 234 w 320"/>
                <a:gd name="T29" fmla="*/ 138 h 192"/>
                <a:gd name="T30" fmla="*/ 181 w 320"/>
                <a:gd name="T31" fmla="*/ 128 h 192"/>
                <a:gd name="T32" fmla="*/ 170 w 320"/>
                <a:gd name="T33" fmla="*/ 149 h 192"/>
                <a:gd name="T34" fmla="*/ 146 w 320"/>
                <a:gd name="T35" fmla="*/ 141 h 192"/>
                <a:gd name="T36" fmla="*/ 256 w 320"/>
                <a:gd name="T37" fmla="*/ 106 h 192"/>
                <a:gd name="T38" fmla="*/ 262 w 320"/>
                <a:gd name="T39" fmla="*/ 137 h 192"/>
                <a:gd name="T40" fmla="*/ 273 w 320"/>
                <a:gd name="T41" fmla="*/ 136 h 192"/>
                <a:gd name="T42" fmla="*/ 320 w 320"/>
                <a:gd name="T43" fmla="*/ 96 h 192"/>
                <a:gd name="T44" fmla="*/ 192 w 320"/>
                <a:gd name="T45" fmla="*/ 21 h 192"/>
                <a:gd name="T46" fmla="*/ 192 w 320"/>
                <a:gd name="T47" fmla="*/ 42 h 192"/>
                <a:gd name="T48" fmla="*/ 192 w 320"/>
                <a:gd name="T49" fmla="*/ 21 h 192"/>
                <a:gd name="T50" fmla="*/ 213 w 320"/>
                <a:gd name="T51" fmla="*/ 149 h 192"/>
                <a:gd name="T52" fmla="*/ 192 w 320"/>
                <a:gd name="T53" fmla="*/ 170 h 192"/>
                <a:gd name="T54" fmla="*/ 32 w 320"/>
                <a:gd name="T55" fmla="*/ 106 h 192"/>
                <a:gd name="T56" fmla="*/ 32 w 320"/>
                <a:gd name="T57" fmla="*/ 85 h 192"/>
                <a:gd name="T58" fmla="*/ 32 w 320"/>
                <a:gd name="T59" fmla="*/ 106 h 192"/>
                <a:gd name="T60" fmla="*/ 277 w 320"/>
                <a:gd name="T61" fmla="*/ 85 h 192"/>
                <a:gd name="T62" fmla="*/ 277 w 320"/>
                <a:gd name="T63" fmla="*/ 10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0" h="192">
                  <a:moveTo>
                    <a:pt x="315" y="87"/>
                  </a:moveTo>
                  <a:cubicBezTo>
                    <a:pt x="273" y="55"/>
                    <a:pt x="273" y="55"/>
                    <a:pt x="273" y="55"/>
                  </a:cubicBezTo>
                  <a:cubicBezTo>
                    <a:pt x="269" y="53"/>
                    <a:pt x="265" y="52"/>
                    <a:pt x="262" y="54"/>
                  </a:cubicBezTo>
                  <a:cubicBezTo>
                    <a:pt x="258" y="56"/>
                    <a:pt x="256" y="60"/>
                    <a:pt x="256" y="64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42" y="43"/>
                    <a:pt x="155" y="42"/>
                    <a:pt x="160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6" y="55"/>
                    <a:pt x="178" y="64"/>
                    <a:pt x="192" y="64"/>
                  </a:cubicBezTo>
                  <a:cubicBezTo>
                    <a:pt x="209" y="64"/>
                    <a:pt x="224" y="49"/>
                    <a:pt x="224" y="32"/>
                  </a:cubicBezTo>
                  <a:cubicBezTo>
                    <a:pt x="224" y="14"/>
                    <a:pt x="209" y="0"/>
                    <a:pt x="192" y="0"/>
                  </a:cubicBezTo>
                  <a:cubicBezTo>
                    <a:pt x="178" y="0"/>
                    <a:pt x="166" y="9"/>
                    <a:pt x="162" y="21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57" y="21"/>
                    <a:pt x="134" y="21"/>
                    <a:pt x="120" y="35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62" y="85"/>
                    <a:pt x="62" y="85"/>
                    <a:pt x="62" y="85"/>
                  </a:cubicBezTo>
                  <a:cubicBezTo>
                    <a:pt x="57" y="73"/>
                    <a:pt x="46" y="64"/>
                    <a:pt x="32" y="64"/>
                  </a:cubicBezTo>
                  <a:cubicBezTo>
                    <a:pt x="14" y="64"/>
                    <a:pt x="0" y="78"/>
                    <a:pt x="0" y="96"/>
                  </a:cubicBezTo>
                  <a:cubicBezTo>
                    <a:pt x="0" y="113"/>
                    <a:pt x="14" y="128"/>
                    <a:pt x="32" y="128"/>
                  </a:cubicBezTo>
                  <a:cubicBezTo>
                    <a:pt x="46" y="128"/>
                    <a:pt x="57" y="119"/>
                    <a:pt x="62" y="106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44" y="170"/>
                    <a:pt x="164" y="170"/>
                    <a:pt x="169" y="170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70" y="187"/>
                    <a:pt x="175" y="192"/>
                    <a:pt x="181" y="192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30" y="192"/>
                    <a:pt x="234" y="187"/>
                    <a:pt x="234" y="181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34" y="132"/>
                    <a:pt x="230" y="128"/>
                    <a:pt x="224" y="128"/>
                  </a:cubicBezTo>
                  <a:cubicBezTo>
                    <a:pt x="181" y="128"/>
                    <a:pt x="181" y="128"/>
                    <a:pt x="181" y="128"/>
                  </a:cubicBezTo>
                  <a:cubicBezTo>
                    <a:pt x="175" y="128"/>
                    <a:pt x="170" y="132"/>
                    <a:pt x="170" y="138"/>
                  </a:cubicBezTo>
                  <a:cubicBezTo>
                    <a:pt x="170" y="149"/>
                    <a:pt x="170" y="149"/>
                    <a:pt x="170" y="149"/>
                  </a:cubicBezTo>
                  <a:cubicBezTo>
                    <a:pt x="170" y="149"/>
                    <a:pt x="170" y="149"/>
                    <a:pt x="170" y="149"/>
                  </a:cubicBezTo>
                  <a:cubicBezTo>
                    <a:pt x="166" y="149"/>
                    <a:pt x="152" y="148"/>
                    <a:pt x="146" y="141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256" y="106"/>
                    <a:pt x="256" y="106"/>
                    <a:pt x="256" y="106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6" y="132"/>
                    <a:pt x="258" y="135"/>
                    <a:pt x="262" y="137"/>
                  </a:cubicBezTo>
                  <a:cubicBezTo>
                    <a:pt x="263" y="138"/>
                    <a:pt x="265" y="138"/>
                    <a:pt x="266" y="138"/>
                  </a:cubicBezTo>
                  <a:cubicBezTo>
                    <a:pt x="269" y="138"/>
                    <a:pt x="271" y="138"/>
                    <a:pt x="273" y="136"/>
                  </a:cubicBezTo>
                  <a:cubicBezTo>
                    <a:pt x="315" y="104"/>
                    <a:pt x="315" y="104"/>
                    <a:pt x="315" y="104"/>
                  </a:cubicBezTo>
                  <a:cubicBezTo>
                    <a:pt x="318" y="102"/>
                    <a:pt x="320" y="99"/>
                    <a:pt x="320" y="96"/>
                  </a:cubicBezTo>
                  <a:cubicBezTo>
                    <a:pt x="320" y="92"/>
                    <a:pt x="318" y="89"/>
                    <a:pt x="315" y="87"/>
                  </a:cubicBezTo>
                  <a:close/>
                  <a:moveTo>
                    <a:pt x="192" y="21"/>
                  </a:moveTo>
                  <a:cubicBezTo>
                    <a:pt x="198" y="21"/>
                    <a:pt x="202" y="26"/>
                    <a:pt x="202" y="32"/>
                  </a:cubicBezTo>
                  <a:cubicBezTo>
                    <a:pt x="202" y="38"/>
                    <a:pt x="198" y="42"/>
                    <a:pt x="192" y="42"/>
                  </a:cubicBezTo>
                  <a:cubicBezTo>
                    <a:pt x="186" y="42"/>
                    <a:pt x="181" y="38"/>
                    <a:pt x="181" y="32"/>
                  </a:cubicBezTo>
                  <a:cubicBezTo>
                    <a:pt x="181" y="26"/>
                    <a:pt x="186" y="21"/>
                    <a:pt x="192" y="21"/>
                  </a:cubicBezTo>
                  <a:close/>
                  <a:moveTo>
                    <a:pt x="192" y="149"/>
                  </a:moveTo>
                  <a:cubicBezTo>
                    <a:pt x="213" y="149"/>
                    <a:pt x="213" y="149"/>
                    <a:pt x="213" y="149"/>
                  </a:cubicBezTo>
                  <a:cubicBezTo>
                    <a:pt x="213" y="170"/>
                    <a:pt x="213" y="170"/>
                    <a:pt x="213" y="170"/>
                  </a:cubicBezTo>
                  <a:cubicBezTo>
                    <a:pt x="192" y="170"/>
                    <a:pt x="192" y="170"/>
                    <a:pt x="192" y="170"/>
                  </a:cubicBezTo>
                  <a:lnTo>
                    <a:pt x="192" y="149"/>
                  </a:lnTo>
                  <a:close/>
                  <a:moveTo>
                    <a:pt x="32" y="106"/>
                  </a:moveTo>
                  <a:cubicBezTo>
                    <a:pt x="26" y="106"/>
                    <a:pt x="21" y="102"/>
                    <a:pt x="21" y="96"/>
                  </a:cubicBezTo>
                  <a:cubicBezTo>
                    <a:pt x="21" y="90"/>
                    <a:pt x="26" y="85"/>
                    <a:pt x="32" y="85"/>
                  </a:cubicBezTo>
                  <a:cubicBezTo>
                    <a:pt x="38" y="85"/>
                    <a:pt x="42" y="90"/>
                    <a:pt x="42" y="96"/>
                  </a:cubicBezTo>
                  <a:cubicBezTo>
                    <a:pt x="42" y="102"/>
                    <a:pt x="38" y="106"/>
                    <a:pt x="32" y="106"/>
                  </a:cubicBezTo>
                  <a:close/>
                  <a:moveTo>
                    <a:pt x="277" y="106"/>
                  </a:moveTo>
                  <a:cubicBezTo>
                    <a:pt x="277" y="85"/>
                    <a:pt x="277" y="85"/>
                    <a:pt x="277" y="85"/>
                  </a:cubicBezTo>
                  <a:cubicBezTo>
                    <a:pt x="291" y="96"/>
                    <a:pt x="291" y="96"/>
                    <a:pt x="291" y="96"/>
                  </a:cubicBezTo>
                  <a:lnTo>
                    <a:pt x="277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7" name="Freeform 774"/>
          <p:cNvSpPr>
            <a:spLocks noChangeAspect="1" noEditPoints="1"/>
          </p:cNvSpPr>
          <p:nvPr/>
        </p:nvSpPr>
        <p:spPr bwMode="auto">
          <a:xfrm>
            <a:off x="1447396" y="3740724"/>
            <a:ext cx="369676" cy="369676"/>
          </a:xfrm>
          <a:custGeom>
            <a:avLst/>
            <a:gdLst>
              <a:gd name="T0" fmla="*/ 288 w 512"/>
              <a:gd name="T1" fmla="*/ 181 h 512"/>
              <a:gd name="T2" fmla="*/ 288 w 512"/>
              <a:gd name="T3" fmla="*/ 202 h 512"/>
              <a:gd name="T4" fmla="*/ 309 w 512"/>
              <a:gd name="T5" fmla="*/ 309 h 512"/>
              <a:gd name="T6" fmla="*/ 288 w 512"/>
              <a:gd name="T7" fmla="*/ 330 h 512"/>
              <a:gd name="T8" fmla="*/ 309 w 512"/>
              <a:gd name="T9" fmla="*/ 309 h 512"/>
              <a:gd name="T10" fmla="*/ 117 w 512"/>
              <a:gd name="T11" fmla="*/ 256 h 512"/>
              <a:gd name="T12" fmla="*/ 138 w 512"/>
              <a:gd name="T13" fmla="*/ 256 h 512"/>
              <a:gd name="T14" fmla="*/ 373 w 512"/>
              <a:gd name="T15" fmla="*/ 266 h 512"/>
              <a:gd name="T16" fmla="*/ 373 w 512"/>
              <a:gd name="T17" fmla="*/ 245 h 512"/>
              <a:gd name="T18" fmla="*/ 512 w 512"/>
              <a:gd name="T19" fmla="*/ 256 h 512"/>
              <a:gd name="T20" fmla="*/ 0 w 512"/>
              <a:gd name="T21" fmla="*/ 256 h 512"/>
              <a:gd name="T22" fmla="*/ 512 w 512"/>
              <a:gd name="T23" fmla="*/ 256 h 512"/>
              <a:gd name="T24" fmla="*/ 411 w 512"/>
              <a:gd name="T25" fmla="*/ 247 h 512"/>
              <a:gd name="T26" fmla="*/ 358 w 512"/>
              <a:gd name="T27" fmla="*/ 214 h 512"/>
              <a:gd name="T28" fmla="*/ 352 w 512"/>
              <a:gd name="T29" fmla="*/ 245 h 512"/>
              <a:gd name="T30" fmla="*/ 231 w 512"/>
              <a:gd name="T31" fmla="*/ 210 h 512"/>
              <a:gd name="T32" fmla="*/ 258 w 512"/>
              <a:gd name="T33" fmla="*/ 202 h 512"/>
              <a:gd name="T34" fmla="*/ 320 w 512"/>
              <a:gd name="T35" fmla="*/ 192 h 512"/>
              <a:gd name="T36" fmla="*/ 258 w 512"/>
              <a:gd name="T37" fmla="*/ 181 h 512"/>
              <a:gd name="T38" fmla="*/ 216 w 512"/>
              <a:gd name="T39" fmla="*/ 195 h 512"/>
              <a:gd name="T40" fmla="*/ 158 w 512"/>
              <a:gd name="T41" fmla="*/ 245 h 512"/>
              <a:gd name="T42" fmla="*/ 96 w 512"/>
              <a:gd name="T43" fmla="*/ 256 h 512"/>
              <a:gd name="T44" fmla="*/ 158 w 512"/>
              <a:gd name="T45" fmla="*/ 266 h 512"/>
              <a:gd name="T46" fmla="*/ 227 w 512"/>
              <a:gd name="T47" fmla="*/ 317 h 512"/>
              <a:gd name="T48" fmla="*/ 266 w 512"/>
              <a:gd name="T49" fmla="*/ 330 h 512"/>
              <a:gd name="T50" fmla="*/ 277 w 512"/>
              <a:gd name="T51" fmla="*/ 352 h 512"/>
              <a:gd name="T52" fmla="*/ 330 w 512"/>
              <a:gd name="T53" fmla="*/ 341 h 512"/>
              <a:gd name="T54" fmla="*/ 320 w 512"/>
              <a:gd name="T55" fmla="*/ 288 h 512"/>
              <a:gd name="T56" fmla="*/ 266 w 512"/>
              <a:gd name="T57" fmla="*/ 298 h 512"/>
              <a:gd name="T58" fmla="*/ 266 w 512"/>
              <a:gd name="T59" fmla="*/ 309 h 512"/>
              <a:gd name="T60" fmla="*/ 207 w 512"/>
              <a:gd name="T61" fmla="*/ 266 h 512"/>
              <a:gd name="T62" fmla="*/ 352 w 512"/>
              <a:gd name="T63" fmla="*/ 288 h 512"/>
              <a:gd name="T64" fmla="*/ 362 w 512"/>
              <a:gd name="T65" fmla="*/ 298 h 512"/>
              <a:gd name="T66" fmla="*/ 411 w 512"/>
              <a:gd name="T67" fmla="*/ 26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77" y="192"/>
                </a:moveTo>
                <a:cubicBezTo>
                  <a:pt x="277" y="186"/>
                  <a:pt x="282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cubicBezTo>
                  <a:pt x="298" y="198"/>
                  <a:pt x="294" y="202"/>
                  <a:pt x="288" y="202"/>
                </a:cubicBezTo>
                <a:cubicBezTo>
                  <a:pt x="282" y="202"/>
                  <a:pt x="277" y="198"/>
                  <a:pt x="277" y="192"/>
                </a:cubicBezTo>
                <a:close/>
                <a:moveTo>
                  <a:pt x="309" y="309"/>
                </a:moveTo>
                <a:cubicBezTo>
                  <a:pt x="288" y="309"/>
                  <a:pt x="288" y="309"/>
                  <a:pt x="288" y="309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309" y="330"/>
                  <a:pt x="309" y="330"/>
                  <a:pt x="309" y="330"/>
                </a:cubicBezTo>
                <a:lnTo>
                  <a:pt x="309" y="309"/>
                </a:lnTo>
                <a:close/>
                <a:moveTo>
                  <a:pt x="128" y="245"/>
                </a:moveTo>
                <a:cubicBezTo>
                  <a:pt x="122" y="245"/>
                  <a:pt x="117" y="250"/>
                  <a:pt x="117" y="256"/>
                </a:cubicBezTo>
                <a:cubicBezTo>
                  <a:pt x="117" y="262"/>
                  <a:pt x="122" y="266"/>
                  <a:pt x="128" y="266"/>
                </a:cubicBezTo>
                <a:cubicBezTo>
                  <a:pt x="134" y="266"/>
                  <a:pt x="138" y="262"/>
                  <a:pt x="138" y="256"/>
                </a:cubicBezTo>
                <a:cubicBezTo>
                  <a:pt x="138" y="250"/>
                  <a:pt x="134" y="245"/>
                  <a:pt x="128" y="245"/>
                </a:cubicBezTo>
                <a:close/>
                <a:moveTo>
                  <a:pt x="373" y="266"/>
                </a:moveTo>
                <a:cubicBezTo>
                  <a:pt x="387" y="256"/>
                  <a:pt x="387" y="256"/>
                  <a:pt x="387" y="256"/>
                </a:cubicBezTo>
                <a:cubicBezTo>
                  <a:pt x="373" y="245"/>
                  <a:pt x="373" y="245"/>
                  <a:pt x="373" y="245"/>
                </a:cubicBezTo>
                <a:lnTo>
                  <a:pt x="373" y="26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252"/>
                  <a:pt x="414" y="249"/>
                  <a:pt x="411" y="247"/>
                </a:cubicBezTo>
                <a:cubicBezTo>
                  <a:pt x="369" y="215"/>
                  <a:pt x="369" y="215"/>
                  <a:pt x="369" y="215"/>
                </a:cubicBezTo>
                <a:cubicBezTo>
                  <a:pt x="365" y="213"/>
                  <a:pt x="361" y="212"/>
                  <a:pt x="358" y="214"/>
                </a:cubicBezTo>
                <a:cubicBezTo>
                  <a:pt x="354" y="216"/>
                  <a:pt x="352" y="220"/>
                  <a:pt x="352" y="224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196" y="245"/>
                  <a:pt x="196" y="245"/>
                  <a:pt x="196" y="245"/>
                </a:cubicBezTo>
                <a:cubicBezTo>
                  <a:pt x="231" y="210"/>
                  <a:pt x="231" y="210"/>
                  <a:pt x="231" y="210"/>
                </a:cubicBezTo>
                <a:cubicBezTo>
                  <a:pt x="238" y="203"/>
                  <a:pt x="251" y="202"/>
                  <a:pt x="256" y="202"/>
                </a:cubicBezTo>
                <a:cubicBezTo>
                  <a:pt x="258" y="202"/>
                  <a:pt x="258" y="202"/>
                  <a:pt x="258" y="202"/>
                </a:cubicBezTo>
                <a:cubicBezTo>
                  <a:pt x="262" y="215"/>
                  <a:pt x="274" y="224"/>
                  <a:pt x="288" y="224"/>
                </a:cubicBezTo>
                <a:cubicBezTo>
                  <a:pt x="305" y="224"/>
                  <a:pt x="320" y="209"/>
                  <a:pt x="320" y="192"/>
                </a:cubicBezTo>
                <a:cubicBezTo>
                  <a:pt x="320" y="174"/>
                  <a:pt x="305" y="160"/>
                  <a:pt x="288" y="160"/>
                </a:cubicBezTo>
                <a:cubicBezTo>
                  <a:pt x="274" y="160"/>
                  <a:pt x="262" y="169"/>
                  <a:pt x="258" y="181"/>
                </a:cubicBezTo>
                <a:cubicBezTo>
                  <a:pt x="256" y="181"/>
                  <a:pt x="256" y="181"/>
                  <a:pt x="256" y="181"/>
                </a:cubicBezTo>
                <a:cubicBezTo>
                  <a:pt x="253" y="181"/>
                  <a:pt x="230" y="181"/>
                  <a:pt x="216" y="195"/>
                </a:cubicBezTo>
                <a:cubicBezTo>
                  <a:pt x="166" y="245"/>
                  <a:pt x="166" y="245"/>
                  <a:pt x="166" y="245"/>
                </a:cubicBezTo>
                <a:cubicBezTo>
                  <a:pt x="158" y="245"/>
                  <a:pt x="158" y="245"/>
                  <a:pt x="158" y="245"/>
                </a:cubicBezTo>
                <a:cubicBezTo>
                  <a:pt x="153" y="233"/>
                  <a:pt x="142" y="224"/>
                  <a:pt x="128" y="224"/>
                </a:cubicBezTo>
                <a:cubicBezTo>
                  <a:pt x="110" y="224"/>
                  <a:pt x="96" y="238"/>
                  <a:pt x="96" y="256"/>
                </a:cubicBezTo>
                <a:cubicBezTo>
                  <a:pt x="96" y="273"/>
                  <a:pt x="110" y="288"/>
                  <a:pt x="128" y="288"/>
                </a:cubicBezTo>
                <a:cubicBezTo>
                  <a:pt x="142" y="288"/>
                  <a:pt x="153" y="279"/>
                  <a:pt x="158" y="266"/>
                </a:cubicBezTo>
                <a:cubicBezTo>
                  <a:pt x="177" y="266"/>
                  <a:pt x="177" y="266"/>
                  <a:pt x="177" y="266"/>
                </a:cubicBezTo>
                <a:cubicBezTo>
                  <a:pt x="227" y="317"/>
                  <a:pt x="227" y="317"/>
                  <a:pt x="227" y="317"/>
                </a:cubicBezTo>
                <a:cubicBezTo>
                  <a:pt x="240" y="330"/>
                  <a:pt x="260" y="330"/>
                  <a:pt x="26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41"/>
                  <a:pt x="266" y="341"/>
                  <a:pt x="266" y="341"/>
                </a:cubicBezTo>
                <a:cubicBezTo>
                  <a:pt x="266" y="347"/>
                  <a:pt x="271" y="352"/>
                  <a:pt x="277" y="352"/>
                </a:cubicBezTo>
                <a:cubicBezTo>
                  <a:pt x="320" y="352"/>
                  <a:pt x="320" y="352"/>
                  <a:pt x="320" y="352"/>
                </a:cubicBezTo>
                <a:cubicBezTo>
                  <a:pt x="326" y="352"/>
                  <a:pt x="330" y="347"/>
                  <a:pt x="330" y="341"/>
                </a:cubicBezTo>
                <a:cubicBezTo>
                  <a:pt x="330" y="298"/>
                  <a:pt x="330" y="298"/>
                  <a:pt x="330" y="298"/>
                </a:cubicBezTo>
                <a:cubicBezTo>
                  <a:pt x="330" y="292"/>
                  <a:pt x="326" y="288"/>
                  <a:pt x="320" y="288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1" y="288"/>
                  <a:pt x="266" y="292"/>
                  <a:pt x="266" y="298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2" y="309"/>
                  <a:pt x="248" y="308"/>
                  <a:pt x="242" y="301"/>
                </a:cubicBezTo>
                <a:cubicBezTo>
                  <a:pt x="207" y="266"/>
                  <a:pt x="207" y="266"/>
                  <a:pt x="207" y="266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92"/>
                  <a:pt x="354" y="295"/>
                  <a:pt x="358" y="297"/>
                </a:cubicBezTo>
                <a:cubicBezTo>
                  <a:pt x="359" y="298"/>
                  <a:pt x="361" y="298"/>
                  <a:pt x="362" y="298"/>
                </a:cubicBezTo>
                <a:cubicBezTo>
                  <a:pt x="365" y="298"/>
                  <a:pt x="367" y="298"/>
                  <a:pt x="369" y="296"/>
                </a:cubicBezTo>
                <a:cubicBezTo>
                  <a:pt x="411" y="264"/>
                  <a:pt x="411" y="264"/>
                  <a:pt x="411" y="264"/>
                </a:cubicBezTo>
                <a:cubicBezTo>
                  <a:pt x="414" y="262"/>
                  <a:pt x="416" y="259"/>
                  <a:pt x="416" y="25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8" name="Group 378"/>
          <p:cNvGrpSpPr>
            <a:grpSpLocks noChangeAspect="1"/>
          </p:cNvGrpSpPr>
          <p:nvPr/>
        </p:nvGrpSpPr>
        <p:grpSpPr bwMode="auto">
          <a:xfrm>
            <a:off x="2942903" y="3740728"/>
            <a:ext cx="370763" cy="370763"/>
            <a:chOff x="390" y="1172"/>
            <a:chExt cx="341" cy="341"/>
          </a:xfrm>
          <a:solidFill>
            <a:schemeClr val="accent4"/>
          </a:solidFill>
        </p:grpSpPr>
        <p:sp>
          <p:nvSpPr>
            <p:cNvPr id="349" name="Freeform 348"/>
            <p:cNvSpPr>
              <a:spLocks noEditPoints="1"/>
            </p:cNvSpPr>
            <p:nvPr/>
          </p:nvSpPr>
          <p:spPr bwMode="auto">
            <a:xfrm>
              <a:off x="390" y="1172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349"/>
            <p:cNvSpPr>
              <a:spLocks noEditPoints="1"/>
            </p:cNvSpPr>
            <p:nvPr/>
          </p:nvSpPr>
          <p:spPr bwMode="auto">
            <a:xfrm>
              <a:off x="482" y="1267"/>
              <a:ext cx="156" cy="153"/>
            </a:xfrm>
            <a:custGeom>
              <a:avLst/>
              <a:gdLst>
                <a:gd name="T0" fmla="*/ 235 w 235"/>
                <a:gd name="T1" fmla="*/ 155 h 230"/>
                <a:gd name="T2" fmla="*/ 235 w 235"/>
                <a:gd name="T3" fmla="*/ 219 h 230"/>
                <a:gd name="T4" fmla="*/ 224 w 235"/>
                <a:gd name="T5" fmla="*/ 230 h 230"/>
                <a:gd name="T6" fmla="*/ 11 w 235"/>
                <a:gd name="T7" fmla="*/ 230 h 230"/>
                <a:gd name="T8" fmla="*/ 0 w 235"/>
                <a:gd name="T9" fmla="*/ 219 h 230"/>
                <a:gd name="T10" fmla="*/ 0 w 235"/>
                <a:gd name="T11" fmla="*/ 155 h 230"/>
                <a:gd name="T12" fmla="*/ 11 w 235"/>
                <a:gd name="T13" fmla="*/ 145 h 230"/>
                <a:gd name="T14" fmla="*/ 22 w 235"/>
                <a:gd name="T15" fmla="*/ 155 h 230"/>
                <a:gd name="T16" fmla="*/ 22 w 235"/>
                <a:gd name="T17" fmla="*/ 209 h 230"/>
                <a:gd name="T18" fmla="*/ 214 w 235"/>
                <a:gd name="T19" fmla="*/ 209 h 230"/>
                <a:gd name="T20" fmla="*/ 214 w 235"/>
                <a:gd name="T21" fmla="*/ 155 h 230"/>
                <a:gd name="T22" fmla="*/ 224 w 235"/>
                <a:gd name="T23" fmla="*/ 145 h 230"/>
                <a:gd name="T24" fmla="*/ 235 w 235"/>
                <a:gd name="T25" fmla="*/ 155 h 230"/>
                <a:gd name="T26" fmla="*/ 54 w 235"/>
                <a:gd name="T27" fmla="*/ 187 h 230"/>
                <a:gd name="T28" fmla="*/ 182 w 235"/>
                <a:gd name="T29" fmla="*/ 187 h 230"/>
                <a:gd name="T30" fmla="*/ 192 w 235"/>
                <a:gd name="T31" fmla="*/ 177 h 230"/>
                <a:gd name="T32" fmla="*/ 182 w 235"/>
                <a:gd name="T33" fmla="*/ 166 h 230"/>
                <a:gd name="T34" fmla="*/ 54 w 235"/>
                <a:gd name="T35" fmla="*/ 166 h 230"/>
                <a:gd name="T36" fmla="*/ 43 w 235"/>
                <a:gd name="T37" fmla="*/ 177 h 230"/>
                <a:gd name="T38" fmla="*/ 54 w 235"/>
                <a:gd name="T39" fmla="*/ 187 h 230"/>
                <a:gd name="T40" fmla="*/ 53 w 235"/>
                <a:gd name="T41" fmla="*/ 132 h 230"/>
                <a:gd name="T42" fmla="*/ 181 w 235"/>
                <a:gd name="T43" fmla="*/ 145 h 230"/>
                <a:gd name="T44" fmla="*/ 182 w 235"/>
                <a:gd name="T45" fmla="*/ 145 h 230"/>
                <a:gd name="T46" fmla="*/ 192 w 235"/>
                <a:gd name="T47" fmla="*/ 135 h 230"/>
                <a:gd name="T48" fmla="*/ 183 w 235"/>
                <a:gd name="T49" fmla="*/ 123 h 230"/>
                <a:gd name="T50" fmla="*/ 55 w 235"/>
                <a:gd name="T51" fmla="*/ 111 h 230"/>
                <a:gd name="T52" fmla="*/ 44 w 235"/>
                <a:gd name="T53" fmla="*/ 120 h 230"/>
                <a:gd name="T54" fmla="*/ 53 w 235"/>
                <a:gd name="T55" fmla="*/ 132 h 230"/>
                <a:gd name="T56" fmla="*/ 60 w 235"/>
                <a:gd name="T57" fmla="*/ 78 h 230"/>
                <a:gd name="T58" fmla="*/ 185 w 235"/>
                <a:gd name="T59" fmla="*/ 104 h 230"/>
                <a:gd name="T60" fmla="*/ 187 w 235"/>
                <a:gd name="T61" fmla="*/ 104 h 230"/>
                <a:gd name="T62" fmla="*/ 198 w 235"/>
                <a:gd name="T63" fmla="*/ 96 h 230"/>
                <a:gd name="T64" fmla="*/ 190 w 235"/>
                <a:gd name="T65" fmla="*/ 83 h 230"/>
                <a:gd name="T66" fmla="*/ 64 w 235"/>
                <a:gd name="T67" fmla="*/ 58 h 230"/>
                <a:gd name="T68" fmla="*/ 52 w 235"/>
                <a:gd name="T69" fmla="*/ 66 h 230"/>
                <a:gd name="T70" fmla="*/ 60 w 235"/>
                <a:gd name="T71" fmla="*/ 78 h 230"/>
                <a:gd name="T72" fmla="*/ 75 w 235"/>
                <a:gd name="T73" fmla="*/ 23 h 230"/>
                <a:gd name="T74" fmla="*/ 195 w 235"/>
                <a:gd name="T75" fmla="*/ 66 h 230"/>
                <a:gd name="T76" fmla="*/ 199 w 235"/>
                <a:gd name="T77" fmla="*/ 66 h 230"/>
                <a:gd name="T78" fmla="*/ 209 w 235"/>
                <a:gd name="T79" fmla="*/ 59 h 230"/>
                <a:gd name="T80" fmla="*/ 202 w 235"/>
                <a:gd name="T81" fmla="*/ 46 h 230"/>
                <a:gd name="T82" fmla="*/ 82 w 235"/>
                <a:gd name="T83" fmla="*/ 2 h 230"/>
                <a:gd name="T84" fmla="*/ 68 w 235"/>
                <a:gd name="T85" fmla="*/ 9 h 230"/>
                <a:gd name="T86" fmla="*/ 75 w 235"/>
                <a:gd name="T87" fmla="*/ 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5" h="230">
                  <a:moveTo>
                    <a:pt x="235" y="155"/>
                  </a:moveTo>
                  <a:cubicBezTo>
                    <a:pt x="235" y="219"/>
                    <a:pt x="235" y="219"/>
                    <a:pt x="235" y="219"/>
                  </a:cubicBezTo>
                  <a:cubicBezTo>
                    <a:pt x="235" y="225"/>
                    <a:pt x="230" y="230"/>
                    <a:pt x="224" y="230"/>
                  </a:cubicBezTo>
                  <a:cubicBezTo>
                    <a:pt x="11" y="230"/>
                    <a:pt x="11" y="230"/>
                    <a:pt x="11" y="230"/>
                  </a:cubicBezTo>
                  <a:cubicBezTo>
                    <a:pt x="5" y="230"/>
                    <a:pt x="0" y="225"/>
                    <a:pt x="0" y="219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49"/>
                    <a:pt x="5" y="145"/>
                    <a:pt x="11" y="145"/>
                  </a:cubicBezTo>
                  <a:cubicBezTo>
                    <a:pt x="17" y="145"/>
                    <a:pt x="22" y="149"/>
                    <a:pt x="22" y="155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214" y="209"/>
                    <a:pt x="214" y="209"/>
                    <a:pt x="214" y="209"/>
                  </a:cubicBezTo>
                  <a:cubicBezTo>
                    <a:pt x="214" y="155"/>
                    <a:pt x="214" y="155"/>
                    <a:pt x="214" y="155"/>
                  </a:cubicBezTo>
                  <a:cubicBezTo>
                    <a:pt x="214" y="149"/>
                    <a:pt x="218" y="145"/>
                    <a:pt x="224" y="145"/>
                  </a:cubicBezTo>
                  <a:cubicBezTo>
                    <a:pt x="230" y="145"/>
                    <a:pt x="235" y="149"/>
                    <a:pt x="235" y="155"/>
                  </a:cubicBezTo>
                  <a:close/>
                  <a:moveTo>
                    <a:pt x="54" y="187"/>
                  </a:moveTo>
                  <a:cubicBezTo>
                    <a:pt x="182" y="187"/>
                    <a:pt x="182" y="187"/>
                    <a:pt x="182" y="187"/>
                  </a:cubicBezTo>
                  <a:cubicBezTo>
                    <a:pt x="188" y="187"/>
                    <a:pt x="192" y="183"/>
                    <a:pt x="192" y="177"/>
                  </a:cubicBezTo>
                  <a:cubicBezTo>
                    <a:pt x="192" y="171"/>
                    <a:pt x="188" y="166"/>
                    <a:pt x="182" y="166"/>
                  </a:cubicBezTo>
                  <a:cubicBezTo>
                    <a:pt x="54" y="166"/>
                    <a:pt x="54" y="166"/>
                    <a:pt x="54" y="166"/>
                  </a:cubicBezTo>
                  <a:cubicBezTo>
                    <a:pt x="48" y="166"/>
                    <a:pt x="43" y="171"/>
                    <a:pt x="43" y="177"/>
                  </a:cubicBezTo>
                  <a:cubicBezTo>
                    <a:pt x="43" y="183"/>
                    <a:pt x="48" y="187"/>
                    <a:pt x="54" y="187"/>
                  </a:cubicBezTo>
                  <a:close/>
                  <a:moveTo>
                    <a:pt x="53" y="132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81" y="145"/>
                    <a:pt x="181" y="145"/>
                    <a:pt x="182" y="145"/>
                  </a:cubicBezTo>
                  <a:cubicBezTo>
                    <a:pt x="187" y="145"/>
                    <a:pt x="192" y="141"/>
                    <a:pt x="192" y="135"/>
                  </a:cubicBezTo>
                  <a:cubicBezTo>
                    <a:pt x="193" y="129"/>
                    <a:pt x="189" y="124"/>
                    <a:pt x="183" y="123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49" y="110"/>
                    <a:pt x="44" y="114"/>
                    <a:pt x="44" y="120"/>
                  </a:cubicBezTo>
                  <a:cubicBezTo>
                    <a:pt x="43" y="126"/>
                    <a:pt x="47" y="131"/>
                    <a:pt x="53" y="132"/>
                  </a:cubicBezTo>
                  <a:close/>
                  <a:moveTo>
                    <a:pt x="60" y="78"/>
                  </a:moveTo>
                  <a:cubicBezTo>
                    <a:pt x="185" y="104"/>
                    <a:pt x="185" y="104"/>
                    <a:pt x="185" y="104"/>
                  </a:cubicBezTo>
                  <a:cubicBezTo>
                    <a:pt x="186" y="104"/>
                    <a:pt x="187" y="104"/>
                    <a:pt x="187" y="104"/>
                  </a:cubicBezTo>
                  <a:cubicBezTo>
                    <a:pt x="192" y="104"/>
                    <a:pt x="197" y="101"/>
                    <a:pt x="198" y="96"/>
                  </a:cubicBezTo>
                  <a:cubicBezTo>
                    <a:pt x="199" y="90"/>
                    <a:pt x="195" y="84"/>
                    <a:pt x="190" y="83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58" y="56"/>
                    <a:pt x="53" y="60"/>
                    <a:pt x="52" y="66"/>
                  </a:cubicBezTo>
                  <a:cubicBezTo>
                    <a:pt x="50" y="72"/>
                    <a:pt x="54" y="77"/>
                    <a:pt x="60" y="78"/>
                  </a:cubicBezTo>
                  <a:close/>
                  <a:moveTo>
                    <a:pt x="75" y="23"/>
                  </a:moveTo>
                  <a:cubicBezTo>
                    <a:pt x="195" y="66"/>
                    <a:pt x="195" y="66"/>
                    <a:pt x="195" y="66"/>
                  </a:cubicBezTo>
                  <a:cubicBezTo>
                    <a:pt x="196" y="66"/>
                    <a:pt x="198" y="66"/>
                    <a:pt x="199" y="66"/>
                  </a:cubicBezTo>
                  <a:cubicBezTo>
                    <a:pt x="203" y="66"/>
                    <a:pt x="207" y="64"/>
                    <a:pt x="209" y="59"/>
                  </a:cubicBezTo>
                  <a:cubicBezTo>
                    <a:pt x="211" y="54"/>
                    <a:pt x="208" y="48"/>
                    <a:pt x="202" y="46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76" y="0"/>
                    <a:pt x="70" y="3"/>
                    <a:pt x="68" y="9"/>
                  </a:cubicBezTo>
                  <a:cubicBezTo>
                    <a:pt x="66" y="14"/>
                    <a:pt x="69" y="21"/>
                    <a:pt x="7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1" name="Freeform 384"/>
          <p:cNvSpPr>
            <a:spLocks noChangeAspect="1" noEditPoints="1"/>
          </p:cNvSpPr>
          <p:nvPr/>
        </p:nvSpPr>
        <p:spPr bwMode="auto">
          <a:xfrm>
            <a:off x="2444763" y="3740724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06 w 512"/>
              <a:gd name="T11" fmla="*/ 152 h 512"/>
              <a:gd name="T12" fmla="*/ 220 w 512"/>
              <a:gd name="T13" fmla="*/ 145 h 512"/>
              <a:gd name="T14" fmla="*/ 340 w 512"/>
              <a:gd name="T15" fmla="*/ 189 h 512"/>
              <a:gd name="T16" fmla="*/ 347 w 512"/>
              <a:gd name="T17" fmla="*/ 202 h 512"/>
              <a:gd name="T18" fmla="*/ 337 w 512"/>
              <a:gd name="T19" fmla="*/ 209 h 512"/>
              <a:gd name="T20" fmla="*/ 333 w 512"/>
              <a:gd name="T21" fmla="*/ 209 h 512"/>
              <a:gd name="T22" fmla="*/ 213 w 512"/>
              <a:gd name="T23" fmla="*/ 166 h 512"/>
              <a:gd name="T24" fmla="*/ 206 w 512"/>
              <a:gd name="T25" fmla="*/ 152 h 512"/>
              <a:gd name="T26" fmla="*/ 190 w 512"/>
              <a:gd name="T27" fmla="*/ 209 h 512"/>
              <a:gd name="T28" fmla="*/ 202 w 512"/>
              <a:gd name="T29" fmla="*/ 201 h 512"/>
              <a:gd name="T30" fmla="*/ 328 w 512"/>
              <a:gd name="T31" fmla="*/ 226 h 512"/>
              <a:gd name="T32" fmla="*/ 336 w 512"/>
              <a:gd name="T33" fmla="*/ 239 h 512"/>
              <a:gd name="T34" fmla="*/ 325 w 512"/>
              <a:gd name="T35" fmla="*/ 247 h 512"/>
              <a:gd name="T36" fmla="*/ 323 w 512"/>
              <a:gd name="T37" fmla="*/ 247 h 512"/>
              <a:gd name="T38" fmla="*/ 198 w 512"/>
              <a:gd name="T39" fmla="*/ 221 h 512"/>
              <a:gd name="T40" fmla="*/ 190 w 512"/>
              <a:gd name="T41" fmla="*/ 209 h 512"/>
              <a:gd name="T42" fmla="*/ 193 w 512"/>
              <a:gd name="T43" fmla="*/ 254 h 512"/>
              <a:gd name="T44" fmla="*/ 321 w 512"/>
              <a:gd name="T45" fmla="*/ 266 h 512"/>
              <a:gd name="T46" fmla="*/ 330 w 512"/>
              <a:gd name="T47" fmla="*/ 278 h 512"/>
              <a:gd name="T48" fmla="*/ 320 w 512"/>
              <a:gd name="T49" fmla="*/ 288 h 512"/>
              <a:gd name="T50" fmla="*/ 319 w 512"/>
              <a:gd name="T51" fmla="*/ 288 h 512"/>
              <a:gd name="T52" fmla="*/ 191 w 512"/>
              <a:gd name="T53" fmla="*/ 275 h 512"/>
              <a:gd name="T54" fmla="*/ 182 w 512"/>
              <a:gd name="T55" fmla="*/ 263 h 512"/>
              <a:gd name="T56" fmla="*/ 193 w 512"/>
              <a:gd name="T57" fmla="*/ 254 h 512"/>
              <a:gd name="T58" fmla="*/ 192 w 512"/>
              <a:gd name="T59" fmla="*/ 309 h 512"/>
              <a:gd name="T60" fmla="*/ 320 w 512"/>
              <a:gd name="T61" fmla="*/ 309 h 512"/>
              <a:gd name="T62" fmla="*/ 330 w 512"/>
              <a:gd name="T63" fmla="*/ 320 h 512"/>
              <a:gd name="T64" fmla="*/ 320 w 512"/>
              <a:gd name="T65" fmla="*/ 330 h 512"/>
              <a:gd name="T66" fmla="*/ 192 w 512"/>
              <a:gd name="T67" fmla="*/ 330 h 512"/>
              <a:gd name="T68" fmla="*/ 181 w 512"/>
              <a:gd name="T69" fmla="*/ 320 h 512"/>
              <a:gd name="T70" fmla="*/ 192 w 512"/>
              <a:gd name="T71" fmla="*/ 309 h 512"/>
              <a:gd name="T72" fmla="*/ 373 w 512"/>
              <a:gd name="T73" fmla="*/ 362 h 512"/>
              <a:gd name="T74" fmla="*/ 362 w 512"/>
              <a:gd name="T75" fmla="*/ 373 h 512"/>
              <a:gd name="T76" fmla="*/ 149 w 512"/>
              <a:gd name="T77" fmla="*/ 373 h 512"/>
              <a:gd name="T78" fmla="*/ 138 w 512"/>
              <a:gd name="T79" fmla="*/ 362 h 512"/>
              <a:gd name="T80" fmla="*/ 138 w 512"/>
              <a:gd name="T81" fmla="*/ 298 h 512"/>
              <a:gd name="T82" fmla="*/ 149 w 512"/>
              <a:gd name="T83" fmla="*/ 288 h 512"/>
              <a:gd name="T84" fmla="*/ 160 w 512"/>
              <a:gd name="T85" fmla="*/ 298 h 512"/>
              <a:gd name="T86" fmla="*/ 160 w 512"/>
              <a:gd name="T87" fmla="*/ 352 h 512"/>
              <a:gd name="T88" fmla="*/ 352 w 512"/>
              <a:gd name="T89" fmla="*/ 352 h 512"/>
              <a:gd name="T90" fmla="*/ 352 w 512"/>
              <a:gd name="T91" fmla="*/ 298 h 512"/>
              <a:gd name="T92" fmla="*/ 362 w 512"/>
              <a:gd name="T93" fmla="*/ 288 h 512"/>
              <a:gd name="T94" fmla="*/ 373 w 512"/>
              <a:gd name="T95" fmla="*/ 298 h 512"/>
              <a:gd name="T96" fmla="*/ 373 w 512"/>
              <a:gd name="T97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6" y="152"/>
                </a:moveTo>
                <a:cubicBezTo>
                  <a:pt x="208" y="146"/>
                  <a:pt x="214" y="143"/>
                  <a:pt x="220" y="145"/>
                </a:cubicBezTo>
                <a:cubicBezTo>
                  <a:pt x="340" y="189"/>
                  <a:pt x="340" y="189"/>
                  <a:pt x="340" y="189"/>
                </a:cubicBezTo>
                <a:cubicBezTo>
                  <a:pt x="346" y="191"/>
                  <a:pt x="349" y="197"/>
                  <a:pt x="347" y="202"/>
                </a:cubicBezTo>
                <a:cubicBezTo>
                  <a:pt x="345" y="207"/>
                  <a:pt x="341" y="209"/>
                  <a:pt x="337" y="209"/>
                </a:cubicBezTo>
                <a:cubicBezTo>
                  <a:pt x="336" y="209"/>
                  <a:pt x="334" y="209"/>
                  <a:pt x="333" y="209"/>
                </a:cubicBezTo>
                <a:cubicBezTo>
                  <a:pt x="213" y="166"/>
                  <a:pt x="213" y="166"/>
                  <a:pt x="213" y="166"/>
                </a:cubicBezTo>
                <a:cubicBezTo>
                  <a:pt x="207" y="164"/>
                  <a:pt x="204" y="157"/>
                  <a:pt x="206" y="152"/>
                </a:cubicBezTo>
                <a:close/>
                <a:moveTo>
                  <a:pt x="190" y="209"/>
                </a:moveTo>
                <a:cubicBezTo>
                  <a:pt x="191" y="203"/>
                  <a:pt x="196" y="199"/>
                  <a:pt x="202" y="201"/>
                </a:cubicBezTo>
                <a:cubicBezTo>
                  <a:pt x="328" y="226"/>
                  <a:pt x="328" y="226"/>
                  <a:pt x="328" y="226"/>
                </a:cubicBezTo>
                <a:cubicBezTo>
                  <a:pt x="333" y="227"/>
                  <a:pt x="337" y="233"/>
                  <a:pt x="336" y="239"/>
                </a:cubicBezTo>
                <a:cubicBezTo>
                  <a:pt x="335" y="244"/>
                  <a:pt x="330" y="247"/>
                  <a:pt x="325" y="247"/>
                </a:cubicBezTo>
                <a:cubicBezTo>
                  <a:pt x="325" y="247"/>
                  <a:pt x="324" y="247"/>
                  <a:pt x="323" y="247"/>
                </a:cubicBezTo>
                <a:cubicBezTo>
                  <a:pt x="198" y="221"/>
                  <a:pt x="198" y="221"/>
                  <a:pt x="198" y="221"/>
                </a:cubicBezTo>
                <a:cubicBezTo>
                  <a:pt x="192" y="220"/>
                  <a:pt x="188" y="215"/>
                  <a:pt x="190" y="209"/>
                </a:cubicBezTo>
                <a:close/>
                <a:moveTo>
                  <a:pt x="193" y="254"/>
                </a:moveTo>
                <a:cubicBezTo>
                  <a:pt x="321" y="266"/>
                  <a:pt x="321" y="266"/>
                  <a:pt x="321" y="266"/>
                </a:cubicBezTo>
                <a:cubicBezTo>
                  <a:pt x="327" y="267"/>
                  <a:pt x="331" y="272"/>
                  <a:pt x="330" y="278"/>
                </a:cubicBezTo>
                <a:cubicBezTo>
                  <a:pt x="330" y="284"/>
                  <a:pt x="325" y="288"/>
                  <a:pt x="320" y="288"/>
                </a:cubicBezTo>
                <a:cubicBezTo>
                  <a:pt x="319" y="288"/>
                  <a:pt x="319" y="288"/>
                  <a:pt x="319" y="288"/>
                </a:cubicBezTo>
                <a:cubicBezTo>
                  <a:pt x="191" y="275"/>
                  <a:pt x="191" y="275"/>
                  <a:pt x="191" y="275"/>
                </a:cubicBezTo>
                <a:cubicBezTo>
                  <a:pt x="185" y="274"/>
                  <a:pt x="181" y="269"/>
                  <a:pt x="182" y="263"/>
                </a:cubicBezTo>
                <a:cubicBezTo>
                  <a:pt x="182" y="257"/>
                  <a:pt x="187" y="253"/>
                  <a:pt x="193" y="254"/>
                </a:cubicBezTo>
                <a:close/>
                <a:moveTo>
                  <a:pt x="192" y="309"/>
                </a:moveTo>
                <a:cubicBezTo>
                  <a:pt x="320" y="309"/>
                  <a:pt x="320" y="309"/>
                  <a:pt x="320" y="309"/>
                </a:cubicBezTo>
                <a:cubicBezTo>
                  <a:pt x="326" y="309"/>
                  <a:pt x="330" y="314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cubicBezTo>
                  <a:pt x="181" y="314"/>
                  <a:pt x="186" y="309"/>
                  <a:pt x="192" y="309"/>
                </a:cubicBezTo>
                <a:close/>
                <a:moveTo>
                  <a:pt x="373" y="362"/>
                </a:moveTo>
                <a:cubicBezTo>
                  <a:pt x="373" y="368"/>
                  <a:pt x="368" y="373"/>
                  <a:pt x="362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3" y="373"/>
                  <a:pt x="138" y="368"/>
                  <a:pt x="138" y="362"/>
                </a:cubicBezTo>
                <a:cubicBezTo>
                  <a:pt x="138" y="298"/>
                  <a:pt x="138" y="298"/>
                  <a:pt x="138" y="298"/>
                </a:cubicBezTo>
                <a:cubicBezTo>
                  <a:pt x="138" y="292"/>
                  <a:pt x="143" y="288"/>
                  <a:pt x="149" y="288"/>
                </a:cubicBezTo>
                <a:cubicBezTo>
                  <a:pt x="155" y="288"/>
                  <a:pt x="160" y="292"/>
                  <a:pt x="160" y="298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2" y="292"/>
                  <a:pt x="356" y="288"/>
                  <a:pt x="362" y="288"/>
                </a:cubicBezTo>
                <a:cubicBezTo>
                  <a:pt x="368" y="288"/>
                  <a:pt x="373" y="292"/>
                  <a:pt x="373" y="298"/>
                </a:cubicBezTo>
                <a:lnTo>
                  <a:pt x="373" y="36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2" name="Group 777"/>
          <p:cNvGrpSpPr>
            <a:grpSpLocks noChangeAspect="1"/>
          </p:cNvGrpSpPr>
          <p:nvPr/>
        </p:nvGrpSpPr>
        <p:grpSpPr bwMode="auto">
          <a:xfrm>
            <a:off x="3940270" y="3740724"/>
            <a:ext cx="369676" cy="369676"/>
            <a:chOff x="1121" y="2719"/>
            <a:chExt cx="340" cy="340"/>
          </a:xfrm>
          <a:solidFill>
            <a:schemeClr val="accent2"/>
          </a:solidFill>
        </p:grpSpPr>
        <p:sp>
          <p:nvSpPr>
            <p:cNvPr id="353" name="Freeform 778"/>
            <p:cNvSpPr>
              <a:spLocks noEditPoints="1"/>
            </p:cNvSpPr>
            <p:nvPr/>
          </p:nvSpPr>
          <p:spPr bwMode="auto">
            <a:xfrm>
              <a:off x="1121" y="271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Freeform 779"/>
            <p:cNvSpPr>
              <a:spLocks noEditPoints="1"/>
            </p:cNvSpPr>
            <p:nvPr/>
          </p:nvSpPr>
          <p:spPr bwMode="auto">
            <a:xfrm>
              <a:off x="1185" y="2804"/>
              <a:ext cx="212" cy="170"/>
            </a:xfrm>
            <a:custGeom>
              <a:avLst/>
              <a:gdLst>
                <a:gd name="T0" fmla="*/ 199 w 320"/>
                <a:gd name="T1" fmla="*/ 135 h 256"/>
                <a:gd name="T2" fmla="*/ 192 w 320"/>
                <a:gd name="T3" fmla="*/ 138 h 256"/>
                <a:gd name="T4" fmla="*/ 184 w 320"/>
                <a:gd name="T5" fmla="*/ 135 h 256"/>
                <a:gd name="T6" fmla="*/ 170 w 320"/>
                <a:gd name="T7" fmla="*/ 121 h 256"/>
                <a:gd name="T8" fmla="*/ 170 w 320"/>
                <a:gd name="T9" fmla="*/ 245 h 256"/>
                <a:gd name="T10" fmla="*/ 160 w 320"/>
                <a:gd name="T11" fmla="*/ 256 h 256"/>
                <a:gd name="T12" fmla="*/ 149 w 320"/>
                <a:gd name="T13" fmla="*/ 245 h 256"/>
                <a:gd name="T14" fmla="*/ 149 w 320"/>
                <a:gd name="T15" fmla="*/ 121 h 256"/>
                <a:gd name="T16" fmla="*/ 135 w 320"/>
                <a:gd name="T17" fmla="*/ 135 h 256"/>
                <a:gd name="T18" fmla="*/ 120 w 320"/>
                <a:gd name="T19" fmla="*/ 135 h 256"/>
                <a:gd name="T20" fmla="*/ 120 w 320"/>
                <a:gd name="T21" fmla="*/ 120 h 256"/>
                <a:gd name="T22" fmla="*/ 152 w 320"/>
                <a:gd name="T23" fmla="*/ 88 h 256"/>
                <a:gd name="T24" fmla="*/ 156 w 320"/>
                <a:gd name="T25" fmla="*/ 86 h 256"/>
                <a:gd name="T26" fmla="*/ 164 w 320"/>
                <a:gd name="T27" fmla="*/ 86 h 256"/>
                <a:gd name="T28" fmla="*/ 167 w 320"/>
                <a:gd name="T29" fmla="*/ 88 h 256"/>
                <a:gd name="T30" fmla="*/ 199 w 320"/>
                <a:gd name="T31" fmla="*/ 120 h 256"/>
                <a:gd name="T32" fmla="*/ 199 w 320"/>
                <a:gd name="T33" fmla="*/ 135 h 256"/>
                <a:gd name="T34" fmla="*/ 266 w 320"/>
                <a:gd name="T35" fmla="*/ 85 h 256"/>
                <a:gd name="T36" fmla="*/ 262 w 320"/>
                <a:gd name="T37" fmla="*/ 85 h 256"/>
                <a:gd name="T38" fmla="*/ 176 w 320"/>
                <a:gd name="T39" fmla="*/ 0 h 256"/>
                <a:gd name="T40" fmla="*/ 94 w 320"/>
                <a:gd name="T41" fmla="*/ 55 h 256"/>
                <a:gd name="T42" fmla="*/ 71 w 320"/>
                <a:gd name="T43" fmla="*/ 50 h 256"/>
                <a:gd name="T44" fmla="*/ 0 w 320"/>
                <a:gd name="T45" fmla="*/ 121 h 256"/>
                <a:gd name="T46" fmla="*/ 71 w 320"/>
                <a:gd name="T47" fmla="*/ 192 h 256"/>
                <a:gd name="T48" fmla="*/ 106 w 320"/>
                <a:gd name="T49" fmla="*/ 192 h 256"/>
                <a:gd name="T50" fmla="*/ 117 w 320"/>
                <a:gd name="T51" fmla="*/ 181 h 256"/>
                <a:gd name="T52" fmla="*/ 106 w 320"/>
                <a:gd name="T53" fmla="*/ 170 h 256"/>
                <a:gd name="T54" fmla="*/ 71 w 320"/>
                <a:gd name="T55" fmla="*/ 170 h 256"/>
                <a:gd name="T56" fmla="*/ 21 w 320"/>
                <a:gd name="T57" fmla="*/ 121 h 256"/>
                <a:gd name="T58" fmla="*/ 71 w 320"/>
                <a:gd name="T59" fmla="*/ 71 h 256"/>
                <a:gd name="T60" fmla="*/ 95 w 320"/>
                <a:gd name="T61" fmla="*/ 79 h 256"/>
                <a:gd name="T62" fmla="*/ 105 w 320"/>
                <a:gd name="T63" fmla="*/ 80 h 256"/>
                <a:gd name="T64" fmla="*/ 111 w 320"/>
                <a:gd name="T65" fmla="*/ 73 h 256"/>
                <a:gd name="T66" fmla="*/ 176 w 320"/>
                <a:gd name="T67" fmla="*/ 21 h 256"/>
                <a:gd name="T68" fmla="*/ 241 w 320"/>
                <a:gd name="T69" fmla="*/ 86 h 256"/>
                <a:gd name="T70" fmla="*/ 240 w 320"/>
                <a:gd name="T71" fmla="*/ 94 h 256"/>
                <a:gd name="T72" fmla="*/ 239 w 320"/>
                <a:gd name="T73" fmla="*/ 99 h 256"/>
                <a:gd name="T74" fmla="*/ 243 w 320"/>
                <a:gd name="T75" fmla="*/ 109 h 256"/>
                <a:gd name="T76" fmla="*/ 255 w 320"/>
                <a:gd name="T77" fmla="*/ 110 h 256"/>
                <a:gd name="T78" fmla="*/ 266 w 320"/>
                <a:gd name="T79" fmla="*/ 106 h 256"/>
                <a:gd name="T80" fmla="*/ 298 w 320"/>
                <a:gd name="T81" fmla="*/ 138 h 256"/>
                <a:gd name="T82" fmla="*/ 266 w 320"/>
                <a:gd name="T83" fmla="*/ 170 h 256"/>
                <a:gd name="T84" fmla="*/ 213 w 320"/>
                <a:gd name="T85" fmla="*/ 170 h 256"/>
                <a:gd name="T86" fmla="*/ 202 w 320"/>
                <a:gd name="T87" fmla="*/ 181 h 256"/>
                <a:gd name="T88" fmla="*/ 213 w 320"/>
                <a:gd name="T89" fmla="*/ 192 h 256"/>
                <a:gd name="T90" fmla="*/ 266 w 320"/>
                <a:gd name="T91" fmla="*/ 192 h 256"/>
                <a:gd name="T92" fmla="*/ 320 w 320"/>
                <a:gd name="T93" fmla="*/ 138 h 256"/>
                <a:gd name="T94" fmla="*/ 266 w 320"/>
                <a:gd name="T95" fmla="*/ 8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0" h="256">
                  <a:moveTo>
                    <a:pt x="199" y="135"/>
                  </a:moveTo>
                  <a:cubicBezTo>
                    <a:pt x="197" y="137"/>
                    <a:pt x="194" y="138"/>
                    <a:pt x="192" y="138"/>
                  </a:cubicBezTo>
                  <a:cubicBezTo>
                    <a:pt x="189" y="138"/>
                    <a:pt x="186" y="137"/>
                    <a:pt x="184" y="135"/>
                  </a:cubicBezTo>
                  <a:cubicBezTo>
                    <a:pt x="170" y="121"/>
                    <a:pt x="170" y="121"/>
                    <a:pt x="170" y="121"/>
                  </a:cubicBezTo>
                  <a:cubicBezTo>
                    <a:pt x="170" y="245"/>
                    <a:pt x="170" y="245"/>
                    <a:pt x="170" y="245"/>
                  </a:cubicBezTo>
                  <a:cubicBezTo>
                    <a:pt x="170" y="251"/>
                    <a:pt x="166" y="256"/>
                    <a:pt x="160" y="256"/>
                  </a:cubicBezTo>
                  <a:cubicBezTo>
                    <a:pt x="154" y="256"/>
                    <a:pt x="149" y="251"/>
                    <a:pt x="149" y="245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1" y="139"/>
                    <a:pt x="124" y="139"/>
                    <a:pt x="120" y="135"/>
                  </a:cubicBezTo>
                  <a:cubicBezTo>
                    <a:pt x="116" y="131"/>
                    <a:pt x="116" y="124"/>
                    <a:pt x="120" y="120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3" y="87"/>
                    <a:pt x="154" y="86"/>
                    <a:pt x="156" y="86"/>
                  </a:cubicBezTo>
                  <a:cubicBezTo>
                    <a:pt x="158" y="85"/>
                    <a:pt x="161" y="85"/>
                    <a:pt x="164" y="86"/>
                  </a:cubicBezTo>
                  <a:cubicBezTo>
                    <a:pt x="165" y="86"/>
                    <a:pt x="166" y="87"/>
                    <a:pt x="167" y="88"/>
                  </a:cubicBezTo>
                  <a:cubicBezTo>
                    <a:pt x="199" y="120"/>
                    <a:pt x="199" y="120"/>
                    <a:pt x="199" y="120"/>
                  </a:cubicBezTo>
                  <a:cubicBezTo>
                    <a:pt x="203" y="124"/>
                    <a:pt x="203" y="131"/>
                    <a:pt x="199" y="135"/>
                  </a:cubicBezTo>
                  <a:close/>
                  <a:moveTo>
                    <a:pt x="266" y="85"/>
                  </a:moveTo>
                  <a:cubicBezTo>
                    <a:pt x="265" y="85"/>
                    <a:pt x="264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106" y="192"/>
                    <a:pt x="106" y="192"/>
                    <a:pt x="106" y="192"/>
                  </a:cubicBezTo>
                  <a:cubicBezTo>
                    <a:pt x="112" y="192"/>
                    <a:pt x="117" y="187"/>
                    <a:pt x="117" y="181"/>
                  </a:cubicBezTo>
                  <a:cubicBezTo>
                    <a:pt x="117" y="175"/>
                    <a:pt x="112" y="170"/>
                    <a:pt x="106" y="170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6"/>
                    <a:pt x="240" y="97"/>
                    <a:pt x="239" y="99"/>
                  </a:cubicBezTo>
                  <a:cubicBezTo>
                    <a:pt x="238" y="103"/>
                    <a:pt x="240" y="107"/>
                    <a:pt x="243" y="109"/>
                  </a:cubicBezTo>
                  <a:cubicBezTo>
                    <a:pt x="247" y="112"/>
                    <a:pt x="251" y="112"/>
                    <a:pt x="255" y="110"/>
                  </a:cubicBezTo>
                  <a:cubicBezTo>
                    <a:pt x="261" y="107"/>
                    <a:pt x="265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ubicBezTo>
                    <a:pt x="213" y="170"/>
                    <a:pt x="213" y="170"/>
                    <a:pt x="213" y="170"/>
                  </a:cubicBezTo>
                  <a:cubicBezTo>
                    <a:pt x="207" y="170"/>
                    <a:pt x="202" y="175"/>
                    <a:pt x="202" y="181"/>
                  </a:cubicBezTo>
                  <a:cubicBezTo>
                    <a:pt x="202" y="187"/>
                    <a:pt x="207" y="192"/>
                    <a:pt x="213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5" name="Freeform 783"/>
          <p:cNvSpPr>
            <a:spLocks noChangeAspect="1" noEditPoints="1"/>
          </p:cNvSpPr>
          <p:nvPr/>
        </p:nvSpPr>
        <p:spPr bwMode="auto">
          <a:xfrm>
            <a:off x="3442130" y="3740724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88 w 512"/>
              <a:gd name="T11" fmla="*/ 266 h 512"/>
              <a:gd name="T12" fmla="*/ 280 w 512"/>
              <a:gd name="T13" fmla="*/ 263 h 512"/>
              <a:gd name="T14" fmla="*/ 266 w 512"/>
              <a:gd name="T15" fmla="*/ 249 h 512"/>
              <a:gd name="T16" fmla="*/ 266 w 512"/>
              <a:gd name="T17" fmla="*/ 373 h 512"/>
              <a:gd name="T18" fmla="*/ 256 w 512"/>
              <a:gd name="T19" fmla="*/ 384 h 512"/>
              <a:gd name="T20" fmla="*/ 245 w 512"/>
              <a:gd name="T21" fmla="*/ 373 h 512"/>
              <a:gd name="T22" fmla="*/ 245 w 512"/>
              <a:gd name="T23" fmla="*/ 249 h 512"/>
              <a:gd name="T24" fmla="*/ 231 w 512"/>
              <a:gd name="T25" fmla="*/ 263 h 512"/>
              <a:gd name="T26" fmla="*/ 216 w 512"/>
              <a:gd name="T27" fmla="*/ 263 h 512"/>
              <a:gd name="T28" fmla="*/ 216 w 512"/>
              <a:gd name="T29" fmla="*/ 248 h 512"/>
              <a:gd name="T30" fmla="*/ 248 w 512"/>
              <a:gd name="T31" fmla="*/ 216 h 512"/>
              <a:gd name="T32" fmla="*/ 252 w 512"/>
              <a:gd name="T33" fmla="*/ 214 h 512"/>
              <a:gd name="T34" fmla="*/ 260 w 512"/>
              <a:gd name="T35" fmla="*/ 214 h 512"/>
              <a:gd name="T36" fmla="*/ 263 w 512"/>
              <a:gd name="T37" fmla="*/ 216 h 512"/>
              <a:gd name="T38" fmla="*/ 295 w 512"/>
              <a:gd name="T39" fmla="*/ 248 h 512"/>
              <a:gd name="T40" fmla="*/ 295 w 512"/>
              <a:gd name="T41" fmla="*/ 263 h 512"/>
              <a:gd name="T42" fmla="*/ 288 w 512"/>
              <a:gd name="T43" fmla="*/ 266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88" y="266"/>
                </a:moveTo>
                <a:cubicBezTo>
                  <a:pt x="285" y="266"/>
                  <a:pt x="282" y="265"/>
                  <a:pt x="280" y="263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66" y="379"/>
                  <a:pt x="262" y="384"/>
                  <a:pt x="256" y="384"/>
                </a:cubicBezTo>
                <a:cubicBezTo>
                  <a:pt x="250" y="384"/>
                  <a:pt x="245" y="379"/>
                  <a:pt x="245" y="373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31" y="263"/>
                  <a:pt x="231" y="263"/>
                  <a:pt x="231" y="263"/>
                </a:cubicBezTo>
                <a:cubicBezTo>
                  <a:pt x="227" y="267"/>
                  <a:pt x="220" y="267"/>
                  <a:pt x="216" y="263"/>
                </a:cubicBezTo>
                <a:cubicBezTo>
                  <a:pt x="212" y="259"/>
                  <a:pt x="212" y="252"/>
                  <a:pt x="216" y="248"/>
                </a:cubicBezTo>
                <a:cubicBezTo>
                  <a:pt x="248" y="216"/>
                  <a:pt x="248" y="216"/>
                  <a:pt x="248" y="216"/>
                </a:cubicBezTo>
                <a:cubicBezTo>
                  <a:pt x="249" y="215"/>
                  <a:pt x="250" y="214"/>
                  <a:pt x="252" y="214"/>
                </a:cubicBezTo>
                <a:cubicBezTo>
                  <a:pt x="254" y="213"/>
                  <a:pt x="257" y="213"/>
                  <a:pt x="260" y="214"/>
                </a:cubicBezTo>
                <a:cubicBezTo>
                  <a:pt x="261" y="214"/>
                  <a:pt x="262" y="215"/>
                  <a:pt x="263" y="216"/>
                </a:cubicBezTo>
                <a:cubicBezTo>
                  <a:pt x="295" y="248"/>
                  <a:pt x="295" y="248"/>
                  <a:pt x="295" y="248"/>
                </a:cubicBezTo>
                <a:cubicBezTo>
                  <a:pt x="299" y="252"/>
                  <a:pt x="299" y="259"/>
                  <a:pt x="295" y="263"/>
                </a:cubicBezTo>
                <a:cubicBezTo>
                  <a:pt x="293" y="265"/>
                  <a:pt x="290" y="266"/>
                  <a:pt x="288" y="266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6" name="Group 432"/>
          <p:cNvGrpSpPr>
            <a:grpSpLocks noChangeAspect="1"/>
          </p:cNvGrpSpPr>
          <p:nvPr/>
        </p:nvGrpSpPr>
        <p:grpSpPr bwMode="auto">
          <a:xfrm>
            <a:off x="4936980" y="3740728"/>
            <a:ext cx="369021" cy="369021"/>
            <a:chOff x="3450" y="1581"/>
            <a:chExt cx="340" cy="340"/>
          </a:xfrm>
          <a:solidFill>
            <a:schemeClr val="accent5"/>
          </a:solidFill>
        </p:grpSpPr>
        <p:sp>
          <p:nvSpPr>
            <p:cNvPr id="357" name="Freeform 433"/>
            <p:cNvSpPr>
              <a:spLocks noEditPoints="1"/>
            </p:cNvSpPr>
            <p:nvPr/>
          </p:nvSpPr>
          <p:spPr bwMode="auto">
            <a:xfrm>
              <a:off x="3599" y="1701"/>
              <a:ext cx="42" cy="43"/>
            </a:xfrm>
            <a:custGeom>
              <a:avLst/>
              <a:gdLst>
                <a:gd name="T0" fmla="*/ 64 w 64"/>
                <a:gd name="T1" fmla="*/ 32 h 64"/>
                <a:gd name="T2" fmla="*/ 32 w 64"/>
                <a:gd name="T3" fmla="*/ 0 h 64"/>
                <a:gd name="T4" fmla="*/ 0 w 64"/>
                <a:gd name="T5" fmla="*/ 32 h 64"/>
                <a:gd name="T6" fmla="*/ 32 w 64"/>
                <a:gd name="T7" fmla="*/ 64 h 64"/>
                <a:gd name="T8" fmla="*/ 64 w 64"/>
                <a:gd name="T9" fmla="*/ 32 h 64"/>
                <a:gd name="T10" fmla="*/ 21 w 64"/>
                <a:gd name="T11" fmla="*/ 32 h 64"/>
                <a:gd name="T12" fmla="*/ 32 w 64"/>
                <a:gd name="T13" fmla="*/ 21 h 64"/>
                <a:gd name="T14" fmla="*/ 42 w 64"/>
                <a:gd name="T15" fmla="*/ 32 h 64"/>
                <a:gd name="T16" fmla="*/ 32 w 64"/>
                <a:gd name="T17" fmla="*/ 43 h 64"/>
                <a:gd name="T18" fmla="*/ 21 w 64"/>
                <a:gd name="T19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64" y="32"/>
                  </a:move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49" y="64"/>
                    <a:pt x="64" y="50"/>
                    <a:pt x="64" y="32"/>
                  </a:cubicBezTo>
                  <a:close/>
                  <a:moveTo>
                    <a:pt x="21" y="32"/>
                  </a:move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ubicBezTo>
                    <a:pt x="26" y="43"/>
                    <a:pt x="21" y="38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Freeform 434"/>
            <p:cNvSpPr>
              <a:spLocks/>
            </p:cNvSpPr>
            <p:nvPr/>
          </p:nvSpPr>
          <p:spPr bwMode="auto">
            <a:xfrm>
              <a:off x="3514" y="1645"/>
              <a:ext cx="212" cy="184"/>
            </a:xfrm>
            <a:custGeom>
              <a:avLst/>
              <a:gdLst>
                <a:gd name="T0" fmla="*/ 160 w 320"/>
                <a:gd name="T1" fmla="*/ 0 h 277"/>
                <a:gd name="T2" fmla="*/ 0 w 320"/>
                <a:gd name="T3" fmla="*/ 160 h 277"/>
                <a:gd name="T4" fmla="*/ 45 w 320"/>
                <a:gd name="T5" fmla="*/ 272 h 277"/>
                <a:gd name="T6" fmla="*/ 60 w 320"/>
                <a:gd name="T7" fmla="*/ 272 h 277"/>
                <a:gd name="T8" fmla="*/ 61 w 320"/>
                <a:gd name="T9" fmla="*/ 257 h 277"/>
                <a:gd name="T10" fmla="*/ 21 w 320"/>
                <a:gd name="T11" fmla="*/ 160 h 277"/>
                <a:gd name="T12" fmla="*/ 160 w 320"/>
                <a:gd name="T13" fmla="*/ 21 h 277"/>
                <a:gd name="T14" fmla="*/ 298 w 320"/>
                <a:gd name="T15" fmla="*/ 160 h 277"/>
                <a:gd name="T16" fmla="*/ 257 w 320"/>
                <a:gd name="T17" fmla="*/ 259 h 277"/>
                <a:gd name="T18" fmla="*/ 257 w 320"/>
                <a:gd name="T19" fmla="*/ 274 h 277"/>
                <a:gd name="T20" fmla="*/ 264 w 320"/>
                <a:gd name="T21" fmla="*/ 277 h 277"/>
                <a:gd name="T22" fmla="*/ 272 w 320"/>
                <a:gd name="T23" fmla="*/ 274 h 277"/>
                <a:gd name="T24" fmla="*/ 320 w 320"/>
                <a:gd name="T25" fmla="*/ 160 h 277"/>
                <a:gd name="T26" fmla="*/ 160 w 320"/>
                <a:gd name="T27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0" h="277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02"/>
                    <a:pt x="16" y="242"/>
                    <a:pt x="45" y="272"/>
                  </a:cubicBezTo>
                  <a:cubicBezTo>
                    <a:pt x="49" y="276"/>
                    <a:pt x="56" y="276"/>
                    <a:pt x="60" y="272"/>
                  </a:cubicBezTo>
                  <a:cubicBezTo>
                    <a:pt x="65" y="268"/>
                    <a:pt x="65" y="261"/>
                    <a:pt x="61" y="257"/>
                  </a:cubicBezTo>
                  <a:cubicBezTo>
                    <a:pt x="35" y="231"/>
                    <a:pt x="21" y="196"/>
                    <a:pt x="21" y="160"/>
                  </a:cubicBezTo>
                  <a:cubicBezTo>
                    <a:pt x="21" y="83"/>
                    <a:pt x="83" y="21"/>
                    <a:pt x="160" y="21"/>
                  </a:cubicBezTo>
                  <a:cubicBezTo>
                    <a:pt x="236" y="21"/>
                    <a:pt x="298" y="83"/>
                    <a:pt x="298" y="160"/>
                  </a:cubicBezTo>
                  <a:cubicBezTo>
                    <a:pt x="298" y="197"/>
                    <a:pt x="284" y="232"/>
                    <a:pt x="257" y="259"/>
                  </a:cubicBezTo>
                  <a:cubicBezTo>
                    <a:pt x="253" y="263"/>
                    <a:pt x="252" y="270"/>
                    <a:pt x="257" y="274"/>
                  </a:cubicBezTo>
                  <a:cubicBezTo>
                    <a:pt x="259" y="276"/>
                    <a:pt x="261" y="277"/>
                    <a:pt x="264" y="277"/>
                  </a:cubicBezTo>
                  <a:cubicBezTo>
                    <a:pt x="267" y="277"/>
                    <a:pt x="270" y="276"/>
                    <a:pt x="272" y="274"/>
                  </a:cubicBezTo>
                  <a:cubicBezTo>
                    <a:pt x="303" y="244"/>
                    <a:pt x="320" y="203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Freeform 435"/>
            <p:cNvSpPr>
              <a:spLocks noEditPoints="1"/>
            </p:cNvSpPr>
            <p:nvPr/>
          </p:nvSpPr>
          <p:spPr bwMode="auto">
            <a:xfrm>
              <a:off x="3591" y="1751"/>
              <a:ext cx="57" cy="99"/>
            </a:xfrm>
            <a:custGeom>
              <a:avLst/>
              <a:gdLst>
                <a:gd name="T0" fmla="*/ 64 w 85"/>
                <a:gd name="T1" fmla="*/ 0 h 149"/>
                <a:gd name="T2" fmla="*/ 21 w 85"/>
                <a:gd name="T3" fmla="*/ 0 h 149"/>
                <a:gd name="T4" fmla="*/ 0 w 85"/>
                <a:gd name="T5" fmla="*/ 21 h 149"/>
                <a:gd name="T6" fmla="*/ 0 w 85"/>
                <a:gd name="T7" fmla="*/ 53 h 149"/>
                <a:gd name="T8" fmla="*/ 9 w 85"/>
                <a:gd name="T9" fmla="*/ 100 h 149"/>
                <a:gd name="T10" fmla="*/ 32 w 85"/>
                <a:gd name="T11" fmla="*/ 149 h 149"/>
                <a:gd name="T12" fmla="*/ 53 w 85"/>
                <a:gd name="T13" fmla="*/ 149 h 149"/>
                <a:gd name="T14" fmla="*/ 76 w 85"/>
                <a:gd name="T15" fmla="*/ 100 h 149"/>
                <a:gd name="T16" fmla="*/ 85 w 85"/>
                <a:gd name="T17" fmla="*/ 53 h 149"/>
                <a:gd name="T18" fmla="*/ 85 w 85"/>
                <a:gd name="T19" fmla="*/ 21 h 149"/>
                <a:gd name="T20" fmla="*/ 64 w 85"/>
                <a:gd name="T21" fmla="*/ 0 h 149"/>
                <a:gd name="T22" fmla="*/ 47 w 85"/>
                <a:gd name="T23" fmla="*/ 128 h 149"/>
                <a:gd name="T24" fmla="*/ 38 w 85"/>
                <a:gd name="T25" fmla="*/ 128 h 149"/>
                <a:gd name="T26" fmla="*/ 21 w 85"/>
                <a:gd name="T27" fmla="*/ 53 h 149"/>
                <a:gd name="T28" fmla="*/ 21 w 85"/>
                <a:gd name="T29" fmla="*/ 22 h 149"/>
                <a:gd name="T30" fmla="*/ 21 w 85"/>
                <a:gd name="T31" fmla="*/ 21 h 149"/>
                <a:gd name="T32" fmla="*/ 63 w 85"/>
                <a:gd name="T33" fmla="*/ 21 h 149"/>
                <a:gd name="T34" fmla="*/ 64 w 85"/>
                <a:gd name="T35" fmla="*/ 21 h 149"/>
                <a:gd name="T36" fmla="*/ 64 w 85"/>
                <a:gd name="T37" fmla="*/ 53 h 149"/>
                <a:gd name="T38" fmla="*/ 47 w 85"/>
                <a:gd name="T39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49">
                  <a:moveTo>
                    <a:pt x="64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8"/>
                    <a:pt x="6" y="87"/>
                    <a:pt x="9" y="100"/>
                  </a:cubicBezTo>
                  <a:cubicBezTo>
                    <a:pt x="19" y="144"/>
                    <a:pt x="23" y="149"/>
                    <a:pt x="32" y="149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63" y="149"/>
                    <a:pt x="66" y="144"/>
                    <a:pt x="76" y="100"/>
                  </a:cubicBezTo>
                  <a:cubicBezTo>
                    <a:pt x="79" y="87"/>
                    <a:pt x="85" y="58"/>
                    <a:pt x="85" y="53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75" y="0"/>
                    <a:pt x="64" y="0"/>
                  </a:cubicBezTo>
                  <a:close/>
                  <a:moveTo>
                    <a:pt x="47" y="128"/>
                  </a:moveTo>
                  <a:cubicBezTo>
                    <a:pt x="38" y="128"/>
                    <a:pt x="38" y="128"/>
                    <a:pt x="38" y="128"/>
                  </a:cubicBezTo>
                  <a:cubicBezTo>
                    <a:pt x="33" y="112"/>
                    <a:pt x="22" y="60"/>
                    <a:pt x="21" y="5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2" y="21"/>
                    <a:pt x="21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4" y="22"/>
                    <a:pt x="64" y="21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3" y="60"/>
                    <a:pt x="52" y="112"/>
                    <a:pt x="47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436"/>
            <p:cNvSpPr>
              <a:spLocks/>
            </p:cNvSpPr>
            <p:nvPr/>
          </p:nvSpPr>
          <p:spPr bwMode="auto">
            <a:xfrm>
              <a:off x="3542" y="1673"/>
              <a:ext cx="156" cy="136"/>
            </a:xfrm>
            <a:custGeom>
              <a:avLst/>
              <a:gdLst>
                <a:gd name="T0" fmla="*/ 118 w 235"/>
                <a:gd name="T1" fmla="*/ 0 h 205"/>
                <a:gd name="T2" fmla="*/ 0 w 235"/>
                <a:gd name="T3" fmla="*/ 118 h 205"/>
                <a:gd name="T4" fmla="*/ 34 w 235"/>
                <a:gd name="T5" fmla="*/ 200 h 205"/>
                <a:gd name="T6" fmla="*/ 49 w 235"/>
                <a:gd name="T7" fmla="*/ 200 h 205"/>
                <a:gd name="T8" fmla="*/ 49 w 235"/>
                <a:gd name="T9" fmla="*/ 185 h 205"/>
                <a:gd name="T10" fmla="*/ 22 w 235"/>
                <a:gd name="T11" fmla="*/ 118 h 205"/>
                <a:gd name="T12" fmla="*/ 118 w 235"/>
                <a:gd name="T13" fmla="*/ 22 h 205"/>
                <a:gd name="T14" fmla="*/ 214 w 235"/>
                <a:gd name="T15" fmla="*/ 118 h 205"/>
                <a:gd name="T16" fmla="*/ 185 w 235"/>
                <a:gd name="T17" fmla="*/ 186 h 205"/>
                <a:gd name="T18" fmla="*/ 185 w 235"/>
                <a:gd name="T19" fmla="*/ 201 h 205"/>
                <a:gd name="T20" fmla="*/ 192 w 235"/>
                <a:gd name="T21" fmla="*/ 205 h 205"/>
                <a:gd name="T22" fmla="*/ 200 w 235"/>
                <a:gd name="T23" fmla="*/ 201 h 205"/>
                <a:gd name="T24" fmla="*/ 235 w 235"/>
                <a:gd name="T25" fmla="*/ 118 h 205"/>
                <a:gd name="T26" fmla="*/ 118 w 235"/>
                <a:gd name="T27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5" h="205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49"/>
                    <a:pt x="12" y="178"/>
                    <a:pt x="34" y="200"/>
                  </a:cubicBezTo>
                  <a:cubicBezTo>
                    <a:pt x="38" y="204"/>
                    <a:pt x="45" y="204"/>
                    <a:pt x="49" y="200"/>
                  </a:cubicBezTo>
                  <a:cubicBezTo>
                    <a:pt x="53" y="196"/>
                    <a:pt x="53" y="189"/>
                    <a:pt x="49" y="185"/>
                  </a:cubicBezTo>
                  <a:cubicBezTo>
                    <a:pt x="31" y="167"/>
                    <a:pt x="22" y="143"/>
                    <a:pt x="22" y="118"/>
                  </a:cubicBezTo>
                  <a:cubicBezTo>
                    <a:pt x="22" y="65"/>
                    <a:pt x="65" y="22"/>
                    <a:pt x="118" y="22"/>
                  </a:cubicBezTo>
                  <a:cubicBezTo>
                    <a:pt x="171" y="22"/>
                    <a:pt x="214" y="65"/>
                    <a:pt x="214" y="118"/>
                  </a:cubicBezTo>
                  <a:cubicBezTo>
                    <a:pt x="214" y="144"/>
                    <a:pt x="203" y="168"/>
                    <a:pt x="185" y="186"/>
                  </a:cubicBezTo>
                  <a:cubicBezTo>
                    <a:pt x="181" y="190"/>
                    <a:pt x="181" y="197"/>
                    <a:pt x="185" y="201"/>
                  </a:cubicBezTo>
                  <a:cubicBezTo>
                    <a:pt x="187" y="203"/>
                    <a:pt x="190" y="205"/>
                    <a:pt x="192" y="205"/>
                  </a:cubicBezTo>
                  <a:cubicBezTo>
                    <a:pt x="195" y="205"/>
                    <a:pt x="198" y="203"/>
                    <a:pt x="200" y="201"/>
                  </a:cubicBezTo>
                  <a:cubicBezTo>
                    <a:pt x="223" y="179"/>
                    <a:pt x="235" y="149"/>
                    <a:pt x="235" y="118"/>
                  </a:cubicBezTo>
                  <a:cubicBezTo>
                    <a:pt x="235" y="53"/>
                    <a:pt x="182" y="0"/>
                    <a:pt x="1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Freeform 437"/>
            <p:cNvSpPr>
              <a:spLocks noEditPoints="1"/>
            </p:cNvSpPr>
            <p:nvPr/>
          </p:nvSpPr>
          <p:spPr bwMode="auto">
            <a:xfrm>
              <a:off x="3450" y="158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2" name="Freeform 441"/>
          <p:cNvSpPr>
            <a:spLocks noChangeAspect="1" noEditPoints="1"/>
          </p:cNvSpPr>
          <p:nvPr/>
        </p:nvSpPr>
        <p:spPr bwMode="auto">
          <a:xfrm>
            <a:off x="4438410" y="3740728"/>
            <a:ext cx="370106" cy="369021"/>
          </a:xfrm>
          <a:custGeom>
            <a:avLst/>
            <a:gdLst>
              <a:gd name="T0" fmla="*/ 277 w 512"/>
              <a:gd name="T1" fmla="*/ 277 h 512"/>
              <a:gd name="T2" fmla="*/ 277 w 512"/>
              <a:gd name="T3" fmla="*/ 309 h 512"/>
              <a:gd name="T4" fmla="*/ 260 w 512"/>
              <a:gd name="T5" fmla="*/ 384 h 512"/>
              <a:gd name="T6" fmla="*/ 251 w 512"/>
              <a:gd name="T7" fmla="*/ 384 h 512"/>
              <a:gd name="T8" fmla="*/ 234 w 512"/>
              <a:gd name="T9" fmla="*/ 309 h 512"/>
              <a:gd name="T10" fmla="*/ 234 w 512"/>
              <a:gd name="T11" fmla="*/ 278 h 512"/>
              <a:gd name="T12" fmla="*/ 234 w 512"/>
              <a:gd name="T13" fmla="*/ 277 h 512"/>
              <a:gd name="T14" fmla="*/ 276 w 512"/>
              <a:gd name="T15" fmla="*/ 277 h 512"/>
              <a:gd name="T16" fmla="*/ 277 w 512"/>
              <a:gd name="T17" fmla="*/ 277 h 512"/>
              <a:gd name="T18" fmla="*/ 266 w 512"/>
              <a:gd name="T19" fmla="*/ 213 h 512"/>
              <a:gd name="T20" fmla="*/ 256 w 512"/>
              <a:gd name="T21" fmla="*/ 202 h 512"/>
              <a:gd name="T22" fmla="*/ 245 w 512"/>
              <a:gd name="T23" fmla="*/ 213 h 512"/>
              <a:gd name="T24" fmla="*/ 256 w 512"/>
              <a:gd name="T25" fmla="*/ 224 h 512"/>
              <a:gd name="T26" fmla="*/ 266 w 512"/>
              <a:gd name="T27" fmla="*/ 213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298 w 512"/>
              <a:gd name="T39" fmla="*/ 277 h 512"/>
              <a:gd name="T40" fmla="*/ 277 w 512"/>
              <a:gd name="T41" fmla="*/ 256 h 512"/>
              <a:gd name="T42" fmla="*/ 234 w 512"/>
              <a:gd name="T43" fmla="*/ 256 h 512"/>
              <a:gd name="T44" fmla="*/ 213 w 512"/>
              <a:gd name="T45" fmla="*/ 277 h 512"/>
              <a:gd name="T46" fmla="*/ 213 w 512"/>
              <a:gd name="T47" fmla="*/ 309 h 512"/>
              <a:gd name="T48" fmla="*/ 222 w 512"/>
              <a:gd name="T49" fmla="*/ 356 h 512"/>
              <a:gd name="T50" fmla="*/ 245 w 512"/>
              <a:gd name="T51" fmla="*/ 405 h 512"/>
              <a:gd name="T52" fmla="*/ 266 w 512"/>
              <a:gd name="T53" fmla="*/ 405 h 512"/>
              <a:gd name="T54" fmla="*/ 289 w 512"/>
              <a:gd name="T55" fmla="*/ 356 h 512"/>
              <a:gd name="T56" fmla="*/ 298 w 512"/>
              <a:gd name="T57" fmla="*/ 309 h 512"/>
              <a:gd name="T58" fmla="*/ 298 w 512"/>
              <a:gd name="T59" fmla="*/ 277 h 512"/>
              <a:gd name="T60" fmla="*/ 256 w 512"/>
              <a:gd name="T61" fmla="*/ 245 h 512"/>
              <a:gd name="T62" fmla="*/ 288 w 512"/>
              <a:gd name="T63" fmla="*/ 213 h 512"/>
              <a:gd name="T64" fmla="*/ 256 w 512"/>
              <a:gd name="T65" fmla="*/ 181 h 512"/>
              <a:gd name="T66" fmla="*/ 224 w 512"/>
              <a:gd name="T67" fmla="*/ 213 h 512"/>
              <a:gd name="T68" fmla="*/ 256 w 512"/>
              <a:gd name="T69" fmla="*/ 245 h 512"/>
              <a:gd name="T70" fmla="*/ 338 w 512"/>
              <a:gd name="T71" fmla="*/ 339 h 512"/>
              <a:gd name="T72" fmla="*/ 373 w 512"/>
              <a:gd name="T73" fmla="*/ 256 h 512"/>
              <a:gd name="T74" fmla="*/ 256 w 512"/>
              <a:gd name="T75" fmla="*/ 138 h 512"/>
              <a:gd name="T76" fmla="*/ 138 w 512"/>
              <a:gd name="T77" fmla="*/ 256 h 512"/>
              <a:gd name="T78" fmla="*/ 172 w 512"/>
              <a:gd name="T79" fmla="*/ 338 h 512"/>
              <a:gd name="T80" fmla="*/ 187 w 512"/>
              <a:gd name="T81" fmla="*/ 338 h 512"/>
              <a:gd name="T82" fmla="*/ 187 w 512"/>
              <a:gd name="T83" fmla="*/ 323 h 512"/>
              <a:gd name="T84" fmla="*/ 160 w 512"/>
              <a:gd name="T85" fmla="*/ 256 h 512"/>
              <a:gd name="T86" fmla="*/ 256 w 512"/>
              <a:gd name="T87" fmla="*/ 160 h 512"/>
              <a:gd name="T88" fmla="*/ 352 w 512"/>
              <a:gd name="T89" fmla="*/ 256 h 512"/>
              <a:gd name="T90" fmla="*/ 323 w 512"/>
              <a:gd name="T91" fmla="*/ 324 h 512"/>
              <a:gd name="T92" fmla="*/ 323 w 512"/>
              <a:gd name="T93" fmla="*/ 339 h 512"/>
              <a:gd name="T94" fmla="*/ 330 w 512"/>
              <a:gd name="T95" fmla="*/ 343 h 512"/>
              <a:gd name="T96" fmla="*/ 338 w 512"/>
              <a:gd name="T97" fmla="*/ 339 h 512"/>
              <a:gd name="T98" fmla="*/ 416 w 512"/>
              <a:gd name="T99" fmla="*/ 256 h 512"/>
              <a:gd name="T100" fmla="*/ 256 w 512"/>
              <a:gd name="T101" fmla="*/ 96 h 512"/>
              <a:gd name="T102" fmla="*/ 96 w 512"/>
              <a:gd name="T103" fmla="*/ 256 h 512"/>
              <a:gd name="T104" fmla="*/ 141 w 512"/>
              <a:gd name="T105" fmla="*/ 368 h 512"/>
              <a:gd name="T106" fmla="*/ 156 w 512"/>
              <a:gd name="T107" fmla="*/ 368 h 512"/>
              <a:gd name="T108" fmla="*/ 157 w 512"/>
              <a:gd name="T109" fmla="*/ 353 h 512"/>
              <a:gd name="T110" fmla="*/ 117 w 512"/>
              <a:gd name="T111" fmla="*/ 256 h 512"/>
              <a:gd name="T112" fmla="*/ 256 w 512"/>
              <a:gd name="T113" fmla="*/ 117 h 512"/>
              <a:gd name="T114" fmla="*/ 394 w 512"/>
              <a:gd name="T115" fmla="*/ 256 h 512"/>
              <a:gd name="T116" fmla="*/ 353 w 512"/>
              <a:gd name="T117" fmla="*/ 355 h 512"/>
              <a:gd name="T118" fmla="*/ 353 w 512"/>
              <a:gd name="T119" fmla="*/ 370 h 512"/>
              <a:gd name="T120" fmla="*/ 360 w 512"/>
              <a:gd name="T121" fmla="*/ 373 h 512"/>
              <a:gd name="T122" fmla="*/ 368 w 512"/>
              <a:gd name="T123" fmla="*/ 370 h 512"/>
              <a:gd name="T124" fmla="*/ 416 w 512"/>
              <a:gd name="T125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277" y="277"/>
                </a:moveTo>
                <a:cubicBezTo>
                  <a:pt x="277" y="309"/>
                  <a:pt x="277" y="309"/>
                  <a:pt x="277" y="309"/>
                </a:cubicBezTo>
                <a:cubicBezTo>
                  <a:pt x="276" y="316"/>
                  <a:pt x="265" y="368"/>
                  <a:pt x="260" y="384"/>
                </a:cubicBezTo>
                <a:cubicBezTo>
                  <a:pt x="251" y="384"/>
                  <a:pt x="251" y="384"/>
                  <a:pt x="251" y="384"/>
                </a:cubicBezTo>
                <a:cubicBezTo>
                  <a:pt x="246" y="368"/>
                  <a:pt x="235" y="316"/>
                  <a:pt x="234" y="309"/>
                </a:cubicBezTo>
                <a:cubicBezTo>
                  <a:pt x="234" y="278"/>
                  <a:pt x="234" y="278"/>
                  <a:pt x="234" y="278"/>
                </a:cubicBezTo>
                <a:cubicBezTo>
                  <a:pt x="234" y="278"/>
                  <a:pt x="235" y="277"/>
                  <a:pt x="234" y="277"/>
                </a:cubicBezTo>
                <a:cubicBezTo>
                  <a:pt x="276" y="277"/>
                  <a:pt x="276" y="277"/>
                  <a:pt x="276" y="277"/>
                </a:cubicBezTo>
                <a:cubicBezTo>
                  <a:pt x="276" y="277"/>
                  <a:pt x="277" y="278"/>
                  <a:pt x="277" y="277"/>
                </a:cubicBezTo>
                <a:close/>
                <a:moveTo>
                  <a:pt x="266" y="213"/>
                </a:moveTo>
                <a:cubicBezTo>
                  <a:pt x="266" y="207"/>
                  <a:pt x="262" y="202"/>
                  <a:pt x="256" y="202"/>
                </a:cubicBezTo>
                <a:cubicBezTo>
                  <a:pt x="250" y="202"/>
                  <a:pt x="245" y="207"/>
                  <a:pt x="245" y="213"/>
                </a:cubicBezTo>
                <a:cubicBezTo>
                  <a:pt x="245" y="219"/>
                  <a:pt x="250" y="224"/>
                  <a:pt x="256" y="224"/>
                </a:cubicBezTo>
                <a:cubicBezTo>
                  <a:pt x="262" y="224"/>
                  <a:pt x="266" y="219"/>
                  <a:pt x="266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98" y="277"/>
                </a:moveTo>
                <a:cubicBezTo>
                  <a:pt x="298" y="266"/>
                  <a:pt x="288" y="256"/>
                  <a:pt x="277" y="256"/>
                </a:cubicBezTo>
                <a:cubicBezTo>
                  <a:pt x="234" y="256"/>
                  <a:pt x="234" y="256"/>
                  <a:pt x="234" y="256"/>
                </a:cubicBezTo>
                <a:cubicBezTo>
                  <a:pt x="223" y="256"/>
                  <a:pt x="213" y="266"/>
                  <a:pt x="213" y="277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13" y="314"/>
                  <a:pt x="219" y="343"/>
                  <a:pt x="222" y="356"/>
                </a:cubicBezTo>
                <a:cubicBezTo>
                  <a:pt x="232" y="400"/>
                  <a:pt x="236" y="405"/>
                  <a:pt x="245" y="405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76" y="405"/>
                  <a:pt x="279" y="400"/>
                  <a:pt x="289" y="356"/>
                </a:cubicBezTo>
                <a:cubicBezTo>
                  <a:pt x="292" y="343"/>
                  <a:pt x="298" y="314"/>
                  <a:pt x="298" y="309"/>
                </a:cubicBezTo>
                <a:lnTo>
                  <a:pt x="298" y="277"/>
                </a:lnTo>
                <a:close/>
                <a:moveTo>
                  <a:pt x="256" y="245"/>
                </a:moveTo>
                <a:cubicBezTo>
                  <a:pt x="273" y="245"/>
                  <a:pt x="288" y="231"/>
                  <a:pt x="288" y="213"/>
                </a:cubicBezTo>
                <a:cubicBezTo>
                  <a:pt x="288" y="195"/>
                  <a:pt x="273" y="181"/>
                  <a:pt x="256" y="181"/>
                </a:cubicBezTo>
                <a:cubicBezTo>
                  <a:pt x="238" y="181"/>
                  <a:pt x="224" y="195"/>
                  <a:pt x="224" y="213"/>
                </a:cubicBezTo>
                <a:cubicBezTo>
                  <a:pt x="224" y="231"/>
                  <a:pt x="238" y="245"/>
                  <a:pt x="256" y="245"/>
                </a:cubicBezTo>
                <a:close/>
                <a:moveTo>
                  <a:pt x="338" y="339"/>
                </a:moveTo>
                <a:cubicBezTo>
                  <a:pt x="361" y="317"/>
                  <a:pt x="373" y="287"/>
                  <a:pt x="373" y="256"/>
                </a:cubicBezTo>
                <a:cubicBezTo>
                  <a:pt x="373" y="191"/>
                  <a:pt x="320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287"/>
                  <a:pt x="150" y="316"/>
                  <a:pt x="172" y="338"/>
                </a:cubicBezTo>
                <a:cubicBezTo>
                  <a:pt x="176" y="342"/>
                  <a:pt x="183" y="342"/>
                  <a:pt x="187" y="338"/>
                </a:cubicBezTo>
                <a:cubicBezTo>
                  <a:pt x="191" y="334"/>
                  <a:pt x="191" y="327"/>
                  <a:pt x="187" y="323"/>
                </a:cubicBezTo>
                <a:cubicBezTo>
                  <a:pt x="169" y="305"/>
                  <a:pt x="160" y="281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309" y="160"/>
                  <a:pt x="352" y="203"/>
                  <a:pt x="352" y="256"/>
                </a:cubicBezTo>
                <a:cubicBezTo>
                  <a:pt x="352" y="282"/>
                  <a:pt x="341" y="306"/>
                  <a:pt x="323" y="324"/>
                </a:cubicBezTo>
                <a:cubicBezTo>
                  <a:pt x="319" y="328"/>
                  <a:pt x="319" y="335"/>
                  <a:pt x="323" y="339"/>
                </a:cubicBezTo>
                <a:cubicBezTo>
                  <a:pt x="325" y="341"/>
                  <a:pt x="328" y="343"/>
                  <a:pt x="330" y="343"/>
                </a:cubicBezTo>
                <a:cubicBezTo>
                  <a:pt x="333" y="343"/>
                  <a:pt x="336" y="341"/>
                  <a:pt x="338" y="339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298"/>
                  <a:pt x="112" y="338"/>
                  <a:pt x="141" y="368"/>
                </a:cubicBezTo>
                <a:cubicBezTo>
                  <a:pt x="145" y="372"/>
                  <a:pt x="152" y="372"/>
                  <a:pt x="156" y="368"/>
                </a:cubicBezTo>
                <a:cubicBezTo>
                  <a:pt x="161" y="364"/>
                  <a:pt x="161" y="357"/>
                  <a:pt x="157" y="353"/>
                </a:cubicBezTo>
                <a:cubicBezTo>
                  <a:pt x="131" y="327"/>
                  <a:pt x="117" y="292"/>
                  <a:pt x="117" y="256"/>
                </a:cubicBezTo>
                <a:cubicBezTo>
                  <a:pt x="117" y="179"/>
                  <a:pt x="179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293"/>
                  <a:pt x="380" y="328"/>
                  <a:pt x="353" y="355"/>
                </a:cubicBezTo>
                <a:cubicBezTo>
                  <a:pt x="349" y="359"/>
                  <a:pt x="348" y="366"/>
                  <a:pt x="353" y="370"/>
                </a:cubicBezTo>
                <a:cubicBezTo>
                  <a:pt x="355" y="372"/>
                  <a:pt x="357" y="373"/>
                  <a:pt x="360" y="373"/>
                </a:cubicBezTo>
                <a:cubicBezTo>
                  <a:pt x="363" y="373"/>
                  <a:pt x="366" y="372"/>
                  <a:pt x="368" y="370"/>
                </a:cubicBezTo>
                <a:cubicBezTo>
                  <a:pt x="399" y="340"/>
                  <a:pt x="416" y="299"/>
                  <a:pt x="416" y="2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3" name="Freeform 631"/>
          <p:cNvSpPr>
            <a:spLocks noChangeAspect="1" noEditPoints="1"/>
          </p:cNvSpPr>
          <p:nvPr/>
        </p:nvSpPr>
        <p:spPr bwMode="auto">
          <a:xfrm>
            <a:off x="5931950" y="3740728"/>
            <a:ext cx="369021" cy="36902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365 w 512"/>
              <a:gd name="T11" fmla="*/ 160 h 512"/>
              <a:gd name="T12" fmla="*/ 153 w 512"/>
              <a:gd name="T13" fmla="*/ 96 h 512"/>
              <a:gd name="T14" fmla="*/ 135 w 512"/>
              <a:gd name="T15" fmla="*/ 122 h 512"/>
              <a:gd name="T16" fmla="*/ 145 w 512"/>
              <a:gd name="T17" fmla="*/ 135 h 512"/>
              <a:gd name="T18" fmla="*/ 275 w 512"/>
              <a:gd name="T19" fmla="*/ 160 h 512"/>
              <a:gd name="T20" fmla="*/ 96 w 512"/>
              <a:gd name="T21" fmla="*/ 217 h 512"/>
              <a:gd name="T22" fmla="*/ 153 w 512"/>
              <a:gd name="T23" fmla="*/ 373 h 512"/>
              <a:gd name="T24" fmla="*/ 416 w 512"/>
              <a:gd name="T25" fmla="*/ 315 h 512"/>
              <a:gd name="T26" fmla="*/ 365 w 512"/>
              <a:gd name="T27" fmla="*/ 160 h 512"/>
              <a:gd name="T28" fmla="*/ 358 w 512"/>
              <a:gd name="T29" fmla="*/ 352 h 512"/>
              <a:gd name="T30" fmla="*/ 117 w 512"/>
              <a:gd name="T31" fmla="*/ 315 h 512"/>
              <a:gd name="T32" fmla="*/ 153 w 512"/>
              <a:gd name="T33" fmla="*/ 181 h 512"/>
              <a:gd name="T34" fmla="*/ 394 w 512"/>
              <a:gd name="T35" fmla="*/ 217 h 512"/>
              <a:gd name="T36" fmla="*/ 202 w 512"/>
              <a:gd name="T37" fmla="*/ 213 h 512"/>
              <a:gd name="T38" fmla="*/ 202 w 512"/>
              <a:gd name="T39" fmla="*/ 320 h 512"/>
              <a:gd name="T40" fmla="*/ 202 w 512"/>
              <a:gd name="T41" fmla="*/ 213 h 512"/>
              <a:gd name="T42" fmla="*/ 170 w 512"/>
              <a:gd name="T43" fmla="*/ 266 h 512"/>
              <a:gd name="T44" fmla="*/ 234 w 512"/>
              <a:gd name="T45" fmla="*/ 266 h 512"/>
              <a:gd name="T46" fmla="*/ 352 w 512"/>
              <a:gd name="T47" fmla="*/ 213 h 512"/>
              <a:gd name="T48" fmla="*/ 277 w 512"/>
              <a:gd name="T49" fmla="*/ 224 h 512"/>
              <a:gd name="T50" fmla="*/ 352 w 512"/>
              <a:gd name="T51" fmla="*/ 234 h 512"/>
              <a:gd name="T52" fmla="*/ 352 w 512"/>
              <a:gd name="T53" fmla="*/ 213 h 512"/>
              <a:gd name="T54" fmla="*/ 288 w 512"/>
              <a:gd name="T55" fmla="*/ 298 h 512"/>
              <a:gd name="T56" fmla="*/ 288 w 512"/>
              <a:gd name="T57" fmla="*/ 320 h 512"/>
              <a:gd name="T58" fmla="*/ 362 w 512"/>
              <a:gd name="T59" fmla="*/ 309 h 512"/>
              <a:gd name="T60" fmla="*/ 352 w 512"/>
              <a:gd name="T61" fmla="*/ 256 h 512"/>
              <a:gd name="T62" fmla="*/ 277 w 512"/>
              <a:gd name="T63" fmla="*/ 266 h 512"/>
              <a:gd name="T64" fmla="*/ 352 w 512"/>
              <a:gd name="T65" fmla="*/ 277 h 512"/>
              <a:gd name="T66" fmla="*/ 352 w 512"/>
              <a:gd name="T67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5" y="160"/>
                </a:moveTo>
                <a:cubicBezTo>
                  <a:pt x="365" y="160"/>
                  <a:pt x="365" y="160"/>
                  <a:pt x="365" y="160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1" y="103"/>
                  <a:pt x="158" y="98"/>
                  <a:pt x="153" y="96"/>
                </a:cubicBezTo>
                <a:cubicBezTo>
                  <a:pt x="147" y="95"/>
                  <a:pt x="141" y="98"/>
                  <a:pt x="139" y="104"/>
                </a:cubicBezTo>
                <a:cubicBezTo>
                  <a:pt x="135" y="122"/>
                  <a:pt x="135" y="122"/>
                  <a:pt x="135" y="122"/>
                </a:cubicBezTo>
                <a:cubicBezTo>
                  <a:pt x="133" y="127"/>
                  <a:pt x="136" y="133"/>
                  <a:pt x="142" y="135"/>
                </a:cubicBezTo>
                <a:cubicBezTo>
                  <a:pt x="143" y="135"/>
                  <a:pt x="144" y="135"/>
                  <a:pt x="145" y="135"/>
                </a:cubicBezTo>
                <a:cubicBezTo>
                  <a:pt x="149" y="135"/>
                  <a:pt x="152" y="133"/>
                  <a:pt x="154" y="129"/>
                </a:cubicBezTo>
                <a:cubicBezTo>
                  <a:pt x="275" y="160"/>
                  <a:pt x="275" y="160"/>
                  <a:pt x="275" y="160"/>
                </a:cubicBezTo>
                <a:cubicBezTo>
                  <a:pt x="153" y="160"/>
                  <a:pt x="153" y="160"/>
                  <a:pt x="153" y="160"/>
                </a:cubicBezTo>
                <a:cubicBezTo>
                  <a:pt x="122" y="160"/>
                  <a:pt x="96" y="186"/>
                  <a:pt x="96" y="217"/>
                </a:cubicBezTo>
                <a:cubicBezTo>
                  <a:pt x="96" y="315"/>
                  <a:pt x="96" y="315"/>
                  <a:pt x="96" y="315"/>
                </a:cubicBezTo>
                <a:cubicBezTo>
                  <a:pt x="96" y="347"/>
                  <a:pt x="122" y="373"/>
                  <a:pt x="153" y="373"/>
                </a:cubicBezTo>
                <a:cubicBezTo>
                  <a:pt x="358" y="373"/>
                  <a:pt x="358" y="373"/>
                  <a:pt x="358" y="373"/>
                </a:cubicBezTo>
                <a:cubicBezTo>
                  <a:pt x="390" y="373"/>
                  <a:pt x="416" y="347"/>
                  <a:pt x="416" y="315"/>
                </a:cubicBezTo>
                <a:cubicBezTo>
                  <a:pt x="416" y="217"/>
                  <a:pt x="416" y="217"/>
                  <a:pt x="416" y="217"/>
                </a:cubicBezTo>
                <a:cubicBezTo>
                  <a:pt x="416" y="188"/>
                  <a:pt x="394" y="164"/>
                  <a:pt x="365" y="160"/>
                </a:cubicBezTo>
                <a:close/>
                <a:moveTo>
                  <a:pt x="394" y="315"/>
                </a:moveTo>
                <a:cubicBezTo>
                  <a:pt x="394" y="335"/>
                  <a:pt x="378" y="352"/>
                  <a:pt x="358" y="352"/>
                </a:cubicBezTo>
                <a:cubicBezTo>
                  <a:pt x="153" y="352"/>
                  <a:pt x="153" y="352"/>
                  <a:pt x="153" y="352"/>
                </a:cubicBezTo>
                <a:cubicBezTo>
                  <a:pt x="133" y="352"/>
                  <a:pt x="117" y="335"/>
                  <a:pt x="117" y="315"/>
                </a:cubicBezTo>
                <a:cubicBezTo>
                  <a:pt x="117" y="217"/>
                  <a:pt x="117" y="217"/>
                  <a:pt x="117" y="217"/>
                </a:cubicBezTo>
                <a:cubicBezTo>
                  <a:pt x="117" y="197"/>
                  <a:pt x="133" y="181"/>
                  <a:pt x="153" y="181"/>
                </a:cubicBezTo>
                <a:cubicBezTo>
                  <a:pt x="358" y="181"/>
                  <a:pt x="358" y="181"/>
                  <a:pt x="358" y="181"/>
                </a:cubicBezTo>
                <a:cubicBezTo>
                  <a:pt x="378" y="181"/>
                  <a:pt x="394" y="197"/>
                  <a:pt x="394" y="217"/>
                </a:cubicBezTo>
                <a:lnTo>
                  <a:pt x="394" y="315"/>
                </a:lnTo>
                <a:close/>
                <a:moveTo>
                  <a:pt x="202" y="213"/>
                </a:moveTo>
                <a:cubicBezTo>
                  <a:pt x="173" y="213"/>
                  <a:pt x="149" y="237"/>
                  <a:pt x="149" y="266"/>
                </a:cubicBezTo>
                <a:cubicBezTo>
                  <a:pt x="149" y="296"/>
                  <a:pt x="173" y="320"/>
                  <a:pt x="202" y="320"/>
                </a:cubicBezTo>
                <a:cubicBezTo>
                  <a:pt x="232" y="320"/>
                  <a:pt x="256" y="296"/>
                  <a:pt x="256" y="266"/>
                </a:cubicBezTo>
                <a:cubicBezTo>
                  <a:pt x="256" y="237"/>
                  <a:pt x="232" y="213"/>
                  <a:pt x="202" y="213"/>
                </a:cubicBezTo>
                <a:close/>
                <a:moveTo>
                  <a:pt x="202" y="298"/>
                </a:moveTo>
                <a:cubicBezTo>
                  <a:pt x="185" y="298"/>
                  <a:pt x="170" y="284"/>
                  <a:pt x="170" y="266"/>
                </a:cubicBezTo>
                <a:cubicBezTo>
                  <a:pt x="170" y="249"/>
                  <a:pt x="185" y="234"/>
                  <a:pt x="202" y="234"/>
                </a:cubicBezTo>
                <a:cubicBezTo>
                  <a:pt x="220" y="234"/>
                  <a:pt x="234" y="249"/>
                  <a:pt x="234" y="266"/>
                </a:cubicBezTo>
                <a:cubicBezTo>
                  <a:pt x="234" y="284"/>
                  <a:pt x="220" y="298"/>
                  <a:pt x="202" y="298"/>
                </a:cubicBezTo>
                <a:close/>
                <a:moveTo>
                  <a:pt x="352" y="213"/>
                </a:moveTo>
                <a:cubicBezTo>
                  <a:pt x="288" y="213"/>
                  <a:pt x="288" y="213"/>
                  <a:pt x="288" y="213"/>
                </a:cubicBezTo>
                <a:cubicBezTo>
                  <a:pt x="282" y="213"/>
                  <a:pt x="277" y="218"/>
                  <a:pt x="277" y="224"/>
                </a:cubicBezTo>
                <a:cubicBezTo>
                  <a:pt x="277" y="230"/>
                  <a:pt x="282" y="234"/>
                  <a:pt x="288" y="234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58" y="234"/>
                  <a:pt x="362" y="230"/>
                  <a:pt x="362" y="224"/>
                </a:cubicBezTo>
                <a:cubicBezTo>
                  <a:pt x="362" y="218"/>
                  <a:pt x="358" y="213"/>
                  <a:pt x="352" y="213"/>
                </a:cubicBezTo>
                <a:close/>
                <a:moveTo>
                  <a:pt x="352" y="298"/>
                </a:moveTo>
                <a:cubicBezTo>
                  <a:pt x="288" y="298"/>
                  <a:pt x="288" y="298"/>
                  <a:pt x="288" y="298"/>
                </a:cubicBezTo>
                <a:cubicBezTo>
                  <a:pt x="282" y="298"/>
                  <a:pt x="277" y="303"/>
                  <a:pt x="277" y="309"/>
                </a:cubicBezTo>
                <a:cubicBezTo>
                  <a:pt x="277" y="315"/>
                  <a:pt x="282" y="320"/>
                  <a:pt x="288" y="320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358" y="320"/>
                  <a:pt x="362" y="315"/>
                  <a:pt x="362" y="309"/>
                </a:cubicBezTo>
                <a:cubicBezTo>
                  <a:pt x="362" y="303"/>
                  <a:pt x="358" y="298"/>
                  <a:pt x="352" y="298"/>
                </a:cubicBezTo>
                <a:close/>
                <a:moveTo>
                  <a:pt x="352" y="256"/>
                </a:moveTo>
                <a:cubicBezTo>
                  <a:pt x="288" y="256"/>
                  <a:pt x="288" y="256"/>
                  <a:pt x="288" y="256"/>
                </a:cubicBezTo>
                <a:cubicBezTo>
                  <a:pt x="282" y="256"/>
                  <a:pt x="277" y="260"/>
                  <a:pt x="277" y="266"/>
                </a:cubicBezTo>
                <a:cubicBezTo>
                  <a:pt x="277" y="272"/>
                  <a:pt x="282" y="277"/>
                  <a:pt x="288" y="277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8" y="277"/>
                  <a:pt x="362" y="272"/>
                  <a:pt x="362" y="266"/>
                </a:cubicBezTo>
                <a:cubicBezTo>
                  <a:pt x="362" y="260"/>
                  <a:pt x="358" y="256"/>
                  <a:pt x="352" y="2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4" name="Freeform 635"/>
          <p:cNvSpPr>
            <a:spLocks noChangeAspect="1" noEditPoints="1"/>
          </p:cNvSpPr>
          <p:nvPr/>
        </p:nvSpPr>
        <p:spPr bwMode="auto">
          <a:xfrm>
            <a:off x="5434465" y="3740728"/>
            <a:ext cx="369021" cy="369021"/>
          </a:xfrm>
          <a:custGeom>
            <a:avLst/>
            <a:gdLst>
              <a:gd name="T0" fmla="*/ 358 w 512"/>
              <a:gd name="T1" fmla="*/ 181 h 512"/>
              <a:gd name="T2" fmla="*/ 153 w 512"/>
              <a:gd name="T3" fmla="*/ 181 h 512"/>
              <a:gd name="T4" fmla="*/ 117 w 512"/>
              <a:gd name="T5" fmla="*/ 217 h 512"/>
              <a:gd name="T6" fmla="*/ 117 w 512"/>
              <a:gd name="T7" fmla="*/ 315 h 512"/>
              <a:gd name="T8" fmla="*/ 153 w 512"/>
              <a:gd name="T9" fmla="*/ 352 h 512"/>
              <a:gd name="T10" fmla="*/ 358 w 512"/>
              <a:gd name="T11" fmla="*/ 352 h 512"/>
              <a:gd name="T12" fmla="*/ 394 w 512"/>
              <a:gd name="T13" fmla="*/ 315 h 512"/>
              <a:gd name="T14" fmla="*/ 394 w 512"/>
              <a:gd name="T15" fmla="*/ 217 h 512"/>
              <a:gd name="T16" fmla="*/ 358 w 512"/>
              <a:gd name="T17" fmla="*/ 181 h 512"/>
              <a:gd name="T18" fmla="*/ 202 w 512"/>
              <a:gd name="T19" fmla="*/ 320 h 512"/>
              <a:gd name="T20" fmla="*/ 149 w 512"/>
              <a:gd name="T21" fmla="*/ 266 h 512"/>
              <a:gd name="T22" fmla="*/ 202 w 512"/>
              <a:gd name="T23" fmla="*/ 213 h 512"/>
              <a:gd name="T24" fmla="*/ 256 w 512"/>
              <a:gd name="T25" fmla="*/ 266 h 512"/>
              <a:gd name="T26" fmla="*/ 202 w 512"/>
              <a:gd name="T27" fmla="*/ 320 h 512"/>
              <a:gd name="T28" fmla="*/ 352 w 512"/>
              <a:gd name="T29" fmla="*/ 320 h 512"/>
              <a:gd name="T30" fmla="*/ 288 w 512"/>
              <a:gd name="T31" fmla="*/ 320 h 512"/>
              <a:gd name="T32" fmla="*/ 277 w 512"/>
              <a:gd name="T33" fmla="*/ 309 h 512"/>
              <a:gd name="T34" fmla="*/ 288 w 512"/>
              <a:gd name="T35" fmla="*/ 298 h 512"/>
              <a:gd name="T36" fmla="*/ 352 w 512"/>
              <a:gd name="T37" fmla="*/ 298 h 512"/>
              <a:gd name="T38" fmla="*/ 362 w 512"/>
              <a:gd name="T39" fmla="*/ 309 h 512"/>
              <a:gd name="T40" fmla="*/ 352 w 512"/>
              <a:gd name="T41" fmla="*/ 320 h 512"/>
              <a:gd name="T42" fmla="*/ 352 w 512"/>
              <a:gd name="T43" fmla="*/ 277 h 512"/>
              <a:gd name="T44" fmla="*/ 288 w 512"/>
              <a:gd name="T45" fmla="*/ 277 h 512"/>
              <a:gd name="T46" fmla="*/ 277 w 512"/>
              <a:gd name="T47" fmla="*/ 266 h 512"/>
              <a:gd name="T48" fmla="*/ 288 w 512"/>
              <a:gd name="T49" fmla="*/ 256 h 512"/>
              <a:gd name="T50" fmla="*/ 352 w 512"/>
              <a:gd name="T51" fmla="*/ 256 h 512"/>
              <a:gd name="T52" fmla="*/ 362 w 512"/>
              <a:gd name="T53" fmla="*/ 266 h 512"/>
              <a:gd name="T54" fmla="*/ 352 w 512"/>
              <a:gd name="T55" fmla="*/ 277 h 512"/>
              <a:gd name="T56" fmla="*/ 352 w 512"/>
              <a:gd name="T57" fmla="*/ 234 h 512"/>
              <a:gd name="T58" fmla="*/ 288 w 512"/>
              <a:gd name="T59" fmla="*/ 234 h 512"/>
              <a:gd name="T60" fmla="*/ 277 w 512"/>
              <a:gd name="T61" fmla="*/ 224 h 512"/>
              <a:gd name="T62" fmla="*/ 288 w 512"/>
              <a:gd name="T63" fmla="*/ 213 h 512"/>
              <a:gd name="T64" fmla="*/ 352 w 512"/>
              <a:gd name="T65" fmla="*/ 213 h 512"/>
              <a:gd name="T66" fmla="*/ 362 w 512"/>
              <a:gd name="T67" fmla="*/ 224 h 512"/>
              <a:gd name="T68" fmla="*/ 352 w 512"/>
              <a:gd name="T69" fmla="*/ 234 h 512"/>
              <a:gd name="T70" fmla="*/ 256 w 512"/>
              <a:gd name="T71" fmla="*/ 0 h 512"/>
              <a:gd name="T72" fmla="*/ 0 w 512"/>
              <a:gd name="T73" fmla="*/ 256 h 512"/>
              <a:gd name="T74" fmla="*/ 256 w 512"/>
              <a:gd name="T75" fmla="*/ 512 h 512"/>
              <a:gd name="T76" fmla="*/ 512 w 512"/>
              <a:gd name="T77" fmla="*/ 256 h 512"/>
              <a:gd name="T78" fmla="*/ 256 w 512"/>
              <a:gd name="T79" fmla="*/ 0 h 512"/>
              <a:gd name="T80" fmla="*/ 416 w 512"/>
              <a:gd name="T81" fmla="*/ 315 h 512"/>
              <a:gd name="T82" fmla="*/ 358 w 512"/>
              <a:gd name="T83" fmla="*/ 373 h 512"/>
              <a:gd name="T84" fmla="*/ 153 w 512"/>
              <a:gd name="T85" fmla="*/ 373 h 512"/>
              <a:gd name="T86" fmla="*/ 96 w 512"/>
              <a:gd name="T87" fmla="*/ 315 h 512"/>
              <a:gd name="T88" fmla="*/ 96 w 512"/>
              <a:gd name="T89" fmla="*/ 217 h 512"/>
              <a:gd name="T90" fmla="*/ 153 w 512"/>
              <a:gd name="T91" fmla="*/ 160 h 512"/>
              <a:gd name="T92" fmla="*/ 275 w 512"/>
              <a:gd name="T93" fmla="*/ 160 h 512"/>
              <a:gd name="T94" fmla="*/ 154 w 512"/>
              <a:gd name="T95" fmla="*/ 129 h 512"/>
              <a:gd name="T96" fmla="*/ 145 w 512"/>
              <a:gd name="T97" fmla="*/ 135 h 512"/>
              <a:gd name="T98" fmla="*/ 142 w 512"/>
              <a:gd name="T99" fmla="*/ 135 h 512"/>
              <a:gd name="T100" fmla="*/ 135 w 512"/>
              <a:gd name="T101" fmla="*/ 122 h 512"/>
              <a:gd name="T102" fmla="*/ 139 w 512"/>
              <a:gd name="T103" fmla="*/ 104 h 512"/>
              <a:gd name="T104" fmla="*/ 153 w 512"/>
              <a:gd name="T105" fmla="*/ 96 h 512"/>
              <a:gd name="T106" fmla="*/ 160 w 512"/>
              <a:gd name="T107" fmla="*/ 109 h 512"/>
              <a:gd name="T108" fmla="*/ 365 w 512"/>
              <a:gd name="T109" fmla="*/ 160 h 512"/>
              <a:gd name="T110" fmla="*/ 365 w 512"/>
              <a:gd name="T111" fmla="*/ 160 h 512"/>
              <a:gd name="T112" fmla="*/ 416 w 512"/>
              <a:gd name="T113" fmla="*/ 217 h 512"/>
              <a:gd name="T114" fmla="*/ 416 w 512"/>
              <a:gd name="T115" fmla="*/ 315 h 512"/>
              <a:gd name="T116" fmla="*/ 234 w 512"/>
              <a:gd name="T117" fmla="*/ 266 h 512"/>
              <a:gd name="T118" fmla="*/ 202 w 512"/>
              <a:gd name="T119" fmla="*/ 298 h 512"/>
              <a:gd name="T120" fmla="*/ 170 w 512"/>
              <a:gd name="T121" fmla="*/ 266 h 512"/>
              <a:gd name="T122" fmla="*/ 202 w 512"/>
              <a:gd name="T123" fmla="*/ 234 h 512"/>
              <a:gd name="T124" fmla="*/ 234 w 512"/>
              <a:gd name="T125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58" y="181"/>
                </a:moveTo>
                <a:cubicBezTo>
                  <a:pt x="153" y="181"/>
                  <a:pt x="153" y="181"/>
                  <a:pt x="153" y="181"/>
                </a:cubicBezTo>
                <a:cubicBezTo>
                  <a:pt x="133" y="181"/>
                  <a:pt x="117" y="197"/>
                  <a:pt x="117" y="217"/>
                </a:cubicBezTo>
                <a:cubicBezTo>
                  <a:pt x="117" y="315"/>
                  <a:pt x="117" y="315"/>
                  <a:pt x="117" y="315"/>
                </a:cubicBezTo>
                <a:cubicBezTo>
                  <a:pt x="117" y="335"/>
                  <a:pt x="133" y="352"/>
                  <a:pt x="153" y="352"/>
                </a:cubicBezTo>
                <a:cubicBezTo>
                  <a:pt x="358" y="352"/>
                  <a:pt x="358" y="352"/>
                  <a:pt x="358" y="352"/>
                </a:cubicBezTo>
                <a:cubicBezTo>
                  <a:pt x="378" y="352"/>
                  <a:pt x="394" y="335"/>
                  <a:pt x="394" y="315"/>
                </a:cubicBezTo>
                <a:cubicBezTo>
                  <a:pt x="394" y="217"/>
                  <a:pt x="394" y="217"/>
                  <a:pt x="394" y="217"/>
                </a:cubicBezTo>
                <a:cubicBezTo>
                  <a:pt x="394" y="197"/>
                  <a:pt x="378" y="181"/>
                  <a:pt x="358" y="181"/>
                </a:cubicBezTo>
                <a:close/>
                <a:moveTo>
                  <a:pt x="202" y="320"/>
                </a:moveTo>
                <a:cubicBezTo>
                  <a:pt x="173" y="320"/>
                  <a:pt x="149" y="296"/>
                  <a:pt x="149" y="266"/>
                </a:cubicBezTo>
                <a:cubicBezTo>
                  <a:pt x="149" y="237"/>
                  <a:pt x="173" y="213"/>
                  <a:pt x="202" y="213"/>
                </a:cubicBezTo>
                <a:cubicBezTo>
                  <a:pt x="232" y="213"/>
                  <a:pt x="256" y="237"/>
                  <a:pt x="256" y="266"/>
                </a:cubicBezTo>
                <a:cubicBezTo>
                  <a:pt x="256" y="296"/>
                  <a:pt x="232" y="320"/>
                  <a:pt x="202" y="320"/>
                </a:cubicBezTo>
                <a:close/>
                <a:moveTo>
                  <a:pt x="352" y="320"/>
                </a:moveTo>
                <a:cubicBezTo>
                  <a:pt x="288" y="320"/>
                  <a:pt x="288" y="320"/>
                  <a:pt x="288" y="320"/>
                </a:cubicBezTo>
                <a:cubicBezTo>
                  <a:pt x="282" y="320"/>
                  <a:pt x="277" y="315"/>
                  <a:pt x="277" y="309"/>
                </a:cubicBezTo>
                <a:cubicBezTo>
                  <a:pt x="277" y="303"/>
                  <a:pt x="282" y="298"/>
                  <a:pt x="288" y="298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8" y="298"/>
                  <a:pt x="362" y="303"/>
                  <a:pt x="362" y="309"/>
                </a:cubicBezTo>
                <a:cubicBezTo>
                  <a:pt x="362" y="315"/>
                  <a:pt x="358" y="320"/>
                  <a:pt x="352" y="320"/>
                </a:cubicBezTo>
                <a:close/>
                <a:moveTo>
                  <a:pt x="352" y="277"/>
                </a:moveTo>
                <a:cubicBezTo>
                  <a:pt x="288" y="277"/>
                  <a:pt x="288" y="277"/>
                  <a:pt x="288" y="277"/>
                </a:cubicBezTo>
                <a:cubicBezTo>
                  <a:pt x="282" y="277"/>
                  <a:pt x="277" y="272"/>
                  <a:pt x="277" y="266"/>
                </a:cubicBezTo>
                <a:cubicBezTo>
                  <a:pt x="277" y="260"/>
                  <a:pt x="282" y="256"/>
                  <a:pt x="288" y="256"/>
                </a:cubicBezTo>
                <a:cubicBezTo>
                  <a:pt x="352" y="256"/>
                  <a:pt x="352" y="256"/>
                  <a:pt x="352" y="256"/>
                </a:cubicBezTo>
                <a:cubicBezTo>
                  <a:pt x="358" y="256"/>
                  <a:pt x="362" y="260"/>
                  <a:pt x="362" y="266"/>
                </a:cubicBezTo>
                <a:cubicBezTo>
                  <a:pt x="362" y="272"/>
                  <a:pt x="358" y="277"/>
                  <a:pt x="352" y="277"/>
                </a:cubicBezTo>
                <a:close/>
                <a:moveTo>
                  <a:pt x="352" y="234"/>
                </a:moveTo>
                <a:cubicBezTo>
                  <a:pt x="288" y="234"/>
                  <a:pt x="288" y="234"/>
                  <a:pt x="288" y="234"/>
                </a:cubicBezTo>
                <a:cubicBezTo>
                  <a:pt x="282" y="234"/>
                  <a:pt x="277" y="230"/>
                  <a:pt x="277" y="224"/>
                </a:cubicBezTo>
                <a:cubicBezTo>
                  <a:pt x="277" y="218"/>
                  <a:pt x="282" y="213"/>
                  <a:pt x="288" y="213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8" y="213"/>
                  <a:pt x="362" y="218"/>
                  <a:pt x="362" y="224"/>
                </a:cubicBezTo>
                <a:cubicBezTo>
                  <a:pt x="362" y="230"/>
                  <a:pt x="358" y="234"/>
                  <a:pt x="352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15"/>
                </a:moveTo>
                <a:cubicBezTo>
                  <a:pt x="416" y="347"/>
                  <a:pt x="390" y="373"/>
                  <a:pt x="358" y="373"/>
                </a:cubicBezTo>
                <a:cubicBezTo>
                  <a:pt x="153" y="373"/>
                  <a:pt x="153" y="373"/>
                  <a:pt x="153" y="373"/>
                </a:cubicBezTo>
                <a:cubicBezTo>
                  <a:pt x="122" y="373"/>
                  <a:pt x="96" y="347"/>
                  <a:pt x="96" y="315"/>
                </a:cubicBezTo>
                <a:cubicBezTo>
                  <a:pt x="96" y="217"/>
                  <a:pt x="96" y="217"/>
                  <a:pt x="96" y="217"/>
                </a:cubicBezTo>
                <a:cubicBezTo>
                  <a:pt x="96" y="186"/>
                  <a:pt x="122" y="160"/>
                  <a:pt x="153" y="160"/>
                </a:cubicBezTo>
                <a:cubicBezTo>
                  <a:pt x="275" y="160"/>
                  <a:pt x="275" y="160"/>
                  <a:pt x="275" y="160"/>
                </a:cubicBezTo>
                <a:cubicBezTo>
                  <a:pt x="154" y="129"/>
                  <a:pt x="154" y="129"/>
                  <a:pt x="154" y="129"/>
                </a:cubicBezTo>
                <a:cubicBezTo>
                  <a:pt x="152" y="133"/>
                  <a:pt x="149" y="135"/>
                  <a:pt x="145" y="135"/>
                </a:cubicBezTo>
                <a:cubicBezTo>
                  <a:pt x="144" y="135"/>
                  <a:pt x="143" y="135"/>
                  <a:pt x="142" y="135"/>
                </a:cubicBezTo>
                <a:cubicBezTo>
                  <a:pt x="136" y="133"/>
                  <a:pt x="133" y="127"/>
                  <a:pt x="135" y="122"/>
                </a:cubicBezTo>
                <a:cubicBezTo>
                  <a:pt x="139" y="104"/>
                  <a:pt x="139" y="104"/>
                  <a:pt x="139" y="104"/>
                </a:cubicBezTo>
                <a:cubicBezTo>
                  <a:pt x="141" y="98"/>
                  <a:pt x="147" y="95"/>
                  <a:pt x="153" y="96"/>
                </a:cubicBezTo>
                <a:cubicBezTo>
                  <a:pt x="158" y="98"/>
                  <a:pt x="161" y="103"/>
                  <a:pt x="160" y="109"/>
                </a:cubicBezTo>
                <a:cubicBezTo>
                  <a:pt x="365" y="160"/>
                  <a:pt x="365" y="160"/>
                  <a:pt x="365" y="160"/>
                </a:cubicBezTo>
                <a:cubicBezTo>
                  <a:pt x="365" y="160"/>
                  <a:pt x="365" y="160"/>
                  <a:pt x="365" y="160"/>
                </a:cubicBezTo>
                <a:cubicBezTo>
                  <a:pt x="394" y="164"/>
                  <a:pt x="416" y="188"/>
                  <a:pt x="416" y="217"/>
                </a:cubicBezTo>
                <a:lnTo>
                  <a:pt x="416" y="315"/>
                </a:lnTo>
                <a:close/>
                <a:moveTo>
                  <a:pt x="234" y="266"/>
                </a:moveTo>
                <a:cubicBezTo>
                  <a:pt x="234" y="284"/>
                  <a:pt x="220" y="298"/>
                  <a:pt x="202" y="298"/>
                </a:cubicBezTo>
                <a:cubicBezTo>
                  <a:pt x="185" y="298"/>
                  <a:pt x="170" y="284"/>
                  <a:pt x="170" y="266"/>
                </a:cubicBezTo>
                <a:cubicBezTo>
                  <a:pt x="170" y="249"/>
                  <a:pt x="185" y="234"/>
                  <a:pt x="202" y="234"/>
                </a:cubicBezTo>
                <a:cubicBezTo>
                  <a:pt x="220" y="234"/>
                  <a:pt x="234" y="249"/>
                  <a:pt x="234" y="2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5" name="Group 759"/>
          <p:cNvGrpSpPr>
            <a:grpSpLocks noChangeAspect="1"/>
          </p:cNvGrpSpPr>
          <p:nvPr/>
        </p:nvGrpSpPr>
        <p:grpSpPr bwMode="auto">
          <a:xfrm>
            <a:off x="7921890" y="3740728"/>
            <a:ext cx="370106" cy="369021"/>
            <a:chOff x="7344" y="3076"/>
            <a:chExt cx="341" cy="340"/>
          </a:xfrm>
          <a:solidFill>
            <a:schemeClr val="accent3"/>
          </a:solidFill>
        </p:grpSpPr>
        <p:sp>
          <p:nvSpPr>
            <p:cNvPr id="366" name="Freeform 760"/>
            <p:cNvSpPr>
              <a:spLocks noEditPoints="1"/>
            </p:cNvSpPr>
            <p:nvPr/>
          </p:nvSpPr>
          <p:spPr bwMode="auto">
            <a:xfrm>
              <a:off x="7344" y="3076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Freeform 761"/>
            <p:cNvSpPr>
              <a:spLocks noEditPoints="1"/>
            </p:cNvSpPr>
            <p:nvPr/>
          </p:nvSpPr>
          <p:spPr bwMode="auto">
            <a:xfrm>
              <a:off x="7414" y="3124"/>
              <a:ext cx="224" cy="228"/>
            </a:xfrm>
            <a:custGeom>
              <a:avLst/>
              <a:gdLst>
                <a:gd name="T0" fmla="*/ 293 w 336"/>
                <a:gd name="T1" fmla="*/ 175 h 344"/>
                <a:gd name="T2" fmla="*/ 231 w 336"/>
                <a:gd name="T3" fmla="*/ 151 h 344"/>
                <a:gd name="T4" fmla="*/ 256 w 336"/>
                <a:gd name="T5" fmla="*/ 117 h 344"/>
                <a:gd name="T6" fmla="*/ 235 w 336"/>
                <a:gd name="T7" fmla="*/ 87 h 344"/>
                <a:gd name="T8" fmla="*/ 186 w 336"/>
                <a:gd name="T9" fmla="*/ 106 h 344"/>
                <a:gd name="T10" fmla="*/ 162 w 336"/>
                <a:gd name="T11" fmla="*/ 44 h 344"/>
                <a:gd name="T12" fmla="*/ 107 w 336"/>
                <a:gd name="T13" fmla="*/ 4 h 344"/>
                <a:gd name="T14" fmla="*/ 43 w 336"/>
                <a:gd name="T15" fmla="*/ 72 h 344"/>
                <a:gd name="T16" fmla="*/ 86 w 336"/>
                <a:gd name="T17" fmla="*/ 119 h 344"/>
                <a:gd name="T18" fmla="*/ 149 w 336"/>
                <a:gd name="T19" fmla="*/ 143 h 344"/>
                <a:gd name="T20" fmla="*/ 123 w 336"/>
                <a:gd name="T21" fmla="*/ 177 h 344"/>
                <a:gd name="T22" fmla="*/ 145 w 336"/>
                <a:gd name="T23" fmla="*/ 208 h 344"/>
                <a:gd name="T24" fmla="*/ 175 w 336"/>
                <a:gd name="T25" fmla="*/ 208 h 344"/>
                <a:gd name="T26" fmla="*/ 216 w 336"/>
                <a:gd name="T27" fmla="*/ 247 h 344"/>
                <a:gd name="T28" fmla="*/ 258 w 336"/>
                <a:gd name="T29" fmla="*/ 291 h 344"/>
                <a:gd name="T30" fmla="*/ 273 w 336"/>
                <a:gd name="T31" fmla="*/ 291 h 344"/>
                <a:gd name="T32" fmla="*/ 336 w 336"/>
                <a:gd name="T33" fmla="*/ 223 h 344"/>
                <a:gd name="T34" fmla="*/ 100 w 336"/>
                <a:gd name="T35" fmla="*/ 102 h 344"/>
                <a:gd name="T36" fmla="*/ 114 w 336"/>
                <a:gd name="T37" fmla="*/ 27 h 344"/>
                <a:gd name="T38" fmla="*/ 169 w 336"/>
                <a:gd name="T39" fmla="*/ 122 h 344"/>
                <a:gd name="T40" fmla="*/ 100 w 336"/>
                <a:gd name="T41" fmla="*/ 102 h 344"/>
                <a:gd name="T42" fmla="*/ 145 w 336"/>
                <a:gd name="T43" fmla="*/ 177 h 344"/>
                <a:gd name="T44" fmla="*/ 235 w 336"/>
                <a:gd name="T45" fmla="*/ 117 h 344"/>
                <a:gd name="T46" fmla="*/ 265 w 336"/>
                <a:gd name="T47" fmla="*/ 268 h 344"/>
                <a:gd name="T48" fmla="*/ 210 w 336"/>
                <a:gd name="T49" fmla="*/ 172 h 344"/>
                <a:gd name="T50" fmla="*/ 280 w 336"/>
                <a:gd name="T51" fmla="*/ 192 h 344"/>
                <a:gd name="T52" fmla="*/ 265 w 336"/>
                <a:gd name="T53" fmla="*/ 268 h 344"/>
                <a:gd name="T54" fmla="*/ 152 w 336"/>
                <a:gd name="T55" fmla="*/ 344 h 344"/>
                <a:gd name="T56" fmla="*/ 46 w 336"/>
                <a:gd name="T57" fmla="*/ 300 h 344"/>
                <a:gd name="T58" fmla="*/ 12 w 336"/>
                <a:gd name="T59" fmla="*/ 175 h 344"/>
                <a:gd name="T60" fmla="*/ 21 w 336"/>
                <a:gd name="T61" fmla="*/ 185 h 344"/>
                <a:gd name="T62" fmla="*/ 152 w 336"/>
                <a:gd name="T63" fmla="*/ 322 h 344"/>
                <a:gd name="T64" fmla="*/ 163 w 336"/>
                <a:gd name="T65" fmla="*/ 333 h 344"/>
                <a:gd name="T66" fmla="*/ 76 w 336"/>
                <a:gd name="T67" fmla="*/ 185 h 344"/>
                <a:gd name="T68" fmla="*/ 104 w 336"/>
                <a:gd name="T69" fmla="*/ 240 h 344"/>
                <a:gd name="T70" fmla="*/ 151 w 336"/>
                <a:gd name="T71" fmla="*/ 258 h 344"/>
                <a:gd name="T72" fmla="*/ 160 w 336"/>
                <a:gd name="T73" fmla="*/ 269 h 344"/>
                <a:gd name="T74" fmla="*/ 149 w 336"/>
                <a:gd name="T75" fmla="*/ 280 h 344"/>
                <a:gd name="T76" fmla="*/ 64 w 336"/>
                <a:gd name="T77" fmla="*/ 19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6" h="344">
                  <a:moveTo>
                    <a:pt x="333" y="215"/>
                  </a:moveTo>
                  <a:cubicBezTo>
                    <a:pt x="293" y="175"/>
                    <a:pt x="293" y="175"/>
                    <a:pt x="293" y="175"/>
                  </a:cubicBezTo>
                  <a:cubicBezTo>
                    <a:pt x="292" y="174"/>
                    <a:pt x="291" y="174"/>
                    <a:pt x="290" y="173"/>
                  </a:cubicBezTo>
                  <a:cubicBezTo>
                    <a:pt x="231" y="151"/>
                    <a:pt x="231" y="151"/>
                    <a:pt x="231" y="151"/>
                  </a:cubicBezTo>
                  <a:cubicBezTo>
                    <a:pt x="250" y="132"/>
                    <a:pt x="250" y="132"/>
                    <a:pt x="250" y="132"/>
                  </a:cubicBezTo>
                  <a:cubicBezTo>
                    <a:pt x="254" y="128"/>
                    <a:pt x="256" y="123"/>
                    <a:pt x="256" y="117"/>
                  </a:cubicBezTo>
                  <a:cubicBezTo>
                    <a:pt x="256" y="111"/>
                    <a:pt x="254" y="106"/>
                    <a:pt x="250" y="102"/>
                  </a:cubicBezTo>
                  <a:cubicBezTo>
                    <a:pt x="235" y="87"/>
                    <a:pt x="235" y="87"/>
                    <a:pt x="235" y="87"/>
                  </a:cubicBezTo>
                  <a:cubicBezTo>
                    <a:pt x="227" y="79"/>
                    <a:pt x="213" y="79"/>
                    <a:pt x="205" y="87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64" y="47"/>
                    <a:pt x="164" y="47"/>
                    <a:pt x="164" y="47"/>
                  </a:cubicBezTo>
                  <a:cubicBezTo>
                    <a:pt x="163" y="46"/>
                    <a:pt x="163" y="45"/>
                    <a:pt x="162" y="44"/>
                  </a:cubicBezTo>
                  <a:cubicBezTo>
                    <a:pt x="122" y="4"/>
                    <a:pt x="122" y="4"/>
                    <a:pt x="122" y="4"/>
                  </a:cubicBezTo>
                  <a:cubicBezTo>
                    <a:pt x="118" y="0"/>
                    <a:pt x="111" y="0"/>
                    <a:pt x="107" y="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4" y="66"/>
                    <a:pt x="43" y="69"/>
                    <a:pt x="43" y="72"/>
                  </a:cubicBezTo>
                  <a:cubicBezTo>
                    <a:pt x="43" y="75"/>
                    <a:pt x="44" y="77"/>
                    <a:pt x="46" y="79"/>
                  </a:cubicBezTo>
                  <a:cubicBezTo>
                    <a:pt x="86" y="119"/>
                    <a:pt x="86" y="119"/>
                    <a:pt x="86" y="119"/>
                  </a:cubicBezTo>
                  <a:cubicBezTo>
                    <a:pt x="87" y="120"/>
                    <a:pt x="89" y="121"/>
                    <a:pt x="90" y="121"/>
                  </a:cubicBezTo>
                  <a:cubicBezTo>
                    <a:pt x="149" y="143"/>
                    <a:pt x="149" y="143"/>
                    <a:pt x="149" y="14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5" y="166"/>
                    <a:pt x="123" y="172"/>
                    <a:pt x="123" y="177"/>
                  </a:cubicBezTo>
                  <a:cubicBezTo>
                    <a:pt x="123" y="183"/>
                    <a:pt x="125" y="188"/>
                    <a:pt x="129" y="192"/>
                  </a:cubicBezTo>
                  <a:cubicBezTo>
                    <a:pt x="145" y="208"/>
                    <a:pt x="145" y="208"/>
                    <a:pt x="145" y="208"/>
                  </a:cubicBezTo>
                  <a:cubicBezTo>
                    <a:pt x="149" y="212"/>
                    <a:pt x="154" y="214"/>
                    <a:pt x="160" y="214"/>
                  </a:cubicBezTo>
                  <a:cubicBezTo>
                    <a:pt x="165" y="214"/>
                    <a:pt x="171" y="212"/>
                    <a:pt x="175" y="208"/>
                  </a:cubicBezTo>
                  <a:cubicBezTo>
                    <a:pt x="194" y="189"/>
                    <a:pt x="194" y="189"/>
                    <a:pt x="194" y="189"/>
                  </a:cubicBezTo>
                  <a:cubicBezTo>
                    <a:pt x="216" y="247"/>
                    <a:pt x="216" y="247"/>
                    <a:pt x="216" y="247"/>
                  </a:cubicBezTo>
                  <a:cubicBezTo>
                    <a:pt x="216" y="248"/>
                    <a:pt x="217" y="250"/>
                    <a:pt x="218" y="251"/>
                  </a:cubicBezTo>
                  <a:cubicBezTo>
                    <a:pt x="258" y="291"/>
                    <a:pt x="258" y="291"/>
                    <a:pt x="258" y="291"/>
                  </a:cubicBezTo>
                  <a:cubicBezTo>
                    <a:pt x="260" y="293"/>
                    <a:pt x="262" y="294"/>
                    <a:pt x="265" y="294"/>
                  </a:cubicBezTo>
                  <a:cubicBezTo>
                    <a:pt x="268" y="294"/>
                    <a:pt x="271" y="293"/>
                    <a:pt x="273" y="291"/>
                  </a:cubicBezTo>
                  <a:cubicBezTo>
                    <a:pt x="333" y="230"/>
                    <a:pt x="333" y="230"/>
                    <a:pt x="333" y="230"/>
                  </a:cubicBezTo>
                  <a:cubicBezTo>
                    <a:pt x="335" y="228"/>
                    <a:pt x="336" y="225"/>
                    <a:pt x="336" y="223"/>
                  </a:cubicBezTo>
                  <a:cubicBezTo>
                    <a:pt x="336" y="220"/>
                    <a:pt x="335" y="217"/>
                    <a:pt x="333" y="215"/>
                  </a:cubicBezTo>
                  <a:close/>
                  <a:moveTo>
                    <a:pt x="100" y="102"/>
                  </a:moveTo>
                  <a:cubicBezTo>
                    <a:pt x="69" y="72"/>
                    <a:pt x="69" y="72"/>
                    <a:pt x="69" y="72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45" y="57"/>
                    <a:pt x="145" y="57"/>
                    <a:pt x="145" y="57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5" y="127"/>
                    <a:pt x="165" y="127"/>
                    <a:pt x="165" y="127"/>
                  </a:cubicBezTo>
                  <a:lnTo>
                    <a:pt x="100" y="102"/>
                  </a:lnTo>
                  <a:close/>
                  <a:moveTo>
                    <a:pt x="160" y="192"/>
                  </a:moveTo>
                  <a:cubicBezTo>
                    <a:pt x="145" y="177"/>
                    <a:pt x="145" y="177"/>
                    <a:pt x="145" y="177"/>
                  </a:cubicBezTo>
                  <a:cubicBezTo>
                    <a:pt x="220" y="102"/>
                    <a:pt x="220" y="102"/>
                    <a:pt x="220" y="102"/>
                  </a:cubicBezTo>
                  <a:cubicBezTo>
                    <a:pt x="235" y="117"/>
                    <a:pt x="235" y="117"/>
                    <a:pt x="235" y="117"/>
                  </a:cubicBezTo>
                  <a:lnTo>
                    <a:pt x="160" y="192"/>
                  </a:lnTo>
                  <a:close/>
                  <a:moveTo>
                    <a:pt x="265" y="268"/>
                  </a:moveTo>
                  <a:cubicBezTo>
                    <a:pt x="235" y="237"/>
                    <a:pt x="235" y="237"/>
                    <a:pt x="235" y="237"/>
                  </a:cubicBezTo>
                  <a:cubicBezTo>
                    <a:pt x="210" y="172"/>
                    <a:pt x="210" y="172"/>
                    <a:pt x="210" y="172"/>
                  </a:cubicBezTo>
                  <a:cubicBezTo>
                    <a:pt x="215" y="168"/>
                    <a:pt x="215" y="168"/>
                    <a:pt x="215" y="168"/>
                  </a:cubicBezTo>
                  <a:cubicBezTo>
                    <a:pt x="280" y="192"/>
                    <a:pt x="280" y="192"/>
                    <a:pt x="280" y="192"/>
                  </a:cubicBezTo>
                  <a:cubicBezTo>
                    <a:pt x="310" y="223"/>
                    <a:pt x="310" y="223"/>
                    <a:pt x="310" y="223"/>
                  </a:cubicBezTo>
                  <a:lnTo>
                    <a:pt x="265" y="268"/>
                  </a:lnTo>
                  <a:close/>
                  <a:moveTo>
                    <a:pt x="163" y="333"/>
                  </a:moveTo>
                  <a:cubicBezTo>
                    <a:pt x="163" y="339"/>
                    <a:pt x="158" y="344"/>
                    <a:pt x="152" y="344"/>
                  </a:cubicBezTo>
                  <a:cubicBezTo>
                    <a:pt x="152" y="344"/>
                    <a:pt x="152" y="344"/>
                    <a:pt x="152" y="344"/>
                  </a:cubicBezTo>
                  <a:cubicBezTo>
                    <a:pt x="108" y="344"/>
                    <a:pt x="74" y="328"/>
                    <a:pt x="46" y="300"/>
                  </a:cubicBezTo>
                  <a:cubicBezTo>
                    <a:pt x="17" y="271"/>
                    <a:pt x="0" y="226"/>
                    <a:pt x="0" y="186"/>
                  </a:cubicBezTo>
                  <a:cubicBezTo>
                    <a:pt x="0" y="180"/>
                    <a:pt x="1" y="175"/>
                    <a:pt x="12" y="175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12" y="175"/>
                    <a:pt x="21" y="179"/>
                    <a:pt x="21" y="185"/>
                  </a:cubicBezTo>
                  <a:cubicBezTo>
                    <a:pt x="21" y="220"/>
                    <a:pt x="36" y="259"/>
                    <a:pt x="62" y="285"/>
                  </a:cubicBezTo>
                  <a:cubicBezTo>
                    <a:pt x="86" y="309"/>
                    <a:pt x="114" y="322"/>
                    <a:pt x="152" y="322"/>
                  </a:cubicBezTo>
                  <a:cubicBezTo>
                    <a:pt x="152" y="322"/>
                    <a:pt x="152" y="322"/>
                    <a:pt x="152" y="322"/>
                  </a:cubicBezTo>
                  <a:cubicBezTo>
                    <a:pt x="158" y="322"/>
                    <a:pt x="163" y="327"/>
                    <a:pt x="163" y="333"/>
                  </a:cubicBezTo>
                  <a:close/>
                  <a:moveTo>
                    <a:pt x="76" y="185"/>
                  </a:moveTo>
                  <a:cubicBezTo>
                    <a:pt x="76" y="185"/>
                    <a:pt x="76" y="185"/>
                    <a:pt x="76" y="185"/>
                  </a:cubicBezTo>
                  <a:cubicBezTo>
                    <a:pt x="76" y="185"/>
                    <a:pt x="85" y="190"/>
                    <a:pt x="85" y="196"/>
                  </a:cubicBezTo>
                  <a:cubicBezTo>
                    <a:pt x="85" y="211"/>
                    <a:pt x="92" y="228"/>
                    <a:pt x="104" y="240"/>
                  </a:cubicBezTo>
                  <a:cubicBezTo>
                    <a:pt x="116" y="252"/>
                    <a:pt x="133" y="258"/>
                    <a:pt x="149" y="258"/>
                  </a:cubicBezTo>
                  <a:cubicBezTo>
                    <a:pt x="149" y="258"/>
                    <a:pt x="151" y="258"/>
                    <a:pt x="151" y="258"/>
                  </a:cubicBezTo>
                  <a:cubicBezTo>
                    <a:pt x="151" y="259"/>
                    <a:pt x="151" y="259"/>
                    <a:pt x="151" y="259"/>
                  </a:cubicBezTo>
                  <a:cubicBezTo>
                    <a:pt x="151" y="259"/>
                    <a:pt x="160" y="264"/>
                    <a:pt x="160" y="269"/>
                  </a:cubicBezTo>
                  <a:cubicBezTo>
                    <a:pt x="160" y="275"/>
                    <a:pt x="155" y="280"/>
                    <a:pt x="149" y="280"/>
                  </a:cubicBezTo>
                  <a:cubicBezTo>
                    <a:pt x="149" y="280"/>
                    <a:pt x="149" y="280"/>
                    <a:pt x="149" y="280"/>
                  </a:cubicBezTo>
                  <a:cubicBezTo>
                    <a:pt x="127" y="280"/>
                    <a:pt x="105" y="271"/>
                    <a:pt x="89" y="255"/>
                  </a:cubicBezTo>
                  <a:cubicBezTo>
                    <a:pt x="73" y="239"/>
                    <a:pt x="64" y="216"/>
                    <a:pt x="64" y="195"/>
                  </a:cubicBezTo>
                  <a:cubicBezTo>
                    <a:pt x="64" y="189"/>
                    <a:pt x="65" y="185"/>
                    <a:pt x="76" y="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8" name="Freeform 765"/>
          <p:cNvSpPr>
            <a:spLocks noChangeAspect="1" noEditPoints="1"/>
          </p:cNvSpPr>
          <p:nvPr/>
        </p:nvSpPr>
        <p:spPr bwMode="auto">
          <a:xfrm>
            <a:off x="7424405" y="3740724"/>
            <a:ext cx="369021" cy="370106"/>
          </a:xfrm>
          <a:custGeom>
            <a:avLst/>
            <a:gdLst>
              <a:gd name="T0" fmla="*/ 265 w 512"/>
              <a:gd name="T1" fmla="*/ 264 h 512"/>
              <a:gd name="T2" fmla="*/ 325 w 512"/>
              <a:gd name="T3" fmla="*/ 174 h 512"/>
              <a:gd name="T4" fmla="*/ 274 w 512"/>
              <a:gd name="T5" fmla="*/ 194 h 512"/>
              <a:gd name="T6" fmla="*/ 219 w 512"/>
              <a:gd name="T7" fmla="*/ 99 h 512"/>
              <a:gd name="T8" fmla="*/ 205 w 512"/>
              <a:gd name="T9" fmla="*/ 174 h 512"/>
              <a:gd name="T10" fmla="*/ 274 w 512"/>
              <a:gd name="T11" fmla="*/ 194 h 512"/>
              <a:gd name="T12" fmla="*/ 315 w 512"/>
              <a:gd name="T13" fmla="*/ 244 h 512"/>
              <a:gd name="T14" fmla="*/ 370 w 512"/>
              <a:gd name="T15" fmla="*/ 340 h 512"/>
              <a:gd name="T16" fmla="*/ 385 w 512"/>
              <a:gd name="T17" fmla="*/ 264 h 512"/>
              <a:gd name="T18" fmla="*/ 512 w 512"/>
              <a:gd name="T19" fmla="*/ 256 h 512"/>
              <a:gd name="T20" fmla="*/ 0 w 512"/>
              <a:gd name="T21" fmla="*/ 256 h 512"/>
              <a:gd name="T22" fmla="*/ 512 w 512"/>
              <a:gd name="T23" fmla="*/ 256 h 512"/>
              <a:gd name="T24" fmla="*/ 257 w 512"/>
              <a:gd name="T25" fmla="*/ 394 h 512"/>
              <a:gd name="T26" fmla="*/ 167 w 512"/>
              <a:gd name="T27" fmla="*/ 357 h 512"/>
              <a:gd name="T28" fmla="*/ 117 w 512"/>
              <a:gd name="T29" fmla="*/ 247 h 512"/>
              <a:gd name="T30" fmla="*/ 105 w 512"/>
              <a:gd name="T31" fmla="*/ 258 h 512"/>
              <a:gd name="T32" fmla="*/ 257 w 512"/>
              <a:gd name="T33" fmla="*/ 416 h 512"/>
              <a:gd name="T34" fmla="*/ 268 w 512"/>
              <a:gd name="T35" fmla="*/ 405 h 512"/>
              <a:gd name="T36" fmla="*/ 181 w 512"/>
              <a:gd name="T37" fmla="*/ 257 h 512"/>
              <a:gd name="T38" fmla="*/ 194 w 512"/>
              <a:gd name="T39" fmla="*/ 327 h 512"/>
              <a:gd name="T40" fmla="*/ 254 w 512"/>
              <a:gd name="T41" fmla="*/ 352 h 512"/>
              <a:gd name="T42" fmla="*/ 256 w 512"/>
              <a:gd name="T43" fmla="*/ 331 h 512"/>
              <a:gd name="T44" fmla="*/ 254 w 512"/>
              <a:gd name="T45" fmla="*/ 330 h 512"/>
              <a:gd name="T46" fmla="*/ 190 w 512"/>
              <a:gd name="T47" fmla="*/ 268 h 512"/>
              <a:gd name="T48" fmla="*/ 438 w 512"/>
              <a:gd name="T49" fmla="*/ 302 h 512"/>
              <a:gd name="T50" fmla="*/ 438 w 512"/>
              <a:gd name="T51" fmla="*/ 287 h 512"/>
              <a:gd name="T52" fmla="*/ 395 w 512"/>
              <a:gd name="T53" fmla="*/ 245 h 512"/>
              <a:gd name="T54" fmla="*/ 355 w 512"/>
              <a:gd name="T55" fmla="*/ 204 h 512"/>
              <a:gd name="T56" fmla="*/ 355 w 512"/>
              <a:gd name="T57" fmla="*/ 174 h 512"/>
              <a:gd name="T58" fmla="*/ 310 w 512"/>
              <a:gd name="T59" fmla="*/ 159 h 512"/>
              <a:gd name="T60" fmla="*/ 269 w 512"/>
              <a:gd name="T61" fmla="*/ 119 h 512"/>
              <a:gd name="T62" fmla="*/ 227 w 512"/>
              <a:gd name="T63" fmla="*/ 76 h 512"/>
              <a:gd name="T64" fmla="*/ 151 w 512"/>
              <a:gd name="T65" fmla="*/ 136 h 512"/>
              <a:gd name="T66" fmla="*/ 151 w 512"/>
              <a:gd name="T67" fmla="*/ 151 h 512"/>
              <a:gd name="T68" fmla="*/ 195 w 512"/>
              <a:gd name="T69" fmla="*/ 193 h 512"/>
              <a:gd name="T70" fmla="*/ 234 w 512"/>
              <a:gd name="T71" fmla="*/ 234 h 512"/>
              <a:gd name="T72" fmla="*/ 234 w 512"/>
              <a:gd name="T73" fmla="*/ 264 h 512"/>
              <a:gd name="T74" fmla="*/ 265 w 512"/>
              <a:gd name="T75" fmla="*/ 286 h 512"/>
              <a:gd name="T76" fmla="*/ 299 w 512"/>
              <a:gd name="T77" fmla="*/ 261 h 512"/>
              <a:gd name="T78" fmla="*/ 323 w 512"/>
              <a:gd name="T79" fmla="*/ 323 h 512"/>
              <a:gd name="T80" fmla="*/ 370 w 512"/>
              <a:gd name="T81" fmla="*/ 366 h 512"/>
              <a:gd name="T82" fmla="*/ 438 w 512"/>
              <a:gd name="T83" fmla="*/ 3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340" y="189"/>
                </a:moveTo>
                <a:cubicBezTo>
                  <a:pt x="265" y="264"/>
                  <a:pt x="265" y="264"/>
                  <a:pt x="265" y="264"/>
                </a:cubicBezTo>
                <a:cubicBezTo>
                  <a:pt x="250" y="249"/>
                  <a:pt x="250" y="249"/>
                  <a:pt x="250" y="249"/>
                </a:cubicBezTo>
                <a:cubicBezTo>
                  <a:pt x="325" y="174"/>
                  <a:pt x="325" y="174"/>
                  <a:pt x="325" y="174"/>
                </a:cubicBezTo>
                <a:lnTo>
                  <a:pt x="340" y="189"/>
                </a:lnTo>
                <a:close/>
                <a:moveTo>
                  <a:pt x="274" y="194"/>
                </a:moveTo>
                <a:cubicBezTo>
                  <a:pt x="250" y="129"/>
                  <a:pt x="250" y="129"/>
                  <a:pt x="250" y="129"/>
                </a:cubicBezTo>
                <a:cubicBezTo>
                  <a:pt x="219" y="99"/>
                  <a:pt x="219" y="99"/>
                  <a:pt x="219" y="99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205" y="174"/>
                  <a:pt x="205" y="174"/>
                  <a:pt x="205" y="174"/>
                </a:cubicBezTo>
                <a:cubicBezTo>
                  <a:pt x="270" y="199"/>
                  <a:pt x="270" y="199"/>
                  <a:pt x="270" y="199"/>
                </a:cubicBezTo>
                <a:lnTo>
                  <a:pt x="274" y="194"/>
                </a:lnTo>
                <a:close/>
                <a:moveTo>
                  <a:pt x="320" y="240"/>
                </a:moveTo>
                <a:cubicBezTo>
                  <a:pt x="315" y="244"/>
                  <a:pt x="315" y="244"/>
                  <a:pt x="315" y="244"/>
                </a:cubicBezTo>
                <a:cubicBezTo>
                  <a:pt x="340" y="309"/>
                  <a:pt x="340" y="309"/>
                  <a:pt x="340" y="309"/>
                </a:cubicBezTo>
                <a:cubicBezTo>
                  <a:pt x="370" y="340"/>
                  <a:pt x="370" y="340"/>
                  <a:pt x="370" y="340"/>
                </a:cubicBezTo>
                <a:cubicBezTo>
                  <a:pt x="415" y="295"/>
                  <a:pt x="415" y="295"/>
                  <a:pt x="415" y="295"/>
                </a:cubicBezTo>
                <a:cubicBezTo>
                  <a:pt x="385" y="264"/>
                  <a:pt x="385" y="264"/>
                  <a:pt x="385" y="264"/>
                </a:cubicBezTo>
                <a:lnTo>
                  <a:pt x="320" y="24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68" y="405"/>
                </a:moveTo>
                <a:cubicBezTo>
                  <a:pt x="268" y="399"/>
                  <a:pt x="263" y="394"/>
                  <a:pt x="257" y="394"/>
                </a:cubicBezTo>
                <a:cubicBezTo>
                  <a:pt x="257" y="394"/>
                  <a:pt x="257" y="394"/>
                  <a:pt x="257" y="394"/>
                </a:cubicBezTo>
                <a:cubicBezTo>
                  <a:pt x="219" y="394"/>
                  <a:pt x="191" y="381"/>
                  <a:pt x="167" y="357"/>
                </a:cubicBezTo>
                <a:cubicBezTo>
                  <a:pt x="141" y="331"/>
                  <a:pt x="126" y="292"/>
                  <a:pt x="126" y="257"/>
                </a:cubicBezTo>
                <a:cubicBezTo>
                  <a:pt x="126" y="251"/>
                  <a:pt x="117" y="247"/>
                  <a:pt x="117" y="247"/>
                </a:cubicBezTo>
                <a:cubicBezTo>
                  <a:pt x="117" y="247"/>
                  <a:pt x="117" y="247"/>
                  <a:pt x="117" y="247"/>
                </a:cubicBezTo>
                <a:cubicBezTo>
                  <a:pt x="106" y="247"/>
                  <a:pt x="105" y="252"/>
                  <a:pt x="105" y="258"/>
                </a:cubicBezTo>
                <a:cubicBezTo>
                  <a:pt x="105" y="298"/>
                  <a:pt x="122" y="343"/>
                  <a:pt x="151" y="372"/>
                </a:cubicBezTo>
                <a:cubicBezTo>
                  <a:pt x="179" y="400"/>
                  <a:pt x="213" y="416"/>
                  <a:pt x="257" y="416"/>
                </a:cubicBezTo>
                <a:cubicBezTo>
                  <a:pt x="257" y="416"/>
                  <a:pt x="257" y="416"/>
                  <a:pt x="257" y="416"/>
                </a:cubicBezTo>
                <a:cubicBezTo>
                  <a:pt x="263" y="416"/>
                  <a:pt x="268" y="411"/>
                  <a:pt x="268" y="405"/>
                </a:cubicBezTo>
                <a:close/>
                <a:moveTo>
                  <a:pt x="181" y="257"/>
                </a:moveTo>
                <a:cubicBezTo>
                  <a:pt x="181" y="257"/>
                  <a:pt x="181" y="257"/>
                  <a:pt x="181" y="257"/>
                </a:cubicBezTo>
                <a:cubicBezTo>
                  <a:pt x="170" y="257"/>
                  <a:pt x="169" y="261"/>
                  <a:pt x="169" y="267"/>
                </a:cubicBezTo>
                <a:cubicBezTo>
                  <a:pt x="169" y="288"/>
                  <a:pt x="178" y="311"/>
                  <a:pt x="194" y="327"/>
                </a:cubicBezTo>
                <a:cubicBezTo>
                  <a:pt x="210" y="343"/>
                  <a:pt x="232" y="352"/>
                  <a:pt x="254" y="352"/>
                </a:cubicBezTo>
                <a:cubicBezTo>
                  <a:pt x="254" y="352"/>
                  <a:pt x="254" y="352"/>
                  <a:pt x="254" y="352"/>
                </a:cubicBezTo>
                <a:cubicBezTo>
                  <a:pt x="260" y="352"/>
                  <a:pt x="265" y="347"/>
                  <a:pt x="265" y="341"/>
                </a:cubicBezTo>
                <a:cubicBezTo>
                  <a:pt x="265" y="336"/>
                  <a:pt x="256" y="331"/>
                  <a:pt x="256" y="331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56" y="330"/>
                  <a:pt x="254" y="330"/>
                  <a:pt x="254" y="330"/>
                </a:cubicBezTo>
                <a:cubicBezTo>
                  <a:pt x="238" y="330"/>
                  <a:pt x="221" y="324"/>
                  <a:pt x="209" y="312"/>
                </a:cubicBezTo>
                <a:cubicBezTo>
                  <a:pt x="197" y="300"/>
                  <a:pt x="190" y="283"/>
                  <a:pt x="190" y="268"/>
                </a:cubicBezTo>
                <a:cubicBezTo>
                  <a:pt x="190" y="262"/>
                  <a:pt x="181" y="257"/>
                  <a:pt x="181" y="257"/>
                </a:cubicBezTo>
                <a:close/>
                <a:moveTo>
                  <a:pt x="438" y="302"/>
                </a:moveTo>
                <a:cubicBezTo>
                  <a:pt x="440" y="300"/>
                  <a:pt x="441" y="297"/>
                  <a:pt x="441" y="295"/>
                </a:cubicBezTo>
                <a:cubicBezTo>
                  <a:pt x="441" y="292"/>
                  <a:pt x="440" y="289"/>
                  <a:pt x="438" y="287"/>
                </a:cubicBezTo>
                <a:cubicBezTo>
                  <a:pt x="398" y="247"/>
                  <a:pt x="398" y="247"/>
                  <a:pt x="398" y="247"/>
                </a:cubicBezTo>
                <a:cubicBezTo>
                  <a:pt x="397" y="246"/>
                  <a:pt x="396" y="246"/>
                  <a:pt x="395" y="245"/>
                </a:cubicBezTo>
                <a:cubicBezTo>
                  <a:pt x="336" y="223"/>
                  <a:pt x="336" y="223"/>
                  <a:pt x="336" y="223"/>
                </a:cubicBezTo>
                <a:cubicBezTo>
                  <a:pt x="355" y="204"/>
                  <a:pt x="355" y="204"/>
                  <a:pt x="355" y="204"/>
                </a:cubicBezTo>
                <a:cubicBezTo>
                  <a:pt x="359" y="200"/>
                  <a:pt x="361" y="195"/>
                  <a:pt x="361" y="189"/>
                </a:cubicBezTo>
                <a:cubicBezTo>
                  <a:pt x="361" y="183"/>
                  <a:pt x="359" y="178"/>
                  <a:pt x="355" y="174"/>
                </a:cubicBezTo>
                <a:cubicBezTo>
                  <a:pt x="340" y="159"/>
                  <a:pt x="340" y="159"/>
                  <a:pt x="340" y="159"/>
                </a:cubicBezTo>
                <a:cubicBezTo>
                  <a:pt x="332" y="151"/>
                  <a:pt x="318" y="151"/>
                  <a:pt x="310" y="159"/>
                </a:cubicBezTo>
                <a:cubicBezTo>
                  <a:pt x="291" y="178"/>
                  <a:pt x="291" y="178"/>
                  <a:pt x="291" y="178"/>
                </a:cubicBezTo>
                <a:cubicBezTo>
                  <a:pt x="269" y="119"/>
                  <a:pt x="269" y="119"/>
                  <a:pt x="269" y="119"/>
                </a:cubicBezTo>
                <a:cubicBezTo>
                  <a:pt x="268" y="118"/>
                  <a:pt x="268" y="117"/>
                  <a:pt x="267" y="116"/>
                </a:cubicBezTo>
                <a:cubicBezTo>
                  <a:pt x="227" y="76"/>
                  <a:pt x="227" y="76"/>
                  <a:pt x="227" y="76"/>
                </a:cubicBezTo>
                <a:cubicBezTo>
                  <a:pt x="223" y="72"/>
                  <a:pt x="216" y="72"/>
                  <a:pt x="212" y="76"/>
                </a:cubicBezTo>
                <a:cubicBezTo>
                  <a:pt x="151" y="136"/>
                  <a:pt x="151" y="136"/>
                  <a:pt x="151" y="136"/>
                </a:cubicBezTo>
                <a:cubicBezTo>
                  <a:pt x="149" y="138"/>
                  <a:pt x="148" y="141"/>
                  <a:pt x="148" y="144"/>
                </a:cubicBezTo>
                <a:cubicBezTo>
                  <a:pt x="148" y="147"/>
                  <a:pt x="149" y="149"/>
                  <a:pt x="151" y="151"/>
                </a:cubicBezTo>
                <a:cubicBezTo>
                  <a:pt x="191" y="191"/>
                  <a:pt x="191" y="191"/>
                  <a:pt x="191" y="191"/>
                </a:cubicBezTo>
                <a:cubicBezTo>
                  <a:pt x="192" y="192"/>
                  <a:pt x="194" y="193"/>
                  <a:pt x="195" y="193"/>
                </a:cubicBezTo>
                <a:cubicBezTo>
                  <a:pt x="254" y="215"/>
                  <a:pt x="254" y="215"/>
                  <a:pt x="254" y="215"/>
                </a:cubicBezTo>
                <a:cubicBezTo>
                  <a:pt x="234" y="234"/>
                  <a:pt x="234" y="234"/>
                  <a:pt x="234" y="234"/>
                </a:cubicBezTo>
                <a:cubicBezTo>
                  <a:pt x="230" y="238"/>
                  <a:pt x="228" y="244"/>
                  <a:pt x="228" y="249"/>
                </a:cubicBezTo>
                <a:cubicBezTo>
                  <a:pt x="228" y="255"/>
                  <a:pt x="230" y="260"/>
                  <a:pt x="234" y="264"/>
                </a:cubicBezTo>
                <a:cubicBezTo>
                  <a:pt x="250" y="280"/>
                  <a:pt x="250" y="280"/>
                  <a:pt x="250" y="280"/>
                </a:cubicBezTo>
                <a:cubicBezTo>
                  <a:pt x="254" y="284"/>
                  <a:pt x="259" y="286"/>
                  <a:pt x="265" y="286"/>
                </a:cubicBezTo>
                <a:cubicBezTo>
                  <a:pt x="270" y="286"/>
                  <a:pt x="276" y="284"/>
                  <a:pt x="280" y="280"/>
                </a:cubicBezTo>
                <a:cubicBezTo>
                  <a:pt x="299" y="261"/>
                  <a:pt x="299" y="261"/>
                  <a:pt x="299" y="261"/>
                </a:cubicBezTo>
                <a:cubicBezTo>
                  <a:pt x="321" y="319"/>
                  <a:pt x="321" y="319"/>
                  <a:pt x="321" y="319"/>
                </a:cubicBezTo>
                <a:cubicBezTo>
                  <a:pt x="321" y="320"/>
                  <a:pt x="322" y="322"/>
                  <a:pt x="323" y="323"/>
                </a:cubicBezTo>
                <a:cubicBezTo>
                  <a:pt x="363" y="363"/>
                  <a:pt x="363" y="363"/>
                  <a:pt x="363" y="363"/>
                </a:cubicBezTo>
                <a:cubicBezTo>
                  <a:pt x="365" y="365"/>
                  <a:pt x="367" y="366"/>
                  <a:pt x="370" y="366"/>
                </a:cubicBezTo>
                <a:cubicBezTo>
                  <a:pt x="373" y="366"/>
                  <a:pt x="376" y="365"/>
                  <a:pt x="378" y="363"/>
                </a:cubicBezTo>
                <a:lnTo>
                  <a:pt x="438" y="30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9" name="Group 768"/>
          <p:cNvGrpSpPr>
            <a:grpSpLocks noChangeAspect="1"/>
          </p:cNvGrpSpPr>
          <p:nvPr/>
        </p:nvGrpSpPr>
        <p:grpSpPr bwMode="auto">
          <a:xfrm>
            <a:off x="6926920" y="3740728"/>
            <a:ext cx="369021" cy="369021"/>
            <a:chOff x="6591" y="3054"/>
            <a:chExt cx="340" cy="340"/>
          </a:xfrm>
          <a:solidFill>
            <a:schemeClr val="accent3"/>
          </a:solidFill>
        </p:grpSpPr>
        <p:sp>
          <p:nvSpPr>
            <p:cNvPr id="370" name="Freeform 769"/>
            <p:cNvSpPr>
              <a:spLocks noEditPoints="1"/>
            </p:cNvSpPr>
            <p:nvPr/>
          </p:nvSpPr>
          <p:spPr bwMode="auto">
            <a:xfrm>
              <a:off x="6591" y="3054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1" name="Freeform 770"/>
            <p:cNvSpPr>
              <a:spLocks noEditPoints="1"/>
            </p:cNvSpPr>
            <p:nvPr/>
          </p:nvSpPr>
          <p:spPr bwMode="auto">
            <a:xfrm>
              <a:off x="6690" y="3132"/>
              <a:ext cx="149" cy="198"/>
            </a:xfrm>
            <a:custGeom>
              <a:avLst/>
              <a:gdLst>
                <a:gd name="T0" fmla="*/ 142 w 224"/>
                <a:gd name="T1" fmla="*/ 97 h 298"/>
                <a:gd name="T2" fmla="*/ 147 w 224"/>
                <a:gd name="T3" fmla="*/ 93 h 298"/>
                <a:gd name="T4" fmla="*/ 147 w 224"/>
                <a:gd name="T5" fmla="*/ 77 h 298"/>
                <a:gd name="T6" fmla="*/ 131 w 224"/>
                <a:gd name="T7" fmla="*/ 77 h 298"/>
                <a:gd name="T8" fmla="*/ 127 w 224"/>
                <a:gd name="T9" fmla="*/ 82 h 298"/>
                <a:gd name="T10" fmla="*/ 74 w 224"/>
                <a:gd name="T11" fmla="*/ 30 h 298"/>
                <a:gd name="T12" fmla="*/ 59 w 224"/>
                <a:gd name="T13" fmla="*/ 30 h 298"/>
                <a:gd name="T14" fmla="*/ 59 w 224"/>
                <a:gd name="T15" fmla="*/ 165 h 298"/>
                <a:gd name="T16" fmla="*/ 64 w 224"/>
                <a:gd name="T17" fmla="*/ 170 h 298"/>
                <a:gd name="T18" fmla="*/ 25 w 224"/>
                <a:gd name="T19" fmla="*/ 277 h 298"/>
                <a:gd name="T20" fmla="*/ 11 w 224"/>
                <a:gd name="T21" fmla="*/ 277 h 298"/>
                <a:gd name="T22" fmla="*/ 0 w 224"/>
                <a:gd name="T23" fmla="*/ 288 h 298"/>
                <a:gd name="T24" fmla="*/ 11 w 224"/>
                <a:gd name="T25" fmla="*/ 298 h 298"/>
                <a:gd name="T26" fmla="*/ 139 w 224"/>
                <a:gd name="T27" fmla="*/ 298 h 298"/>
                <a:gd name="T28" fmla="*/ 150 w 224"/>
                <a:gd name="T29" fmla="*/ 288 h 298"/>
                <a:gd name="T30" fmla="*/ 139 w 224"/>
                <a:gd name="T31" fmla="*/ 277 h 298"/>
                <a:gd name="T32" fmla="*/ 125 w 224"/>
                <a:gd name="T33" fmla="*/ 277 h 298"/>
                <a:gd name="T34" fmla="*/ 92 w 224"/>
                <a:gd name="T35" fmla="*/ 187 h 298"/>
                <a:gd name="T36" fmla="*/ 127 w 224"/>
                <a:gd name="T37" fmla="*/ 193 h 298"/>
                <a:gd name="T38" fmla="*/ 194 w 224"/>
                <a:gd name="T39" fmla="*/ 165 h 298"/>
                <a:gd name="T40" fmla="*/ 198 w 224"/>
                <a:gd name="T41" fmla="*/ 158 h 298"/>
                <a:gd name="T42" fmla="*/ 194 w 224"/>
                <a:gd name="T43" fmla="*/ 150 h 298"/>
                <a:gd name="T44" fmla="*/ 142 w 224"/>
                <a:gd name="T45" fmla="*/ 97 h 298"/>
                <a:gd name="T46" fmla="*/ 48 w 224"/>
                <a:gd name="T47" fmla="*/ 277 h 298"/>
                <a:gd name="T48" fmla="*/ 75 w 224"/>
                <a:gd name="T49" fmla="*/ 202 h 298"/>
                <a:gd name="T50" fmla="*/ 102 w 224"/>
                <a:gd name="T51" fmla="*/ 277 h 298"/>
                <a:gd name="T52" fmla="*/ 48 w 224"/>
                <a:gd name="T53" fmla="*/ 277 h 298"/>
                <a:gd name="T54" fmla="*/ 74 w 224"/>
                <a:gd name="T55" fmla="*/ 150 h 298"/>
                <a:gd name="T56" fmla="*/ 67 w 224"/>
                <a:gd name="T57" fmla="*/ 53 h 298"/>
                <a:gd name="T58" fmla="*/ 171 w 224"/>
                <a:gd name="T59" fmla="*/ 157 h 298"/>
                <a:gd name="T60" fmla="*/ 74 w 224"/>
                <a:gd name="T61" fmla="*/ 150 h 298"/>
                <a:gd name="T62" fmla="*/ 139 w 224"/>
                <a:gd name="T63" fmla="*/ 64 h 298"/>
                <a:gd name="T64" fmla="*/ 128 w 224"/>
                <a:gd name="T65" fmla="*/ 53 h 298"/>
                <a:gd name="T66" fmla="*/ 139 w 224"/>
                <a:gd name="T67" fmla="*/ 42 h 298"/>
                <a:gd name="T68" fmla="*/ 182 w 224"/>
                <a:gd name="T69" fmla="*/ 85 h 298"/>
                <a:gd name="T70" fmla="*/ 171 w 224"/>
                <a:gd name="T71" fmla="*/ 96 h 298"/>
                <a:gd name="T72" fmla="*/ 160 w 224"/>
                <a:gd name="T73" fmla="*/ 85 h 298"/>
                <a:gd name="T74" fmla="*/ 139 w 224"/>
                <a:gd name="T75" fmla="*/ 64 h 298"/>
                <a:gd name="T76" fmla="*/ 224 w 224"/>
                <a:gd name="T77" fmla="*/ 85 h 298"/>
                <a:gd name="T78" fmla="*/ 214 w 224"/>
                <a:gd name="T79" fmla="*/ 96 h 298"/>
                <a:gd name="T80" fmla="*/ 203 w 224"/>
                <a:gd name="T81" fmla="*/ 85 h 298"/>
                <a:gd name="T82" fmla="*/ 139 w 224"/>
                <a:gd name="T83" fmla="*/ 21 h 298"/>
                <a:gd name="T84" fmla="*/ 128 w 224"/>
                <a:gd name="T85" fmla="*/ 10 h 298"/>
                <a:gd name="T86" fmla="*/ 139 w 224"/>
                <a:gd name="T87" fmla="*/ 0 h 298"/>
                <a:gd name="T88" fmla="*/ 224 w 224"/>
                <a:gd name="T89" fmla="*/ 8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4" h="298">
                  <a:moveTo>
                    <a:pt x="142" y="97"/>
                  </a:moveTo>
                  <a:cubicBezTo>
                    <a:pt x="147" y="93"/>
                    <a:pt x="147" y="93"/>
                    <a:pt x="147" y="93"/>
                  </a:cubicBezTo>
                  <a:cubicBezTo>
                    <a:pt x="151" y="88"/>
                    <a:pt x="151" y="82"/>
                    <a:pt x="147" y="77"/>
                  </a:cubicBezTo>
                  <a:cubicBezTo>
                    <a:pt x="142" y="73"/>
                    <a:pt x="136" y="73"/>
                    <a:pt x="131" y="77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0" y="25"/>
                    <a:pt x="63" y="25"/>
                    <a:pt x="59" y="30"/>
                  </a:cubicBezTo>
                  <a:cubicBezTo>
                    <a:pt x="21" y="67"/>
                    <a:pt x="21" y="128"/>
                    <a:pt x="59" y="165"/>
                  </a:cubicBezTo>
                  <a:cubicBezTo>
                    <a:pt x="60" y="167"/>
                    <a:pt x="62" y="169"/>
                    <a:pt x="64" y="170"/>
                  </a:cubicBezTo>
                  <a:cubicBezTo>
                    <a:pt x="25" y="277"/>
                    <a:pt x="25" y="277"/>
                    <a:pt x="25" y="277"/>
                  </a:cubicBezTo>
                  <a:cubicBezTo>
                    <a:pt x="11" y="277"/>
                    <a:pt x="11" y="277"/>
                    <a:pt x="11" y="277"/>
                  </a:cubicBezTo>
                  <a:cubicBezTo>
                    <a:pt x="5" y="277"/>
                    <a:pt x="0" y="282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139" y="298"/>
                    <a:pt x="139" y="298"/>
                    <a:pt x="139" y="298"/>
                  </a:cubicBezTo>
                  <a:cubicBezTo>
                    <a:pt x="145" y="298"/>
                    <a:pt x="150" y="294"/>
                    <a:pt x="150" y="288"/>
                  </a:cubicBezTo>
                  <a:cubicBezTo>
                    <a:pt x="150" y="282"/>
                    <a:pt x="145" y="277"/>
                    <a:pt x="139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92" y="187"/>
                    <a:pt x="92" y="187"/>
                    <a:pt x="92" y="187"/>
                  </a:cubicBezTo>
                  <a:cubicBezTo>
                    <a:pt x="103" y="191"/>
                    <a:pt x="115" y="193"/>
                    <a:pt x="127" y="193"/>
                  </a:cubicBezTo>
                  <a:cubicBezTo>
                    <a:pt x="151" y="193"/>
                    <a:pt x="176" y="184"/>
                    <a:pt x="194" y="165"/>
                  </a:cubicBezTo>
                  <a:cubicBezTo>
                    <a:pt x="196" y="163"/>
                    <a:pt x="198" y="161"/>
                    <a:pt x="198" y="158"/>
                  </a:cubicBezTo>
                  <a:cubicBezTo>
                    <a:pt x="198" y="155"/>
                    <a:pt x="196" y="152"/>
                    <a:pt x="194" y="150"/>
                  </a:cubicBezTo>
                  <a:lnTo>
                    <a:pt x="142" y="97"/>
                  </a:lnTo>
                  <a:close/>
                  <a:moveTo>
                    <a:pt x="48" y="277"/>
                  </a:moveTo>
                  <a:cubicBezTo>
                    <a:pt x="75" y="202"/>
                    <a:pt x="75" y="202"/>
                    <a:pt x="75" y="202"/>
                  </a:cubicBezTo>
                  <a:cubicBezTo>
                    <a:pt x="102" y="277"/>
                    <a:pt x="102" y="277"/>
                    <a:pt x="102" y="277"/>
                  </a:cubicBezTo>
                  <a:lnTo>
                    <a:pt x="48" y="277"/>
                  </a:lnTo>
                  <a:close/>
                  <a:moveTo>
                    <a:pt x="74" y="150"/>
                  </a:moveTo>
                  <a:cubicBezTo>
                    <a:pt x="47" y="124"/>
                    <a:pt x="45" y="82"/>
                    <a:pt x="67" y="53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42" y="179"/>
                    <a:pt x="100" y="177"/>
                    <a:pt x="74" y="150"/>
                  </a:cubicBezTo>
                  <a:close/>
                  <a:moveTo>
                    <a:pt x="139" y="64"/>
                  </a:moveTo>
                  <a:cubicBezTo>
                    <a:pt x="133" y="64"/>
                    <a:pt x="128" y="59"/>
                    <a:pt x="128" y="53"/>
                  </a:cubicBezTo>
                  <a:cubicBezTo>
                    <a:pt x="128" y="47"/>
                    <a:pt x="133" y="42"/>
                    <a:pt x="139" y="42"/>
                  </a:cubicBezTo>
                  <a:cubicBezTo>
                    <a:pt x="163" y="42"/>
                    <a:pt x="182" y="61"/>
                    <a:pt x="182" y="85"/>
                  </a:cubicBezTo>
                  <a:cubicBezTo>
                    <a:pt x="182" y="91"/>
                    <a:pt x="177" y="96"/>
                    <a:pt x="171" y="96"/>
                  </a:cubicBezTo>
                  <a:cubicBezTo>
                    <a:pt x="165" y="96"/>
                    <a:pt x="160" y="91"/>
                    <a:pt x="160" y="85"/>
                  </a:cubicBezTo>
                  <a:cubicBezTo>
                    <a:pt x="160" y="73"/>
                    <a:pt x="151" y="64"/>
                    <a:pt x="139" y="64"/>
                  </a:cubicBezTo>
                  <a:close/>
                  <a:moveTo>
                    <a:pt x="224" y="85"/>
                  </a:moveTo>
                  <a:cubicBezTo>
                    <a:pt x="224" y="91"/>
                    <a:pt x="220" y="96"/>
                    <a:pt x="214" y="96"/>
                  </a:cubicBezTo>
                  <a:cubicBezTo>
                    <a:pt x="208" y="96"/>
                    <a:pt x="203" y="91"/>
                    <a:pt x="203" y="85"/>
                  </a:cubicBezTo>
                  <a:cubicBezTo>
                    <a:pt x="203" y="50"/>
                    <a:pt x="174" y="21"/>
                    <a:pt x="139" y="21"/>
                  </a:cubicBezTo>
                  <a:cubicBezTo>
                    <a:pt x="133" y="21"/>
                    <a:pt x="128" y="16"/>
                    <a:pt x="128" y="10"/>
                  </a:cubicBezTo>
                  <a:cubicBezTo>
                    <a:pt x="128" y="4"/>
                    <a:pt x="133" y="0"/>
                    <a:pt x="139" y="0"/>
                  </a:cubicBezTo>
                  <a:cubicBezTo>
                    <a:pt x="186" y="0"/>
                    <a:pt x="224" y="38"/>
                    <a:pt x="2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2" name="Freeform 774"/>
          <p:cNvSpPr>
            <a:spLocks noChangeAspect="1" noEditPoints="1"/>
          </p:cNvSpPr>
          <p:nvPr/>
        </p:nvSpPr>
        <p:spPr bwMode="auto">
          <a:xfrm>
            <a:off x="6429435" y="3740728"/>
            <a:ext cx="369021" cy="369021"/>
          </a:xfrm>
          <a:custGeom>
            <a:avLst/>
            <a:gdLst>
              <a:gd name="T0" fmla="*/ 216 w 512"/>
              <a:gd name="T1" fmla="*/ 171 h 512"/>
              <a:gd name="T2" fmla="*/ 320 w 512"/>
              <a:gd name="T3" fmla="*/ 275 h 512"/>
              <a:gd name="T4" fmla="*/ 223 w 512"/>
              <a:gd name="T5" fmla="*/ 268 h 512"/>
              <a:gd name="T6" fmla="*/ 216 w 512"/>
              <a:gd name="T7" fmla="*/ 171 h 512"/>
              <a:gd name="T8" fmla="*/ 197 w 512"/>
              <a:gd name="T9" fmla="*/ 395 h 512"/>
              <a:gd name="T10" fmla="*/ 251 w 512"/>
              <a:gd name="T11" fmla="*/ 395 h 512"/>
              <a:gd name="T12" fmla="*/ 224 w 512"/>
              <a:gd name="T13" fmla="*/ 320 h 512"/>
              <a:gd name="T14" fmla="*/ 197 w 512"/>
              <a:gd name="T15" fmla="*/ 395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47 w 512"/>
              <a:gd name="T27" fmla="*/ 276 h 512"/>
              <a:gd name="T28" fmla="*/ 343 w 512"/>
              <a:gd name="T29" fmla="*/ 268 h 512"/>
              <a:gd name="T30" fmla="*/ 291 w 512"/>
              <a:gd name="T31" fmla="*/ 215 h 512"/>
              <a:gd name="T32" fmla="*/ 296 w 512"/>
              <a:gd name="T33" fmla="*/ 211 h 512"/>
              <a:gd name="T34" fmla="*/ 296 w 512"/>
              <a:gd name="T35" fmla="*/ 195 h 512"/>
              <a:gd name="T36" fmla="*/ 280 w 512"/>
              <a:gd name="T37" fmla="*/ 195 h 512"/>
              <a:gd name="T38" fmla="*/ 276 w 512"/>
              <a:gd name="T39" fmla="*/ 200 h 512"/>
              <a:gd name="T40" fmla="*/ 223 w 512"/>
              <a:gd name="T41" fmla="*/ 148 h 512"/>
              <a:gd name="T42" fmla="*/ 208 w 512"/>
              <a:gd name="T43" fmla="*/ 148 h 512"/>
              <a:gd name="T44" fmla="*/ 208 w 512"/>
              <a:gd name="T45" fmla="*/ 283 h 512"/>
              <a:gd name="T46" fmla="*/ 213 w 512"/>
              <a:gd name="T47" fmla="*/ 288 h 512"/>
              <a:gd name="T48" fmla="*/ 174 w 512"/>
              <a:gd name="T49" fmla="*/ 395 h 512"/>
              <a:gd name="T50" fmla="*/ 160 w 512"/>
              <a:gd name="T51" fmla="*/ 395 h 512"/>
              <a:gd name="T52" fmla="*/ 149 w 512"/>
              <a:gd name="T53" fmla="*/ 406 h 512"/>
              <a:gd name="T54" fmla="*/ 160 w 512"/>
              <a:gd name="T55" fmla="*/ 416 h 512"/>
              <a:gd name="T56" fmla="*/ 288 w 512"/>
              <a:gd name="T57" fmla="*/ 416 h 512"/>
              <a:gd name="T58" fmla="*/ 299 w 512"/>
              <a:gd name="T59" fmla="*/ 406 h 512"/>
              <a:gd name="T60" fmla="*/ 288 w 512"/>
              <a:gd name="T61" fmla="*/ 395 h 512"/>
              <a:gd name="T62" fmla="*/ 274 w 512"/>
              <a:gd name="T63" fmla="*/ 395 h 512"/>
              <a:gd name="T64" fmla="*/ 241 w 512"/>
              <a:gd name="T65" fmla="*/ 305 h 512"/>
              <a:gd name="T66" fmla="*/ 276 w 512"/>
              <a:gd name="T67" fmla="*/ 311 h 512"/>
              <a:gd name="T68" fmla="*/ 343 w 512"/>
              <a:gd name="T69" fmla="*/ 283 h 512"/>
              <a:gd name="T70" fmla="*/ 347 w 512"/>
              <a:gd name="T71" fmla="*/ 276 h 512"/>
              <a:gd name="T72" fmla="*/ 288 w 512"/>
              <a:gd name="T73" fmla="*/ 182 h 512"/>
              <a:gd name="T74" fmla="*/ 309 w 512"/>
              <a:gd name="T75" fmla="*/ 203 h 512"/>
              <a:gd name="T76" fmla="*/ 320 w 512"/>
              <a:gd name="T77" fmla="*/ 214 h 512"/>
              <a:gd name="T78" fmla="*/ 331 w 512"/>
              <a:gd name="T79" fmla="*/ 203 h 512"/>
              <a:gd name="T80" fmla="*/ 288 w 512"/>
              <a:gd name="T81" fmla="*/ 160 h 512"/>
              <a:gd name="T82" fmla="*/ 277 w 512"/>
              <a:gd name="T83" fmla="*/ 171 h 512"/>
              <a:gd name="T84" fmla="*/ 288 w 512"/>
              <a:gd name="T85" fmla="*/ 182 h 512"/>
              <a:gd name="T86" fmla="*/ 373 w 512"/>
              <a:gd name="T87" fmla="*/ 203 h 512"/>
              <a:gd name="T88" fmla="*/ 288 w 512"/>
              <a:gd name="T89" fmla="*/ 118 h 512"/>
              <a:gd name="T90" fmla="*/ 277 w 512"/>
              <a:gd name="T91" fmla="*/ 128 h 512"/>
              <a:gd name="T92" fmla="*/ 288 w 512"/>
              <a:gd name="T93" fmla="*/ 139 h 512"/>
              <a:gd name="T94" fmla="*/ 352 w 512"/>
              <a:gd name="T95" fmla="*/ 203 h 512"/>
              <a:gd name="T96" fmla="*/ 363 w 512"/>
              <a:gd name="T97" fmla="*/ 214 h 512"/>
              <a:gd name="T98" fmla="*/ 373 w 512"/>
              <a:gd name="T99" fmla="*/ 20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16" y="171"/>
                </a:moveTo>
                <a:cubicBezTo>
                  <a:pt x="320" y="275"/>
                  <a:pt x="320" y="275"/>
                  <a:pt x="320" y="275"/>
                </a:cubicBezTo>
                <a:cubicBezTo>
                  <a:pt x="291" y="297"/>
                  <a:pt x="249" y="295"/>
                  <a:pt x="223" y="268"/>
                </a:cubicBezTo>
                <a:cubicBezTo>
                  <a:pt x="196" y="242"/>
                  <a:pt x="194" y="200"/>
                  <a:pt x="216" y="171"/>
                </a:cubicBezTo>
                <a:close/>
                <a:moveTo>
                  <a:pt x="197" y="395"/>
                </a:moveTo>
                <a:cubicBezTo>
                  <a:pt x="251" y="395"/>
                  <a:pt x="251" y="395"/>
                  <a:pt x="251" y="395"/>
                </a:cubicBezTo>
                <a:cubicBezTo>
                  <a:pt x="224" y="320"/>
                  <a:pt x="224" y="320"/>
                  <a:pt x="224" y="320"/>
                </a:cubicBezTo>
                <a:lnTo>
                  <a:pt x="197" y="395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47" y="276"/>
                </a:moveTo>
                <a:cubicBezTo>
                  <a:pt x="347" y="273"/>
                  <a:pt x="345" y="270"/>
                  <a:pt x="343" y="268"/>
                </a:cubicBezTo>
                <a:cubicBezTo>
                  <a:pt x="291" y="215"/>
                  <a:pt x="291" y="215"/>
                  <a:pt x="291" y="215"/>
                </a:cubicBezTo>
                <a:cubicBezTo>
                  <a:pt x="296" y="211"/>
                  <a:pt x="296" y="211"/>
                  <a:pt x="296" y="211"/>
                </a:cubicBezTo>
                <a:cubicBezTo>
                  <a:pt x="300" y="206"/>
                  <a:pt x="300" y="200"/>
                  <a:pt x="296" y="195"/>
                </a:cubicBezTo>
                <a:cubicBezTo>
                  <a:pt x="291" y="191"/>
                  <a:pt x="285" y="191"/>
                  <a:pt x="280" y="195"/>
                </a:cubicBezTo>
                <a:cubicBezTo>
                  <a:pt x="276" y="200"/>
                  <a:pt x="276" y="200"/>
                  <a:pt x="276" y="200"/>
                </a:cubicBezTo>
                <a:cubicBezTo>
                  <a:pt x="223" y="148"/>
                  <a:pt x="223" y="148"/>
                  <a:pt x="223" y="148"/>
                </a:cubicBezTo>
                <a:cubicBezTo>
                  <a:pt x="219" y="143"/>
                  <a:pt x="212" y="143"/>
                  <a:pt x="208" y="148"/>
                </a:cubicBezTo>
                <a:cubicBezTo>
                  <a:pt x="170" y="185"/>
                  <a:pt x="170" y="246"/>
                  <a:pt x="208" y="283"/>
                </a:cubicBezTo>
                <a:cubicBezTo>
                  <a:pt x="209" y="285"/>
                  <a:pt x="211" y="287"/>
                  <a:pt x="213" y="288"/>
                </a:cubicBezTo>
                <a:cubicBezTo>
                  <a:pt x="174" y="395"/>
                  <a:pt x="174" y="395"/>
                  <a:pt x="174" y="395"/>
                </a:cubicBezTo>
                <a:cubicBezTo>
                  <a:pt x="160" y="395"/>
                  <a:pt x="160" y="395"/>
                  <a:pt x="160" y="395"/>
                </a:cubicBezTo>
                <a:cubicBezTo>
                  <a:pt x="154" y="395"/>
                  <a:pt x="149" y="400"/>
                  <a:pt x="149" y="406"/>
                </a:cubicBezTo>
                <a:cubicBezTo>
                  <a:pt x="149" y="412"/>
                  <a:pt x="154" y="416"/>
                  <a:pt x="160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4" y="416"/>
                  <a:pt x="299" y="412"/>
                  <a:pt x="299" y="406"/>
                </a:cubicBezTo>
                <a:cubicBezTo>
                  <a:pt x="299" y="400"/>
                  <a:pt x="294" y="395"/>
                  <a:pt x="288" y="395"/>
                </a:cubicBezTo>
                <a:cubicBezTo>
                  <a:pt x="274" y="395"/>
                  <a:pt x="274" y="395"/>
                  <a:pt x="274" y="395"/>
                </a:cubicBezTo>
                <a:cubicBezTo>
                  <a:pt x="241" y="305"/>
                  <a:pt x="241" y="305"/>
                  <a:pt x="241" y="305"/>
                </a:cubicBezTo>
                <a:cubicBezTo>
                  <a:pt x="252" y="309"/>
                  <a:pt x="264" y="311"/>
                  <a:pt x="276" y="311"/>
                </a:cubicBezTo>
                <a:cubicBezTo>
                  <a:pt x="300" y="311"/>
                  <a:pt x="325" y="302"/>
                  <a:pt x="343" y="283"/>
                </a:cubicBezTo>
                <a:cubicBezTo>
                  <a:pt x="345" y="281"/>
                  <a:pt x="347" y="279"/>
                  <a:pt x="347" y="276"/>
                </a:cubicBezTo>
                <a:close/>
                <a:moveTo>
                  <a:pt x="288" y="182"/>
                </a:moveTo>
                <a:cubicBezTo>
                  <a:pt x="300" y="182"/>
                  <a:pt x="309" y="191"/>
                  <a:pt x="309" y="203"/>
                </a:cubicBezTo>
                <a:cubicBezTo>
                  <a:pt x="309" y="209"/>
                  <a:pt x="314" y="214"/>
                  <a:pt x="320" y="214"/>
                </a:cubicBezTo>
                <a:cubicBezTo>
                  <a:pt x="326" y="214"/>
                  <a:pt x="331" y="209"/>
                  <a:pt x="331" y="203"/>
                </a:cubicBezTo>
                <a:cubicBezTo>
                  <a:pt x="331" y="179"/>
                  <a:pt x="312" y="160"/>
                  <a:pt x="288" y="160"/>
                </a:cubicBezTo>
                <a:cubicBezTo>
                  <a:pt x="282" y="160"/>
                  <a:pt x="277" y="165"/>
                  <a:pt x="277" y="171"/>
                </a:cubicBezTo>
                <a:cubicBezTo>
                  <a:pt x="277" y="177"/>
                  <a:pt x="282" y="182"/>
                  <a:pt x="288" y="182"/>
                </a:cubicBezTo>
                <a:close/>
                <a:moveTo>
                  <a:pt x="373" y="203"/>
                </a:moveTo>
                <a:cubicBezTo>
                  <a:pt x="373" y="156"/>
                  <a:pt x="335" y="118"/>
                  <a:pt x="288" y="118"/>
                </a:cubicBezTo>
                <a:cubicBezTo>
                  <a:pt x="282" y="118"/>
                  <a:pt x="277" y="122"/>
                  <a:pt x="277" y="128"/>
                </a:cubicBezTo>
                <a:cubicBezTo>
                  <a:pt x="277" y="134"/>
                  <a:pt x="282" y="139"/>
                  <a:pt x="288" y="139"/>
                </a:cubicBezTo>
                <a:cubicBezTo>
                  <a:pt x="323" y="139"/>
                  <a:pt x="352" y="168"/>
                  <a:pt x="352" y="203"/>
                </a:cubicBezTo>
                <a:cubicBezTo>
                  <a:pt x="352" y="209"/>
                  <a:pt x="357" y="214"/>
                  <a:pt x="363" y="214"/>
                </a:cubicBezTo>
                <a:cubicBezTo>
                  <a:pt x="369" y="214"/>
                  <a:pt x="373" y="209"/>
                  <a:pt x="373" y="20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3" name="Group 499"/>
          <p:cNvGrpSpPr>
            <a:grpSpLocks noChangeAspect="1"/>
          </p:cNvGrpSpPr>
          <p:nvPr/>
        </p:nvGrpSpPr>
        <p:grpSpPr bwMode="auto">
          <a:xfrm>
            <a:off x="8917945" y="3740728"/>
            <a:ext cx="370106" cy="369021"/>
            <a:chOff x="5800" y="1938"/>
            <a:chExt cx="341" cy="340"/>
          </a:xfrm>
          <a:solidFill>
            <a:schemeClr val="accent6"/>
          </a:solidFill>
        </p:grpSpPr>
        <p:sp>
          <p:nvSpPr>
            <p:cNvPr id="374" name="Freeform 500"/>
            <p:cNvSpPr>
              <a:spLocks noEditPoints="1"/>
            </p:cNvSpPr>
            <p:nvPr/>
          </p:nvSpPr>
          <p:spPr bwMode="auto">
            <a:xfrm>
              <a:off x="5800" y="193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5" name="Freeform 501"/>
            <p:cNvSpPr>
              <a:spLocks noEditPoints="1"/>
            </p:cNvSpPr>
            <p:nvPr/>
          </p:nvSpPr>
          <p:spPr bwMode="auto">
            <a:xfrm>
              <a:off x="5879" y="2016"/>
              <a:ext cx="183" cy="184"/>
            </a:xfrm>
            <a:custGeom>
              <a:avLst/>
              <a:gdLst>
                <a:gd name="T0" fmla="*/ 10 w 275"/>
                <a:gd name="T1" fmla="*/ 0 h 278"/>
                <a:gd name="T2" fmla="*/ 0 w 275"/>
                <a:gd name="T3" fmla="*/ 267 h 278"/>
                <a:gd name="T4" fmla="*/ 264 w 275"/>
                <a:gd name="T5" fmla="*/ 278 h 278"/>
                <a:gd name="T6" fmla="*/ 275 w 275"/>
                <a:gd name="T7" fmla="*/ 11 h 278"/>
                <a:gd name="T8" fmla="*/ 254 w 275"/>
                <a:gd name="T9" fmla="*/ 256 h 278"/>
                <a:gd name="T10" fmla="*/ 21 w 275"/>
                <a:gd name="T11" fmla="*/ 21 h 278"/>
                <a:gd name="T12" fmla="*/ 254 w 275"/>
                <a:gd name="T13" fmla="*/ 256 h 278"/>
                <a:gd name="T14" fmla="*/ 116 w 275"/>
                <a:gd name="T15" fmla="*/ 128 h 278"/>
                <a:gd name="T16" fmla="*/ 127 w 275"/>
                <a:gd name="T17" fmla="*/ 53 h 278"/>
                <a:gd name="T18" fmla="*/ 52 w 275"/>
                <a:gd name="T19" fmla="*/ 43 h 278"/>
                <a:gd name="T20" fmla="*/ 42 w 275"/>
                <a:gd name="T21" fmla="*/ 117 h 278"/>
                <a:gd name="T22" fmla="*/ 63 w 275"/>
                <a:gd name="T23" fmla="*/ 64 h 278"/>
                <a:gd name="T24" fmla="*/ 106 w 275"/>
                <a:gd name="T25" fmla="*/ 107 h 278"/>
                <a:gd name="T26" fmla="*/ 63 w 275"/>
                <a:gd name="T27" fmla="*/ 64 h 278"/>
                <a:gd name="T28" fmla="*/ 116 w 275"/>
                <a:gd name="T29" fmla="*/ 235 h 278"/>
                <a:gd name="T30" fmla="*/ 127 w 275"/>
                <a:gd name="T31" fmla="*/ 160 h 278"/>
                <a:gd name="T32" fmla="*/ 52 w 275"/>
                <a:gd name="T33" fmla="*/ 149 h 278"/>
                <a:gd name="T34" fmla="*/ 42 w 275"/>
                <a:gd name="T35" fmla="*/ 224 h 278"/>
                <a:gd name="T36" fmla="*/ 63 w 275"/>
                <a:gd name="T37" fmla="*/ 171 h 278"/>
                <a:gd name="T38" fmla="*/ 106 w 275"/>
                <a:gd name="T39" fmla="*/ 213 h 278"/>
                <a:gd name="T40" fmla="*/ 63 w 275"/>
                <a:gd name="T41" fmla="*/ 171 h 278"/>
                <a:gd name="T42" fmla="*/ 223 w 275"/>
                <a:gd name="T43" fmla="*/ 128 h 278"/>
                <a:gd name="T44" fmla="*/ 234 w 275"/>
                <a:gd name="T45" fmla="*/ 53 h 278"/>
                <a:gd name="T46" fmla="*/ 159 w 275"/>
                <a:gd name="T47" fmla="*/ 43 h 278"/>
                <a:gd name="T48" fmla="*/ 148 w 275"/>
                <a:gd name="T49" fmla="*/ 117 h 278"/>
                <a:gd name="T50" fmla="*/ 170 w 275"/>
                <a:gd name="T51" fmla="*/ 64 h 278"/>
                <a:gd name="T52" fmla="*/ 212 w 275"/>
                <a:gd name="T53" fmla="*/ 107 h 278"/>
                <a:gd name="T54" fmla="*/ 170 w 275"/>
                <a:gd name="T55" fmla="*/ 64 h 278"/>
                <a:gd name="T56" fmla="*/ 148 w 275"/>
                <a:gd name="T57" fmla="*/ 160 h 278"/>
                <a:gd name="T58" fmla="*/ 223 w 275"/>
                <a:gd name="T59" fmla="*/ 149 h 278"/>
                <a:gd name="T60" fmla="*/ 223 w 275"/>
                <a:gd name="T61" fmla="*/ 171 h 278"/>
                <a:gd name="T62" fmla="*/ 170 w 275"/>
                <a:gd name="T63" fmla="*/ 224 h 278"/>
                <a:gd name="T64" fmla="*/ 148 w 275"/>
                <a:gd name="T65" fmla="*/ 224 h 278"/>
                <a:gd name="T66" fmla="*/ 234 w 275"/>
                <a:gd name="T67" fmla="*/ 224 h 278"/>
                <a:gd name="T68" fmla="*/ 191 w 275"/>
                <a:gd name="T69" fmla="*/ 235 h 278"/>
                <a:gd name="T70" fmla="*/ 191 w 275"/>
                <a:gd name="T71" fmla="*/ 213 h 278"/>
                <a:gd name="T72" fmla="*/ 212 w 275"/>
                <a:gd name="T73" fmla="*/ 192 h 278"/>
                <a:gd name="T74" fmla="*/ 234 w 275"/>
                <a:gd name="T75" fmla="*/ 192 h 278"/>
                <a:gd name="T76" fmla="*/ 84 w 275"/>
                <a:gd name="T77" fmla="*/ 96 h 278"/>
                <a:gd name="T78" fmla="*/ 84 w 275"/>
                <a:gd name="T79" fmla="*/ 75 h 278"/>
                <a:gd name="T80" fmla="*/ 95 w 275"/>
                <a:gd name="T81" fmla="*/ 192 h 278"/>
                <a:gd name="T82" fmla="*/ 74 w 275"/>
                <a:gd name="T83" fmla="*/ 192 h 278"/>
                <a:gd name="T84" fmla="*/ 95 w 275"/>
                <a:gd name="T85" fmla="*/ 192 h 278"/>
                <a:gd name="T86" fmla="*/ 191 w 275"/>
                <a:gd name="T87" fmla="*/ 96 h 278"/>
                <a:gd name="T88" fmla="*/ 191 w 275"/>
                <a:gd name="T89" fmla="*/ 75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5" h="278">
                  <a:moveTo>
                    <a:pt x="26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4" y="278"/>
                    <a:pt x="10" y="278"/>
                  </a:cubicBezTo>
                  <a:cubicBezTo>
                    <a:pt x="264" y="278"/>
                    <a:pt x="264" y="278"/>
                    <a:pt x="264" y="278"/>
                  </a:cubicBezTo>
                  <a:cubicBezTo>
                    <a:pt x="270" y="278"/>
                    <a:pt x="275" y="273"/>
                    <a:pt x="275" y="267"/>
                  </a:cubicBezTo>
                  <a:cubicBezTo>
                    <a:pt x="275" y="11"/>
                    <a:pt x="275" y="11"/>
                    <a:pt x="275" y="11"/>
                  </a:cubicBezTo>
                  <a:cubicBezTo>
                    <a:pt x="275" y="5"/>
                    <a:pt x="270" y="0"/>
                    <a:pt x="264" y="0"/>
                  </a:cubicBezTo>
                  <a:close/>
                  <a:moveTo>
                    <a:pt x="254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54" y="21"/>
                    <a:pt x="254" y="21"/>
                    <a:pt x="254" y="21"/>
                  </a:cubicBezTo>
                  <a:lnTo>
                    <a:pt x="254" y="256"/>
                  </a:lnTo>
                  <a:close/>
                  <a:moveTo>
                    <a:pt x="52" y="128"/>
                  </a:moveTo>
                  <a:cubicBezTo>
                    <a:pt x="116" y="128"/>
                    <a:pt x="116" y="128"/>
                    <a:pt x="116" y="128"/>
                  </a:cubicBezTo>
                  <a:cubicBezTo>
                    <a:pt x="122" y="128"/>
                    <a:pt x="127" y="123"/>
                    <a:pt x="127" y="117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27" y="47"/>
                    <a:pt x="122" y="43"/>
                    <a:pt x="116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46" y="43"/>
                    <a:pt x="42" y="47"/>
                    <a:pt x="42" y="53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2" y="123"/>
                    <a:pt x="46" y="128"/>
                    <a:pt x="52" y="128"/>
                  </a:cubicBezTo>
                  <a:close/>
                  <a:moveTo>
                    <a:pt x="63" y="64"/>
                  </a:moveTo>
                  <a:cubicBezTo>
                    <a:pt x="106" y="64"/>
                    <a:pt x="106" y="64"/>
                    <a:pt x="106" y="64"/>
                  </a:cubicBezTo>
                  <a:cubicBezTo>
                    <a:pt x="106" y="107"/>
                    <a:pt x="106" y="107"/>
                    <a:pt x="106" y="107"/>
                  </a:cubicBezTo>
                  <a:cubicBezTo>
                    <a:pt x="63" y="107"/>
                    <a:pt x="63" y="107"/>
                    <a:pt x="63" y="107"/>
                  </a:cubicBezTo>
                  <a:lnTo>
                    <a:pt x="63" y="64"/>
                  </a:lnTo>
                  <a:close/>
                  <a:moveTo>
                    <a:pt x="52" y="235"/>
                  </a:moveTo>
                  <a:cubicBezTo>
                    <a:pt x="116" y="235"/>
                    <a:pt x="116" y="235"/>
                    <a:pt x="116" y="235"/>
                  </a:cubicBezTo>
                  <a:cubicBezTo>
                    <a:pt x="122" y="235"/>
                    <a:pt x="127" y="230"/>
                    <a:pt x="127" y="224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54"/>
                    <a:pt x="122" y="149"/>
                    <a:pt x="116" y="149"/>
                  </a:cubicBezTo>
                  <a:cubicBezTo>
                    <a:pt x="52" y="149"/>
                    <a:pt x="52" y="149"/>
                    <a:pt x="52" y="149"/>
                  </a:cubicBezTo>
                  <a:cubicBezTo>
                    <a:pt x="46" y="149"/>
                    <a:pt x="42" y="154"/>
                    <a:pt x="42" y="160"/>
                  </a:cubicBezTo>
                  <a:cubicBezTo>
                    <a:pt x="42" y="224"/>
                    <a:pt x="42" y="224"/>
                    <a:pt x="42" y="224"/>
                  </a:cubicBezTo>
                  <a:cubicBezTo>
                    <a:pt x="42" y="230"/>
                    <a:pt x="46" y="235"/>
                    <a:pt x="52" y="235"/>
                  </a:cubicBezTo>
                  <a:close/>
                  <a:moveTo>
                    <a:pt x="63" y="171"/>
                  </a:moveTo>
                  <a:cubicBezTo>
                    <a:pt x="106" y="171"/>
                    <a:pt x="106" y="171"/>
                    <a:pt x="106" y="171"/>
                  </a:cubicBezTo>
                  <a:cubicBezTo>
                    <a:pt x="106" y="213"/>
                    <a:pt x="106" y="213"/>
                    <a:pt x="106" y="213"/>
                  </a:cubicBezTo>
                  <a:cubicBezTo>
                    <a:pt x="63" y="213"/>
                    <a:pt x="63" y="213"/>
                    <a:pt x="63" y="213"/>
                  </a:cubicBezTo>
                  <a:lnTo>
                    <a:pt x="63" y="171"/>
                  </a:lnTo>
                  <a:close/>
                  <a:moveTo>
                    <a:pt x="159" y="128"/>
                  </a:moveTo>
                  <a:cubicBezTo>
                    <a:pt x="223" y="128"/>
                    <a:pt x="223" y="128"/>
                    <a:pt x="223" y="128"/>
                  </a:cubicBezTo>
                  <a:cubicBezTo>
                    <a:pt x="229" y="128"/>
                    <a:pt x="234" y="123"/>
                    <a:pt x="234" y="117"/>
                  </a:cubicBezTo>
                  <a:cubicBezTo>
                    <a:pt x="234" y="53"/>
                    <a:pt x="234" y="53"/>
                    <a:pt x="234" y="53"/>
                  </a:cubicBezTo>
                  <a:cubicBezTo>
                    <a:pt x="234" y="47"/>
                    <a:pt x="229" y="43"/>
                    <a:pt x="223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3" y="43"/>
                    <a:pt x="148" y="47"/>
                    <a:pt x="148" y="53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23"/>
                    <a:pt x="153" y="128"/>
                    <a:pt x="159" y="128"/>
                  </a:cubicBezTo>
                  <a:close/>
                  <a:moveTo>
                    <a:pt x="170" y="64"/>
                  </a:moveTo>
                  <a:cubicBezTo>
                    <a:pt x="212" y="64"/>
                    <a:pt x="212" y="64"/>
                    <a:pt x="212" y="64"/>
                  </a:cubicBezTo>
                  <a:cubicBezTo>
                    <a:pt x="212" y="107"/>
                    <a:pt x="212" y="107"/>
                    <a:pt x="212" y="107"/>
                  </a:cubicBezTo>
                  <a:cubicBezTo>
                    <a:pt x="170" y="107"/>
                    <a:pt x="170" y="107"/>
                    <a:pt x="170" y="107"/>
                  </a:cubicBezTo>
                  <a:lnTo>
                    <a:pt x="170" y="64"/>
                  </a:lnTo>
                  <a:close/>
                  <a:moveTo>
                    <a:pt x="148" y="224"/>
                  </a:moveTo>
                  <a:cubicBezTo>
                    <a:pt x="148" y="160"/>
                    <a:pt x="148" y="160"/>
                    <a:pt x="148" y="160"/>
                  </a:cubicBezTo>
                  <a:cubicBezTo>
                    <a:pt x="148" y="154"/>
                    <a:pt x="153" y="149"/>
                    <a:pt x="159" y="149"/>
                  </a:cubicBezTo>
                  <a:cubicBezTo>
                    <a:pt x="223" y="149"/>
                    <a:pt x="223" y="149"/>
                    <a:pt x="223" y="149"/>
                  </a:cubicBezTo>
                  <a:cubicBezTo>
                    <a:pt x="229" y="149"/>
                    <a:pt x="234" y="154"/>
                    <a:pt x="234" y="160"/>
                  </a:cubicBezTo>
                  <a:cubicBezTo>
                    <a:pt x="234" y="166"/>
                    <a:pt x="229" y="171"/>
                    <a:pt x="223" y="171"/>
                  </a:cubicBezTo>
                  <a:cubicBezTo>
                    <a:pt x="170" y="171"/>
                    <a:pt x="170" y="171"/>
                    <a:pt x="170" y="171"/>
                  </a:cubicBezTo>
                  <a:cubicBezTo>
                    <a:pt x="170" y="224"/>
                    <a:pt x="170" y="224"/>
                    <a:pt x="170" y="224"/>
                  </a:cubicBezTo>
                  <a:cubicBezTo>
                    <a:pt x="170" y="230"/>
                    <a:pt x="165" y="235"/>
                    <a:pt x="159" y="235"/>
                  </a:cubicBezTo>
                  <a:cubicBezTo>
                    <a:pt x="153" y="235"/>
                    <a:pt x="148" y="230"/>
                    <a:pt x="148" y="224"/>
                  </a:cubicBezTo>
                  <a:close/>
                  <a:moveTo>
                    <a:pt x="234" y="192"/>
                  </a:moveTo>
                  <a:cubicBezTo>
                    <a:pt x="234" y="224"/>
                    <a:pt x="234" y="224"/>
                    <a:pt x="234" y="224"/>
                  </a:cubicBezTo>
                  <a:cubicBezTo>
                    <a:pt x="234" y="230"/>
                    <a:pt x="229" y="235"/>
                    <a:pt x="223" y="235"/>
                  </a:cubicBezTo>
                  <a:cubicBezTo>
                    <a:pt x="191" y="235"/>
                    <a:pt x="191" y="235"/>
                    <a:pt x="191" y="235"/>
                  </a:cubicBezTo>
                  <a:cubicBezTo>
                    <a:pt x="185" y="235"/>
                    <a:pt x="180" y="230"/>
                    <a:pt x="180" y="224"/>
                  </a:cubicBezTo>
                  <a:cubicBezTo>
                    <a:pt x="180" y="218"/>
                    <a:pt x="185" y="213"/>
                    <a:pt x="191" y="213"/>
                  </a:cubicBezTo>
                  <a:cubicBezTo>
                    <a:pt x="212" y="213"/>
                    <a:pt x="212" y="213"/>
                    <a:pt x="212" y="213"/>
                  </a:cubicBezTo>
                  <a:cubicBezTo>
                    <a:pt x="212" y="192"/>
                    <a:pt x="212" y="192"/>
                    <a:pt x="212" y="192"/>
                  </a:cubicBezTo>
                  <a:cubicBezTo>
                    <a:pt x="212" y="186"/>
                    <a:pt x="217" y="181"/>
                    <a:pt x="223" y="181"/>
                  </a:cubicBezTo>
                  <a:cubicBezTo>
                    <a:pt x="229" y="181"/>
                    <a:pt x="234" y="186"/>
                    <a:pt x="234" y="192"/>
                  </a:cubicBezTo>
                  <a:close/>
                  <a:moveTo>
                    <a:pt x="95" y="85"/>
                  </a:moveTo>
                  <a:cubicBezTo>
                    <a:pt x="95" y="91"/>
                    <a:pt x="90" y="96"/>
                    <a:pt x="84" y="96"/>
                  </a:cubicBezTo>
                  <a:cubicBezTo>
                    <a:pt x="78" y="96"/>
                    <a:pt x="74" y="91"/>
                    <a:pt x="74" y="85"/>
                  </a:cubicBezTo>
                  <a:cubicBezTo>
                    <a:pt x="74" y="79"/>
                    <a:pt x="78" y="75"/>
                    <a:pt x="84" y="75"/>
                  </a:cubicBezTo>
                  <a:cubicBezTo>
                    <a:pt x="90" y="75"/>
                    <a:pt x="95" y="79"/>
                    <a:pt x="95" y="85"/>
                  </a:cubicBezTo>
                  <a:close/>
                  <a:moveTo>
                    <a:pt x="95" y="192"/>
                  </a:moveTo>
                  <a:cubicBezTo>
                    <a:pt x="95" y="198"/>
                    <a:pt x="90" y="203"/>
                    <a:pt x="84" y="203"/>
                  </a:cubicBezTo>
                  <a:cubicBezTo>
                    <a:pt x="78" y="203"/>
                    <a:pt x="74" y="198"/>
                    <a:pt x="74" y="192"/>
                  </a:cubicBezTo>
                  <a:cubicBezTo>
                    <a:pt x="74" y="186"/>
                    <a:pt x="78" y="181"/>
                    <a:pt x="84" y="181"/>
                  </a:cubicBezTo>
                  <a:cubicBezTo>
                    <a:pt x="90" y="181"/>
                    <a:pt x="95" y="186"/>
                    <a:pt x="95" y="192"/>
                  </a:cubicBezTo>
                  <a:close/>
                  <a:moveTo>
                    <a:pt x="202" y="85"/>
                  </a:moveTo>
                  <a:cubicBezTo>
                    <a:pt x="202" y="91"/>
                    <a:pt x="197" y="96"/>
                    <a:pt x="191" y="96"/>
                  </a:cubicBezTo>
                  <a:cubicBezTo>
                    <a:pt x="185" y="96"/>
                    <a:pt x="180" y="91"/>
                    <a:pt x="180" y="85"/>
                  </a:cubicBezTo>
                  <a:cubicBezTo>
                    <a:pt x="180" y="79"/>
                    <a:pt x="185" y="75"/>
                    <a:pt x="191" y="75"/>
                  </a:cubicBezTo>
                  <a:cubicBezTo>
                    <a:pt x="197" y="75"/>
                    <a:pt x="202" y="79"/>
                    <a:pt x="20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6" name="Freeform 505"/>
          <p:cNvSpPr>
            <a:spLocks noChangeAspect="1" noEditPoints="1"/>
          </p:cNvSpPr>
          <p:nvPr/>
        </p:nvSpPr>
        <p:spPr bwMode="auto">
          <a:xfrm>
            <a:off x="8420460" y="3740728"/>
            <a:ext cx="369021" cy="369021"/>
          </a:xfrm>
          <a:custGeom>
            <a:avLst/>
            <a:gdLst>
              <a:gd name="T0" fmla="*/ 181 w 512"/>
              <a:gd name="T1" fmla="*/ 288 h 512"/>
              <a:gd name="T2" fmla="*/ 224 w 512"/>
              <a:gd name="T3" fmla="*/ 330 h 512"/>
              <a:gd name="T4" fmla="*/ 202 w 512"/>
              <a:gd name="T5" fmla="*/ 320 h 512"/>
              <a:gd name="T6" fmla="*/ 202 w 512"/>
              <a:gd name="T7" fmla="*/ 298 h 512"/>
              <a:gd name="T8" fmla="*/ 202 w 512"/>
              <a:gd name="T9" fmla="*/ 320 h 512"/>
              <a:gd name="T10" fmla="*/ 288 w 512"/>
              <a:gd name="T11" fmla="*/ 181 h 512"/>
              <a:gd name="T12" fmla="*/ 330 w 512"/>
              <a:gd name="T13" fmla="*/ 224 h 512"/>
              <a:gd name="T14" fmla="*/ 309 w 512"/>
              <a:gd name="T15" fmla="*/ 213 h 512"/>
              <a:gd name="T16" fmla="*/ 309 w 512"/>
              <a:gd name="T17" fmla="*/ 192 h 512"/>
              <a:gd name="T18" fmla="*/ 309 w 512"/>
              <a:gd name="T19" fmla="*/ 213 h 512"/>
              <a:gd name="T20" fmla="*/ 181 w 512"/>
              <a:gd name="T21" fmla="*/ 181 h 512"/>
              <a:gd name="T22" fmla="*/ 224 w 512"/>
              <a:gd name="T23" fmla="*/ 224 h 512"/>
              <a:gd name="T24" fmla="*/ 202 w 512"/>
              <a:gd name="T25" fmla="*/ 213 h 512"/>
              <a:gd name="T26" fmla="*/ 202 w 512"/>
              <a:gd name="T27" fmla="*/ 192 h 512"/>
              <a:gd name="T28" fmla="*/ 202 w 512"/>
              <a:gd name="T29" fmla="*/ 213 h 512"/>
              <a:gd name="T30" fmla="*/ 0 w 512"/>
              <a:gd name="T31" fmla="*/ 256 h 512"/>
              <a:gd name="T32" fmla="*/ 512 w 512"/>
              <a:gd name="T33" fmla="*/ 256 h 512"/>
              <a:gd name="T34" fmla="*/ 393 w 512"/>
              <a:gd name="T35" fmla="*/ 384 h 512"/>
              <a:gd name="T36" fmla="*/ 128 w 512"/>
              <a:gd name="T37" fmla="*/ 395 h 512"/>
              <a:gd name="T38" fmla="*/ 118 w 512"/>
              <a:gd name="T39" fmla="*/ 128 h 512"/>
              <a:gd name="T40" fmla="*/ 382 w 512"/>
              <a:gd name="T41" fmla="*/ 117 h 512"/>
              <a:gd name="T42" fmla="*/ 393 w 512"/>
              <a:gd name="T43" fmla="*/ 384 h 512"/>
              <a:gd name="T44" fmla="*/ 372 w 512"/>
              <a:gd name="T45" fmla="*/ 373 h 512"/>
              <a:gd name="T46" fmla="*/ 139 w 512"/>
              <a:gd name="T47" fmla="*/ 138 h 512"/>
              <a:gd name="T48" fmla="*/ 352 w 512"/>
              <a:gd name="T49" fmla="*/ 341 h 512"/>
              <a:gd name="T50" fmla="*/ 309 w 512"/>
              <a:gd name="T51" fmla="*/ 352 h 512"/>
              <a:gd name="T52" fmla="*/ 309 w 512"/>
              <a:gd name="T53" fmla="*/ 330 h 512"/>
              <a:gd name="T54" fmla="*/ 330 w 512"/>
              <a:gd name="T55" fmla="*/ 309 h 512"/>
              <a:gd name="T56" fmla="*/ 352 w 512"/>
              <a:gd name="T57" fmla="*/ 309 h 512"/>
              <a:gd name="T58" fmla="*/ 266 w 512"/>
              <a:gd name="T59" fmla="*/ 170 h 512"/>
              <a:gd name="T60" fmla="*/ 341 w 512"/>
              <a:gd name="T61" fmla="*/ 160 h 512"/>
              <a:gd name="T62" fmla="*/ 352 w 512"/>
              <a:gd name="T63" fmla="*/ 234 h 512"/>
              <a:gd name="T64" fmla="*/ 277 w 512"/>
              <a:gd name="T65" fmla="*/ 245 h 512"/>
              <a:gd name="T66" fmla="*/ 266 w 512"/>
              <a:gd name="T67" fmla="*/ 170 h 512"/>
              <a:gd name="T68" fmla="*/ 277 w 512"/>
              <a:gd name="T69" fmla="*/ 266 h 512"/>
              <a:gd name="T70" fmla="*/ 352 w 512"/>
              <a:gd name="T71" fmla="*/ 277 h 512"/>
              <a:gd name="T72" fmla="*/ 288 w 512"/>
              <a:gd name="T73" fmla="*/ 288 h 512"/>
              <a:gd name="T74" fmla="*/ 277 w 512"/>
              <a:gd name="T75" fmla="*/ 352 h 512"/>
              <a:gd name="T76" fmla="*/ 266 w 512"/>
              <a:gd name="T77" fmla="*/ 277 h 512"/>
              <a:gd name="T78" fmla="*/ 170 w 512"/>
              <a:gd name="T79" fmla="*/ 160 h 512"/>
              <a:gd name="T80" fmla="*/ 245 w 512"/>
              <a:gd name="T81" fmla="*/ 170 h 512"/>
              <a:gd name="T82" fmla="*/ 234 w 512"/>
              <a:gd name="T83" fmla="*/ 245 h 512"/>
              <a:gd name="T84" fmla="*/ 160 w 512"/>
              <a:gd name="T85" fmla="*/ 234 h 512"/>
              <a:gd name="T86" fmla="*/ 160 w 512"/>
              <a:gd name="T87" fmla="*/ 277 h 512"/>
              <a:gd name="T88" fmla="*/ 234 w 512"/>
              <a:gd name="T89" fmla="*/ 266 h 512"/>
              <a:gd name="T90" fmla="*/ 245 w 512"/>
              <a:gd name="T91" fmla="*/ 341 h 512"/>
              <a:gd name="T92" fmla="*/ 170 w 512"/>
              <a:gd name="T93" fmla="*/ 352 h 512"/>
              <a:gd name="T94" fmla="*/ 160 w 512"/>
              <a:gd name="T95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24" y="288"/>
                </a:moveTo>
                <a:cubicBezTo>
                  <a:pt x="181" y="288"/>
                  <a:pt x="181" y="288"/>
                  <a:pt x="181" y="288"/>
                </a:cubicBezTo>
                <a:cubicBezTo>
                  <a:pt x="181" y="330"/>
                  <a:pt x="181" y="330"/>
                  <a:pt x="181" y="330"/>
                </a:cubicBezTo>
                <a:cubicBezTo>
                  <a:pt x="224" y="330"/>
                  <a:pt x="224" y="330"/>
                  <a:pt x="224" y="330"/>
                </a:cubicBezTo>
                <a:lnTo>
                  <a:pt x="224" y="288"/>
                </a:lnTo>
                <a:close/>
                <a:moveTo>
                  <a:pt x="202" y="320"/>
                </a:moveTo>
                <a:cubicBezTo>
                  <a:pt x="196" y="320"/>
                  <a:pt x="192" y="315"/>
                  <a:pt x="192" y="309"/>
                </a:cubicBezTo>
                <a:cubicBezTo>
                  <a:pt x="192" y="303"/>
                  <a:pt x="196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lose/>
                <a:moveTo>
                  <a:pt x="330" y="181"/>
                </a:moveTo>
                <a:cubicBezTo>
                  <a:pt x="288" y="181"/>
                  <a:pt x="288" y="181"/>
                  <a:pt x="288" y="181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330" y="224"/>
                  <a:pt x="330" y="224"/>
                  <a:pt x="330" y="224"/>
                </a:cubicBezTo>
                <a:lnTo>
                  <a:pt x="330" y="181"/>
                </a:lnTo>
                <a:close/>
                <a:moveTo>
                  <a:pt x="309" y="213"/>
                </a:moveTo>
                <a:cubicBezTo>
                  <a:pt x="303" y="213"/>
                  <a:pt x="298" y="208"/>
                  <a:pt x="298" y="202"/>
                </a:cubicBezTo>
                <a:cubicBezTo>
                  <a:pt x="298" y="196"/>
                  <a:pt x="303" y="192"/>
                  <a:pt x="309" y="192"/>
                </a:cubicBezTo>
                <a:cubicBezTo>
                  <a:pt x="315" y="192"/>
                  <a:pt x="320" y="196"/>
                  <a:pt x="320" y="202"/>
                </a:cubicBezTo>
                <a:cubicBezTo>
                  <a:pt x="320" y="208"/>
                  <a:pt x="315" y="213"/>
                  <a:pt x="309" y="213"/>
                </a:cubicBezTo>
                <a:close/>
                <a:moveTo>
                  <a:pt x="224" y="181"/>
                </a:moveTo>
                <a:cubicBezTo>
                  <a:pt x="181" y="181"/>
                  <a:pt x="181" y="181"/>
                  <a:pt x="181" y="181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224" y="224"/>
                  <a:pt x="224" y="224"/>
                  <a:pt x="224" y="224"/>
                </a:cubicBezTo>
                <a:lnTo>
                  <a:pt x="224" y="181"/>
                </a:lnTo>
                <a:close/>
                <a:moveTo>
                  <a:pt x="202" y="213"/>
                </a:moveTo>
                <a:cubicBezTo>
                  <a:pt x="196" y="213"/>
                  <a:pt x="192" y="208"/>
                  <a:pt x="192" y="202"/>
                </a:cubicBezTo>
                <a:cubicBezTo>
                  <a:pt x="192" y="196"/>
                  <a:pt x="196" y="192"/>
                  <a:pt x="202" y="192"/>
                </a:cubicBezTo>
                <a:cubicBezTo>
                  <a:pt x="208" y="192"/>
                  <a:pt x="213" y="196"/>
                  <a:pt x="213" y="202"/>
                </a:cubicBezTo>
                <a:cubicBezTo>
                  <a:pt x="213" y="208"/>
                  <a:pt x="208" y="213"/>
                  <a:pt x="202" y="21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3" y="384"/>
                </a:moveTo>
                <a:cubicBezTo>
                  <a:pt x="393" y="390"/>
                  <a:pt x="388" y="395"/>
                  <a:pt x="382" y="395"/>
                </a:cubicBezTo>
                <a:cubicBezTo>
                  <a:pt x="128" y="395"/>
                  <a:pt x="128" y="395"/>
                  <a:pt x="128" y="395"/>
                </a:cubicBezTo>
                <a:cubicBezTo>
                  <a:pt x="122" y="395"/>
                  <a:pt x="118" y="390"/>
                  <a:pt x="118" y="384"/>
                </a:cubicBezTo>
                <a:cubicBezTo>
                  <a:pt x="118" y="128"/>
                  <a:pt x="118" y="128"/>
                  <a:pt x="118" y="128"/>
                </a:cubicBezTo>
                <a:cubicBezTo>
                  <a:pt x="118" y="122"/>
                  <a:pt x="122" y="117"/>
                  <a:pt x="128" y="117"/>
                </a:cubicBezTo>
                <a:cubicBezTo>
                  <a:pt x="382" y="117"/>
                  <a:pt x="382" y="117"/>
                  <a:pt x="382" y="117"/>
                </a:cubicBezTo>
                <a:cubicBezTo>
                  <a:pt x="388" y="117"/>
                  <a:pt x="393" y="122"/>
                  <a:pt x="393" y="128"/>
                </a:cubicBezTo>
                <a:lnTo>
                  <a:pt x="393" y="384"/>
                </a:lnTo>
                <a:close/>
                <a:moveTo>
                  <a:pt x="139" y="373"/>
                </a:moveTo>
                <a:cubicBezTo>
                  <a:pt x="372" y="373"/>
                  <a:pt x="372" y="373"/>
                  <a:pt x="372" y="373"/>
                </a:cubicBezTo>
                <a:cubicBezTo>
                  <a:pt x="372" y="138"/>
                  <a:pt x="372" y="138"/>
                  <a:pt x="372" y="138"/>
                </a:cubicBezTo>
                <a:cubicBezTo>
                  <a:pt x="139" y="138"/>
                  <a:pt x="139" y="138"/>
                  <a:pt x="139" y="138"/>
                </a:cubicBezTo>
                <a:lnTo>
                  <a:pt x="139" y="373"/>
                </a:lnTo>
                <a:close/>
                <a:moveTo>
                  <a:pt x="352" y="341"/>
                </a:moveTo>
                <a:cubicBezTo>
                  <a:pt x="352" y="347"/>
                  <a:pt x="347" y="352"/>
                  <a:pt x="341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03" y="352"/>
                  <a:pt x="298" y="347"/>
                  <a:pt x="298" y="341"/>
                </a:cubicBezTo>
                <a:cubicBezTo>
                  <a:pt x="298" y="335"/>
                  <a:pt x="303" y="330"/>
                  <a:pt x="309" y="330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330" y="309"/>
                  <a:pt x="330" y="309"/>
                  <a:pt x="330" y="309"/>
                </a:cubicBezTo>
                <a:cubicBezTo>
                  <a:pt x="330" y="303"/>
                  <a:pt x="335" y="298"/>
                  <a:pt x="341" y="298"/>
                </a:cubicBezTo>
                <a:cubicBezTo>
                  <a:pt x="347" y="298"/>
                  <a:pt x="352" y="303"/>
                  <a:pt x="352" y="309"/>
                </a:cubicBezTo>
                <a:lnTo>
                  <a:pt x="352" y="341"/>
                </a:lnTo>
                <a:close/>
                <a:moveTo>
                  <a:pt x="266" y="170"/>
                </a:moveTo>
                <a:cubicBezTo>
                  <a:pt x="266" y="164"/>
                  <a:pt x="271" y="160"/>
                  <a:pt x="277" y="160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7" y="160"/>
                  <a:pt x="352" y="164"/>
                  <a:pt x="352" y="170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52" y="240"/>
                  <a:pt x="347" y="245"/>
                  <a:pt x="341" y="245"/>
                </a:cubicBezTo>
                <a:cubicBezTo>
                  <a:pt x="277" y="245"/>
                  <a:pt x="277" y="245"/>
                  <a:pt x="277" y="245"/>
                </a:cubicBezTo>
                <a:cubicBezTo>
                  <a:pt x="271" y="245"/>
                  <a:pt x="266" y="240"/>
                  <a:pt x="266" y="234"/>
                </a:cubicBezTo>
                <a:lnTo>
                  <a:pt x="266" y="170"/>
                </a:lnTo>
                <a:close/>
                <a:moveTo>
                  <a:pt x="266" y="277"/>
                </a:moveTo>
                <a:cubicBezTo>
                  <a:pt x="266" y="271"/>
                  <a:pt x="271" y="266"/>
                  <a:pt x="277" y="266"/>
                </a:cubicBezTo>
                <a:cubicBezTo>
                  <a:pt x="341" y="266"/>
                  <a:pt x="341" y="266"/>
                  <a:pt x="341" y="266"/>
                </a:cubicBezTo>
                <a:cubicBezTo>
                  <a:pt x="347" y="266"/>
                  <a:pt x="352" y="271"/>
                  <a:pt x="352" y="277"/>
                </a:cubicBezTo>
                <a:cubicBezTo>
                  <a:pt x="352" y="283"/>
                  <a:pt x="347" y="288"/>
                  <a:pt x="341" y="288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77"/>
                </a:lnTo>
                <a:close/>
                <a:moveTo>
                  <a:pt x="160" y="170"/>
                </a:moveTo>
                <a:cubicBezTo>
                  <a:pt x="160" y="164"/>
                  <a:pt x="164" y="160"/>
                  <a:pt x="170" y="160"/>
                </a:cubicBezTo>
                <a:cubicBezTo>
                  <a:pt x="234" y="160"/>
                  <a:pt x="234" y="160"/>
                  <a:pt x="234" y="160"/>
                </a:cubicBezTo>
                <a:cubicBezTo>
                  <a:pt x="240" y="160"/>
                  <a:pt x="245" y="164"/>
                  <a:pt x="245" y="170"/>
                </a:cubicBezTo>
                <a:cubicBezTo>
                  <a:pt x="245" y="234"/>
                  <a:pt x="245" y="234"/>
                  <a:pt x="245" y="234"/>
                </a:cubicBezTo>
                <a:cubicBezTo>
                  <a:pt x="245" y="240"/>
                  <a:pt x="240" y="245"/>
                  <a:pt x="234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lnTo>
                  <a:pt x="160" y="170"/>
                </a:lnTo>
                <a:close/>
                <a:moveTo>
                  <a:pt x="160" y="277"/>
                </a:moveTo>
                <a:cubicBezTo>
                  <a:pt x="160" y="271"/>
                  <a:pt x="164" y="266"/>
                  <a:pt x="170" y="266"/>
                </a:cubicBezTo>
                <a:cubicBezTo>
                  <a:pt x="234" y="266"/>
                  <a:pt x="234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170" y="352"/>
                  <a:pt x="170" y="352"/>
                  <a:pt x="170" y="352"/>
                </a:cubicBezTo>
                <a:cubicBezTo>
                  <a:pt x="164" y="352"/>
                  <a:pt x="160" y="347"/>
                  <a:pt x="160" y="341"/>
                </a:cubicBezTo>
                <a:lnTo>
                  <a:pt x="160" y="27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7" name="Freeform 305"/>
          <p:cNvSpPr>
            <a:spLocks noChangeAspect="1" noEditPoints="1"/>
          </p:cNvSpPr>
          <p:nvPr/>
        </p:nvSpPr>
        <p:spPr bwMode="auto">
          <a:xfrm>
            <a:off x="9416515" y="3740724"/>
            <a:ext cx="367041" cy="368120"/>
          </a:xfrm>
          <a:custGeom>
            <a:avLst/>
            <a:gdLst>
              <a:gd name="T0" fmla="*/ 294 w 512"/>
              <a:gd name="T1" fmla="*/ 298 h 512"/>
              <a:gd name="T2" fmla="*/ 287 w 512"/>
              <a:gd name="T3" fmla="*/ 324 h 512"/>
              <a:gd name="T4" fmla="*/ 239 w 512"/>
              <a:gd name="T5" fmla="*/ 213 h 512"/>
              <a:gd name="T6" fmla="*/ 256 w 512"/>
              <a:gd name="T7" fmla="*/ 181 h 512"/>
              <a:gd name="T8" fmla="*/ 287 w 512"/>
              <a:gd name="T9" fmla="*/ 188 h 512"/>
              <a:gd name="T10" fmla="*/ 317 w 512"/>
              <a:gd name="T11" fmla="*/ 213 h 512"/>
              <a:gd name="T12" fmla="*/ 297 w 512"/>
              <a:gd name="T13" fmla="*/ 277 h 512"/>
              <a:gd name="T14" fmla="*/ 330 w 512"/>
              <a:gd name="T15" fmla="*/ 256 h 512"/>
              <a:gd name="T16" fmla="*/ 297 w 512"/>
              <a:gd name="T17" fmla="*/ 234 h 512"/>
              <a:gd name="T18" fmla="*/ 276 w 512"/>
              <a:gd name="T19" fmla="*/ 277 h 512"/>
              <a:gd name="T20" fmla="*/ 276 w 512"/>
              <a:gd name="T21" fmla="*/ 234 h 512"/>
              <a:gd name="T22" fmla="*/ 234 w 512"/>
              <a:gd name="T23" fmla="*/ 256 h 512"/>
              <a:gd name="T24" fmla="*/ 276 w 512"/>
              <a:gd name="T25" fmla="*/ 277 h 512"/>
              <a:gd name="T26" fmla="*/ 214 w 512"/>
              <a:gd name="T27" fmla="*/ 234 h 512"/>
              <a:gd name="T28" fmla="*/ 181 w 512"/>
              <a:gd name="T29" fmla="*/ 256 h 512"/>
              <a:gd name="T30" fmla="*/ 214 w 512"/>
              <a:gd name="T31" fmla="*/ 277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256 w 512"/>
              <a:gd name="T39" fmla="*/ 352 h 512"/>
              <a:gd name="T40" fmla="*/ 256 w 512"/>
              <a:gd name="T41" fmla="*/ 160 h 512"/>
              <a:gd name="T42" fmla="*/ 416 w 512"/>
              <a:gd name="T43" fmla="*/ 256 h 512"/>
              <a:gd name="T44" fmla="*/ 249 w 512"/>
              <a:gd name="T45" fmla="*/ 96 h 512"/>
              <a:gd name="T46" fmla="*/ 263 w 512"/>
              <a:gd name="T47" fmla="*/ 67 h 512"/>
              <a:gd name="T48" fmla="*/ 216 w 512"/>
              <a:gd name="T49" fmla="*/ 99 h 512"/>
              <a:gd name="T50" fmla="*/ 248 w 512"/>
              <a:gd name="T51" fmla="*/ 146 h 512"/>
              <a:gd name="T52" fmla="*/ 263 w 512"/>
              <a:gd name="T53" fmla="*/ 146 h 512"/>
              <a:gd name="T54" fmla="*/ 249 w 512"/>
              <a:gd name="T55" fmla="*/ 117 h 512"/>
              <a:gd name="T56" fmla="*/ 394 w 512"/>
              <a:gd name="T57" fmla="*/ 256 h 512"/>
              <a:gd name="T58" fmla="*/ 117 w 512"/>
              <a:gd name="T59" fmla="*/ 266 h 512"/>
              <a:gd name="T60" fmla="*/ 96 w 512"/>
              <a:gd name="T61" fmla="*/ 267 h 512"/>
              <a:gd name="T62" fmla="*/ 416 w 512"/>
              <a:gd name="T63" fmla="*/ 256 h 512"/>
              <a:gd name="T64" fmla="*/ 225 w 512"/>
              <a:gd name="T65" fmla="*/ 324 h 512"/>
              <a:gd name="T66" fmla="*/ 194 w 512"/>
              <a:gd name="T67" fmla="*/ 298 h 512"/>
              <a:gd name="T68" fmla="*/ 272 w 512"/>
              <a:gd name="T69" fmla="*/ 298 h 512"/>
              <a:gd name="T70" fmla="*/ 256 w 512"/>
              <a:gd name="T71" fmla="*/ 330 h 512"/>
              <a:gd name="T72" fmla="*/ 194 w 512"/>
              <a:gd name="T73" fmla="*/ 213 h 512"/>
              <a:gd name="T74" fmla="*/ 225 w 512"/>
              <a:gd name="T75" fmla="*/ 1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87" y="324"/>
                </a:moveTo>
                <a:cubicBezTo>
                  <a:pt x="290" y="316"/>
                  <a:pt x="292" y="308"/>
                  <a:pt x="294" y="298"/>
                </a:cubicBezTo>
                <a:cubicBezTo>
                  <a:pt x="317" y="298"/>
                  <a:pt x="317" y="298"/>
                  <a:pt x="317" y="298"/>
                </a:cubicBezTo>
                <a:cubicBezTo>
                  <a:pt x="309" y="309"/>
                  <a:pt x="299" y="318"/>
                  <a:pt x="287" y="324"/>
                </a:cubicBezTo>
                <a:close/>
                <a:moveTo>
                  <a:pt x="256" y="181"/>
                </a:moveTo>
                <a:cubicBezTo>
                  <a:pt x="252" y="181"/>
                  <a:pt x="244" y="192"/>
                  <a:pt x="239" y="213"/>
                </a:cubicBezTo>
                <a:cubicBezTo>
                  <a:pt x="272" y="213"/>
                  <a:pt x="272" y="213"/>
                  <a:pt x="272" y="213"/>
                </a:cubicBezTo>
                <a:cubicBezTo>
                  <a:pt x="267" y="192"/>
                  <a:pt x="260" y="181"/>
                  <a:pt x="256" y="181"/>
                </a:cubicBezTo>
                <a:close/>
                <a:moveTo>
                  <a:pt x="317" y="213"/>
                </a:moveTo>
                <a:cubicBezTo>
                  <a:pt x="309" y="202"/>
                  <a:pt x="299" y="193"/>
                  <a:pt x="287" y="188"/>
                </a:cubicBezTo>
                <a:cubicBezTo>
                  <a:pt x="290" y="195"/>
                  <a:pt x="292" y="204"/>
                  <a:pt x="294" y="213"/>
                </a:cubicBezTo>
                <a:lnTo>
                  <a:pt x="317" y="213"/>
                </a:lnTo>
                <a:close/>
                <a:moveTo>
                  <a:pt x="298" y="256"/>
                </a:moveTo>
                <a:cubicBezTo>
                  <a:pt x="298" y="263"/>
                  <a:pt x="298" y="270"/>
                  <a:pt x="297" y="277"/>
                </a:cubicBezTo>
                <a:cubicBezTo>
                  <a:pt x="327" y="277"/>
                  <a:pt x="327" y="277"/>
                  <a:pt x="327" y="277"/>
                </a:cubicBezTo>
                <a:cubicBezTo>
                  <a:pt x="329" y="270"/>
                  <a:pt x="330" y="263"/>
                  <a:pt x="330" y="256"/>
                </a:cubicBezTo>
                <a:cubicBezTo>
                  <a:pt x="330" y="248"/>
                  <a:pt x="329" y="241"/>
                  <a:pt x="327" y="234"/>
                </a:cubicBezTo>
                <a:cubicBezTo>
                  <a:pt x="297" y="234"/>
                  <a:pt x="297" y="234"/>
                  <a:pt x="297" y="234"/>
                </a:cubicBezTo>
                <a:cubicBezTo>
                  <a:pt x="298" y="241"/>
                  <a:pt x="298" y="249"/>
                  <a:pt x="298" y="256"/>
                </a:cubicBezTo>
                <a:close/>
                <a:moveTo>
                  <a:pt x="276" y="277"/>
                </a:moveTo>
                <a:cubicBezTo>
                  <a:pt x="277" y="270"/>
                  <a:pt x="277" y="263"/>
                  <a:pt x="277" y="256"/>
                </a:cubicBezTo>
                <a:cubicBezTo>
                  <a:pt x="277" y="248"/>
                  <a:pt x="277" y="241"/>
                  <a:pt x="276" y="234"/>
                </a:cubicBezTo>
                <a:cubicBezTo>
                  <a:pt x="235" y="234"/>
                  <a:pt x="235" y="234"/>
                  <a:pt x="235" y="234"/>
                </a:cubicBezTo>
                <a:cubicBezTo>
                  <a:pt x="235" y="241"/>
                  <a:pt x="234" y="248"/>
                  <a:pt x="234" y="256"/>
                </a:cubicBezTo>
                <a:cubicBezTo>
                  <a:pt x="234" y="263"/>
                  <a:pt x="235" y="270"/>
                  <a:pt x="235" y="277"/>
                </a:cubicBezTo>
                <a:lnTo>
                  <a:pt x="276" y="277"/>
                </a:lnTo>
                <a:close/>
                <a:moveTo>
                  <a:pt x="213" y="256"/>
                </a:moveTo>
                <a:cubicBezTo>
                  <a:pt x="213" y="249"/>
                  <a:pt x="213" y="241"/>
                  <a:pt x="214" y="234"/>
                </a:cubicBezTo>
                <a:cubicBezTo>
                  <a:pt x="184" y="234"/>
                  <a:pt x="184" y="234"/>
                  <a:pt x="184" y="234"/>
                </a:cubicBezTo>
                <a:cubicBezTo>
                  <a:pt x="182" y="241"/>
                  <a:pt x="181" y="248"/>
                  <a:pt x="181" y="256"/>
                </a:cubicBezTo>
                <a:cubicBezTo>
                  <a:pt x="181" y="263"/>
                  <a:pt x="182" y="270"/>
                  <a:pt x="184" y="277"/>
                </a:cubicBezTo>
                <a:cubicBezTo>
                  <a:pt x="214" y="277"/>
                  <a:pt x="214" y="277"/>
                  <a:pt x="214" y="277"/>
                </a:cubicBezTo>
                <a:cubicBezTo>
                  <a:pt x="213" y="270"/>
                  <a:pt x="213" y="263"/>
                  <a:pt x="213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256"/>
                </a:moveTo>
                <a:cubicBezTo>
                  <a:pt x="160" y="309"/>
                  <a:pt x="203" y="352"/>
                  <a:pt x="256" y="352"/>
                </a:cubicBezTo>
                <a:cubicBezTo>
                  <a:pt x="309" y="352"/>
                  <a:pt x="352" y="309"/>
                  <a:pt x="352" y="256"/>
                </a:cubicBezTo>
                <a:cubicBezTo>
                  <a:pt x="352" y="203"/>
                  <a:pt x="309" y="160"/>
                  <a:pt x="256" y="160"/>
                </a:cubicBezTo>
                <a:cubicBezTo>
                  <a:pt x="203" y="160"/>
                  <a:pt x="160" y="203"/>
                  <a:pt x="160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249" y="96"/>
                  <a:pt x="249" y="96"/>
                  <a:pt x="249" y="96"/>
                </a:cubicBezTo>
                <a:cubicBezTo>
                  <a:pt x="263" y="82"/>
                  <a:pt x="263" y="82"/>
                  <a:pt x="263" y="82"/>
                </a:cubicBezTo>
                <a:cubicBezTo>
                  <a:pt x="267" y="78"/>
                  <a:pt x="267" y="71"/>
                  <a:pt x="263" y="67"/>
                </a:cubicBezTo>
                <a:cubicBezTo>
                  <a:pt x="259" y="63"/>
                  <a:pt x="252" y="63"/>
                  <a:pt x="248" y="67"/>
                </a:cubicBezTo>
                <a:cubicBezTo>
                  <a:pt x="216" y="99"/>
                  <a:pt x="216" y="99"/>
                  <a:pt x="216" y="99"/>
                </a:cubicBezTo>
                <a:cubicBezTo>
                  <a:pt x="212" y="103"/>
                  <a:pt x="212" y="110"/>
                  <a:pt x="216" y="114"/>
                </a:cubicBezTo>
                <a:cubicBezTo>
                  <a:pt x="248" y="146"/>
                  <a:pt x="248" y="146"/>
                  <a:pt x="248" y="146"/>
                </a:cubicBezTo>
                <a:cubicBezTo>
                  <a:pt x="250" y="148"/>
                  <a:pt x="253" y="149"/>
                  <a:pt x="256" y="149"/>
                </a:cubicBezTo>
                <a:cubicBezTo>
                  <a:pt x="258" y="149"/>
                  <a:pt x="261" y="148"/>
                  <a:pt x="263" y="146"/>
                </a:cubicBezTo>
                <a:cubicBezTo>
                  <a:pt x="267" y="142"/>
                  <a:pt x="267" y="135"/>
                  <a:pt x="263" y="131"/>
                </a:cubicBezTo>
                <a:cubicBezTo>
                  <a:pt x="249" y="117"/>
                  <a:pt x="249" y="117"/>
                  <a:pt x="249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332"/>
                  <a:pt x="332" y="394"/>
                  <a:pt x="256" y="394"/>
                </a:cubicBezTo>
                <a:cubicBezTo>
                  <a:pt x="183" y="394"/>
                  <a:pt x="122" y="338"/>
                  <a:pt x="117" y="266"/>
                </a:cubicBezTo>
                <a:cubicBezTo>
                  <a:pt x="117" y="260"/>
                  <a:pt x="112" y="255"/>
                  <a:pt x="106" y="256"/>
                </a:cubicBezTo>
                <a:cubicBezTo>
                  <a:pt x="100" y="256"/>
                  <a:pt x="96" y="261"/>
                  <a:pt x="96" y="267"/>
                </a:cubicBezTo>
                <a:cubicBezTo>
                  <a:pt x="102" y="350"/>
                  <a:pt x="172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194" y="298"/>
                </a:moveTo>
                <a:cubicBezTo>
                  <a:pt x="202" y="309"/>
                  <a:pt x="213" y="318"/>
                  <a:pt x="225" y="324"/>
                </a:cubicBezTo>
                <a:cubicBezTo>
                  <a:pt x="222" y="316"/>
                  <a:pt x="219" y="308"/>
                  <a:pt x="217" y="298"/>
                </a:cubicBezTo>
                <a:lnTo>
                  <a:pt x="194" y="298"/>
                </a:lnTo>
                <a:close/>
                <a:moveTo>
                  <a:pt x="256" y="330"/>
                </a:moveTo>
                <a:cubicBezTo>
                  <a:pt x="260" y="330"/>
                  <a:pt x="267" y="319"/>
                  <a:pt x="272" y="298"/>
                </a:cubicBezTo>
                <a:cubicBezTo>
                  <a:pt x="239" y="298"/>
                  <a:pt x="239" y="298"/>
                  <a:pt x="239" y="298"/>
                </a:cubicBezTo>
                <a:cubicBezTo>
                  <a:pt x="244" y="319"/>
                  <a:pt x="252" y="330"/>
                  <a:pt x="256" y="330"/>
                </a:cubicBezTo>
                <a:close/>
                <a:moveTo>
                  <a:pt x="225" y="188"/>
                </a:moveTo>
                <a:cubicBezTo>
                  <a:pt x="213" y="193"/>
                  <a:pt x="202" y="202"/>
                  <a:pt x="194" y="213"/>
                </a:cubicBezTo>
                <a:cubicBezTo>
                  <a:pt x="217" y="213"/>
                  <a:pt x="217" y="213"/>
                  <a:pt x="217" y="213"/>
                </a:cubicBezTo>
                <a:cubicBezTo>
                  <a:pt x="219" y="204"/>
                  <a:pt x="222" y="195"/>
                  <a:pt x="225" y="1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8" name="Group 308"/>
          <p:cNvGrpSpPr>
            <a:grpSpLocks noChangeAspect="1"/>
          </p:cNvGrpSpPr>
          <p:nvPr/>
        </p:nvGrpSpPr>
        <p:grpSpPr bwMode="auto">
          <a:xfrm>
            <a:off x="9912019" y="3740724"/>
            <a:ext cx="367041" cy="368120"/>
            <a:chOff x="2955" y="1719"/>
            <a:chExt cx="340" cy="341"/>
          </a:xfrm>
          <a:solidFill>
            <a:schemeClr val="accent4"/>
          </a:solidFill>
        </p:grpSpPr>
        <p:sp>
          <p:nvSpPr>
            <p:cNvPr id="379" name="Freeform 309"/>
            <p:cNvSpPr>
              <a:spLocks noEditPoints="1"/>
            </p:cNvSpPr>
            <p:nvPr/>
          </p:nvSpPr>
          <p:spPr bwMode="auto">
            <a:xfrm>
              <a:off x="2955" y="171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Freeform 310"/>
            <p:cNvSpPr>
              <a:spLocks noEditPoints="1"/>
            </p:cNvSpPr>
            <p:nvPr/>
          </p:nvSpPr>
          <p:spPr bwMode="auto">
            <a:xfrm>
              <a:off x="3019" y="1761"/>
              <a:ext cx="212" cy="235"/>
            </a:xfrm>
            <a:custGeom>
              <a:avLst/>
              <a:gdLst>
                <a:gd name="T0" fmla="*/ 256 w 320"/>
                <a:gd name="T1" fmla="*/ 193 h 353"/>
                <a:gd name="T2" fmla="*/ 64 w 320"/>
                <a:gd name="T3" fmla="*/ 193 h 353"/>
                <a:gd name="T4" fmla="*/ 160 w 320"/>
                <a:gd name="T5" fmla="*/ 118 h 353"/>
                <a:gd name="T6" fmla="*/ 143 w 320"/>
                <a:gd name="T7" fmla="*/ 150 h 353"/>
                <a:gd name="T8" fmla="*/ 180 w 320"/>
                <a:gd name="T9" fmla="*/ 171 h 353"/>
                <a:gd name="T10" fmla="*/ 180 w 320"/>
                <a:gd name="T11" fmla="*/ 214 h 353"/>
                <a:gd name="T12" fmla="*/ 138 w 320"/>
                <a:gd name="T13" fmla="*/ 193 h 353"/>
                <a:gd name="T14" fmla="*/ 180 w 320"/>
                <a:gd name="T15" fmla="*/ 171 h 353"/>
                <a:gd name="T16" fmla="*/ 231 w 320"/>
                <a:gd name="T17" fmla="*/ 214 h 353"/>
                <a:gd name="T18" fmla="*/ 202 w 320"/>
                <a:gd name="T19" fmla="*/ 193 h 353"/>
                <a:gd name="T20" fmla="*/ 231 w 320"/>
                <a:gd name="T21" fmla="*/ 171 h 353"/>
                <a:gd name="T22" fmla="*/ 160 w 320"/>
                <a:gd name="T23" fmla="*/ 267 h 353"/>
                <a:gd name="T24" fmla="*/ 176 w 320"/>
                <a:gd name="T25" fmla="*/ 235 h 353"/>
                <a:gd name="T26" fmla="*/ 118 w 320"/>
                <a:gd name="T27" fmla="*/ 214 h 353"/>
                <a:gd name="T28" fmla="*/ 85 w 320"/>
                <a:gd name="T29" fmla="*/ 193 h 353"/>
                <a:gd name="T30" fmla="*/ 118 w 320"/>
                <a:gd name="T31" fmla="*/ 171 h 353"/>
                <a:gd name="T32" fmla="*/ 118 w 320"/>
                <a:gd name="T33" fmla="*/ 214 h 353"/>
                <a:gd name="T34" fmla="*/ 121 w 320"/>
                <a:gd name="T35" fmla="*/ 235 h 353"/>
                <a:gd name="T36" fmla="*/ 98 w 320"/>
                <a:gd name="T37" fmla="*/ 235 h 353"/>
                <a:gd name="T38" fmla="*/ 198 w 320"/>
                <a:gd name="T39" fmla="*/ 235 h 353"/>
                <a:gd name="T40" fmla="*/ 191 w 320"/>
                <a:gd name="T41" fmla="*/ 261 h 353"/>
                <a:gd name="T42" fmla="*/ 198 w 320"/>
                <a:gd name="T43" fmla="*/ 150 h 353"/>
                <a:gd name="T44" fmla="*/ 221 w 320"/>
                <a:gd name="T45" fmla="*/ 150 h 353"/>
                <a:gd name="T46" fmla="*/ 121 w 320"/>
                <a:gd name="T47" fmla="*/ 150 h 353"/>
                <a:gd name="T48" fmla="*/ 129 w 320"/>
                <a:gd name="T49" fmla="*/ 125 h 353"/>
                <a:gd name="T50" fmla="*/ 160 w 320"/>
                <a:gd name="T51" fmla="*/ 353 h 353"/>
                <a:gd name="T52" fmla="*/ 10 w 320"/>
                <a:gd name="T53" fmla="*/ 193 h 353"/>
                <a:gd name="T54" fmla="*/ 160 w 320"/>
                <a:gd name="T55" fmla="*/ 331 h 353"/>
                <a:gd name="T56" fmla="*/ 160 w 320"/>
                <a:gd name="T57" fmla="*/ 54 h 353"/>
                <a:gd name="T58" fmla="*/ 167 w 320"/>
                <a:gd name="T59" fmla="*/ 68 h 353"/>
                <a:gd name="T60" fmla="*/ 160 w 320"/>
                <a:gd name="T61" fmla="*/ 86 h 353"/>
                <a:gd name="T62" fmla="*/ 120 w 320"/>
                <a:gd name="T63" fmla="*/ 51 h 353"/>
                <a:gd name="T64" fmla="*/ 152 w 320"/>
                <a:gd name="T65" fmla="*/ 4 h 353"/>
                <a:gd name="T66" fmla="*/ 167 w 320"/>
                <a:gd name="T67" fmla="*/ 19 h 353"/>
                <a:gd name="T68" fmla="*/ 160 w 320"/>
                <a:gd name="T69" fmla="*/ 3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353">
                  <a:moveTo>
                    <a:pt x="160" y="289"/>
                  </a:moveTo>
                  <a:cubicBezTo>
                    <a:pt x="213" y="289"/>
                    <a:pt x="256" y="246"/>
                    <a:pt x="256" y="193"/>
                  </a:cubicBezTo>
                  <a:cubicBezTo>
                    <a:pt x="256" y="140"/>
                    <a:pt x="213" y="97"/>
                    <a:pt x="160" y="97"/>
                  </a:cubicBezTo>
                  <a:cubicBezTo>
                    <a:pt x="107" y="97"/>
                    <a:pt x="64" y="140"/>
                    <a:pt x="64" y="193"/>
                  </a:cubicBezTo>
                  <a:cubicBezTo>
                    <a:pt x="64" y="246"/>
                    <a:pt x="107" y="289"/>
                    <a:pt x="160" y="289"/>
                  </a:cubicBezTo>
                  <a:close/>
                  <a:moveTo>
                    <a:pt x="160" y="118"/>
                  </a:moveTo>
                  <a:cubicBezTo>
                    <a:pt x="164" y="118"/>
                    <a:pt x="171" y="129"/>
                    <a:pt x="176" y="150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48" y="129"/>
                    <a:pt x="156" y="118"/>
                    <a:pt x="160" y="118"/>
                  </a:cubicBezTo>
                  <a:close/>
                  <a:moveTo>
                    <a:pt x="180" y="171"/>
                  </a:moveTo>
                  <a:cubicBezTo>
                    <a:pt x="181" y="178"/>
                    <a:pt x="181" y="185"/>
                    <a:pt x="181" y="193"/>
                  </a:cubicBezTo>
                  <a:cubicBezTo>
                    <a:pt x="181" y="200"/>
                    <a:pt x="181" y="207"/>
                    <a:pt x="180" y="214"/>
                  </a:cubicBezTo>
                  <a:cubicBezTo>
                    <a:pt x="139" y="214"/>
                    <a:pt x="139" y="214"/>
                    <a:pt x="139" y="214"/>
                  </a:cubicBezTo>
                  <a:cubicBezTo>
                    <a:pt x="139" y="207"/>
                    <a:pt x="138" y="200"/>
                    <a:pt x="138" y="193"/>
                  </a:cubicBezTo>
                  <a:cubicBezTo>
                    <a:pt x="138" y="185"/>
                    <a:pt x="139" y="178"/>
                    <a:pt x="139" y="171"/>
                  </a:cubicBezTo>
                  <a:lnTo>
                    <a:pt x="180" y="171"/>
                  </a:lnTo>
                  <a:close/>
                  <a:moveTo>
                    <a:pt x="234" y="193"/>
                  </a:moveTo>
                  <a:cubicBezTo>
                    <a:pt x="234" y="200"/>
                    <a:pt x="233" y="207"/>
                    <a:pt x="231" y="214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02" y="207"/>
                    <a:pt x="202" y="200"/>
                    <a:pt x="202" y="193"/>
                  </a:cubicBezTo>
                  <a:cubicBezTo>
                    <a:pt x="202" y="186"/>
                    <a:pt x="202" y="178"/>
                    <a:pt x="201" y="171"/>
                  </a:cubicBezTo>
                  <a:cubicBezTo>
                    <a:pt x="231" y="171"/>
                    <a:pt x="231" y="171"/>
                    <a:pt x="231" y="171"/>
                  </a:cubicBezTo>
                  <a:cubicBezTo>
                    <a:pt x="233" y="178"/>
                    <a:pt x="234" y="185"/>
                    <a:pt x="234" y="193"/>
                  </a:cubicBezTo>
                  <a:close/>
                  <a:moveTo>
                    <a:pt x="160" y="267"/>
                  </a:moveTo>
                  <a:cubicBezTo>
                    <a:pt x="156" y="267"/>
                    <a:pt x="148" y="256"/>
                    <a:pt x="143" y="235"/>
                  </a:cubicBezTo>
                  <a:cubicBezTo>
                    <a:pt x="176" y="235"/>
                    <a:pt x="176" y="235"/>
                    <a:pt x="176" y="235"/>
                  </a:cubicBezTo>
                  <a:cubicBezTo>
                    <a:pt x="171" y="256"/>
                    <a:pt x="164" y="267"/>
                    <a:pt x="160" y="267"/>
                  </a:cubicBezTo>
                  <a:close/>
                  <a:moveTo>
                    <a:pt x="118" y="214"/>
                  </a:moveTo>
                  <a:cubicBezTo>
                    <a:pt x="88" y="214"/>
                    <a:pt x="88" y="214"/>
                    <a:pt x="88" y="214"/>
                  </a:cubicBezTo>
                  <a:cubicBezTo>
                    <a:pt x="86" y="207"/>
                    <a:pt x="85" y="200"/>
                    <a:pt x="85" y="193"/>
                  </a:cubicBezTo>
                  <a:cubicBezTo>
                    <a:pt x="85" y="185"/>
                    <a:pt x="86" y="178"/>
                    <a:pt x="88" y="171"/>
                  </a:cubicBezTo>
                  <a:cubicBezTo>
                    <a:pt x="118" y="171"/>
                    <a:pt x="118" y="171"/>
                    <a:pt x="118" y="171"/>
                  </a:cubicBezTo>
                  <a:cubicBezTo>
                    <a:pt x="117" y="178"/>
                    <a:pt x="117" y="186"/>
                    <a:pt x="117" y="193"/>
                  </a:cubicBezTo>
                  <a:cubicBezTo>
                    <a:pt x="117" y="200"/>
                    <a:pt x="117" y="207"/>
                    <a:pt x="118" y="214"/>
                  </a:cubicBezTo>
                  <a:close/>
                  <a:moveTo>
                    <a:pt x="98" y="235"/>
                  </a:moveTo>
                  <a:cubicBezTo>
                    <a:pt x="121" y="235"/>
                    <a:pt x="121" y="235"/>
                    <a:pt x="121" y="235"/>
                  </a:cubicBezTo>
                  <a:cubicBezTo>
                    <a:pt x="123" y="245"/>
                    <a:pt x="126" y="253"/>
                    <a:pt x="129" y="261"/>
                  </a:cubicBezTo>
                  <a:cubicBezTo>
                    <a:pt x="117" y="255"/>
                    <a:pt x="106" y="246"/>
                    <a:pt x="98" y="235"/>
                  </a:cubicBezTo>
                  <a:close/>
                  <a:moveTo>
                    <a:pt x="191" y="261"/>
                  </a:moveTo>
                  <a:cubicBezTo>
                    <a:pt x="194" y="253"/>
                    <a:pt x="196" y="245"/>
                    <a:pt x="198" y="235"/>
                  </a:cubicBezTo>
                  <a:cubicBezTo>
                    <a:pt x="221" y="235"/>
                    <a:pt x="221" y="235"/>
                    <a:pt x="221" y="235"/>
                  </a:cubicBezTo>
                  <a:cubicBezTo>
                    <a:pt x="213" y="246"/>
                    <a:pt x="203" y="255"/>
                    <a:pt x="191" y="261"/>
                  </a:cubicBezTo>
                  <a:close/>
                  <a:moveTo>
                    <a:pt x="221" y="150"/>
                  </a:moveTo>
                  <a:cubicBezTo>
                    <a:pt x="198" y="150"/>
                    <a:pt x="198" y="150"/>
                    <a:pt x="198" y="150"/>
                  </a:cubicBezTo>
                  <a:cubicBezTo>
                    <a:pt x="196" y="141"/>
                    <a:pt x="194" y="132"/>
                    <a:pt x="191" y="125"/>
                  </a:cubicBezTo>
                  <a:cubicBezTo>
                    <a:pt x="203" y="130"/>
                    <a:pt x="213" y="139"/>
                    <a:pt x="221" y="150"/>
                  </a:cubicBezTo>
                  <a:close/>
                  <a:moveTo>
                    <a:pt x="129" y="125"/>
                  </a:moveTo>
                  <a:cubicBezTo>
                    <a:pt x="126" y="132"/>
                    <a:pt x="123" y="141"/>
                    <a:pt x="121" y="150"/>
                  </a:cubicBezTo>
                  <a:cubicBezTo>
                    <a:pt x="98" y="150"/>
                    <a:pt x="98" y="150"/>
                    <a:pt x="98" y="150"/>
                  </a:cubicBezTo>
                  <a:cubicBezTo>
                    <a:pt x="106" y="139"/>
                    <a:pt x="117" y="130"/>
                    <a:pt x="129" y="125"/>
                  </a:cubicBezTo>
                  <a:close/>
                  <a:moveTo>
                    <a:pt x="320" y="193"/>
                  </a:moveTo>
                  <a:cubicBezTo>
                    <a:pt x="320" y="281"/>
                    <a:pt x="248" y="353"/>
                    <a:pt x="160" y="353"/>
                  </a:cubicBezTo>
                  <a:cubicBezTo>
                    <a:pt x="76" y="353"/>
                    <a:pt x="6" y="287"/>
                    <a:pt x="0" y="204"/>
                  </a:cubicBezTo>
                  <a:cubicBezTo>
                    <a:pt x="0" y="198"/>
                    <a:pt x="4" y="193"/>
                    <a:pt x="10" y="193"/>
                  </a:cubicBezTo>
                  <a:cubicBezTo>
                    <a:pt x="16" y="192"/>
                    <a:pt x="21" y="197"/>
                    <a:pt x="21" y="203"/>
                  </a:cubicBezTo>
                  <a:cubicBezTo>
                    <a:pt x="26" y="275"/>
                    <a:pt x="87" y="331"/>
                    <a:pt x="160" y="331"/>
                  </a:cubicBezTo>
                  <a:cubicBezTo>
                    <a:pt x="236" y="331"/>
                    <a:pt x="298" y="269"/>
                    <a:pt x="298" y="193"/>
                  </a:cubicBezTo>
                  <a:cubicBezTo>
                    <a:pt x="298" y="116"/>
                    <a:pt x="236" y="54"/>
                    <a:pt x="160" y="54"/>
                  </a:cubicBezTo>
                  <a:cubicBezTo>
                    <a:pt x="153" y="54"/>
                    <a:pt x="153" y="54"/>
                    <a:pt x="153" y="54"/>
                  </a:cubicBezTo>
                  <a:cubicBezTo>
                    <a:pt x="167" y="68"/>
                    <a:pt x="167" y="68"/>
                    <a:pt x="167" y="68"/>
                  </a:cubicBezTo>
                  <a:cubicBezTo>
                    <a:pt x="171" y="72"/>
                    <a:pt x="171" y="79"/>
                    <a:pt x="167" y="83"/>
                  </a:cubicBezTo>
                  <a:cubicBezTo>
                    <a:pt x="165" y="85"/>
                    <a:pt x="162" y="86"/>
                    <a:pt x="160" y="86"/>
                  </a:cubicBezTo>
                  <a:cubicBezTo>
                    <a:pt x="157" y="86"/>
                    <a:pt x="154" y="85"/>
                    <a:pt x="152" y="83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6" y="47"/>
                    <a:pt x="116" y="40"/>
                    <a:pt x="120" y="36"/>
                  </a:cubicBezTo>
                  <a:cubicBezTo>
                    <a:pt x="152" y="4"/>
                    <a:pt x="152" y="4"/>
                    <a:pt x="152" y="4"/>
                  </a:cubicBezTo>
                  <a:cubicBezTo>
                    <a:pt x="156" y="0"/>
                    <a:pt x="163" y="0"/>
                    <a:pt x="167" y="4"/>
                  </a:cubicBezTo>
                  <a:cubicBezTo>
                    <a:pt x="171" y="8"/>
                    <a:pt x="171" y="15"/>
                    <a:pt x="167" y="19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248" y="33"/>
                    <a:pt x="320" y="104"/>
                    <a:pt x="320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1" name="Freeform 967"/>
          <p:cNvSpPr>
            <a:spLocks noChangeAspect="1" noEditPoints="1"/>
          </p:cNvSpPr>
          <p:nvPr/>
        </p:nvSpPr>
        <p:spPr bwMode="auto">
          <a:xfrm>
            <a:off x="454509" y="4544412"/>
            <a:ext cx="368713" cy="367631"/>
          </a:xfrm>
          <a:custGeom>
            <a:avLst/>
            <a:gdLst>
              <a:gd name="T0" fmla="*/ 341 w 512"/>
              <a:gd name="T1" fmla="*/ 170 h 512"/>
              <a:gd name="T2" fmla="*/ 144 w 512"/>
              <a:gd name="T3" fmla="*/ 181 h 512"/>
              <a:gd name="T4" fmla="*/ 133 w 512"/>
              <a:gd name="T5" fmla="*/ 353 h 512"/>
              <a:gd name="T6" fmla="*/ 190 w 512"/>
              <a:gd name="T7" fmla="*/ 307 h 512"/>
              <a:gd name="T8" fmla="*/ 311 w 512"/>
              <a:gd name="T9" fmla="*/ 298 h 512"/>
              <a:gd name="T10" fmla="*/ 351 w 512"/>
              <a:gd name="T11" fmla="*/ 351 h 512"/>
              <a:gd name="T12" fmla="*/ 389 w 512"/>
              <a:gd name="T13" fmla="*/ 254 h 512"/>
              <a:gd name="T14" fmla="*/ 202 w 512"/>
              <a:gd name="T15" fmla="*/ 245 h 512"/>
              <a:gd name="T16" fmla="*/ 192 w 512"/>
              <a:gd name="T17" fmla="*/ 256 h 512"/>
              <a:gd name="T18" fmla="*/ 170 w 512"/>
              <a:gd name="T19" fmla="*/ 256 h 512"/>
              <a:gd name="T20" fmla="*/ 160 w 512"/>
              <a:gd name="T21" fmla="*/ 245 h 512"/>
              <a:gd name="T22" fmla="*/ 160 w 512"/>
              <a:gd name="T23" fmla="*/ 224 h 512"/>
              <a:gd name="T24" fmla="*/ 170 w 512"/>
              <a:gd name="T25" fmla="*/ 213 h 512"/>
              <a:gd name="T26" fmla="*/ 192 w 512"/>
              <a:gd name="T27" fmla="*/ 213 h 512"/>
              <a:gd name="T28" fmla="*/ 202 w 512"/>
              <a:gd name="T29" fmla="*/ 224 h 512"/>
              <a:gd name="T30" fmla="*/ 202 w 512"/>
              <a:gd name="T31" fmla="*/ 245 h 512"/>
              <a:gd name="T32" fmla="*/ 277 w 512"/>
              <a:gd name="T33" fmla="*/ 234 h 512"/>
              <a:gd name="T34" fmla="*/ 298 w 512"/>
              <a:gd name="T35" fmla="*/ 234 h 512"/>
              <a:gd name="T36" fmla="*/ 320 w 512"/>
              <a:gd name="T37" fmla="*/ 277 h 512"/>
              <a:gd name="T38" fmla="*/ 320 w 512"/>
              <a:gd name="T39" fmla="*/ 256 h 512"/>
              <a:gd name="T40" fmla="*/ 320 w 512"/>
              <a:gd name="T41" fmla="*/ 277 h 512"/>
              <a:gd name="T42" fmla="*/ 309 w 512"/>
              <a:gd name="T43" fmla="*/ 202 h 512"/>
              <a:gd name="T44" fmla="*/ 330 w 512"/>
              <a:gd name="T45" fmla="*/ 202 h 512"/>
              <a:gd name="T46" fmla="*/ 352 w 512"/>
              <a:gd name="T47" fmla="*/ 245 h 512"/>
              <a:gd name="T48" fmla="*/ 352 w 512"/>
              <a:gd name="T49" fmla="*/ 224 h 512"/>
              <a:gd name="T50" fmla="*/ 352 w 512"/>
              <a:gd name="T51" fmla="*/ 245 h 512"/>
              <a:gd name="T52" fmla="*/ 0 w 512"/>
              <a:gd name="T53" fmla="*/ 256 h 512"/>
              <a:gd name="T54" fmla="*/ 512 w 512"/>
              <a:gd name="T55" fmla="*/ 256 h 512"/>
              <a:gd name="T56" fmla="*/ 388 w 512"/>
              <a:gd name="T57" fmla="*/ 372 h 512"/>
              <a:gd name="T58" fmla="*/ 341 w 512"/>
              <a:gd name="T59" fmla="*/ 370 h 512"/>
              <a:gd name="T60" fmla="*/ 209 w 512"/>
              <a:gd name="T61" fmla="*/ 320 h 512"/>
              <a:gd name="T62" fmla="*/ 123 w 512"/>
              <a:gd name="T63" fmla="*/ 372 h 512"/>
              <a:gd name="T64" fmla="*/ 129 w 512"/>
              <a:gd name="T65" fmla="*/ 166 h 512"/>
              <a:gd name="T66" fmla="*/ 341 w 512"/>
              <a:gd name="T67" fmla="*/ 149 h 512"/>
              <a:gd name="T68" fmla="*/ 410 w 512"/>
              <a:gd name="T69" fmla="*/ 25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67" y="181"/>
                </a:moveTo>
                <a:cubicBezTo>
                  <a:pt x="360" y="174"/>
                  <a:pt x="352" y="170"/>
                  <a:pt x="341" y="170"/>
                </a:cubicBezTo>
                <a:cubicBezTo>
                  <a:pt x="170" y="170"/>
                  <a:pt x="170" y="170"/>
                  <a:pt x="170" y="170"/>
                </a:cubicBezTo>
                <a:cubicBezTo>
                  <a:pt x="160" y="170"/>
                  <a:pt x="151" y="174"/>
                  <a:pt x="144" y="181"/>
                </a:cubicBezTo>
                <a:cubicBezTo>
                  <a:pt x="122" y="204"/>
                  <a:pt x="122" y="253"/>
                  <a:pt x="122" y="253"/>
                </a:cubicBezTo>
                <a:cubicBezTo>
                  <a:pt x="121" y="301"/>
                  <a:pt x="126" y="347"/>
                  <a:pt x="133" y="353"/>
                </a:cubicBezTo>
                <a:cubicBezTo>
                  <a:pt x="140" y="357"/>
                  <a:pt x="151" y="356"/>
                  <a:pt x="161" y="351"/>
                </a:cubicBezTo>
                <a:cubicBezTo>
                  <a:pt x="169" y="347"/>
                  <a:pt x="185" y="335"/>
                  <a:pt x="190" y="307"/>
                </a:cubicBezTo>
                <a:cubicBezTo>
                  <a:pt x="191" y="302"/>
                  <a:pt x="195" y="298"/>
                  <a:pt x="200" y="298"/>
                </a:cubicBezTo>
                <a:cubicBezTo>
                  <a:pt x="311" y="298"/>
                  <a:pt x="311" y="298"/>
                  <a:pt x="311" y="298"/>
                </a:cubicBezTo>
                <a:cubicBezTo>
                  <a:pt x="316" y="298"/>
                  <a:pt x="321" y="302"/>
                  <a:pt x="322" y="307"/>
                </a:cubicBezTo>
                <a:cubicBezTo>
                  <a:pt x="327" y="335"/>
                  <a:pt x="342" y="347"/>
                  <a:pt x="351" y="351"/>
                </a:cubicBezTo>
                <a:cubicBezTo>
                  <a:pt x="360" y="356"/>
                  <a:pt x="371" y="357"/>
                  <a:pt x="379" y="353"/>
                </a:cubicBezTo>
                <a:cubicBezTo>
                  <a:pt x="386" y="347"/>
                  <a:pt x="391" y="301"/>
                  <a:pt x="389" y="254"/>
                </a:cubicBezTo>
                <a:cubicBezTo>
                  <a:pt x="389" y="253"/>
                  <a:pt x="390" y="204"/>
                  <a:pt x="367" y="181"/>
                </a:cubicBezTo>
                <a:close/>
                <a:moveTo>
                  <a:pt x="202" y="245"/>
                </a:moveTo>
                <a:cubicBezTo>
                  <a:pt x="192" y="245"/>
                  <a:pt x="192" y="245"/>
                  <a:pt x="192" y="245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62"/>
                  <a:pt x="187" y="266"/>
                  <a:pt x="181" y="266"/>
                </a:cubicBezTo>
                <a:cubicBezTo>
                  <a:pt x="175" y="266"/>
                  <a:pt x="170" y="262"/>
                  <a:pt x="170" y="256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54" y="245"/>
                  <a:pt x="149" y="240"/>
                  <a:pt x="149" y="234"/>
                </a:cubicBezTo>
                <a:cubicBezTo>
                  <a:pt x="149" y="228"/>
                  <a:pt x="154" y="224"/>
                  <a:pt x="160" y="224"/>
                </a:cubicBezTo>
                <a:cubicBezTo>
                  <a:pt x="170" y="224"/>
                  <a:pt x="170" y="224"/>
                  <a:pt x="170" y="224"/>
                </a:cubicBezTo>
                <a:cubicBezTo>
                  <a:pt x="170" y="213"/>
                  <a:pt x="170" y="213"/>
                  <a:pt x="170" y="213"/>
                </a:cubicBezTo>
                <a:cubicBezTo>
                  <a:pt x="170" y="207"/>
                  <a:pt x="175" y="202"/>
                  <a:pt x="181" y="202"/>
                </a:cubicBezTo>
                <a:cubicBezTo>
                  <a:pt x="187" y="202"/>
                  <a:pt x="192" y="207"/>
                  <a:pt x="192" y="213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202" y="224"/>
                  <a:pt x="202" y="224"/>
                  <a:pt x="202" y="224"/>
                </a:cubicBezTo>
                <a:cubicBezTo>
                  <a:pt x="208" y="224"/>
                  <a:pt x="213" y="228"/>
                  <a:pt x="213" y="234"/>
                </a:cubicBezTo>
                <a:cubicBezTo>
                  <a:pt x="213" y="240"/>
                  <a:pt x="208" y="245"/>
                  <a:pt x="202" y="245"/>
                </a:cubicBezTo>
                <a:close/>
                <a:moveTo>
                  <a:pt x="288" y="245"/>
                </a:moveTo>
                <a:cubicBezTo>
                  <a:pt x="282" y="245"/>
                  <a:pt x="277" y="240"/>
                  <a:pt x="277" y="234"/>
                </a:cubicBezTo>
                <a:cubicBezTo>
                  <a:pt x="277" y="228"/>
                  <a:pt x="282" y="224"/>
                  <a:pt x="288" y="224"/>
                </a:cubicBezTo>
                <a:cubicBezTo>
                  <a:pt x="294" y="224"/>
                  <a:pt x="298" y="228"/>
                  <a:pt x="298" y="234"/>
                </a:cubicBezTo>
                <a:cubicBezTo>
                  <a:pt x="298" y="240"/>
                  <a:pt x="294" y="245"/>
                  <a:pt x="288" y="245"/>
                </a:cubicBezTo>
                <a:close/>
                <a:moveTo>
                  <a:pt x="320" y="277"/>
                </a:moveTo>
                <a:cubicBezTo>
                  <a:pt x="314" y="277"/>
                  <a:pt x="309" y="272"/>
                  <a:pt x="309" y="266"/>
                </a:cubicBezTo>
                <a:cubicBezTo>
                  <a:pt x="309" y="260"/>
                  <a:pt x="314" y="256"/>
                  <a:pt x="320" y="256"/>
                </a:cubicBezTo>
                <a:cubicBezTo>
                  <a:pt x="326" y="256"/>
                  <a:pt x="330" y="260"/>
                  <a:pt x="330" y="266"/>
                </a:cubicBezTo>
                <a:cubicBezTo>
                  <a:pt x="330" y="272"/>
                  <a:pt x="326" y="277"/>
                  <a:pt x="320" y="277"/>
                </a:cubicBezTo>
                <a:close/>
                <a:moveTo>
                  <a:pt x="320" y="213"/>
                </a:moveTo>
                <a:cubicBezTo>
                  <a:pt x="314" y="213"/>
                  <a:pt x="309" y="208"/>
                  <a:pt x="309" y="202"/>
                </a:cubicBezTo>
                <a:cubicBezTo>
                  <a:pt x="309" y="196"/>
                  <a:pt x="314" y="192"/>
                  <a:pt x="320" y="192"/>
                </a:cubicBezTo>
                <a:cubicBezTo>
                  <a:pt x="326" y="192"/>
                  <a:pt x="330" y="196"/>
                  <a:pt x="330" y="202"/>
                </a:cubicBezTo>
                <a:cubicBezTo>
                  <a:pt x="330" y="208"/>
                  <a:pt x="326" y="213"/>
                  <a:pt x="320" y="213"/>
                </a:cubicBezTo>
                <a:close/>
                <a:moveTo>
                  <a:pt x="352" y="245"/>
                </a:moveTo>
                <a:cubicBezTo>
                  <a:pt x="346" y="245"/>
                  <a:pt x="341" y="240"/>
                  <a:pt x="341" y="234"/>
                </a:cubicBezTo>
                <a:cubicBezTo>
                  <a:pt x="341" y="228"/>
                  <a:pt x="346" y="224"/>
                  <a:pt x="352" y="224"/>
                </a:cubicBezTo>
                <a:cubicBezTo>
                  <a:pt x="358" y="224"/>
                  <a:pt x="362" y="228"/>
                  <a:pt x="362" y="234"/>
                </a:cubicBezTo>
                <a:cubicBezTo>
                  <a:pt x="362" y="240"/>
                  <a:pt x="358" y="245"/>
                  <a:pt x="352" y="245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8" y="372"/>
                </a:moveTo>
                <a:cubicBezTo>
                  <a:pt x="382" y="375"/>
                  <a:pt x="375" y="377"/>
                  <a:pt x="367" y="377"/>
                </a:cubicBezTo>
                <a:cubicBezTo>
                  <a:pt x="359" y="377"/>
                  <a:pt x="350" y="374"/>
                  <a:pt x="341" y="370"/>
                </a:cubicBezTo>
                <a:cubicBezTo>
                  <a:pt x="322" y="361"/>
                  <a:pt x="309" y="343"/>
                  <a:pt x="303" y="320"/>
                </a:cubicBezTo>
                <a:cubicBezTo>
                  <a:pt x="209" y="320"/>
                  <a:pt x="209" y="320"/>
                  <a:pt x="209" y="320"/>
                </a:cubicBezTo>
                <a:cubicBezTo>
                  <a:pt x="203" y="343"/>
                  <a:pt x="189" y="361"/>
                  <a:pt x="170" y="370"/>
                </a:cubicBezTo>
                <a:cubicBezTo>
                  <a:pt x="154" y="378"/>
                  <a:pt x="137" y="379"/>
                  <a:pt x="123" y="372"/>
                </a:cubicBezTo>
                <a:cubicBezTo>
                  <a:pt x="101" y="361"/>
                  <a:pt x="100" y="293"/>
                  <a:pt x="101" y="253"/>
                </a:cubicBezTo>
                <a:cubicBezTo>
                  <a:pt x="101" y="251"/>
                  <a:pt x="100" y="195"/>
                  <a:pt x="129" y="166"/>
                </a:cubicBezTo>
                <a:cubicBezTo>
                  <a:pt x="140" y="155"/>
                  <a:pt x="154" y="149"/>
                  <a:pt x="170" y="149"/>
                </a:cubicBezTo>
                <a:cubicBezTo>
                  <a:pt x="341" y="149"/>
                  <a:pt x="341" y="149"/>
                  <a:pt x="341" y="149"/>
                </a:cubicBezTo>
                <a:cubicBezTo>
                  <a:pt x="357" y="149"/>
                  <a:pt x="371" y="155"/>
                  <a:pt x="383" y="166"/>
                </a:cubicBezTo>
                <a:cubicBezTo>
                  <a:pt x="411" y="195"/>
                  <a:pt x="410" y="251"/>
                  <a:pt x="410" y="254"/>
                </a:cubicBezTo>
                <a:cubicBezTo>
                  <a:pt x="412" y="293"/>
                  <a:pt x="411" y="361"/>
                  <a:pt x="388" y="37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2" name="Group 970"/>
          <p:cNvGrpSpPr>
            <a:grpSpLocks noChangeAspect="1"/>
          </p:cNvGrpSpPr>
          <p:nvPr/>
        </p:nvGrpSpPr>
        <p:grpSpPr bwMode="auto">
          <a:xfrm>
            <a:off x="953531" y="4544413"/>
            <a:ext cx="367631" cy="367631"/>
            <a:chOff x="7346" y="3563"/>
            <a:chExt cx="340" cy="340"/>
          </a:xfrm>
          <a:solidFill>
            <a:schemeClr val="accent4"/>
          </a:solidFill>
        </p:grpSpPr>
        <p:sp>
          <p:nvSpPr>
            <p:cNvPr id="383" name="Freeform 971"/>
            <p:cNvSpPr>
              <a:spLocks noEditPoints="1"/>
            </p:cNvSpPr>
            <p:nvPr/>
          </p:nvSpPr>
          <p:spPr bwMode="auto">
            <a:xfrm>
              <a:off x="7346" y="356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4" name="Freeform 972"/>
            <p:cNvSpPr>
              <a:spLocks noEditPoints="1"/>
            </p:cNvSpPr>
            <p:nvPr/>
          </p:nvSpPr>
          <p:spPr bwMode="auto">
            <a:xfrm>
              <a:off x="7412" y="3662"/>
              <a:ext cx="208" cy="153"/>
            </a:xfrm>
            <a:custGeom>
              <a:avLst/>
              <a:gdLst>
                <a:gd name="T0" fmla="*/ 283 w 312"/>
                <a:gd name="T1" fmla="*/ 17 h 230"/>
                <a:gd name="T2" fmla="*/ 70 w 312"/>
                <a:gd name="T3" fmla="*/ 0 h 230"/>
                <a:gd name="T4" fmla="*/ 1 w 312"/>
                <a:gd name="T5" fmla="*/ 104 h 230"/>
                <a:gd name="T6" fmla="*/ 70 w 312"/>
                <a:gd name="T7" fmla="*/ 221 h 230"/>
                <a:gd name="T8" fmla="*/ 203 w 312"/>
                <a:gd name="T9" fmla="*/ 171 h 230"/>
                <a:gd name="T10" fmla="*/ 267 w 312"/>
                <a:gd name="T11" fmla="*/ 228 h 230"/>
                <a:gd name="T12" fmla="*/ 310 w 312"/>
                <a:gd name="T13" fmla="*/ 105 h 230"/>
                <a:gd name="T14" fmla="*/ 251 w 312"/>
                <a:gd name="T15" fmla="*/ 202 h 230"/>
                <a:gd name="T16" fmla="*/ 211 w 312"/>
                <a:gd name="T17" fmla="*/ 149 h 230"/>
                <a:gd name="T18" fmla="*/ 90 w 312"/>
                <a:gd name="T19" fmla="*/ 158 h 230"/>
                <a:gd name="T20" fmla="*/ 33 w 312"/>
                <a:gd name="T21" fmla="*/ 204 h 230"/>
                <a:gd name="T22" fmla="*/ 44 w 312"/>
                <a:gd name="T23" fmla="*/ 32 h 230"/>
                <a:gd name="T24" fmla="*/ 241 w 312"/>
                <a:gd name="T25" fmla="*/ 21 h 230"/>
                <a:gd name="T26" fmla="*/ 289 w 312"/>
                <a:gd name="T27" fmla="*/ 105 h 230"/>
                <a:gd name="T28" fmla="*/ 113 w 312"/>
                <a:gd name="T29" fmla="*/ 85 h 230"/>
                <a:gd name="T30" fmla="*/ 92 w 312"/>
                <a:gd name="T31" fmla="*/ 96 h 230"/>
                <a:gd name="T32" fmla="*/ 81 w 312"/>
                <a:gd name="T33" fmla="*/ 117 h 230"/>
                <a:gd name="T34" fmla="*/ 70 w 312"/>
                <a:gd name="T35" fmla="*/ 96 h 230"/>
                <a:gd name="T36" fmla="*/ 49 w 312"/>
                <a:gd name="T37" fmla="*/ 85 h 230"/>
                <a:gd name="T38" fmla="*/ 70 w 312"/>
                <a:gd name="T39" fmla="*/ 75 h 230"/>
                <a:gd name="T40" fmla="*/ 81 w 312"/>
                <a:gd name="T41" fmla="*/ 53 h 230"/>
                <a:gd name="T42" fmla="*/ 92 w 312"/>
                <a:gd name="T43" fmla="*/ 75 h 230"/>
                <a:gd name="T44" fmla="*/ 113 w 312"/>
                <a:gd name="T45" fmla="*/ 85 h 230"/>
                <a:gd name="T46" fmla="*/ 252 w 312"/>
                <a:gd name="T47" fmla="*/ 96 h 230"/>
                <a:gd name="T48" fmla="*/ 252 w 312"/>
                <a:gd name="T49" fmla="*/ 75 h 230"/>
                <a:gd name="T50" fmla="*/ 230 w 312"/>
                <a:gd name="T51" fmla="*/ 117 h 230"/>
                <a:gd name="T52" fmla="*/ 209 w 312"/>
                <a:gd name="T53" fmla="*/ 117 h 230"/>
                <a:gd name="T54" fmla="*/ 230 w 312"/>
                <a:gd name="T55" fmla="*/ 117 h 230"/>
                <a:gd name="T56" fmla="*/ 188 w 312"/>
                <a:gd name="T57" fmla="*/ 96 h 230"/>
                <a:gd name="T58" fmla="*/ 188 w 312"/>
                <a:gd name="T59" fmla="*/ 75 h 230"/>
                <a:gd name="T60" fmla="*/ 230 w 312"/>
                <a:gd name="T61" fmla="*/ 53 h 230"/>
                <a:gd name="T62" fmla="*/ 209 w 312"/>
                <a:gd name="T63" fmla="*/ 53 h 230"/>
                <a:gd name="T64" fmla="*/ 230 w 312"/>
                <a:gd name="T65" fmla="*/ 5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230">
                  <a:moveTo>
                    <a:pt x="310" y="105"/>
                  </a:moveTo>
                  <a:cubicBezTo>
                    <a:pt x="310" y="102"/>
                    <a:pt x="311" y="46"/>
                    <a:pt x="283" y="17"/>
                  </a:cubicBezTo>
                  <a:cubicBezTo>
                    <a:pt x="271" y="6"/>
                    <a:pt x="257" y="0"/>
                    <a:pt x="241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4" y="0"/>
                    <a:pt x="40" y="6"/>
                    <a:pt x="29" y="17"/>
                  </a:cubicBezTo>
                  <a:cubicBezTo>
                    <a:pt x="0" y="46"/>
                    <a:pt x="1" y="102"/>
                    <a:pt x="1" y="104"/>
                  </a:cubicBezTo>
                  <a:cubicBezTo>
                    <a:pt x="0" y="144"/>
                    <a:pt x="1" y="212"/>
                    <a:pt x="23" y="223"/>
                  </a:cubicBezTo>
                  <a:cubicBezTo>
                    <a:pt x="37" y="230"/>
                    <a:pt x="54" y="229"/>
                    <a:pt x="70" y="221"/>
                  </a:cubicBezTo>
                  <a:cubicBezTo>
                    <a:pt x="89" y="212"/>
                    <a:pt x="103" y="194"/>
                    <a:pt x="109" y="171"/>
                  </a:cubicBezTo>
                  <a:cubicBezTo>
                    <a:pt x="203" y="171"/>
                    <a:pt x="203" y="171"/>
                    <a:pt x="203" y="171"/>
                  </a:cubicBezTo>
                  <a:cubicBezTo>
                    <a:pt x="209" y="194"/>
                    <a:pt x="222" y="212"/>
                    <a:pt x="241" y="221"/>
                  </a:cubicBezTo>
                  <a:cubicBezTo>
                    <a:pt x="250" y="225"/>
                    <a:pt x="259" y="228"/>
                    <a:pt x="267" y="228"/>
                  </a:cubicBezTo>
                  <a:cubicBezTo>
                    <a:pt x="275" y="228"/>
                    <a:pt x="282" y="226"/>
                    <a:pt x="288" y="223"/>
                  </a:cubicBezTo>
                  <a:cubicBezTo>
                    <a:pt x="311" y="212"/>
                    <a:pt x="312" y="144"/>
                    <a:pt x="310" y="105"/>
                  </a:cubicBezTo>
                  <a:close/>
                  <a:moveTo>
                    <a:pt x="279" y="204"/>
                  </a:moveTo>
                  <a:cubicBezTo>
                    <a:pt x="271" y="208"/>
                    <a:pt x="260" y="207"/>
                    <a:pt x="251" y="202"/>
                  </a:cubicBezTo>
                  <a:cubicBezTo>
                    <a:pt x="242" y="198"/>
                    <a:pt x="227" y="186"/>
                    <a:pt x="222" y="158"/>
                  </a:cubicBezTo>
                  <a:cubicBezTo>
                    <a:pt x="221" y="153"/>
                    <a:pt x="216" y="149"/>
                    <a:pt x="211" y="149"/>
                  </a:cubicBezTo>
                  <a:cubicBezTo>
                    <a:pt x="100" y="149"/>
                    <a:pt x="100" y="149"/>
                    <a:pt x="100" y="149"/>
                  </a:cubicBezTo>
                  <a:cubicBezTo>
                    <a:pt x="95" y="149"/>
                    <a:pt x="91" y="153"/>
                    <a:pt x="90" y="158"/>
                  </a:cubicBezTo>
                  <a:cubicBezTo>
                    <a:pt x="85" y="186"/>
                    <a:pt x="69" y="198"/>
                    <a:pt x="61" y="202"/>
                  </a:cubicBezTo>
                  <a:cubicBezTo>
                    <a:pt x="51" y="207"/>
                    <a:pt x="40" y="208"/>
                    <a:pt x="33" y="204"/>
                  </a:cubicBezTo>
                  <a:cubicBezTo>
                    <a:pt x="26" y="198"/>
                    <a:pt x="21" y="152"/>
                    <a:pt x="22" y="104"/>
                  </a:cubicBezTo>
                  <a:cubicBezTo>
                    <a:pt x="22" y="104"/>
                    <a:pt x="22" y="55"/>
                    <a:pt x="44" y="32"/>
                  </a:cubicBezTo>
                  <a:cubicBezTo>
                    <a:pt x="51" y="25"/>
                    <a:pt x="60" y="21"/>
                    <a:pt x="70" y="21"/>
                  </a:cubicBezTo>
                  <a:cubicBezTo>
                    <a:pt x="241" y="21"/>
                    <a:pt x="241" y="21"/>
                    <a:pt x="241" y="21"/>
                  </a:cubicBezTo>
                  <a:cubicBezTo>
                    <a:pt x="252" y="21"/>
                    <a:pt x="260" y="25"/>
                    <a:pt x="267" y="32"/>
                  </a:cubicBezTo>
                  <a:cubicBezTo>
                    <a:pt x="290" y="55"/>
                    <a:pt x="289" y="104"/>
                    <a:pt x="289" y="105"/>
                  </a:cubicBezTo>
                  <a:cubicBezTo>
                    <a:pt x="291" y="152"/>
                    <a:pt x="286" y="198"/>
                    <a:pt x="279" y="204"/>
                  </a:cubicBezTo>
                  <a:close/>
                  <a:moveTo>
                    <a:pt x="113" y="85"/>
                  </a:moveTo>
                  <a:cubicBezTo>
                    <a:pt x="113" y="91"/>
                    <a:pt x="108" y="96"/>
                    <a:pt x="102" y="96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13"/>
                    <a:pt x="87" y="117"/>
                    <a:pt x="81" y="117"/>
                  </a:cubicBezTo>
                  <a:cubicBezTo>
                    <a:pt x="75" y="117"/>
                    <a:pt x="70" y="113"/>
                    <a:pt x="70" y="107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54" y="96"/>
                    <a:pt x="49" y="91"/>
                    <a:pt x="49" y="85"/>
                  </a:cubicBezTo>
                  <a:cubicBezTo>
                    <a:pt x="49" y="79"/>
                    <a:pt x="54" y="75"/>
                    <a:pt x="6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58"/>
                    <a:pt x="75" y="53"/>
                    <a:pt x="81" y="53"/>
                  </a:cubicBezTo>
                  <a:cubicBezTo>
                    <a:pt x="87" y="53"/>
                    <a:pt x="92" y="58"/>
                    <a:pt x="92" y="64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02" y="75"/>
                    <a:pt x="102" y="75"/>
                    <a:pt x="102" y="75"/>
                  </a:cubicBezTo>
                  <a:cubicBezTo>
                    <a:pt x="108" y="75"/>
                    <a:pt x="113" y="79"/>
                    <a:pt x="113" y="85"/>
                  </a:cubicBezTo>
                  <a:close/>
                  <a:moveTo>
                    <a:pt x="262" y="85"/>
                  </a:moveTo>
                  <a:cubicBezTo>
                    <a:pt x="262" y="91"/>
                    <a:pt x="258" y="96"/>
                    <a:pt x="252" y="96"/>
                  </a:cubicBezTo>
                  <a:cubicBezTo>
                    <a:pt x="246" y="96"/>
                    <a:pt x="241" y="91"/>
                    <a:pt x="241" y="85"/>
                  </a:cubicBezTo>
                  <a:cubicBezTo>
                    <a:pt x="241" y="79"/>
                    <a:pt x="246" y="75"/>
                    <a:pt x="252" y="75"/>
                  </a:cubicBezTo>
                  <a:cubicBezTo>
                    <a:pt x="258" y="75"/>
                    <a:pt x="262" y="79"/>
                    <a:pt x="262" y="85"/>
                  </a:cubicBezTo>
                  <a:close/>
                  <a:moveTo>
                    <a:pt x="230" y="117"/>
                  </a:moveTo>
                  <a:cubicBezTo>
                    <a:pt x="230" y="123"/>
                    <a:pt x="226" y="128"/>
                    <a:pt x="220" y="128"/>
                  </a:cubicBezTo>
                  <a:cubicBezTo>
                    <a:pt x="214" y="128"/>
                    <a:pt x="209" y="123"/>
                    <a:pt x="209" y="117"/>
                  </a:cubicBezTo>
                  <a:cubicBezTo>
                    <a:pt x="209" y="111"/>
                    <a:pt x="214" y="107"/>
                    <a:pt x="220" y="107"/>
                  </a:cubicBezTo>
                  <a:cubicBezTo>
                    <a:pt x="226" y="107"/>
                    <a:pt x="230" y="111"/>
                    <a:pt x="230" y="117"/>
                  </a:cubicBezTo>
                  <a:close/>
                  <a:moveTo>
                    <a:pt x="198" y="85"/>
                  </a:moveTo>
                  <a:cubicBezTo>
                    <a:pt x="198" y="91"/>
                    <a:pt x="194" y="96"/>
                    <a:pt x="188" y="96"/>
                  </a:cubicBezTo>
                  <a:cubicBezTo>
                    <a:pt x="182" y="96"/>
                    <a:pt x="177" y="91"/>
                    <a:pt x="177" y="85"/>
                  </a:cubicBezTo>
                  <a:cubicBezTo>
                    <a:pt x="177" y="79"/>
                    <a:pt x="182" y="75"/>
                    <a:pt x="188" y="75"/>
                  </a:cubicBezTo>
                  <a:cubicBezTo>
                    <a:pt x="194" y="75"/>
                    <a:pt x="198" y="79"/>
                    <a:pt x="198" y="85"/>
                  </a:cubicBezTo>
                  <a:close/>
                  <a:moveTo>
                    <a:pt x="230" y="53"/>
                  </a:moveTo>
                  <a:cubicBezTo>
                    <a:pt x="230" y="59"/>
                    <a:pt x="226" y="64"/>
                    <a:pt x="220" y="64"/>
                  </a:cubicBezTo>
                  <a:cubicBezTo>
                    <a:pt x="214" y="64"/>
                    <a:pt x="209" y="59"/>
                    <a:pt x="209" y="53"/>
                  </a:cubicBezTo>
                  <a:cubicBezTo>
                    <a:pt x="209" y="47"/>
                    <a:pt x="214" y="43"/>
                    <a:pt x="220" y="43"/>
                  </a:cubicBezTo>
                  <a:cubicBezTo>
                    <a:pt x="226" y="43"/>
                    <a:pt x="230" y="47"/>
                    <a:pt x="230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5" name="TextBox 384"/>
          <p:cNvSpPr txBox="1"/>
          <p:nvPr/>
        </p:nvSpPr>
        <p:spPr>
          <a:xfrm>
            <a:off x="473477" y="4978227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amepad</a:t>
            </a:r>
          </a:p>
        </p:txBody>
      </p:sp>
      <p:sp>
        <p:nvSpPr>
          <p:cNvPr id="386" name="TextBox 385"/>
          <p:cNvSpPr txBox="1"/>
          <p:nvPr/>
        </p:nvSpPr>
        <p:spPr>
          <a:xfrm>
            <a:off x="1460986" y="4978227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x machine</a:t>
            </a:r>
          </a:p>
        </p:txBody>
      </p:sp>
      <p:sp>
        <p:nvSpPr>
          <p:cNvPr id="387" name="TextBox 386"/>
          <p:cNvSpPr txBox="1"/>
          <p:nvPr/>
        </p:nvSpPr>
        <p:spPr>
          <a:xfrm>
            <a:off x="2463312" y="4978231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wnload from Cloud</a:t>
            </a:r>
          </a:p>
        </p:txBody>
      </p:sp>
      <p:sp>
        <p:nvSpPr>
          <p:cNvPr id="388" name="TextBox 387"/>
          <p:cNvSpPr txBox="1"/>
          <p:nvPr/>
        </p:nvSpPr>
        <p:spPr>
          <a:xfrm>
            <a:off x="4461614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bile pay</a:t>
            </a:r>
          </a:p>
        </p:txBody>
      </p:sp>
      <p:sp>
        <p:nvSpPr>
          <p:cNvPr id="389" name="TextBox 388"/>
          <p:cNvSpPr txBox="1"/>
          <p:nvPr/>
        </p:nvSpPr>
        <p:spPr>
          <a:xfrm>
            <a:off x="5460765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usic</a:t>
            </a:r>
          </a:p>
        </p:txBody>
      </p:sp>
      <p:sp>
        <p:nvSpPr>
          <p:cNvPr id="390" name="TextBox 389"/>
          <p:cNvSpPr txBox="1"/>
          <p:nvPr/>
        </p:nvSpPr>
        <p:spPr>
          <a:xfrm>
            <a:off x="3462463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Newspaper</a:t>
            </a:r>
          </a:p>
        </p:txBody>
      </p:sp>
      <p:sp>
        <p:nvSpPr>
          <p:cNvPr id="391" name="TextBox 390"/>
          <p:cNvSpPr txBox="1"/>
          <p:nvPr/>
        </p:nvSpPr>
        <p:spPr>
          <a:xfrm>
            <a:off x="6459916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use</a:t>
            </a:r>
          </a:p>
        </p:txBody>
      </p:sp>
      <p:sp>
        <p:nvSpPr>
          <p:cNvPr id="392" name="TextBox 391"/>
          <p:cNvSpPr txBox="1"/>
          <p:nvPr/>
        </p:nvSpPr>
        <p:spPr>
          <a:xfrm>
            <a:off x="9457372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oudhailer</a:t>
            </a:r>
          </a:p>
        </p:txBody>
      </p:sp>
      <p:sp>
        <p:nvSpPr>
          <p:cNvPr id="393" name="TextBox 392"/>
          <p:cNvSpPr txBox="1"/>
          <p:nvPr/>
        </p:nvSpPr>
        <p:spPr>
          <a:xfrm>
            <a:off x="8458218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DD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7459067" y="4978227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Keyboard</a:t>
            </a:r>
          </a:p>
        </p:txBody>
      </p:sp>
      <p:sp>
        <p:nvSpPr>
          <p:cNvPr id="396" name="Freeform 615"/>
          <p:cNvSpPr>
            <a:spLocks noChangeAspect="1" noEditPoints="1"/>
          </p:cNvSpPr>
          <p:nvPr/>
        </p:nvSpPr>
        <p:spPr bwMode="auto">
          <a:xfrm>
            <a:off x="1451471" y="4544413"/>
            <a:ext cx="367631" cy="367631"/>
          </a:xfrm>
          <a:custGeom>
            <a:avLst/>
            <a:gdLst>
              <a:gd name="T0" fmla="*/ 312 w 512"/>
              <a:gd name="T1" fmla="*/ 332 h 512"/>
              <a:gd name="T2" fmla="*/ 199 w 512"/>
              <a:gd name="T3" fmla="*/ 394 h 512"/>
              <a:gd name="T4" fmla="*/ 190 w 512"/>
              <a:gd name="T5" fmla="*/ 186 h 512"/>
              <a:gd name="T6" fmla="*/ 199 w 512"/>
              <a:gd name="T7" fmla="*/ 151 h 512"/>
              <a:gd name="T8" fmla="*/ 254 w 512"/>
              <a:gd name="T9" fmla="*/ 144 h 512"/>
              <a:gd name="T10" fmla="*/ 296 w 512"/>
              <a:gd name="T11" fmla="*/ 148 h 512"/>
              <a:gd name="T12" fmla="*/ 322 w 512"/>
              <a:gd name="T13" fmla="*/ 162 h 512"/>
              <a:gd name="T14" fmla="*/ 362 w 512"/>
              <a:gd name="T15" fmla="*/ 184 h 512"/>
              <a:gd name="T16" fmla="*/ 362 w 512"/>
              <a:gd name="T17" fmla="*/ 167 h 512"/>
              <a:gd name="T18" fmla="*/ 257 w 512"/>
              <a:gd name="T19" fmla="*/ 128 h 512"/>
              <a:gd name="T20" fmla="*/ 254 w 512"/>
              <a:gd name="T21" fmla="*/ 128 h 512"/>
              <a:gd name="T22" fmla="*/ 149 w 512"/>
              <a:gd name="T23" fmla="*/ 167 h 512"/>
              <a:gd name="T24" fmla="*/ 149 w 512"/>
              <a:gd name="T25" fmla="*/ 184 h 512"/>
              <a:gd name="T26" fmla="*/ 149 w 512"/>
              <a:gd name="T27" fmla="*/ 248 h 512"/>
              <a:gd name="T28" fmla="*/ 362 w 512"/>
              <a:gd name="T29" fmla="*/ 361 h 512"/>
              <a:gd name="T30" fmla="*/ 333 w 512"/>
              <a:gd name="T31" fmla="*/ 321 h 512"/>
              <a:gd name="T32" fmla="*/ 189 w 512"/>
              <a:gd name="T33" fmla="*/ 311 h 512"/>
              <a:gd name="T34" fmla="*/ 178 w 512"/>
              <a:gd name="T35" fmla="*/ 361 h 512"/>
              <a:gd name="T36" fmla="*/ 149 w 512"/>
              <a:gd name="T37" fmla="*/ 248 h 512"/>
              <a:gd name="T38" fmla="*/ 298 w 512"/>
              <a:gd name="T39" fmla="*/ 288 h 512"/>
              <a:gd name="T40" fmla="*/ 330 w 512"/>
              <a:gd name="T41" fmla="*/ 277 h 512"/>
              <a:gd name="T42" fmla="*/ 298 w 512"/>
              <a:gd name="T43" fmla="*/ 266 h 512"/>
              <a:gd name="T44" fmla="*/ 512 w 512"/>
              <a:gd name="T45" fmla="*/ 256 h 512"/>
              <a:gd name="T46" fmla="*/ 0 w 512"/>
              <a:gd name="T47" fmla="*/ 256 h 512"/>
              <a:gd name="T48" fmla="*/ 512 w 512"/>
              <a:gd name="T49" fmla="*/ 256 h 512"/>
              <a:gd name="T50" fmla="*/ 133 w 512"/>
              <a:gd name="T51" fmla="*/ 199 h 512"/>
              <a:gd name="T52" fmla="*/ 135 w 512"/>
              <a:gd name="T53" fmla="*/ 200 h 512"/>
              <a:gd name="T54" fmla="*/ 211 w 512"/>
              <a:gd name="T55" fmla="*/ 192 h 512"/>
              <a:gd name="T56" fmla="*/ 219 w 512"/>
              <a:gd name="T57" fmla="*/ 170 h 512"/>
              <a:gd name="T58" fmla="*/ 258 w 512"/>
              <a:gd name="T59" fmla="*/ 165 h 512"/>
              <a:gd name="T60" fmla="*/ 300 w 512"/>
              <a:gd name="T61" fmla="*/ 171 h 512"/>
              <a:gd name="T62" fmla="*/ 304 w 512"/>
              <a:gd name="T63" fmla="*/ 200 h 512"/>
              <a:gd name="T64" fmla="*/ 376 w 512"/>
              <a:gd name="T65" fmla="*/ 200 h 512"/>
              <a:gd name="T66" fmla="*/ 378 w 512"/>
              <a:gd name="T67" fmla="*/ 199 h 512"/>
              <a:gd name="T68" fmla="*/ 384 w 512"/>
              <a:gd name="T69" fmla="*/ 171 h 512"/>
              <a:gd name="T70" fmla="*/ 368 w 512"/>
              <a:gd name="T71" fmla="*/ 137 h 512"/>
              <a:gd name="T72" fmla="*/ 254 w 512"/>
              <a:gd name="T73" fmla="*/ 106 h 512"/>
              <a:gd name="T74" fmla="*/ 128 w 512"/>
              <a:gd name="T75" fmla="*/ 166 h 512"/>
              <a:gd name="T76" fmla="*/ 131 w 512"/>
              <a:gd name="T77" fmla="*/ 195 h 512"/>
              <a:gd name="T78" fmla="*/ 373 w 512"/>
              <a:gd name="T79" fmla="*/ 227 h 512"/>
              <a:gd name="T80" fmla="*/ 128 w 512"/>
              <a:gd name="T81" fmla="*/ 237 h 512"/>
              <a:gd name="T82" fmla="*/ 138 w 512"/>
              <a:gd name="T83" fmla="*/ 382 h 512"/>
              <a:gd name="T84" fmla="*/ 178 w 512"/>
              <a:gd name="T85" fmla="*/ 405 h 512"/>
              <a:gd name="T86" fmla="*/ 323 w 512"/>
              <a:gd name="T87" fmla="*/ 416 h 512"/>
              <a:gd name="T88" fmla="*/ 333 w 512"/>
              <a:gd name="T89" fmla="*/ 382 h 512"/>
              <a:gd name="T90" fmla="*/ 384 w 512"/>
              <a:gd name="T91" fmla="*/ 37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199" y="332"/>
                </a:moveTo>
                <a:cubicBezTo>
                  <a:pt x="312" y="332"/>
                  <a:pt x="312" y="332"/>
                  <a:pt x="312" y="332"/>
                </a:cubicBezTo>
                <a:cubicBezTo>
                  <a:pt x="312" y="394"/>
                  <a:pt x="312" y="394"/>
                  <a:pt x="312" y="394"/>
                </a:cubicBezTo>
                <a:cubicBezTo>
                  <a:pt x="199" y="394"/>
                  <a:pt x="199" y="394"/>
                  <a:pt x="199" y="394"/>
                </a:cubicBezTo>
                <a:lnTo>
                  <a:pt x="199" y="332"/>
                </a:lnTo>
                <a:close/>
                <a:moveTo>
                  <a:pt x="190" y="186"/>
                </a:moveTo>
                <a:cubicBezTo>
                  <a:pt x="190" y="162"/>
                  <a:pt x="190" y="162"/>
                  <a:pt x="190" y="162"/>
                </a:cubicBezTo>
                <a:cubicBezTo>
                  <a:pt x="190" y="157"/>
                  <a:pt x="194" y="152"/>
                  <a:pt x="199" y="151"/>
                </a:cubicBezTo>
                <a:cubicBezTo>
                  <a:pt x="205" y="150"/>
                  <a:pt x="210" y="149"/>
                  <a:pt x="215" y="148"/>
                </a:cubicBezTo>
                <a:cubicBezTo>
                  <a:pt x="230" y="146"/>
                  <a:pt x="242" y="144"/>
                  <a:pt x="254" y="144"/>
                </a:cubicBezTo>
                <a:cubicBezTo>
                  <a:pt x="258" y="144"/>
                  <a:pt x="258" y="144"/>
                  <a:pt x="258" y="144"/>
                </a:cubicBezTo>
                <a:cubicBezTo>
                  <a:pt x="269" y="144"/>
                  <a:pt x="282" y="146"/>
                  <a:pt x="296" y="148"/>
                </a:cubicBezTo>
                <a:cubicBezTo>
                  <a:pt x="301" y="149"/>
                  <a:pt x="307" y="150"/>
                  <a:pt x="313" y="151"/>
                </a:cubicBezTo>
                <a:cubicBezTo>
                  <a:pt x="318" y="152"/>
                  <a:pt x="322" y="157"/>
                  <a:pt x="322" y="162"/>
                </a:cubicBezTo>
                <a:cubicBezTo>
                  <a:pt x="322" y="186"/>
                  <a:pt x="322" y="186"/>
                  <a:pt x="322" y="186"/>
                </a:cubicBezTo>
                <a:cubicBezTo>
                  <a:pt x="336" y="195"/>
                  <a:pt x="356" y="187"/>
                  <a:pt x="362" y="184"/>
                </a:cubicBezTo>
                <a:cubicBezTo>
                  <a:pt x="362" y="180"/>
                  <a:pt x="362" y="175"/>
                  <a:pt x="362" y="171"/>
                </a:cubicBezTo>
                <a:cubicBezTo>
                  <a:pt x="362" y="167"/>
                  <a:pt x="362" y="167"/>
                  <a:pt x="362" y="167"/>
                </a:cubicBezTo>
                <a:cubicBezTo>
                  <a:pt x="362" y="160"/>
                  <a:pt x="362" y="159"/>
                  <a:pt x="356" y="155"/>
                </a:cubicBezTo>
                <a:cubicBezTo>
                  <a:pt x="355" y="154"/>
                  <a:pt x="316" y="126"/>
                  <a:pt x="257" y="128"/>
                </a:cubicBezTo>
                <a:cubicBezTo>
                  <a:pt x="254" y="128"/>
                  <a:pt x="254" y="128"/>
                  <a:pt x="254" y="128"/>
                </a:cubicBezTo>
                <a:cubicBezTo>
                  <a:pt x="254" y="128"/>
                  <a:pt x="254" y="128"/>
                  <a:pt x="254" y="128"/>
                </a:cubicBezTo>
                <a:cubicBezTo>
                  <a:pt x="195" y="126"/>
                  <a:pt x="157" y="154"/>
                  <a:pt x="156" y="154"/>
                </a:cubicBezTo>
                <a:cubicBezTo>
                  <a:pt x="149" y="159"/>
                  <a:pt x="149" y="160"/>
                  <a:pt x="149" y="167"/>
                </a:cubicBezTo>
                <a:cubicBezTo>
                  <a:pt x="149" y="171"/>
                  <a:pt x="149" y="171"/>
                  <a:pt x="149" y="171"/>
                </a:cubicBezTo>
                <a:cubicBezTo>
                  <a:pt x="149" y="175"/>
                  <a:pt x="149" y="180"/>
                  <a:pt x="149" y="184"/>
                </a:cubicBezTo>
                <a:cubicBezTo>
                  <a:pt x="156" y="187"/>
                  <a:pt x="176" y="195"/>
                  <a:pt x="190" y="186"/>
                </a:cubicBezTo>
                <a:close/>
                <a:moveTo>
                  <a:pt x="149" y="248"/>
                </a:moveTo>
                <a:cubicBezTo>
                  <a:pt x="362" y="248"/>
                  <a:pt x="362" y="248"/>
                  <a:pt x="362" y="248"/>
                </a:cubicBezTo>
                <a:cubicBezTo>
                  <a:pt x="362" y="361"/>
                  <a:pt x="362" y="361"/>
                  <a:pt x="362" y="361"/>
                </a:cubicBezTo>
                <a:cubicBezTo>
                  <a:pt x="333" y="361"/>
                  <a:pt x="333" y="361"/>
                  <a:pt x="333" y="36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15"/>
                  <a:pt x="329" y="311"/>
                  <a:pt x="323" y="311"/>
                </a:cubicBezTo>
                <a:cubicBezTo>
                  <a:pt x="189" y="311"/>
                  <a:pt x="189" y="311"/>
                  <a:pt x="189" y="311"/>
                </a:cubicBezTo>
                <a:cubicBezTo>
                  <a:pt x="183" y="311"/>
                  <a:pt x="178" y="315"/>
                  <a:pt x="178" y="321"/>
                </a:cubicBezTo>
                <a:cubicBezTo>
                  <a:pt x="178" y="361"/>
                  <a:pt x="178" y="361"/>
                  <a:pt x="178" y="361"/>
                </a:cubicBezTo>
                <a:cubicBezTo>
                  <a:pt x="149" y="361"/>
                  <a:pt x="149" y="361"/>
                  <a:pt x="149" y="361"/>
                </a:cubicBezTo>
                <a:lnTo>
                  <a:pt x="149" y="248"/>
                </a:lnTo>
                <a:close/>
                <a:moveTo>
                  <a:pt x="288" y="277"/>
                </a:moveTo>
                <a:cubicBezTo>
                  <a:pt x="288" y="283"/>
                  <a:pt x="292" y="288"/>
                  <a:pt x="298" y="288"/>
                </a:cubicBezTo>
                <a:cubicBezTo>
                  <a:pt x="320" y="288"/>
                  <a:pt x="320" y="288"/>
                  <a:pt x="320" y="288"/>
                </a:cubicBezTo>
                <a:cubicBezTo>
                  <a:pt x="326" y="288"/>
                  <a:pt x="330" y="283"/>
                  <a:pt x="330" y="277"/>
                </a:cubicBezTo>
                <a:cubicBezTo>
                  <a:pt x="330" y="271"/>
                  <a:pt x="326" y="266"/>
                  <a:pt x="320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31" y="195"/>
                </a:moveTo>
                <a:cubicBezTo>
                  <a:pt x="131" y="197"/>
                  <a:pt x="132" y="198"/>
                  <a:pt x="133" y="199"/>
                </a:cubicBezTo>
                <a:cubicBezTo>
                  <a:pt x="135" y="200"/>
                  <a:pt x="135" y="200"/>
                  <a:pt x="135" y="200"/>
                </a:cubicBezTo>
                <a:cubicBezTo>
                  <a:pt x="135" y="200"/>
                  <a:pt x="135" y="200"/>
                  <a:pt x="135" y="200"/>
                </a:cubicBezTo>
                <a:cubicBezTo>
                  <a:pt x="143" y="205"/>
                  <a:pt x="182" y="222"/>
                  <a:pt x="207" y="200"/>
                </a:cubicBezTo>
                <a:cubicBezTo>
                  <a:pt x="210" y="198"/>
                  <a:pt x="211" y="195"/>
                  <a:pt x="211" y="192"/>
                </a:cubicBezTo>
                <a:cubicBezTo>
                  <a:pt x="211" y="171"/>
                  <a:pt x="211" y="171"/>
                  <a:pt x="211" y="171"/>
                </a:cubicBezTo>
                <a:cubicBezTo>
                  <a:pt x="214" y="170"/>
                  <a:pt x="216" y="170"/>
                  <a:pt x="219" y="170"/>
                </a:cubicBezTo>
                <a:cubicBezTo>
                  <a:pt x="233" y="167"/>
                  <a:pt x="244" y="165"/>
                  <a:pt x="254" y="165"/>
                </a:cubicBezTo>
                <a:cubicBezTo>
                  <a:pt x="258" y="165"/>
                  <a:pt x="258" y="165"/>
                  <a:pt x="258" y="165"/>
                </a:cubicBezTo>
                <a:cubicBezTo>
                  <a:pt x="267" y="165"/>
                  <a:pt x="278" y="167"/>
                  <a:pt x="292" y="170"/>
                </a:cubicBezTo>
                <a:cubicBezTo>
                  <a:pt x="295" y="170"/>
                  <a:pt x="298" y="170"/>
                  <a:pt x="300" y="171"/>
                </a:cubicBezTo>
                <a:cubicBezTo>
                  <a:pt x="300" y="192"/>
                  <a:pt x="300" y="192"/>
                  <a:pt x="300" y="192"/>
                </a:cubicBezTo>
                <a:cubicBezTo>
                  <a:pt x="300" y="195"/>
                  <a:pt x="302" y="198"/>
                  <a:pt x="304" y="200"/>
                </a:cubicBezTo>
                <a:cubicBezTo>
                  <a:pt x="314" y="208"/>
                  <a:pt x="325" y="211"/>
                  <a:pt x="336" y="211"/>
                </a:cubicBezTo>
                <a:cubicBezTo>
                  <a:pt x="355" y="211"/>
                  <a:pt x="372" y="203"/>
                  <a:pt x="376" y="200"/>
                </a:cubicBezTo>
                <a:cubicBezTo>
                  <a:pt x="376" y="200"/>
                  <a:pt x="376" y="200"/>
                  <a:pt x="376" y="200"/>
                </a:cubicBezTo>
                <a:cubicBezTo>
                  <a:pt x="378" y="199"/>
                  <a:pt x="378" y="199"/>
                  <a:pt x="378" y="199"/>
                </a:cubicBezTo>
                <a:cubicBezTo>
                  <a:pt x="379" y="198"/>
                  <a:pt x="380" y="197"/>
                  <a:pt x="381" y="195"/>
                </a:cubicBezTo>
                <a:cubicBezTo>
                  <a:pt x="384" y="189"/>
                  <a:pt x="384" y="181"/>
                  <a:pt x="384" y="171"/>
                </a:cubicBezTo>
                <a:cubicBezTo>
                  <a:pt x="383" y="166"/>
                  <a:pt x="383" y="166"/>
                  <a:pt x="383" y="166"/>
                </a:cubicBezTo>
                <a:cubicBezTo>
                  <a:pt x="383" y="155"/>
                  <a:pt x="382" y="146"/>
                  <a:pt x="368" y="137"/>
                </a:cubicBezTo>
                <a:cubicBezTo>
                  <a:pt x="366" y="136"/>
                  <a:pt x="324" y="105"/>
                  <a:pt x="257" y="106"/>
                </a:cubicBezTo>
                <a:cubicBezTo>
                  <a:pt x="254" y="106"/>
                  <a:pt x="254" y="106"/>
                  <a:pt x="254" y="106"/>
                </a:cubicBezTo>
                <a:cubicBezTo>
                  <a:pt x="187" y="105"/>
                  <a:pt x="145" y="136"/>
                  <a:pt x="144" y="137"/>
                </a:cubicBezTo>
                <a:cubicBezTo>
                  <a:pt x="129" y="146"/>
                  <a:pt x="128" y="155"/>
                  <a:pt x="128" y="166"/>
                </a:cubicBezTo>
                <a:cubicBezTo>
                  <a:pt x="128" y="171"/>
                  <a:pt x="128" y="171"/>
                  <a:pt x="128" y="171"/>
                </a:cubicBezTo>
                <a:cubicBezTo>
                  <a:pt x="127" y="181"/>
                  <a:pt x="127" y="189"/>
                  <a:pt x="131" y="195"/>
                </a:cubicBezTo>
                <a:close/>
                <a:moveTo>
                  <a:pt x="384" y="237"/>
                </a:moveTo>
                <a:cubicBezTo>
                  <a:pt x="384" y="231"/>
                  <a:pt x="379" y="227"/>
                  <a:pt x="373" y="227"/>
                </a:cubicBezTo>
                <a:cubicBezTo>
                  <a:pt x="138" y="227"/>
                  <a:pt x="138" y="227"/>
                  <a:pt x="138" y="227"/>
                </a:cubicBezTo>
                <a:cubicBezTo>
                  <a:pt x="132" y="227"/>
                  <a:pt x="128" y="231"/>
                  <a:pt x="128" y="237"/>
                </a:cubicBezTo>
                <a:cubicBezTo>
                  <a:pt x="128" y="371"/>
                  <a:pt x="128" y="371"/>
                  <a:pt x="128" y="371"/>
                </a:cubicBezTo>
                <a:cubicBezTo>
                  <a:pt x="128" y="377"/>
                  <a:pt x="132" y="382"/>
                  <a:pt x="138" y="382"/>
                </a:cubicBezTo>
                <a:cubicBezTo>
                  <a:pt x="178" y="382"/>
                  <a:pt x="178" y="382"/>
                  <a:pt x="178" y="382"/>
                </a:cubicBezTo>
                <a:cubicBezTo>
                  <a:pt x="178" y="405"/>
                  <a:pt x="178" y="405"/>
                  <a:pt x="178" y="405"/>
                </a:cubicBezTo>
                <a:cubicBezTo>
                  <a:pt x="178" y="411"/>
                  <a:pt x="183" y="416"/>
                  <a:pt x="189" y="416"/>
                </a:cubicBezTo>
                <a:cubicBezTo>
                  <a:pt x="323" y="416"/>
                  <a:pt x="323" y="416"/>
                  <a:pt x="323" y="416"/>
                </a:cubicBezTo>
                <a:cubicBezTo>
                  <a:pt x="329" y="416"/>
                  <a:pt x="333" y="411"/>
                  <a:pt x="333" y="405"/>
                </a:cubicBezTo>
                <a:cubicBezTo>
                  <a:pt x="333" y="382"/>
                  <a:pt x="333" y="382"/>
                  <a:pt x="333" y="382"/>
                </a:cubicBezTo>
                <a:cubicBezTo>
                  <a:pt x="373" y="382"/>
                  <a:pt x="373" y="382"/>
                  <a:pt x="373" y="382"/>
                </a:cubicBezTo>
                <a:cubicBezTo>
                  <a:pt x="379" y="382"/>
                  <a:pt x="384" y="377"/>
                  <a:pt x="384" y="371"/>
                </a:cubicBezTo>
                <a:lnTo>
                  <a:pt x="384" y="23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7" name="Group 618"/>
          <p:cNvGrpSpPr>
            <a:grpSpLocks noChangeAspect="1"/>
          </p:cNvGrpSpPr>
          <p:nvPr/>
        </p:nvGrpSpPr>
        <p:grpSpPr bwMode="auto">
          <a:xfrm>
            <a:off x="1949411" y="4544413"/>
            <a:ext cx="367631" cy="367631"/>
            <a:chOff x="3447" y="2459"/>
            <a:chExt cx="340" cy="340"/>
          </a:xfrm>
          <a:solidFill>
            <a:schemeClr val="accent1"/>
          </a:solidFill>
        </p:grpSpPr>
        <p:sp>
          <p:nvSpPr>
            <p:cNvPr id="398" name="Freeform 619"/>
            <p:cNvSpPr>
              <a:spLocks noEditPoints="1"/>
            </p:cNvSpPr>
            <p:nvPr/>
          </p:nvSpPr>
          <p:spPr bwMode="auto">
            <a:xfrm>
              <a:off x="3447" y="245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9" name="Freeform 620"/>
            <p:cNvSpPr>
              <a:spLocks noEditPoints="1"/>
            </p:cNvSpPr>
            <p:nvPr/>
          </p:nvSpPr>
          <p:spPr bwMode="auto">
            <a:xfrm>
              <a:off x="3531" y="2529"/>
              <a:ext cx="171" cy="206"/>
            </a:xfrm>
            <a:custGeom>
              <a:avLst/>
              <a:gdLst>
                <a:gd name="T0" fmla="*/ 11 w 257"/>
                <a:gd name="T1" fmla="*/ 122 h 311"/>
                <a:gd name="T2" fmla="*/ 1 w 257"/>
                <a:gd name="T3" fmla="*/ 266 h 311"/>
                <a:gd name="T4" fmla="*/ 51 w 257"/>
                <a:gd name="T5" fmla="*/ 277 h 311"/>
                <a:gd name="T6" fmla="*/ 62 w 257"/>
                <a:gd name="T7" fmla="*/ 311 h 311"/>
                <a:gd name="T8" fmla="*/ 206 w 257"/>
                <a:gd name="T9" fmla="*/ 300 h 311"/>
                <a:gd name="T10" fmla="*/ 246 w 257"/>
                <a:gd name="T11" fmla="*/ 277 h 311"/>
                <a:gd name="T12" fmla="*/ 257 w 257"/>
                <a:gd name="T13" fmla="*/ 132 h 311"/>
                <a:gd name="T14" fmla="*/ 72 w 257"/>
                <a:gd name="T15" fmla="*/ 289 h 311"/>
                <a:gd name="T16" fmla="*/ 185 w 257"/>
                <a:gd name="T17" fmla="*/ 227 h 311"/>
                <a:gd name="T18" fmla="*/ 72 w 257"/>
                <a:gd name="T19" fmla="*/ 289 h 311"/>
                <a:gd name="T20" fmla="*/ 206 w 257"/>
                <a:gd name="T21" fmla="*/ 256 h 311"/>
                <a:gd name="T22" fmla="*/ 196 w 257"/>
                <a:gd name="T23" fmla="*/ 206 h 311"/>
                <a:gd name="T24" fmla="*/ 51 w 257"/>
                <a:gd name="T25" fmla="*/ 216 h 311"/>
                <a:gd name="T26" fmla="*/ 22 w 257"/>
                <a:gd name="T27" fmla="*/ 256 h 311"/>
                <a:gd name="T28" fmla="*/ 235 w 257"/>
                <a:gd name="T29" fmla="*/ 143 h 311"/>
                <a:gd name="T30" fmla="*/ 161 w 257"/>
                <a:gd name="T31" fmla="*/ 172 h 311"/>
                <a:gd name="T32" fmla="*/ 193 w 257"/>
                <a:gd name="T33" fmla="*/ 161 h 311"/>
                <a:gd name="T34" fmla="*/ 193 w 257"/>
                <a:gd name="T35" fmla="*/ 183 h 311"/>
                <a:gd name="T36" fmla="*/ 161 w 257"/>
                <a:gd name="T37" fmla="*/ 172 h 311"/>
                <a:gd name="T38" fmla="*/ 8 w 257"/>
                <a:gd name="T39" fmla="*/ 95 h 311"/>
                <a:gd name="T40" fmla="*/ 80 w 257"/>
                <a:gd name="T41" fmla="*/ 95 h 311"/>
                <a:gd name="T42" fmla="*/ 84 w 257"/>
                <a:gd name="T43" fmla="*/ 66 h 311"/>
                <a:gd name="T44" fmla="*/ 127 w 257"/>
                <a:gd name="T45" fmla="*/ 60 h 311"/>
                <a:gd name="T46" fmla="*/ 165 w 257"/>
                <a:gd name="T47" fmla="*/ 65 h 311"/>
                <a:gd name="T48" fmla="*/ 173 w 257"/>
                <a:gd name="T49" fmla="*/ 87 h 311"/>
                <a:gd name="T50" fmla="*/ 209 w 257"/>
                <a:gd name="T51" fmla="*/ 106 h 311"/>
                <a:gd name="T52" fmla="*/ 249 w 257"/>
                <a:gd name="T53" fmla="*/ 95 h 311"/>
                <a:gd name="T54" fmla="*/ 254 w 257"/>
                <a:gd name="T55" fmla="*/ 90 h 311"/>
                <a:gd name="T56" fmla="*/ 256 w 257"/>
                <a:gd name="T57" fmla="*/ 61 h 311"/>
                <a:gd name="T58" fmla="*/ 130 w 257"/>
                <a:gd name="T59" fmla="*/ 1 h 311"/>
                <a:gd name="T60" fmla="*/ 17 w 257"/>
                <a:gd name="T61" fmla="*/ 32 h 311"/>
                <a:gd name="T62" fmla="*/ 1 w 257"/>
                <a:gd name="T63" fmla="*/ 66 h 311"/>
                <a:gd name="T64" fmla="*/ 6 w 257"/>
                <a:gd name="T65" fmla="*/ 94 h 311"/>
                <a:gd name="T66" fmla="*/ 22 w 257"/>
                <a:gd name="T67" fmla="*/ 62 h 311"/>
                <a:gd name="T68" fmla="*/ 127 w 257"/>
                <a:gd name="T69" fmla="*/ 23 h 311"/>
                <a:gd name="T70" fmla="*/ 130 w 257"/>
                <a:gd name="T71" fmla="*/ 23 h 311"/>
                <a:gd name="T72" fmla="*/ 235 w 257"/>
                <a:gd name="T73" fmla="*/ 62 h 311"/>
                <a:gd name="T74" fmla="*/ 235 w 257"/>
                <a:gd name="T75" fmla="*/ 79 h 311"/>
                <a:gd name="T76" fmla="*/ 195 w 257"/>
                <a:gd name="T77" fmla="*/ 57 h 311"/>
                <a:gd name="T78" fmla="*/ 169 w 257"/>
                <a:gd name="T79" fmla="*/ 43 h 311"/>
                <a:gd name="T80" fmla="*/ 127 w 257"/>
                <a:gd name="T81" fmla="*/ 39 h 311"/>
                <a:gd name="T82" fmla="*/ 72 w 257"/>
                <a:gd name="T83" fmla="*/ 46 h 311"/>
                <a:gd name="T84" fmla="*/ 63 w 257"/>
                <a:gd name="T85" fmla="*/ 81 h 311"/>
                <a:gd name="T86" fmla="*/ 22 w 257"/>
                <a:gd name="T87" fmla="*/ 66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7" h="311">
                  <a:moveTo>
                    <a:pt x="246" y="122"/>
                  </a:moveTo>
                  <a:cubicBezTo>
                    <a:pt x="11" y="122"/>
                    <a:pt x="11" y="122"/>
                    <a:pt x="11" y="122"/>
                  </a:cubicBezTo>
                  <a:cubicBezTo>
                    <a:pt x="5" y="122"/>
                    <a:pt x="1" y="126"/>
                    <a:pt x="1" y="132"/>
                  </a:cubicBezTo>
                  <a:cubicBezTo>
                    <a:pt x="1" y="266"/>
                    <a:pt x="1" y="266"/>
                    <a:pt x="1" y="266"/>
                  </a:cubicBezTo>
                  <a:cubicBezTo>
                    <a:pt x="1" y="272"/>
                    <a:pt x="5" y="277"/>
                    <a:pt x="11" y="277"/>
                  </a:cubicBezTo>
                  <a:cubicBezTo>
                    <a:pt x="51" y="277"/>
                    <a:pt x="51" y="277"/>
                    <a:pt x="51" y="277"/>
                  </a:cubicBezTo>
                  <a:cubicBezTo>
                    <a:pt x="51" y="300"/>
                    <a:pt x="51" y="300"/>
                    <a:pt x="51" y="300"/>
                  </a:cubicBezTo>
                  <a:cubicBezTo>
                    <a:pt x="51" y="306"/>
                    <a:pt x="56" y="311"/>
                    <a:pt x="62" y="311"/>
                  </a:cubicBezTo>
                  <a:cubicBezTo>
                    <a:pt x="196" y="311"/>
                    <a:pt x="196" y="311"/>
                    <a:pt x="196" y="311"/>
                  </a:cubicBezTo>
                  <a:cubicBezTo>
                    <a:pt x="202" y="311"/>
                    <a:pt x="206" y="306"/>
                    <a:pt x="206" y="300"/>
                  </a:cubicBezTo>
                  <a:cubicBezTo>
                    <a:pt x="206" y="277"/>
                    <a:pt x="206" y="277"/>
                    <a:pt x="206" y="277"/>
                  </a:cubicBezTo>
                  <a:cubicBezTo>
                    <a:pt x="246" y="277"/>
                    <a:pt x="246" y="277"/>
                    <a:pt x="246" y="277"/>
                  </a:cubicBezTo>
                  <a:cubicBezTo>
                    <a:pt x="252" y="277"/>
                    <a:pt x="257" y="272"/>
                    <a:pt x="257" y="266"/>
                  </a:cubicBezTo>
                  <a:cubicBezTo>
                    <a:pt x="257" y="132"/>
                    <a:pt x="257" y="132"/>
                    <a:pt x="257" y="132"/>
                  </a:cubicBezTo>
                  <a:cubicBezTo>
                    <a:pt x="257" y="126"/>
                    <a:pt x="252" y="122"/>
                    <a:pt x="246" y="122"/>
                  </a:cubicBezTo>
                  <a:close/>
                  <a:moveTo>
                    <a:pt x="72" y="289"/>
                  </a:moveTo>
                  <a:cubicBezTo>
                    <a:pt x="72" y="227"/>
                    <a:pt x="72" y="227"/>
                    <a:pt x="72" y="227"/>
                  </a:cubicBezTo>
                  <a:cubicBezTo>
                    <a:pt x="185" y="227"/>
                    <a:pt x="185" y="227"/>
                    <a:pt x="185" y="227"/>
                  </a:cubicBezTo>
                  <a:cubicBezTo>
                    <a:pt x="185" y="289"/>
                    <a:pt x="185" y="289"/>
                    <a:pt x="185" y="289"/>
                  </a:cubicBezTo>
                  <a:lnTo>
                    <a:pt x="72" y="289"/>
                  </a:lnTo>
                  <a:close/>
                  <a:moveTo>
                    <a:pt x="235" y="256"/>
                  </a:moveTo>
                  <a:cubicBezTo>
                    <a:pt x="206" y="256"/>
                    <a:pt x="206" y="256"/>
                    <a:pt x="206" y="256"/>
                  </a:cubicBezTo>
                  <a:cubicBezTo>
                    <a:pt x="206" y="216"/>
                    <a:pt x="206" y="216"/>
                    <a:pt x="206" y="216"/>
                  </a:cubicBezTo>
                  <a:cubicBezTo>
                    <a:pt x="206" y="210"/>
                    <a:pt x="202" y="206"/>
                    <a:pt x="196" y="206"/>
                  </a:cubicBezTo>
                  <a:cubicBezTo>
                    <a:pt x="62" y="206"/>
                    <a:pt x="62" y="206"/>
                    <a:pt x="62" y="206"/>
                  </a:cubicBezTo>
                  <a:cubicBezTo>
                    <a:pt x="56" y="206"/>
                    <a:pt x="51" y="210"/>
                    <a:pt x="51" y="216"/>
                  </a:cubicBezTo>
                  <a:cubicBezTo>
                    <a:pt x="51" y="256"/>
                    <a:pt x="51" y="256"/>
                    <a:pt x="51" y="256"/>
                  </a:cubicBezTo>
                  <a:cubicBezTo>
                    <a:pt x="22" y="256"/>
                    <a:pt x="22" y="256"/>
                    <a:pt x="22" y="256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35" y="143"/>
                    <a:pt x="235" y="143"/>
                    <a:pt x="235" y="143"/>
                  </a:cubicBezTo>
                  <a:lnTo>
                    <a:pt x="235" y="256"/>
                  </a:lnTo>
                  <a:close/>
                  <a:moveTo>
                    <a:pt x="161" y="172"/>
                  </a:moveTo>
                  <a:cubicBezTo>
                    <a:pt x="161" y="166"/>
                    <a:pt x="165" y="161"/>
                    <a:pt x="171" y="161"/>
                  </a:cubicBezTo>
                  <a:cubicBezTo>
                    <a:pt x="193" y="161"/>
                    <a:pt x="193" y="161"/>
                    <a:pt x="193" y="161"/>
                  </a:cubicBezTo>
                  <a:cubicBezTo>
                    <a:pt x="199" y="161"/>
                    <a:pt x="203" y="166"/>
                    <a:pt x="203" y="172"/>
                  </a:cubicBezTo>
                  <a:cubicBezTo>
                    <a:pt x="203" y="178"/>
                    <a:pt x="199" y="183"/>
                    <a:pt x="193" y="183"/>
                  </a:cubicBezTo>
                  <a:cubicBezTo>
                    <a:pt x="171" y="183"/>
                    <a:pt x="171" y="183"/>
                    <a:pt x="171" y="183"/>
                  </a:cubicBezTo>
                  <a:cubicBezTo>
                    <a:pt x="165" y="183"/>
                    <a:pt x="161" y="178"/>
                    <a:pt x="161" y="172"/>
                  </a:cubicBezTo>
                  <a:close/>
                  <a:moveTo>
                    <a:pt x="6" y="94"/>
                  </a:move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6" y="100"/>
                    <a:pt x="55" y="117"/>
                    <a:pt x="80" y="95"/>
                  </a:cubicBezTo>
                  <a:cubicBezTo>
                    <a:pt x="83" y="93"/>
                    <a:pt x="84" y="90"/>
                    <a:pt x="84" y="87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7" y="65"/>
                    <a:pt x="89" y="65"/>
                    <a:pt x="92" y="65"/>
                  </a:cubicBezTo>
                  <a:cubicBezTo>
                    <a:pt x="106" y="62"/>
                    <a:pt x="117" y="60"/>
                    <a:pt x="127" y="60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40" y="60"/>
                    <a:pt x="151" y="62"/>
                    <a:pt x="165" y="65"/>
                  </a:cubicBezTo>
                  <a:cubicBezTo>
                    <a:pt x="168" y="65"/>
                    <a:pt x="171" y="65"/>
                    <a:pt x="173" y="66"/>
                  </a:cubicBezTo>
                  <a:cubicBezTo>
                    <a:pt x="173" y="87"/>
                    <a:pt x="173" y="87"/>
                    <a:pt x="173" y="87"/>
                  </a:cubicBezTo>
                  <a:cubicBezTo>
                    <a:pt x="173" y="90"/>
                    <a:pt x="175" y="93"/>
                    <a:pt x="177" y="95"/>
                  </a:cubicBezTo>
                  <a:cubicBezTo>
                    <a:pt x="187" y="103"/>
                    <a:pt x="198" y="106"/>
                    <a:pt x="209" y="106"/>
                  </a:cubicBezTo>
                  <a:cubicBezTo>
                    <a:pt x="228" y="106"/>
                    <a:pt x="245" y="98"/>
                    <a:pt x="249" y="95"/>
                  </a:cubicBezTo>
                  <a:cubicBezTo>
                    <a:pt x="249" y="95"/>
                    <a:pt x="249" y="95"/>
                    <a:pt x="249" y="95"/>
                  </a:cubicBezTo>
                  <a:cubicBezTo>
                    <a:pt x="251" y="94"/>
                    <a:pt x="251" y="94"/>
                    <a:pt x="251" y="94"/>
                  </a:cubicBezTo>
                  <a:cubicBezTo>
                    <a:pt x="252" y="93"/>
                    <a:pt x="253" y="92"/>
                    <a:pt x="254" y="90"/>
                  </a:cubicBezTo>
                  <a:cubicBezTo>
                    <a:pt x="257" y="84"/>
                    <a:pt x="257" y="76"/>
                    <a:pt x="257" y="66"/>
                  </a:cubicBezTo>
                  <a:cubicBezTo>
                    <a:pt x="256" y="61"/>
                    <a:pt x="256" y="61"/>
                    <a:pt x="256" y="61"/>
                  </a:cubicBezTo>
                  <a:cubicBezTo>
                    <a:pt x="256" y="50"/>
                    <a:pt x="255" y="41"/>
                    <a:pt x="241" y="32"/>
                  </a:cubicBezTo>
                  <a:cubicBezTo>
                    <a:pt x="239" y="31"/>
                    <a:pt x="197" y="0"/>
                    <a:pt x="130" y="1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60" y="0"/>
                    <a:pt x="18" y="31"/>
                    <a:pt x="17" y="32"/>
                  </a:cubicBezTo>
                  <a:cubicBezTo>
                    <a:pt x="2" y="41"/>
                    <a:pt x="1" y="50"/>
                    <a:pt x="1" y="61"/>
                  </a:cubicBezTo>
                  <a:cubicBezTo>
                    <a:pt x="1" y="66"/>
                    <a:pt x="1" y="66"/>
                    <a:pt x="1" y="66"/>
                  </a:cubicBezTo>
                  <a:cubicBezTo>
                    <a:pt x="0" y="76"/>
                    <a:pt x="0" y="84"/>
                    <a:pt x="4" y="90"/>
                  </a:cubicBezTo>
                  <a:cubicBezTo>
                    <a:pt x="4" y="92"/>
                    <a:pt x="5" y="93"/>
                    <a:pt x="6" y="94"/>
                  </a:cubicBezTo>
                  <a:close/>
                  <a:moveTo>
                    <a:pt x="22" y="66"/>
                  </a:moveTo>
                  <a:cubicBezTo>
                    <a:pt x="22" y="62"/>
                    <a:pt x="22" y="62"/>
                    <a:pt x="22" y="62"/>
                  </a:cubicBezTo>
                  <a:cubicBezTo>
                    <a:pt x="22" y="55"/>
                    <a:pt x="22" y="54"/>
                    <a:pt x="29" y="49"/>
                  </a:cubicBezTo>
                  <a:cubicBezTo>
                    <a:pt x="30" y="49"/>
                    <a:pt x="68" y="21"/>
                    <a:pt x="127" y="23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89" y="21"/>
                    <a:pt x="228" y="49"/>
                    <a:pt x="229" y="50"/>
                  </a:cubicBezTo>
                  <a:cubicBezTo>
                    <a:pt x="235" y="54"/>
                    <a:pt x="235" y="55"/>
                    <a:pt x="235" y="62"/>
                  </a:cubicBezTo>
                  <a:cubicBezTo>
                    <a:pt x="235" y="66"/>
                    <a:pt x="235" y="66"/>
                    <a:pt x="235" y="66"/>
                  </a:cubicBezTo>
                  <a:cubicBezTo>
                    <a:pt x="235" y="70"/>
                    <a:pt x="235" y="75"/>
                    <a:pt x="235" y="79"/>
                  </a:cubicBezTo>
                  <a:cubicBezTo>
                    <a:pt x="229" y="82"/>
                    <a:pt x="209" y="90"/>
                    <a:pt x="195" y="81"/>
                  </a:cubicBezTo>
                  <a:cubicBezTo>
                    <a:pt x="195" y="57"/>
                    <a:pt x="195" y="57"/>
                    <a:pt x="195" y="57"/>
                  </a:cubicBezTo>
                  <a:cubicBezTo>
                    <a:pt x="195" y="52"/>
                    <a:pt x="191" y="47"/>
                    <a:pt x="186" y="46"/>
                  </a:cubicBezTo>
                  <a:cubicBezTo>
                    <a:pt x="180" y="45"/>
                    <a:pt x="174" y="44"/>
                    <a:pt x="169" y="43"/>
                  </a:cubicBezTo>
                  <a:cubicBezTo>
                    <a:pt x="155" y="41"/>
                    <a:pt x="142" y="39"/>
                    <a:pt x="131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15" y="39"/>
                    <a:pt x="103" y="41"/>
                    <a:pt x="88" y="43"/>
                  </a:cubicBezTo>
                  <a:cubicBezTo>
                    <a:pt x="83" y="44"/>
                    <a:pt x="78" y="45"/>
                    <a:pt x="72" y="46"/>
                  </a:cubicBezTo>
                  <a:cubicBezTo>
                    <a:pt x="67" y="47"/>
                    <a:pt x="63" y="52"/>
                    <a:pt x="63" y="57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49" y="90"/>
                    <a:pt x="29" y="82"/>
                    <a:pt x="22" y="79"/>
                  </a:cubicBezTo>
                  <a:cubicBezTo>
                    <a:pt x="22" y="75"/>
                    <a:pt x="22" y="70"/>
                    <a:pt x="22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0" name="Freeform 404"/>
          <p:cNvSpPr>
            <a:spLocks noChangeAspect="1" noEditPoints="1"/>
          </p:cNvSpPr>
          <p:nvPr/>
        </p:nvSpPr>
        <p:spPr bwMode="auto">
          <a:xfrm>
            <a:off x="2447351" y="454441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5 w 512"/>
              <a:gd name="T11" fmla="*/ 370 h 512"/>
              <a:gd name="T12" fmla="*/ 263 w 512"/>
              <a:gd name="T13" fmla="*/ 402 h 512"/>
              <a:gd name="T14" fmla="*/ 260 w 512"/>
              <a:gd name="T15" fmla="*/ 404 h 512"/>
              <a:gd name="T16" fmla="*/ 256 w 512"/>
              <a:gd name="T17" fmla="*/ 405 h 512"/>
              <a:gd name="T18" fmla="*/ 252 w 512"/>
              <a:gd name="T19" fmla="*/ 404 h 512"/>
              <a:gd name="T20" fmla="*/ 248 w 512"/>
              <a:gd name="T21" fmla="*/ 402 h 512"/>
              <a:gd name="T22" fmla="*/ 216 w 512"/>
              <a:gd name="T23" fmla="*/ 370 h 512"/>
              <a:gd name="T24" fmla="*/ 216 w 512"/>
              <a:gd name="T25" fmla="*/ 355 h 512"/>
              <a:gd name="T26" fmla="*/ 231 w 512"/>
              <a:gd name="T27" fmla="*/ 355 h 512"/>
              <a:gd name="T28" fmla="*/ 245 w 512"/>
              <a:gd name="T29" fmla="*/ 369 h 512"/>
              <a:gd name="T30" fmla="*/ 245 w 512"/>
              <a:gd name="T31" fmla="*/ 245 h 512"/>
              <a:gd name="T32" fmla="*/ 256 w 512"/>
              <a:gd name="T33" fmla="*/ 234 h 512"/>
              <a:gd name="T34" fmla="*/ 266 w 512"/>
              <a:gd name="T35" fmla="*/ 245 h 512"/>
              <a:gd name="T36" fmla="*/ 266 w 512"/>
              <a:gd name="T37" fmla="*/ 369 h 512"/>
              <a:gd name="T38" fmla="*/ 280 w 512"/>
              <a:gd name="T39" fmla="*/ 355 h 512"/>
              <a:gd name="T40" fmla="*/ 295 w 512"/>
              <a:gd name="T41" fmla="*/ 355 h 512"/>
              <a:gd name="T42" fmla="*/ 295 w 512"/>
              <a:gd name="T43" fmla="*/ 370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370"/>
                </a:moveTo>
                <a:cubicBezTo>
                  <a:pt x="263" y="402"/>
                  <a:pt x="263" y="402"/>
                  <a:pt x="263" y="402"/>
                </a:cubicBezTo>
                <a:cubicBezTo>
                  <a:pt x="262" y="403"/>
                  <a:pt x="261" y="404"/>
                  <a:pt x="260" y="404"/>
                </a:cubicBezTo>
                <a:cubicBezTo>
                  <a:pt x="258" y="405"/>
                  <a:pt x="257" y="405"/>
                  <a:pt x="256" y="405"/>
                </a:cubicBezTo>
                <a:cubicBezTo>
                  <a:pt x="254" y="405"/>
                  <a:pt x="253" y="405"/>
                  <a:pt x="252" y="404"/>
                </a:cubicBezTo>
                <a:cubicBezTo>
                  <a:pt x="250" y="404"/>
                  <a:pt x="249" y="403"/>
                  <a:pt x="248" y="402"/>
                </a:cubicBezTo>
                <a:cubicBezTo>
                  <a:pt x="216" y="370"/>
                  <a:pt x="216" y="370"/>
                  <a:pt x="216" y="370"/>
                </a:cubicBezTo>
                <a:cubicBezTo>
                  <a:pt x="212" y="366"/>
                  <a:pt x="212" y="359"/>
                  <a:pt x="216" y="355"/>
                </a:cubicBezTo>
                <a:cubicBezTo>
                  <a:pt x="220" y="351"/>
                  <a:pt x="227" y="351"/>
                  <a:pt x="231" y="355"/>
                </a:cubicBezTo>
                <a:cubicBezTo>
                  <a:pt x="245" y="369"/>
                  <a:pt x="245" y="369"/>
                  <a:pt x="245" y="369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369"/>
                  <a:pt x="266" y="369"/>
                  <a:pt x="266" y="369"/>
                </a:cubicBezTo>
                <a:cubicBezTo>
                  <a:pt x="280" y="355"/>
                  <a:pt x="280" y="355"/>
                  <a:pt x="280" y="355"/>
                </a:cubicBezTo>
                <a:cubicBezTo>
                  <a:pt x="284" y="351"/>
                  <a:pt x="291" y="351"/>
                  <a:pt x="295" y="355"/>
                </a:cubicBezTo>
                <a:cubicBezTo>
                  <a:pt x="299" y="359"/>
                  <a:pt x="299" y="366"/>
                  <a:pt x="295" y="370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1" name="Group 407"/>
          <p:cNvGrpSpPr>
            <a:grpSpLocks noChangeAspect="1"/>
          </p:cNvGrpSpPr>
          <p:nvPr/>
        </p:nvGrpSpPr>
        <p:grpSpPr bwMode="auto">
          <a:xfrm>
            <a:off x="2945291" y="4544413"/>
            <a:ext cx="368713" cy="368713"/>
            <a:chOff x="1898" y="1602"/>
            <a:chExt cx="341" cy="341"/>
          </a:xfrm>
          <a:solidFill>
            <a:schemeClr val="accent5"/>
          </a:solidFill>
        </p:grpSpPr>
        <p:sp>
          <p:nvSpPr>
            <p:cNvPr id="402" name="Freeform 408"/>
            <p:cNvSpPr>
              <a:spLocks noEditPoints="1"/>
            </p:cNvSpPr>
            <p:nvPr/>
          </p:nvSpPr>
          <p:spPr bwMode="auto">
            <a:xfrm>
              <a:off x="1898" y="1602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3" name="Freeform 409"/>
            <p:cNvSpPr>
              <a:spLocks noEditPoints="1"/>
            </p:cNvSpPr>
            <p:nvPr/>
          </p:nvSpPr>
          <p:spPr bwMode="auto">
            <a:xfrm>
              <a:off x="1962" y="1687"/>
              <a:ext cx="213" cy="185"/>
            </a:xfrm>
            <a:custGeom>
              <a:avLst/>
              <a:gdLst>
                <a:gd name="T0" fmla="*/ 199 w 320"/>
                <a:gd name="T1" fmla="*/ 227 h 277"/>
                <a:gd name="T2" fmla="*/ 199 w 320"/>
                <a:gd name="T3" fmla="*/ 242 h 277"/>
                <a:gd name="T4" fmla="*/ 167 w 320"/>
                <a:gd name="T5" fmla="*/ 274 h 277"/>
                <a:gd name="T6" fmla="*/ 164 w 320"/>
                <a:gd name="T7" fmla="*/ 276 h 277"/>
                <a:gd name="T8" fmla="*/ 160 w 320"/>
                <a:gd name="T9" fmla="*/ 277 h 277"/>
                <a:gd name="T10" fmla="*/ 156 w 320"/>
                <a:gd name="T11" fmla="*/ 276 h 277"/>
                <a:gd name="T12" fmla="*/ 152 w 320"/>
                <a:gd name="T13" fmla="*/ 274 h 277"/>
                <a:gd name="T14" fmla="*/ 120 w 320"/>
                <a:gd name="T15" fmla="*/ 242 h 277"/>
                <a:gd name="T16" fmla="*/ 120 w 320"/>
                <a:gd name="T17" fmla="*/ 227 h 277"/>
                <a:gd name="T18" fmla="*/ 135 w 320"/>
                <a:gd name="T19" fmla="*/ 227 h 277"/>
                <a:gd name="T20" fmla="*/ 149 w 320"/>
                <a:gd name="T21" fmla="*/ 241 h 277"/>
                <a:gd name="T22" fmla="*/ 149 w 320"/>
                <a:gd name="T23" fmla="*/ 117 h 277"/>
                <a:gd name="T24" fmla="*/ 160 w 320"/>
                <a:gd name="T25" fmla="*/ 106 h 277"/>
                <a:gd name="T26" fmla="*/ 170 w 320"/>
                <a:gd name="T27" fmla="*/ 117 h 277"/>
                <a:gd name="T28" fmla="*/ 170 w 320"/>
                <a:gd name="T29" fmla="*/ 241 h 277"/>
                <a:gd name="T30" fmla="*/ 184 w 320"/>
                <a:gd name="T31" fmla="*/ 227 h 277"/>
                <a:gd name="T32" fmla="*/ 199 w 320"/>
                <a:gd name="T33" fmla="*/ 227 h 277"/>
                <a:gd name="T34" fmla="*/ 266 w 320"/>
                <a:gd name="T35" fmla="*/ 85 h 277"/>
                <a:gd name="T36" fmla="*/ 262 w 320"/>
                <a:gd name="T37" fmla="*/ 85 h 277"/>
                <a:gd name="T38" fmla="*/ 176 w 320"/>
                <a:gd name="T39" fmla="*/ 0 h 277"/>
                <a:gd name="T40" fmla="*/ 94 w 320"/>
                <a:gd name="T41" fmla="*/ 55 h 277"/>
                <a:gd name="T42" fmla="*/ 71 w 320"/>
                <a:gd name="T43" fmla="*/ 50 h 277"/>
                <a:gd name="T44" fmla="*/ 0 w 320"/>
                <a:gd name="T45" fmla="*/ 121 h 277"/>
                <a:gd name="T46" fmla="*/ 71 w 320"/>
                <a:gd name="T47" fmla="*/ 192 h 277"/>
                <a:gd name="T48" fmla="*/ 106 w 320"/>
                <a:gd name="T49" fmla="*/ 192 h 277"/>
                <a:gd name="T50" fmla="*/ 117 w 320"/>
                <a:gd name="T51" fmla="*/ 181 h 277"/>
                <a:gd name="T52" fmla="*/ 106 w 320"/>
                <a:gd name="T53" fmla="*/ 170 h 277"/>
                <a:gd name="T54" fmla="*/ 71 w 320"/>
                <a:gd name="T55" fmla="*/ 170 h 277"/>
                <a:gd name="T56" fmla="*/ 21 w 320"/>
                <a:gd name="T57" fmla="*/ 121 h 277"/>
                <a:gd name="T58" fmla="*/ 71 w 320"/>
                <a:gd name="T59" fmla="*/ 71 h 277"/>
                <a:gd name="T60" fmla="*/ 95 w 320"/>
                <a:gd name="T61" fmla="*/ 79 h 277"/>
                <a:gd name="T62" fmla="*/ 105 w 320"/>
                <a:gd name="T63" fmla="*/ 80 h 277"/>
                <a:gd name="T64" fmla="*/ 111 w 320"/>
                <a:gd name="T65" fmla="*/ 73 h 277"/>
                <a:gd name="T66" fmla="*/ 176 w 320"/>
                <a:gd name="T67" fmla="*/ 21 h 277"/>
                <a:gd name="T68" fmla="*/ 241 w 320"/>
                <a:gd name="T69" fmla="*/ 86 h 277"/>
                <a:gd name="T70" fmla="*/ 240 w 320"/>
                <a:gd name="T71" fmla="*/ 94 h 277"/>
                <a:gd name="T72" fmla="*/ 239 w 320"/>
                <a:gd name="T73" fmla="*/ 99 h 277"/>
                <a:gd name="T74" fmla="*/ 243 w 320"/>
                <a:gd name="T75" fmla="*/ 109 h 277"/>
                <a:gd name="T76" fmla="*/ 255 w 320"/>
                <a:gd name="T77" fmla="*/ 110 h 277"/>
                <a:gd name="T78" fmla="*/ 266 w 320"/>
                <a:gd name="T79" fmla="*/ 106 h 277"/>
                <a:gd name="T80" fmla="*/ 298 w 320"/>
                <a:gd name="T81" fmla="*/ 138 h 277"/>
                <a:gd name="T82" fmla="*/ 266 w 320"/>
                <a:gd name="T83" fmla="*/ 170 h 277"/>
                <a:gd name="T84" fmla="*/ 213 w 320"/>
                <a:gd name="T85" fmla="*/ 170 h 277"/>
                <a:gd name="T86" fmla="*/ 202 w 320"/>
                <a:gd name="T87" fmla="*/ 181 h 277"/>
                <a:gd name="T88" fmla="*/ 213 w 320"/>
                <a:gd name="T89" fmla="*/ 192 h 277"/>
                <a:gd name="T90" fmla="*/ 266 w 320"/>
                <a:gd name="T91" fmla="*/ 192 h 277"/>
                <a:gd name="T92" fmla="*/ 320 w 320"/>
                <a:gd name="T93" fmla="*/ 138 h 277"/>
                <a:gd name="T94" fmla="*/ 266 w 320"/>
                <a:gd name="T95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0" h="277">
                  <a:moveTo>
                    <a:pt x="199" y="227"/>
                  </a:moveTo>
                  <a:cubicBezTo>
                    <a:pt x="203" y="231"/>
                    <a:pt x="203" y="238"/>
                    <a:pt x="199" y="242"/>
                  </a:cubicBezTo>
                  <a:cubicBezTo>
                    <a:pt x="167" y="274"/>
                    <a:pt x="167" y="274"/>
                    <a:pt x="167" y="274"/>
                  </a:cubicBezTo>
                  <a:cubicBezTo>
                    <a:pt x="166" y="275"/>
                    <a:pt x="165" y="276"/>
                    <a:pt x="164" y="276"/>
                  </a:cubicBezTo>
                  <a:cubicBezTo>
                    <a:pt x="162" y="277"/>
                    <a:pt x="161" y="277"/>
                    <a:pt x="160" y="277"/>
                  </a:cubicBezTo>
                  <a:cubicBezTo>
                    <a:pt x="158" y="277"/>
                    <a:pt x="157" y="277"/>
                    <a:pt x="156" y="276"/>
                  </a:cubicBezTo>
                  <a:cubicBezTo>
                    <a:pt x="154" y="276"/>
                    <a:pt x="153" y="275"/>
                    <a:pt x="152" y="274"/>
                  </a:cubicBezTo>
                  <a:cubicBezTo>
                    <a:pt x="120" y="242"/>
                    <a:pt x="120" y="242"/>
                    <a:pt x="120" y="242"/>
                  </a:cubicBezTo>
                  <a:cubicBezTo>
                    <a:pt x="116" y="238"/>
                    <a:pt x="116" y="231"/>
                    <a:pt x="120" y="227"/>
                  </a:cubicBezTo>
                  <a:cubicBezTo>
                    <a:pt x="124" y="223"/>
                    <a:pt x="131" y="223"/>
                    <a:pt x="135" y="227"/>
                  </a:cubicBezTo>
                  <a:cubicBezTo>
                    <a:pt x="149" y="241"/>
                    <a:pt x="149" y="241"/>
                    <a:pt x="149" y="241"/>
                  </a:cubicBezTo>
                  <a:cubicBezTo>
                    <a:pt x="149" y="117"/>
                    <a:pt x="149" y="117"/>
                    <a:pt x="149" y="117"/>
                  </a:cubicBezTo>
                  <a:cubicBezTo>
                    <a:pt x="149" y="111"/>
                    <a:pt x="154" y="106"/>
                    <a:pt x="160" y="106"/>
                  </a:cubicBezTo>
                  <a:cubicBezTo>
                    <a:pt x="166" y="106"/>
                    <a:pt x="170" y="111"/>
                    <a:pt x="170" y="117"/>
                  </a:cubicBezTo>
                  <a:cubicBezTo>
                    <a:pt x="170" y="241"/>
                    <a:pt x="170" y="241"/>
                    <a:pt x="170" y="241"/>
                  </a:cubicBezTo>
                  <a:cubicBezTo>
                    <a:pt x="184" y="227"/>
                    <a:pt x="184" y="227"/>
                    <a:pt x="184" y="227"/>
                  </a:cubicBezTo>
                  <a:cubicBezTo>
                    <a:pt x="188" y="223"/>
                    <a:pt x="195" y="223"/>
                    <a:pt x="199" y="227"/>
                  </a:cubicBezTo>
                  <a:close/>
                  <a:moveTo>
                    <a:pt x="266" y="85"/>
                  </a:moveTo>
                  <a:cubicBezTo>
                    <a:pt x="265" y="85"/>
                    <a:pt x="264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106" y="192"/>
                    <a:pt x="106" y="192"/>
                    <a:pt x="106" y="192"/>
                  </a:cubicBezTo>
                  <a:cubicBezTo>
                    <a:pt x="112" y="192"/>
                    <a:pt x="117" y="187"/>
                    <a:pt x="117" y="181"/>
                  </a:cubicBezTo>
                  <a:cubicBezTo>
                    <a:pt x="117" y="175"/>
                    <a:pt x="112" y="170"/>
                    <a:pt x="106" y="170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6"/>
                    <a:pt x="240" y="97"/>
                    <a:pt x="239" y="99"/>
                  </a:cubicBezTo>
                  <a:cubicBezTo>
                    <a:pt x="238" y="103"/>
                    <a:pt x="240" y="107"/>
                    <a:pt x="243" y="109"/>
                  </a:cubicBezTo>
                  <a:cubicBezTo>
                    <a:pt x="247" y="112"/>
                    <a:pt x="251" y="112"/>
                    <a:pt x="255" y="110"/>
                  </a:cubicBezTo>
                  <a:cubicBezTo>
                    <a:pt x="261" y="107"/>
                    <a:pt x="265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ubicBezTo>
                    <a:pt x="213" y="170"/>
                    <a:pt x="213" y="170"/>
                    <a:pt x="213" y="170"/>
                  </a:cubicBezTo>
                  <a:cubicBezTo>
                    <a:pt x="207" y="170"/>
                    <a:pt x="202" y="175"/>
                    <a:pt x="202" y="181"/>
                  </a:cubicBezTo>
                  <a:cubicBezTo>
                    <a:pt x="202" y="187"/>
                    <a:pt x="207" y="192"/>
                    <a:pt x="213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4" name="Freeform 993"/>
          <p:cNvSpPr>
            <a:spLocks noChangeAspect="1" noEditPoints="1"/>
          </p:cNvSpPr>
          <p:nvPr/>
        </p:nvSpPr>
        <p:spPr bwMode="auto">
          <a:xfrm>
            <a:off x="3444313" y="4544413"/>
            <a:ext cx="367041" cy="367041"/>
          </a:xfrm>
          <a:custGeom>
            <a:avLst/>
            <a:gdLst>
              <a:gd name="T0" fmla="*/ 202 w 512"/>
              <a:gd name="T1" fmla="*/ 266 h 512"/>
              <a:gd name="T2" fmla="*/ 245 w 512"/>
              <a:gd name="T3" fmla="*/ 202 h 512"/>
              <a:gd name="T4" fmla="*/ 160 w 512"/>
              <a:gd name="T5" fmla="*/ 160 h 512"/>
              <a:gd name="T6" fmla="*/ 394 w 512"/>
              <a:gd name="T7" fmla="*/ 341 h 512"/>
              <a:gd name="T8" fmla="*/ 158 w 512"/>
              <a:gd name="T9" fmla="*/ 352 h 512"/>
              <a:gd name="T10" fmla="*/ 160 w 512"/>
              <a:gd name="T11" fmla="*/ 160 h 512"/>
              <a:gd name="T12" fmla="*/ 298 w 512"/>
              <a:gd name="T13" fmla="*/ 202 h 512"/>
              <a:gd name="T14" fmla="*/ 373 w 512"/>
              <a:gd name="T15" fmla="*/ 192 h 512"/>
              <a:gd name="T16" fmla="*/ 298 w 512"/>
              <a:gd name="T17" fmla="*/ 181 h 512"/>
              <a:gd name="T18" fmla="*/ 288 w 512"/>
              <a:gd name="T19" fmla="*/ 234 h 512"/>
              <a:gd name="T20" fmla="*/ 362 w 512"/>
              <a:gd name="T21" fmla="*/ 245 h 512"/>
              <a:gd name="T22" fmla="*/ 362 w 512"/>
              <a:gd name="T23" fmla="*/ 224 h 512"/>
              <a:gd name="T24" fmla="*/ 288 w 512"/>
              <a:gd name="T25" fmla="*/ 234 h 512"/>
              <a:gd name="T26" fmla="*/ 298 w 512"/>
              <a:gd name="T27" fmla="*/ 288 h 512"/>
              <a:gd name="T28" fmla="*/ 373 w 512"/>
              <a:gd name="T29" fmla="*/ 277 h 512"/>
              <a:gd name="T30" fmla="*/ 298 w 512"/>
              <a:gd name="T31" fmla="*/ 266 h 512"/>
              <a:gd name="T32" fmla="*/ 288 w 512"/>
              <a:gd name="T33" fmla="*/ 320 h 512"/>
              <a:gd name="T34" fmla="*/ 362 w 512"/>
              <a:gd name="T35" fmla="*/ 330 h 512"/>
              <a:gd name="T36" fmla="*/ 362 w 512"/>
              <a:gd name="T37" fmla="*/ 309 h 512"/>
              <a:gd name="T38" fmla="*/ 288 w 512"/>
              <a:gd name="T39" fmla="*/ 320 h 512"/>
              <a:gd name="T40" fmla="*/ 192 w 512"/>
              <a:gd name="T41" fmla="*/ 288 h 512"/>
              <a:gd name="T42" fmla="*/ 266 w 512"/>
              <a:gd name="T43" fmla="*/ 277 h 512"/>
              <a:gd name="T44" fmla="*/ 256 w 512"/>
              <a:gd name="T45" fmla="*/ 181 h 512"/>
              <a:gd name="T46" fmla="*/ 181 w 512"/>
              <a:gd name="T47" fmla="*/ 192 h 512"/>
              <a:gd name="T48" fmla="*/ 181 w 512"/>
              <a:gd name="T49" fmla="*/ 320 h 512"/>
              <a:gd name="T50" fmla="*/ 256 w 512"/>
              <a:gd name="T51" fmla="*/ 330 h 512"/>
              <a:gd name="T52" fmla="*/ 256 w 512"/>
              <a:gd name="T53" fmla="*/ 309 h 512"/>
              <a:gd name="T54" fmla="*/ 181 w 512"/>
              <a:gd name="T55" fmla="*/ 320 h 512"/>
              <a:gd name="T56" fmla="*/ 256 w 512"/>
              <a:gd name="T57" fmla="*/ 512 h 512"/>
              <a:gd name="T58" fmla="*/ 256 w 512"/>
              <a:gd name="T59" fmla="*/ 0 h 512"/>
              <a:gd name="T60" fmla="*/ 416 w 512"/>
              <a:gd name="T61" fmla="*/ 149 h 512"/>
              <a:gd name="T62" fmla="*/ 149 w 512"/>
              <a:gd name="T63" fmla="*/ 138 h 512"/>
              <a:gd name="T64" fmla="*/ 138 w 512"/>
              <a:gd name="T65" fmla="*/ 341 h 512"/>
              <a:gd name="T66" fmla="*/ 117 w 512"/>
              <a:gd name="T67" fmla="*/ 341 h 512"/>
              <a:gd name="T68" fmla="*/ 106 w 512"/>
              <a:gd name="T69" fmla="*/ 138 h 512"/>
              <a:gd name="T70" fmla="*/ 96 w 512"/>
              <a:gd name="T71" fmla="*/ 341 h 512"/>
              <a:gd name="T72" fmla="*/ 384 w 512"/>
              <a:gd name="T73" fmla="*/ 373 h 512"/>
              <a:gd name="T74" fmla="*/ 416 w 512"/>
              <a:gd name="T75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45" y="266"/>
                </a:moveTo>
                <a:cubicBezTo>
                  <a:pt x="202" y="266"/>
                  <a:pt x="202" y="266"/>
                  <a:pt x="202" y="266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45" y="202"/>
                  <a:pt x="245" y="202"/>
                  <a:pt x="245" y="202"/>
                </a:cubicBezTo>
                <a:lnTo>
                  <a:pt x="245" y="266"/>
                </a:lnTo>
                <a:close/>
                <a:moveTo>
                  <a:pt x="160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94" y="347"/>
                  <a:pt x="390" y="352"/>
                  <a:pt x="384" y="352"/>
                </a:cubicBezTo>
                <a:cubicBezTo>
                  <a:pt x="158" y="352"/>
                  <a:pt x="158" y="352"/>
                  <a:pt x="158" y="352"/>
                </a:cubicBezTo>
                <a:cubicBezTo>
                  <a:pt x="159" y="348"/>
                  <a:pt x="160" y="345"/>
                  <a:pt x="160" y="341"/>
                </a:cubicBezTo>
                <a:lnTo>
                  <a:pt x="160" y="160"/>
                </a:lnTo>
                <a:close/>
                <a:moveTo>
                  <a:pt x="288" y="192"/>
                </a:moveTo>
                <a:cubicBezTo>
                  <a:pt x="288" y="198"/>
                  <a:pt x="292" y="202"/>
                  <a:pt x="298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198"/>
                  <a:pt x="373" y="192"/>
                </a:cubicBezTo>
                <a:cubicBezTo>
                  <a:pt x="373" y="186"/>
                  <a:pt x="368" y="181"/>
                  <a:pt x="362" y="181"/>
                </a:cubicBezTo>
                <a:cubicBezTo>
                  <a:pt x="298" y="181"/>
                  <a:pt x="298" y="181"/>
                  <a:pt x="298" y="181"/>
                </a:cubicBezTo>
                <a:cubicBezTo>
                  <a:pt x="292" y="181"/>
                  <a:pt x="288" y="186"/>
                  <a:pt x="288" y="192"/>
                </a:cubicBezTo>
                <a:close/>
                <a:moveTo>
                  <a:pt x="288" y="234"/>
                </a:moveTo>
                <a:cubicBezTo>
                  <a:pt x="288" y="240"/>
                  <a:pt x="292" y="245"/>
                  <a:pt x="298" y="245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8" y="245"/>
                  <a:pt x="373" y="240"/>
                  <a:pt x="373" y="234"/>
                </a:cubicBezTo>
                <a:cubicBezTo>
                  <a:pt x="373" y="228"/>
                  <a:pt x="368" y="224"/>
                  <a:pt x="362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292" y="224"/>
                  <a:pt x="288" y="228"/>
                  <a:pt x="288" y="234"/>
                </a:cubicBezTo>
                <a:close/>
                <a:moveTo>
                  <a:pt x="288" y="277"/>
                </a:moveTo>
                <a:cubicBezTo>
                  <a:pt x="288" y="283"/>
                  <a:pt x="292" y="288"/>
                  <a:pt x="298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83"/>
                  <a:pt x="373" y="277"/>
                </a:cubicBezTo>
                <a:cubicBezTo>
                  <a:pt x="373" y="271"/>
                  <a:pt x="368" y="266"/>
                  <a:pt x="362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lose/>
                <a:moveTo>
                  <a:pt x="288" y="320"/>
                </a:moveTo>
                <a:cubicBezTo>
                  <a:pt x="288" y="326"/>
                  <a:pt x="292" y="330"/>
                  <a:pt x="298" y="330"/>
                </a:cubicBezTo>
                <a:cubicBezTo>
                  <a:pt x="362" y="330"/>
                  <a:pt x="362" y="330"/>
                  <a:pt x="362" y="330"/>
                </a:cubicBezTo>
                <a:cubicBezTo>
                  <a:pt x="368" y="330"/>
                  <a:pt x="373" y="326"/>
                  <a:pt x="373" y="320"/>
                </a:cubicBezTo>
                <a:cubicBezTo>
                  <a:pt x="373" y="314"/>
                  <a:pt x="368" y="309"/>
                  <a:pt x="362" y="309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lose/>
                <a:moveTo>
                  <a:pt x="181" y="277"/>
                </a:moveTo>
                <a:cubicBezTo>
                  <a:pt x="181" y="283"/>
                  <a:pt x="186" y="288"/>
                  <a:pt x="192" y="288"/>
                </a:cubicBezTo>
                <a:cubicBezTo>
                  <a:pt x="256" y="288"/>
                  <a:pt x="256" y="288"/>
                  <a:pt x="256" y="288"/>
                </a:cubicBezTo>
                <a:cubicBezTo>
                  <a:pt x="262" y="288"/>
                  <a:pt x="266" y="283"/>
                  <a:pt x="266" y="277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66" y="186"/>
                  <a:pt x="262" y="181"/>
                  <a:pt x="256" y="181"/>
                </a:cubicBezTo>
                <a:cubicBezTo>
                  <a:pt x="192" y="181"/>
                  <a:pt x="192" y="181"/>
                  <a:pt x="192" y="181"/>
                </a:cubicBezTo>
                <a:cubicBezTo>
                  <a:pt x="186" y="181"/>
                  <a:pt x="181" y="186"/>
                  <a:pt x="181" y="192"/>
                </a:cubicBezTo>
                <a:lnTo>
                  <a:pt x="181" y="277"/>
                </a:lnTo>
                <a:close/>
                <a:moveTo>
                  <a:pt x="181" y="320"/>
                </a:moveTo>
                <a:cubicBezTo>
                  <a:pt x="181" y="326"/>
                  <a:pt x="186" y="330"/>
                  <a:pt x="192" y="330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62" y="330"/>
                  <a:pt x="266" y="326"/>
                  <a:pt x="266" y="320"/>
                </a:cubicBezTo>
                <a:cubicBezTo>
                  <a:pt x="266" y="314"/>
                  <a:pt x="262" y="309"/>
                  <a:pt x="256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341"/>
                  <a:pt x="138" y="341"/>
                  <a:pt x="138" y="341"/>
                </a:cubicBezTo>
                <a:cubicBezTo>
                  <a:pt x="138" y="347"/>
                  <a:pt x="134" y="352"/>
                  <a:pt x="128" y="352"/>
                </a:cubicBezTo>
                <a:cubicBezTo>
                  <a:pt x="122" y="352"/>
                  <a:pt x="117" y="347"/>
                  <a:pt x="117" y="341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7" y="143"/>
                  <a:pt x="112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59"/>
                  <a:pt x="110" y="373"/>
                  <a:pt x="128" y="373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401" y="373"/>
                  <a:pt x="416" y="359"/>
                  <a:pt x="416" y="341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5" name="Group 996"/>
          <p:cNvGrpSpPr>
            <a:grpSpLocks noChangeAspect="1"/>
          </p:cNvGrpSpPr>
          <p:nvPr/>
        </p:nvGrpSpPr>
        <p:grpSpPr bwMode="auto">
          <a:xfrm>
            <a:off x="3941663" y="4544413"/>
            <a:ext cx="367041" cy="368121"/>
            <a:chOff x="3482" y="3998"/>
            <a:chExt cx="340" cy="341"/>
          </a:xfrm>
          <a:solidFill>
            <a:schemeClr val="accent5"/>
          </a:solidFill>
        </p:grpSpPr>
        <p:sp>
          <p:nvSpPr>
            <p:cNvPr id="406" name="Freeform 997"/>
            <p:cNvSpPr>
              <a:spLocks noEditPoints="1"/>
            </p:cNvSpPr>
            <p:nvPr/>
          </p:nvSpPr>
          <p:spPr bwMode="auto">
            <a:xfrm>
              <a:off x="3482" y="399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7" name="Freeform 998"/>
            <p:cNvSpPr>
              <a:spLocks noEditPoints="1"/>
            </p:cNvSpPr>
            <p:nvPr/>
          </p:nvSpPr>
          <p:spPr bwMode="auto">
            <a:xfrm>
              <a:off x="3546" y="4090"/>
              <a:ext cx="212" cy="156"/>
            </a:xfrm>
            <a:custGeom>
              <a:avLst/>
              <a:gdLst>
                <a:gd name="T0" fmla="*/ 96 w 320"/>
                <a:gd name="T1" fmla="*/ 43 h 235"/>
                <a:gd name="T2" fmla="*/ 85 w 320"/>
                <a:gd name="T3" fmla="*/ 139 h 235"/>
                <a:gd name="T4" fmla="*/ 160 w 320"/>
                <a:gd name="T5" fmla="*/ 150 h 235"/>
                <a:gd name="T6" fmla="*/ 170 w 320"/>
                <a:gd name="T7" fmla="*/ 54 h 235"/>
                <a:gd name="T8" fmla="*/ 149 w 320"/>
                <a:gd name="T9" fmla="*/ 128 h 235"/>
                <a:gd name="T10" fmla="*/ 106 w 320"/>
                <a:gd name="T11" fmla="*/ 64 h 235"/>
                <a:gd name="T12" fmla="*/ 149 w 320"/>
                <a:gd name="T13" fmla="*/ 128 h 235"/>
                <a:gd name="T14" fmla="*/ 266 w 320"/>
                <a:gd name="T15" fmla="*/ 64 h 235"/>
                <a:gd name="T16" fmla="*/ 192 w 320"/>
                <a:gd name="T17" fmla="*/ 54 h 235"/>
                <a:gd name="T18" fmla="*/ 266 w 320"/>
                <a:gd name="T19" fmla="*/ 43 h 235"/>
                <a:gd name="T20" fmla="*/ 277 w 320"/>
                <a:gd name="T21" fmla="*/ 96 h 235"/>
                <a:gd name="T22" fmla="*/ 202 w 320"/>
                <a:gd name="T23" fmla="*/ 107 h 235"/>
                <a:gd name="T24" fmla="*/ 202 w 320"/>
                <a:gd name="T25" fmla="*/ 86 h 235"/>
                <a:gd name="T26" fmla="*/ 277 w 320"/>
                <a:gd name="T27" fmla="*/ 96 h 235"/>
                <a:gd name="T28" fmla="*/ 266 w 320"/>
                <a:gd name="T29" fmla="*/ 150 h 235"/>
                <a:gd name="T30" fmla="*/ 192 w 320"/>
                <a:gd name="T31" fmla="*/ 139 h 235"/>
                <a:gd name="T32" fmla="*/ 266 w 320"/>
                <a:gd name="T33" fmla="*/ 128 h 235"/>
                <a:gd name="T34" fmla="*/ 277 w 320"/>
                <a:gd name="T35" fmla="*/ 182 h 235"/>
                <a:gd name="T36" fmla="*/ 202 w 320"/>
                <a:gd name="T37" fmla="*/ 192 h 235"/>
                <a:gd name="T38" fmla="*/ 202 w 320"/>
                <a:gd name="T39" fmla="*/ 171 h 235"/>
                <a:gd name="T40" fmla="*/ 277 w 320"/>
                <a:gd name="T41" fmla="*/ 182 h 235"/>
                <a:gd name="T42" fmla="*/ 160 w 320"/>
                <a:gd name="T43" fmla="*/ 192 h 235"/>
                <a:gd name="T44" fmla="*/ 85 w 320"/>
                <a:gd name="T45" fmla="*/ 182 h 235"/>
                <a:gd name="T46" fmla="*/ 160 w 320"/>
                <a:gd name="T47" fmla="*/ 171 h 235"/>
                <a:gd name="T48" fmla="*/ 309 w 320"/>
                <a:gd name="T49" fmla="*/ 0 h 235"/>
                <a:gd name="T50" fmla="*/ 42 w 320"/>
                <a:gd name="T51" fmla="*/ 11 h 235"/>
                <a:gd name="T52" fmla="*/ 32 w 320"/>
                <a:gd name="T53" fmla="*/ 214 h 235"/>
                <a:gd name="T54" fmla="*/ 21 w 320"/>
                <a:gd name="T55" fmla="*/ 11 h 235"/>
                <a:gd name="T56" fmla="*/ 0 w 320"/>
                <a:gd name="T57" fmla="*/ 11 h 235"/>
                <a:gd name="T58" fmla="*/ 32 w 320"/>
                <a:gd name="T59" fmla="*/ 235 h 235"/>
                <a:gd name="T60" fmla="*/ 320 w 320"/>
                <a:gd name="T61" fmla="*/ 203 h 235"/>
                <a:gd name="T62" fmla="*/ 309 w 320"/>
                <a:gd name="T63" fmla="*/ 0 h 235"/>
                <a:gd name="T64" fmla="*/ 288 w 320"/>
                <a:gd name="T65" fmla="*/ 214 h 235"/>
                <a:gd name="T66" fmla="*/ 64 w 320"/>
                <a:gd name="T67" fmla="*/ 203 h 235"/>
                <a:gd name="T68" fmla="*/ 298 w 320"/>
                <a:gd name="T69" fmla="*/ 2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35">
                  <a:moveTo>
                    <a:pt x="160" y="43"/>
                  </a:moveTo>
                  <a:cubicBezTo>
                    <a:pt x="96" y="43"/>
                    <a:pt x="96" y="43"/>
                    <a:pt x="96" y="43"/>
                  </a:cubicBezTo>
                  <a:cubicBezTo>
                    <a:pt x="90" y="43"/>
                    <a:pt x="85" y="48"/>
                    <a:pt x="85" y="54"/>
                  </a:cubicBezTo>
                  <a:cubicBezTo>
                    <a:pt x="85" y="139"/>
                    <a:pt x="85" y="139"/>
                    <a:pt x="85" y="139"/>
                  </a:cubicBezTo>
                  <a:cubicBezTo>
                    <a:pt x="85" y="145"/>
                    <a:pt x="90" y="150"/>
                    <a:pt x="96" y="150"/>
                  </a:cubicBezTo>
                  <a:cubicBezTo>
                    <a:pt x="160" y="150"/>
                    <a:pt x="160" y="150"/>
                    <a:pt x="160" y="150"/>
                  </a:cubicBezTo>
                  <a:cubicBezTo>
                    <a:pt x="166" y="150"/>
                    <a:pt x="170" y="145"/>
                    <a:pt x="170" y="139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170" y="48"/>
                    <a:pt x="166" y="43"/>
                    <a:pt x="160" y="43"/>
                  </a:cubicBezTo>
                  <a:close/>
                  <a:moveTo>
                    <a:pt x="149" y="128"/>
                  </a:moveTo>
                  <a:cubicBezTo>
                    <a:pt x="106" y="128"/>
                    <a:pt x="106" y="128"/>
                    <a:pt x="106" y="128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49" y="64"/>
                    <a:pt x="149" y="64"/>
                    <a:pt x="149" y="64"/>
                  </a:cubicBezTo>
                  <a:lnTo>
                    <a:pt x="149" y="128"/>
                  </a:lnTo>
                  <a:close/>
                  <a:moveTo>
                    <a:pt x="277" y="54"/>
                  </a:moveTo>
                  <a:cubicBezTo>
                    <a:pt x="277" y="60"/>
                    <a:pt x="272" y="64"/>
                    <a:pt x="266" y="64"/>
                  </a:cubicBezTo>
                  <a:cubicBezTo>
                    <a:pt x="202" y="64"/>
                    <a:pt x="202" y="64"/>
                    <a:pt x="202" y="64"/>
                  </a:cubicBezTo>
                  <a:cubicBezTo>
                    <a:pt x="196" y="64"/>
                    <a:pt x="192" y="60"/>
                    <a:pt x="192" y="54"/>
                  </a:cubicBezTo>
                  <a:cubicBezTo>
                    <a:pt x="192" y="48"/>
                    <a:pt x="196" y="43"/>
                    <a:pt x="202" y="43"/>
                  </a:cubicBezTo>
                  <a:cubicBezTo>
                    <a:pt x="266" y="43"/>
                    <a:pt x="266" y="43"/>
                    <a:pt x="266" y="43"/>
                  </a:cubicBezTo>
                  <a:cubicBezTo>
                    <a:pt x="272" y="43"/>
                    <a:pt x="277" y="48"/>
                    <a:pt x="277" y="54"/>
                  </a:cubicBezTo>
                  <a:close/>
                  <a:moveTo>
                    <a:pt x="277" y="96"/>
                  </a:moveTo>
                  <a:cubicBezTo>
                    <a:pt x="277" y="102"/>
                    <a:pt x="272" y="107"/>
                    <a:pt x="266" y="107"/>
                  </a:cubicBezTo>
                  <a:cubicBezTo>
                    <a:pt x="202" y="107"/>
                    <a:pt x="202" y="107"/>
                    <a:pt x="202" y="107"/>
                  </a:cubicBezTo>
                  <a:cubicBezTo>
                    <a:pt x="196" y="107"/>
                    <a:pt x="192" y="102"/>
                    <a:pt x="192" y="96"/>
                  </a:cubicBezTo>
                  <a:cubicBezTo>
                    <a:pt x="192" y="90"/>
                    <a:pt x="196" y="86"/>
                    <a:pt x="202" y="86"/>
                  </a:cubicBezTo>
                  <a:cubicBezTo>
                    <a:pt x="266" y="86"/>
                    <a:pt x="266" y="86"/>
                    <a:pt x="266" y="86"/>
                  </a:cubicBezTo>
                  <a:cubicBezTo>
                    <a:pt x="272" y="86"/>
                    <a:pt x="277" y="90"/>
                    <a:pt x="277" y="96"/>
                  </a:cubicBezTo>
                  <a:close/>
                  <a:moveTo>
                    <a:pt x="277" y="139"/>
                  </a:moveTo>
                  <a:cubicBezTo>
                    <a:pt x="277" y="145"/>
                    <a:pt x="272" y="150"/>
                    <a:pt x="266" y="150"/>
                  </a:cubicBezTo>
                  <a:cubicBezTo>
                    <a:pt x="202" y="150"/>
                    <a:pt x="202" y="150"/>
                    <a:pt x="202" y="150"/>
                  </a:cubicBezTo>
                  <a:cubicBezTo>
                    <a:pt x="196" y="150"/>
                    <a:pt x="192" y="145"/>
                    <a:pt x="192" y="139"/>
                  </a:cubicBezTo>
                  <a:cubicBezTo>
                    <a:pt x="192" y="133"/>
                    <a:pt x="196" y="128"/>
                    <a:pt x="202" y="128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272" y="128"/>
                    <a:pt x="277" y="133"/>
                    <a:pt x="277" y="139"/>
                  </a:cubicBezTo>
                  <a:close/>
                  <a:moveTo>
                    <a:pt x="277" y="182"/>
                  </a:moveTo>
                  <a:cubicBezTo>
                    <a:pt x="277" y="188"/>
                    <a:pt x="272" y="192"/>
                    <a:pt x="266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196" y="192"/>
                    <a:pt x="192" y="188"/>
                    <a:pt x="192" y="182"/>
                  </a:cubicBezTo>
                  <a:cubicBezTo>
                    <a:pt x="192" y="176"/>
                    <a:pt x="196" y="171"/>
                    <a:pt x="202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72" y="171"/>
                    <a:pt x="277" y="176"/>
                    <a:pt x="277" y="182"/>
                  </a:cubicBezTo>
                  <a:close/>
                  <a:moveTo>
                    <a:pt x="170" y="182"/>
                  </a:moveTo>
                  <a:cubicBezTo>
                    <a:pt x="170" y="188"/>
                    <a:pt x="166" y="192"/>
                    <a:pt x="160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0" y="192"/>
                    <a:pt x="85" y="188"/>
                    <a:pt x="85" y="182"/>
                  </a:cubicBezTo>
                  <a:cubicBezTo>
                    <a:pt x="85" y="176"/>
                    <a:pt x="90" y="171"/>
                    <a:pt x="96" y="171"/>
                  </a:cubicBezTo>
                  <a:cubicBezTo>
                    <a:pt x="160" y="171"/>
                    <a:pt x="160" y="171"/>
                    <a:pt x="160" y="171"/>
                  </a:cubicBezTo>
                  <a:cubicBezTo>
                    <a:pt x="166" y="171"/>
                    <a:pt x="170" y="176"/>
                    <a:pt x="170" y="182"/>
                  </a:cubicBezTo>
                  <a:close/>
                  <a:moveTo>
                    <a:pt x="309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7" y="0"/>
                    <a:pt x="42" y="5"/>
                    <a:pt x="42" y="11"/>
                  </a:cubicBezTo>
                  <a:cubicBezTo>
                    <a:pt x="42" y="203"/>
                    <a:pt x="42" y="203"/>
                    <a:pt x="42" y="203"/>
                  </a:cubicBezTo>
                  <a:cubicBezTo>
                    <a:pt x="42" y="209"/>
                    <a:pt x="38" y="214"/>
                    <a:pt x="32" y="214"/>
                  </a:cubicBezTo>
                  <a:cubicBezTo>
                    <a:pt x="26" y="214"/>
                    <a:pt x="21" y="209"/>
                    <a:pt x="21" y="203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6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21"/>
                    <a:pt x="14" y="235"/>
                    <a:pt x="32" y="235"/>
                  </a:cubicBezTo>
                  <a:cubicBezTo>
                    <a:pt x="288" y="235"/>
                    <a:pt x="288" y="235"/>
                    <a:pt x="288" y="235"/>
                  </a:cubicBezTo>
                  <a:cubicBezTo>
                    <a:pt x="305" y="235"/>
                    <a:pt x="320" y="221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03"/>
                  </a:moveTo>
                  <a:cubicBezTo>
                    <a:pt x="298" y="209"/>
                    <a:pt x="294" y="214"/>
                    <a:pt x="288" y="214"/>
                  </a:cubicBezTo>
                  <a:cubicBezTo>
                    <a:pt x="62" y="214"/>
                    <a:pt x="62" y="214"/>
                    <a:pt x="62" y="214"/>
                  </a:cubicBezTo>
                  <a:cubicBezTo>
                    <a:pt x="63" y="210"/>
                    <a:pt x="64" y="207"/>
                    <a:pt x="64" y="20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8" name="Freeform 894"/>
          <p:cNvSpPr>
            <a:spLocks noChangeAspect="1" noEditPoints="1"/>
          </p:cNvSpPr>
          <p:nvPr/>
        </p:nvSpPr>
        <p:spPr bwMode="auto">
          <a:xfrm>
            <a:off x="4439013" y="4544413"/>
            <a:ext cx="367041" cy="368121"/>
          </a:xfrm>
          <a:custGeom>
            <a:avLst/>
            <a:gdLst>
              <a:gd name="T0" fmla="*/ 277 w 512"/>
              <a:gd name="T1" fmla="*/ 269 h 512"/>
              <a:gd name="T2" fmla="*/ 266 w 512"/>
              <a:gd name="T3" fmla="*/ 287 h 512"/>
              <a:gd name="T4" fmla="*/ 266 w 512"/>
              <a:gd name="T5" fmla="*/ 251 h 512"/>
              <a:gd name="T6" fmla="*/ 277 w 512"/>
              <a:gd name="T7" fmla="*/ 269 h 512"/>
              <a:gd name="T8" fmla="*/ 234 w 512"/>
              <a:gd name="T9" fmla="*/ 205 h 512"/>
              <a:gd name="T10" fmla="*/ 245 w 512"/>
              <a:gd name="T11" fmla="*/ 223 h 512"/>
              <a:gd name="T12" fmla="*/ 245 w 512"/>
              <a:gd name="T13" fmla="*/ 187 h 512"/>
              <a:gd name="T14" fmla="*/ 234 w 512"/>
              <a:gd name="T15" fmla="*/ 205 h 512"/>
              <a:gd name="T16" fmla="*/ 330 w 512"/>
              <a:gd name="T17" fmla="*/ 128 h 512"/>
              <a:gd name="T18" fmla="*/ 330 w 512"/>
              <a:gd name="T19" fmla="*/ 404 h 512"/>
              <a:gd name="T20" fmla="*/ 329 w 512"/>
              <a:gd name="T21" fmla="*/ 405 h 512"/>
              <a:gd name="T22" fmla="*/ 183 w 512"/>
              <a:gd name="T23" fmla="*/ 405 h 512"/>
              <a:gd name="T24" fmla="*/ 181 w 512"/>
              <a:gd name="T25" fmla="*/ 405 h 512"/>
              <a:gd name="T26" fmla="*/ 181 w 512"/>
              <a:gd name="T27" fmla="*/ 405 h 512"/>
              <a:gd name="T28" fmla="*/ 181 w 512"/>
              <a:gd name="T29" fmla="*/ 128 h 512"/>
              <a:gd name="T30" fmla="*/ 183 w 512"/>
              <a:gd name="T31" fmla="*/ 128 h 512"/>
              <a:gd name="T32" fmla="*/ 329 w 512"/>
              <a:gd name="T33" fmla="*/ 128 h 512"/>
              <a:gd name="T34" fmla="*/ 330 w 512"/>
              <a:gd name="T35" fmla="*/ 128 h 512"/>
              <a:gd name="T36" fmla="*/ 266 w 512"/>
              <a:gd name="T37" fmla="*/ 373 h 512"/>
              <a:gd name="T38" fmla="*/ 256 w 512"/>
              <a:gd name="T39" fmla="*/ 362 h 512"/>
              <a:gd name="T40" fmla="*/ 245 w 512"/>
              <a:gd name="T41" fmla="*/ 373 h 512"/>
              <a:gd name="T42" fmla="*/ 256 w 512"/>
              <a:gd name="T43" fmla="*/ 384 h 512"/>
              <a:gd name="T44" fmla="*/ 266 w 512"/>
              <a:gd name="T45" fmla="*/ 373 h 512"/>
              <a:gd name="T46" fmla="*/ 298 w 512"/>
              <a:gd name="T47" fmla="*/ 269 h 512"/>
              <a:gd name="T48" fmla="*/ 266 w 512"/>
              <a:gd name="T49" fmla="*/ 228 h 512"/>
              <a:gd name="T50" fmla="*/ 266 w 512"/>
              <a:gd name="T51" fmla="*/ 187 h 512"/>
              <a:gd name="T52" fmla="*/ 274 w 512"/>
              <a:gd name="T53" fmla="*/ 194 h 512"/>
              <a:gd name="T54" fmla="*/ 289 w 512"/>
              <a:gd name="T55" fmla="*/ 198 h 512"/>
              <a:gd name="T56" fmla="*/ 293 w 512"/>
              <a:gd name="T57" fmla="*/ 184 h 512"/>
              <a:gd name="T58" fmla="*/ 266 w 512"/>
              <a:gd name="T59" fmla="*/ 164 h 512"/>
              <a:gd name="T60" fmla="*/ 266 w 512"/>
              <a:gd name="T61" fmla="*/ 160 h 512"/>
              <a:gd name="T62" fmla="*/ 256 w 512"/>
              <a:gd name="T63" fmla="*/ 149 h 512"/>
              <a:gd name="T64" fmla="*/ 245 w 512"/>
              <a:gd name="T65" fmla="*/ 160 h 512"/>
              <a:gd name="T66" fmla="*/ 245 w 512"/>
              <a:gd name="T67" fmla="*/ 164 h 512"/>
              <a:gd name="T68" fmla="*/ 213 w 512"/>
              <a:gd name="T69" fmla="*/ 205 h 512"/>
              <a:gd name="T70" fmla="*/ 245 w 512"/>
              <a:gd name="T71" fmla="*/ 246 h 512"/>
              <a:gd name="T72" fmla="*/ 245 w 512"/>
              <a:gd name="T73" fmla="*/ 287 h 512"/>
              <a:gd name="T74" fmla="*/ 236 w 512"/>
              <a:gd name="T75" fmla="*/ 276 h 512"/>
              <a:gd name="T76" fmla="*/ 222 w 512"/>
              <a:gd name="T77" fmla="*/ 270 h 512"/>
              <a:gd name="T78" fmla="*/ 215 w 512"/>
              <a:gd name="T79" fmla="*/ 283 h 512"/>
              <a:gd name="T80" fmla="*/ 245 w 512"/>
              <a:gd name="T81" fmla="*/ 310 h 512"/>
              <a:gd name="T82" fmla="*/ 245 w 512"/>
              <a:gd name="T83" fmla="*/ 320 h 512"/>
              <a:gd name="T84" fmla="*/ 256 w 512"/>
              <a:gd name="T85" fmla="*/ 330 h 512"/>
              <a:gd name="T86" fmla="*/ 266 w 512"/>
              <a:gd name="T87" fmla="*/ 320 h 512"/>
              <a:gd name="T88" fmla="*/ 266 w 512"/>
              <a:gd name="T89" fmla="*/ 310 h 512"/>
              <a:gd name="T90" fmla="*/ 298 w 512"/>
              <a:gd name="T91" fmla="*/ 269 h 512"/>
              <a:gd name="T92" fmla="*/ 512 w 512"/>
              <a:gd name="T93" fmla="*/ 256 h 512"/>
              <a:gd name="T94" fmla="*/ 256 w 512"/>
              <a:gd name="T95" fmla="*/ 512 h 512"/>
              <a:gd name="T96" fmla="*/ 0 w 512"/>
              <a:gd name="T97" fmla="*/ 256 h 512"/>
              <a:gd name="T98" fmla="*/ 256 w 512"/>
              <a:gd name="T99" fmla="*/ 0 h 512"/>
              <a:gd name="T100" fmla="*/ 512 w 512"/>
              <a:gd name="T101" fmla="*/ 256 h 512"/>
              <a:gd name="T102" fmla="*/ 352 w 512"/>
              <a:gd name="T103" fmla="*/ 128 h 512"/>
              <a:gd name="T104" fmla="*/ 329 w 512"/>
              <a:gd name="T105" fmla="*/ 106 h 512"/>
              <a:gd name="T106" fmla="*/ 183 w 512"/>
              <a:gd name="T107" fmla="*/ 106 h 512"/>
              <a:gd name="T108" fmla="*/ 160 w 512"/>
              <a:gd name="T109" fmla="*/ 128 h 512"/>
              <a:gd name="T110" fmla="*/ 160 w 512"/>
              <a:gd name="T111" fmla="*/ 405 h 512"/>
              <a:gd name="T112" fmla="*/ 183 w 512"/>
              <a:gd name="T113" fmla="*/ 426 h 512"/>
              <a:gd name="T114" fmla="*/ 329 w 512"/>
              <a:gd name="T115" fmla="*/ 426 h 512"/>
              <a:gd name="T116" fmla="*/ 352 w 512"/>
              <a:gd name="T117" fmla="*/ 405 h 512"/>
              <a:gd name="T118" fmla="*/ 352 w 512"/>
              <a:gd name="T119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77" y="269"/>
                </a:moveTo>
                <a:cubicBezTo>
                  <a:pt x="277" y="277"/>
                  <a:pt x="273" y="284"/>
                  <a:pt x="266" y="287"/>
                </a:cubicBezTo>
                <a:cubicBezTo>
                  <a:pt x="266" y="251"/>
                  <a:pt x="266" y="251"/>
                  <a:pt x="266" y="251"/>
                </a:cubicBezTo>
                <a:cubicBezTo>
                  <a:pt x="273" y="254"/>
                  <a:pt x="277" y="261"/>
                  <a:pt x="277" y="269"/>
                </a:cubicBezTo>
                <a:close/>
                <a:moveTo>
                  <a:pt x="234" y="205"/>
                </a:moveTo>
                <a:cubicBezTo>
                  <a:pt x="234" y="213"/>
                  <a:pt x="239" y="220"/>
                  <a:pt x="245" y="223"/>
                </a:cubicBezTo>
                <a:cubicBezTo>
                  <a:pt x="245" y="187"/>
                  <a:pt x="245" y="187"/>
                  <a:pt x="245" y="187"/>
                </a:cubicBezTo>
                <a:cubicBezTo>
                  <a:pt x="239" y="190"/>
                  <a:pt x="234" y="197"/>
                  <a:pt x="234" y="205"/>
                </a:cubicBezTo>
                <a:close/>
                <a:moveTo>
                  <a:pt x="330" y="128"/>
                </a:moveTo>
                <a:cubicBezTo>
                  <a:pt x="330" y="404"/>
                  <a:pt x="330" y="404"/>
                  <a:pt x="330" y="404"/>
                </a:cubicBezTo>
                <a:cubicBezTo>
                  <a:pt x="330" y="405"/>
                  <a:pt x="330" y="405"/>
                  <a:pt x="329" y="405"/>
                </a:cubicBezTo>
                <a:cubicBezTo>
                  <a:pt x="183" y="405"/>
                  <a:pt x="183" y="405"/>
                  <a:pt x="183" y="405"/>
                </a:cubicBezTo>
                <a:cubicBezTo>
                  <a:pt x="182" y="405"/>
                  <a:pt x="181" y="405"/>
                  <a:pt x="181" y="405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81" y="128"/>
                  <a:pt x="181" y="128"/>
                  <a:pt x="183" y="128"/>
                </a:cubicBezTo>
                <a:cubicBezTo>
                  <a:pt x="329" y="128"/>
                  <a:pt x="329" y="128"/>
                  <a:pt x="329" y="128"/>
                </a:cubicBezTo>
                <a:cubicBezTo>
                  <a:pt x="330" y="128"/>
                  <a:pt x="330" y="128"/>
                  <a:pt x="330" y="128"/>
                </a:cubicBezTo>
                <a:close/>
                <a:moveTo>
                  <a:pt x="266" y="373"/>
                </a:moveTo>
                <a:cubicBezTo>
                  <a:pt x="266" y="367"/>
                  <a:pt x="262" y="362"/>
                  <a:pt x="256" y="362"/>
                </a:cubicBezTo>
                <a:cubicBezTo>
                  <a:pt x="250" y="362"/>
                  <a:pt x="245" y="367"/>
                  <a:pt x="245" y="373"/>
                </a:cubicBezTo>
                <a:cubicBezTo>
                  <a:pt x="245" y="379"/>
                  <a:pt x="250" y="384"/>
                  <a:pt x="256" y="384"/>
                </a:cubicBezTo>
                <a:cubicBezTo>
                  <a:pt x="262" y="384"/>
                  <a:pt x="266" y="379"/>
                  <a:pt x="266" y="373"/>
                </a:cubicBezTo>
                <a:close/>
                <a:moveTo>
                  <a:pt x="298" y="269"/>
                </a:moveTo>
                <a:cubicBezTo>
                  <a:pt x="298" y="249"/>
                  <a:pt x="285" y="233"/>
                  <a:pt x="266" y="228"/>
                </a:cubicBezTo>
                <a:cubicBezTo>
                  <a:pt x="266" y="187"/>
                  <a:pt x="266" y="187"/>
                  <a:pt x="266" y="187"/>
                </a:cubicBezTo>
                <a:cubicBezTo>
                  <a:pt x="270" y="188"/>
                  <a:pt x="272" y="191"/>
                  <a:pt x="274" y="194"/>
                </a:cubicBezTo>
                <a:cubicBezTo>
                  <a:pt x="277" y="199"/>
                  <a:pt x="284" y="201"/>
                  <a:pt x="289" y="198"/>
                </a:cubicBezTo>
                <a:cubicBezTo>
                  <a:pt x="294" y="195"/>
                  <a:pt x="296" y="189"/>
                  <a:pt x="293" y="184"/>
                </a:cubicBezTo>
                <a:cubicBezTo>
                  <a:pt x="287" y="174"/>
                  <a:pt x="277" y="167"/>
                  <a:pt x="266" y="164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54"/>
                  <a:pt x="262" y="149"/>
                  <a:pt x="256" y="149"/>
                </a:cubicBezTo>
                <a:cubicBezTo>
                  <a:pt x="250" y="149"/>
                  <a:pt x="245" y="154"/>
                  <a:pt x="245" y="160"/>
                </a:cubicBezTo>
                <a:cubicBezTo>
                  <a:pt x="245" y="164"/>
                  <a:pt x="245" y="164"/>
                  <a:pt x="245" y="164"/>
                </a:cubicBezTo>
                <a:cubicBezTo>
                  <a:pt x="227" y="169"/>
                  <a:pt x="213" y="185"/>
                  <a:pt x="213" y="205"/>
                </a:cubicBezTo>
                <a:cubicBezTo>
                  <a:pt x="213" y="225"/>
                  <a:pt x="227" y="241"/>
                  <a:pt x="245" y="246"/>
                </a:cubicBezTo>
                <a:cubicBezTo>
                  <a:pt x="245" y="287"/>
                  <a:pt x="245" y="287"/>
                  <a:pt x="245" y="287"/>
                </a:cubicBezTo>
                <a:cubicBezTo>
                  <a:pt x="241" y="285"/>
                  <a:pt x="237" y="281"/>
                  <a:pt x="236" y="276"/>
                </a:cubicBezTo>
                <a:cubicBezTo>
                  <a:pt x="234" y="271"/>
                  <a:pt x="227" y="268"/>
                  <a:pt x="222" y="270"/>
                </a:cubicBezTo>
                <a:cubicBezTo>
                  <a:pt x="216" y="272"/>
                  <a:pt x="213" y="278"/>
                  <a:pt x="215" y="283"/>
                </a:cubicBezTo>
                <a:cubicBezTo>
                  <a:pt x="220" y="297"/>
                  <a:pt x="232" y="307"/>
                  <a:pt x="245" y="310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26"/>
                  <a:pt x="250" y="330"/>
                  <a:pt x="256" y="330"/>
                </a:cubicBezTo>
                <a:cubicBezTo>
                  <a:pt x="262" y="330"/>
                  <a:pt x="266" y="326"/>
                  <a:pt x="266" y="320"/>
                </a:cubicBezTo>
                <a:cubicBezTo>
                  <a:pt x="266" y="310"/>
                  <a:pt x="266" y="310"/>
                  <a:pt x="266" y="310"/>
                </a:cubicBezTo>
                <a:cubicBezTo>
                  <a:pt x="285" y="305"/>
                  <a:pt x="298" y="289"/>
                  <a:pt x="298" y="26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2" y="128"/>
                </a:moveTo>
                <a:cubicBezTo>
                  <a:pt x="352" y="116"/>
                  <a:pt x="341" y="106"/>
                  <a:pt x="329" y="106"/>
                </a:cubicBezTo>
                <a:cubicBezTo>
                  <a:pt x="183" y="106"/>
                  <a:pt x="183" y="106"/>
                  <a:pt x="183" y="106"/>
                </a:cubicBezTo>
                <a:cubicBezTo>
                  <a:pt x="170" y="106"/>
                  <a:pt x="160" y="116"/>
                  <a:pt x="160" y="128"/>
                </a:cubicBezTo>
                <a:cubicBezTo>
                  <a:pt x="160" y="405"/>
                  <a:pt x="160" y="405"/>
                  <a:pt x="160" y="405"/>
                </a:cubicBezTo>
                <a:cubicBezTo>
                  <a:pt x="160" y="417"/>
                  <a:pt x="170" y="426"/>
                  <a:pt x="183" y="426"/>
                </a:cubicBezTo>
                <a:cubicBezTo>
                  <a:pt x="329" y="426"/>
                  <a:pt x="329" y="426"/>
                  <a:pt x="329" y="426"/>
                </a:cubicBezTo>
                <a:cubicBezTo>
                  <a:pt x="341" y="426"/>
                  <a:pt x="352" y="417"/>
                  <a:pt x="352" y="405"/>
                </a:cubicBezTo>
                <a:lnTo>
                  <a:pt x="352" y="12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9" name="Group 897"/>
          <p:cNvGrpSpPr>
            <a:grpSpLocks noChangeAspect="1"/>
          </p:cNvGrpSpPr>
          <p:nvPr/>
        </p:nvGrpSpPr>
        <p:grpSpPr bwMode="auto">
          <a:xfrm>
            <a:off x="4936363" y="4544413"/>
            <a:ext cx="367041" cy="367041"/>
            <a:chOff x="3863" y="3885"/>
            <a:chExt cx="340" cy="340"/>
          </a:xfrm>
          <a:solidFill>
            <a:schemeClr val="accent4"/>
          </a:solidFill>
        </p:grpSpPr>
        <p:sp>
          <p:nvSpPr>
            <p:cNvPr id="410" name="Freeform 898"/>
            <p:cNvSpPr>
              <a:spLocks noEditPoints="1"/>
            </p:cNvSpPr>
            <p:nvPr/>
          </p:nvSpPr>
          <p:spPr bwMode="auto">
            <a:xfrm>
              <a:off x="3969" y="3955"/>
              <a:ext cx="128" cy="213"/>
            </a:xfrm>
            <a:custGeom>
              <a:avLst/>
              <a:gdLst>
                <a:gd name="T0" fmla="*/ 169 w 192"/>
                <a:gd name="T1" fmla="*/ 0 h 320"/>
                <a:gd name="T2" fmla="*/ 23 w 192"/>
                <a:gd name="T3" fmla="*/ 0 h 320"/>
                <a:gd name="T4" fmla="*/ 0 w 192"/>
                <a:gd name="T5" fmla="*/ 22 h 320"/>
                <a:gd name="T6" fmla="*/ 0 w 192"/>
                <a:gd name="T7" fmla="*/ 299 h 320"/>
                <a:gd name="T8" fmla="*/ 23 w 192"/>
                <a:gd name="T9" fmla="*/ 320 h 320"/>
                <a:gd name="T10" fmla="*/ 169 w 192"/>
                <a:gd name="T11" fmla="*/ 320 h 320"/>
                <a:gd name="T12" fmla="*/ 192 w 192"/>
                <a:gd name="T13" fmla="*/ 299 h 320"/>
                <a:gd name="T14" fmla="*/ 192 w 192"/>
                <a:gd name="T15" fmla="*/ 22 h 320"/>
                <a:gd name="T16" fmla="*/ 169 w 192"/>
                <a:gd name="T17" fmla="*/ 0 h 320"/>
                <a:gd name="T18" fmla="*/ 169 w 192"/>
                <a:gd name="T19" fmla="*/ 299 h 320"/>
                <a:gd name="T20" fmla="*/ 23 w 192"/>
                <a:gd name="T21" fmla="*/ 299 h 320"/>
                <a:gd name="T22" fmla="*/ 21 w 192"/>
                <a:gd name="T23" fmla="*/ 299 h 320"/>
                <a:gd name="T24" fmla="*/ 21 w 192"/>
                <a:gd name="T25" fmla="*/ 299 h 320"/>
                <a:gd name="T26" fmla="*/ 21 w 192"/>
                <a:gd name="T27" fmla="*/ 22 h 320"/>
                <a:gd name="T28" fmla="*/ 23 w 192"/>
                <a:gd name="T29" fmla="*/ 22 h 320"/>
                <a:gd name="T30" fmla="*/ 169 w 192"/>
                <a:gd name="T31" fmla="*/ 22 h 320"/>
                <a:gd name="T32" fmla="*/ 170 w 192"/>
                <a:gd name="T33" fmla="*/ 22 h 320"/>
                <a:gd name="T34" fmla="*/ 170 w 192"/>
                <a:gd name="T35" fmla="*/ 298 h 320"/>
                <a:gd name="T36" fmla="*/ 169 w 192"/>
                <a:gd name="T37" fmla="*/ 29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320">
                  <a:moveTo>
                    <a:pt x="169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1"/>
                    <a:pt x="10" y="320"/>
                    <a:pt x="23" y="320"/>
                  </a:cubicBezTo>
                  <a:cubicBezTo>
                    <a:pt x="169" y="320"/>
                    <a:pt x="169" y="320"/>
                    <a:pt x="169" y="320"/>
                  </a:cubicBezTo>
                  <a:cubicBezTo>
                    <a:pt x="181" y="320"/>
                    <a:pt x="192" y="311"/>
                    <a:pt x="192" y="299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10"/>
                    <a:pt x="181" y="0"/>
                    <a:pt x="169" y="0"/>
                  </a:cubicBezTo>
                  <a:close/>
                  <a:moveTo>
                    <a:pt x="169" y="299"/>
                  </a:moveTo>
                  <a:cubicBezTo>
                    <a:pt x="23" y="299"/>
                    <a:pt x="23" y="299"/>
                    <a:pt x="23" y="299"/>
                  </a:cubicBezTo>
                  <a:cubicBezTo>
                    <a:pt x="22" y="299"/>
                    <a:pt x="21" y="299"/>
                    <a:pt x="21" y="299"/>
                  </a:cubicBezTo>
                  <a:cubicBezTo>
                    <a:pt x="21" y="299"/>
                    <a:pt x="21" y="299"/>
                    <a:pt x="21" y="29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3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70" y="298"/>
                    <a:pt x="170" y="298"/>
                    <a:pt x="170" y="298"/>
                  </a:cubicBezTo>
                  <a:cubicBezTo>
                    <a:pt x="170" y="299"/>
                    <a:pt x="170" y="299"/>
                    <a:pt x="169" y="2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1" name="Oval 899"/>
            <p:cNvSpPr>
              <a:spLocks noChangeArrowheads="1"/>
            </p:cNvSpPr>
            <p:nvPr/>
          </p:nvSpPr>
          <p:spPr bwMode="auto">
            <a:xfrm>
              <a:off x="4026" y="4125"/>
              <a:ext cx="14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2" name="Freeform 900"/>
            <p:cNvSpPr>
              <a:spLocks noEditPoints="1"/>
            </p:cNvSpPr>
            <p:nvPr/>
          </p:nvSpPr>
          <p:spPr bwMode="auto">
            <a:xfrm>
              <a:off x="4004" y="3984"/>
              <a:ext cx="57" cy="120"/>
            </a:xfrm>
            <a:custGeom>
              <a:avLst/>
              <a:gdLst>
                <a:gd name="T0" fmla="*/ 53 w 85"/>
                <a:gd name="T1" fmla="*/ 79 h 181"/>
                <a:gd name="T2" fmla="*/ 53 w 85"/>
                <a:gd name="T3" fmla="*/ 38 h 181"/>
                <a:gd name="T4" fmla="*/ 61 w 85"/>
                <a:gd name="T5" fmla="*/ 45 h 181"/>
                <a:gd name="T6" fmla="*/ 76 w 85"/>
                <a:gd name="T7" fmla="*/ 49 h 181"/>
                <a:gd name="T8" fmla="*/ 80 w 85"/>
                <a:gd name="T9" fmla="*/ 35 h 181"/>
                <a:gd name="T10" fmla="*/ 53 w 85"/>
                <a:gd name="T11" fmla="*/ 15 h 181"/>
                <a:gd name="T12" fmla="*/ 53 w 85"/>
                <a:gd name="T13" fmla="*/ 11 h 181"/>
                <a:gd name="T14" fmla="*/ 43 w 85"/>
                <a:gd name="T15" fmla="*/ 0 h 181"/>
                <a:gd name="T16" fmla="*/ 32 w 85"/>
                <a:gd name="T17" fmla="*/ 11 h 181"/>
                <a:gd name="T18" fmla="*/ 32 w 85"/>
                <a:gd name="T19" fmla="*/ 15 h 181"/>
                <a:gd name="T20" fmla="*/ 0 w 85"/>
                <a:gd name="T21" fmla="*/ 56 h 181"/>
                <a:gd name="T22" fmla="*/ 32 w 85"/>
                <a:gd name="T23" fmla="*/ 97 h 181"/>
                <a:gd name="T24" fmla="*/ 32 w 85"/>
                <a:gd name="T25" fmla="*/ 138 h 181"/>
                <a:gd name="T26" fmla="*/ 23 w 85"/>
                <a:gd name="T27" fmla="*/ 127 h 181"/>
                <a:gd name="T28" fmla="*/ 9 w 85"/>
                <a:gd name="T29" fmla="*/ 121 h 181"/>
                <a:gd name="T30" fmla="*/ 2 w 85"/>
                <a:gd name="T31" fmla="*/ 134 h 181"/>
                <a:gd name="T32" fmla="*/ 32 w 85"/>
                <a:gd name="T33" fmla="*/ 161 h 181"/>
                <a:gd name="T34" fmla="*/ 32 w 85"/>
                <a:gd name="T35" fmla="*/ 171 h 181"/>
                <a:gd name="T36" fmla="*/ 43 w 85"/>
                <a:gd name="T37" fmla="*/ 181 h 181"/>
                <a:gd name="T38" fmla="*/ 53 w 85"/>
                <a:gd name="T39" fmla="*/ 171 h 181"/>
                <a:gd name="T40" fmla="*/ 53 w 85"/>
                <a:gd name="T41" fmla="*/ 161 h 181"/>
                <a:gd name="T42" fmla="*/ 85 w 85"/>
                <a:gd name="T43" fmla="*/ 120 h 181"/>
                <a:gd name="T44" fmla="*/ 53 w 85"/>
                <a:gd name="T45" fmla="*/ 79 h 181"/>
                <a:gd name="T46" fmla="*/ 21 w 85"/>
                <a:gd name="T47" fmla="*/ 56 h 181"/>
                <a:gd name="T48" fmla="*/ 32 w 85"/>
                <a:gd name="T49" fmla="*/ 38 h 181"/>
                <a:gd name="T50" fmla="*/ 32 w 85"/>
                <a:gd name="T51" fmla="*/ 74 h 181"/>
                <a:gd name="T52" fmla="*/ 21 w 85"/>
                <a:gd name="T53" fmla="*/ 56 h 181"/>
                <a:gd name="T54" fmla="*/ 53 w 85"/>
                <a:gd name="T55" fmla="*/ 138 h 181"/>
                <a:gd name="T56" fmla="*/ 53 w 85"/>
                <a:gd name="T57" fmla="*/ 102 h 181"/>
                <a:gd name="T58" fmla="*/ 64 w 85"/>
                <a:gd name="T59" fmla="*/ 120 h 181"/>
                <a:gd name="T60" fmla="*/ 53 w 85"/>
                <a:gd name="T61" fmla="*/ 13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" h="181">
                  <a:moveTo>
                    <a:pt x="53" y="79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7" y="39"/>
                    <a:pt x="59" y="42"/>
                    <a:pt x="61" y="45"/>
                  </a:cubicBezTo>
                  <a:cubicBezTo>
                    <a:pt x="64" y="50"/>
                    <a:pt x="71" y="52"/>
                    <a:pt x="76" y="49"/>
                  </a:cubicBezTo>
                  <a:cubicBezTo>
                    <a:pt x="81" y="46"/>
                    <a:pt x="83" y="40"/>
                    <a:pt x="80" y="35"/>
                  </a:cubicBezTo>
                  <a:cubicBezTo>
                    <a:pt x="74" y="25"/>
                    <a:pt x="64" y="18"/>
                    <a:pt x="53" y="15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5"/>
                    <a:pt x="49" y="0"/>
                    <a:pt x="43" y="0"/>
                  </a:cubicBezTo>
                  <a:cubicBezTo>
                    <a:pt x="37" y="0"/>
                    <a:pt x="32" y="5"/>
                    <a:pt x="32" y="11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14" y="20"/>
                    <a:pt x="0" y="36"/>
                    <a:pt x="0" y="56"/>
                  </a:cubicBezTo>
                  <a:cubicBezTo>
                    <a:pt x="0" y="76"/>
                    <a:pt x="14" y="92"/>
                    <a:pt x="32" y="97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28" y="136"/>
                    <a:pt x="24" y="132"/>
                    <a:pt x="23" y="127"/>
                  </a:cubicBezTo>
                  <a:cubicBezTo>
                    <a:pt x="21" y="122"/>
                    <a:pt x="14" y="119"/>
                    <a:pt x="9" y="121"/>
                  </a:cubicBezTo>
                  <a:cubicBezTo>
                    <a:pt x="3" y="123"/>
                    <a:pt x="0" y="129"/>
                    <a:pt x="2" y="134"/>
                  </a:cubicBezTo>
                  <a:cubicBezTo>
                    <a:pt x="7" y="148"/>
                    <a:pt x="19" y="158"/>
                    <a:pt x="32" y="16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32" y="177"/>
                    <a:pt x="37" y="181"/>
                    <a:pt x="43" y="181"/>
                  </a:cubicBezTo>
                  <a:cubicBezTo>
                    <a:pt x="49" y="181"/>
                    <a:pt x="53" y="177"/>
                    <a:pt x="53" y="171"/>
                  </a:cubicBezTo>
                  <a:cubicBezTo>
                    <a:pt x="53" y="161"/>
                    <a:pt x="53" y="161"/>
                    <a:pt x="53" y="161"/>
                  </a:cubicBezTo>
                  <a:cubicBezTo>
                    <a:pt x="72" y="156"/>
                    <a:pt x="85" y="140"/>
                    <a:pt x="85" y="120"/>
                  </a:cubicBezTo>
                  <a:cubicBezTo>
                    <a:pt x="85" y="100"/>
                    <a:pt x="72" y="84"/>
                    <a:pt x="53" y="79"/>
                  </a:cubicBezTo>
                  <a:close/>
                  <a:moveTo>
                    <a:pt x="21" y="56"/>
                  </a:moveTo>
                  <a:cubicBezTo>
                    <a:pt x="21" y="48"/>
                    <a:pt x="26" y="41"/>
                    <a:pt x="32" y="38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26" y="71"/>
                    <a:pt x="21" y="64"/>
                    <a:pt x="21" y="56"/>
                  </a:cubicBezTo>
                  <a:close/>
                  <a:moveTo>
                    <a:pt x="53" y="138"/>
                  </a:moveTo>
                  <a:cubicBezTo>
                    <a:pt x="53" y="102"/>
                    <a:pt x="53" y="102"/>
                    <a:pt x="53" y="102"/>
                  </a:cubicBezTo>
                  <a:cubicBezTo>
                    <a:pt x="60" y="105"/>
                    <a:pt x="64" y="112"/>
                    <a:pt x="64" y="120"/>
                  </a:cubicBezTo>
                  <a:cubicBezTo>
                    <a:pt x="64" y="128"/>
                    <a:pt x="60" y="135"/>
                    <a:pt x="53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Freeform 901"/>
            <p:cNvSpPr>
              <a:spLocks noEditPoints="1"/>
            </p:cNvSpPr>
            <p:nvPr/>
          </p:nvSpPr>
          <p:spPr bwMode="auto">
            <a:xfrm>
              <a:off x="3863" y="38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4" name="Freeform 965"/>
          <p:cNvSpPr>
            <a:spLocks noChangeAspect="1" noEditPoints="1"/>
          </p:cNvSpPr>
          <p:nvPr/>
        </p:nvSpPr>
        <p:spPr bwMode="auto">
          <a:xfrm>
            <a:off x="5433713" y="4544413"/>
            <a:ext cx="367041" cy="367041"/>
          </a:xfrm>
          <a:custGeom>
            <a:avLst/>
            <a:gdLst>
              <a:gd name="T0" fmla="*/ 330 w 512"/>
              <a:gd name="T1" fmla="*/ 304 h 512"/>
              <a:gd name="T2" fmla="*/ 309 w 512"/>
              <a:gd name="T3" fmla="*/ 320 h 512"/>
              <a:gd name="T4" fmla="*/ 288 w 512"/>
              <a:gd name="T5" fmla="*/ 304 h 512"/>
              <a:gd name="T6" fmla="*/ 309 w 512"/>
              <a:gd name="T7" fmla="*/ 288 h 512"/>
              <a:gd name="T8" fmla="*/ 330 w 512"/>
              <a:gd name="T9" fmla="*/ 304 h 512"/>
              <a:gd name="T10" fmla="*/ 149 w 512"/>
              <a:gd name="T11" fmla="*/ 330 h 512"/>
              <a:gd name="T12" fmla="*/ 128 w 512"/>
              <a:gd name="T13" fmla="*/ 346 h 512"/>
              <a:gd name="T14" fmla="*/ 149 w 512"/>
              <a:gd name="T15" fmla="*/ 362 h 512"/>
              <a:gd name="T16" fmla="*/ 170 w 512"/>
              <a:gd name="T17" fmla="*/ 346 h 512"/>
              <a:gd name="T18" fmla="*/ 149 w 512"/>
              <a:gd name="T19" fmla="*/ 330 h 512"/>
              <a:gd name="T20" fmla="*/ 192 w 512"/>
              <a:gd name="T21" fmla="*/ 198 h 512"/>
              <a:gd name="T22" fmla="*/ 330 w 512"/>
              <a:gd name="T23" fmla="*/ 152 h 512"/>
              <a:gd name="T24" fmla="*/ 330 w 512"/>
              <a:gd name="T25" fmla="*/ 132 h 512"/>
              <a:gd name="T26" fmla="*/ 192 w 512"/>
              <a:gd name="T27" fmla="*/ 178 h 512"/>
              <a:gd name="T28" fmla="*/ 192 w 512"/>
              <a:gd name="T29" fmla="*/ 198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52 w 512"/>
              <a:gd name="T41" fmla="*/ 117 h 512"/>
              <a:gd name="T42" fmla="*/ 351 w 512"/>
              <a:gd name="T43" fmla="*/ 114 h 512"/>
              <a:gd name="T44" fmla="*/ 338 w 512"/>
              <a:gd name="T45" fmla="*/ 107 h 512"/>
              <a:gd name="T46" fmla="*/ 178 w 512"/>
              <a:gd name="T47" fmla="*/ 160 h 512"/>
              <a:gd name="T48" fmla="*/ 170 w 512"/>
              <a:gd name="T49" fmla="*/ 170 h 512"/>
              <a:gd name="T50" fmla="*/ 170 w 512"/>
              <a:gd name="T51" fmla="*/ 314 h 512"/>
              <a:gd name="T52" fmla="*/ 149 w 512"/>
              <a:gd name="T53" fmla="*/ 309 h 512"/>
              <a:gd name="T54" fmla="*/ 106 w 512"/>
              <a:gd name="T55" fmla="*/ 346 h 512"/>
              <a:gd name="T56" fmla="*/ 149 w 512"/>
              <a:gd name="T57" fmla="*/ 384 h 512"/>
              <a:gd name="T58" fmla="*/ 192 w 512"/>
              <a:gd name="T59" fmla="*/ 346 h 512"/>
              <a:gd name="T60" fmla="*/ 192 w 512"/>
              <a:gd name="T61" fmla="*/ 221 h 512"/>
              <a:gd name="T62" fmla="*/ 330 w 512"/>
              <a:gd name="T63" fmla="*/ 174 h 512"/>
              <a:gd name="T64" fmla="*/ 330 w 512"/>
              <a:gd name="T65" fmla="*/ 272 h 512"/>
              <a:gd name="T66" fmla="*/ 309 w 512"/>
              <a:gd name="T67" fmla="*/ 266 h 512"/>
              <a:gd name="T68" fmla="*/ 266 w 512"/>
              <a:gd name="T69" fmla="*/ 304 h 512"/>
              <a:gd name="T70" fmla="*/ 309 w 512"/>
              <a:gd name="T71" fmla="*/ 341 h 512"/>
              <a:gd name="T72" fmla="*/ 352 w 512"/>
              <a:gd name="T73" fmla="*/ 304 h 512"/>
              <a:gd name="T74" fmla="*/ 352 w 512"/>
              <a:gd name="T75" fmla="*/ 117 h 512"/>
              <a:gd name="T76" fmla="*/ 352 w 512"/>
              <a:gd name="T77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30" y="304"/>
                </a:moveTo>
                <a:cubicBezTo>
                  <a:pt x="330" y="312"/>
                  <a:pt x="321" y="320"/>
                  <a:pt x="309" y="320"/>
                </a:cubicBezTo>
                <a:cubicBezTo>
                  <a:pt x="297" y="320"/>
                  <a:pt x="288" y="312"/>
                  <a:pt x="288" y="304"/>
                </a:cubicBezTo>
                <a:cubicBezTo>
                  <a:pt x="288" y="295"/>
                  <a:pt x="297" y="288"/>
                  <a:pt x="309" y="288"/>
                </a:cubicBezTo>
                <a:cubicBezTo>
                  <a:pt x="321" y="288"/>
                  <a:pt x="330" y="295"/>
                  <a:pt x="330" y="304"/>
                </a:cubicBezTo>
                <a:close/>
                <a:moveTo>
                  <a:pt x="149" y="330"/>
                </a:moveTo>
                <a:cubicBezTo>
                  <a:pt x="137" y="330"/>
                  <a:pt x="128" y="338"/>
                  <a:pt x="128" y="346"/>
                </a:cubicBezTo>
                <a:cubicBezTo>
                  <a:pt x="128" y="355"/>
                  <a:pt x="137" y="362"/>
                  <a:pt x="149" y="362"/>
                </a:cubicBezTo>
                <a:cubicBezTo>
                  <a:pt x="161" y="362"/>
                  <a:pt x="170" y="355"/>
                  <a:pt x="170" y="346"/>
                </a:cubicBezTo>
                <a:cubicBezTo>
                  <a:pt x="170" y="338"/>
                  <a:pt x="161" y="330"/>
                  <a:pt x="149" y="330"/>
                </a:cubicBezTo>
                <a:close/>
                <a:moveTo>
                  <a:pt x="192" y="198"/>
                </a:moveTo>
                <a:cubicBezTo>
                  <a:pt x="330" y="152"/>
                  <a:pt x="330" y="152"/>
                  <a:pt x="330" y="152"/>
                </a:cubicBezTo>
                <a:cubicBezTo>
                  <a:pt x="330" y="132"/>
                  <a:pt x="330" y="132"/>
                  <a:pt x="330" y="132"/>
                </a:cubicBezTo>
                <a:cubicBezTo>
                  <a:pt x="192" y="178"/>
                  <a:pt x="192" y="178"/>
                  <a:pt x="192" y="178"/>
                </a:cubicBezTo>
                <a:lnTo>
                  <a:pt x="192" y="19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2" y="117"/>
                </a:moveTo>
                <a:cubicBezTo>
                  <a:pt x="352" y="116"/>
                  <a:pt x="351" y="115"/>
                  <a:pt x="351" y="114"/>
                </a:cubicBezTo>
                <a:cubicBezTo>
                  <a:pt x="349" y="108"/>
                  <a:pt x="343" y="105"/>
                  <a:pt x="338" y="107"/>
                </a:cubicBezTo>
                <a:cubicBezTo>
                  <a:pt x="178" y="160"/>
                  <a:pt x="178" y="160"/>
                  <a:pt x="178" y="160"/>
                </a:cubicBezTo>
                <a:cubicBezTo>
                  <a:pt x="173" y="162"/>
                  <a:pt x="170" y="166"/>
                  <a:pt x="170" y="170"/>
                </a:cubicBezTo>
                <a:cubicBezTo>
                  <a:pt x="170" y="314"/>
                  <a:pt x="170" y="314"/>
                  <a:pt x="170" y="314"/>
                </a:cubicBezTo>
                <a:cubicBezTo>
                  <a:pt x="164" y="311"/>
                  <a:pt x="157" y="309"/>
                  <a:pt x="149" y="309"/>
                </a:cubicBezTo>
                <a:cubicBezTo>
                  <a:pt x="125" y="309"/>
                  <a:pt x="106" y="326"/>
                  <a:pt x="106" y="346"/>
                </a:cubicBezTo>
                <a:cubicBezTo>
                  <a:pt x="106" y="367"/>
                  <a:pt x="125" y="384"/>
                  <a:pt x="149" y="384"/>
                </a:cubicBezTo>
                <a:cubicBezTo>
                  <a:pt x="173" y="384"/>
                  <a:pt x="192" y="367"/>
                  <a:pt x="192" y="346"/>
                </a:cubicBezTo>
                <a:cubicBezTo>
                  <a:pt x="192" y="221"/>
                  <a:pt x="192" y="221"/>
                  <a:pt x="192" y="221"/>
                </a:cubicBezTo>
                <a:cubicBezTo>
                  <a:pt x="330" y="174"/>
                  <a:pt x="330" y="174"/>
                  <a:pt x="330" y="174"/>
                </a:cubicBezTo>
                <a:cubicBezTo>
                  <a:pt x="330" y="272"/>
                  <a:pt x="330" y="272"/>
                  <a:pt x="330" y="272"/>
                </a:cubicBezTo>
                <a:cubicBezTo>
                  <a:pt x="324" y="268"/>
                  <a:pt x="317" y="266"/>
                  <a:pt x="309" y="266"/>
                </a:cubicBezTo>
                <a:cubicBezTo>
                  <a:pt x="285" y="266"/>
                  <a:pt x="266" y="283"/>
                  <a:pt x="266" y="304"/>
                </a:cubicBezTo>
                <a:cubicBezTo>
                  <a:pt x="266" y="324"/>
                  <a:pt x="285" y="341"/>
                  <a:pt x="309" y="341"/>
                </a:cubicBezTo>
                <a:cubicBezTo>
                  <a:pt x="333" y="341"/>
                  <a:pt x="352" y="324"/>
                  <a:pt x="352" y="304"/>
                </a:cubicBezTo>
                <a:cubicBezTo>
                  <a:pt x="352" y="117"/>
                  <a:pt x="352" y="117"/>
                  <a:pt x="352" y="117"/>
                </a:cubicBezTo>
                <a:cubicBezTo>
                  <a:pt x="352" y="117"/>
                  <a:pt x="352" y="117"/>
                  <a:pt x="352" y="11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5" name="Group 968"/>
          <p:cNvGrpSpPr>
            <a:grpSpLocks noChangeAspect="1"/>
          </p:cNvGrpSpPr>
          <p:nvPr/>
        </p:nvGrpSpPr>
        <p:grpSpPr bwMode="auto">
          <a:xfrm>
            <a:off x="5931063" y="4544413"/>
            <a:ext cx="367041" cy="367041"/>
            <a:chOff x="1138" y="4015"/>
            <a:chExt cx="340" cy="340"/>
          </a:xfrm>
          <a:solidFill>
            <a:schemeClr val="accent5"/>
          </a:solidFill>
        </p:grpSpPr>
        <p:sp>
          <p:nvSpPr>
            <p:cNvPr id="416" name="Freeform 969"/>
            <p:cNvSpPr>
              <a:spLocks noEditPoints="1"/>
            </p:cNvSpPr>
            <p:nvPr/>
          </p:nvSpPr>
          <p:spPr bwMode="auto">
            <a:xfrm>
              <a:off x="1138" y="401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7" name="Freeform 970"/>
            <p:cNvSpPr>
              <a:spLocks noEditPoints="1"/>
            </p:cNvSpPr>
            <p:nvPr/>
          </p:nvSpPr>
          <p:spPr bwMode="auto">
            <a:xfrm>
              <a:off x="1208" y="4085"/>
              <a:ext cx="164" cy="185"/>
            </a:xfrm>
            <a:custGeom>
              <a:avLst/>
              <a:gdLst>
                <a:gd name="T0" fmla="*/ 246 w 246"/>
                <a:gd name="T1" fmla="*/ 12 h 279"/>
                <a:gd name="T2" fmla="*/ 245 w 246"/>
                <a:gd name="T3" fmla="*/ 9 h 279"/>
                <a:gd name="T4" fmla="*/ 232 w 246"/>
                <a:gd name="T5" fmla="*/ 2 h 279"/>
                <a:gd name="T6" fmla="*/ 72 w 246"/>
                <a:gd name="T7" fmla="*/ 55 h 279"/>
                <a:gd name="T8" fmla="*/ 64 w 246"/>
                <a:gd name="T9" fmla="*/ 65 h 279"/>
                <a:gd name="T10" fmla="*/ 64 w 246"/>
                <a:gd name="T11" fmla="*/ 209 h 279"/>
                <a:gd name="T12" fmla="*/ 43 w 246"/>
                <a:gd name="T13" fmla="*/ 204 h 279"/>
                <a:gd name="T14" fmla="*/ 0 w 246"/>
                <a:gd name="T15" fmla="*/ 241 h 279"/>
                <a:gd name="T16" fmla="*/ 43 w 246"/>
                <a:gd name="T17" fmla="*/ 279 h 279"/>
                <a:gd name="T18" fmla="*/ 86 w 246"/>
                <a:gd name="T19" fmla="*/ 241 h 279"/>
                <a:gd name="T20" fmla="*/ 86 w 246"/>
                <a:gd name="T21" fmla="*/ 116 h 279"/>
                <a:gd name="T22" fmla="*/ 224 w 246"/>
                <a:gd name="T23" fmla="*/ 69 h 279"/>
                <a:gd name="T24" fmla="*/ 224 w 246"/>
                <a:gd name="T25" fmla="*/ 167 h 279"/>
                <a:gd name="T26" fmla="*/ 203 w 246"/>
                <a:gd name="T27" fmla="*/ 161 h 279"/>
                <a:gd name="T28" fmla="*/ 160 w 246"/>
                <a:gd name="T29" fmla="*/ 199 h 279"/>
                <a:gd name="T30" fmla="*/ 203 w 246"/>
                <a:gd name="T31" fmla="*/ 236 h 279"/>
                <a:gd name="T32" fmla="*/ 246 w 246"/>
                <a:gd name="T33" fmla="*/ 199 h 279"/>
                <a:gd name="T34" fmla="*/ 246 w 246"/>
                <a:gd name="T35" fmla="*/ 12 h 279"/>
                <a:gd name="T36" fmla="*/ 246 w 246"/>
                <a:gd name="T37" fmla="*/ 12 h 279"/>
                <a:gd name="T38" fmla="*/ 43 w 246"/>
                <a:gd name="T39" fmla="*/ 257 h 279"/>
                <a:gd name="T40" fmla="*/ 22 w 246"/>
                <a:gd name="T41" fmla="*/ 241 h 279"/>
                <a:gd name="T42" fmla="*/ 43 w 246"/>
                <a:gd name="T43" fmla="*/ 225 h 279"/>
                <a:gd name="T44" fmla="*/ 64 w 246"/>
                <a:gd name="T45" fmla="*/ 241 h 279"/>
                <a:gd name="T46" fmla="*/ 43 w 246"/>
                <a:gd name="T47" fmla="*/ 257 h 279"/>
                <a:gd name="T48" fmla="*/ 203 w 246"/>
                <a:gd name="T49" fmla="*/ 215 h 279"/>
                <a:gd name="T50" fmla="*/ 182 w 246"/>
                <a:gd name="T51" fmla="*/ 199 h 279"/>
                <a:gd name="T52" fmla="*/ 203 w 246"/>
                <a:gd name="T53" fmla="*/ 183 h 279"/>
                <a:gd name="T54" fmla="*/ 224 w 246"/>
                <a:gd name="T55" fmla="*/ 199 h 279"/>
                <a:gd name="T56" fmla="*/ 203 w 246"/>
                <a:gd name="T57" fmla="*/ 215 h 279"/>
                <a:gd name="T58" fmla="*/ 86 w 246"/>
                <a:gd name="T59" fmla="*/ 93 h 279"/>
                <a:gd name="T60" fmla="*/ 86 w 246"/>
                <a:gd name="T61" fmla="*/ 73 h 279"/>
                <a:gd name="T62" fmla="*/ 224 w 246"/>
                <a:gd name="T63" fmla="*/ 27 h 279"/>
                <a:gd name="T64" fmla="*/ 224 w 246"/>
                <a:gd name="T65" fmla="*/ 47 h 279"/>
                <a:gd name="T66" fmla="*/ 86 w 246"/>
                <a:gd name="T67" fmla="*/ 9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6" h="279">
                  <a:moveTo>
                    <a:pt x="246" y="12"/>
                  </a:moveTo>
                  <a:cubicBezTo>
                    <a:pt x="246" y="11"/>
                    <a:pt x="245" y="10"/>
                    <a:pt x="245" y="9"/>
                  </a:cubicBezTo>
                  <a:cubicBezTo>
                    <a:pt x="243" y="3"/>
                    <a:pt x="237" y="0"/>
                    <a:pt x="232" y="2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7" y="57"/>
                    <a:pt x="64" y="61"/>
                    <a:pt x="64" y="65"/>
                  </a:cubicBezTo>
                  <a:cubicBezTo>
                    <a:pt x="64" y="209"/>
                    <a:pt x="64" y="209"/>
                    <a:pt x="64" y="209"/>
                  </a:cubicBezTo>
                  <a:cubicBezTo>
                    <a:pt x="58" y="206"/>
                    <a:pt x="51" y="204"/>
                    <a:pt x="43" y="204"/>
                  </a:cubicBezTo>
                  <a:cubicBezTo>
                    <a:pt x="19" y="204"/>
                    <a:pt x="0" y="221"/>
                    <a:pt x="0" y="241"/>
                  </a:cubicBezTo>
                  <a:cubicBezTo>
                    <a:pt x="0" y="262"/>
                    <a:pt x="19" y="279"/>
                    <a:pt x="43" y="279"/>
                  </a:cubicBezTo>
                  <a:cubicBezTo>
                    <a:pt x="67" y="279"/>
                    <a:pt x="86" y="262"/>
                    <a:pt x="86" y="241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224" y="69"/>
                    <a:pt x="224" y="69"/>
                    <a:pt x="224" y="69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8" y="163"/>
                    <a:pt x="211" y="161"/>
                    <a:pt x="203" y="161"/>
                  </a:cubicBezTo>
                  <a:cubicBezTo>
                    <a:pt x="179" y="161"/>
                    <a:pt x="160" y="178"/>
                    <a:pt x="160" y="199"/>
                  </a:cubicBezTo>
                  <a:cubicBezTo>
                    <a:pt x="160" y="219"/>
                    <a:pt x="179" y="236"/>
                    <a:pt x="203" y="236"/>
                  </a:cubicBezTo>
                  <a:cubicBezTo>
                    <a:pt x="227" y="236"/>
                    <a:pt x="246" y="219"/>
                    <a:pt x="246" y="199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6" y="12"/>
                    <a:pt x="246" y="12"/>
                    <a:pt x="246" y="12"/>
                  </a:cubicBezTo>
                  <a:close/>
                  <a:moveTo>
                    <a:pt x="43" y="257"/>
                  </a:moveTo>
                  <a:cubicBezTo>
                    <a:pt x="31" y="257"/>
                    <a:pt x="22" y="250"/>
                    <a:pt x="22" y="241"/>
                  </a:cubicBezTo>
                  <a:cubicBezTo>
                    <a:pt x="22" y="233"/>
                    <a:pt x="31" y="225"/>
                    <a:pt x="43" y="225"/>
                  </a:cubicBezTo>
                  <a:cubicBezTo>
                    <a:pt x="55" y="225"/>
                    <a:pt x="64" y="233"/>
                    <a:pt x="64" y="241"/>
                  </a:cubicBezTo>
                  <a:cubicBezTo>
                    <a:pt x="64" y="250"/>
                    <a:pt x="55" y="257"/>
                    <a:pt x="43" y="257"/>
                  </a:cubicBezTo>
                  <a:close/>
                  <a:moveTo>
                    <a:pt x="203" y="215"/>
                  </a:moveTo>
                  <a:cubicBezTo>
                    <a:pt x="191" y="215"/>
                    <a:pt x="182" y="207"/>
                    <a:pt x="182" y="199"/>
                  </a:cubicBezTo>
                  <a:cubicBezTo>
                    <a:pt x="182" y="190"/>
                    <a:pt x="191" y="183"/>
                    <a:pt x="203" y="183"/>
                  </a:cubicBezTo>
                  <a:cubicBezTo>
                    <a:pt x="215" y="183"/>
                    <a:pt x="224" y="190"/>
                    <a:pt x="224" y="199"/>
                  </a:cubicBezTo>
                  <a:cubicBezTo>
                    <a:pt x="224" y="207"/>
                    <a:pt x="215" y="215"/>
                    <a:pt x="203" y="215"/>
                  </a:cubicBezTo>
                  <a:close/>
                  <a:moveTo>
                    <a:pt x="86" y="93"/>
                  </a:moveTo>
                  <a:cubicBezTo>
                    <a:pt x="86" y="73"/>
                    <a:pt x="86" y="73"/>
                    <a:pt x="86" y="73"/>
                  </a:cubicBezTo>
                  <a:cubicBezTo>
                    <a:pt x="224" y="27"/>
                    <a:pt x="224" y="27"/>
                    <a:pt x="224" y="27"/>
                  </a:cubicBezTo>
                  <a:cubicBezTo>
                    <a:pt x="224" y="47"/>
                    <a:pt x="224" y="47"/>
                    <a:pt x="224" y="47"/>
                  </a:cubicBezTo>
                  <a:lnTo>
                    <a:pt x="86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8" name="Freeform 938"/>
          <p:cNvSpPr>
            <a:spLocks noChangeAspect="1" noEditPoints="1"/>
          </p:cNvSpPr>
          <p:nvPr/>
        </p:nvSpPr>
        <p:spPr bwMode="auto">
          <a:xfrm>
            <a:off x="6428413" y="4544413"/>
            <a:ext cx="367041" cy="367041"/>
          </a:xfrm>
          <a:custGeom>
            <a:avLst/>
            <a:gdLst>
              <a:gd name="T0" fmla="*/ 305 w 512"/>
              <a:gd name="T1" fmla="*/ 234 h 512"/>
              <a:gd name="T2" fmla="*/ 266 w 512"/>
              <a:gd name="T3" fmla="*/ 234 h 512"/>
              <a:gd name="T4" fmla="*/ 266 w 512"/>
              <a:gd name="T5" fmla="*/ 192 h 512"/>
              <a:gd name="T6" fmla="*/ 298 w 512"/>
              <a:gd name="T7" fmla="*/ 192 h 512"/>
              <a:gd name="T8" fmla="*/ 301 w 512"/>
              <a:gd name="T9" fmla="*/ 196 h 512"/>
              <a:gd name="T10" fmla="*/ 305 w 512"/>
              <a:gd name="T11" fmla="*/ 234 h 512"/>
              <a:gd name="T12" fmla="*/ 245 w 512"/>
              <a:gd name="T13" fmla="*/ 192 h 512"/>
              <a:gd name="T14" fmla="*/ 214 w 512"/>
              <a:gd name="T15" fmla="*/ 192 h 512"/>
              <a:gd name="T16" fmla="*/ 211 w 512"/>
              <a:gd name="T17" fmla="*/ 195 h 512"/>
              <a:gd name="T18" fmla="*/ 207 w 512"/>
              <a:gd name="T19" fmla="*/ 234 h 512"/>
              <a:gd name="T20" fmla="*/ 245 w 512"/>
              <a:gd name="T21" fmla="*/ 234 h 512"/>
              <a:gd name="T22" fmla="*/ 245 w 512"/>
              <a:gd name="T23" fmla="*/ 192 h 512"/>
              <a:gd name="T24" fmla="*/ 205 w 512"/>
              <a:gd name="T25" fmla="*/ 256 h 512"/>
              <a:gd name="T26" fmla="*/ 197 w 512"/>
              <a:gd name="T27" fmla="*/ 336 h 512"/>
              <a:gd name="T28" fmla="*/ 256 w 512"/>
              <a:gd name="T29" fmla="*/ 394 h 512"/>
              <a:gd name="T30" fmla="*/ 315 w 512"/>
              <a:gd name="T31" fmla="*/ 335 h 512"/>
              <a:gd name="T32" fmla="*/ 307 w 512"/>
              <a:gd name="T33" fmla="*/ 256 h 512"/>
              <a:gd name="T34" fmla="*/ 205 w 512"/>
              <a:gd name="T35" fmla="*/ 256 h 512"/>
              <a:gd name="T36" fmla="*/ 512 w 512"/>
              <a:gd name="T37" fmla="*/ 256 h 512"/>
              <a:gd name="T38" fmla="*/ 256 w 512"/>
              <a:gd name="T39" fmla="*/ 512 h 512"/>
              <a:gd name="T40" fmla="*/ 0 w 512"/>
              <a:gd name="T41" fmla="*/ 256 h 512"/>
              <a:gd name="T42" fmla="*/ 256 w 512"/>
              <a:gd name="T43" fmla="*/ 0 h 512"/>
              <a:gd name="T44" fmla="*/ 512 w 512"/>
              <a:gd name="T45" fmla="*/ 256 h 512"/>
              <a:gd name="T46" fmla="*/ 336 w 512"/>
              <a:gd name="T47" fmla="*/ 334 h 512"/>
              <a:gd name="T48" fmla="*/ 322 w 512"/>
              <a:gd name="T49" fmla="*/ 195 h 512"/>
              <a:gd name="T50" fmla="*/ 298 w 512"/>
              <a:gd name="T51" fmla="*/ 170 h 512"/>
              <a:gd name="T52" fmla="*/ 266 w 512"/>
              <a:gd name="T53" fmla="*/ 170 h 512"/>
              <a:gd name="T54" fmla="*/ 266 w 512"/>
              <a:gd name="T55" fmla="*/ 168 h 512"/>
              <a:gd name="T56" fmla="*/ 256 w 512"/>
              <a:gd name="T57" fmla="*/ 132 h 512"/>
              <a:gd name="T58" fmla="*/ 248 w 512"/>
              <a:gd name="T59" fmla="*/ 106 h 512"/>
              <a:gd name="T60" fmla="*/ 238 w 512"/>
              <a:gd name="T61" fmla="*/ 96 h 512"/>
              <a:gd name="T62" fmla="*/ 227 w 512"/>
              <a:gd name="T63" fmla="*/ 106 h 512"/>
              <a:gd name="T64" fmla="*/ 237 w 512"/>
              <a:gd name="T65" fmla="*/ 143 h 512"/>
              <a:gd name="T66" fmla="*/ 245 w 512"/>
              <a:gd name="T67" fmla="*/ 168 h 512"/>
              <a:gd name="T68" fmla="*/ 245 w 512"/>
              <a:gd name="T69" fmla="*/ 170 h 512"/>
              <a:gd name="T70" fmla="*/ 214 w 512"/>
              <a:gd name="T71" fmla="*/ 170 h 512"/>
              <a:gd name="T72" fmla="*/ 189 w 512"/>
              <a:gd name="T73" fmla="*/ 194 h 512"/>
              <a:gd name="T74" fmla="*/ 175 w 512"/>
              <a:gd name="T75" fmla="*/ 334 h 512"/>
              <a:gd name="T76" fmla="*/ 175 w 512"/>
              <a:gd name="T77" fmla="*/ 335 h 512"/>
              <a:gd name="T78" fmla="*/ 256 w 512"/>
              <a:gd name="T79" fmla="*/ 416 h 512"/>
              <a:gd name="T80" fmla="*/ 336 w 512"/>
              <a:gd name="T81" fmla="*/ 3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305" y="234"/>
                </a:moveTo>
                <a:cubicBezTo>
                  <a:pt x="266" y="234"/>
                  <a:pt x="266" y="234"/>
                  <a:pt x="266" y="234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9" y="192"/>
                  <a:pt x="301" y="193"/>
                  <a:pt x="301" y="196"/>
                </a:cubicBezTo>
                <a:lnTo>
                  <a:pt x="305" y="234"/>
                </a:lnTo>
                <a:close/>
                <a:moveTo>
                  <a:pt x="245" y="192"/>
                </a:moveTo>
                <a:cubicBezTo>
                  <a:pt x="214" y="192"/>
                  <a:pt x="214" y="192"/>
                  <a:pt x="214" y="192"/>
                </a:cubicBezTo>
                <a:cubicBezTo>
                  <a:pt x="212" y="192"/>
                  <a:pt x="211" y="193"/>
                  <a:pt x="211" y="195"/>
                </a:cubicBezTo>
                <a:cubicBezTo>
                  <a:pt x="207" y="234"/>
                  <a:pt x="207" y="234"/>
                  <a:pt x="207" y="234"/>
                </a:cubicBezTo>
                <a:cubicBezTo>
                  <a:pt x="245" y="234"/>
                  <a:pt x="245" y="234"/>
                  <a:pt x="245" y="234"/>
                </a:cubicBezTo>
                <a:lnTo>
                  <a:pt x="245" y="192"/>
                </a:lnTo>
                <a:close/>
                <a:moveTo>
                  <a:pt x="205" y="256"/>
                </a:moveTo>
                <a:cubicBezTo>
                  <a:pt x="197" y="336"/>
                  <a:pt x="197" y="336"/>
                  <a:pt x="197" y="336"/>
                </a:cubicBezTo>
                <a:cubicBezTo>
                  <a:pt x="197" y="368"/>
                  <a:pt x="223" y="394"/>
                  <a:pt x="256" y="394"/>
                </a:cubicBezTo>
                <a:cubicBezTo>
                  <a:pt x="288" y="394"/>
                  <a:pt x="315" y="368"/>
                  <a:pt x="315" y="335"/>
                </a:cubicBezTo>
                <a:cubicBezTo>
                  <a:pt x="307" y="256"/>
                  <a:pt x="307" y="256"/>
                  <a:pt x="307" y="256"/>
                </a:cubicBezTo>
                <a:lnTo>
                  <a:pt x="205" y="2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6" y="334"/>
                </a:moveTo>
                <a:cubicBezTo>
                  <a:pt x="322" y="195"/>
                  <a:pt x="322" y="195"/>
                  <a:pt x="322" y="195"/>
                </a:cubicBezTo>
                <a:cubicBezTo>
                  <a:pt x="322" y="182"/>
                  <a:pt x="311" y="170"/>
                  <a:pt x="298" y="170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66" y="168"/>
                  <a:pt x="266" y="168"/>
                  <a:pt x="266" y="168"/>
                </a:cubicBezTo>
                <a:cubicBezTo>
                  <a:pt x="266" y="149"/>
                  <a:pt x="260" y="139"/>
                  <a:pt x="256" y="132"/>
                </a:cubicBezTo>
                <a:cubicBezTo>
                  <a:pt x="252" y="125"/>
                  <a:pt x="248" y="119"/>
                  <a:pt x="248" y="106"/>
                </a:cubicBezTo>
                <a:cubicBezTo>
                  <a:pt x="248" y="100"/>
                  <a:pt x="244" y="96"/>
                  <a:pt x="238" y="96"/>
                </a:cubicBezTo>
                <a:cubicBezTo>
                  <a:pt x="232" y="96"/>
                  <a:pt x="227" y="100"/>
                  <a:pt x="227" y="106"/>
                </a:cubicBezTo>
                <a:cubicBezTo>
                  <a:pt x="227" y="125"/>
                  <a:pt x="233" y="135"/>
                  <a:pt x="237" y="143"/>
                </a:cubicBezTo>
                <a:cubicBezTo>
                  <a:pt x="242" y="150"/>
                  <a:pt x="245" y="155"/>
                  <a:pt x="245" y="168"/>
                </a:cubicBezTo>
                <a:cubicBezTo>
                  <a:pt x="245" y="170"/>
                  <a:pt x="245" y="170"/>
                  <a:pt x="245" y="170"/>
                </a:cubicBezTo>
                <a:cubicBezTo>
                  <a:pt x="214" y="170"/>
                  <a:pt x="214" y="170"/>
                  <a:pt x="214" y="170"/>
                </a:cubicBezTo>
                <a:cubicBezTo>
                  <a:pt x="200" y="170"/>
                  <a:pt x="189" y="182"/>
                  <a:pt x="189" y="194"/>
                </a:cubicBezTo>
                <a:cubicBezTo>
                  <a:pt x="175" y="334"/>
                  <a:pt x="175" y="334"/>
                  <a:pt x="175" y="334"/>
                </a:cubicBezTo>
                <a:cubicBezTo>
                  <a:pt x="175" y="335"/>
                  <a:pt x="175" y="335"/>
                  <a:pt x="175" y="335"/>
                </a:cubicBezTo>
                <a:cubicBezTo>
                  <a:pt x="175" y="380"/>
                  <a:pt x="211" y="416"/>
                  <a:pt x="256" y="416"/>
                </a:cubicBezTo>
                <a:cubicBezTo>
                  <a:pt x="300" y="416"/>
                  <a:pt x="336" y="380"/>
                  <a:pt x="336" y="3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9" name="Group 941"/>
          <p:cNvGrpSpPr>
            <a:grpSpLocks noChangeAspect="1"/>
          </p:cNvGrpSpPr>
          <p:nvPr/>
        </p:nvGrpSpPr>
        <p:grpSpPr bwMode="auto">
          <a:xfrm>
            <a:off x="6925763" y="4544413"/>
            <a:ext cx="367041" cy="367041"/>
            <a:chOff x="6569" y="3572"/>
            <a:chExt cx="340" cy="340"/>
          </a:xfrm>
          <a:solidFill>
            <a:schemeClr val="accent4"/>
          </a:solidFill>
        </p:grpSpPr>
        <p:sp>
          <p:nvSpPr>
            <p:cNvPr id="420" name="Freeform 942"/>
            <p:cNvSpPr>
              <a:spLocks noEditPoints="1"/>
            </p:cNvSpPr>
            <p:nvPr/>
          </p:nvSpPr>
          <p:spPr bwMode="auto">
            <a:xfrm>
              <a:off x="6569" y="35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1" name="Freeform 943"/>
            <p:cNvSpPr>
              <a:spLocks noEditPoints="1"/>
            </p:cNvSpPr>
            <p:nvPr/>
          </p:nvSpPr>
          <p:spPr bwMode="auto">
            <a:xfrm>
              <a:off x="6685" y="3636"/>
              <a:ext cx="107" cy="212"/>
            </a:xfrm>
            <a:custGeom>
              <a:avLst/>
              <a:gdLst>
                <a:gd name="T0" fmla="*/ 147 w 161"/>
                <a:gd name="T1" fmla="*/ 99 h 320"/>
                <a:gd name="T2" fmla="*/ 123 w 161"/>
                <a:gd name="T3" fmla="*/ 74 h 320"/>
                <a:gd name="T4" fmla="*/ 91 w 161"/>
                <a:gd name="T5" fmla="*/ 74 h 320"/>
                <a:gd name="T6" fmla="*/ 91 w 161"/>
                <a:gd name="T7" fmla="*/ 72 h 320"/>
                <a:gd name="T8" fmla="*/ 81 w 161"/>
                <a:gd name="T9" fmla="*/ 36 h 320"/>
                <a:gd name="T10" fmla="*/ 73 w 161"/>
                <a:gd name="T11" fmla="*/ 10 h 320"/>
                <a:gd name="T12" fmla="*/ 63 w 161"/>
                <a:gd name="T13" fmla="*/ 0 h 320"/>
                <a:gd name="T14" fmla="*/ 52 w 161"/>
                <a:gd name="T15" fmla="*/ 10 h 320"/>
                <a:gd name="T16" fmla="*/ 62 w 161"/>
                <a:gd name="T17" fmla="*/ 47 h 320"/>
                <a:gd name="T18" fmla="*/ 70 w 161"/>
                <a:gd name="T19" fmla="*/ 72 h 320"/>
                <a:gd name="T20" fmla="*/ 70 w 161"/>
                <a:gd name="T21" fmla="*/ 74 h 320"/>
                <a:gd name="T22" fmla="*/ 39 w 161"/>
                <a:gd name="T23" fmla="*/ 74 h 320"/>
                <a:gd name="T24" fmla="*/ 14 w 161"/>
                <a:gd name="T25" fmla="*/ 98 h 320"/>
                <a:gd name="T26" fmla="*/ 0 w 161"/>
                <a:gd name="T27" fmla="*/ 238 h 320"/>
                <a:gd name="T28" fmla="*/ 0 w 161"/>
                <a:gd name="T29" fmla="*/ 239 h 320"/>
                <a:gd name="T30" fmla="*/ 81 w 161"/>
                <a:gd name="T31" fmla="*/ 320 h 320"/>
                <a:gd name="T32" fmla="*/ 161 w 161"/>
                <a:gd name="T33" fmla="*/ 238 h 320"/>
                <a:gd name="T34" fmla="*/ 147 w 161"/>
                <a:gd name="T35" fmla="*/ 99 h 320"/>
                <a:gd name="T36" fmla="*/ 126 w 161"/>
                <a:gd name="T37" fmla="*/ 100 h 320"/>
                <a:gd name="T38" fmla="*/ 130 w 161"/>
                <a:gd name="T39" fmla="*/ 138 h 320"/>
                <a:gd name="T40" fmla="*/ 91 w 161"/>
                <a:gd name="T41" fmla="*/ 138 h 320"/>
                <a:gd name="T42" fmla="*/ 91 w 161"/>
                <a:gd name="T43" fmla="*/ 96 h 320"/>
                <a:gd name="T44" fmla="*/ 123 w 161"/>
                <a:gd name="T45" fmla="*/ 96 h 320"/>
                <a:gd name="T46" fmla="*/ 126 w 161"/>
                <a:gd name="T47" fmla="*/ 100 h 320"/>
                <a:gd name="T48" fmla="*/ 39 w 161"/>
                <a:gd name="T49" fmla="*/ 96 h 320"/>
                <a:gd name="T50" fmla="*/ 70 w 161"/>
                <a:gd name="T51" fmla="*/ 96 h 320"/>
                <a:gd name="T52" fmla="*/ 70 w 161"/>
                <a:gd name="T53" fmla="*/ 138 h 320"/>
                <a:gd name="T54" fmla="*/ 32 w 161"/>
                <a:gd name="T55" fmla="*/ 138 h 320"/>
                <a:gd name="T56" fmla="*/ 36 w 161"/>
                <a:gd name="T57" fmla="*/ 99 h 320"/>
                <a:gd name="T58" fmla="*/ 39 w 161"/>
                <a:gd name="T59" fmla="*/ 96 h 320"/>
                <a:gd name="T60" fmla="*/ 81 w 161"/>
                <a:gd name="T61" fmla="*/ 298 h 320"/>
                <a:gd name="T62" fmla="*/ 22 w 161"/>
                <a:gd name="T63" fmla="*/ 240 h 320"/>
                <a:gd name="T64" fmla="*/ 30 w 161"/>
                <a:gd name="T65" fmla="*/ 160 h 320"/>
                <a:gd name="T66" fmla="*/ 132 w 161"/>
                <a:gd name="T67" fmla="*/ 160 h 320"/>
                <a:gd name="T68" fmla="*/ 140 w 161"/>
                <a:gd name="T69" fmla="*/ 239 h 320"/>
                <a:gd name="T70" fmla="*/ 81 w 161"/>
                <a:gd name="T71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" h="320">
                  <a:moveTo>
                    <a:pt x="147" y="99"/>
                  </a:moveTo>
                  <a:cubicBezTo>
                    <a:pt x="147" y="86"/>
                    <a:pt x="136" y="74"/>
                    <a:pt x="123" y="74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53"/>
                    <a:pt x="85" y="43"/>
                    <a:pt x="81" y="36"/>
                  </a:cubicBezTo>
                  <a:cubicBezTo>
                    <a:pt x="77" y="29"/>
                    <a:pt x="73" y="23"/>
                    <a:pt x="73" y="10"/>
                  </a:cubicBezTo>
                  <a:cubicBezTo>
                    <a:pt x="73" y="4"/>
                    <a:pt x="69" y="0"/>
                    <a:pt x="63" y="0"/>
                  </a:cubicBezTo>
                  <a:cubicBezTo>
                    <a:pt x="57" y="0"/>
                    <a:pt x="52" y="4"/>
                    <a:pt x="52" y="10"/>
                  </a:cubicBezTo>
                  <a:cubicBezTo>
                    <a:pt x="52" y="29"/>
                    <a:pt x="58" y="39"/>
                    <a:pt x="62" y="47"/>
                  </a:cubicBezTo>
                  <a:cubicBezTo>
                    <a:pt x="67" y="54"/>
                    <a:pt x="70" y="59"/>
                    <a:pt x="70" y="72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25" y="74"/>
                    <a:pt x="14" y="86"/>
                    <a:pt x="14" y="98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284"/>
                    <a:pt x="36" y="320"/>
                    <a:pt x="81" y="320"/>
                  </a:cubicBezTo>
                  <a:cubicBezTo>
                    <a:pt x="125" y="320"/>
                    <a:pt x="161" y="284"/>
                    <a:pt x="161" y="238"/>
                  </a:cubicBezTo>
                  <a:lnTo>
                    <a:pt x="147" y="99"/>
                  </a:lnTo>
                  <a:close/>
                  <a:moveTo>
                    <a:pt x="126" y="100"/>
                  </a:moveTo>
                  <a:cubicBezTo>
                    <a:pt x="130" y="138"/>
                    <a:pt x="130" y="138"/>
                    <a:pt x="130" y="138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91" y="96"/>
                    <a:pt x="91" y="96"/>
                    <a:pt x="91" y="96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24" y="96"/>
                    <a:pt x="126" y="97"/>
                    <a:pt x="126" y="100"/>
                  </a:cubicBezTo>
                  <a:close/>
                  <a:moveTo>
                    <a:pt x="39" y="96"/>
                  </a:moveTo>
                  <a:cubicBezTo>
                    <a:pt x="70" y="96"/>
                    <a:pt x="70" y="96"/>
                    <a:pt x="70" y="96"/>
                  </a:cubicBezTo>
                  <a:cubicBezTo>
                    <a:pt x="70" y="138"/>
                    <a:pt x="70" y="138"/>
                    <a:pt x="70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6" y="99"/>
                    <a:pt x="36" y="99"/>
                    <a:pt x="36" y="99"/>
                  </a:cubicBezTo>
                  <a:cubicBezTo>
                    <a:pt x="36" y="97"/>
                    <a:pt x="37" y="96"/>
                    <a:pt x="39" y="96"/>
                  </a:cubicBezTo>
                  <a:close/>
                  <a:moveTo>
                    <a:pt x="81" y="298"/>
                  </a:moveTo>
                  <a:cubicBezTo>
                    <a:pt x="48" y="298"/>
                    <a:pt x="22" y="272"/>
                    <a:pt x="22" y="240"/>
                  </a:cubicBezTo>
                  <a:cubicBezTo>
                    <a:pt x="30" y="160"/>
                    <a:pt x="30" y="160"/>
                    <a:pt x="30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40" y="239"/>
                    <a:pt x="140" y="239"/>
                    <a:pt x="140" y="239"/>
                  </a:cubicBezTo>
                  <a:cubicBezTo>
                    <a:pt x="140" y="272"/>
                    <a:pt x="113" y="298"/>
                    <a:pt x="81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32" name="Freeform 468"/>
          <p:cNvSpPr>
            <a:spLocks noChangeAspect="1" noEditPoints="1"/>
          </p:cNvSpPr>
          <p:nvPr/>
        </p:nvSpPr>
        <p:spPr bwMode="auto">
          <a:xfrm>
            <a:off x="7423113" y="4544413"/>
            <a:ext cx="367041" cy="36704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416 w 512"/>
              <a:gd name="T5" fmla="*/ 352 h 512"/>
              <a:gd name="T6" fmla="*/ 106 w 512"/>
              <a:gd name="T7" fmla="*/ 362 h 512"/>
              <a:gd name="T8" fmla="*/ 96 w 512"/>
              <a:gd name="T9" fmla="*/ 224 h 512"/>
              <a:gd name="T10" fmla="*/ 240 w 512"/>
              <a:gd name="T11" fmla="*/ 213 h 512"/>
              <a:gd name="T12" fmla="*/ 224 w 512"/>
              <a:gd name="T13" fmla="*/ 181 h 512"/>
              <a:gd name="T14" fmla="*/ 245 w 512"/>
              <a:gd name="T15" fmla="*/ 138 h 512"/>
              <a:gd name="T16" fmla="*/ 266 w 512"/>
              <a:gd name="T17" fmla="*/ 138 h 512"/>
              <a:gd name="T18" fmla="*/ 245 w 512"/>
              <a:gd name="T19" fmla="*/ 181 h 512"/>
              <a:gd name="T20" fmla="*/ 265 w 512"/>
              <a:gd name="T21" fmla="*/ 213 h 512"/>
              <a:gd name="T22" fmla="*/ 416 w 512"/>
              <a:gd name="T23" fmla="*/ 224 h 512"/>
              <a:gd name="T24" fmla="*/ 117 w 512"/>
              <a:gd name="T25" fmla="*/ 341 h 512"/>
              <a:gd name="T26" fmla="*/ 394 w 512"/>
              <a:gd name="T27" fmla="*/ 234 h 512"/>
              <a:gd name="T28" fmla="*/ 117 w 512"/>
              <a:gd name="T29" fmla="*/ 341 h 512"/>
              <a:gd name="T30" fmla="*/ 373 w 512"/>
              <a:gd name="T31" fmla="*/ 256 h 512"/>
              <a:gd name="T32" fmla="*/ 352 w 512"/>
              <a:gd name="T33" fmla="*/ 256 h 512"/>
              <a:gd name="T34" fmla="*/ 362 w 512"/>
              <a:gd name="T35" fmla="*/ 277 h 512"/>
              <a:gd name="T36" fmla="*/ 362 w 512"/>
              <a:gd name="T37" fmla="*/ 298 h 512"/>
              <a:gd name="T38" fmla="*/ 362 w 512"/>
              <a:gd name="T39" fmla="*/ 277 h 512"/>
              <a:gd name="T40" fmla="*/ 373 w 512"/>
              <a:gd name="T41" fmla="*/ 320 h 512"/>
              <a:gd name="T42" fmla="*/ 352 w 512"/>
              <a:gd name="T43" fmla="*/ 320 h 512"/>
              <a:gd name="T44" fmla="*/ 320 w 512"/>
              <a:gd name="T45" fmla="*/ 245 h 512"/>
              <a:gd name="T46" fmla="*/ 320 w 512"/>
              <a:gd name="T47" fmla="*/ 266 h 512"/>
              <a:gd name="T48" fmla="*/ 320 w 512"/>
              <a:gd name="T49" fmla="*/ 245 h 512"/>
              <a:gd name="T50" fmla="*/ 330 w 512"/>
              <a:gd name="T51" fmla="*/ 288 h 512"/>
              <a:gd name="T52" fmla="*/ 309 w 512"/>
              <a:gd name="T53" fmla="*/ 288 h 512"/>
              <a:gd name="T54" fmla="*/ 277 w 512"/>
              <a:gd name="T55" fmla="*/ 245 h 512"/>
              <a:gd name="T56" fmla="*/ 277 w 512"/>
              <a:gd name="T57" fmla="*/ 266 h 512"/>
              <a:gd name="T58" fmla="*/ 277 w 512"/>
              <a:gd name="T59" fmla="*/ 245 h 512"/>
              <a:gd name="T60" fmla="*/ 288 w 512"/>
              <a:gd name="T61" fmla="*/ 288 h 512"/>
              <a:gd name="T62" fmla="*/ 266 w 512"/>
              <a:gd name="T63" fmla="*/ 288 h 512"/>
              <a:gd name="T64" fmla="*/ 234 w 512"/>
              <a:gd name="T65" fmla="*/ 245 h 512"/>
              <a:gd name="T66" fmla="*/ 234 w 512"/>
              <a:gd name="T67" fmla="*/ 266 h 512"/>
              <a:gd name="T68" fmla="*/ 234 w 512"/>
              <a:gd name="T69" fmla="*/ 245 h 512"/>
              <a:gd name="T70" fmla="*/ 245 w 512"/>
              <a:gd name="T71" fmla="*/ 288 h 512"/>
              <a:gd name="T72" fmla="*/ 224 w 512"/>
              <a:gd name="T73" fmla="*/ 288 h 512"/>
              <a:gd name="T74" fmla="*/ 192 w 512"/>
              <a:gd name="T75" fmla="*/ 245 h 512"/>
              <a:gd name="T76" fmla="*/ 192 w 512"/>
              <a:gd name="T77" fmla="*/ 266 h 512"/>
              <a:gd name="T78" fmla="*/ 192 w 512"/>
              <a:gd name="T79" fmla="*/ 245 h 512"/>
              <a:gd name="T80" fmla="*/ 202 w 512"/>
              <a:gd name="T81" fmla="*/ 288 h 512"/>
              <a:gd name="T82" fmla="*/ 181 w 512"/>
              <a:gd name="T83" fmla="*/ 288 h 512"/>
              <a:gd name="T84" fmla="*/ 192 w 512"/>
              <a:gd name="T85" fmla="*/ 309 h 512"/>
              <a:gd name="T86" fmla="*/ 320 w 512"/>
              <a:gd name="T87" fmla="*/ 320 h 512"/>
              <a:gd name="T88" fmla="*/ 192 w 512"/>
              <a:gd name="T89" fmla="*/ 330 h 512"/>
              <a:gd name="T90" fmla="*/ 192 w 512"/>
              <a:gd name="T91" fmla="*/ 309 h 512"/>
              <a:gd name="T92" fmla="*/ 160 w 512"/>
              <a:gd name="T93" fmla="*/ 256 h 512"/>
              <a:gd name="T94" fmla="*/ 138 w 512"/>
              <a:gd name="T95" fmla="*/ 256 h 512"/>
              <a:gd name="T96" fmla="*/ 149 w 512"/>
              <a:gd name="T97" fmla="*/ 277 h 512"/>
              <a:gd name="T98" fmla="*/ 149 w 512"/>
              <a:gd name="T99" fmla="*/ 298 h 512"/>
              <a:gd name="T100" fmla="*/ 149 w 512"/>
              <a:gd name="T101" fmla="*/ 277 h 512"/>
              <a:gd name="T102" fmla="*/ 160 w 512"/>
              <a:gd name="T103" fmla="*/ 320 h 512"/>
              <a:gd name="T104" fmla="*/ 138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52"/>
                </a:moveTo>
                <a:cubicBezTo>
                  <a:pt x="416" y="358"/>
                  <a:pt x="411" y="362"/>
                  <a:pt x="405" y="362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0" y="362"/>
                  <a:pt x="96" y="358"/>
                  <a:pt x="96" y="352"/>
                </a:cubicBezTo>
                <a:cubicBezTo>
                  <a:pt x="96" y="224"/>
                  <a:pt x="96" y="224"/>
                  <a:pt x="96" y="224"/>
                </a:cubicBezTo>
                <a:cubicBezTo>
                  <a:pt x="96" y="218"/>
                  <a:pt x="100" y="213"/>
                  <a:pt x="106" y="213"/>
                </a:cubicBezTo>
                <a:cubicBezTo>
                  <a:pt x="240" y="213"/>
                  <a:pt x="240" y="213"/>
                  <a:pt x="240" y="213"/>
                </a:cubicBezTo>
                <a:cubicBezTo>
                  <a:pt x="240" y="212"/>
                  <a:pt x="239" y="211"/>
                  <a:pt x="237" y="210"/>
                </a:cubicBezTo>
                <a:cubicBezTo>
                  <a:pt x="232" y="204"/>
                  <a:pt x="224" y="196"/>
                  <a:pt x="224" y="181"/>
                </a:cubicBezTo>
                <a:cubicBezTo>
                  <a:pt x="224" y="166"/>
                  <a:pt x="232" y="158"/>
                  <a:pt x="237" y="152"/>
                </a:cubicBezTo>
                <a:cubicBezTo>
                  <a:pt x="243" y="147"/>
                  <a:pt x="245" y="144"/>
                  <a:pt x="245" y="138"/>
                </a:cubicBezTo>
                <a:cubicBezTo>
                  <a:pt x="245" y="132"/>
                  <a:pt x="250" y="128"/>
                  <a:pt x="256" y="128"/>
                </a:cubicBezTo>
                <a:cubicBezTo>
                  <a:pt x="262" y="128"/>
                  <a:pt x="266" y="132"/>
                  <a:pt x="266" y="138"/>
                </a:cubicBezTo>
                <a:cubicBezTo>
                  <a:pt x="266" y="153"/>
                  <a:pt x="258" y="161"/>
                  <a:pt x="253" y="167"/>
                </a:cubicBezTo>
                <a:cubicBezTo>
                  <a:pt x="247" y="172"/>
                  <a:pt x="245" y="175"/>
                  <a:pt x="245" y="181"/>
                </a:cubicBezTo>
                <a:cubicBezTo>
                  <a:pt x="245" y="187"/>
                  <a:pt x="247" y="190"/>
                  <a:pt x="253" y="195"/>
                </a:cubicBezTo>
                <a:cubicBezTo>
                  <a:pt x="257" y="199"/>
                  <a:pt x="262" y="204"/>
                  <a:pt x="265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lnTo>
                  <a:pt x="416" y="352"/>
                </a:lnTo>
                <a:close/>
                <a:moveTo>
                  <a:pt x="117" y="341"/>
                </a:moveTo>
                <a:cubicBezTo>
                  <a:pt x="394" y="341"/>
                  <a:pt x="394" y="341"/>
                  <a:pt x="394" y="341"/>
                </a:cubicBezTo>
                <a:cubicBezTo>
                  <a:pt x="394" y="234"/>
                  <a:pt x="394" y="234"/>
                  <a:pt x="394" y="234"/>
                </a:cubicBezTo>
                <a:cubicBezTo>
                  <a:pt x="117" y="234"/>
                  <a:pt x="117" y="234"/>
                  <a:pt x="117" y="234"/>
                </a:cubicBezTo>
                <a:lnTo>
                  <a:pt x="117" y="341"/>
                </a:lnTo>
                <a:close/>
                <a:moveTo>
                  <a:pt x="362" y="245"/>
                </a:moveTo>
                <a:cubicBezTo>
                  <a:pt x="368" y="245"/>
                  <a:pt x="373" y="250"/>
                  <a:pt x="373" y="256"/>
                </a:cubicBezTo>
                <a:cubicBezTo>
                  <a:pt x="373" y="262"/>
                  <a:pt x="368" y="266"/>
                  <a:pt x="362" y="266"/>
                </a:cubicBezTo>
                <a:cubicBezTo>
                  <a:pt x="356" y="266"/>
                  <a:pt x="352" y="262"/>
                  <a:pt x="352" y="256"/>
                </a:cubicBezTo>
                <a:cubicBezTo>
                  <a:pt x="352" y="250"/>
                  <a:pt x="356" y="245"/>
                  <a:pt x="362" y="245"/>
                </a:cubicBezTo>
                <a:close/>
                <a:moveTo>
                  <a:pt x="362" y="277"/>
                </a:moveTo>
                <a:cubicBezTo>
                  <a:pt x="368" y="277"/>
                  <a:pt x="373" y="282"/>
                  <a:pt x="373" y="288"/>
                </a:cubicBezTo>
                <a:cubicBezTo>
                  <a:pt x="373" y="294"/>
                  <a:pt x="368" y="298"/>
                  <a:pt x="362" y="298"/>
                </a:cubicBezTo>
                <a:cubicBezTo>
                  <a:pt x="356" y="298"/>
                  <a:pt x="352" y="294"/>
                  <a:pt x="352" y="288"/>
                </a:cubicBezTo>
                <a:cubicBezTo>
                  <a:pt x="352" y="282"/>
                  <a:pt x="356" y="277"/>
                  <a:pt x="362" y="277"/>
                </a:cubicBezTo>
                <a:close/>
                <a:moveTo>
                  <a:pt x="362" y="309"/>
                </a:moveTo>
                <a:cubicBezTo>
                  <a:pt x="368" y="309"/>
                  <a:pt x="373" y="314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cubicBezTo>
                  <a:pt x="352" y="314"/>
                  <a:pt x="356" y="309"/>
                  <a:pt x="362" y="309"/>
                </a:cubicBezTo>
                <a:close/>
                <a:moveTo>
                  <a:pt x="320" y="245"/>
                </a:moveTo>
                <a:cubicBezTo>
                  <a:pt x="326" y="245"/>
                  <a:pt x="330" y="250"/>
                  <a:pt x="330" y="256"/>
                </a:cubicBezTo>
                <a:cubicBezTo>
                  <a:pt x="330" y="262"/>
                  <a:pt x="326" y="266"/>
                  <a:pt x="320" y="266"/>
                </a:cubicBezTo>
                <a:cubicBezTo>
                  <a:pt x="314" y="266"/>
                  <a:pt x="309" y="262"/>
                  <a:pt x="309" y="256"/>
                </a:cubicBezTo>
                <a:cubicBezTo>
                  <a:pt x="309" y="250"/>
                  <a:pt x="314" y="245"/>
                  <a:pt x="320" y="245"/>
                </a:cubicBezTo>
                <a:close/>
                <a:moveTo>
                  <a:pt x="320" y="277"/>
                </a:moveTo>
                <a:cubicBezTo>
                  <a:pt x="326" y="277"/>
                  <a:pt x="330" y="282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82"/>
                  <a:pt x="314" y="277"/>
                  <a:pt x="320" y="277"/>
                </a:cubicBezTo>
                <a:close/>
                <a:moveTo>
                  <a:pt x="277" y="245"/>
                </a:moveTo>
                <a:cubicBezTo>
                  <a:pt x="283" y="245"/>
                  <a:pt x="288" y="250"/>
                  <a:pt x="288" y="256"/>
                </a:cubicBezTo>
                <a:cubicBezTo>
                  <a:pt x="288" y="262"/>
                  <a:pt x="283" y="266"/>
                  <a:pt x="277" y="266"/>
                </a:cubicBezTo>
                <a:cubicBezTo>
                  <a:pt x="271" y="266"/>
                  <a:pt x="266" y="262"/>
                  <a:pt x="266" y="256"/>
                </a:cubicBezTo>
                <a:cubicBezTo>
                  <a:pt x="266" y="250"/>
                  <a:pt x="271" y="245"/>
                  <a:pt x="277" y="245"/>
                </a:cubicBezTo>
                <a:close/>
                <a:moveTo>
                  <a:pt x="277" y="277"/>
                </a:moveTo>
                <a:cubicBezTo>
                  <a:pt x="283" y="277"/>
                  <a:pt x="288" y="282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82"/>
                  <a:pt x="271" y="277"/>
                  <a:pt x="277" y="277"/>
                </a:cubicBezTo>
                <a:close/>
                <a:moveTo>
                  <a:pt x="234" y="245"/>
                </a:moveTo>
                <a:cubicBezTo>
                  <a:pt x="240" y="245"/>
                  <a:pt x="245" y="250"/>
                  <a:pt x="245" y="256"/>
                </a:cubicBezTo>
                <a:cubicBezTo>
                  <a:pt x="245" y="262"/>
                  <a:pt x="240" y="266"/>
                  <a:pt x="234" y="266"/>
                </a:cubicBezTo>
                <a:cubicBezTo>
                  <a:pt x="228" y="266"/>
                  <a:pt x="224" y="262"/>
                  <a:pt x="224" y="256"/>
                </a:cubicBezTo>
                <a:cubicBezTo>
                  <a:pt x="224" y="250"/>
                  <a:pt x="228" y="245"/>
                  <a:pt x="234" y="245"/>
                </a:cubicBezTo>
                <a:close/>
                <a:moveTo>
                  <a:pt x="234" y="277"/>
                </a:moveTo>
                <a:cubicBezTo>
                  <a:pt x="240" y="277"/>
                  <a:pt x="245" y="282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82"/>
                  <a:pt x="228" y="277"/>
                  <a:pt x="234" y="277"/>
                </a:cubicBezTo>
                <a:close/>
                <a:moveTo>
                  <a:pt x="192" y="245"/>
                </a:moveTo>
                <a:cubicBezTo>
                  <a:pt x="198" y="245"/>
                  <a:pt x="202" y="250"/>
                  <a:pt x="202" y="256"/>
                </a:cubicBezTo>
                <a:cubicBezTo>
                  <a:pt x="202" y="262"/>
                  <a:pt x="198" y="266"/>
                  <a:pt x="192" y="266"/>
                </a:cubicBezTo>
                <a:cubicBezTo>
                  <a:pt x="186" y="266"/>
                  <a:pt x="181" y="262"/>
                  <a:pt x="181" y="256"/>
                </a:cubicBezTo>
                <a:cubicBezTo>
                  <a:pt x="181" y="250"/>
                  <a:pt x="186" y="245"/>
                  <a:pt x="192" y="245"/>
                </a:cubicBezTo>
                <a:close/>
                <a:moveTo>
                  <a:pt x="192" y="277"/>
                </a:moveTo>
                <a:cubicBezTo>
                  <a:pt x="198" y="277"/>
                  <a:pt x="202" y="282"/>
                  <a:pt x="202" y="288"/>
                </a:cubicBezTo>
                <a:cubicBezTo>
                  <a:pt x="202" y="294"/>
                  <a:pt x="198" y="298"/>
                  <a:pt x="192" y="298"/>
                </a:cubicBezTo>
                <a:cubicBezTo>
                  <a:pt x="186" y="298"/>
                  <a:pt x="181" y="294"/>
                  <a:pt x="181" y="288"/>
                </a:cubicBezTo>
                <a:cubicBezTo>
                  <a:pt x="181" y="282"/>
                  <a:pt x="186" y="277"/>
                  <a:pt x="192" y="277"/>
                </a:cubicBezTo>
                <a:close/>
                <a:moveTo>
                  <a:pt x="192" y="309"/>
                </a:moveTo>
                <a:cubicBezTo>
                  <a:pt x="309" y="309"/>
                  <a:pt x="309" y="309"/>
                  <a:pt x="309" y="309"/>
                </a:cubicBezTo>
                <a:cubicBezTo>
                  <a:pt x="315" y="309"/>
                  <a:pt x="320" y="314"/>
                  <a:pt x="320" y="320"/>
                </a:cubicBezTo>
                <a:cubicBezTo>
                  <a:pt x="320" y="326"/>
                  <a:pt x="315" y="330"/>
                  <a:pt x="309" y="330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cubicBezTo>
                  <a:pt x="181" y="314"/>
                  <a:pt x="186" y="309"/>
                  <a:pt x="192" y="309"/>
                </a:cubicBezTo>
                <a:close/>
                <a:moveTo>
                  <a:pt x="149" y="245"/>
                </a:moveTo>
                <a:cubicBezTo>
                  <a:pt x="155" y="245"/>
                  <a:pt x="160" y="250"/>
                  <a:pt x="160" y="256"/>
                </a:cubicBezTo>
                <a:cubicBezTo>
                  <a:pt x="160" y="262"/>
                  <a:pt x="155" y="266"/>
                  <a:pt x="149" y="266"/>
                </a:cubicBezTo>
                <a:cubicBezTo>
                  <a:pt x="143" y="266"/>
                  <a:pt x="138" y="262"/>
                  <a:pt x="138" y="256"/>
                </a:cubicBezTo>
                <a:cubicBezTo>
                  <a:pt x="138" y="250"/>
                  <a:pt x="143" y="245"/>
                  <a:pt x="149" y="245"/>
                </a:cubicBezTo>
                <a:close/>
                <a:moveTo>
                  <a:pt x="149" y="277"/>
                </a:moveTo>
                <a:cubicBezTo>
                  <a:pt x="155" y="277"/>
                  <a:pt x="160" y="282"/>
                  <a:pt x="160" y="288"/>
                </a:cubicBezTo>
                <a:cubicBezTo>
                  <a:pt x="160" y="294"/>
                  <a:pt x="155" y="298"/>
                  <a:pt x="149" y="298"/>
                </a:cubicBezTo>
                <a:cubicBezTo>
                  <a:pt x="143" y="298"/>
                  <a:pt x="138" y="294"/>
                  <a:pt x="138" y="288"/>
                </a:cubicBezTo>
                <a:cubicBezTo>
                  <a:pt x="138" y="282"/>
                  <a:pt x="143" y="277"/>
                  <a:pt x="149" y="277"/>
                </a:cubicBezTo>
                <a:close/>
                <a:moveTo>
                  <a:pt x="149" y="309"/>
                </a:moveTo>
                <a:cubicBezTo>
                  <a:pt x="155" y="309"/>
                  <a:pt x="160" y="314"/>
                  <a:pt x="160" y="320"/>
                </a:cubicBez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33" name="Group 471"/>
          <p:cNvGrpSpPr>
            <a:grpSpLocks noChangeAspect="1"/>
          </p:cNvGrpSpPr>
          <p:nvPr/>
        </p:nvGrpSpPr>
        <p:grpSpPr bwMode="auto">
          <a:xfrm>
            <a:off x="7920463" y="4544413"/>
            <a:ext cx="367041" cy="367041"/>
            <a:chOff x="6130" y="3025"/>
            <a:chExt cx="340" cy="340"/>
          </a:xfrm>
          <a:solidFill>
            <a:schemeClr val="accent5"/>
          </a:solidFill>
        </p:grpSpPr>
        <p:sp>
          <p:nvSpPr>
            <p:cNvPr id="534" name="Freeform 533"/>
            <p:cNvSpPr>
              <a:spLocks noEditPoints="1"/>
            </p:cNvSpPr>
            <p:nvPr/>
          </p:nvSpPr>
          <p:spPr bwMode="auto">
            <a:xfrm>
              <a:off x="6130" y="302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" name="Freeform 534"/>
            <p:cNvSpPr>
              <a:spLocks noEditPoints="1"/>
            </p:cNvSpPr>
            <p:nvPr/>
          </p:nvSpPr>
          <p:spPr bwMode="auto">
            <a:xfrm>
              <a:off x="6194" y="3110"/>
              <a:ext cx="212" cy="155"/>
            </a:xfrm>
            <a:custGeom>
              <a:avLst/>
              <a:gdLst>
                <a:gd name="T0" fmla="*/ 169 w 320"/>
                <a:gd name="T1" fmla="*/ 85 h 234"/>
                <a:gd name="T2" fmla="*/ 149 w 320"/>
                <a:gd name="T3" fmla="*/ 53 h 234"/>
                <a:gd name="T4" fmla="*/ 170 w 320"/>
                <a:gd name="T5" fmla="*/ 10 h 234"/>
                <a:gd name="T6" fmla="*/ 149 w 320"/>
                <a:gd name="T7" fmla="*/ 10 h 234"/>
                <a:gd name="T8" fmla="*/ 128 w 320"/>
                <a:gd name="T9" fmla="*/ 53 h 234"/>
                <a:gd name="T10" fmla="*/ 144 w 320"/>
                <a:gd name="T11" fmla="*/ 85 h 234"/>
                <a:gd name="T12" fmla="*/ 0 w 320"/>
                <a:gd name="T13" fmla="*/ 96 h 234"/>
                <a:gd name="T14" fmla="*/ 10 w 320"/>
                <a:gd name="T15" fmla="*/ 234 h 234"/>
                <a:gd name="T16" fmla="*/ 320 w 320"/>
                <a:gd name="T17" fmla="*/ 224 h 234"/>
                <a:gd name="T18" fmla="*/ 309 w 320"/>
                <a:gd name="T19" fmla="*/ 85 h 234"/>
                <a:gd name="T20" fmla="*/ 21 w 320"/>
                <a:gd name="T21" fmla="*/ 213 h 234"/>
                <a:gd name="T22" fmla="*/ 298 w 320"/>
                <a:gd name="T23" fmla="*/ 106 h 234"/>
                <a:gd name="T24" fmla="*/ 96 w 320"/>
                <a:gd name="T25" fmla="*/ 181 h 234"/>
                <a:gd name="T26" fmla="*/ 224 w 320"/>
                <a:gd name="T27" fmla="*/ 192 h 234"/>
                <a:gd name="T28" fmla="*/ 96 w 320"/>
                <a:gd name="T29" fmla="*/ 202 h 234"/>
                <a:gd name="T30" fmla="*/ 96 w 320"/>
                <a:gd name="T31" fmla="*/ 181 h 234"/>
                <a:gd name="T32" fmla="*/ 53 w 320"/>
                <a:gd name="T33" fmla="*/ 202 h 234"/>
                <a:gd name="T34" fmla="*/ 53 w 320"/>
                <a:gd name="T35" fmla="*/ 181 h 234"/>
                <a:gd name="T36" fmla="*/ 64 w 320"/>
                <a:gd name="T37" fmla="*/ 160 h 234"/>
                <a:gd name="T38" fmla="*/ 42 w 320"/>
                <a:gd name="T39" fmla="*/ 160 h 234"/>
                <a:gd name="T40" fmla="*/ 64 w 320"/>
                <a:gd name="T41" fmla="*/ 160 h 234"/>
                <a:gd name="T42" fmla="*/ 53 w 320"/>
                <a:gd name="T43" fmla="*/ 138 h 234"/>
                <a:gd name="T44" fmla="*/ 53 w 320"/>
                <a:gd name="T45" fmla="*/ 117 h 234"/>
                <a:gd name="T46" fmla="*/ 85 w 320"/>
                <a:gd name="T47" fmla="*/ 160 h 234"/>
                <a:gd name="T48" fmla="*/ 106 w 320"/>
                <a:gd name="T49" fmla="*/ 160 h 234"/>
                <a:gd name="T50" fmla="*/ 85 w 320"/>
                <a:gd name="T51" fmla="*/ 160 h 234"/>
                <a:gd name="T52" fmla="*/ 96 w 320"/>
                <a:gd name="T53" fmla="*/ 117 h 234"/>
                <a:gd name="T54" fmla="*/ 96 w 320"/>
                <a:gd name="T55" fmla="*/ 138 h 234"/>
                <a:gd name="T56" fmla="*/ 128 w 320"/>
                <a:gd name="T57" fmla="*/ 160 h 234"/>
                <a:gd name="T58" fmla="*/ 149 w 320"/>
                <a:gd name="T59" fmla="*/ 160 h 234"/>
                <a:gd name="T60" fmla="*/ 128 w 320"/>
                <a:gd name="T61" fmla="*/ 160 h 234"/>
                <a:gd name="T62" fmla="*/ 138 w 320"/>
                <a:gd name="T63" fmla="*/ 117 h 234"/>
                <a:gd name="T64" fmla="*/ 138 w 320"/>
                <a:gd name="T65" fmla="*/ 138 h 234"/>
                <a:gd name="T66" fmla="*/ 170 w 320"/>
                <a:gd name="T67" fmla="*/ 160 h 234"/>
                <a:gd name="T68" fmla="*/ 192 w 320"/>
                <a:gd name="T69" fmla="*/ 160 h 234"/>
                <a:gd name="T70" fmla="*/ 170 w 320"/>
                <a:gd name="T71" fmla="*/ 160 h 234"/>
                <a:gd name="T72" fmla="*/ 181 w 320"/>
                <a:gd name="T73" fmla="*/ 117 h 234"/>
                <a:gd name="T74" fmla="*/ 181 w 320"/>
                <a:gd name="T75" fmla="*/ 138 h 234"/>
                <a:gd name="T76" fmla="*/ 213 w 320"/>
                <a:gd name="T77" fmla="*/ 160 h 234"/>
                <a:gd name="T78" fmla="*/ 234 w 320"/>
                <a:gd name="T79" fmla="*/ 160 h 234"/>
                <a:gd name="T80" fmla="*/ 213 w 320"/>
                <a:gd name="T81" fmla="*/ 160 h 234"/>
                <a:gd name="T82" fmla="*/ 224 w 320"/>
                <a:gd name="T83" fmla="*/ 117 h 234"/>
                <a:gd name="T84" fmla="*/ 224 w 320"/>
                <a:gd name="T85" fmla="*/ 138 h 234"/>
                <a:gd name="T86" fmla="*/ 256 w 320"/>
                <a:gd name="T87" fmla="*/ 160 h 234"/>
                <a:gd name="T88" fmla="*/ 277 w 320"/>
                <a:gd name="T89" fmla="*/ 160 h 234"/>
                <a:gd name="T90" fmla="*/ 256 w 320"/>
                <a:gd name="T91" fmla="*/ 160 h 234"/>
                <a:gd name="T92" fmla="*/ 266 w 320"/>
                <a:gd name="T93" fmla="*/ 181 h 234"/>
                <a:gd name="T94" fmla="*/ 266 w 320"/>
                <a:gd name="T95" fmla="*/ 202 h 234"/>
                <a:gd name="T96" fmla="*/ 256 w 320"/>
                <a:gd name="T97" fmla="*/ 128 h 234"/>
                <a:gd name="T98" fmla="*/ 277 w 320"/>
                <a:gd name="T99" fmla="*/ 128 h 234"/>
                <a:gd name="T100" fmla="*/ 256 w 320"/>
                <a:gd name="T101" fmla="*/ 128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234">
                  <a:moveTo>
                    <a:pt x="309" y="85"/>
                  </a:moveTo>
                  <a:cubicBezTo>
                    <a:pt x="169" y="85"/>
                    <a:pt x="169" y="85"/>
                    <a:pt x="169" y="85"/>
                  </a:cubicBezTo>
                  <a:cubicBezTo>
                    <a:pt x="166" y="76"/>
                    <a:pt x="161" y="71"/>
                    <a:pt x="157" y="67"/>
                  </a:cubicBezTo>
                  <a:cubicBezTo>
                    <a:pt x="151" y="62"/>
                    <a:pt x="149" y="59"/>
                    <a:pt x="149" y="53"/>
                  </a:cubicBezTo>
                  <a:cubicBezTo>
                    <a:pt x="149" y="47"/>
                    <a:pt x="151" y="44"/>
                    <a:pt x="157" y="39"/>
                  </a:cubicBezTo>
                  <a:cubicBezTo>
                    <a:pt x="162" y="33"/>
                    <a:pt x="170" y="25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16"/>
                    <a:pt x="147" y="19"/>
                    <a:pt x="141" y="24"/>
                  </a:cubicBezTo>
                  <a:cubicBezTo>
                    <a:pt x="136" y="30"/>
                    <a:pt x="128" y="38"/>
                    <a:pt x="128" y="53"/>
                  </a:cubicBezTo>
                  <a:cubicBezTo>
                    <a:pt x="128" y="68"/>
                    <a:pt x="136" y="76"/>
                    <a:pt x="141" y="82"/>
                  </a:cubicBezTo>
                  <a:cubicBezTo>
                    <a:pt x="143" y="83"/>
                    <a:pt x="144" y="84"/>
                    <a:pt x="144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4"/>
                    <a:pt x="10" y="234"/>
                  </a:cubicBezTo>
                  <a:cubicBezTo>
                    <a:pt x="309" y="234"/>
                    <a:pt x="309" y="234"/>
                    <a:pt x="309" y="234"/>
                  </a:cubicBezTo>
                  <a:cubicBezTo>
                    <a:pt x="315" y="234"/>
                    <a:pt x="320" y="230"/>
                    <a:pt x="320" y="224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0" y="90"/>
                    <a:pt x="315" y="85"/>
                    <a:pt x="309" y="85"/>
                  </a:cubicBezTo>
                  <a:close/>
                  <a:moveTo>
                    <a:pt x="298" y="213"/>
                  </a:moveTo>
                  <a:cubicBezTo>
                    <a:pt x="21" y="213"/>
                    <a:pt x="21" y="213"/>
                    <a:pt x="21" y="213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98" y="106"/>
                    <a:pt x="298" y="106"/>
                    <a:pt x="298" y="106"/>
                  </a:cubicBezTo>
                  <a:lnTo>
                    <a:pt x="298" y="213"/>
                  </a:lnTo>
                  <a:close/>
                  <a:moveTo>
                    <a:pt x="96" y="181"/>
                  </a:moveTo>
                  <a:cubicBezTo>
                    <a:pt x="213" y="181"/>
                    <a:pt x="213" y="181"/>
                    <a:pt x="213" y="181"/>
                  </a:cubicBezTo>
                  <a:cubicBezTo>
                    <a:pt x="219" y="181"/>
                    <a:pt x="224" y="186"/>
                    <a:pt x="224" y="192"/>
                  </a:cubicBezTo>
                  <a:cubicBezTo>
                    <a:pt x="224" y="198"/>
                    <a:pt x="219" y="202"/>
                    <a:pt x="213" y="202"/>
                  </a:cubicBezTo>
                  <a:cubicBezTo>
                    <a:pt x="96" y="202"/>
                    <a:pt x="96" y="202"/>
                    <a:pt x="96" y="202"/>
                  </a:cubicBezTo>
                  <a:cubicBezTo>
                    <a:pt x="90" y="202"/>
                    <a:pt x="85" y="198"/>
                    <a:pt x="85" y="192"/>
                  </a:cubicBezTo>
                  <a:cubicBezTo>
                    <a:pt x="85" y="186"/>
                    <a:pt x="90" y="181"/>
                    <a:pt x="96" y="181"/>
                  </a:cubicBezTo>
                  <a:close/>
                  <a:moveTo>
                    <a:pt x="64" y="192"/>
                  </a:moveTo>
                  <a:cubicBezTo>
                    <a:pt x="64" y="198"/>
                    <a:pt x="59" y="202"/>
                    <a:pt x="53" y="202"/>
                  </a:cubicBezTo>
                  <a:cubicBezTo>
                    <a:pt x="47" y="202"/>
                    <a:pt x="42" y="198"/>
                    <a:pt x="42" y="192"/>
                  </a:cubicBezTo>
                  <a:cubicBezTo>
                    <a:pt x="42" y="186"/>
                    <a:pt x="47" y="181"/>
                    <a:pt x="53" y="181"/>
                  </a:cubicBezTo>
                  <a:cubicBezTo>
                    <a:pt x="59" y="181"/>
                    <a:pt x="64" y="186"/>
                    <a:pt x="64" y="192"/>
                  </a:cubicBezTo>
                  <a:close/>
                  <a:moveTo>
                    <a:pt x="64" y="160"/>
                  </a:moveTo>
                  <a:cubicBezTo>
                    <a:pt x="64" y="166"/>
                    <a:pt x="59" y="170"/>
                    <a:pt x="53" y="170"/>
                  </a:cubicBezTo>
                  <a:cubicBezTo>
                    <a:pt x="47" y="170"/>
                    <a:pt x="42" y="166"/>
                    <a:pt x="42" y="160"/>
                  </a:cubicBezTo>
                  <a:cubicBezTo>
                    <a:pt x="42" y="154"/>
                    <a:pt x="47" y="149"/>
                    <a:pt x="53" y="149"/>
                  </a:cubicBezTo>
                  <a:cubicBezTo>
                    <a:pt x="59" y="149"/>
                    <a:pt x="64" y="154"/>
                    <a:pt x="64" y="160"/>
                  </a:cubicBezTo>
                  <a:close/>
                  <a:moveTo>
                    <a:pt x="64" y="128"/>
                  </a:moveTo>
                  <a:cubicBezTo>
                    <a:pt x="64" y="134"/>
                    <a:pt x="59" y="138"/>
                    <a:pt x="53" y="138"/>
                  </a:cubicBezTo>
                  <a:cubicBezTo>
                    <a:pt x="47" y="138"/>
                    <a:pt x="42" y="134"/>
                    <a:pt x="42" y="128"/>
                  </a:cubicBezTo>
                  <a:cubicBezTo>
                    <a:pt x="42" y="122"/>
                    <a:pt x="47" y="117"/>
                    <a:pt x="53" y="117"/>
                  </a:cubicBezTo>
                  <a:cubicBezTo>
                    <a:pt x="59" y="117"/>
                    <a:pt x="64" y="122"/>
                    <a:pt x="64" y="128"/>
                  </a:cubicBezTo>
                  <a:close/>
                  <a:moveTo>
                    <a:pt x="85" y="160"/>
                  </a:moveTo>
                  <a:cubicBezTo>
                    <a:pt x="85" y="154"/>
                    <a:pt x="90" y="149"/>
                    <a:pt x="96" y="149"/>
                  </a:cubicBezTo>
                  <a:cubicBezTo>
                    <a:pt x="102" y="149"/>
                    <a:pt x="106" y="154"/>
                    <a:pt x="106" y="160"/>
                  </a:cubicBezTo>
                  <a:cubicBezTo>
                    <a:pt x="106" y="166"/>
                    <a:pt x="102" y="170"/>
                    <a:pt x="96" y="170"/>
                  </a:cubicBezTo>
                  <a:cubicBezTo>
                    <a:pt x="90" y="170"/>
                    <a:pt x="85" y="166"/>
                    <a:pt x="85" y="160"/>
                  </a:cubicBezTo>
                  <a:close/>
                  <a:moveTo>
                    <a:pt x="85" y="128"/>
                  </a:moveTo>
                  <a:cubicBezTo>
                    <a:pt x="85" y="122"/>
                    <a:pt x="90" y="117"/>
                    <a:pt x="96" y="117"/>
                  </a:cubicBezTo>
                  <a:cubicBezTo>
                    <a:pt x="102" y="117"/>
                    <a:pt x="106" y="122"/>
                    <a:pt x="106" y="128"/>
                  </a:cubicBezTo>
                  <a:cubicBezTo>
                    <a:pt x="106" y="134"/>
                    <a:pt x="102" y="138"/>
                    <a:pt x="96" y="138"/>
                  </a:cubicBezTo>
                  <a:cubicBezTo>
                    <a:pt x="90" y="138"/>
                    <a:pt x="85" y="134"/>
                    <a:pt x="85" y="128"/>
                  </a:cubicBezTo>
                  <a:close/>
                  <a:moveTo>
                    <a:pt x="128" y="160"/>
                  </a:moveTo>
                  <a:cubicBezTo>
                    <a:pt x="128" y="154"/>
                    <a:pt x="132" y="149"/>
                    <a:pt x="138" y="149"/>
                  </a:cubicBezTo>
                  <a:cubicBezTo>
                    <a:pt x="144" y="149"/>
                    <a:pt x="149" y="154"/>
                    <a:pt x="149" y="160"/>
                  </a:cubicBezTo>
                  <a:cubicBezTo>
                    <a:pt x="149" y="166"/>
                    <a:pt x="144" y="170"/>
                    <a:pt x="138" y="170"/>
                  </a:cubicBezTo>
                  <a:cubicBezTo>
                    <a:pt x="132" y="170"/>
                    <a:pt x="128" y="166"/>
                    <a:pt x="128" y="160"/>
                  </a:cubicBezTo>
                  <a:close/>
                  <a:moveTo>
                    <a:pt x="128" y="128"/>
                  </a:moveTo>
                  <a:cubicBezTo>
                    <a:pt x="128" y="122"/>
                    <a:pt x="132" y="117"/>
                    <a:pt x="138" y="117"/>
                  </a:cubicBezTo>
                  <a:cubicBezTo>
                    <a:pt x="144" y="117"/>
                    <a:pt x="149" y="122"/>
                    <a:pt x="149" y="128"/>
                  </a:cubicBezTo>
                  <a:cubicBezTo>
                    <a:pt x="149" y="134"/>
                    <a:pt x="144" y="138"/>
                    <a:pt x="138" y="138"/>
                  </a:cubicBezTo>
                  <a:cubicBezTo>
                    <a:pt x="132" y="138"/>
                    <a:pt x="128" y="134"/>
                    <a:pt x="128" y="128"/>
                  </a:cubicBezTo>
                  <a:close/>
                  <a:moveTo>
                    <a:pt x="170" y="160"/>
                  </a:moveTo>
                  <a:cubicBezTo>
                    <a:pt x="170" y="154"/>
                    <a:pt x="175" y="149"/>
                    <a:pt x="181" y="149"/>
                  </a:cubicBezTo>
                  <a:cubicBezTo>
                    <a:pt x="187" y="149"/>
                    <a:pt x="192" y="154"/>
                    <a:pt x="192" y="160"/>
                  </a:cubicBezTo>
                  <a:cubicBezTo>
                    <a:pt x="192" y="166"/>
                    <a:pt x="187" y="170"/>
                    <a:pt x="181" y="170"/>
                  </a:cubicBezTo>
                  <a:cubicBezTo>
                    <a:pt x="175" y="170"/>
                    <a:pt x="170" y="166"/>
                    <a:pt x="170" y="160"/>
                  </a:cubicBezTo>
                  <a:close/>
                  <a:moveTo>
                    <a:pt x="170" y="128"/>
                  </a:moveTo>
                  <a:cubicBezTo>
                    <a:pt x="170" y="122"/>
                    <a:pt x="175" y="117"/>
                    <a:pt x="181" y="117"/>
                  </a:cubicBezTo>
                  <a:cubicBezTo>
                    <a:pt x="187" y="117"/>
                    <a:pt x="192" y="122"/>
                    <a:pt x="192" y="128"/>
                  </a:cubicBezTo>
                  <a:cubicBezTo>
                    <a:pt x="192" y="134"/>
                    <a:pt x="187" y="138"/>
                    <a:pt x="181" y="138"/>
                  </a:cubicBezTo>
                  <a:cubicBezTo>
                    <a:pt x="175" y="138"/>
                    <a:pt x="170" y="134"/>
                    <a:pt x="170" y="128"/>
                  </a:cubicBezTo>
                  <a:close/>
                  <a:moveTo>
                    <a:pt x="213" y="160"/>
                  </a:moveTo>
                  <a:cubicBezTo>
                    <a:pt x="213" y="154"/>
                    <a:pt x="218" y="149"/>
                    <a:pt x="224" y="149"/>
                  </a:cubicBezTo>
                  <a:cubicBezTo>
                    <a:pt x="230" y="149"/>
                    <a:pt x="234" y="154"/>
                    <a:pt x="234" y="160"/>
                  </a:cubicBezTo>
                  <a:cubicBezTo>
                    <a:pt x="234" y="166"/>
                    <a:pt x="230" y="170"/>
                    <a:pt x="224" y="170"/>
                  </a:cubicBezTo>
                  <a:cubicBezTo>
                    <a:pt x="218" y="170"/>
                    <a:pt x="213" y="166"/>
                    <a:pt x="213" y="160"/>
                  </a:cubicBezTo>
                  <a:close/>
                  <a:moveTo>
                    <a:pt x="213" y="128"/>
                  </a:moveTo>
                  <a:cubicBezTo>
                    <a:pt x="213" y="122"/>
                    <a:pt x="218" y="117"/>
                    <a:pt x="224" y="117"/>
                  </a:cubicBezTo>
                  <a:cubicBezTo>
                    <a:pt x="230" y="117"/>
                    <a:pt x="234" y="122"/>
                    <a:pt x="234" y="128"/>
                  </a:cubicBezTo>
                  <a:cubicBezTo>
                    <a:pt x="234" y="134"/>
                    <a:pt x="230" y="138"/>
                    <a:pt x="224" y="138"/>
                  </a:cubicBezTo>
                  <a:cubicBezTo>
                    <a:pt x="218" y="138"/>
                    <a:pt x="213" y="134"/>
                    <a:pt x="213" y="128"/>
                  </a:cubicBezTo>
                  <a:close/>
                  <a:moveTo>
                    <a:pt x="256" y="160"/>
                  </a:moveTo>
                  <a:cubicBezTo>
                    <a:pt x="256" y="154"/>
                    <a:pt x="260" y="149"/>
                    <a:pt x="266" y="149"/>
                  </a:cubicBezTo>
                  <a:cubicBezTo>
                    <a:pt x="272" y="149"/>
                    <a:pt x="277" y="154"/>
                    <a:pt x="277" y="160"/>
                  </a:cubicBezTo>
                  <a:cubicBezTo>
                    <a:pt x="277" y="166"/>
                    <a:pt x="272" y="170"/>
                    <a:pt x="266" y="170"/>
                  </a:cubicBezTo>
                  <a:cubicBezTo>
                    <a:pt x="260" y="170"/>
                    <a:pt x="256" y="166"/>
                    <a:pt x="256" y="160"/>
                  </a:cubicBezTo>
                  <a:close/>
                  <a:moveTo>
                    <a:pt x="256" y="192"/>
                  </a:moveTo>
                  <a:cubicBezTo>
                    <a:pt x="256" y="186"/>
                    <a:pt x="260" y="181"/>
                    <a:pt x="266" y="181"/>
                  </a:cubicBezTo>
                  <a:cubicBezTo>
                    <a:pt x="272" y="181"/>
                    <a:pt x="277" y="186"/>
                    <a:pt x="277" y="192"/>
                  </a:cubicBezTo>
                  <a:cubicBezTo>
                    <a:pt x="277" y="198"/>
                    <a:pt x="272" y="202"/>
                    <a:pt x="266" y="202"/>
                  </a:cubicBezTo>
                  <a:cubicBezTo>
                    <a:pt x="260" y="202"/>
                    <a:pt x="256" y="198"/>
                    <a:pt x="256" y="192"/>
                  </a:cubicBezTo>
                  <a:close/>
                  <a:moveTo>
                    <a:pt x="256" y="128"/>
                  </a:moveTo>
                  <a:cubicBezTo>
                    <a:pt x="256" y="122"/>
                    <a:pt x="260" y="117"/>
                    <a:pt x="266" y="117"/>
                  </a:cubicBezTo>
                  <a:cubicBezTo>
                    <a:pt x="272" y="117"/>
                    <a:pt x="277" y="122"/>
                    <a:pt x="277" y="128"/>
                  </a:cubicBezTo>
                  <a:cubicBezTo>
                    <a:pt x="277" y="134"/>
                    <a:pt x="272" y="138"/>
                    <a:pt x="266" y="138"/>
                  </a:cubicBezTo>
                  <a:cubicBezTo>
                    <a:pt x="260" y="138"/>
                    <a:pt x="256" y="134"/>
                    <a:pt x="256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36" name="Freeform 207"/>
          <p:cNvSpPr>
            <a:spLocks noChangeAspect="1" noEditPoints="1"/>
          </p:cNvSpPr>
          <p:nvPr/>
        </p:nvSpPr>
        <p:spPr bwMode="auto">
          <a:xfrm>
            <a:off x="8417813" y="4544413"/>
            <a:ext cx="368121" cy="367041"/>
          </a:xfrm>
          <a:custGeom>
            <a:avLst/>
            <a:gdLst>
              <a:gd name="T0" fmla="*/ 149 w 512"/>
              <a:gd name="T1" fmla="*/ 266 h 512"/>
              <a:gd name="T2" fmla="*/ 142 w 512"/>
              <a:gd name="T3" fmla="*/ 267 h 512"/>
              <a:gd name="T4" fmla="*/ 178 w 512"/>
              <a:gd name="T5" fmla="*/ 160 h 512"/>
              <a:gd name="T6" fmla="*/ 333 w 512"/>
              <a:gd name="T7" fmla="*/ 160 h 512"/>
              <a:gd name="T8" fmla="*/ 369 w 512"/>
              <a:gd name="T9" fmla="*/ 267 h 512"/>
              <a:gd name="T10" fmla="*/ 362 w 512"/>
              <a:gd name="T11" fmla="*/ 266 h 512"/>
              <a:gd name="T12" fmla="*/ 149 w 512"/>
              <a:gd name="T13" fmla="*/ 266 h 512"/>
              <a:gd name="T14" fmla="*/ 373 w 512"/>
              <a:gd name="T15" fmla="*/ 299 h 512"/>
              <a:gd name="T16" fmla="*/ 373 w 512"/>
              <a:gd name="T17" fmla="*/ 341 h 512"/>
              <a:gd name="T18" fmla="*/ 362 w 512"/>
              <a:gd name="T19" fmla="*/ 352 h 512"/>
              <a:gd name="T20" fmla="*/ 149 w 512"/>
              <a:gd name="T21" fmla="*/ 352 h 512"/>
              <a:gd name="T22" fmla="*/ 138 w 512"/>
              <a:gd name="T23" fmla="*/ 341 h 512"/>
              <a:gd name="T24" fmla="*/ 138 w 512"/>
              <a:gd name="T25" fmla="*/ 299 h 512"/>
              <a:gd name="T26" fmla="*/ 149 w 512"/>
              <a:gd name="T27" fmla="*/ 288 h 512"/>
              <a:gd name="T28" fmla="*/ 362 w 512"/>
              <a:gd name="T29" fmla="*/ 288 h 512"/>
              <a:gd name="T30" fmla="*/ 373 w 512"/>
              <a:gd name="T31" fmla="*/ 299 h 512"/>
              <a:gd name="T32" fmla="*/ 309 w 512"/>
              <a:gd name="T33" fmla="*/ 320 h 512"/>
              <a:gd name="T34" fmla="*/ 298 w 512"/>
              <a:gd name="T35" fmla="*/ 309 h 512"/>
              <a:gd name="T36" fmla="*/ 288 w 512"/>
              <a:gd name="T37" fmla="*/ 320 h 512"/>
              <a:gd name="T38" fmla="*/ 298 w 512"/>
              <a:gd name="T39" fmla="*/ 330 h 512"/>
              <a:gd name="T40" fmla="*/ 309 w 512"/>
              <a:gd name="T41" fmla="*/ 320 h 512"/>
              <a:gd name="T42" fmla="*/ 352 w 512"/>
              <a:gd name="T43" fmla="*/ 320 h 512"/>
              <a:gd name="T44" fmla="*/ 341 w 512"/>
              <a:gd name="T45" fmla="*/ 309 h 512"/>
              <a:gd name="T46" fmla="*/ 330 w 512"/>
              <a:gd name="T47" fmla="*/ 320 h 512"/>
              <a:gd name="T48" fmla="*/ 341 w 512"/>
              <a:gd name="T49" fmla="*/ 330 h 512"/>
              <a:gd name="T50" fmla="*/ 352 w 512"/>
              <a:gd name="T51" fmla="*/ 320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94 w 512"/>
              <a:gd name="T63" fmla="*/ 277 h 512"/>
              <a:gd name="T64" fmla="*/ 394 w 512"/>
              <a:gd name="T65" fmla="*/ 274 h 512"/>
              <a:gd name="T66" fmla="*/ 351 w 512"/>
              <a:gd name="T67" fmla="*/ 146 h 512"/>
              <a:gd name="T68" fmla="*/ 351 w 512"/>
              <a:gd name="T69" fmla="*/ 145 h 512"/>
              <a:gd name="T70" fmla="*/ 341 w 512"/>
              <a:gd name="T71" fmla="*/ 138 h 512"/>
              <a:gd name="T72" fmla="*/ 170 w 512"/>
              <a:gd name="T73" fmla="*/ 138 h 512"/>
              <a:gd name="T74" fmla="*/ 160 w 512"/>
              <a:gd name="T75" fmla="*/ 145 h 512"/>
              <a:gd name="T76" fmla="*/ 160 w 512"/>
              <a:gd name="T77" fmla="*/ 146 h 512"/>
              <a:gd name="T78" fmla="*/ 118 w 512"/>
              <a:gd name="T79" fmla="*/ 274 h 512"/>
              <a:gd name="T80" fmla="*/ 117 w 512"/>
              <a:gd name="T81" fmla="*/ 277 h 512"/>
              <a:gd name="T82" fmla="*/ 117 w 512"/>
              <a:gd name="T83" fmla="*/ 298 h 512"/>
              <a:gd name="T84" fmla="*/ 117 w 512"/>
              <a:gd name="T85" fmla="*/ 298 h 512"/>
              <a:gd name="T86" fmla="*/ 117 w 512"/>
              <a:gd name="T87" fmla="*/ 299 h 512"/>
              <a:gd name="T88" fmla="*/ 117 w 512"/>
              <a:gd name="T89" fmla="*/ 341 h 512"/>
              <a:gd name="T90" fmla="*/ 149 w 512"/>
              <a:gd name="T91" fmla="*/ 373 h 512"/>
              <a:gd name="T92" fmla="*/ 362 w 512"/>
              <a:gd name="T93" fmla="*/ 373 h 512"/>
              <a:gd name="T94" fmla="*/ 394 w 512"/>
              <a:gd name="T95" fmla="*/ 341 h 512"/>
              <a:gd name="T96" fmla="*/ 394 w 512"/>
              <a:gd name="T97" fmla="*/ 299 h 512"/>
              <a:gd name="T98" fmla="*/ 394 w 512"/>
              <a:gd name="T99" fmla="*/ 298 h 512"/>
              <a:gd name="T100" fmla="*/ 394 w 512"/>
              <a:gd name="T101" fmla="*/ 298 h 512"/>
              <a:gd name="T102" fmla="*/ 394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149" y="266"/>
                </a:moveTo>
                <a:cubicBezTo>
                  <a:pt x="147" y="266"/>
                  <a:pt x="144" y="267"/>
                  <a:pt x="142" y="267"/>
                </a:cubicBezTo>
                <a:cubicBezTo>
                  <a:pt x="178" y="160"/>
                  <a:pt x="178" y="160"/>
                  <a:pt x="178" y="160"/>
                </a:cubicBezTo>
                <a:cubicBezTo>
                  <a:pt x="333" y="160"/>
                  <a:pt x="333" y="160"/>
                  <a:pt x="333" y="160"/>
                </a:cubicBezTo>
                <a:cubicBezTo>
                  <a:pt x="369" y="267"/>
                  <a:pt x="369" y="267"/>
                  <a:pt x="369" y="267"/>
                </a:cubicBezTo>
                <a:cubicBezTo>
                  <a:pt x="367" y="267"/>
                  <a:pt x="365" y="266"/>
                  <a:pt x="362" y="266"/>
                </a:cubicBezTo>
                <a:lnTo>
                  <a:pt x="149" y="266"/>
                </a:lnTo>
                <a:close/>
                <a:moveTo>
                  <a:pt x="373" y="299"/>
                </a:moveTo>
                <a:cubicBezTo>
                  <a:pt x="373" y="341"/>
                  <a:pt x="373" y="341"/>
                  <a:pt x="373" y="341"/>
                </a:cubicBezTo>
                <a:cubicBezTo>
                  <a:pt x="373" y="347"/>
                  <a:pt x="368" y="352"/>
                  <a:pt x="362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3" y="352"/>
                  <a:pt x="138" y="347"/>
                  <a:pt x="138" y="341"/>
                </a:cubicBezTo>
                <a:cubicBezTo>
                  <a:pt x="138" y="299"/>
                  <a:pt x="138" y="299"/>
                  <a:pt x="138" y="299"/>
                </a:cubicBezTo>
                <a:cubicBezTo>
                  <a:pt x="138" y="293"/>
                  <a:pt x="143" y="288"/>
                  <a:pt x="149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93"/>
                  <a:pt x="373" y="299"/>
                </a:cubicBezTo>
                <a:close/>
                <a:moveTo>
                  <a:pt x="309" y="320"/>
                </a:moveTo>
                <a:cubicBezTo>
                  <a:pt x="309" y="314"/>
                  <a:pt x="304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ubicBezTo>
                  <a:pt x="288" y="326"/>
                  <a:pt x="292" y="330"/>
                  <a:pt x="298" y="330"/>
                </a:cubicBezTo>
                <a:cubicBezTo>
                  <a:pt x="304" y="330"/>
                  <a:pt x="309" y="326"/>
                  <a:pt x="309" y="320"/>
                </a:cubicBezTo>
                <a:close/>
                <a:moveTo>
                  <a:pt x="352" y="320"/>
                </a:moveTo>
                <a:cubicBezTo>
                  <a:pt x="352" y="314"/>
                  <a:pt x="347" y="309"/>
                  <a:pt x="341" y="309"/>
                </a:cubicBezTo>
                <a:cubicBezTo>
                  <a:pt x="335" y="309"/>
                  <a:pt x="330" y="314"/>
                  <a:pt x="330" y="320"/>
                </a:cubicBezTo>
                <a:cubicBezTo>
                  <a:pt x="330" y="326"/>
                  <a:pt x="335" y="330"/>
                  <a:pt x="341" y="330"/>
                </a:cubicBezTo>
                <a:cubicBezTo>
                  <a:pt x="347" y="330"/>
                  <a:pt x="352" y="326"/>
                  <a:pt x="352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77"/>
                </a:moveTo>
                <a:cubicBezTo>
                  <a:pt x="394" y="276"/>
                  <a:pt x="394" y="275"/>
                  <a:pt x="394" y="274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1" y="145"/>
                </a:cubicBezTo>
                <a:cubicBezTo>
                  <a:pt x="349" y="141"/>
                  <a:pt x="346" y="138"/>
                  <a:pt x="341" y="138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66" y="138"/>
                  <a:pt x="162" y="141"/>
                  <a:pt x="160" y="145"/>
                </a:cubicBezTo>
                <a:cubicBezTo>
                  <a:pt x="160" y="145"/>
                  <a:pt x="160" y="145"/>
                  <a:pt x="160" y="146"/>
                </a:cubicBezTo>
                <a:cubicBezTo>
                  <a:pt x="118" y="274"/>
                  <a:pt x="118" y="274"/>
                  <a:pt x="118" y="274"/>
                </a:cubicBezTo>
                <a:cubicBezTo>
                  <a:pt x="117" y="275"/>
                  <a:pt x="117" y="276"/>
                  <a:pt x="117" y="277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9"/>
                </a:cubicBezTo>
                <a:cubicBezTo>
                  <a:pt x="117" y="341"/>
                  <a:pt x="117" y="341"/>
                  <a:pt x="117" y="341"/>
                </a:cubicBezTo>
                <a:cubicBezTo>
                  <a:pt x="117" y="359"/>
                  <a:pt x="131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80" y="373"/>
                  <a:pt x="394" y="359"/>
                  <a:pt x="394" y="341"/>
                </a:cubicBezTo>
                <a:cubicBezTo>
                  <a:pt x="394" y="299"/>
                  <a:pt x="394" y="299"/>
                  <a:pt x="394" y="299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98"/>
                  <a:pt x="394" y="298"/>
                  <a:pt x="394" y="298"/>
                </a:cubicBezTo>
                <a:lnTo>
                  <a:pt x="394" y="2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37" name="Group 210"/>
          <p:cNvGrpSpPr>
            <a:grpSpLocks noChangeAspect="1"/>
          </p:cNvGrpSpPr>
          <p:nvPr/>
        </p:nvGrpSpPr>
        <p:grpSpPr bwMode="auto">
          <a:xfrm>
            <a:off x="8916243" y="4544413"/>
            <a:ext cx="368121" cy="367041"/>
            <a:chOff x="1926" y="713"/>
            <a:chExt cx="341" cy="340"/>
          </a:xfrm>
          <a:solidFill>
            <a:schemeClr val="accent3"/>
          </a:solidFill>
        </p:grpSpPr>
        <p:sp>
          <p:nvSpPr>
            <p:cNvPr id="538" name="Freeform 211"/>
            <p:cNvSpPr>
              <a:spLocks noEditPoints="1"/>
            </p:cNvSpPr>
            <p:nvPr/>
          </p:nvSpPr>
          <p:spPr bwMode="auto">
            <a:xfrm>
              <a:off x="1926" y="71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9" name="Freeform 212"/>
            <p:cNvSpPr>
              <a:spLocks noEditPoints="1"/>
            </p:cNvSpPr>
            <p:nvPr/>
          </p:nvSpPr>
          <p:spPr bwMode="auto">
            <a:xfrm>
              <a:off x="2004" y="890"/>
              <a:ext cx="184" cy="71"/>
            </a:xfrm>
            <a:custGeom>
              <a:avLst/>
              <a:gdLst>
                <a:gd name="T0" fmla="*/ 245 w 277"/>
                <a:gd name="T1" fmla="*/ 107 h 107"/>
                <a:gd name="T2" fmla="*/ 32 w 277"/>
                <a:gd name="T3" fmla="*/ 107 h 107"/>
                <a:gd name="T4" fmla="*/ 0 w 277"/>
                <a:gd name="T5" fmla="*/ 75 h 107"/>
                <a:gd name="T6" fmla="*/ 0 w 277"/>
                <a:gd name="T7" fmla="*/ 33 h 107"/>
                <a:gd name="T8" fmla="*/ 32 w 277"/>
                <a:gd name="T9" fmla="*/ 0 h 107"/>
                <a:gd name="T10" fmla="*/ 245 w 277"/>
                <a:gd name="T11" fmla="*/ 0 h 107"/>
                <a:gd name="T12" fmla="*/ 277 w 277"/>
                <a:gd name="T13" fmla="*/ 33 h 107"/>
                <a:gd name="T14" fmla="*/ 277 w 277"/>
                <a:gd name="T15" fmla="*/ 75 h 107"/>
                <a:gd name="T16" fmla="*/ 245 w 277"/>
                <a:gd name="T17" fmla="*/ 107 h 107"/>
                <a:gd name="T18" fmla="*/ 32 w 277"/>
                <a:gd name="T19" fmla="*/ 22 h 107"/>
                <a:gd name="T20" fmla="*/ 21 w 277"/>
                <a:gd name="T21" fmla="*/ 33 h 107"/>
                <a:gd name="T22" fmla="*/ 21 w 277"/>
                <a:gd name="T23" fmla="*/ 75 h 107"/>
                <a:gd name="T24" fmla="*/ 32 w 277"/>
                <a:gd name="T25" fmla="*/ 86 h 107"/>
                <a:gd name="T26" fmla="*/ 245 w 277"/>
                <a:gd name="T27" fmla="*/ 86 h 107"/>
                <a:gd name="T28" fmla="*/ 256 w 277"/>
                <a:gd name="T29" fmla="*/ 75 h 107"/>
                <a:gd name="T30" fmla="*/ 256 w 277"/>
                <a:gd name="T31" fmla="*/ 33 h 107"/>
                <a:gd name="T32" fmla="*/ 245 w 277"/>
                <a:gd name="T33" fmla="*/ 22 h 107"/>
                <a:gd name="T34" fmla="*/ 32 w 277"/>
                <a:gd name="T35" fmla="*/ 2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7" h="107">
                  <a:moveTo>
                    <a:pt x="245" y="107"/>
                  </a:moveTo>
                  <a:cubicBezTo>
                    <a:pt x="32" y="107"/>
                    <a:pt x="32" y="107"/>
                    <a:pt x="32" y="107"/>
                  </a:cubicBezTo>
                  <a:cubicBezTo>
                    <a:pt x="14" y="107"/>
                    <a:pt x="0" y="93"/>
                    <a:pt x="0" y="7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63" y="0"/>
                    <a:pt x="277" y="15"/>
                    <a:pt x="277" y="33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93"/>
                    <a:pt x="263" y="107"/>
                    <a:pt x="245" y="107"/>
                  </a:cubicBezTo>
                  <a:close/>
                  <a:moveTo>
                    <a:pt x="32" y="22"/>
                  </a:moveTo>
                  <a:cubicBezTo>
                    <a:pt x="26" y="22"/>
                    <a:pt x="21" y="27"/>
                    <a:pt x="21" y="33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81"/>
                    <a:pt x="26" y="86"/>
                    <a:pt x="32" y="86"/>
                  </a:cubicBezTo>
                  <a:cubicBezTo>
                    <a:pt x="245" y="86"/>
                    <a:pt x="245" y="86"/>
                    <a:pt x="245" y="86"/>
                  </a:cubicBezTo>
                  <a:cubicBezTo>
                    <a:pt x="251" y="86"/>
                    <a:pt x="256" y="81"/>
                    <a:pt x="256" y="75"/>
                  </a:cubicBezTo>
                  <a:cubicBezTo>
                    <a:pt x="256" y="33"/>
                    <a:pt x="256" y="33"/>
                    <a:pt x="256" y="33"/>
                  </a:cubicBezTo>
                  <a:cubicBezTo>
                    <a:pt x="256" y="27"/>
                    <a:pt x="251" y="22"/>
                    <a:pt x="245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0" name="Freeform 213"/>
            <p:cNvSpPr>
              <a:spLocks/>
            </p:cNvSpPr>
            <p:nvPr/>
          </p:nvSpPr>
          <p:spPr bwMode="auto">
            <a:xfrm>
              <a:off x="2004" y="804"/>
              <a:ext cx="43" cy="114"/>
            </a:xfrm>
            <a:custGeom>
              <a:avLst/>
              <a:gdLst>
                <a:gd name="T0" fmla="*/ 11 w 65"/>
                <a:gd name="T1" fmla="*/ 172 h 172"/>
                <a:gd name="T2" fmla="*/ 0 w 65"/>
                <a:gd name="T3" fmla="*/ 161 h 172"/>
                <a:gd name="T4" fmla="*/ 0 w 65"/>
                <a:gd name="T5" fmla="*/ 140 h 172"/>
                <a:gd name="T6" fmla="*/ 1 w 65"/>
                <a:gd name="T7" fmla="*/ 137 h 172"/>
                <a:gd name="T8" fmla="*/ 43 w 65"/>
                <a:gd name="T9" fmla="*/ 9 h 172"/>
                <a:gd name="T10" fmla="*/ 57 w 65"/>
                <a:gd name="T11" fmla="*/ 2 h 172"/>
                <a:gd name="T12" fmla="*/ 63 w 65"/>
                <a:gd name="T13" fmla="*/ 15 h 172"/>
                <a:gd name="T14" fmla="*/ 21 w 65"/>
                <a:gd name="T15" fmla="*/ 142 h 172"/>
                <a:gd name="T16" fmla="*/ 21 w 65"/>
                <a:gd name="T17" fmla="*/ 161 h 172"/>
                <a:gd name="T18" fmla="*/ 11 w 65"/>
                <a:gd name="T1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172">
                  <a:moveTo>
                    <a:pt x="11" y="172"/>
                  </a:moveTo>
                  <a:cubicBezTo>
                    <a:pt x="5" y="172"/>
                    <a:pt x="0" y="167"/>
                    <a:pt x="0" y="16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39"/>
                    <a:pt x="0" y="138"/>
                    <a:pt x="1" y="137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5" y="3"/>
                    <a:pt x="51" y="0"/>
                    <a:pt x="57" y="2"/>
                  </a:cubicBezTo>
                  <a:cubicBezTo>
                    <a:pt x="62" y="4"/>
                    <a:pt x="65" y="10"/>
                    <a:pt x="63" y="15"/>
                  </a:cubicBezTo>
                  <a:cubicBezTo>
                    <a:pt x="21" y="142"/>
                    <a:pt x="21" y="142"/>
                    <a:pt x="21" y="14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7"/>
                    <a:pt x="17" y="172"/>
                    <a:pt x="11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1" name="Freeform 214"/>
            <p:cNvSpPr>
              <a:spLocks/>
            </p:cNvSpPr>
            <p:nvPr/>
          </p:nvSpPr>
          <p:spPr bwMode="auto">
            <a:xfrm>
              <a:off x="2145" y="804"/>
              <a:ext cx="43" cy="114"/>
            </a:xfrm>
            <a:custGeom>
              <a:avLst/>
              <a:gdLst>
                <a:gd name="T0" fmla="*/ 55 w 65"/>
                <a:gd name="T1" fmla="*/ 172 h 172"/>
                <a:gd name="T2" fmla="*/ 44 w 65"/>
                <a:gd name="T3" fmla="*/ 161 h 172"/>
                <a:gd name="T4" fmla="*/ 44 w 65"/>
                <a:gd name="T5" fmla="*/ 142 h 172"/>
                <a:gd name="T6" fmla="*/ 2 w 65"/>
                <a:gd name="T7" fmla="*/ 15 h 172"/>
                <a:gd name="T8" fmla="*/ 9 w 65"/>
                <a:gd name="T9" fmla="*/ 2 h 172"/>
                <a:gd name="T10" fmla="*/ 22 w 65"/>
                <a:gd name="T11" fmla="*/ 9 h 172"/>
                <a:gd name="T12" fmla="*/ 65 w 65"/>
                <a:gd name="T13" fmla="*/ 137 h 172"/>
                <a:gd name="T14" fmla="*/ 65 w 65"/>
                <a:gd name="T15" fmla="*/ 140 h 172"/>
                <a:gd name="T16" fmla="*/ 65 w 65"/>
                <a:gd name="T17" fmla="*/ 161 h 172"/>
                <a:gd name="T18" fmla="*/ 55 w 65"/>
                <a:gd name="T1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172">
                  <a:moveTo>
                    <a:pt x="55" y="172"/>
                  </a:moveTo>
                  <a:cubicBezTo>
                    <a:pt x="49" y="172"/>
                    <a:pt x="44" y="167"/>
                    <a:pt x="44" y="161"/>
                  </a:cubicBezTo>
                  <a:cubicBezTo>
                    <a:pt x="44" y="142"/>
                    <a:pt x="44" y="142"/>
                    <a:pt x="44" y="142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0"/>
                    <a:pt x="3" y="4"/>
                    <a:pt x="9" y="2"/>
                  </a:cubicBezTo>
                  <a:cubicBezTo>
                    <a:pt x="14" y="0"/>
                    <a:pt x="20" y="3"/>
                    <a:pt x="22" y="9"/>
                  </a:cubicBezTo>
                  <a:cubicBezTo>
                    <a:pt x="65" y="137"/>
                    <a:pt x="65" y="137"/>
                    <a:pt x="65" y="137"/>
                  </a:cubicBezTo>
                  <a:cubicBezTo>
                    <a:pt x="65" y="138"/>
                    <a:pt x="65" y="139"/>
                    <a:pt x="65" y="140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5" y="167"/>
                    <a:pt x="61" y="172"/>
                    <a:pt x="5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2" name="Freeform 215"/>
            <p:cNvSpPr>
              <a:spLocks/>
            </p:cNvSpPr>
            <p:nvPr/>
          </p:nvSpPr>
          <p:spPr bwMode="auto">
            <a:xfrm>
              <a:off x="2033" y="805"/>
              <a:ext cx="127" cy="14"/>
            </a:xfrm>
            <a:custGeom>
              <a:avLst/>
              <a:gdLst>
                <a:gd name="T0" fmla="*/ 181 w 192"/>
                <a:gd name="T1" fmla="*/ 22 h 22"/>
                <a:gd name="T2" fmla="*/ 10 w 192"/>
                <a:gd name="T3" fmla="*/ 22 h 22"/>
                <a:gd name="T4" fmla="*/ 0 w 192"/>
                <a:gd name="T5" fmla="*/ 11 h 22"/>
                <a:gd name="T6" fmla="*/ 10 w 192"/>
                <a:gd name="T7" fmla="*/ 0 h 22"/>
                <a:gd name="T8" fmla="*/ 181 w 192"/>
                <a:gd name="T9" fmla="*/ 0 h 22"/>
                <a:gd name="T10" fmla="*/ 192 w 192"/>
                <a:gd name="T11" fmla="*/ 11 h 22"/>
                <a:gd name="T12" fmla="*/ 181 w 19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2">
                  <a:moveTo>
                    <a:pt x="181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4" y="22"/>
                    <a:pt x="0" y="17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7" y="0"/>
                    <a:pt x="192" y="5"/>
                    <a:pt x="192" y="11"/>
                  </a:cubicBezTo>
                  <a:cubicBezTo>
                    <a:pt x="192" y="17"/>
                    <a:pt x="187" y="22"/>
                    <a:pt x="18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" name="Freeform 216"/>
            <p:cNvSpPr>
              <a:spLocks/>
            </p:cNvSpPr>
            <p:nvPr/>
          </p:nvSpPr>
          <p:spPr bwMode="auto">
            <a:xfrm>
              <a:off x="2146" y="918"/>
              <a:ext cx="14" cy="14"/>
            </a:xfrm>
            <a:custGeom>
              <a:avLst/>
              <a:gdLst>
                <a:gd name="T0" fmla="*/ 11 w 22"/>
                <a:gd name="T1" fmla="*/ 22 h 22"/>
                <a:gd name="T2" fmla="*/ 3 w 22"/>
                <a:gd name="T3" fmla="*/ 19 h 22"/>
                <a:gd name="T4" fmla="*/ 1 w 22"/>
                <a:gd name="T5" fmla="*/ 16 h 22"/>
                <a:gd name="T6" fmla="*/ 0 w 22"/>
                <a:gd name="T7" fmla="*/ 12 h 22"/>
                <a:gd name="T8" fmla="*/ 1 w 22"/>
                <a:gd name="T9" fmla="*/ 8 h 22"/>
                <a:gd name="T10" fmla="*/ 3 w 22"/>
                <a:gd name="T11" fmla="*/ 4 h 22"/>
                <a:gd name="T12" fmla="*/ 5 w 22"/>
                <a:gd name="T13" fmla="*/ 3 h 22"/>
                <a:gd name="T14" fmla="*/ 7 w 22"/>
                <a:gd name="T15" fmla="*/ 2 h 22"/>
                <a:gd name="T16" fmla="*/ 9 w 22"/>
                <a:gd name="T17" fmla="*/ 1 h 22"/>
                <a:gd name="T18" fmla="*/ 19 w 22"/>
                <a:gd name="T19" fmla="*/ 4 h 22"/>
                <a:gd name="T20" fmla="*/ 21 w 22"/>
                <a:gd name="T21" fmla="*/ 8 h 22"/>
                <a:gd name="T22" fmla="*/ 22 w 22"/>
                <a:gd name="T23" fmla="*/ 12 h 22"/>
                <a:gd name="T24" fmla="*/ 21 w 22"/>
                <a:gd name="T25" fmla="*/ 16 h 22"/>
                <a:gd name="T26" fmla="*/ 19 w 22"/>
                <a:gd name="T27" fmla="*/ 19 h 22"/>
                <a:gd name="T28" fmla="*/ 15 w 22"/>
                <a:gd name="T29" fmla="*/ 21 h 22"/>
                <a:gd name="T30" fmla="*/ 11 w 22"/>
                <a:gd name="T3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8" y="22"/>
                    <a:pt x="5" y="21"/>
                    <a:pt x="3" y="19"/>
                  </a:cubicBezTo>
                  <a:cubicBezTo>
                    <a:pt x="2" y="18"/>
                    <a:pt x="2" y="17"/>
                    <a:pt x="1" y="16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10"/>
                    <a:pt x="1" y="9"/>
                    <a:pt x="1" y="8"/>
                  </a:cubicBezTo>
                  <a:cubicBezTo>
                    <a:pt x="2" y="6"/>
                    <a:pt x="2" y="5"/>
                    <a:pt x="3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8" y="2"/>
                    <a:pt x="8" y="1"/>
                    <a:pt x="9" y="1"/>
                  </a:cubicBezTo>
                  <a:cubicBezTo>
                    <a:pt x="12" y="0"/>
                    <a:pt x="16" y="2"/>
                    <a:pt x="19" y="4"/>
                  </a:cubicBezTo>
                  <a:cubicBezTo>
                    <a:pt x="20" y="5"/>
                    <a:pt x="20" y="6"/>
                    <a:pt x="21" y="8"/>
                  </a:cubicBezTo>
                  <a:cubicBezTo>
                    <a:pt x="21" y="9"/>
                    <a:pt x="22" y="10"/>
                    <a:pt x="22" y="12"/>
                  </a:cubicBezTo>
                  <a:cubicBezTo>
                    <a:pt x="22" y="13"/>
                    <a:pt x="21" y="14"/>
                    <a:pt x="21" y="16"/>
                  </a:cubicBezTo>
                  <a:cubicBezTo>
                    <a:pt x="20" y="17"/>
                    <a:pt x="20" y="18"/>
                    <a:pt x="19" y="19"/>
                  </a:cubicBezTo>
                  <a:cubicBezTo>
                    <a:pt x="18" y="20"/>
                    <a:pt x="16" y="21"/>
                    <a:pt x="15" y="21"/>
                  </a:cubicBezTo>
                  <a:cubicBezTo>
                    <a:pt x="14" y="22"/>
                    <a:pt x="12" y="22"/>
                    <a:pt x="1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" name="Freeform 217"/>
            <p:cNvSpPr>
              <a:spLocks/>
            </p:cNvSpPr>
            <p:nvPr/>
          </p:nvSpPr>
          <p:spPr bwMode="auto">
            <a:xfrm>
              <a:off x="2118" y="918"/>
              <a:ext cx="14" cy="14"/>
            </a:xfrm>
            <a:custGeom>
              <a:avLst/>
              <a:gdLst>
                <a:gd name="T0" fmla="*/ 10 w 21"/>
                <a:gd name="T1" fmla="*/ 22 h 22"/>
                <a:gd name="T2" fmla="*/ 6 w 21"/>
                <a:gd name="T3" fmla="*/ 21 h 22"/>
                <a:gd name="T4" fmla="*/ 3 w 21"/>
                <a:gd name="T5" fmla="*/ 19 h 22"/>
                <a:gd name="T6" fmla="*/ 1 w 21"/>
                <a:gd name="T7" fmla="*/ 16 h 22"/>
                <a:gd name="T8" fmla="*/ 0 w 21"/>
                <a:gd name="T9" fmla="*/ 12 h 22"/>
                <a:gd name="T10" fmla="*/ 1 w 21"/>
                <a:gd name="T11" fmla="*/ 8 h 22"/>
                <a:gd name="T12" fmla="*/ 3 w 21"/>
                <a:gd name="T13" fmla="*/ 4 h 22"/>
                <a:gd name="T14" fmla="*/ 12 w 21"/>
                <a:gd name="T15" fmla="*/ 1 h 22"/>
                <a:gd name="T16" fmla="*/ 14 w 21"/>
                <a:gd name="T17" fmla="*/ 2 h 22"/>
                <a:gd name="T18" fmla="*/ 16 w 21"/>
                <a:gd name="T19" fmla="*/ 3 h 22"/>
                <a:gd name="T20" fmla="*/ 18 w 21"/>
                <a:gd name="T21" fmla="*/ 4 h 22"/>
                <a:gd name="T22" fmla="*/ 20 w 21"/>
                <a:gd name="T23" fmla="*/ 8 h 22"/>
                <a:gd name="T24" fmla="*/ 21 w 21"/>
                <a:gd name="T25" fmla="*/ 12 h 22"/>
                <a:gd name="T26" fmla="*/ 20 w 21"/>
                <a:gd name="T27" fmla="*/ 16 h 22"/>
                <a:gd name="T28" fmla="*/ 18 w 21"/>
                <a:gd name="T29" fmla="*/ 19 h 22"/>
                <a:gd name="T30" fmla="*/ 10 w 21"/>
                <a:gd name="T3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" h="22">
                  <a:moveTo>
                    <a:pt x="10" y="22"/>
                  </a:moveTo>
                  <a:cubicBezTo>
                    <a:pt x="9" y="22"/>
                    <a:pt x="8" y="22"/>
                    <a:pt x="6" y="21"/>
                  </a:cubicBezTo>
                  <a:cubicBezTo>
                    <a:pt x="5" y="21"/>
                    <a:pt x="4" y="20"/>
                    <a:pt x="3" y="19"/>
                  </a:cubicBezTo>
                  <a:cubicBezTo>
                    <a:pt x="2" y="18"/>
                    <a:pt x="1" y="17"/>
                    <a:pt x="1" y="16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5" y="2"/>
                    <a:pt x="9" y="0"/>
                    <a:pt x="12" y="1"/>
                  </a:cubicBezTo>
                  <a:cubicBezTo>
                    <a:pt x="13" y="1"/>
                    <a:pt x="14" y="2"/>
                    <a:pt x="14" y="2"/>
                  </a:cubicBezTo>
                  <a:cubicBezTo>
                    <a:pt x="15" y="2"/>
                    <a:pt x="16" y="2"/>
                    <a:pt x="16" y="3"/>
                  </a:cubicBezTo>
                  <a:cubicBezTo>
                    <a:pt x="17" y="3"/>
                    <a:pt x="17" y="4"/>
                    <a:pt x="18" y="4"/>
                  </a:cubicBezTo>
                  <a:cubicBezTo>
                    <a:pt x="19" y="5"/>
                    <a:pt x="20" y="6"/>
                    <a:pt x="20" y="8"/>
                  </a:cubicBezTo>
                  <a:cubicBezTo>
                    <a:pt x="21" y="9"/>
                    <a:pt x="21" y="10"/>
                    <a:pt x="21" y="12"/>
                  </a:cubicBezTo>
                  <a:cubicBezTo>
                    <a:pt x="21" y="13"/>
                    <a:pt x="21" y="14"/>
                    <a:pt x="20" y="16"/>
                  </a:cubicBezTo>
                  <a:cubicBezTo>
                    <a:pt x="20" y="17"/>
                    <a:pt x="19" y="18"/>
                    <a:pt x="18" y="19"/>
                  </a:cubicBezTo>
                  <a:cubicBezTo>
                    <a:pt x="16" y="21"/>
                    <a:pt x="13" y="22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45" name="Freeform 636"/>
          <p:cNvSpPr>
            <a:spLocks noChangeAspect="1" noEditPoints="1"/>
          </p:cNvSpPr>
          <p:nvPr/>
        </p:nvSpPr>
        <p:spPr bwMode="auto">
          <a:xfrm>
            <a:off x="9414673" y="4544413"/>
            <a:ext cx="367041" cy="367041"/>
          </a:xfrm>
          <a:custGeom>
            <a:avLst/>
            <a:gdLst>
              <a:gd name="T0" fmla="*/ 260 w 512"/>
              <a:gd name="T1" fmla="*/ 165 h 512"/>
              <a:gd name="T2" fmla="*/ 295 w 512"/>
              <a:gd name="T3" fmla="*/ 288 h 512"/>
              <a:gd name="T4" fmla="*/ 128 w 512"/>
              <a:gd name="T5" fmla="*/ 288 h 512"/>
              <a:gd name="T6" fmla="*/ 119 w 512"/>
              <a:gd name="T7" fmla="*/ 250 h 512"/>
              <a:gd name="T8" fmla="*/ 260 w 512"/>
              <a:gd name="T9" fmla="*/ 165 h 512"/>
              <a:gd name="T10" fmla="*/ 192 w 512"/>
              <a:gd name="T11" fmla="*/ 309 h 512"/>
              <a:gd name="T12" fmla="*/ 213 w 512"/>
              <a:gd name="T13" fmla="*/ 330 h 512"/>
              <a:gd name="T14" fmla="*/ 234 w 512"/>
              <a:gd name="T15" fmla="*/ 309 h 512"/>
              <a:gd name="T16" fmla="*/ 234 w 512"/>
              <a:gd name="T17" fmla="*/ 309 h 512"/>
              <a:gd name="T18" fmla="*/ 192 w 512"/>
              <a:gd name="T19" fmla="*/ 309 h 512"/>
              <a:gd name="T20" fmla="*/ 192 w 512"/>
              <a:gd name="T21" fmla="*/ 309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01 w 512"/>
              <a:gd name="T33" fmla="*/ 177 h 512"/>
              <a:gd name="T34" fmla="*/ 309 w 512"/>
              <a:gd name="T35" fmla="*/ 181 h 512"/>
              <a:gd name="T36" fmla="*/ 316 w 512"/>
              <a:gd name="T37" fmla="*/ 179 h 512"/>
              <a:gd name="T38" fmla="*/ 369 w 512"/>
              <a:gd name="T39" fmla="*/ 136 h 512"/>
              <a:gd name="T40" fmla="*/ 371 w 512"/>
              <a:gd name="T41" fmla="*/ 121 h 512"/>
              <a:gd name="T42" fmla="*/ 356 w 512"/>
              <a:gd name="T43" fmla="*/ 119 h 512"/>
              <a:gd name="T44" fmla="*/ 302 w 512"/>
              <a:gd name="T45" fmla="*/ 162 h 512"/>
              <a:gd name="T46" fmla="*/ 301 w 512"/>
              <a:gd name="T47" fmla="*/ 177 h 512"/>
              <a:gd name="T48" fmla="*/ 319 w 512"/>
              <a:gd name="T49" fmla="*/ 295 h 512"/>
              <a:gd name="T50" fmla="*/ 277 w 512"/>
              <a:gd name="T51" fmla="*/ 146 h 512"/>
              <a:gd name="T52" fmla="*/ 270 w 512"/>
              <a:gd name="T53" fmla="*/ 139 h 512"/>
              <a:gd name="T54" fmla="*/ 261 w 512"/>
              <a:gd name="T55" fmla="*/ 140 h 512"/>
              <a:gd name="T56" fmla="*/ 101 w 512"/>
              <a:gd name="T57" fmla="*/ 236 h 512"/>
              <a:gd name="T58" fmla="*/ 96 w 512"/>
              <a:gd name="T59" fmla="*/ 248 h 512"/>
              <a:gd name="T60" fmla="*/ 110 w 512"/>
              <a:gd name="T61" fmla="*/ 301 h 512"/>
              <a:gd name="T62" fmla="*/ 120 w 512"/>
              <a:gd name="T63" fmla="*/ 309 h 512"/>
              <a:gd name="T64" fmla="*/ 170 w 512"/>
              <a:gd name="T65" fmla="*/ 309 h 512"/>
              <a:gd name="T66" fmla="*/ 170 w 512"/>
              <a:gd name="T67" fmla="*/ 309 h 512"/>
              <a:gd name="T68" fmla="*/ 213 w 512"/>
              <a:gd name="T69" fmla="*/ 352 h 512"/>
              <a:gd name="T70" fmla="*/ 256 w 512"/>
              <a:gd name="T71" fmla="*/ 309 h 512"/>
              <a:gd name="T72" fmla="*/ 256 w 512"/>
              <a:gd name="T73" fmla="*/ 309 h 512"/>
              <a:gd name="T74" fmla="*/ 309 w 512"/>
              <a:gd name="T75" fmla="*/ 309 h 512"/>
              <a:gd name="T76" fmla="*/ 309 w 512"/>
              <a:gd name="T77" fmla="*/ 309 h 512"/>
              <a:gd name="T78" fmla="*/ 318 w 512"/>
              <a:gd name="T79" fmla="*/ 305 h 512"/>
              <a:gd name="T80" fmla="*/ 319 w 512"/>
              <a:gd name="T81" fmla="*/ 295 h 512"/>
              <a:gd name="T82" fmla="*/ 416 w 512"/>
              <a:gd name="T83" fmla="*/ 279 h 512"/>
              <a:gd name="T84" fmla="*/ 407 w 512"/>
              <a:gd name="T85" fmla="*/ 266 h 512"/>
              <a:gd name="T86" fmla="*/ 343 w 512"/>
              <a:gd name="T87" fmla="*/ 256 h 512"/>
              <a:gd name="T88" fmla="*/ 330 w 512"/>
              <a:gd name="T89" fmla="*/ 265 h 512"/>
              <a:gd name="T90" fmla="*/ 339 w 512"/>
              <a:gd name="T91" fmla="*/ 277 h 512"/>
              <a:gd name="T92" fmla="*/ 403 w 512"/>
              <a:gd name="T93" fmla="*/ 288 h 512"/>
              <a:gd name="T94" fmla="*/ 405 w 512"/>
              <a:gd name="T95" fmla="*/ 288 h 512"/>
              <a:gd name="T96" fmla="*/ 416 w 512"/>
              <a:gd name="T97" fmla="*/ 279 h 512"/>
              <a:gd name="T98" fmla="*/ 415 w 512"/>
              <a:gd name="T99" fmla="*/ 189 h 512"/>
              <a:gd name="T100" fmla="*/ 402 w 512"/>
              <a:gd name="T101" fmla="*/ 181 h 512"/>
              <a:gd name="T102" fmla="*/ 327 w 512"/>
              <a:gd name="T103" fmla="*/ 203 h 512"/>
              <a:gd name="T104" fmla="*/ 320 w 512"/>
              <a:gd name="T105" fmla="*/ 216 h 512"/>
              <a:gd name="T106" fmla="*/ 330 w 512"/>
              <a:gd name="T107" fmla="*/ 224 h 512"/>
              <a:gd name="T108" fmla="*/ 333 w 512"/>
              <a:gd name="T109" fmla="*/ 223 h 512"/>
              <a:gd name="T110" fmla="*/ 408 w 512"/>
              <a:gd name="T111" fmla="*/ 202 h 512"/>
              <a:gd name="T112" fmla="*/ 415 w 512"/>
              <a:gd name="T113" fmla="*/ 18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60" y="165"/>
                </a:moveTo>
                <a:cubicBezTo>
                  <a:pt x="295" y="288"/>
                  <a:pt x="295" y="288"/>
                  <a:pt x="295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19" y="250"/>
                  <a:pt x="119" y="250"/>
                  <a:pt x="119" y="250"/>
                </a:cubicBezTo>
                <a:lnTo>
                  <a:pt x="260" y="165"/>
                </a:lnTo>
                <a:close/>
                <a:moveTo>
                  <a:pt x="192" y="309"/>
                </a:moveTo>
                <a:cubicBezTo>
                  <a:pt x="192" y="321"/>
                  <a:pt x="201" y="330"/>
                  <a:pt x="213" y="330"/>
                </a:cubicBezTo>
                <a:cubicBezTo>
                  <a:pt x="225" y="330"/>
                  <a:pt x="234" y="321"/>
                  <a:pt x="234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9"/>
                  <a:pt x="192" y="309"/>
                  <a:pt x="192" y="30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01" y="177"/>
                </a:moveTo>
                <a:cubicBezTo>
                  <a:pt x="303" y="180"/>
                  <a:pt x="306" y="181"/>
                  <a:pt x="309" y="181"/>
                </a:cubicBezTo>
                <a:cubicBezTo>
                  <a:pt x="311" y="181"/>
                  <a:pt x="314" y="180"/>
                  <a:pt x="316" y="179"/>
                </a:cubicBezTo>
                <a:cubicBezTo>
                  <a:pt x="369" y="136"/>
                  <a:pt x="369" y="136"/>
                  <a:pt x="369" y="136"/>
                </a:cubicBezTo>
                <a:cubicBezTo>
                  <a:pt x="374" y="132"/>
                  <a:pt x="374" y="126"/>
                  <a:pt x="371" y="121"/>
                </a:cubicBezTo>
                <a:cubicBezTo>
                  <a:pt x="367" y="116"/>
                  <a:pt x="360" y="116"/>
                  <a:pt x="356" y="119"/>
                </a:cubicBezTo>
                <a:cubicBezTo>
                  <a:pt x="302" y="162"/>
                  <a:pt x="302" y="162"/>
                  <a:pt x="302" y="162"/>
                </a:cubicBezTo>
                <a:cubicBezTo>
                  <a:pt x="298" y="166"/>
                  <a:pt x="297" y="172"/>
                  <a:pt x="301" y="177"/>
                </a:cubicBezTo>
                <a:close/>
                <a:moveTo>
                  <a:pt x="319" y="295"/>
                </a:moveTo>
                <a:cubicBezTo>
                  <a:pt x="277" y="146"/>
                  <a:pt x="277" y="146"/>
                  <a:pt x="277" y="146"/>
                </a:cubicBezTo>
                <a:cubicBezTo>
                  <a:pt x="276" y="143"/>
                  <a:pt x="273" y="140"/>
                  <a:pt x="270" y="139"/>
                </a:cubicBezTo>
                <a:cubicBezTo>
                  <a:pt x="267" y="138"/>
                  <a:pt x="264" y="138"/>
                  <a:pt x="261" y="140"/>
                </a:cubicBezTo>
                <a:cubicBezTo>
                  <a:pt x="101" y="236"/>
                  <a:pt x="101" y="236"/>
                  <a:pt x="101" y="236"/>
                </a:cubicBezTo>
                <a:cubicBezTo>
                  <a:pt x="97" y="238"/>
                  <a:pt x="95" y="243"/>
                  <a:pt x="96" y="248"/>
                </a:cubicBezTo>
                <a:cubicBezTo>
                  <a:pt x="110" y="301"/>
                  <a:pt x="110" y="301"/>
                  <a:pt x="110" y="301"/>
                </a:cubicBezTo>
                <a:cubicBezTo>
                  <a:pt x="111" y="306"/>
                  <a:pt x="115" y="309"/>
                  <a:pt x="120" y="309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70" y="333"/>
                  <a:pt x="189" y="352"/>
                  <a:pt x="213" y="352"/>
                </a:cubicBezTo>
                <a:cubicBezTo>
                  <a:pt x="237" y="352"/>
                  <a:pt x="256" y="333"/>
                  <a:pt x="256" y="309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2" y="309"/>
                  <a:pt x="316" y="307"/>
                  <a:pt x="318" y="305"/>
                </a:cubicBezTo>
                <a:cubicBezTo>
                  <a:pt x="320" y="302"/>
                  <a:pt x="320" y="299"/>
                  <a:pt x="319" y="295"/>
                </a:cubicBezTo>
                <a:close/>
                <a:moveTo>
                  <a:pt x="416" y="279"/>
                </a:moveTo>
                <a:cubicBezTo>
                  <a:pt x="416" y="273"/>
                  <a:pt x="413" y="267"/>
                  <a:pt x="407" y="266"/>
                </a:cubicBezTo>
                <a:cubicBezTo>
                  <a:pt x="343" y="256"/>
                  <a:pt x="343" y="256"/>
                  <a:pt x="343" y="256"/>
                </a:cubicBezTo>
                <a:cubicBezTo>
                  <a:pt x="337" y="255"/>
                  <a:pt x="331" y="259"/>
                  <a:pt x="330" y="265"/>
                </a:cubicBezTo>
                <a:cubicBezTo>
                  <a:pt x="330" y="270"/>
                  <a:pt x="333" y="276"/>
                  <a:pt x="339" y="277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4" y="288"/>
                  <a:pt x="404" y="288"/>
                  <a:pt x="405" y="288"/>
                </a:cubicBezTo>
                <a:cubicBezTo>
                  <a:pt x="410" y="288"/>
                  <a:pt x="415" y="284"/>
                  <a:pt x="416" y="279"/>
                </a:cubicBezTo>
                <a:close/>
                <a:moveTo>
                  <a:pt x="415" y="189"/>
                </a:moveTo>
                <a:cubicBezTo>
                  <a:pt x="414" y="183"/>
                  <a:pt x="408" y="180"/>
                  <a:pt x="402" y="181"/>
                </a:cubicBezTo>
                <a:cubicBezTo>
                  <a:pt x="327" y="203"/>
                  <a:pt x="327" y="203"/>
                  <a:pt x="327" y="203"/>
                </a:cubicBezTo>
                <a:cubicBezTo>
                  <a:pt x="322" y="204"/>
                  <a:pt x="318" y="210"/>
                  <a:pt x="320" y="216"/>
                </a:cubicBezTo>
                <a:cubicBezTo>
                  <a:pt x="321" y="221"/>
                  <a:pt x="326" y="224"/>
                  <a:pt x="330" y="224"/>
                </a:cubicBezTo>
                <a:cubicBezTo>
                  <a:pt x="331" y="224"/>
                  <a:pt x="332" y="224"/>
                  <a:pt x="333" y="223"/>
                </a:cubicBezTo>
                <a:cubicBezTo>
                  <a:pt x="408" y="202"/>
                  <a:pt x="408" y="202"/>
                  <a:pt x="408" y="202"/>
                </a:cubicBezTo>
                <a:cubicBezTo>
                  <a:pt x="414" y="200"/>
                  <a:pt x="417" y="194"/>
                  <a:pt x="415" y="18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46" name="Group 639"/>
          <p:cNvGrpSpPr>
            <a:grpSpLocks noChangeAspect="1"/>
          </p:cNvGrpSpPr>
          <p:nvPr/>
        </p:nvGrpSpPr>
        <p:grpSpPr bwMode="auto">
          <a:xfrm>
            <a:off x="9912019" y="4544409"/>
            <a:ext cx="367041" cy="368120"/>
            <a:chOff x="5418" y="2871"/>
            <a:chExt cx="340" cy="341"/>
          </a:xfrm>
          <a:solidFill>
            <a:schemeClr val="accent1"/>
          </a:solidFill>
        </p:grpSpPr>
        <p:sp>
          <p:nvSpPr>
            <p:cNvPr id="547" name="Freeform 640"/>
            <p:cNvSpPr>
              <a:spLocks noEditPoints="1"/>
            </p:cNvSpPr>
            <p:nvPr/>
          </p:nvSpPr>
          <p:spPr bwMode="auto">
            <a:xfrm>
              <a:off x="5481" y="2948"/>
              <a:ext cx="214" cy="157"/>
            </a:xfrm>
            <a:custGeom>
              <a:avLst/>
              <a:gdLst>
                <a:gd name="T0" fmla="*/ 182 w 322"/>
                <a:gd name="T1" fmla="*/ 30 h 236"/>
                <a:gd name="T2" fmla="*/ 175 w 322"/>
                <a:gd name="T3" fmla="*/ 23 h 236"/>
                <a:gd name="T4" fmla="*/ 166 w 322"/>
                <a:gd name="T5" fmla="*/ 24 h 236"/>
                <a:gd name="T6" fmla="*/ 6 w 322"/>
                <a:gd name="T7" fmla="*/ 120 h 236"/>
                <a:gd name="T8" fmla="*/ 1 w 322"/>
                <a:gd name="T9" fmla="*/ 132 h 236"/>
                <a:gd name="T10" fmla="*/ 15 w 322"/>
                <a:gd name="T11" fmla="*/ 185 h 236"/>
                <a:gd name="T12" fmla="*/ 25 w 322"/>
                <a:gd name="T13" fmla="*/ 193 h 236"/>
                <a:gd name="T14" fmla="*/ 75 w 322"/>
                <a:gd name="T15" fmla="*/ 193 h 236"/>
                <a:gd name="T16" fmla="*/ 75 w 322"/>
                <a:gd name="T17" fmla="*/ 193 h 236"/>
                <a:gd name="T18" fmla="*/ 118 w 322"/>
                <a:gd name="T19" fmla="*/ 236 h 236"/>
                <a:gd name="T20" fmla="*/ 161 w 322"/>
                <a:gd name="T21" fmla="*/ 193 h 236"/>
                <a:gd name="T22" fmla="*/ 161 w 322"/>
                <a:gd name="T23" fmla="*/ 193 h 236"/>
                <a:gd name="T24" fmla="*/ 214 w 322"/>
                <a:gd name="T25" fmla="*/ 193 h 236"/>
                <a:gd name="T26" fmla="*/ 214 w 322"/>
                <a:gd name="T27" fmla="*/ 193 h 236"/>
                <a:gd name="T28" fmla="*/ 223 w 322"/>
                <a:gd name="T29" fmla="*/ 189 h 236"/>
                <a:gd name="T30" fmla="*/ 224 w 322"/>
                <a:gd name="T31" fmla="*/ 179 h 236"/>
                <a:gd name="T32" fmla="*/ 182 w 322"/>
                <a:gd name="T33" fmla="*/ 30 h 236"/>
                <a:gd name="T34" fmla="*/ 139 w 322"/>
                <a:gd name="T35" fmla="*/ 193 h 236"/>
                <a:gd name="T36" fmla="*/ 118 w 322"/>
                <a:gd name="T37" fmla="*/ 214 h 236"/>
                <a:gd name="T38" fmla="*/ 97 w 322"/>
                <a:gd name="T39" fmla="*/ 193 h 236"/>
                <a:gd name="T40" fmla="*/ 97 w 322"/>
                <a:gd name="T41" fmla="*/ 193 h 236"/>
                <a:gd name="T42" fmla="*/ 139 w 322"/>
                <a:gd name="T43" fmla="*/ 193 h 236"/>
                <a:gd name="T44" fmla="*/ 139 w 322"/>
                <a:gd name="T45" fmla="*/ 193 h 236"/>
                <a:gd name="T46" fmla="*/ 33 w 322"/>
                <a:gd name="T47" fmla="*/ 172 h 236"/>
                <a:gd name="T48" fmla="*/ 24 w 322"/>
                <a:gd name="T49" fmla="*/ 134 h 236"/>
                <a:gd name="T50" fmla="*/ 165 w 322"/>
                <a:gd name="T51" fmla="*/ 49 h 236"/>
                <a:gd name="T52" fmla="*/ 200 w 322"/>
                <a:gd name="T53" fmla="*/ 172 h 236"/>
                <a:gd name="T54" fmla="*/ 33 w 322"/>
                <a:gd name="T55" fmla="*/ 172 h 236"/>
                <a:gd name="T56" fmla="*/ 238 w 322"/>
                <a:gd name="T57" fmla="*/ 107 h 236"/>
                <a:gd name="T58" fmla="*/ 235 w 322"/>
                <a:gd name="T59" fmla="*/ 108 h 236"/>
                <a:gd name="T60" fmla="*/ 225 w 322"/>
                <a:gd name="T61" fmla="*/ 100 h 236"/>
                <a:gd name="T62" fmla="*/ 232 w 322"/>
                <a:gd name="T63" fmla="*/ 87 h 236"/>
                <a:gd name="T64" fmla="*/ 307 w 322"/>
                <a:gd name="T65" fmla="*/ 65 h 236"/>
                <a:gd name="T66" fmla="*/ 320 w 322"/>
                <a:gd name="T67" fmla="*/ 73 h 236"/>
                <a:gd name="T68" fmla="*/ 313 w 322"/>
                <a:gd name="T69" fmla="*/ 86 h 236"/>
                <a:gd name="T70" fmla="*/ 238 w 322"/>
                <a:gd name="T71" fmla="*/ 107 h 236"/>
                <a:gd name="T72" fmla="*/ 206 w 322"/>
                <a:gd name="T73" fmla="*/ 61 h 236"/>
                <a:gd name="T74" fmla="*/ 207 w 322"/>
                <a:gd name="T75" fmla="*/ 46 h 236"/>
                <a:gd name="T76" fmla="*/ 261 w 322"/>
                <a:gd name="T77" fmla="*/ 3 h 236"/>
                <a:gd name="T78" fmla="*/ 276 w 322"/>
                <a:gd name="T79" fmla="*/ 5 h 236"/>
                <a:gd name="T80" fmla="*/ 274 w 322"/>
                <a:gd name="T81" fmla="*/ 20 h 236"/>
                <a:gd name="T82" fmla="*/ 221 w 322"/>
                <a:gd name="T83" fmla="*/ 63 h 236"/>
                <a:gd name="T84" fmla="*/ 214 w 322"/>
                <a:gd name="T85" fmla="*/ 65 h 236"/>
                <a:gd name="T86" fmla="*/ 206 w 322"/>
                <a:gd name="T87" fmla="*/ 61 h 236"/>
                <a:gd name="T88" fmla="*/ 321 w 322"/>
                <a:gd name="T89" fmla="*/ 163 h 236"/>
                <a:gd name="T90" fmla="*/ 310 w 322"/>
                <a:gd name="T91" fmla="*/ 172 h 236"/>
                <a:gd name="T92" fmla="*/ 308 w 322"/>
                <a:gd name="T93" fmla="*/ 172 h 236"/>
                <a:gd name="T94" fmla="*/ 244 w 322"/>
                <a:gd name="T95" fmla="*/ 161 h 236"/>
                <a:gd name="T96" fmla="*/ 235 w 322"/>
                <a:gd name="T97" fmla="*/ 149 h 236"/>
                <a:gd name="T98" fmla="*/ 248 w 322"/>
                <a:gd name="T99" fmla="*/ 140 h 236"/>
                <a:gd name="T100" fmla="*/ 312 w 322"/>
                <a:gd name="T101" fmla="*/ 150 h 236"/>
                <a:gd name="T102" fmla="*/ 321 w 322"/>
                <a:gd name="T103" fmla="*/ 16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2" h="236">
                  <a:moveTo>
                    <a:pt x="182" y="30"/>
                  </a:moveTo>
                  <a:cubicBezTo>
                    <a:pt x="181" y="27"/>
                    <a:pt x="178" y="24"/>
                    <a:pt x="175" y="23"/>
                  </a:cubicBezTo>
                  <a:cubicBezTo>
                    <a:pt x="172" y="22"/>
                    <a:pt x="169" y="22"/>
                    <a:pt x="166" y="24"/>
                  </a:cubicBezTo>
                  <a:cubicBezTo>
                    <a:pt x="6" y="120"/>
                    <a:pt x="6" y="120"/>
                    <a:pt x="6" y="120"/>
                  </a:cubicBezTo>
                  <a:cubicBezTo>
                    <a:pt x="2" y="122"/>
                    <a:pt x="0" y="127"/>
                    <a:pt x="1" y="132"/>
                  </a:cubicBezTo>
                  <a:cubicBezTo>
                    <a:pt x="15" y="185"/>
                    <a:pt x="15" y="185"/>
                    <a:pt x="15" y="185"/>
                  </a:cubicBezTo>
                  <a:cubicBezTo>
                    <a:pt x="16" y="190"/>
                    <a:pt x="20" y="193"/>
                    <a:pt x="2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217"/>
                    <a:pt x="94" y="236"/>
                    <a:pt x="118" y="236"/>
                  </a:cubicBezTo>
                  <a:cubicBezTo>
                    <a:pt x="142" y="236"/>
                    <a:pt x="161" y="217"/>
                    <a:pt x="161" y="193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214" y="193"/>
                    <a:pt x="214" y="193"/>
                    <a:pt x="214" y="193"/>
                  </a:cubicBezTo>
                  <a:cubicBezTo>
                    <a:pt x="214" y="193"/>
                    <a:pt x="214" y="193"/>
                    <a:pt x="214" y="193"/>
                  </a:cubicBezTo>
                  <a:cubicBezTo>
                    <a:pt x="217" y="193"/>
                    <a:pt x="221" y="191"/>
                    <a:pt x="223" y="189"/>
                  </a:cubicBezTo>
                  <a:cubicBezTo>
                    <a:pt x="225" y="186"/>
                    <a:pt x="225" y="183"/>
                    <a:pt x="224" y="179"/>
                  </a:cubicBezTo>
                  <a:lnTo>
                    <a:pt x="182" y="30"/>
                  </a:lnTo>
                  <a:close/>
                  <a:moveTo>
                    <a:pt x="139" y="193"/>
                  </a:moveTo>
                  <a:cubicBezTo>
                    <a:pt x="139" y="205"/>
                    <a:pt x="130" y="214"/>
                    <a:pt x="118" y="214"/>
                  </a:cubicBezTo>
                  <a:cubicBezTo>
                    <a:pt x="106" y="214"/>
                    <a:pt x="97" y="205"/>
                    <a:pt x="97" y="193"/>
                  </a:cubicBezTo>
                  <a:cubicBezTo>
                    <a:pt x="97" y="193"/>
                    <a:pt x="97" y="193"/>
                    <a:pt x="97" y="193"/>
                  </a:cubicBezTo>
                  <a:cubicBezTo>
                    <a:pt x="139" y="193"/>
                    <a:pt x="139" y="193"/>
                    <a:pt x="139" y="193"/>
                  </a:cubicBezTo>
                  <a:cubicBezTo>
                    <a:pt x="139" y="193"/>
                    <a:pt x="139" y="193"/>
                    <a:pt x="139" y="193"/>
                  </a:cubicBezTo>
                  <a:close/>
                  <a:moveTo>
                    <a:pt x="33" y="172"/>
                  </a:moveTo>
                  <a:cubicBezTo>
                    <a:pt x="24" y="134"/>
                    <a:pt x="24" y="134"/>
                    <a:pt x="24" y="134"/>
                  </a:cubicBezTo>
                  <a:cubicBezTo>
                    <a:pt x="165" y="49"/>
                    <a:pt x="165" y="49"/>
                    <a:pt x="165" y="49"/>
                  </a:cubicBezTo>
                  <a:cubicBezTo>
                    <a:pt x="200" y="172"/>
                    <a:pt x="200" y="172"/>
                    <a:pt x="200" y="172"/>
                  </a:cubicBezTo>
                  <a:lnTo>
                    <a:pt x="33" y="172"/>
                  </a:lnTo>
                  <a:close/>
                  <a:moveTo>
                    <a:pt x="238" y="107"/>
                  </a:moveTo>
                  <a:cubicBezTo>
                    <a:pt x="237" y="108"/>
                    <a:pt x="236" y="108"/>
                    <a:pt x="235" y="108"/>
                  </a:cubicBezTo>
                  <a:cubicBezTo>
                    <a:pt x="231" y="108"/>
                    <a:pt x="226" y="105"/>
                    <a:pt x="225" y="100"/>
                  </a:cubicBezTo>
                  <a:cubicBezTo>
                    <a:pt x="223" y="94"/>
                    <a:pt x="227" y="88"/>
                    <a:pt x="232" y="87"/>
                  </a:cubicBezTo>
                  <a:cubicBezTo>
                    <a:pt x="307" y="65"/>
                    <a:pt x="307" y="65"/>
                    <a:pt x="307" y="65"/>
                  </a:cubicBezTo>
                  <a:cubicBezTo>
                    <a:pt x="313" y="64"/>
                    <a:pt x="319" y="67"/>
                    <a:pt x="320" y="73"/>
                  </a:cubicBezTo>
                  <a:cubicBezTo>
                    <a:pt x="322" y="78"/>
                    <a:pt x="319" y="84"/>
                    <a:pt x="313" y="86"/>
                  </a:cubicBezTo>
                  <a:lnTo>
                    <a:pt x="238" y="107"/>
                  </a:lnTo>
                  <a:close/>
                  <a:moveTo>
                    <a:pt x="206" y="61"/>
                  </a:moveTo>
                  <a:cubicBezTo>
                    <a:pt x="202" y="56"/>
                    <a:pt x="203" y="50"/>
                    <a:pt x="207" y="46"/>
                  </a:cubicBezTo>
                  <a:cubicBezTo>
                    <a:pt x="261" y="3"/>
                    <a:pt x="261" y="3"/>
                    <a:pt x="261" y="3"/>
                  </a:cubicBezTo>
                  <a:cubicBezTo>
                    <a:pt x="265" y="0"/>
                    <a:pt x="272" y="0"/>
                    <a:pt x="276" y="5"/>
                  </a:cubicBezTo>
                  <a:cubicBezTo>
                    <a:pt x="279" y="10"/>
                    <a:pt x="279" y="16"/>
                    <a:pt x="274" y="20"/>
                  </a:cubicBezTo>
                  <a:cubicBezTo>
                    <a:pt x="221" y="63"/>
                    <a:pt x="221" y="63"/>
                    <a:pt x="221" y="63"/>
                  </a:cubicBezTo>
                  <a:cubicBezTo>
                    <a:pt x="219" y="64"/>
                    <a:pt x="216" y="65"/>
                    <a:pt x="214" y="65"/>
                  </a:cubicBezTo>
                  <a:cubicBezTo>
                    <a:pt x="211" y="65"/>
                    <a:pt x="208" y="64"/>
                    <a:pt x="206" y="61"/>
                  </a:cubicBezTo>
                  <a:close/>
                  <a:moveTo>
                    <a:pt x="321" y="163"/>
                  </a:moveTo>
                  <a:cubicBezTo>
                    <a:pt x="320" y="168"/>
                    <a:pt x="315" y="172"/>
                    <a:pt x="310" y="172"/>
                  </a:cubicBezTo>
                  <a:cubicBezTo>
                    <a:pt x="309" y="172"/>
                    <a:pt x="309" y="172"/>
                    <a:pt x="308" y="172"/>
                  </a:cubicBezTo>
                  <a:cubicBezTo>
                    <a:pt x="244" y="161"/>
                    <a:pt x="244" y="161"/>
                    <a:pt x="244" y="161"/>
                  </a:cubicBezTo>
                  <a:cubicBezTo>
                    <a:pt x="238" y="160"/>
                    <a:pt x="235" y="154"/>
                    <a:pt x="235" y="149"/>
                  </a:cubicBezTo>
                  <a:cubicBezTo>
                    <a:pt x="236" y="143"/>
                    <a:pt x="242" y="139"/>
                    <a:pt x="248" y="140"/>
                  </a:cubicBezTo>
                  <a:cubicBezTo>
                    <a:pt x="312" y="150"/>
                    <a:pt x="312" y="150"/>
                    <a:pt x="312" y="150"/>
                  </a:cubicBezTo>
                  <a:cubicBezTo>
                    <a:pt x="318" y="151"/>
                    <a:pt x="321" y="157"/>
                    <a:pt x="32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8" name="Freeform 641"/>
            <p:cNvSpPr>
              <a:spLocks noEditPoints="1"/>
            </p:cNvSpPr>
            <p:nvPr/>
          </p:nvSpPr>
          <p:spPr bwMode="auto">
            <a:xfrm>
              <a:off x="5418" y="287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49" name="Freeform 947"/>
          <p:cNvSpPr>
            <a:spLocks noChangeAspect="1" noEditPoints="1"/>
          </p:cNvSpPr>
          <p:nvPr/>
        </p:nvSpPr>
        <p:spPr bwMode="auto">
          <a:xfrm>
            <a:off x="454509" y="5351704"/>
            <a:ext cx="367041" cy="367041"/>
          </a:xfrm>
          <a:custGeom>
            <a:avLst/>
            <a:gdLst>
              <a:gd name="T0" fmla="*/ 245 w 512"/>
              <a:gd name="T1" fmla="*/ 330 h 512"/>
              <a:gd name="T2" fmla="*/ 213 w 512"/>
              <a:gd name="T3" fmla="*/ 352 h 512"/>
              <a:gd name="T4" fmla="*/ 266 w 512"/>
              <a:gd name="T5" fmla="*/ 352 h 512"/>
              <a:gd name="T6" fmla="*/ 298 w 512"/>
              <a:gd name="T7" fmla="*/ 330 h 512"/>
              <a:gd name="T8" fmla="*/ 266 w 512"/>
              <a:gd name="T9" fmla="*/ 352 h 512"/>
              <a:gd name="T10" fmla="*/ 192 w 512"/>
              <a:gd name="T11" fmla="*/ 352 h 512"/>
              <a:gd name="T12" fmla="*/ 160 w 512"/>
              <a:gd name="T13" fmla="*/ 330 h 512"/>
              <a:gd name="T14" fmla="*/ 245 w 512"/>
              <a:gd name="T15" fmla="*/ 160 h 512"/>
              <a:gd name="T16" fmla="*/ 213 w 512"/>
              <a:gd name="T17" fmla="*/ 181 h 512"/>
              <a:gd name="T18" fmla="*/ 245 w 512"/>
              <a:gd name="T19" fmla="*/ 160 h 512"/>
              <a:gd name="T20" fmla="*/ 160 w 512"/>
              <a:gd name="T21" fmla="*/ 160 h 512"/>
              <a:gd name="T22" fmla="*/ 192 w 512"/>
              <a:gd name="T23" fmla="*/ 181 h 512"/>
              <a:gd name="T24" fmla="*/ 320 w 512"/>
              <a:gd name="T25" fmla="*/ 352 h 512"/>
              <a:gd name="T26" fmla="*/ 352 w 512"/>
              <a:gd name="T27" fmla="*/ 330 h 512"/>
              <a:gd name="T28" fmla="*/ 320 w 512"/>
              <a:gd name="T29" fmla="*/ 352 h 512"/>
              <a:gd name="T30" fmla="*/ 352 w 512"/>
              <a:gd name="T31" fmla="*/ 181 h 512"/>
              <a:gd name="T32" fmla="*/ 320 w 512"/>
              <a:gd name="T33" fmla="*/ 160 h 512"/>
              <a:gd name="T34" fmla="*/ 512 w 512"/>
              <a:gd name="T35" fmla="*/ 256 h 512"/>
              <a:gd name="T36" fmla="*/ 0 w 512"/>
              <a:gd name="T37" fmla="*/ 256 h 512"/>
              <a:gd name="T38" fmla="*/ 512 w 512"/>
              <a:gd name="T39" fmla="*/ 256 h 512"/>
              <a:gd name="T40" fmla="*/ 373 w 512"/>
              <a:gd name="T41" fmla="*/ 160 h 512"/>
              <a:gd name="T42" fmla="*/ 416 w 512"/>
              <a:gd name="T43" fmla="*/ 149 h 512"/>
              <a:gd name="T44" fmla="*/ 106 w 512"/>
              <a:gd name="T45" fmla="*/ 138 h 512"/>
              <a:gd name="T46" fmla="*/ 106 w 512"/>
              <a:gd name="T47" fmla="*/ 160 h 512"/>
              <a:gd name="T48" fmla="*/ 138 w 512"/>
              <a:gd name="T49" fmla="*/ 181 h 512"/>
              <a:gd name="T50" fmla="*/ 96 w 512"/>
              <a:gd name="T51" fmla="*/ 192 h 512"/>
              <a:gd name="T52" fmla="*/ 138 w 512"/>
              <a:gd name="T53" fmla="*/ 202 h 512"/>
              <a:gd name="T54" fmla="*/ 106 w 512"/>
              <a:gd name="T55" fmla="*/ 309 h 512"/>
              <a:gd name="T56" fmla="*/ 106 w 512"/>
              <a:gd name="T57" fmla="*/ 330 h 512"/>
              <a:gd name="T58" fmla="*/ 138 w 512"/>
              <a:gd name="T59" fmla="*/ 352 h 512"/>
              <a:gd name="T60" fmla="*/ 96 w 512"/>
              <a:gd name="T61" fmla="*/ 362 h 512"/>
              <a:gd name="T62" fmla="*/ 405 w 512"/>
              <a:gd name="T63" fmla="*/ 373 h 512"/>
              <a:gd name="T64" fmla="*/ 405 w 512"/>
              <a:gd name="T65" fmla="*/ 352 h 512"/>
              <a:gd name="T66" fmla="*/ 373 w 512"/>
              <a:gd name="T67" fmla="*/ 330 h 512"/>
              <a:gd name="T68" fmla="*/ 416 w 512"/>
              <a:gd name="T69" fmla="*/ 320 h 512"/>
              <a:gd name="T70" fmla="*/ 373 w 512"/>
              <a:gd name="T71" fmla="*/ 309 h 512"/>
              <a:gd name="T72" fmla="*/ 405 w 512"/>
              <a:gd name="T73" fmla="*/ 202 h 512"/>
              <a:gd name="T74" fmla="*/ 405 w 512"/>
              <a:gd name="T75" fmla="*/ 181 h 512"/>
              <a:gd name="T76" fmla="*/ 298 w 512"/>
              <a:gd name="T77" fmla="*/ 160 h 512"/>
              <a:gd name="T78" fmla="*/ 266 w 512"/>
              <a:gd name="T79" fmla="*/ 181 h 512"/>
              <a:gd name="T80" fmla="*/ 298 w 512"/>
              <a:gd name="T81" fmla="*/ 160 h 512"/>
              <a:gd name="T82" fmla="*/ 352 w 512"/>
              <a:gd name="T83" fmla="*/ 309 h 512"/>
              <a:gd name="T84" fmla="*/ 160 w 512"/>
              <a:gd name="T8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213" y="330"/>
                </a:moveTo>
                <a:cubicBezTo>
                  <a:pt x="245" y="330"/>
                  <a:pt x="245" y="330"/>
                  <a:pt x="245" y="330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13" y="352"/>
                  <a:pt x="213" y="352"/>
                  <a:pt x="213" y="352"/>
                </a:cubicBezTo>
                <a:lnTo>
                  <a:pt x="213" y="330"/>
                </a:lnTo>
                <a:close/>
                <a:moveTo>
                  <a:pt x="266" y="352"/>
                </a:moveTo>
                <a:cubicBezTo>
                  <a:pt x="298" y="352"/>
                  <a:pt x="298" y="352"/>
                  <a:pt x="298" y="352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266" y="330"/>
                  <a:pt x="266" y="330"/>
                  <a:pt x="266" y="330"/>
                </a:cubicBezTo>
                <a:lnTo>
                  <a:pt x="266" y="352"/>
                </a:lnTo>
                <a:close/>
                <a:moveTo>
                  <a:pt x="160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60" y="330"/>
                  <a:pt x="160" y="330"/>
                  <a:pt x="160" y="330"/>
                </a:cubicBezTo>
                <a:lnTo>
                  <a:pt x="160" y="352"/>
                </a:lnTo>
                <a:close/>
                <a:moveTo>
                  <a:pt x="245" y="160"/>
                </a:moveTo>
                <a:cubicBezTo>
                  <a:pt x="213" y="160"/>
                  <a:pt x="213" y="160"/>
                  <a:pt x="213" y="160"/>
                </a:cubicBezTo>
                <a:cubicBezTo>
                  <a:pt x="213" y="181"/>
                  <a:pt x="213" y="181"/>
                  <a:pt x="213" y="181"/>
                </a:cubicBezTo>
                <a:cubicBezTo>
                  <a:pt x="245" y="181"/>
                  <a:pt x="245" y="181"/>
                  <a:pt x="245" y="181"/>
                </a:cubicBezTo>
                <a:lnTo>
                  <a:pt x="245" y="160"/>
                </a:lnTo>
                <a:close/>
                <a:moveTo>
                  <a:pt x="192" y="160"/>
                </a:moveTo>
                <a:cubicBezTo>
                  <a:pt x="160" y="160"/>
                  <a:pt x="160" y="160"/>
                  <a:pt x="160" y="160"/>
                </a:cubicBezTo>
                <a:cubicBezTo>
                  <a:pt x="160" y="181"/>
                  <a:pt x="160" y="181"/>
                  <a:pt x="160" y="181"/>
                </a:cubicBezTo>
                <a:cubicBezTo>
                  <a:pt x="192" y="181"/>
                  <a:pt x="192" y="181"/>
                  <a:pt x="192" y="181"/>
                </a:cubicBezTo>
                <a:lnTo>
                  <a:pt x="192" y="160"/>
                </a:lnTo>
                <a:close/>
                <a:moveTo>
                  <a:pt x="320" y="352"/>
                </a:moveTo>
                <a:cubicBezTo>
                  <a:pt x="352" y="352"/>
                  <a:pt x="352" y="352"/>
                  <a:pt x="352" y="352"/>
                </a:cubicBezTo>
                <a:cubicBezTo>
                  <a:pt x="352" y="330"/>
                  <a:pt x="352" y="330"/>
                  <a:pt x="352" y="330"/>
                </a:cubicBezTo>
                <a:cubicBezTo>
                  <a:pt x="320" y="330"/>
                  <a:pt x="320" y="330"/>
                  <a:pt x="320" y="330"/>
                </a:cubicBezTo>
                <a:lnTo>
                  <a:pt x="320" y="352"/>
                </a:lnTo>
                <a:close/>
                <a:moveTo>
                  <a:pt x="320" y="181"/>
                </a:moveTo>
                <a:cubicBezTo>
                  <a:pt x="352" y="181"/>
                  <a:pt x="352" y="181"/>
                  <a:pt x="352" y="181"/>
                </a:cubicBezTo>
                <a:cubicBezTo>
                  <a:pt x="352" y="160"/>
                  <a:pt x="352" y="160"/>
                  <a:pt x="352" y="160"/>
                </a:cubicBezTo>
                <a:cubicBezTo>
                  <a:pt x="320" y="160"/>
                  <a:pt x="320" y="160"/>
                  <a:pt x="320" y="160"/>
                </a:cubicBezTo>
                <a:lnTo>
                  <a:pt x="320" y="18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81"/>
                </a:moveTo>
                <a:cubicBezTo>
                  <a:pt x="373" y="160"/>
                  <a:pt x="373" y="160"/>
                  <a:pt x="373" y="160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11" y="160"/>
                  <a:pt x="416" y="155"/>
                  <a:pt x="416" y="149"/>
                </a:cubicBezTo>
                <a:cubicBezTo>
                  <a:pt x="416" y="143"/>
                  <a:pt x="411" y="138"/>
                  <a:pt x="405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155"/>
                  <a:pt x="100" y="160"/>
                  <a:pt x="106" y="160"/>
                </a:cubicBezTo>
                <a:cubicBezTo>
                  <a:pt x="138" y="160"/>
                  <a:pt x="138" y="160"/>
                  <a:pt x="138" y="160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06" y="181"/>
                  <a:pt x="106" y="181"/>
                  <a:pt x="106" y="181"/>
                </a:cubicBezTo>
                <a:cubicBezTo>
                  <a:pt x="100" y="181"/>
                  <a:pt x="96" y="186"/>
                  <a:pt x="96" y="192"/>
                </a:cubicBezTo>
                <a:cubicBezTo>
                  <a:pt x="96" y="198"/>
                  <a:pt x="100" y="202"/>
                  <a:pt x="106" y="202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06" y="309"/>
                  <a:pt x="106" y="309"/>
                  <a:pt x="106" y="309"/>
                </a:cubicBezTo>
                <a:cubicBezTo>
                  <a:pt x="100" y="309"/>
                  <a:pt x="96" y="314"/>
                  <a:pt x="96" y="320"/>
                </a:cubicBezTo>
                <a:cubicBezTo>
                  <a:pt x="96" y="326"/>
                  <a:pt x="100" y="330"/>
                  <a:pt x="106" y="330"/>
                </a:cubicBezTo>
                <a:cubicBezTo>
                  <a:pt x="138" y="330"/>
                  <a:pt x="138" y="330"/>
                  <a:pt x="138" y="330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56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cubicBezTo>
                  <a:pt x="416" y="356"/>
                  <a:pt x="411" y="352"/>
                  <a:pt x="405" y="352"/>
                </a:cubicBezTo>
                <a:cubicBezTo>
                  <a:pt x="373" y="352"/>
                  <a:pt x="373" y="352"/>
                  <a:pt x="373" y="352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11" y="330"/>
                  <a:pt x="416" y="326"/>
                  <a:pt x="416" y="320"/>
                </a:cubicBezTo>
                <a:cubicBezTo>
                  <a:pt x="416" y="314"/>
                  <a:pt x="411" y="309"/>
                  <a:pt x="405" y="309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198"/>
                  <a:pt x="416" y="192"/>
                </a:cubicBezTo>
                <a:cubicBezTo>
                  <a:pt x="416" y="186"/>
                  <a:pt x="411" y="181"/>
                  <a:pt x="405" y="181"/>
                </a:cubicBezTo>
                <a:lnTo>
                  <a:pt x="373" y="181"/>
                </a:lnTo>
                <a:close/>
                <a:moveTo>
                  <a:pt x="29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98" y="181"/>
                  <a:pt x="298" y="181"/>
                  <a:pt x="298" y="181"/>
                </a:cubicBezTo>
                <a:lnTo>
                  <a:pt x="298" y="160"/>
                </a:lnTo>
                <a:close/>
                <a:moveTo>
                  <a:pt x="160" y="309"/>
                </a:moveTo>
                <a:cubicBezTo>
                  <a:pt x="352" y="309"/>
                  <a:pt x="352" y="309"/>
                  <a:pt x="352" y="309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160" y="202"/>
                  <a:pt x="160" y="202"/>
                  <a:pt x="160" y="202"/>
                </a:cubicBezTo>
                <a:lnTo>
                  <a:pt x="160" y="30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50" name="Group 950"/>
          <p:cNvGrpSpPr>
            <a:grpSpLocks noChangeAspect="1"/>
          </p:cNvGrpSpPr>
          <p:nvPr/>
        </p:nvGrpSpPr>
        <p:grpSpPr bwMode="auto">
          <a:xfrm>
            <a:off x="951627" y="5351705"/>
            <a:ext cx="367041" cy="367041"/>
            <a:chOff x="7370" y="3509"/>
            <a:chExt cx="340" cy="340"/>
          </a:xfrm>
          <a:solidFill>
            <a:schemeClr val="accent4"/>
          </a:solidFill>
        </p:grpSpPr>
        <p:sp>
          <p:nvSpPr>
            <p:cNvPr id="551" name="Freeform 951"/>
            <p:cNvSpPr>
              <a:spLocks noEditPoints="1"/>
            </p:cNvSpPr>
            <p:nvPr/>
          </p:nvSpPr>
          <p:spPr bwMode="auto">
            <a:xfrm>
              <a:off x="7370" y="3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2" name="Freeform 952"/>
            <p:cNvSpPr>
              <a:spLocks noEditPoints="1"/>
            </p:cNvSpPr>
            <p:nvPr/>
          </p:nvSpPr>
          <p:spPr bwMode="auto">
            <a:xfrm>
              <a:off x="7434" y="3601"/>
              <a:ext cx="212" cy="156"/>
            </a:xfrm>
            <a:custGeom>
              <a:avLst/>
              <a:gdLst>
                <a:gd name="T0" fmla="*/ 320 w 320"/>
                <a:gd name="T1" fmla="*/ 54 h 235"/>
                <a:gd name="T2" fmla="*/ 277 w 320"/>
                <a:gd name="T3" fmla="*/ 43 h 235"/>
                <a:gd name="T4" fmla="*/ 309 w 320"/>
                <a:gd name="T5" fmla="*/ 22 h 235"/>
                <a:gd name="T6" fmla="*/ 309 w 320"/>
                <a:gd name="T7" fmla="*/ 0 h 235"/>
                <a:gd name="T8" fmla="*/ 0 w 320"/>
                <a:gd name="T9" fmla="*/ 11 h 235"/>
                <a:gd name="T10" fmla="*/ 42 w 320"/>
                <a:gd name="T11" fmla="*/ 22 h 235"/>
                <a:gd name="T12" fmla="*/ 10 w 320"/>
                <a:gd name="T13" fmla="*/ 43 h 235"/>
                <a:gd name="T14" fmla="*/ 10 w 320"/>
                <a:gd name="T15" fmla="*/ 64 h 235"/>
                <a:gd name="T16" fmla="*/ 42 w 320"/>
                <a:gd name="T17" fmla="*/ 171 h 235"/>
                <a:gd name="T18" fmla="*/ 0 w 320"/>
                <a:gd name="T19" fmla="*/ 182 h 235"/>
                <a:gd name="T20" fmla="*/ 42 w 320"/>
                <a:gd name="T21" fmla="*/ 192 h 235"/>
                <a:gd name="T22" fmla="*/ 10 w 320"/>
                <a:gd name="T23" fmla="*/ 214 h 235"/>
                <a:gd name="T24" fmla="*/ 10 w 320"/>
                <a:gd name="T25" fmla="*/ 235 h 235"/>
                <a:gd name="T26" fmla="*/ 320 w 320"/>
                <a:gd name="T27" fmla="*/ 224 h 235"/>
                <a:gd name="T28" fmla="*/ 277 w 320"/>
                <a:gd name="T29" fmla="*/ 214 h 235"/>
                <a:gd name="T30" fmla="*/ 309 w 320"/>
                <a:gd name="T31" fmla="*/ 192 h 235"/>
                <a:gd name="T32" fmla="*/ 309 w 320"/>
                <a:gd name="T33" fmla="*/ 171 h 235"/>
                <a:gd name="T34" fmla="*/ 277 w 320"/>
                <a:gd name="T35" fmla="*/ 64 h 235"/>
                <a:gd name="T36" fmla="*/ 256 w 320"/>
                <a:gd name="T37" fmla="*/ 43 h 235"/>
                <a:gd name="T38" fmla="*/ 224 w 320"/>
                <a:gd name="T39" fmla="*/ 22 h 235"/>
                <a:gd name="T40" fmla="*/ 256 w 320"/>
                <a:gd name="T41" fmla="*/ 43 h 235"/>
                <a:gd name="T42" fmla="*/ 170 w 320"/>
                <a:gd name="T43" fmla="*/ 22 h 235"/>
                <a:gd name="T44" fmla="*/ 202 w 320"/>
                <a:gd name="T45" fmla="*/ 43 h 235"/>
                <a:gd name="T46" fmla="*/ 117 w 320"/>
                <a:gd name="T47" fmla="*/ 43 h 235"/>
                <a:gd name="T48" fmla="*/ 149 w 320"/>
                <a:gd name="T49" fmla="*/ 22 h 235"/>
                <a:gd name="T50" fmla="*/ 117 w 320"/>
                <a:gd name="T51" fmla="*/ 43 h 235"/>
                <a:gd name="T52" fmla="*/ 96 w 320"/>
                <a:gd name="T53" fmla="*/ 22 h 235"/>
                <a:gd name="T54" fmla="*/ 64 w 320"/>
                <a:gd name="T55" fmla="*/ 43 h 235"/>
                <a:gd name="T56" fmla="*/ 64 w 320"/>
                <a:gd name="T57" fmla="*/ 192 h 235"/>
                <a:gd name="T58" fmla="*/ 96 w 320"/>
                <a:gd name="T59" fmla="*/ 214 h 235"/>
                <a:gd name="T60" fmla="*/ 64 w 320"/>
                <a:gd name="T61" fmla="*/ 192 h 235"/>
                <a:gd name="T62" fmla="*/ 149 w 320"/>
                <a:gd name="T63" fmla="*/ 214 h 235"/>
                <a:gd name="T64" fmla="*/ 117 w 320"/>
                <a:gd name="T65" fmla="*/ 192 h 235"/>
                <a:gd name="T66" fmla="*/ 202 w 320"/>
                <a:gd name="T67" fmla="*/ 192 h 235"/>
                <a:gd name="T68" fmla="*/ 170 w 320"/>
                <a:gd name="T69" fmla="*/ 214 h 235"/>
                <a:gd name="T70" fmla="*/ 202 w 320"/>
                <a:gd name="T71" fmla="*/ 192 h 235"/>
                <a:gd name="T72" fmla="*/ 224 w 320"/>
                <a:gd name="T73" fmla="*/ 214 h 235"/>
                <a:gd name="T74" fmla="*/ 256 w 320"/>
                <a:gd name="T75" fmla="*/ 192 h 235"/>
                <a:gd name="T76" fmla="*/ 256 w 320"/>
                <a:gd name="T77" fmla="*/ 171 h 235"/>
                <a:gd name="T78" fmla="*/ 64 w 320"/>
                <a:gd name="T79" fmla="*/ 64 h 235"/>
                <a:gd name="T80" fmla="*/ 256 w 320"/>
                <a:gd name="T81" fmla="*/ 17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0" h="235">
                  <a:moveTo>
                    <a:pt x="309" y="64"/>
                  </a:moveTo>
                  <a:cubicBezTo>
                    <a:pt x="315" y="64"/>
                    <a:pt x="320" y="60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ubicBezTo>
                    <a:pt x="277" y="43"/>
                    <a:pt x="277" y="43"/>
                    <a:pt x="277" y="43"/>
                  </a:cubicBezTo>
                  <a:cubicBezTo>
                    <a:pt x="277" y="22"/>
                    <a:pt x="277" y="22"/>
                    <a:pt x="277" y="22"/>
                  </a:cubicBezTo>
                  <a:cubicBezTo>
                    <a:pt x="309" y="22"/>
                    <a:pt x="309" y="22"/>
                    <a:pt x="309" y="22"/>
                  </a:cubicBezTo>
                  <a:cubicBezTo>
                    <a:pt x="315" y="22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4" y="43"/>
                    <a:pt x="0" y="48"/>
                    <a:pt x="0" y="54"/>
                  </a:cubicBezTo>
                  <a:cubicBezTo>
                    <a:pt x="0" y="60"/>
                    <a:pt x="4" y="64"/>
                    <a:pt x="10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6"/>
                    <a:pt x="0" y="182"/>
                  </a:cubicBezTo>
                  <a:cubicBezTo>
                    <a:pt x="0" y="188"/>
                    <a:pt x="4" y="192"/>
                    <a:pt x="10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10" y="214"/>
                    <a:pt x="10" y="214"/>
                    <a:pt x="10" y="214"/>
                  </a:cubicBezTo>
                  <a:cubicBezTo>
                    <a:pt x="4" y="214"/>
                    <a:pt x="0" y="218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218"/>
                    <a:pt x="315" y="214"/>
                    <a:pt x="309" y="214"/>
                  </a:cubicBezTo>
                  <a:cubicBezTo>
                    <a:pt x="277" y="214"/>
                    <a:pt x="277" y="214"/>
                    <a:pt x="277" y="214"/>
                  </a:cubicBezTo>
                  <a:cubicBezTo>
                    <a:pt x="277" y="192"/>
                    <a:pt x="277" y="192"/>
                    <a:pt x="277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8"/>
                    <a:pt x="320" y="182"/>
                  </a:cubicBezTo>
                  <a:cubicBezTo>
                    <a:pt x="320" y="176"/>
                    <a:pt x="315" y="171"/>
                    <a:pt x="309" y="171"/>
                  </a:cubicBezTo>
                  <a:cubicBezTo>
                    <a:pt x="277" y="171"/>
                    <a:pt x="277" y="171"/>
                    <a:pt x="277" y="171"/>
                  </a:cubicBezTo>
                  <a:cubicBezTo>
                    <a:pt x="277" y="64"/>
                    <a:pt x="277" y="64"/>
                    <a:pt x="277" y="64"/>
                  </a:cubicBezTo>
                  <a:lnTo>
                    <a:pt x="309" y="64"/>
                  </a:lnTo>
                  <a:close/>
                  <a:moveTo>
                    <a:pt x="256" y="43"/>
                  </a:moveTo>
                  <a:cubicBezTo>
                    <a:pt x="224" y="43"/>
                    <a:pt x="224" y="43"/>
                    <a:pt x="224" y="43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43"/>
                  </a:lnTo>
                  <a:close/>
                  <a:moveTo>
                    <a:pt x="170" y="43"/>
                  </a:moveTo>
                  <a:cubicBezTo>
                    <a:pt x="170" y="22"/>
                    <a:pt x="170" y="22"/>
                    <a:pt x="170" y="22"/>
                  </a:cubicBezTo>
                  <a:cubicBezTo>
                    <a:pt x="202" y="22"/>
                    <a:pt x="202" y="22"/>
                    <a:pt x="202" y="22"/>
                  </a:cubicBezTo>
                  <a:cubicBezTo>
                    <a:pt x="202" y="43"/>
                    <a:pt x="202" y="43"/>
                    <a:pt x="202" y="43"/>
                  </a:cubicBezTo>
                  <a:lnTo>
                    <a:pt x="170" y="43"/>
                  </a:lnTo>
                  <a:close/>
                  <a:moveTo>
                    <a:pt x="117" y="43"/>
                  </a:moveTo>
                  <a:cubicBezTo>
                    <a:pt x="117" y="22"/>
                    <a:pt x="117" y="22"/>
                    <a:pt x="117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9" y="43"/>
                    <a:pt x="149" y="43"/>
                    <a:pt x="149" y="43"/>
                  </a:cubicBezTo>
                  <a:lnTo>
                    <a:pt x="117" y="43"/>
                  </a:lnTo>
                  <a:close/>
                  <a:moveTo>
                    <a:pt x="64" y="22"/>
                  </a:moveTo>
                  <a:cubicBezTo>
                    <a:pt x="96" y="22"/>
                    <a:pt x="96" y="22"/>
                    <a:pt x="96" y="22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64" y="43"/>
                    <a:pt x="64" y="43"/>
                    <a:pt x="64" y="43"/>
                  </a:cubicBezTo>
                  <a:lnTo>
                    <a:pt x="64" y="22"/>
                  </a:lnTo>
                  <a:close/>
                  <a:moveTo>
                    <a:pt x="64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64" y="214"/>
                    <a:pt x="64" y="214"/>
                    <a:pt x="64" y="214"/>
                  </a:cubicBezTo>
                  <a:lnTo>
                    <a:pt x="64" y="192"/>
                  </a:lnTo>
                  <a:close/>
                  <a:moveTo>
                    <a:pt x="149" y="192"/>
                  </a:moveTo>
                  <a:cubicBezTo>
                    <a:pt x="149" y="214"/>
                    <a:pt x="149" y="214"/>
                    <a:pt x="149" y="214"/>
                  </a:cubicBezTo>
                  <a:cubicBezTo>
                    <a:pt x="117" y="214"/>
                    <a:pt x="117" y="214"/>
                    <a:pt x="117" y="214"/>
                  </a:cubicBezTo>
                  <a:cubicBezTo>
                    <a:pt x="117" y="192"/>
                    <a:pt x="117" y="192"/>
                    <a:pt x="117" y="192"/>
                  </a:cubicBezTo>
                  <a:lnTo>
                    <a:pt x="149" y="192"/>
                  </a:lnTo>
                  <a:close/>
                  <a:moveTo>
                    <a:pt x="202" y="192"/>
                  </a:moveTo>
                  <a:cubicBezTo>
                    <a:pt x="202" y="214"/>
                    <a:pt x="202" y="214"/>
                    <a:pt x="202" y="214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170" y="192"/>
                    <a:pt x="170" y="192"/>
                    <a:pt x="170" y="192"/>
                  </a:cubicBezTo>
                  <a:lnTo>
                    <a:pt x="202" y="192"/>
                  </a:lnTo>
                  <a:close/>
                  <a:moveTo>
                    <a:pt x="256" y="214"/>
                  </a:moveTo>
                  <a:cubicBezTo>
                    <a:pt x="224" y="214"/>
                    <a:pt x="224" y="214"/>
                    <a:pt x="224" y="214"/>
                  </a:cubicBezTo>
                  <a:cubicBezTo>
                    <a:pt x="224" y="192"/>
                    <a:pt x="224" y="192"/>
                    <a:pt x="224" y="192"/>
                  </a:cubicBezTo>
                  <a:cubicBezTo>
                    <a:pt x="256" y="192"/>
                    <a:pt x="256" y="192"/>
                    <a:pt x="256" y="192"/>
                  </a:cubicBezTo>
                  <a:lnTo>
                    <a:pt x="256" y="214"/>
                  </a:lnTo>
                  <a:close/>
                  <a:moveTo>
                    <a:pt x="256" y="171"/>
                  </a:moveTo>
                  <a:cubicBezTo>
                    <a:pt x="64" y="171"/>
                    <a:pt x="64" y="171"/>
                    <a:pt x="64" y="171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56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3" name="TextBox 552"/>
          <p:cNvSpPr txBox="1"/>
          <p:nvPr/>
        </p:nvSpPr>
        <p:spPr>
          <a:xfrm>
            <a:off x="488444" y="576794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ovie clip</a:t>
            </a:r>
          </a:p>
        </p:txBody>
      </p:sp>
      <p:sp>
        <p:nvSpPr>
          <p:cNvPr id="554" name="TextBox 553"/>
          <p:cNvSpPr txBox="1"/>
          <p:nvPr/>
        </p:nvSpPr>
        <p:spPr>
          <a:xfrm>
            <a:off x="1474760" y="576794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crochip</a:t>
            </a:r>
          </a:p>
        </p:txBody>
      </p:sp>
      <p:sp>
        <p:nvSpPr>
          <p:cNvPr id="555" name="TextBox 554"/>
          <p:cNvSpPr txBox="1"/>
          <p:nvPr/>
        </p:nvSpPr>
        <p:spPr>
          <a:xfrm>
            <a:off x="4471809" y="576794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crophone 2</a:t>
            </a:r>
          </a:p>
        </p:txBody>
      </p:sp>
      <p:sp>
        <p:nvSpPr>
          <p:cNvPr id="556" name="TextBox 555"/>
          <p:cNvSpPr txBox="1"/>
          <p:nvPr/>
        </p:nvSpPr>
        <p:spPr>
          <a:xfrm>
            <a:off x="5469767" y="576794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crophone 2 off</a:t>
            </a:r>
          </a:p>
        </p:txBody>
      </p:sp>
      <p:sp>
        <p:nvSpPr>
          <p:cNvPr id="557" name="TextBox 556"/>
          <p:cNvSpPr txBox="1"/>
          <p:nvPr/>
        </p:nvSpPr>
        <p:spPr>
          <a:xfrm>
            <a:off x="3473851" y="576794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icrophone 1</a:t>
            </a:r>
          </a:p>
        </p:txBody>
      </p:sp>
      <p:sp>
        <p:nvSpPr>
          <p:cNvPr id="558" name="TextBox 557"/>
          <p:cNvSpPr txBox="1"/>
          <p:nvPr/>
        </p:nvSpPr>
        <p:spPr>
          <a:xfrm>
            <a:off x="6467725" y="57679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D</a:t>
            </a:r>
          </a:p>
        </p:txBody>
      </p:sp>
      <p:sp>
        <p:nvSpPr>
          <p:cNvPr id="559" name="TextBox 558"/>
          <p:cNvSpPr txBox="1"/>
          <p:nvPr/>
        </p:nvSpPr>
        <p:spPr>
          <a:xfrm>
            <a:off x="9461603" y="57679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ype cursor</a:t>
            </a:r>
          </a:p>
        </p:txBody>
      </p:sp>
      <p:sp>
        <p:nvSpPr>
          <p:cNvPr id="560" name="TextBox 559"/>
          <p:cNvSpPr txBox="1"/>
          <p:nvPr/>
        </p:nvSpPr>
        <p:spPr>
          <a:xfrm>
            <a:off x="8463641" y="576794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bject ungroup</a:t>
            </a:r>
          </a:p>
        </p:txBody>
      </p:sp>
      <p:sp>
        <p:nvSpPr>
          <p:cNvPr id="561" name="TextBox 560"/>
          <p:cNvSpPr txBox="1"/>
          <p:nvPr/>
        </p:nvSpPr>
        <p:spPr>
          <a:xfrm>
            <a:off x="7465683" y="576794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bject group</a:t>
            </a:r>
          </a:p>
        </p:txBody>
      </p:sp>
      <p:sp>
        <p:nvSpPr>
          <p:cNvPr id="562" name="TextBox 561"/>
          <p:cNvSpPr txBox="1"/>
          <p:nvPr/>
        </p:nvSpPr>
        <p:spPr>
          <a:xfrm>
            <a:off x="2475893" y="576794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CTV</a:t>
            </a:r>
          </a:p>
        </p:txBody>
      </p:sp>
      <p:sp>
        <p:nvSpPr>
          <p:cNvPr id="563" name="Freeform 831"/>
          <p:cNvSpPr>
            <a:spLocks noChangeAspect="1" noEditPoints="1"/>
          </p:cNvSpPr>
          <p:nvPr/>
        </p:nvSpPr>
        <p:spPr bwMode="auto">
          <a:xfrm>
            <a:off x="1448745" y="5351705"/>
            <a:ext cx="367041" cy="367041"/>
          </a:xfrm>
          <a:custGeom>
            <a:avLst/>
            <a:gdLst>
              <a:gd name="T0" fmla="*/ 213 w 512"/>
              <a:gd name="T1" fmla="*/ 298 h 512"/>
              <a:gd name="T2" fmla="*/ 298 w 512"/>
              <a:gd name="T3" fmla="*/ 213 h 512"/>
              <a:gd name="T4" fmla="*/ 160 w 512"/>
              <a:gd name="T5" fmla="*/ 160 h 512"/>
              <a:gd name="T6" fmla="*/ 352 w 512"/>
              <a:gd name="T7" fmla="*/ 352 h 512"/>
              <a:gd name="T8" fmla="*/ 160 w 512"/>
              <a:gd name="T9" fmla="*/ 160 h 512"/>
              <a:gd name="T10" fmla="*/ 202 w 512"/>
              <a:gd name="T11" fmla="*/ 320 h 512"/>
              <a:gd name="T12" fmla="*/ 320 w 512"/>
              <a:gd name="T13" fmla="*/ 309 h 512"/>
              <a:gd name="T14" fmla="*/ 309 w 512"/>
              <a:gd name="T15" fmla="*/ 192 h 512"/>
              <a:gd name="T16" fmla="*/ 192 w 512"/>
              <a:gd name="T17" fmla="*/ 202 h 512"/>
              <a:gd name="T18" fmla="*/ 512 w 512"/>
              <a:gd name="T19" fmla="*/ 256 h 512"/>
              <a:gd name="T20" fmla="*/ 0 w 512"/>
              <a:gd name="T21" fmla="*/ 256 h 512"/>
              <a:gd name="T22" fmla="*/ 512 w 512"/>
              <a:gd name="T23" fmla="*/ 256 h 512"/>
              <a:gd name="T24" fmla="*/ 373 w 512"/>
              <a:gd name="T25" fmla="*/ 224 h 512"/>
              <a:gd name="T26" fmla="*/ 416 w 512"/>
              <a:gd name="T27" fmla="*/ 213 h 512"/>
              <a:gd name="T28" fmla="*/ 373 w 512"/>
              <a:gd name="T29" fmla="*/ 202 h 512"/>
              <a:gd name="T30" fmla="*/ 362 w 512"/>
              <a:gd name="T31" fmla="*/ 138 h 512"/>
              <a:gd name="T32" fmla="*/ 309 w 512"/>
              <a:gd name="T33" fmla="*/ 106 h 512"/>
              <a:gd name="T34" fmla="*/ 288 w 512"/>
              <a:gd name="T35" fmla="*/ 106 h 512"/>
              <a:gd name="T36" fmla="*/ 266 w 512"/>
              <a:gd name="T37" fmla="*/ 138 h 512"/>
              <a:gd name="T38" fmla="*/ 256 w 512"/>
              <a:gd name="T39" fmla="*/ 96 h 512"/>
              <a:gd name="T40" fmla="*/ 245 w 512"/>
              <a:gd name="T41" fmla="*/ 138 h 512"/>
              <a:gd name="T42" fmla="*/ 224 w 512"/>
              <a:gd name="T43" fmla="*/ 106 h 512"/>
              <a:gd name="T44" fmla="*/ 202 w 512"/>
              <a:gd name="T45" fmla="*/ 106 h 512"/>
              <a:gd name="T46" fmla="*/ 149 w 512"/>
              <a:gd name="T47" fmla="*/ 138 h 512"/>
              <a:gd name="T48" fmla="*/ 138 w 512"/>
              <a:gd name="T49" fmla="*/ 202 h 512"/>
              <a:gd name="T50" fmla="*/ 96 w 512"/>
              <a:gd name="T51" fmla="*/ 213 h 512"/>
              <a:gd name="T52" fmla="*/ 138 w 512"/>
              <a:gd name="T53" fmla="*/ 224 h 512"/>
              <a:gd name="T54" fmla="*/ 106 w 512"/>
              <a:gd name="T55" fmla="*/ 245 h 512"/>
              <a:gd name="T56" fmla="*/ 106 w 512"/>
              <a:gd name="T57" fmla="*/ 266 h 512"/>
              <a:gd name="T58" fmla="*/ 138 w 512"/>
              <a:gd name="T59" fmla="*/ 288 h 512"/>
              <a:gd name="T60" fmla="*/ 96 w 512"/>
              <a:gd name="T61" fmla="*/ 298 h 512"/>
              <a:gd name="T62" fmla="*/ 138 w 512"/>
              <a:gd name="T63" fmla="*/ 309 h 512"/>
              <a:gd name="T64" fmla="*/ 149 w 512"/>
              <a:gd name="T65" fmla="*/ 373 h 512"/>
              <a:gd name="T66" fmla="*/ 202 w 512"/>
              <a:gd name="T67" fmla="*/ 405 h 512"/>
              <a:gd name="T68" fmla="*/ 224 w 512"/>
              <a:gd name="T69" fmla="*/ 405 h 512"/>
              <a:gd name="T70" fmla="*/ 245 w 512"/>
              <a:gd name="T71" fmla="*/ 373 h 512"/>
              <a:gd name="T72" fmla="*/ 256 w 512"/>
              <a:gd name="T73" fmla="*/ 416 h 512"/>
              <a:gd name="T74" fmla="*/ 266 w 512"/>
              <a:gd name="T75" fmla="*/ 373 h 512"/>
              <a:gd name="T76" fmla="*/ 288 w 512"/>
              <a:gd name="T77" fmla="*/ 405 h 512"/>
              <a:gd name="T78" fmla="*/ 309 w 512"/>
              <a:gd name="T79" fmla="*/ 405 h 512"/>
              <a:gd name="T80" fmla="*/ 362 w 512"/>
              <a:gd name="T81" fmla="*/ 373 h 512"/>
              <a:gd name="T82" fmla="*/ 373 w 512"/>
              <a:gd name="T83" fmla="*/ 309 h 512"/>
              <a:gd name="T84" fmla="*/ 416 w 512"/>
              <a:gd name="T85" fmla="*/ 298 h 512"/>
              <a:gd name="T86" fmla="*/ 373 w 512"/>
              <a:gd name="T87" fmla="*/ 288 h 512"/>
              <a:gd name="T88" fmla="*/ 405 w 512"/>
              <a:gd name="T89" fmla="*/ 266 h 512"/>
              <a:gd name="T90" fmla="*/ 405 w 512"/>
              <a:gd name="T91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213" y="298"/>
                  <a:pt x="213" y="298"/>
                  <a:pt x="213" y="298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98" y="213"/>
                  <a:pt x="298" y="213"/>
                  <a:pt x="298" y="213"/>
                </a:cubicBezTo>
                <a:lnTo>
                  <a:pt x="298" y="298"/>
                </a:lnTo>
                <a:close/>
                <a:moveTo>
                  <a:pt x="160" y="160"/>
                </a:moveTo>
                <a:cubicBezTo>
                  <a:pt x="352" y="160"/>
                  <a:pt x="352" y="160"/>
                  <a:pt x="352" y="160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160" y="352"/>
                  <a:pt x="160" y="352"/>
                  <a:pt x="160" y="352"/>
                </a:cubicBezTo>
                <a:lnTo>
                  <a:pt x="160" y="160"/>
                </a:lnTo>
                <a:close/>
                <a:moveTo>
                  <a:pt x="192" y="309"/>
                </a:moveTo>
                <a:cubicBezTo>
                  <a:pt x="192" y="315"/>
                  <a:pt x="196" y="320"/>
                  <a:pt x="202" y="320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15" y="320"/>
                  <a:pt x="320" y="315"/>
                  <a:pt x="320" y="309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20" y="196"/>
                  <a:pt x="315" y="192"/>
                  <a:pt x="309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196" y="192"/>
                  <a:pt x="192" y="196"/>
                  <a:pt x="192" y="202"/>
                </a:cubicBezTo>
                <a:lnTo>
                  <a:pt x="192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45"/>
                </a:moveTo>
                <a:cubicBezTo>
                  <a:pt x="373" y="224"/>
                  <a:pt x="373" y="224"/>
                  <a:pt x="373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19"/>
                  <a:pt x="416" y="213"/>
                </a:cubicBezTo>
                <a:cubicBezTo>
                  <a:pt x="416" y="207"/>
                  <a:pt x="411" y="202"/>
                  <a:pt x="405" y="202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149"/>
                  <a:pt x="373" y="149"/>
                  <a:pt x="373" y="149"/>
                </a:cubicBezTo>
                <a:cubicBezTo>
                  <a:pt x="373" y="143"/>
                  <a:pt x="368" y="138"/>
                  <a:pt x="362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92" y="96"/>
                  <a:pt x="288" y="100"/>
                  <a:pt x="288" y="106"/>
                </a:cubicBezTo>
                <a:cubicBezTo>
                  <a:pt x="288" y="138"/>
                  <a:pt x="288" y="138"/>
                  <a:pt x="288" y="138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06"/>
                  <a:pt x="224" y="106"/>
                  <a:pt x="224" y="106"/>
                </a:cubicBezTo>
                <a:cubicBezTo>
                  <a:pt x="224" y="100"/>
                  <a:pt x="219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207"/>
                  <a:pt x="96" y="213"/>
                </a:cubicBezTo>
                <a:cubicBezTo>
                  <a:pt x="96" y="219"/>
                  <a:pt x="100" y="224"/>
                  <a:pt x="106" y="224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38" y="245"/>
                  <a:pt x="138" y="245"/>
                  <a:pt x="13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38" y="288"/>
                  <a:pt x="138" y="288"/>
                  <a:pt x="138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92"/>
                  <a:pt x="96" y="298"/>
                </a:cubicBezTo>
                <a:cubicBezTo>
                  <a:pt x="96" y="304"/>
                  <a:pt x="100" y="309"/>
                  <a:pt x="106" y="309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68"/>
                  <a:pt x="143" y="373"/>
                  <a:pt x="149" y="373"/>
                </a:cubicBezTo>
                <a:cubicBezTo>
                  <a:pt x="202" y="373"/>
                  <a:pt x="202" y="373"/>
                  <a:pt x="202" y="373"/>
                </a:cubicBezTo>
                <a:cubicBezTo>
                  <a:pt x="202" y="405"/>
                  <a:pt x="202" y="405"/>
                  <a:pt x="202" y="405"/>
                </a:cubicBezTo>
                <a:cubicBezTo>
                  <a:pt x="202" y="411"/>
                  <a:pt x="207" y="416"/>
                  <a:pt x="213" y="416"/>
                </a:cubicBezTo>
                <a:cubicBezTo>
                  <a:pt x="219" y="416"/>
                  <a:pt x="224" y="411"/>
                  <a:pt x="224" y="405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88" y="411"/>
                  <a:pt x="292" y="416"/>
                  <a:pt x="298" y="416"/>
                </a:cubicBezTo>
                <a:cubicBezTo>
                  <a:pt x="304" y="416"/>
                  <a:pt x="309" y="411"/>
                  <a:pt x="309" y="405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8" y="373"/>
                  <a:pt x="373" y="368"/>
                  <a:pt x="373" y="362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405" y="309"/>
                  <a:pt x="405" y="309"/>
                  <a:pt x="405" y="309"/>
                </a:cubicBezTo>
                <a:cubicBezTo>
                  <a:pt x="411" y="309"/>
                  <a:pt x="416" y="304"/>
                  <a:pt x="416" y="298"/>
                </a:cubicBezTo>
                <a:cubicBezTo>
                  <a:pt x="416" y="292"/>
                  <a:pt x="411" y="288"/>
                  <a:pt x="405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cubicBezTo>
                  <a:pt x="416" y="250"/>
                  <a:pt x="411" y="245"/>
                  <a:pt x="405" y="245"/>
                </a:cubicBezTo>
                <a:lnTo>
                  <a:pt x="373" y="24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64" name="Group 834"/>
          <p:cNvGrpSpPr>
            <a:grpSpLocks noChangeAspect="1"/>
          </p:cNvGrpSpPr>
          <p:nvPr/>
        </p:nvGrpSpPr>
        <p:grpSpPr bwMode="auto">
          <a:xfrm>
            <a:off x="1945863" y="5351705"/>
            <a:ext cx="367041" cy="367041"/>
            <a:chOff x="5977" y="3324"/>
            <a:chExt cx="340" cy="340"/>
          </a:xfrm>
          <a:solidFill>
            <a:schemeClr val="accent3"/>
          </a:solidFill>
        </p:grpSpPr>
        <p:sp>
          <p:nvSpPr>
            <p:cNvPr id="565" name="Freeform 835"/>
            <p:cNvSpPr>
              <a:spLocks noEditPoints="1"/>
            </p:cNvSpPr>
            <p:nvPr/>
          </p:nvSpPr>
          <p:spPr bwMode="auto">
            <a:xfrm>
              <a:off x="6041" y="3388"/>
              <a:ext cx="212" cy="212"/>
            </a:xfrm>
            <a:custGeom>
              <a:avLst/>
              <a:gdLst>
                <a:gd name="T0" fmla="*/ 320 w 320"/>
                <a:gd name="T1" fmla="*/ 160 h 320"/>
                <a:gd name="T2" fmla="*/ 277 w 320"/>
                <a:gd name="T3" fmla="*/ 149 h 320"/>
                <a:gd name="T4" fmla="*/ 309 w 320"/>
                <a:gd name="T5" fmla="*/ 128 h 320"/>
                <a:gd name="T6" fmla="*/ 309 w 320"/>
                <a:gd name="T7" fmla="*/ 106 h 320"/>
                <a:gd name="T8" fmla="*/ 277 w 320"/>
                <a:gd name="T9" fmla="*/ 53 h 320"/>
                <a:gd name="T10" fmla="*/ 213 w 320"/>
                <a:gd name="T11" fmla="*/ 42 h 320"/>
                <a:gd name="T12" fmla="*/ 202 w 320"/>
                <a:gd name="T13" fmla="*/ 0 h 320"/>
                <a:gd name="T14" fmla="*/ 192 w 320"/>
                <a:gd name="T15" fmla="*/ 42 h 320"/>
                <a:gd name="T16" fmla="*/ 170 w 320"/>
                <a:gd name="T17" fmla="*/ 10 h 320"/>
                <a:gd name="T18" fmla="*/ 149 w 320"/>
                <a:gd name="T19" fmla="*/ 10 h 320"/>
                <a:gd name="T20" fmla="*/ 128 w 320"/>
                <a:gd name="T21" fmla="*/ 42 h 320"/>
                <a:gd name="T22" fmla="*/ 117 w 320"/>
                <a:gd name="T23" fmla="*/ 0 h 320"/>
                <a:gd name="T24" fmla="*/ 106 w 320"/>
                <a:gd name="T25" fmla="*/ 42 h 320"/>
                <a:gd name="T26" fmla="*/ 42 w 320"/>
                <a:gd name="T27" fmla="*/ 53 h 320"/>
                <a:gd name="T28" fmla="*/ 10 w 320"/>
                <a:gd name="T29" fmla="*/ 106 h 320"/>
                <a:gd name="T30" fmla="*/ 10 w 320"/>
                <a:gd name="T31" fmla="*/ 128 h 320"/>
                <a:gd name="T32" fmla="*/ 42 w 320"/>
                <a:gd name="T33" fmla="*/ 149 h 320"/>
                <a:gd name="T34" fmla="*/ 0 w 320"/>
                <a:gd name="T35" fmla="*/ 160 h 320"/>
                <a:gd name="T36" fmla="*/ 42 w 320"/>
                <a:gd name="T37" fmla="*/ 170 h 320"/>
                <a:gd name="T38" fmla="*/ 10 w 320"/>
                <a:gd name="T39" fmla="*/ 192 h 320"/>
                <a:gd name="T40" fmla="*/ 10 w 320"/>
                <a:gd name="T41" fmla="*/ 213 h 320"/>
                <a:gd name="T42" fmla="*/ 42 w 320"/>
                <a:gd name="T43" fmla="*/ 266 h 320"/>
                <a:gd name="T44" fmla="*/ 106 w 320"/>
                <a:gd name="T45" fmla="*/ 277 h 320"/>
                <a:gd name="T46" fmla="*/ 117 w 320"/>
                <a:gd name="T47" fmla="*/ 320 h 320"/>
                <a:gd name="T48" fmla="*/ 128 w 320"/>
                <a:gd name="T49" fmla="*/ 277 h 320"/>
                <a:gd name="T50" fmla="*/ 149 w 320"/>
                <a:gd name="T51" fmla="*/ 309 h 320"/>
                <a:gd name="T52" fmla="*/ 170 w 320"/>
                <a:gd name="T53" fmla="*/ 309 h 320"/>
                <a:gd name="T54" fmla="*/ 192 w 320"/>
                <a:gd name="T55" fmla="*/ 277 h 320"/>
                <a:gd name="T56" fmla="*/ 202 w 320"/>
                <a:gd name="T57" fmla="*/ 320 h 320"/>
                <a:gd name="T58" fmla="*/ 213 w 320"/>
                <a:gd name="T59" fmla="*/ 277 h 320"/>
                <a:gd name="T60" fmla="*/ 277 w 320"/>
                <a:gd name="T61" fmla="*/ 266 h 320"/>
                <a:gd name="T62" fmla="*/ 309 w 320"/>
                <a:gd name="T63" fmla="*/ 213 h 320"/>
                <a:gd name="T64" fmla="*/ 309 w 320"/>
                <a:gd name="T65" fmla="*/ 192 h 320"/>
                <a:gd name="T66" fmla="*/ 277 w 320"/>
                <a:gd name="T67" fmla="*/ 170 h 320"/>
                <a:gd name="T68" fmla="*/ 256 w 320"/>
                <a:gd name="T69" fmla="*/ 256 h 320"/>
                <a:gd name="T70" fmla="*/ 64 w 320"/>
                <a:gd name="T71" fmla="*/ 64 h 320"/>
                <a:gd name="T72" fmla="*/ 256 w 320"/>
                <a:gd name="T7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0" h="320">
                  <a:moveTo>
                    <a:pt x="309" y="170"/>
                  </a:move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111"/>
                    <a:pt x="315" y="106"/>
                    <a:pt x="309" y="106"/>
                  </a:cubicBezTo>
                  <a:cubicBezTo>
                    <a:pt x="277" y="106"/>
                    <a:pt x="277" y="106"/>
                    <a:pt x="277" y="106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47"/>
                    <a:pt x="272" y="42"/>
                    <a:pt x="266" y="42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8" y="0"/>
                    <a:pt x="202" y="0"/>
                  </a:cubicBezTo>
                  <a:cubicBezTo>
                    <a:pt x="196" y="0"/>
                    <a:pt x="192" y="4"/>
                    <a:pt x="192" y="10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ubicBezTo>
                    <a:pt x="111" y="0"/>
                    <a:pt x="106" y="4"/>
                    <a:pt x="106" y="1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47" y="42"/>
                    <a:pt x="42" y="47"/>
                    <a:pt x="42" y="53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4" y="106"/>
                    <a:pt x="0" y="111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42" y="170"/>
                    <a:pt x="42" y="170"/>
                    <a:pt x="42" y="170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10" y="192"/>
                    <a:pt x="10" y="192"/>
                    <a:pt x="10" y="192"/>
                  </a:cubicBezTo>
                  <a:cubicBezTo>
                    <a:pt x="4" y="192"/>
                    <a:pt x="0" y="196"/>
                    <a:pt x="0" y="202"/>
                  </a:cubicBezTo>
                  <a:cubicBezTo>
                    <a:pt x="0" y="208"/>
                    <a:pt x="4" y="213"/>
                    <a:pt x="10" y="213"/>
                  </a:cubicBezTo>
                  <a:cubicBezTo>
                    <a:pt x="42" y="213"/>
                    <a:pt x="42" y="213"/>
                    <a:pt x="42" y="213"/>
                  </a:cubicBezTo>
                  <a:cubicBezTo>
                    <a:pt x="42" y="266"/>
                    <a:pt x="42" y="266"/>
                    <a:pt x="42" y="266"/>
                  </a:cubicBezTo>
                  <a:cubicBezTo>
                    <a:pt x="42" y="272"/>
                    <a:pt x="47" y="277"/>
                    <a:pt x="53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6" y="315"/>
                    <a:pt x="111" y="320"/>
                    <a:pt x="117" y="320"/>
                  </a:cubicBezTo>
                  <a:cubicBezTo>
                    <a:pt x="123" y="320"/>
                    <a:pt x="128" y="315"/>
                    <a:pt x="128" y="309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77"/>
                    <a:pt x="170" y="277"/>
                    <a:pt x="17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2" y="315"/>
                    <a:pt x="196" y="320"/>
                    <a:pt x="202" y="320"/>
                  </a:cubicBezTo>
                  <a:cubicBezTo>
                    <a:pt x="208" y="320"/>
                    <a:pt x="213" y="315"/>
                    <a:pt x="213" y="309"/>
                  </a:cubicBezTo>
                  <a:cubicBezTo>
                    <a:pt x="213" y="277"/>
                    <a:pt x="213" y="277"/>
                    <a:pt x="213" y="277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72" y="277"/>
                    <a:pt x="277" y="272"/>
                    <a:pt x="277" y="266"/>
                  </a:cubicBezTo>
                  <a:cubicBezTo>
                    <a:pt x="277" y="213"/>
                    <a:pt x="277" y="213"/>
                    <a:pt x="277" y="213"/>
                  </a:cubicBezTo>
                  <a:cubicBezTo>
                    <a:pt x="309" y="213"/>
                    <a:pt x="309" y="213"/>
                    <a:pt x="309" y="213"/>
                  </a:cubicBezTo>
                  <a:cubicBezTo>
                    <a:pt x="315" y="213"/>
                    <a:pt x="320" y="208"/>
                    <a:pt x="320" y="202"/>
                  </a:cubicBezTo>
                  <a:cubicBezTo>
                    <a:pt x="320" y="196"/>
                    <a:pt x="315" y="192"/>
                    <a:pt x="309" y="192"/>
                  </a:cubicBezTo>
                  <a:cubicBezTo>
                    <a:pt x="277" y="192"/>
                    <a:pt x="277" y="192"/>
                    <a:pt x="277" y="192"/>
                  </a:cubicBezTo>
                  <a:cubicBezTo>
                    <a:pt x="277" y="170"/>
                    <a:pt x="277" y="170"/>
                    <a:pt x="277" y="170"/>
                  </a:cubicBezTo>
                  <a:lnTo>
                    <a:pt x="309" y="170"/>
                  </a:lnTo>
                  <a:close/>
                  <a:moveTo>
                    <a:pt x="256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56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6" name="Freeform 836"/>
            <p:cNvSpPr>
              <a:spLocks noEditPoints="1"/>
            </p:cNvSpPr>
            <p:nvPr/>
          </p:nvSpPr>
          <p:spPr bwMode="auto">
            <a:xfrm>
              <a:off x="6104" y="3451"/>
              <a:ext cx="85" cy="85"/>
            </a:xfrm>
            <a:custGeom>
              <a:avLst/>
              <a:gdLst>
                <a:gd name="T0" fmla="*/ 117 w 128"/>
                <a:gd name="T1" fmla="*/ 0 h 128"/>
                <a:gd name="T2" fmla="*/ 10 w 128"/>
                <a:gd name="T3" fmla="*/ 0 h 128"/>
                <a:gd name="T4" fmla="*/ 0 w 128"/>
                <a:gd name="T5" fmla="*/ 10 h 128"/>
                <a:gd name="T6" fmla="*/ 0 w 128"/>
                <a:gd name="T7" fmla="*/ 117 h 128"/>
                <a:gd name="T8" fmla="*/ 10 w 128"/>
                <a:gd name="T9" fmla="*/ 128 h 128"/>
                <a:gd name="T10" fmla="*/ 117 w 128"/>
                <a:gd name="T11" fmla="*/ 128 h 128"/>
                <a:gd name="T12" fmla="*/ 128 w 128"/>
                <a:gd name="T13" fmla="*/ 117 h 128"/>
                <a:gd name="T14" fmla="*/ 128 w 128"/>
                <a:gd name="T15" fmla="*/ 10 h 128"/>
                <a:gd name="T16" fmla="*/ 117 w 128"/>
                <a:gd name="T17" fmla="*/ 0 h 128"/>
                <a:gd name="T18" fmla="*/ 106 w 128"/>
                <a:gd name="T19" fmla="*/ 106 h 128"/>
                <a:gd name="T20" fmla="*/ 21 w 128"/>
                <a:gd name="T21" fmla="*/ 106 h 128"/>
                <a:gd name="T22" fmla="*/ 21 w 128"/>
                <a:gd name="T23" fmla="*/ 21 h 128"/>
                <a:gd name="T24" fmla="*/ 106 w 128"/>
                <a:gd name="T25" fmla="*/ 21 h 128"/>
                <a:gd name="T26" fmla="*/ 106 w 128"/>
                <a:gd name="T27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28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23" y="128"/>
                    <a:pt x="128" y="123"/>
                    <a:pt x="128" y="117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  <a:moveTo>
                    <a:pt x="106" y="106"/>
                  </a:moveTo>
                  <a:cubicBezTo>
                    <a:pt x="21" y="106"/>
                    <a:pt x="21" y="106"/>
                    <a:pt x="21" y="10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06" y="21"/>
                    <a:pt x="106" y="21"/>
                    <a:pt x="106" y="21"/>
                  </a:cubicBezTo>
                  <a:lnTo>
                    <a:pt x="106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7" name="Freeform 837"/>
            <p:cNvSpPr>
              <a:spLocks noEditPoints="1"/>
            </p:cNvSpPr>
            <p:nvPr/>
          </p:nvSpPr>
          <p:spPr bwMode="auto">
            <a:xfrm>
              <a:off x="5977" y="332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68" name="Freeform 869"/>
          <p:cNvSpPr>
            <a:spLocks noChangeAspect="1" noEditPoints="1"/>
          </p:cNvSpPr>
          <p:nvPr/>
        </p:nvSpPr>
        <p:spPr bwMode="auto">
          <a:xfrm>
            <a:off x="2442981" y="5351701"/>
            <a:ext cx="369064" cy="367982"/>
          </a:xfrm>
          <a:custGeom>
            <a:avLst/>
            <a:gdLst>
              <a:gd name="T0" fmla="*/ 277 w 512"/>
              <a:gd name="T1" fmla="*/ 131 h 512"/>
              <a:gd name="T2" fmla="*/ 125 w 512"/>
              <a:gd name="T3" fmla="*/ 274 h 512"/>
              <a:gd name="T4" fmla="*/ 190 w 512"/>
              <a:gd name="T5" fmla="*/ 307 h 512"/>
              <a:gd name="T6" fmla="*/ 325 w 512"/>
              <a:gd name="T7" fmla="*/ 171 h 512"/>
              <a:gd name="T8" fmla="*/ 277 w 512"/>
              <a:gd name="T9" fmla="*/ 131 h 512"/>
              <a:gd name="T10" fmla="*/ 277 w 512"/>
              <a:gd name="T11" fmla="*/ 181 h 512"/>
              <a:gd name="T12" fmla="*/ 266 w 512"/>
              <a:gd name="T13" fmla="*/ 170 h 512"/>
              <a:gd name="T14" fmla="*/ 277 w 512"/>
              <a:gd name="T15" fmla="*/ 160 h 512"/>
              <a:gd name="T16" fmla="*/ 288 w 512"/>
              <a:gd name="T17" fmla="*/ 170 h 512"/>
              <a:gd name="T18" fmla="*/ 277 w 512"/>
              <a:gd name="T19" fmla="*/ 181 h 512"/>
              <a:gd name="T20" fmla="*/ 256 w 512"/>
              <a:gd name="T21" fmla="*/ 0 h 512"/>
              <a:gd name="T22" fmla="*/ 0 w 512"/>
              <a:gd name="T23" fmla="*/ 256 h 512"/>
              <a:gd name="T24" fmla="*/ 256 w 512"/>
              <a:gd name="T25" fmla="*/ 512 h 512"/>
              <a:gd name="T26" fmla="*/ 512 w 512"/>
              <a:gd name="T27" fmla="*/ 256 h 512"/>
              <a:gd name="T28" fmla="*/ 256 w 512"/>
              <a:gd name="T29" fmla="*/ 0 h 512"/>
              <a:gd name="T30" fmla="*/ 416 w 512"/>
              <a:gd name="T31" fmla="*/ 362 h 512"/>
              <a:gd name="T32" fmla="*/ 405 w 512"/>
              <a:gd name="T33" fmla="*/ 373 h 512"/>
              <a:gd name="T34" fmla="*/ 394 w 512"/>
              <a:gd name="T35" fmla="*/ 362 h 512"/>
              <a:gd name="T36" fmla="*/ 394 w 512"/>
              <a:gd name="T37" fmla="*/ 320 h 512"/>
              <a:gd name="T38" fmla="*/ 288 w 512"/>
              <a:gd name="T39" fmla="*/ 320 h 512"/>
              <a:gd name="T40" fmla="*/ 277 w 512"/>
              <a:gd name="T41" fmla="*/ 309 h 512"/>
              <a:gd name="T42" fmla="*/ 277 w 512"/>
              <a:gd name="T43" fmla="*/ 249 h 512"/>
              <a:gd name="T44" fmla="*/ 199 w 512"/>
              <a:gd name="T45" fmla="*/ 327 h 512"/>
              <a:gd name="T46" fmla="*/ 192 w 512"/>
              <a:gd name="T47" fmla="*/ 330 h 512"/>
              <a:gd name="T48" fmla="*/ 187 w 512"/>
              <a:gd name="T49" fmla="*/ 329 h 512"/>
              <a:gd name="T50" fmla="*/ 102 w 512"/>
              <a:gd name="T51" fmla="*/ 287 h 512"/>
              <a:gd name="T52" fmla="*/ 96 w 512"/>
              <a:gd name="T53" fmla="*/ 279 h 512"/>
              <a:gd name="T54" fmla="*/ 99 w 512"/>
              <a:gd name="T55" fmla="*/ 269 h 512"/>
              <a:gd name="T56" fmla="*/ 270 w 512"/>
              <a:gd name="T57" fmla="*/ 109 h 512"/>
              <a:gd name="T58" fmla="*/ 284 w 512"/>
              <a:gd name="T59" fmla="*/ 109 h 512"/>
              <a:gd name="T60" fmla="*/ 348 w 512"/>
              <a:gd name="T61" fmla="*/ 162 h 512"/>
              <a:gd name="T62" fmla="*/ 352 w 512"/>
              <a:gd name="T63" fmla="*/ 170 h 512"/>
              <a:gd name="T64" fmla="*/ 349 w 512"/>
              <a:gd name="T65" fmla="*/ 178 h 512"/>
              <a:gd name="T66" fmla="*/ 298 w 512"/>
              <a:gd name="T67" fmla="*/ 228 h 512"/>
              <a:gd name="T68" fmla="*/ 298 w 512"/>
              <a:gd name="T69" fmla="*/ 298 h 512"/>
              <a:gd name="T70" fmla="*/ 394 w 512"/>
              <a:gd name="T71" fmla="*/ 298 h 512"/>
              <a:gd name="T72" fmla="*/ 394 w 512"/>
              <a:gd name="T73" fmla="*/ 256 h 512"/>
              <a:gd name="T74" fmla="*/ 405 w 512"/>
              <a:gd name="T75" fmla="*/ 245 h 512"/>
              <a:gd name="T76" fmla="*/ 416 w 512"/>
              <a:gd name="T77" fmla="*/ 256 h 512"/>
              <a:gd name="T78" fmla="*/ 416 w 512"/>
              <a:gd name="T79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77" y="131"/>
                </a:moveTo>
                <a:cubicBezTo>
                  <a:pt x="125" y="274"/>
                  <a:pt x="125" y="274"/>
                  <a:pt x="125" y="274"/>
                </a:cubicBezTo>
                <a:cubicBezTo>
                  <a:pt x="190" y="307"/>
                  <a:pt x="190" y="307"/>
                  <a:pt x="190" y="307"/>
                </a:cubicBezTo>
                <a:cubicBezTo>
                  <a:pt x="325" y="171"/>
                  <a:pt x="325" y="171"/>
                  <a:pt x="325" y="171"/>
                </a:cubicBezTo>
                <a:lnTo>
                  <a:pt x="277" y="131"/>
                </a:lnTo>
                <a:close/>
                <a:moveTo>
                  <a:pt x="277" y="181"/>
                </a:moveTo>
                <a:cubicBezTo>
                  <a:pt x="271" y="181"/>
                  <a:pt x="266" y="176"/>
                  <a:pt x="266" y="170"/>
                </a:cubicBezTo>
                <a:cubicBezTo>
                  <a:pt x="266" y="164"/>
                  <a:pt x="271" y="160"/>
                  <a:pt x="277" y="160"/>
                </a:cubicBezTo>
                <a:cubicBezTo>
                  <a:pt x="283" y="160"/>
                  <a:pt x="288" y="164"/>
                  <a:pt x="288" y="170"/>
                </a:cubicBezTo>
                <a:cubicBezTo>
                  <a:pt x="288" y="176"/>
                  <a:pt x="283" y="181"/>
                  <a:pt x="277" y="181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399" y="373"/>
                  <a:pt x="394" y="368"/>
                  <a:pt x="394" y="362"/>
                </a:cubicBezTo>
                <a:cubicBezTo>
                  <a:pt x="394" y="320"/>
                  <a:pt x="394" y="320"/>
                  <a:pt x="394" y="320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2" y="320"/>
                  <a:pt x="277" y="315"/>
                  <a:pt x="277" y="309"/>
                </a:cubicBezTo>
                <a:cubicBezTo>
                  <a:pt x="277" y="249"/>
                  <a:pt x="277" y="249"/>
                  <a:pt x="277" y="249"/>
                </a:cubicBezTo>
                <a:cubicBezTo>
                  <a:pt x="199" y="327"/>
                  <a:pt x="199" y="327"/>
                  <a:pt x="199" y="327"/>
                </a:cubicBezTo>
                <a:cubicBezTo>
                  <a:pt x="197" y="329"/>
                  <a:pt x="194" y="330"/>
                  <a:pt x="192" y="330"/>
                </a:cubicBezTo>
                <a:cubicBezTo>
                  <a:pt x="190" y="330"/>
                  <a:pt x="188" y="330"/>
                  <a:pt x="187" y="329"/>
                </a:cubicBezTo>
                <a:cubicBezTo>
                  <a:pt x="102" y="287"/>
                  <a:pt x="102" y="287"/>
                  <a:pt x="102" y="287"/>
                </a:cubicBezTo>
                <a:cubicBezTo>
                  <a:pt x="98" y="285"/>
                  <a:pt x="96" y="282"/>
                  <a:pt x="96" y="279"/>
                </a:cubicBezTo>
                <a:cubicBezTo>
                  <a:pt x="95" y="275"/>
                  <a:pt x="96" y="272"/>
                  <a:pt x="99" y="269"/>
                </a:cubicBezTo>
                <a:cubicBezTo>
                  <a:pt x="270" y="109"/>
                  <a:pt x="270" y="109"/>
                  <a:pt x="270" y="109"/>
                </a:cubicBezTo>
                <a:cubicBezTo>
                  <a:pt x="274" y="106"/>
                  <a:pt x="280" y="105"/>
                  <a:pt x="284" y="109"/>
                </a:cubicBezTo>
                <a:cubicBezTo>
                  <a:pt x="348" y="162"/>
                  <a:pt x="348" y="162"/>
                  <a:pt x="348" y="162"/>
                </a:cubicBezTo>
                <a:cubicBezTo>
                  <a:pt x="350" y="164"/>
                  <a:pt x="352" y="167"/>
                  <a:pt x="352" y="170"/>
                </a:cubicBezTo>
                <a:cubicBezTo>
                  <a:pt x="352" y="173"/>
                  <a:pt x="351" y="176"/>
                  <a:pt x="349" y="178"/>
                </a:cubicBezTo>
                <a:cubicBezTo>
                  <a:pt x="298" y="228"/>
                  <a:pt x="298" y="228"/>
                  <a:pt x="298" y="228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56"/>
                  <a:pt x="394" y="256"/>
                  <a:pt x="394" y="256"/>
                </a:cubicBezTo>
                <a:cubicBezTo>
                  <a:pt x="394" y="250"/>
                  <a:pt x="399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lnTo>
                  <a:pt x="416" y="36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69" name="Group 872"/>
          <p:cNvGrpSpPr>
            <a:grpSpLocks noChangeAspect="1"/>
          </p:cNvGrpSpPr>
          <p:nvPr/>
        </p:nvGrpSpPr>
        <p:grpSpPr bwMode="auto">
          <a:xfrm>
            <a:off x="2942122" y="5351701"/>
            <a:ext cx="367982" cy="367982"/>
            <a:chOff x="4335" y="3710"/>
            <a:chExt cx="340" cy="340"/>
          </a:xfrm>
          <a:solidFill>
            <a:schemeClr val="accent4"/>
          </a:solidFill>
        </p:grpSpPr>
        <p:sp>
          <p:nvSpPr>
            <p:cNvPr id="570" name="Freeform 873"/>
            <p:cNvSpPr>
              <a:spLocks noEditPoints="1"/>
            </p:cNvSpPr>
            <p:nvPr/>
          </p:nvSpPr>
          <p:spPr bwMode="auto">
            <a:xfrm>
              <a:off x="4398" y="3780"/>
              <a:ext cx="213" cy="178"/>
            </a:xfrm>
            <a:custGeom>
              <a:avLst/>
              <a:gdLst>
                <a:gd name="T0" fmla="*/ 310 w 321"/>
                <a:gd name="T1" fmla="*/ 140 h 268"/>
                <a:gd name="T2" fmla="*/ 299 w 321"/>
                <a:gd name="T3" fmla="*/ 151 h 268"/>
                <a:gd name="T4" fmla="*/ 299 w 321"/>
                <a:gd name="T5" fmla="*/ 193 h 268"/>
                <a:gd name="T6" fmla="*/ 203 w 321"/>
                <a:gd name="T7" fmla="*/ 193 h 268"/>
                <a:gd name="T8" fmla="*/ 203 w 321"/>
                <a:gd name="T9" fmla="*/ 123 h 268"/>
                <a:gd name="T10" fmla="*/ 254 w 321"/>
                <a:gd name="T11" fmla="*/ 73 h 268"/>
                <a:gd name="T12" fmla="*/ 257 w 321"/>
                <a:gd name="T13" fmla="*/ 65 h 268"/>
                <a:gd name="T14" fmla="*/ 253 w 321"/>
                <a:gd name="T15" fmla="*/ 57 h 268"/>
                <a:gd name="T16" fmla="*/ 189 w 321"/>
                <a:gd name="T17" fmla="*/ 4 h 268"/>
                <a:gd name="T18" fmla="*/ 175 w 321"/>
                <a:gd name="T19" fmla="*/ 4 h 268"/>
                <a:gd name="T20" fmla="*/ 4 w 321"/>
                <a:gd name="T21" fmla="*/ 164 h 268"/>
                <a:gd name="T22" fmla="*/ 1 w 321"/>
                <a:gd name="T23" fmla="*/ 174 h 268"/>
                <a:gd name="T24" fmla="*/ 7 w 321"/>
                <a:gd name="T25" fmla="*/ 182 h 268"/>
                <a:gd name="T26" fmla="*/ 92 w 321"/>
                <a:gd name="T27" fmla="*/ 224 h 268"/>
                <a:gd name="T28" fmla="*/ 97 w 321"/>
                <a:gd name="T29" fmla="*/ 225 h 268"/>
                <a:gd name="T30" fmla="*/ 104 w 321"/>
                <a:gd name="T31" fmla="*/ 222 h 268"/>
                <a:gd name="T32" fmla="*/ 182 w 321"/>
                <a:gd name="T33" fmla="*/ 144 h 268"/>
                <a:gd name="T34" fmla="*/ 182 w 321"/>
                <a:gd name="T35" fmla="*/ 204 h 268"/>
                <a:gd name="T36" fmla="*/ 193 w 321"/>
                <a:gd name="T37" fmla="*/ 215 h 268"/>
                <a:gd name="T38" fmla="*/ 299 w 321"/>
                <a:gd name="T39" fmla="*/ 215 h 268"/>
                <a:gd name="T40" fmla="*/ 299 w 321"/>
                <a:gd name="T41" fmla="*/ 257 h 268"/>
                <a:gd name="T42" fmla="*/ 310 w 321"/>
                <a:gd name="T43" fmla="*/ 268 h 268"/>
                <a:gd name="T44" fmla="*/ 321 w 321"/>
                <a:gd name="T45" fmla="*/ 257 h 268"/>
                <a:gd name="T46" fmla="*/ 321 w 321"/>
                <a:gd name="T47" fmla="*/ 151 h 268"/>
                <a:gd name="T48" fmla="*/ 310 w 321"/>
                <a:gd name="T49" fmla="*/ 140 h 268"/>
                <a:gd name="T50" fmla="*/ 95 w 321"/>
                <a:gd name="T51" fmla="*/ 202 h 268"/>
                <a:gd name="T52" fmla="*/ 30 w 321"/>
                <a:gd name="T53" fmla="*/ 169 h 268"/>
                <a:gd name="T54" fmla="*/ 182 w 321"/>
                <a:gd name="T55" fmla="*/ 26 h 268"/>
                <a:gd name="T56" fmla="*/ 230 w 321"/>
                <a:gd name="T57" fmla="*/ 66 h 268"/>
                <a:gd name="T58" fmla="*/ 95 w 321"/>
                <a:gd name="T59" fmla="*/ 20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1" h="268">
                  <a:moveTo>
                    <a:pt x="310" y="140"/>
                  </a:moveTo>
                  <a:cubicBezTo>
                    <a:pt x="304" y="140"/>
                    <a:pt x="299" y="145"/>
                    <a:pt x="299" y="151"/>
                  </a:cubicBezTo>
                  <a:cubicBezTo>
                    <a:pt x="299" y="193"/>
                    <a:pt x="299" y="193"/>
                    <a:pt x="299" y="193"/>
                  </a:cubicBezTo>
                  <a:cubicBezTo>
                    <a:pt x="203" y="193"/>
                    <a:pt x="203" y="193"/>
                    <a:pt x="203" y="193"/>
                  </a:cubicBezTo>
                  <a:cubicBezTo>
                    <a:pt x="203" y="123"/>
                    <a:pt x="203" y="123"/>
                    <a:pt x="203" y="123"/>
                  </a:cubicBezTo>
                  <a:cubicBezTo>
                    <a:pt x="254" y="73"/>
                    <a:pt x="254" y="73"/>
                    <a:pt x="254" y="73"/>
                  </a:cubicBezTo>
                  <a:cubicBezTo>
                    <a:pt x="256" y="71"/>
                    <a:pt x="257" y="68"/>
                    <a:pt x="257" y="65"/>
                  </a:cubicBezTo>
                  <a:cubicBezTo>
                    <a:pt x="257" y="62"/>
                    <a:pt x="255" y="59"/>
                    <a:pt x="253" y="57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5" y="0"/>
                    <a:pt x="179" y="1"/>
                    <a:pt x="175" y="4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1" y="167"/>
                    <a:pt x="0" y="170"/>
                    <a:pt x="1" y="174"/>
                  </a:cubicBezTo>
                  <a:cubicBezTo>
                    <a:pt x="1" y="177"/>
                    <a:pt x="3" y="180"/>
                    <a:pt x="7" y="182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3" y="225"/>
                    <a:pt x="95" y="225"/>
                    <a:pt x="97" y="225"/>
                  </a:cubicBezTo>
                  <a:cubicBezTo>
                    <a:pt x="99" y="225"/>
                    <a:pt x="102" y="224"/>
                    <a:pt x="104" y="222"/>
                  </a:cubicBezTo>
                  <a:cubicBezTo>
                    <a:pt x="182" y="144"/>
                    <a:pt x="182" y="144"/>
                    <a:pt x="182" y="144"/>
                  </a:cubicBezTo>
                  <a:cubicBezTo>
                    <a:pt x="182" y="204"/>
                    <a:pt x="182" y="204"/>
                    <a:pt x="182" y="204"/>
                  </a:cubicBezTo>
                  <a:cubicBezTo>
                    <a:pt x="182" y="210"/>
                    <a:pt x="187" y="215"/>
                    <a:pt x="193" y="215"/>
                  </a:cubicBezTo>
                  <a:cubicBezTo>
                    <a:pt x="299" y="215"/>
                    <a:pt x="299" y="215"/>
                    <a:pt x="299" y="215"/>
                  </a:cubicBezTo>
                  <a:cubicBezTo>
                    <a:pt x="299" y="257"/>
                    <a:pt x="299" y="257"/>
                    <a:pt x="299" y="257"/>
                  </a:cubicBezTo>
                  <a:cubicBezTo>
                    <a:pt x="299" y="263"/>
                    <a:pt x="304" y="268"/>
                    <a:pt x="310" y="268"/>
                  </a:cubicBezTo>
                  <a:cubicBezTo>
                    <a:pt x="316" y="268"/>
                    <a:pt x="321" y="263"/>
                    <a:pt x="321" y="257"/>
                  </a:cubicBezTo>
                  <a:cubicBezTo>
                    <a:pt x="321" y="151"/>
                    <a:pt x="321" y="151"/>
                    <a:pt x="321" y="151"/>
                  </a:cubicBezTo>
                  <a:cubicBezTo>
                    <a:pt x="321" y="145"/>
                    <a:pt x="316" y="140"/>
                    <a:pt x="310" y="140"/>
                  </a:cubicBezTo>
                  <a:close/>
                  <a:moveTo>
                    <a:pt x="95" y="202"/>
                  </a:moveTo>
                  <a:cubicBezTo>
                    <a:pt x="30" y="169"/>
                    <a:pt x="30" y="169"/>
                    <a:pt x="30" y="169"/>
                  </a:cubicBezTo>
                  <a:cubicBezTo>
                    <a:pt x="182" y="26"/>
                    <a:pt x="182" y="26"/>
                    <a:pt x="182" y="26"/>
                  </a:cubicBezTo>
                  <a:cubicBezTo>
                    <a:pt x="230" y="66"/>
                    <a:pt x="230" y="66"/>
                    <a:pt x="230" y="66"/>
                  </a:cubicBezTo>
                  <a:lnTo>
                    <a:pt x="95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Oval 874"/>
            <p:cNvSpPr>
              <a:spLocks noChangeArrowheads="1"/>
            </p:cNvSpPr>
            <p:nvPr/>
          </p:nvSpPr>
          <p:spPr bwMode="auto">
            <a:xfrm>
              <a:off x="4512" y="3816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875"/>
            <p:cNvSpPr>
              <a:spLocks noEditPoints="1"/>
            </p:cNvSpPr>
            <p:nvPr/>
          </p:nvSpPr>
          <p:spPr bwMode="auto">
            <a:xfrm>
              <a:off x="4335" y="37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73" name="Freeform 841"/>
          <p:cNvSpPr>
            <a:spLocks noChangeAspect="1" noEditPoints="1"/>
          </p:cNvSpPr>
          <p:nvPr/>
        </p:nvSpPr>
        <p:spPr bwMode="auto">
          <a:xfrm>
            <a:off x="3440181" y="5351705"/>
            <a:ext cx="368120" cy="367041"/>
          </a:xfrm>
          <a:custGeom>
            <a:avLst/>
            <a:gdLst>
              <a:gd name="T0" fmla="*/ 270 w 512"/>
              <a:gd name="T1" fmla="*/ 198 h 512"/>
              <a:gd name="T2" fmla="*/ 165 w 512"/>
              <a:gd name="T3" fmla="*/ 316 h 512"/>
              <a:gd name="T4" fmla="*/ 196 w 512"/>
              <a:gd name="T5" fmla="*/ 347 h 512"/>
              <a:gd name="T6" fmla="*/ 313 w 512"/>
              <a:gd name="T7" fmla="*/ 241 h 512"/>
              <a:gd name="T8" fmla="*/ 286 w 512"/>
              <a:gd name="T9" fmla="*/ 226 h 512"/>
              <a:gd name="T10" fmla="*/ 270 w 512"/>
              <a:gd name="T11" fmla="*/ 198 h 512"/>
              <a:gd name="T12" fmla="*/ 263 w 512"/>
              <a:gd name="T13" fmla="*/ 263 h 512"/>
              <a:gd name="T14" fmla="*/ 248 w 512"/>
              <a:gd name="T15" fmla="*/ 263 h 512"/>
              <a:gd name="T16" fmla="*/ 248 w 512"/>
              <a:gd name="T17" fmla="*/ 248 h 512"/>
              <a:gd name="T18" fmla="*/ 263 w 512"/>
              <a:gd name="T19" fmla="*/ 248 h 512"/>
              <a:gd name="T20" fmla="*/ 263 w 512"/>
              <a:gd name="T21" fmla="*/ 263 h 512"/>
              <a:gd name="T22" fmla="*/ 150 w 512"/>
              <a:gd name="T23" fmla="*/ 331 h 512"/>
              <a:gd name="T24" fmla="*/ 180 w 512"/>
              <a:gd name="T25" fmla="*/ 361 h 512"/>
              <a:gd name="T26" fmla="*/ 165 w 512"/>
              <a:gd name="T27" fmla="*/ 376 h 512"/>
              <a:gd name="T28" fmla="*/ 135 w 512"/>
              <a:gd name="T29" fmla="*/ 346 h 512"/>
              <a:gd name="T30" fmla="*/ 150 w 512"/>
              <a:gd name="T31" fmla="*/ 331 h 512"/>
              <a:gd name="T32" fmla="*/ 294 w 512"/>
              <a:gd name="T33" fmla="*/ 159 h 512"/>
              <a:gd name="T34" fmla="*/ 353 w 512"/>
              <a:gd name="T35" fmla="*/ 217 h 512"/>
              <a:gd name="T36" fmla="*/ 301 w 512"/>
              <a:gd name="T37" fmla="*/ 210 h 512"/>
              <a:gd name="T38" fmla="*/ 288 w 512"/>
              <a:gd name="T39" fmla="*/ 180 h 512"/>
              <a:gd name="T40" fmla="*/ 294 w 512"/>
              <a:gd name="T41" fmla="*/ 159 h 512"/>
              <a:gd name="T42" fmla="*/ 256 w 512"/>
              <a:gd name="T43" fmla="*/ 0 h 512"/>
              <a:gd name="T44" fmla="*/ 0 w 512"/>
              <a:gd name="T45" fmla="*/ 256 h 512"/>
              <a:gd name="T46" fmla="*/ 256 w 512"/>
              <a:gd name="T47" fmla="*/ 512 h 512"/>
              <a:gd name="T48" fmla="*/ 512 w 512"/>
              <a:gd name="T49" fmla="*/ 256 h 512"/>
              <a:gd name="T50" fmla="*/ 256 w 512"/>
              <a:gd name="T51" fmla="*/ 0 h 512"/>
              <a:gd name="T52" fmla="*/ 376 w 512"/>
              <a:gd name="T53" fmla="*/ 226 h 512"/>
              <a:gd name="T54" fmla="*/ 344 w 512"/>
              <a:gd name="T55" fmla="*/ 243 h 512"/>
              <a:gd name="T56" fmla="*/ 203 w 512"/>
              <a:gd name="T57" fmla="*/ 369 h 512"/>
              <a:gd name="T58" fmla="*/ 173 w 512"/>
              <a:gd name="T59" fmla="*/ 399 h 512"/>
              <a:gd name="T60" fmla="*/ 165 w 512"/>
              <a:gd name="T61" fmla="*/ 402 h 512"/>
              <a:gd name="T62" fmla="*/ 158 w 512"/>
              <a:gd name="T63" fmla="*/ 399 h 512"/>
              <a:gd name="T64" fmla="*/ 112 w 512"/>
              <a:gd name="T65" fmla="*/ 354 h 512"/>
              <a:gd name="T66" fmla="*/ 109 w 512"/>
              <a:gd name="T67" fmla="*/ 346 h 512"/>
              <a:gd name="T68" fmla="*/ 112 w 512"/>
              <a:gd name="T69" fmla="*/ 339 h 512"/>
              <a:gd name="T70" fmla="*/ 142 w 512"/>
              <a:gd name="T71" fmla="*/ 309 h 512"/>
              <a:gd name="T72" fmla="*/ 268 w 512"/>
              <a:gd name="T73" fmla="*/ 168 h 512"/>
              <a:gd name="T74" fmla="*/ 286 w 512"/>
              <a:gd name="T75" fmla="*/ 135 h 512"/>
              <a:gd name="T76" fmla="*/ 331 w 512"/>
              <a:gd name="T77" fmla="*/ 116 h 512"/>
              <a:gd name="T78" fmla="*/ 376 w 512"/>
              <a:gd name="T79" fmla="*/ 135 h 512"/>
              <a:gd name="T80" fmla="*/ 395 w 512"/>
              <a:gd name="T81" fmla="*/ 180 h 512"/>
              <a:gd name="T82" fmla="*/ 376 w 512"/>
              <a:gd name="T83" fmla="*/ 226 h 512"/>
              <a:gd name="T84" fmla="*/ 361 w 512"/>
              <a:gd name="T85" fmla="*/ 150 h 512"/>
              <a:gd name="T86" fmla="*/ 374 w 512"/>
              <a:gd name="T87" fmla="*/ 180 h 512"/>
              <a:gd name="T88" fmla="*/ 368 w 512"/>
              <a:gd name="T89" fmla="*/ 202 h 512"/>
              <a:gd name="T90" fmla="*/ 310 w 512"/>
              <a:gd name="T91" fmla="*/ 144 h 512"/>
              <a:gd name="T92" fmla="*/ 331 w 512"/>
              <a:gd name="T93" fmla="*/ 138 h 512"/>
              <a:gd name="T94" fmla="*/ 361 w 512"/>
              <a:gd name="T95" fmla="*/ 15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70" y="198"/>
                </a:moveTo>
                <a:cubicBezTo>
                  <a:pt x="165" y="316"/>
                  <a:pt x="165" y="316"/>
                  <a:pt x="165" y="316"/>
                </a:cubicBezTo>
                <a:cubicBezTo>
                  <a:pt x="196" y="347"/>
                  <a:pt x="196" y="347"/>
                  <a:pt x="196" y="347"/>
                </a:cubicBezTo>
                <a:cubicBezTo>
                  <a:pt x="313" y="241"/>
                  <a:pt x="313" y="241"/>
                  <a:pt x="313" y="241"/>
                </a:cubicBezTo>
                <a:cubicBezTo>
                  <a:pt x="303" y="239"/>
                  <a:pt x="294" y="233"/>
                  <a:pt x="286" y="226"/>
                </a:cubicBezTo>
                <a:cubicBezTo>
                  <a:pt x="278" y="218"/>
                  <a:pt x="273" y="208"/>
                  <a:pt x="270" y="198"/>
                </a:cubicBezTo>
                <a:close/>
                <a:moveTo>
                  <a:pt x="263" y="263"/>
                </a:moveTo>
                <a:cubicBezTo>
                  <a:pt x="259" y="267"/>
                  <a:pt x="252" y="267"/>
                  <a:pt x="248" y="263"/>
                </a:cubicBezTo>
                <a:cubicBezTo>
                  <a:pt x="244" y="259"/>
                  <a:pt x="244" y="252"/>
                  <a:pt x="248" y="248"/>
                </a:cubicBezTo>
                <a:cubicBezTo>
                  <a:pt x="252" y="244"/>
                  <a:pt x="259" y="244"/>
                  <a:pt x="263" y="248"/>
                </a:cubicBezTo>
                <a:cubicBezTo>
                  <a:pt x="267" y="252"/>
                  <a:pt x="267" y="259"/>
                  <a:pt x="263" y="263"/>
                </a:cubicBezTo>
                <a:close/>
                <a:moveTo>
                  <a:pt x="150" y="331"/>
                </a:moveTo>
                <a:cubicBezTo>
                  <a:pt x="180" y="361"/>
                  <a:pt x="180" y="361"/>
                  <a:pt x="180" y="361"/>
                </a:cubicBezTo>
                <a:cubicBezTo>
                  <a:pt x="165" y="376"/>
                  <a:pt x="165" y="376"/>
                  <a:pt x="165" y="376"/>
                </a:cubicBezTo>
                <a:cubicBezTo>
                  <a:pt x="135" y="346"/>
                  <a:pt x="135" y="346"/>
                  <a:pt x="135" y="346"/>
                </a:cubicBezTo>
                <a:lnTo>
                  <a:pt x="150" y="331"/>
                </a:lnTo>
                <a:close/>
                <a:moveTo>
                  <a:pt x="294" y="159"/>
                </a:moveTo>
                <a:cubicBezTo>
                  <a:pt x="353" y="217"/>
                  <a:pt x="353" y="217"/>
                  <a:pt x="353" y="217"/>
                </a:cubicBezTo>
                <a:cubicBezTo>
                  <a:pt x="336" y="226"/>
                  <a:pt x="315" y="224"/>
                  <a:pt x="301" y="210"/>
                </a:cubicBezTo>
                <a:cubicBezTo>
                  <a:pt x="293" y="202"/>
                  <a:pt x="288" y="192"/>
                  <a:pt x="288" y="180"/>
                </a:cubicBezTo>
                <a:cubicBezTo>
                  <a:pt x="288" y="173"/>
                  <a:pt x="291" y="165"/>
                  <a:pt x="294" y="159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6" y="226"/>
                </a:moveTo>
                <a:cubicBezTo>
                  <a:pt x="367" y="235"/>
                  <a:pt x="356" y="241"/>
                  <a:pt x="344" y="243"/>
                </a:cubicBezTo>
                <a:cubicBezTo>
                  <a:pt x="203" y="369"/>
                  <a:pt x="203" y="369"/>
                  <a:pt x="203" y="369"/>
                </a:cubicBezTo>
                <a:cubicBezTo>
                  <a:pt x="173" y="399"/>
                  <a:pt x="173" y="399"/>
                  <a:pt x="173" y="399"/>
                </a:cubicBezTo>
                <a:cubicBezTo>
                  <a:pt x="171" y="401"/>
                  <a:pt x="168" y="402"/>
                  <a:pt x="165" y="402"/>
                </a:cubicBezTo>
                <a:cubicBezTo>
                  <a:pt x="162" y="402"/>
                  <a:pt x="160" y="401"/>
                  <a:pt x="158" y="399"/>
                </a:cubicBezTo>
                <a:cubicBezTo>
                  <a:pt x="112" y="354"/>
                  <a:pt x="112" y="354"/>
                  <a:pt x="112" y="354"/>
                </a:cubicBezTo>
                <a:cubicBezTo>
                  <a:pt x="110" y="352"/>
                  <a:pt x="109" y="349"/>
                  <a:pt x="109" y="346"/>
                </a:cubicBezTo>
                <a:cubicBezTo>
                  <a:pt x="109" y="343"/>
                  <a:pt x="110" y="341"/>
                  <a:pt x="112" y="339"/>
                </a:cubicBezTo>
                <a:cubicBezTo>
                  <a:pt x="142" y="309"/>
                  <a:pt x="142" y="309"/>
                  <a:pt x="142" y="309"/>
                </a:cubicBezTo>
                <a:cubicBezTo>
                  <a:pt x="268" y="168"/>
                  <a:pt x="268" y="168"/>
                  <a:pt x="268" y="168"/>
                </a:cubicBezTo>
                <a:cubicBezTo>
                  <a:pt x="271" y="155"/>
                  <a:pt x="277" y="144"/>
                  <a:pt x="286" y="135"/>
                </a:cubicBezTo>
                <a:cubicBezTo>
                  <a:pt x="298" y="123"/>
                  <a:pt x="314" y="116"/>
                  <a:pt x="331" y="116"/>
                </a:cubicBezTo>
                <a:cubicBezTo>
                  <a:pt x="348" y="116"/>
                  <a:pt x="364" y="123"/>
                  <a:pt x="376" y="135"/>
                </a:cubicBezTo>
                <a:cubicBezTo>
                  <a:pt x="388" y="147"/>
                  <a:pt x="395" y="163"/>
                  <a:pt x="395" y="180"/>
                </a:cubicBezTo>
                <a:cubicBezTo>
                  <a:pt x="395" y="197"/>
                  <a:pt x="388" y="213"/>
                  <a:pt x="376" y="226"/>
                </a:cubicBezTo>
                <a:close/>
                <a:moveTo>
                  <a:pt x="361" y="150"/>
                </a:moveTo>
                <a:cubicBezTo>
                  <a:pt x="369" y="158"/>
                  <a:pt x="374" y="169"/>
                  <a:pt x="374" y="180"/>
                </a:cubicBezTo>
                <a:cubicBezTo>
                  <a:pt x="374" y="188"/>
                  <a:pt x="372" y="195"/>
                  <a:pt x="368" y="202"/>
                </a:cubicBezTo>
                <a:cubicBezTo>
                  <a:pt x="310" y="144"/>
                  <a:pt x="310" y="144"/>
                  <a:pt x="310" y="144"/>
                </a:cubicBezTo>
                <a:cubicBezTo>
                  <a:pt x="316" y="140"/>
                  <a:pt x="323" y="138"/>
                  <a:pt x="331" y="138"/>
                </a:cubicBezTo>
                <a:cubicBezTo>
                  <a:pt x="342" y="138"/>
                  <a:pt x="353" y="142"/>
                  <a:pt x="361" y="1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74" name="Group 844"/>
          <p:cNvGrpSpPr>
            <a:grpSpLocks noChangeAspect="1"/>
          </p:cNvGrpSpPr>
          <p:nvPr/>
        </p:nvGrpSpPr>
        <p:grpSpPr bwMode="auto">
          <a:xfrm>
            <a:off x="3938378" y="5351705"/>
            <a:ext cx="367041" cy="367041"/>
            <a:chOff x="6259" y="4031"/>
            <a:chExt cx="340" cy="340"/>
          </a:xfrm>
          <a:solidFill>
            <a:schemeClr val="accent3"/>
          </a:solidFill>
        </p:grpSpPr>
        <p:sp>
          <p:nvSpPr>
            <p:cNvPr id="575" name="Freeform 845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846"/>
            <p:cNvSpPr>
              <a:spLocks noEditPoints="1"/>
            </p:cNvSpPr>
            <p:nvPr/>
          </p:nvSpPr>
          <p:spPr bwMode="auto">
            <a:xfrm>
              <a:off x="6331" y="4108"/>
              <a:ext cx="190" cy="190"/>
            </a:xfrm>
            <a:custGeom>
              <a:avLst/>
              <a:gdLst>
                <a:gd name="T0" fmla="*/ 267 w 286"/>
                <a:gd name="T1" fmla="*/ 110 h 286"/>
                <a:gd name="T2" fmla="*/ 286 w 286"/>
                <a:gd name="T3" fmla="*/ 64 h 286"/>
                <a:gd name="T4" fmla="*/ 267 w 286"/>
                <a:gd name="T5" fmla="*/ 19 h 286"/>
                <a:gd name="T6" fmla="*/ 222 w 286"/>
                <a:gd name="T7" fmla="*/ 0 h 286"/>
                <a:gd name="T8" fmla="*/ 177 w 286"/>
                <a:gd name="T9" fmla="*/ 19 h 286"/>
                <a:gd name="T10" fmla="*/ 159 w 286"/>
                <a:gd name="T11" fmla="*/ 52 h 286"/>
                <a:gd name="T12" fmla="*/ 33 w 286"/>
                <a:gd name="T13" fmla="*/ 193 h 286"/>
                <a:gd name="T14" fmla="*/ 3 w 286"/>
                <a:gd name="T15" fmla="*/ 223 h 286"/>
                <a:gd name="T16" fmla="*/ 0 w 286"/>
                <a:gd name="T17" fmla="*/ 230 h 286"/>
                <a:gd name="T18" fmla="*/ 3 w 286"/>
                <a:gd name="T19" fmla="*/ 238 h 286"/>
                <a:gd name="T20" fmla="*/ 49 w 286"/>
                <a:gd name="T21" fmla="*/ 283 h 286"/>
                <a:gd name="T22" fmla="*/ 56 w 286"/>
                <a:gd name="T23" fmla="*/ 286 h 286"/>
                <a:gd name="T24" fmla="*/ 64 w 286"/>
                <a:gd name="T25" fmla="*/ 283 h 286"/>
                <a:gd name="T26" fmla="*/ 94 w 286"/>
                <a:gd name="T27" fmla="*/ 253 h 286"/>
                <a:gd name="T28" fmla="*/ 235 w 286"/>
                <a:gd name="T29" fmla="*/ 127 h 286"/>
                <a:gd name="T30" fmla="*/ 267 w 286"/>
                <a:gd name="T31" fmla="*/ 110 h 286"/>
                <a:gd name="T32" fmla="*/ 185 w 286"/>
                <a:gd name="T33" fmla="*/ 43 h 286"/>
                <a:gd name="T34" fmla="*/ 244 w 286"/>
                <a:gd name="T35" fmla="*/ 101 h 286"/>
                <a:gd name="T36" fmla="*/ 192 w 286"/>
                <a:gd name="T37" fmla="*/ 94 h 286"/>
                <a:gd name="T38" fmla="*/ 179 w 286"/>
                <a:gd name="T39" fmla="*/ 64 h 286"/>
                <a:gd name="T40" fmla="*/ 185 w 286"/>
                <a:gd name="T41" fmla="*/ 43 h 286"/>
                <a:gd name="T42" fmla="*/ 252 w 286"/>
                <a:gd name="T43" fmla="*/ 34 h 286"/>
                <a:gd name="T44" fmla="*/ 265 w 286"/>
                <a:gd name="T45" fmla="*/ 64 h 286"/>
                <a:gd name="T46" fmla="*/ 259 w 286"/>
                <a:gd name="T47" fmla="*/ 86 h 286"/>
                <a:gd name="T48" fmla="*/ 201 w 286"/>
                <a:gd name="T49" fmla="*/ 28 h 286"/>
                <a:gd name="T50" fmla="*/ 222 w 286"/>
                <a:gd name="T51" fmla="*/ 22 h 286"/>
                <a:gd name="T52" fmla="*/ 252 w 286"/>
                <a:gd name="T53" fmla="*/ 34 h 286"/>
                <a:gd name="T54" fmla="*/ 161 w 286"/>
                <a:gd name="T55" fmla="*/ 82 h 286"/>
                <a:gd name="T56" fmla="*/ 177 w 286"/>
                <a:gd name="T57" fmla="*/ 110 h 286"/>
                <a:gd name="T58" fmla="*/ 204 w 286"/>
                <a:gd name="T59" fmla="*/ 125 h 286"/>
                <a:gd name="T60" fmla="*/ 87 w 286"/>
                <a:gd name="T61" fmla="*/ 231 h 286"/>
                <a:gd name="T62" fmla="*/ 56 w 286"/>
                <a:gd name="T63" fmla="*/ 200 h 286"/>
                <a:gd name="T64" fmla="*/ 161 w 286"/>
                <a:gd name="T65" fmla="*/ 82 h 286"/>
                <a:gd name="T66" fmla="*/ 56 w 286"/>
                <a:gd name="T67" fmla="*/ 260 h 286"/>
                <a:gd name="T68" fmla="*/ 26 w 286"/>
                <a:gd name="T69" fmla="*/ 230 h 286"/>
                <a:gd name="T70" fmla="*/ 41 w 286"/>
                <a:gd name="T71" fmla="*/ 215 h 286"/>
                <a:gd name="T72" fmla="*/ 71 w 286"/>
                <a:gd name="T73" fmla="*/ 245 h 286"/>
                <a:gd name="T74" fmla="*/ 56 w 286"/>
                <a:gd name="T75" fmla="*/ 26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6" h="286">
                  <a:moveTo>
                    <a:pt x="267" y="110"/>
                  </a:moveTo>
                  <a:cubicBezTo>
                    <a:pt x="279" y="97"/>
                    <a:pt x="286" y="81"/>
                    <a:pt x="286" y="64"/>
                  </a:cubicBezTo>
                  <a:cubicBezTo>
                    <a:pt x="286" y="47"/>
                    <a:pt x="279" y="31"/>
                    <a:pt x="267" y="19"/>
                  </a:cubicBezTo>
                  <a:cubicBezTo>
                    <a:pt x="255" y="7"/>
                    <a:pt x="239" y="0"/>
                    <a:pt x="222" y="0"/>
                  </a:cubicBezTo>
                  <a:cubicBezTo>
                    <a:pt x="205" y="0"/>
                    <a:pt x="189" y="7"/>
                    <a:pt x="177" y="19"/>
                  </a:cubicBezTo>
                  <a:cubicBezTo>
                    <a:pt x="168" y="28"/>
                    <a:pt x="162" y="39"/>
                    <a:pt x="159" y="52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3" y="223"/>
                    <a:pt x="3" y="223"/>
                    <a:pt x="3" y="223"/>
                  </a:cubicBezTo>
                  <a:cubicBezTo>
                    <a:pt x="1" y="225"/>
                    <a:pt x="0" y="227"/>
                    <a:pt x="0" y="230"/>
                  </a:cubicBezTo>
                  <a:cubicBezTo>
                    <a:pt x="0" y="233"/>
                    <a:pt x="1" y="236"/>
                    <a:pt x="3" y="238"/>
                  </a:cubicBezTo>
                  <a:cubicBezTo>
                    <a:pt x="49" y="283"/>
                    <a:pt x="49" y="283"/>
                    <a:pt x="49" y="283"/>
                  </a:cubicBezTo>
                  <a:cubicBezTo>
                    <a:pt x="51" y="285"/>
                    <a:pt x="53" y="286"/>
                    <a:pt x="56" y="286"/>
                  </a:cubicBezTo>
                  <a:cubicBezTo>
                    <a:pt x="59" y="286"/>
                    <a:pt x="62" y="285"/>
                    <a:pt x="64" y="283"/>
                  </a:cubicBezTo>
                  <a:cubicBezTo>
                    <a:pt x="94" y="253"/>
                    <a:pt x="94" y="253"/>
                    <a:pt x="94" y="253"/>
                  </a:cubicBezTo>
                  <a:cubicBezTo>
                    <a:pt x="235" y="127"/>
                    <a:pt x="235" y="127"/>
                    <a:pt x="235" y="127"/>
                  </a:cubicBezTo>
                  <a:cubicBezTo>
                    <a:pt x="247" y="125"/>
                    <a:pt x="258" y="119"/>
                    <a:pt x="267" y="110"/>
                  </a:cubicBezTo>
                  <a:close/>
                  <a:moveTo>
                    <a:pt x="185" y="43"/>
                  </a:moveTo>
                  <a:cubicBezTo>
                    <a:pt x="244" y="101"/>
                    <a:pt x="244" y="101"/>
                    <a:pt x="244" y="101"/>
                  </a:cubicBezTo>
                  <a:cubicBezTo>
                    <a:pt x="227" y="110"/>
                    <a:pt x="206" y="108"/>
                    <a:pt x="192" y="94"/>
                  </a:cubicBezTo>
                  <a:cubicBezTo>
                    <a:pt x="184" y="86"/>
                    <a:pt x="179" y="76"/>
                    <a:pt x="179" y="64"/>
                  </a:cubicBezTo>
                  <a:cubicBezTo>
                    <a:pt x="179" y="57"/>
                    <a:pt x="182" y="49"/>
                    <a:pt x="185" y="43"/>
                  </a:cubicBezTo>
                  <a:close/>
                  <a:moveTo>
                    <a:pt x="252" y="34"/>
                  </a:moveTo>
                  <a:cubicBezTo>
                    <a:pt x="260" y="42"/>
                    <a:pt x="265" y="53"/>
                    <a:pt x="265" y="64"/>
                  </a:cubicBezTo>
                  <a:cubicBezTo>
                    <a:pt x="265" y="72"/>
                    <a:pt x="263" y="79"/>
                    <a:pt x="259" y="86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7" y="24"/>
                    <a:pt x="214" y="22"/>
                    <a:pt x="222" y="22"/>
                  </a:cubicBezTo>
                  <a:cubicBezTo>
                    <a:pt x="233" y="22"/>
                    <a:pt x="244" y="26"/>
                    <a:pt x="252" y="34"/>
                  </a:cubicBezTo>
                  <a:close/>
                  <a:moveTo>
                    <a:pt x="161" y="82"/>
                  </a:moveTo>
                  <a:cubicBezTo>
                    <a:pt x="164" y="92"/>
                    <a:pt x="169" y="102"/>
                    <a:pt x="177" y="110"/>
                  </a:cubicBezTo>
                  <a:cubicBezTo>
                    <a:pt x="185" y="117"/>
                    <a:pt x="194" y="123"/>
                    <a:pt x="204" y="125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56" y="200"/>
                    <a:pt x="56" y="200"/>
                    <a:pt x="56" y="200"/>
                  </a:cubicBezTo>
                  <a:lnTo>
                    <a:pt x="161" y="82"/>
                  </a:lnTo>
                  <a:close/>
                  <a:moveTo>
                    <a:pt x="56" y="260"/>
                  </a:moveTo>
                  <a:cubicBezTo>
                    <a:pt x="26" y="230"/>
                    <a:pt x="26" y="230"/>
                    <a:pt x="26" y="230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71" y="245"/>
                    <a:pt x="71" y="245"/>
                    <a:pt x="71" y="245"/>
                  </a:cubicBezTo>
                  <a:lnTo>
                    <a:pt x="56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847"/>
            <p:cNvSpPr>
              <a:spLocks/>
            </p:cNvSpPr>
            <p:nvPr/>
          </p:nvSpPr>
          <p:spPr bwMode="auto">
            <a:xfrm>
              <a:off x="6421" y="4193"/>
              <a:ext cx="15" cy="15"/>
            </a:xfrm>
            <a:custGeom>
              <a:avLst/>
              <a:gdLst>
                <a:gd name="T0" fmla="*/ 19 w 23"/>
                <a:gd name="T1" fmla="*/ 19 h 23"/>
                <a:gd name="T2" fmla="*/ 19 w 23"/>
                <a:gd name="T3" fmla="*/ 4 h 23"/>
                <a:gd name="T4" fmla="*/ 4 w 23"/>
                <a:gd name="T5" fmla="*/ 4 h 23"/>
                <a:gd name="T6" fmla="*/ 4 w 23"/>
                <a:gd name="T7" fmla="*/ 19 h 23"/>
                <a:gd name="T8" fmla="*/ 19 w 23"/>
                <a:gd name="T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9" y="19"/>
                  </a:moveTo>
                  <a:cubicBezTo>
                    <a:pt x="23" y="15"/>
                    <a:pt x="23" y="8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ubicBezTo>
                    <a:pt x="8" y="23"/>
                    <a:pt x="15" y="23"/>
                    <a:pt x="1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848"/>
            <p:cNvSpPr>
              <a:spLocks noEditPoints="1"/>
            </p:cNvSpPr>
            <p:nvPr/>
          </p:nvSpPr>
          <p:spPr bwMode="auto">
            <a:xfrm>
              <a:off x="6259" y="40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81" name="Freeform 852"/>
          <p:cNvSpPr>
            <a:spLocks noChangeAspect="1" noEditPoints="1"/>
          </p:cNvSpPr>
          <p:nvPr/>
        </p:nvSpPr>
        <p:spPr bwMode="auto">
          <a:xfrm>
            <a:off x="4435496" y="5351705"/>
            <a:ext cx="367041" cy="368121"/>
          </a:xfrm>
          <a:custGeom>
            <a:avLst/>
            <a:gdLst>
              <a:gd name="T0" fmla="*/ 256 w 512"/>
              <a:gd name="T1" fmla="*/ 309 h 512"/>
              <a:gd name="T2" fmla="*/ 202 w 512"/>
              <a:gd name="T3" fmla="*/ 256 h 512"/>
              <a:gd name="T4" fmla="*/ 202 w 512"/>
              <a:gd name="T5" fmla="*/ 149 h 512"/>
              <a:gd name="T6" fmla="*/ 256 w 512"/>
              <a:gd name="T7" fmla="*/ 96 h 512"/>
              <a:gd name="T8" fmla="*/ 309 w 512"/>
              <a:gd name="T9" fmla="*/ 149 h 512"/>
              <a:gd name="T10" fmla="*/ 309 w 512"/>
              <a:gd name="T11" fmla="*/ 256 h 512"/>
              <a:gd name="T12" fmla="*/ 256 w 512"/>
              <a:gd name="T13" fmla="*/ 309 h 512"/>
              <a:gd name="T14" fmla="*/ 256 w 512"/>
              <a:gd name="T15" fmla="*/ 117 h 512"/>
              <a:gd name="T16" fmla="*/ 224 w 512"/>
              <a:gd name="T17" fmla="*/ 149 h 512"/>
              <a:gd name="T18" fmla="*/ 224 w 512"/>
              <a:gd name="T19" fmla="*/ 256 h 512"/>
              <a:gd name="T20" fmla="*/ 256 w 512"/>
              <a:gd name="T21" fmla="*/ 288 h 512"/>
              <a:gd name="T22" fmla="*/ 288 w 512"/>
              <a:gd name="T23" fmla="*/ 256 h 512"/>
              <a:gd name="T24" fmla="*/ 288 w 512"/>
              <a:gd name="T25" fmla="*/ 149 h 512"/>
              <a:gd name="T26" fmla="*/ 256 w 512"/>
              <a:gd name="T27" fmla="*/ 117 h 512"/>
              <a:gd name="T28" fmla="*/ 256 w 512"/>
              <a:gd name="T29" fmla="*/ 0 h 512"/>
              <a:gd name="T30" fmla="*/ 0 w 512"/>
              <a:gd name="T31" fmla="*/ 256 h 512"/>
              <a:gd name="T32" fmla="*/ 256 w 512"/>
              <a:gd name="T33" fmla="*/ 512 h 512"/>
              <a:gd name="T34" fmla="*/ 512 w 512"/>
              <a:gd name="T35" fmla="*/ 256 h 512"/>
              <a:gd name="T36" fmla="*/ 256 w 512"/>
              <a:gd name="T37" fmla="*/ 0 h 512"/>
              <a:gd name="T38" fmla="*/ 266 w 512"/>
              <a:gd name="T39" fmla="*/ 351 h 512"/>
              <a:gd name="T40" fmla="*/ 266 w 512"/>
              <a:gd name="T41" fmla="*/ 394 h 512"/>
              <a:gd name="T42" fmla="*/ 309 w 512"/>
              <a:gd name="T43" fmla="*/ 394 h 512"/>
              <a:gd name="T44" fmla="*/ 320 w 512"/>
              <a:gd name="T45" fmla="*/ 405 h 512"/>
              <a:gd name="T46" fmla="*/ 309 w 512"/>
              <a:gd name="T47" fmla="*/ 416 h 512"/>
              <a:gd name="T48" fmla="*/ 202 w 512"/>
              <a:gd name="T49" fmla="*/ 416 h 512"/>
              <a:gd name="T50" fmla="*/ 192 w 512"/>
              <a:gd name="T51" fmla="*/ 405 h 512"/>
              <a:gd name="T52" fmla="*/ 202 w 512"/>
              <a:gd name="T53" fmla="*/ 394 h 512"/>
              <a:gd name="T54" fmla="*/ 245 w 512"/>
              <a:gd name="T55" fmla="*/ 394 h 512"/>
              <a:gd name="T56" fmla="*/ 245 w 512"/>
              <a:gd name="T57" fmla="*/ 351 h 512"/>
              <a:gd name="T58" fmla="*/ 160 w 512"/>
              <a:gd name="T59" fmla="*/ 256 h 512"/>
              <a:gd name="T60" fmla="*/ 170 w 512"/>
              <a:gd name="T61" fmla="*/ 245 h 512"/>
              <a:gd name="T62" fmla="*/ 181 w 512"/>
              <a:gd name="T63" fmla="*/ 256 h 512"/>
              <a:gd name="T64" fmla="*/ 256 w 512"/>
              <a:gd name="T65" fmla="*/ 330 h 512"/>
              <a:gd name="T66" fmla="*/ 330 w 512"/>
              <a:gd name="T67" fmla="*/ 256 h 512"/>
              <a:gd name="T68" fmla="*/ 341 w 512"/>
              <a:gd name="T69" fmla="*/ 245 h 512"/>
              <a:gd name="T70" fmla="*/ 352 w 512"/>
              <a:gd name="T71" fmla="*/ 256 h 512"/>
              <a:gd name="T72" fmla="*/ 266 w 512"/>
              <a:gd name="T73" fmla="*/ 35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309"/>
                </a:moveTo>
                <a:cubicBezTo>
                  <a:pt x="226" y="309"/>
                  <a:pt x="202" y="285"/>
                  <a:pt x="202" y="256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20"/>
                  <a:pt x="226" y="96"/>
                  <a:pt x="256" y="96"/>
                </a:cubicBezTo>
                <a:cubicBezTo>
                  <a:pt x="285" y="96"/>
                  <a:pt x="309" y="120"/>
                  <a:pt x="309" y="149"/>
                </a:cubicBezTo>
                <a:cubicBezTo>
                  <a:pt x="309" y="256"/>
                  <a:pt x="309" y="256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lose/>
                <a:moveTo>
                  <a:pt x="256" y="117"/>
                </a:moveTo>
                <a:cubicBezTo>
                  <a:pt x="238" y="117"/>
                  <a:pt x="224" y="131"/>
                  <a:pt x="224" y="149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24" y="273"/>
                  <a:pt x="238" y="288"/>
                  <a:pt x="256" y="288"/>
                </a:cubicBezTo>
                <a:cubicBezTo>
                  <a:pt x="273" y="288"/>
                  <a:pt x="288" y="273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31"/>
                  <a:pt x="273" y="117"/>
                  <a:pt x="256" y="117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66" y="351"/>
                </a:moveTo>
                <a:cubicBezTo>
                  <a:pt x="266" y="394"/>
                  <a:pt x="266" y="394"/>
                  <a:pt x="266" y="394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315" y="394"/>
                  <a:pt x="320" y="399"/>
                  <a:pt x="320" y="405"/>
                </a:cubicBezTo>
                <a:cubicBezTo>
                  <a:pt x="320" y="411"/>
                  <a:pt x="315" y="416"/>
                  <a:pt x="309" y="416"/>
                </a:cubicBezTo>
                <a:cubicBezTo>
                  <a:pt x="202" y="416"/>
                  <a:pt x="202" y="416"/>
                  <a:pt x="202" y="416"/>
                </a:cubicBezTo>
                <a:cubicBezTo>
                  <a:pt x="196" y="416"/>
                  <a:pt x="192" y="411"/>
                  <a:pt x="192" y="405"/>
                </a:cubicBezTo>
                <a:cubicBezTo>
                  <a:pt x="192" y="399"/>
                  <a:pt x="196" y="394"/>
                  <a:pt x="202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51"/>
                  <a:pt x="245" y="351"/>
                  <a:pt x="245" y="351"/>
                </a:cubicBezTo>
                <a:cubicBezTo>
                  <a:pt x="197" y="346"/>
                  <a:pt x="160" y="305"/>
                  <a:pt x="160" y="256"/>
                </a:cubicBezTo>
                <a:cubicBezTo>
                  <a:pt x="160" y="250"/>
                  <a:pt x="164" y="245"/>
                  <a:pt x="170" y="245"/>
                </a:cubicBezTo>
                <a:cubicBezTo>
                  <a:pt x="176" y="245"/>
                  <a:pt x="181" y="250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50"/>
                  <a:pt x="335" y="245"/>
                  <a:pt x="341" y="245"/>
                </a:cubicBezTo>
                <a:cubicBezTo>
                  <a:pt x="347" y="245"/>
                  <a:pt x="352" y="250"/>
                  <a:pt x="352" y="256"/>
                </a:cubicBezTo>
                <a:cubicBezTo>
                  <a:pt x="352" y="305"/>
                  <a:pt x="314" y="346"/>
                  <a:pt x="266" y="35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83" name="Freeform 682"/>
          <p:cNvSpPr>
            <a:spLocks noChangeAspect="1" noEditPoints="1"/>
          </p:cNvSpPr>
          <p:nvPr/>
        </p:nvSpPr>
        <p:spPr bwMode="auto">
          <a:xfrm>
            <a:off x="4932614" y="5351705"/>
            <a:ext cx="368120" cy="36704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56 w 512"/>
              <a:gd name="T21" fmla="*/ 309 h 512"/>
              <a:gd name="T22" fmla="*/ 202 w 512"/>
              <a:gd name="T23" fmla="*/ 256 h 512"/>
              <a:gd name="T24" fmla="*/ 202 w 512"/>
              <a:gd name="T25" fmla="*/ 149 h 512"/>
              <a:gd name="T26" fmla="*/ 256 w 512"/>
              <a:gd name="T27" fmla="*/ 96 h 512"/>
              <a:gd name="T28" fmla="*/ 309 w 512"/>
              <a:gd name="T29" fmla="*/ 149 h 512"/>
              <a:gd name="T30" fmla="*/ 309 w 512"/>
              <a:gd name="T31" fmla="*/ 256 h 512"/>
              <a:gd name="T32" fmla="*/ 256 w 512"/>
              <a:gd name="T33" fmla="*/ 309 h 512"/>
              <a:gd name="T34" fmla="*/ 256 w 512"/>
              <a:gd name="T35" fmla="*/ 117 h 512"/>
              <a:gd name="T36" fmla="*/ 224 w 512"/>
              <a:gd name="T37" fmla="*/ 149 h 512"/>
              <a:gd name="T38" fmla="*/ 224 w 512"/>
              <a:gd name="T39" fmla="*/ 256 h 512"/>
              <a:gd name="T40" fmla="*/ 256 w 512"/>
              <a:gd name="T41" fmla="*/ 288 h 512"/>
              <a:gd name="T42" fmla="*/ 288 w 512"/>
              <a:gd name="T43" fmla="*/ 256 h 512"/>
              <a:gd name="T44" fmla="*/ 288 w 512"/>
              <a:gd name="T45" fmla="*/ 149 h 512"/>
              <a:gd name="T46" fmla="*/ 256 w 512"/>
              <a:gd name="T47" fmla="*/ 117 h 512"/>
              <a:gd name="T48" fmla="*/ 352 w 512"/>
              <a:gd name="T49" fmla="*/ 256 h 512"/>
              <a:gd name="T50" fmla="*/ 341 w 512"/>
              <a:gd name="T51" fmla="*/ 245 h 512"/>
              <a:gd name="T52" fmla="*/ 330 w 512"/>
              <a:gd name="T53" fmla="*/ 256 h 512"/>
              <a:gd name="T54" fmla="*/ 256 w 512"/>
              <a:gd name="T55" fmla="*/ 330 h 512"/>
              <a:gd name="T56" fmla="*/ 181 w 512"/>
              <a:gd name="T57" fmla="*/ 256 h 512"/>
              <a:gd name="T58" fmla="*/ 170 w 512"/>
              <a:gd name="T59" fmla="*/ 245 h 512"/>
              <a:gd name="T60" fmla="*/ 160 w 512"/>
              <a:gd name="T61" fmla="*/ 256 h 512"/>
              <a:gd name="T62" fmla="*/ 245 w 512"/>
              <a:gd name="T63" fmla="*/ 351 h 512"/>
              <a:gd name="T64" fmla="*/ 245 w 512"/>
              <a:gd name="T65" fmla="*/ 394 h 512"/>
              <a:gd name="T66" fmla="*/ 202 w 512"/>
              <a:gd name="T67" fmla="*/ 394 h 512"/>
              <a:gd name="T68" fmla="*/ 192 w 512"/>
              <a:gd name="T69" fmla="*/ 405 h 512"/>
              <a:gd name="T70" fmla="*/ 202 w 512"/>
              <a:gd name="T71" fmla="*/ 416 h 512"/>
              <a:gd name="T72" fmla="*/ 309 w 512"/>
              <a:gd name="T73" fmla="*/ 416 h 512"/>
              <a:gd name="T74" fmla="*/ 320 w 512"/>
              <a:gd name="T75" fmla="*/ 405 h 512"/>
              <a:gd name="T76" fmla="*/ 309 w 512"/>
              <a:gd name="T77" fmla="*/ 394 h 512"/>
              <a:gd name="T78" fmla="*/ 266 w 512"/>
              <a:gd name="T79" fmla="*/ 394 h 512"/>
              <a:gd name="T80" fmla="*/ 266 w 512"/>
              <a:gd name="T81" fmla="*/ 351 h 512"/>
              <a:gd name="T82" fmla="*/ 352 w 512"/>
              <a:gd name="T83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09"/>
                </a:moveTo>
                <a:cubicBezTo>
                  <a:pt x="226" y="309"/>
                  <a:pt x="202" y="285"/>
                  <a:pt x="202" y="256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20"/>
                  <a:pt x="226" y="96"/>
                  <a:pt x="256" y="96"/>
                </a:cubicBezTo>
                <a:cubicBezTo>
                  <a:pt x="285" y="96"/>
                  <a:pt x="309" y="120"/>
                  <a:pt x="309" y="149"/>
                </a:cubicBezTo>
                <a:cubicBezTo>
                  <a:pt x="309" y="256"/>
                  <a:pt x="309" y="256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lose/>
                <a:moveTo>
                  <a:pt x="256" y="117"/>
                </a:moveTo>
                <a:cubicBezTo>
                  <a:pt x="238" y="117"/>
                  <a:pt x="224" y="131"/>
                  <a:pt x="224" y="149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24" y="273"/>
                  <a:pt x="238" y="288"/>
                  <a:pt x="256" y="288"/>
                </a:cubicBezTo>
                <a:cubicBezTo>
                  <a:pt x="273" y="288"/>
                  <a:pt x="288" y="273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31"/>
                  <a:pt x="273" y="117"/>
                  <a:pt x="256" y="117"/>
                </a:cubicBezTo>
                <a:close/>
                <a:moveTo>
                  <a:pt x="352" y="256"/>
                </a:moveTo>
                <a:cubicBezTo>
                  <a:pt x="352" y="250"/>
                  <a:pt x="347" y="245"/>
                  <a:pt x="341" y="245"/>
                </a:cubicBezTo>
                <a:cubicBezTo>
                  <a:pt x="335" y="245"/>
                  <a:pt x="330" y="250"/>
                  <a:pt x="330" y="256"/>
                </a:cubicBezTo>
                <a:cubicBezTo>
                  <a:pt x="330" y="297"/>
                  <a:pt x="297" y="330"/>
                  <a:pt x="256" y="330"/>
                </a:cubicBezTo>
                <a:cubicBezTo>
                  <a:pt x="214" y="330"/>
                  <a:pt x="181" y="297"/>
                  <a:pt x="181" y="256"/>
                </a:cubicBezTo>
                <a:cubicBezTo>
                  <a:pt x="181" y="250"/>
                  <a:pt x="176" y="245"/>
                  <a:pt x="170" y="245"/>
                </a:cubicBezTo>
                <a:cubicBezTo>
                  <a:pt x="164" y="245"/>
                  <a:pt x="160" y="250"/>
                  <a:pt x="160" y="256"/>
                </a:cubicBezTo>
                <a:cubicBezTo>
                  <a:pt x="160" y="305"/>
                  <a:pt x="197" y="346"/>
                  <a:pt x="245" y="351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96" y="394"/>
                  <a:pt x="192" y="399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99"/>
                  <a:pt x="315" y="394"/>
                  <a:pt x="309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351"/>
                  <a:pt x="266" y="351"/>
                  <a:pt x="266" y="351"/>
                </a:cubicBezTo>
                <a:cubicBezTo>
                  <a:pt x="314" y="346"/>
                  <a:pt x="352" y="305"/>
                  <a:pt x="352" y="25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84" name="Freeform 860"/>
          <p:cNvSpPr>
            <a:spLocks noChangeAspect="1" noEditPoints="1"/>
          </p:cNvSpPr>
          <p:nvPr/>
        </p:nvSpPr>
        <p:spPr bwMode="auto">
          <a:xfrm>
            <a:off x="5430811" y="5351705"/>
            <a:ext cx="367041" cy="367041"/>
          </a:xfrm>
          <a:custGeom>
            <a:avLst/>
            <a:gdLst>
              <a:gd name="T0" fmla="*/ 288 w 512"/>
              <a:gd name="T1" fmla="*/ 149 h 512"/>
              <a:gd name="T2" fmla="*/ 288 w 512"/>
              <a:gd name="T3" fmla="*/ 209 h 512"/>
              <a:gd name="T4" fmla="*/ 227 w 512"/>
              <a:gd name="T5" fmla="*/ 269 h 512"/>
              <a:gd name="T6" fmla="*/ 224 w 512"/>
              <a:gd name="T7" fmla="*/ 256 h 512"/>
              <a:gd name="T8" fmla="*/ 224 w 512"/>
              <a:gd name="T9" fmla="*/ 149 h 512"/>
              <a:gd name="T10" fmla="*/ 256 w 512"/>
              <a:gd name="T11" fmla="*/ 117 h 512"/>
              <a:gd name="T12" fmla="*/ 288 w 512"/>
              <a:gd name="T13" fmla="*/ 149 h 512"/>
              <a:gd name="T14" fmla="*/ 256 w 512"/>
              <a:gd name="T15" fmla="*/ 288 h 512"/>
              <a:gd name="T16" fmla="*/ 288 w 512"/>
              <a:gd name="T17" fmla="*/ 256 h 512"/>
              <a:gd name="T18" fmla="*/ 288 w 512"/>
              <a:gd name="T19" fmla="*/ 239 h 512"/>
              <a:gd name="T20" fmla="*/ 242 w 512"/>
              <a:gd name="T21" fmla="*/ 284 h 512"/>
              <a:gd name="T22" fmla="*/ 256 w 512"/>
              <a:gd name="T23" fmla="*/ 288 h 512"/>
              <a:gd name="T24" fmla="*/ 512 w 512"/>
              <a:gd name="T25" fmla="*/ 256 h 512"/>
              <a:gd name="T26" fmla="*/ 256 w 512"/>
              <a:gd name="T27" fmla="*/ 512 h 512"/>
              <a:gd name="T28" fmla="*/ 0 w 512"/>
              <a:gd name="T29" fmla="*/ 256 h 512"/>
              <a:gd name="T30" fmla="*/ 256 w 512"/>
              <a:gd name="T31" fmla="*/ 0 h 512"/>
              <a:gd name="T32" fmla="*/ 512 w 512"/>
              <a:gd name="T33" fmla="*/ 256 h 512"/>
              <a:gd name="T34" fmla="*/ 391 w 512"/>
              <a:gd name="T35" fmla="*/ 120 h 512"/>
              <a:gd name="T36" fmla="*/ 376 w 512"/>
              <a:gd name="T37" fmla="*/ 120 h 512"/>
              <a:gd name="T38" fmla="*/ 309 w 512"/>
              <a:gd name="T39" fmla="*/ 187 h 512"/>
              <a:gd name="T40" fmla="*/ 309 w 512"/>
              <a:gd name="T41" fmla="*/ 149 h 512"/>
              <a:gd name="T42" fmla="*/ 256 w 512"/>
              <a:gd name="T43" fmla="*/ 96 h 512"/>
              <a:gd name="T44" fmla="*/ 202 w 512"/>
              <a:gd name="T45" fmla="*/ 149 h 512"/>
              <a:gd name="T46" fmla="*/ 202 w 512"/>
              <a:gd name="T47" fmla="*/ 256 h 512"/>
              <a:gd name="T48" fmla="*/ 211 w 512"/>
              <a:gd name="T49" fmla="*/ 285 h 512"/>
              <a:gd name="T50" fmla="*/ 196 w 512"/>
              <a:gd name="T51" fmla="*/ 300 h 512"/>
              <a:gd name="T52" fmla="*/ 181 w 512"/>
              <a:gd name="T53" fmla="*/ 256 h 512"/>
              <a:gd name="T54" fmla="*/ 170 w 512"/>
              <a:gd name="T55" fmla="*/ 245 h 512"/>
              <a:gd name="T56" fmla="*/ 160 w 512"/>
              <a:gd name="T57" fmla="*/ 256 h 512"/>
              <a:gd name="T58" fmla="*/ 181 w 512"/>
              <a:gd name="T59" fmla="*/ 316 h 512"/>
              <a:gd name="T60" fmla="*/ 120 w 512"/>
              <a:gd name="T61" fmla="*/ 376 h 512"/>
              <a:gd name="T62" fmla="*/ 120 w 512"/>
              <a:gd name="T63" fmla="*/ 391 h 512"/>
              <a:gd name="T64" fmla="*/ 128 w 512"/>
              <a:gd name="T65" fmla="*/ 394 h 512"/>
              <a:gd name="T66" fmla="*/ 135 w 512"/>
              <a:gd name="T67" fmla="*/ 391 h 512"/>
              <a:gd name="T68" fmla="*/ 196 w 512"/>
              <a:gd name="T69" fmla="*/ 331 h 512"/>
              <a:gd name="T70" fmla="*/ 245 w 512"/>
              <a:gd name="T71" fmla="*/ 351 h 512"/>
              <a:gd name="T72" fmla="*/ 245 w 512"/>
              <a:gd name="T73" fmla="*/ 394 h 512"/>
              <a:gd name="T74" fmla="*/ 202 w 512"/>
              <a:gd name="T75" fmla="*/ 394 h 512"/>
              <a:gd name="T76" fmla="*/ 192 w 512"/>
              <a:gd name="T77" fmla="*/ 405 h 512"/>
              <a:gd name="T78" fmla="*/ 202 w 512"/>
              <a:gd name="T79" fmla="*/ 416 h 512"/>
              <a:gd name="T80" fmla="*/ 309 w 512"/>
              <a:gd name="T81" fmla="*/ 416 h 512"/>
              <a:gd name="T82" fmla="*/ 320 w 512"/>
              <a:gd name="T83" fmla="*/ 405 h 512"/>
              <a:gd name="T84" fmla="*/ 309 w 512"/>
              <a:gd name="T85" fmla="*/ 394 h 512"/>
              <a:gd name="T86" fmla="*/ 266 w 512"/>
              <a:gd name="T87" fmla="*/ 394 h 512"/>
              <a:gd name="T88" fmla="*/ 266 w 512"/>
              <a:gd name="T89" fmla="*/ 351 h 512"/>
              <a:gd name="T90" fmla="*/ 352 w 512"/>
              <a:gd name="T91" fmla="*/ 256 h 512"/>
              <a:gd name="T92" fmla="*/ 341 w 512"/>
              <a:gd name="T93" fmla="*/ 245 h 512"/>
              <a:gd name="T94" fmla="*/ 330 w 512"/>
              <a:gd name="T95" fmla="*/ 256 h 512"/>
              <a:gd name="T96" fmla="*/ 256 w 512"/>
              <a:gd name="T97" fmla="*/ 330 h 512"/>
              <a:gd name="T98" fmla="*/ 211 w 512"/>
              <a:gd name="T99" fmla="*/ 315 h 512"/>
              <a:gd name="T100" fmla="*/ 226 w 512"/>
              <a:gd name="T101" fmla="*/ 300 h 512"/>
              <a:gd name="T102" fmla="*/ 256 w 512"/>
              <a:gd name="T103" fmla="*/ 309 h 512"/>
              <a:gd name="T104" fmla="*/ 309 w 512"/>
              <a:gd name="T105" fmla="*/ 256 h 512"/>
              <a:gd name="T106" fmla="*/ 309 w 512"/>
              <a:gd name="T107" fmla="*/ 217 h 512"/>
              <a:gd name="T108" fmla="*/ 391 w 512"/>
              <a:gd name="T109" fmla="*/ 135 h 512"/>
              <a:gd name="T110" fmla="*/ 391 w 512"/>
              <a:gd name="T111" fmla="*/ 1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288" y="149"/>
                </a:moveTo>
                <a:cubicBezTo>
                  <a:pt x="288" y="209"/>
                  <a:pt x="288" y="209"/>
                  <a:pt x="288" y="209"/>
                </a:cubicBezTo>
                <a:cubicBezTo>
                  <a:pt x="227" y="269"/>
                  <a:pt x="227" y="269"/>
                  <a:pt x="227" y="269"/>
                </a:cubicBezTo>
                <a:cubicBezTo>
                  <a:pt x="225" y="265"/>
                  <a:pt x="224" y="261"/>
                  <a:pt x="224" y="256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24" y="131"/>
                  <a:pt x="238" y="117"/>
                  <a:pt x="256" y="117"/>
                </a:cubicBezTo>
                <a:cubicBezTo>
                  <a:pt x="273" y="117"/>
                  <a:pt x="288" y="131"/>
                  <a:pt x="288" y="149"/>
                </a:cubicBezTo>
                <a:close/>
                <a:moveTo>
                  <a:pt x="256" y="288"/>
                </a:moveTo>
                <a:cubicBezTo>
                  <a:pt x="273" y="288"/>
                  <a:pt x="288" y="273"/>
                  <a:pt x="288" y="256"/>
                </a:cubicBezTo>
                <a:cubicBezTo>
                  <a:pt x="288" y="239"/>
                  <a:pt x="288" y="239"/>
                  <a:pt x="288" y="239"/>
                </a:cubicBezTo>
                <a:cubicBezTo>
                  <a:pt x="242" y="284"/>
                  <a:pt x="242" y="284"/>
                  <a:pt x="242" y="284"/>
                </a:cubicBezTo>
                <a:cubicBezTo>
                  <a:pt x="246" y="286"/>
                  <a:pt x="251" y="288"/>
                  <a:pt x="256" y="28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1" y="120"/>
                </a:moveTo>
                <a:cubicBezTo>
                  <a:pt x="387" y="116"/>
                  <a:pt x="380" y="116"/>
                  <a:pt x="376" y="120"/>
                </a:cubicBezTo>
                <a:cubicBezTo>
                  <a:pt x="309" y="187"/>
                  <a:pt x="309" y="187"/>
                  <a:pt x="309" y="187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20"/>
                  <a:pt x="285" y="96"/>
                  <a:pt x="256" y="96"/>
                </a:cubicBezTo>
                <a:cubicBezTo>
                  <a:pt x="226" y="96"/>
                  <a:pt x="202" y="120"/>
                  <a:pt x="202" y="149"/>
                </a:cubicBezTo>
                <a:cubicBezTo>
                  <a:pt x="202" y="256"/>
                  <a:pt x="202" y="256"/>
                  <a:pt x="202" y="256"/>
                </a:cubicBezTo>
                <a:cubicBezTo>
                  <a:pt x="202" y="267"/>
                  <a:pt x="206" y="277"/>
                  <a:pt x="211" y="285"/>
                </a:cubicBezTo>
                <a:cubicBezTo>
                  <a:pt x="196" y="300"/>
                  <a:pt x="196" y="300"/>
                  <a:pt x="196" y="300"/>
                </a:cubicBezTo>
                <a:cubicBezTo>
                  <a:pt x="187" y="288"/>
                  <a:pt x="181" y="272"/>
                  <a:pt x="181" y="256"/>
                </a:cubicBezTo>
                <a:cubicBezTo>
                  <a:pt x="181" y="250"/>
                  <a:pt x="176" y="245"/>
                  <a:pt x="170" y="245"/>
                </a:cubicBezTo>
                <a:cubicBezTo>
                  <a:pt x="164" y="245"/>
                  <a:pt x="160" y="250"/>
                  <a:pt x="160" y="256"/>
                </a:cubicBezTo>
                <a:cubicBezTo>
                  <a:pt x="160" y="278"/>
                  <a:pt x="168" y="299"/>
                  <a:pt x="181" y="316"/>
                </a:cubicBezTo>
                <a:cubicBezTo>
                  <a:pt x="120" y="376"/>
                  <a:pt x="120" y="376"/>
                  <a:pt x="120" y="376"/>
                </a:cubicBezTo>
                <a:cubicBezTo>
                  <a:pt x="116" y="380"/>
                  <a:pt x="116" y="387"/>
                  <a:pt x="120" y="391"/>
                </a:cubicBezTo>
                <a:cubicBezTo>
                  <a:pt x="122" y="393"/>
                  <a:pt x="125" y="394"/>
                  <a:pt x="128" y="394"/>
                </a:cubicBezTo>
                <a:cubicBezTo>
                  <a:pt x="130" y="394"/>
                  <a:pt x="133" y="393"/>
                  <a:pt x="135" y="391"/>
                </a:cubicBezTo>
                <a:cubicBezTo>
                  <a:pt x="196" y="331"/>
                  <a:pt x="196" y="331"/>
                  <a:pt x="196" y="331"/>
                </a:cubicBezTo>
                <a:cubicBezTo>
                  <a:pt x="210" y="342"/>
                  <a:pt x="227" y="349"/>
                  <a:pt x="245" y="351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96" y="394"/>
                  <a:pt x="192" y="399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309" y="416"/>
                  <a:pt x="309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99"/>
                  <a:pt x="315" y="394"/>
                  <a:pt x="309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351"/>
                  <a:pt x="266" y="351"/>
                  <a:pt x="266" y="351"/>
                </a:cubicBezTo>
                <a:cubicBezTo>
                  <a:pt x="314" y="346"/>
                  <a:pt x="352" y="305"/>
                  <a:pt x="352" y="256"/>
                </a:cubicBezTo>
                <a:cubicBezTo>
                  <a:pt x="352" y="250"/>
                  <a:pt x="347" y="245"/>
                  <a:pt x="341" y="245"/>
                </a:cubicBezTo>
                <a:cubicBezTo>
                  <a:pt x="335" y="245"/>
                  <a:pt x="330" y="250"/>
                  <a:pt x="330" y="256"/>
                </a:cubicBezTo>
                <a:cubicBezTo>
                  <a:pt x="330" y="297"/>
                  <a:pt x="297" y="330"/>
                  <a:pt x="256" y="330"/>
                </a:cubicBezTo>
                <a:cubicBezTo>
                  <a:pt x="239" y="330"/>
                  <a:pt x="224" y="325"/>
                  <a:pt x="211" y="315"/>
                </a:cubicBezTo>
                <a:cubicBezTo>
                  <a:pt x="226" y="300"/>
                  <a:pt x="226" y="300"/>
                  <a:pt x="226" y="300"/>
                </a:cubicBezTo>
                <a:cubicBezTo>
                  <a:pt x="235" y="306"/>
                  <a:pt x="245" y="309"/>
                  <a:pt x="256" y="309"/>
                </a:cubicBezTo>
                <a:cubicBezTo>
                  <a:pt x="285" y="309"/>
                  <a:pt x="309" y="285"/>
                  <a:pt x="309" y="256"/>
                </a:cubicBezTo>
                <a:cubicBezTo>
                  <a:pt x="309" y="217"/>
                  <a:pt x="309" y="217"/>
                  <a:pt x="309" y="217"/>
                </a:cubicBezTo>
                <a:cubicBezTo>
                  <a:pt x="391" y="135"/>
                  <a:pt x="391" y="135"/>
                  <a:pt x="391" y="135"/>
                </a:cubicBezTo>
                <a:cubicBezTo>
                  <a:pt x="395" y="131"/>
                  <a:pt x="395" y="124"/>
                  <a:pt x="391" y="1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85" name="Group 863"/>
          <p:cNvGrpSpPr>
            <a:grpSpLocks noChangeAspect="1"/>
          </p:cNvGrpSpPr>
          <p:nvPr/>
        </p:nvGrpSpPr>
        <p:grpSpPr bwMode="auto">
          <a:xfrm>
            <a:off x="5927929" y="5351705"/>
            <a:ext cx="367041" cy="367041"/>
            <a:chOff x="2318" y="3860"/>
            <a:chExt cx="340" cy="340"/>
          </a:xfrm>
          <a:solidFill>
            <a:schemeClr val="accent4"/>
          </a:solidFill>
        </p:grpSpPr>
        <p:sp>
          <p:nvSpPr>
            <p:cNvPr id="686" name="Freeform 864"/>
            <p:cNvSpPr>
              <a:spLocks noEditPoints="1"/>
            </p:cNvSpPr>
            <p:nvPr/>
          </p:nvSpPr>
          <p:spPr bwMode="auto">
            <a:xfrm>
              <a:off x="2395" y="3924"/>
              <a:ext cx="185" cy="212"/>
            </a:xfrm>
            <a:custGeom>
              <a:avLst/>
              <a:gdLst>
                <a:gd name="T0" fmla="*/ 140 w 279"/>
                <a:gd name="T1" fmla="*/ 213 h 320"/>
                <a:gd name="T2" fmla="*/ 193 w 279"/>
                <a:gd name="T3" fmla="*/ 160 h 320"/>
                <a:gd name="T4" fmla="*/ 193 w 279"/>
                <a:gd name="T5" fmla="*/ 121 h 320"/>
                <a:gd name="T6" fmla="*/ 275 w 279"/>
                <a:gd name="T7" fmla="*/ 39 h 320"/>
                <a:gd name="T8" fmla="*/ 275 w 279"/>
                <a:gd name="T9" fmla="*/ 24 h 320"/>
                <a:gd name="T10" fmla="*/ 260 w 279"/>
                <a:gd name="T11" fmla="*/ 24 h 320"/>
                <a:gd name="T12" fmla="*/ 193 w 279"/>
                <a:gd name="T13" fmla="*/ 91 h 320"/>
                <a:gd name="T14" fmla="*/ 193 w 279"/>
                <a:gd name="T15" fmla="*/ 53 h 320"/>
                <a:gd name="T16" fmla="*/ 140 w 279"/>
                <a:gd name="T17" fmla="*/ 0 h 320"/>
                <a:gd name="T18" fmla="*/ 86 w 279"/>
                <a:gd name="T19" fmla="*/ 53 h 320"/>
                <a:gd name="T20" fmla="*/ 86 w 279"/>
                <a:gd name="T21" fmla="*/ 160 h 320"/>
                <a:gd name="T22" fmla="*/ 95 w 279"/>
                <a:gd name="T23" fmla="*/ 189 h 320"/>
                <a:gd name="T24" fmla="*/ 80 w 279"/>
                <a:gd name="T25" fmla="*/ 204 h 320"/>
                <a:gd name="T26" fmla="*/ 65 w 279"/>
                <a:gd name="T27" fmla="*/ 160 h 320"/>
                <a:gd name="T28" fmla="*/ 54 w 279"/>
                <a:gd name="T29" fmla="*/ 149 h 320"/>
                <a:gd name="T30" fmla="*/ 44 w 279"/>
                <a:gd name="T31" fmla="*/ 160 h 320"/>
                <a:gd name="T32" fmla="*/ 65 w 279"/>
                <a:gd name="T33" fmla="*/ 220 h 320"/>
                <a:gd name="T34" fmla="*/ 4 w 279"/>
                <a:gd name="T35" fmla="*/ 280 h 320"/>
                <a:gd name="T36" fmla="*/ 4 w 279"/>
                <a:gd name="T37" fmla="*/ 295 h 320"/>
                <a:gd name="T38" fmla="*/ 12 w 279"/>
                <a:gd name="T39" fmla="*/ 298 h 320"/>
                <a:gd name="T40" fmla="*/ 19 w 279"/>
                <a:gd name="T41" fmla="*/ 295 h 320"/>
                <a:gd name="T42" fmla="*/ 80 w 279"/>
                <a:gd name="T43" fmla="*/ 235 h 320"/>
                <a:gd name="T44" fmla="*/ 129 w 279"/>
                <a:gd name="T45" fmla="*/ 255 h 320"/>
                <a:gd name="T46" fmla="*/ 129 w 279"/>
                <a:gd name="T47" fmla="*/ 298 h 320"/>
                <a:gd name="T48" fmla="*/ 86 w 279"/>
                <a:gd name="T49" fmla="*/ 298 h 320"/>
                <a:gd name="T50" fmla="*/ 76 w 279"/>
                <a:gd name="T51" fmla="*/ 309 h 320"/>
                <a:gd name="T52" fmla="*/ 86 w 279"/>
                <a:gd name="T53" fmla="*/ 320 h 320"/>
                <a:gd name="T54" fmla="*/ 193 w 279"/>
                <a:gd name="T55" fmla="*/ 320 h 320"/>
                <a:gd name="T56" fmla="*/ 204 w 279"/>
                <a:gd name="T57" fmla="*/ 309 h 320"/>
                <a:gd name="T58" fmla="*/ 193 w 279"/>
                <a:gd name="T59" fmla="*/ 298 h 320"/>
                <a:gd name="T60" fmla="*/ 150 w 279"/>
                <a:gd name="T61" fmla="*/ 298 h 320"/>
                <a:gd name="T62" fmla="*/ 150 w 279"/>
                <a:gd name="T63" fmla="*/ 255 h 320"/>
                <a:gd name="T64" fmla="*/ 236 w 279"/>
                <a:gd name="T65" fmla="*/ 160 h 320"/>
                <a:gd name="T66" fmla="*/ 225 w 279"/>
                <a:gd name="T67" fmla="*/ 149 h 320"/>
                <a:gd name="T68" fmla="*/ 214 w 279"/>
                <a:gd name="T69" fmla="*/ 160 h 320"/>
                <a:gd name="T70" fmla="*/ 140 w 279"/>
                <a:gd name="T71" fmla="*/ 234 h 320"/>
                <a:gd name="T72" fmla="*/ 95 w 279"/>
                <a:gd name="T73" fmla="*/ 219 h 320"/>
                <a:gd name="T74" fmla="*/ 110 w 279"/>
                <a:gd name="T75" fmla="*/ 204 h 320"/>
                <a:gd name="T76" fmla="*/ 140 w 279"/>
                <a:gd name="T77" fmla="*/ 213 h 320"/>
                <a:gd name="T78" fmla="*/ 172 w 279"/>
                <a:gd name="T79" fmla="*/ 160 h 320"/>
                <a:gd name="T80" fmla="*/ 140 w 279"/>
                <a:gd name="T81" fmla="*/ 192 h 320"/>
                <a:gd name="T82" fmla="*/ 126 w 279"/>
                <a:gd name="T83" fmla="*/ 188 h 320"/>
                <a:gd name="T84" fmla="*/ 172 w 279"/>
                <a:gd name="T85" fmla="*/ 143 h 320"/>
                <a:gd name="T86" fmla="*/ 172 w 279"/>
                <a:gd name="T87" fmla="*/ 160 h 320"/>
                <a:gd name="T88" fmla="*/ 108 w 279"/>
                <a:gd name="T89" fmla="*/ 160 h 320"/>
                <a:gd name="T90" fmla="*/ 108 w 279"/>
                <a:gd name="T91" fmla="*/ 53 h 320"/>
                <a:gd name="T92" fmla="*/ 140 w 279"/>
                <a:gd name="T93" fmla="*/ 21 h 320"/>
                <a:gd name="T94" fmla="*/ 172 w 279"/>
                <a:gd name="T95" fmla="*/ 53 h 320"/>
                <a:gd name="T96" fmla="*/ 172 w 279"/>
                <a:gd name="T97" fmla="*/ 113 h 320"/>
                <a:gd name="T98" fmla="*/ 111 w 279"/>
                <a:gd name="T99" fmla="*/ 173 h 320"/>
                <a:gd name="T100" fmla="*/ 108 w 279"/>
                <a:gd name="T101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9" h="320">
                  <a:moveTo>
                    <a:pt x="140" y="213"/>
                  </a:moveTo>
                  <a:cubicBezTo>
                    <a:pt x="169" y="213"/>
                    <a:pt x="193" y="189"/>
                    <a:pt x="193" y="160"/>
                  </a:cubicBezTo>
                  <a:cubicBezTo>
                    <a:pt x="193" y="121"/>
                    <a:pt x="193" y="121"/>
                    <a:pt x="193" y="121"/>
                  </a:cubicBezTo>
                  <a:cubicBezTo>
                    <a:pt x="275" y="39"/>
                    <a:pt x="275" y="39"/>
                    <a:pt x="275" y="39"/>
                  </a:cubicBezTo>
                  <a:cubicBezTo>
                    <a:pt x="279" y="35"/>
                    <a:pt x="279" y="28"/>
                    <a:pt x="275" y="24"/>
                  </a:cubicBezTo>
                  <a:cubicBezTo>
                    <a:pt x="271" y="20"/>
                    <a:pt x="264" y="20"/>
                    <a:pt x="260" y="24"/>
                  </a:cubicBezTo>
                  <a:cubicBezTo>
                    <a:pt x="193" y="91"/>
                    <a:pt x="193" y="91"/>
                    <a:pt x="193" y="91"/>
                  </a:cubicBezTo>
                  <a:cubicBezTo>
                    <a:pt x="193" y="53"/>
                    <a:pt x="193" y="53"/>
                    <a:pt x="193" y="53"/>
                  </a:cubicBezTo>
                  <a:cubicBezTo>
                    <a:pt x="193" y="24"/>
                    <a:pt x="169" y="0"/>
                    <a:pt x="140" y="0"/>
                  </a:cubicBezTo>
                  <a:cubicBezTo>
                    <a:pt x="110" y="0"/>
                    <a:pt x="86" y="24"/>
                    <a:pt x="86" y="53"/>
                  </a:cubicBezTo>
                  <a:cubicBezTo>
                    <a:pt x="86" y="160"/>
                    <a:pt x="86" y="160"/>
                    <a:pt x="86" y="160"/>
                  </a:cubicBezTo>
                  <a:cubicBezTo>
                    <a:pt x="86" y="171"/>
                    <a:pt x="90" y="181"/>
                    <a:pt x="95" y="189"/>
                  </a:cubicBezTo>
                  <a:cubicBezTo>
                    <a:pt x="80" y="204"/>
                    <a:pt x="80" y="204"/>
                    <a:pt x="80" y="204"/>
                  </a:cubicBezTo>
                  <a:cubicBezTo>
                    <a:pt x="71" y="192"/>
                    <a:pt x="65" y="176"/>
                    <a:pt x="65" y="160"/>
                  </a:cubicBezTo>
                  <a:cubicBezTo>
                    <a:pt x="65" y="154"/>
                    <a:pt x="60" y="149"/>
                    <a:pt x="54" y="149"/>
                  </a:cubicBezTo>
                  <a:cubicBezTo>
                    <a:pt x="48" y="149"/>
                    <a:pt x="44" y="154"/>
                    <a:pt x="44" y="160"/>
                  </a:cubicBezTo>
                  <a:cubicBezTo>
                    <a:pt x="44" y="182"/>
                    <a:pt x="52" y="203"/>
                    <a:pt x="65" y="220"/>
                  </a:cubicBezTo>
                  <a:cubicBezTo>
                    <a:pt x="4" y="280"/>
                    <a:pt x="4" y="280"/>
                    <a:pt x="4" y="280"/>
                  </a:cubicBezTo>
                  <a:cubicBezTo>
                    <a:pt x="0" y="284"/>
                    <a:pt x="0" y="291"/>
                    <a:pt x="4" y="295"/>
                  </a:cubicBezTo>
                  <a:cubicBezTo>
                    <a:pt x="6" y="297"/>
                    <a:pt x="9" y="298"/>
                    <a:pt x="12" y="298"/>
                  </a:cubicBezTo>
                  <a:cubicBezTo>
                    <a:pt x="14" y="298"/>
                    <a:pt x="17" y="297"/>
                    <a:pt x="19" y="295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94" y="246"/>
                    <a:pt x="111" y="253"/>
                    <a:pt x="129" y="255"/>
                  </a:cubicBezTo>
                  <a:cubicBezTo>
                    <a:pt x="129" y="298"/>
                    <a:pt x="129" y="298"/>
                    <a:pt x="129" y="298"/>
                  </a:cubicBezTo>
                  <a:cubicBezTo>
                    <a:pt x="86" y="298"/>
                    <a:pt x="86" y="298"/>
                    <a:pt x="86" y="298"/>
                  </a:cubicBezTo>
                  <a:cubicBezTo>
                    <a:pt x="80" y="298"/>
                    <a:pt x="76" y="303"/>
                    <a:pt x="76" y="309"/>
                  </a:cubicBezTo>
                  <a:cubicBezTo>
                    <a:pt x="76" y="315"/>
                    <a:pt x="80" y="320"/>
                    <a:pt x="86" y="320"/>
                  </a:cubicBezTo>
                  <a:cubicBezTo>
                    <a:pt x="193" y="320"/>
                    <a:pt x="193" y="320"/>
                    <a:pt x="193" y="320"/>
                  </a:cubicBezTo>
                  <a:cubicBezTo>
                    <a:pt x="199" y="320"/>
                    <a:pt x="204" y="315"/>
                    <a:pt x="204" y="309"/>
                  </a:cubicBezTo>
                  <a:cubicBezTo>
                    <a:pt x="204" y="303"/>
                    <a:pt x="199" y="298"/>
                    <a:pt x="193" y="298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50" y="255"/>
                    <a:pt x="150" y="255"/>
                    <a:pt x="150" y="255"/>
                  </a:cubicBezTo>
                  <a:cubicBezTo>
                    <a:pt x="198" y="250"/>
                    <a:pt x="236" y="209"/>
                    <a:pt x="236" y="160"/>
                  </a:cubicBezTo>
                  <a:cubicBezTo>
                    <a:pt x="236" y="154"/>
                    <a:pt x="231" y="149"/>
                    <a:pt x="225" y="149"/>
                  </a:cubicBezTo>
                  <a:cubicBezTo>
                    <a:pt x="219" y="149"/>
                    <a:pt x="214" y="154"/>
                    <a:pt x="214" y="160"/>
                  </a:cubicBezTo>
                  <a:cubicBezTo>
                    <a:pt x="214" y="201"/>
                    <a:pt x="181" y="234"/>
                    <a:pt x="140" y="234"/>
                  </a:cubicBezTo>
                  <a:cubicBezTo>
                    <a:pt x="123" y="234"/>
                    <a:pt x="108" y="229"/>
                    <a:pt x="95" y="219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19" y="210"/>
                    <a:pt x="129" y="213"/>
                    <a:pt x="140" y="213"/>
                  </a:cubicBezTo>
                  <a:close/>
                  <a:moveTo>
                    <a:pt x="172" y="160"/>
                  </a:moveTo>
                  <a:cubicBezTo>
                    <a:pt x="172" y="177"/>
                    <a:pt x="157" y="192"/>
                    <a:pt x="140" y="192"/>
                  </a:cubicBezTo>
                  <a:cubicBezTo>
                    <a:pt x="135" y="192"/>
                    <a:pt x="130" y="190"/>
                    <a:pt x="126" y="188"/>
                  </a:cubicBezTo>
                  <a:cubicBezTo>
                    <a:pt x="172" y="143"/>
                    <a:pt x="172" y="143"/>
                    <a:pt x="172" y="143"/>
                  </a:cubicBezTo>
                  <a:lnTo>
                    <a:pt x="172" y="160"/>
                  </a:lnTo>
                  <a:close/>
                  <a:moveTo>
                    <a:pt x="108" y="160"/>
                  </a:moveTo>
                  <a:cubicBezTo>
                    <a:pt x="108" y="53"/>
                    <a:pt x="108" y="53"/>
                    <a:pt x="108" y="53"/>
                  </a:cubicBezTo>
                  <a:cubicBezTo>
                    <a:pt x="108" y="35"/>
                    <a:pt x="122" y="21"/>
                    <a:pt x="140" y="21"/>
                  </a:cubicBezTo>
                  <a:cubicBezTo>
                    <a:pt x="157" y="21"/>
                    <a:pt x="172" y="35"/>
                    <a:pt x="172" y="53"/>
                  </a:cubicBezTo>
                  <a:cubicBezTo>
                    <a:pt x="172" y="113"/>
                    <a:pt x="172" y="113"/>
                    <a:pt x="172" y="113"/>
                  </a:cubicBezTo>
                  <a:cubicBezTo>
                    <a:pt x="111" y="173"/>
                    <a:pt x="111" y="173"/>
                    <a:pt x="111" y="173"/>
                  </a:cubicBezTo>
                  <a:cubicBezTo>
                    <a:pt x="109" y="169"/>
                    <a:pt x="108" y="165"/>
                    <a:pt x="108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7" name="Freeform 865"/>
            <p:cNvSpPr>
              <a:spLocks noEditPoints="1"/>
            </p:cNvSpPr>
            <p:nvPr/>
          </p:nvSpPr>
          <p:spPr bwMode="auto">
            <a:xfrm>
              <a:off x="2318" y="38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88" name="Freeform 879"/>
          <p:cNvSpPr>
            <a:spLocks noChangeAspect="1" noEditPoints="1"/>
          </p:cNvSpPr>
          <p:nvPr/>
        </p:nvSpPr>
        <p:spPr bwMode="auto">
          <a:xfrm>
            <a:off x="6425047" y="5351701"/>
            <a:ext cx="367982" cy="367982"/>
          </a:xfrm>
          <a:custGeom>
            <a:avLst/>
            <a:gdLst>
              <a:gd name="T0" fmla="*/ 256 w 512"/>
              <a:gd name="T1" fmla="*/ 309 h 512"/>
              <a:gd name="T2" fmla="*/ 309 w 512"/>
              <a:gd name="T3" fmla="*/ 256 h 512"/>
              <a:gd name="T4" fmla="*/ 256 w 512"/>
              <a:gd name="T5" fmla="*/ 202 h 512"/>
              <a:gd name="T6" fmla="*/ 202 w 512"/>
              <a:gd name="T7" fmla="*/ 256 h 512"/>
              <a:gd name="T8" fmla="*/ 233 w 512"/>
              <a:gd name="T9" fmla="*/ 233 h 512"/>
              <a:gd name="T10" fmla="*/ 278 w 512"/>
              <a:gd name="T11" fmla="*/ 233 h 512"/>
              <a:gd name="T12" fmla="*/ 256 w 512"/>
              <a:gd name="T13" fmla="*/ 288 h 512"/>
              <a:gd name="T14" fmla="*/ 233 w 512"/>
              <a:gd name="T15" fmla="*/ 233 h 512"/>
              <a:gd name="T16" fmla="*/ 158 w 512"/>
              <a:gd name="T17" fmla="*/ 158 h 512"/>
              <a:gd name="T18" fmla="*/ 213 w 512"/>
              <a:gd name="T19" fmla="*/ 195 h 512"/>
              <a:gd name="T20" fmla="*/ 195 w 512"/>
              <a:gd name="T21" fmla="*/ 213 h 512"/>
              <a:gd name="T22" fmla="*/ 279 w 512"/>
              <a:gd name="T23" fmla="*/ 326 h 512"/>
              <a:gd name="T24" fmla="*/ 256 w 512"/>
              <a:gd name="T25" fmla="*/ 394 h 512"/>
              <a:gd name="T26" fmla="*/ 117 w 512"/>
              <a:gd name="T27" fmla="*/ 256 h 512"/>
              <a:gd name="T28" fmla="*/ 141 w 512"/>
              <a:gd name="T29" fmla="*/ 207 h 512"/>
              <a:gd name="T30" fmla="*/ 181 w 512"/>
              <a:gd name="T31" fmla="*/ 256 h 512"/>
              <a:gd name="T32" fmla="*/ 256 w 512"/>
              <a:gd name="T33" fmla="*/ 330 h 512"/>
              <a:gd name="T34" fmla="*/ 248 w 512"/>
              <a:gd name="T35" fmla="*/ 263 h 512"/>
              <a:gd name="T36" fmla="*/ 256 w 512"/>
              <a:gd name="T37" fmla="*/ 245 h 512"/>
              <a:gd name="T38" fmla="*/ 263 w 512"/>
              <a:gd name="T39" fmla="*/ 248 h 512"/>
              <a:gd name="T40" fmla="*/ 248 w 512"/>
              <a:gd name="T41" fmla="*/ 263 h 512"/>
              <a:gd name="T42" fmla="*/ 0 w 512"/>
              <a:gd name="T43" fmla="*/ 256 h 512"/>
              <a:gd name="T44" fmla="*/ 512 w 512"/>
              <a:gd name="T45" fmla="*/ 256 h 512"/>
              <a:gd name="T46" fmla="*/ 369 w 512"/>
              <a:gd name="T47" fmla="*/ 369 h 512"/>
              <a:gd name="T48" fmla="*/ 143 w 512"/>
              <a:gd name="T49" fmla="*/ 369 h 512"/>
              <a:gd name="T50" fmla="*/ 143 w 512"/>
              <a:gd name="T51" fmla="*/ 143 h 512"/>
              <a:gd name="T52" fmla="*/ 369 w 512"/>
              <a:gd name="T53" fmla="*/ 143 h 512"/>
              <a:gd name="T54" fmla="*/ 369 w 512"/>
              <a:gd name="T55" fmla="*/ 369 h 512"/>
              <a:gd name="T56" fmla="*/ 394 w 512"/>
              <a:gd name="T57" fmla="*/ 256 h 512"/>
              <a:gd name="T58" fmla="*/ 326 w 512"/>
              <a:gd name="T59" fmla="*/ 279 h 512"/>
              <a:gd name="T60" fmla="*/ 308 w 512"/>
              <a:gd name="T61" fmla="*/ 203 h 512"/>
              <a:gd name="T62" fmla="*/ 232 w 512"/>
              <a:gd name="T63" fmla="*/ 185 h 512"/>
              <a:gd name="T64" fmla="*/ 256 w 512"/>
              <a:gd name="T65" fmla="*/ 117 h 512"/>
              <a:gd name="T66" fmla="*/ 317 w 512"/>
              <a:gd name="T67" fmla="*/ 298 h 512"/>
              <a:gd name="T68" fmla="*/ 354 w 512"/>
              <a:gd name="T69" fmla="*/ 354 h 512"/>
              <a:gd name="T70" fmla="*/ 298 w 512"/>
              <a:gd name="T71" fmla="*/ 317 h 512"/>
              <a:gd name="T72" fmla="*/ 317 w 512"/>
              <a:gd name="T73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18" y="293"/>
                </a:moveTo>
                <a:cubicBezTo>
                  <a:pt x="228" y="303"/>
                  <a:pt x="241" y="309"/>
                  <a:pt x="256" y="309"/>
                </a:cubicBezTo>
                <a:cubicBezTo>
                  <a:pt x="270" y="309"/>
                  <a:pt x="283" y="303"/>
                  <a:pt x="293" y="293"/>
                </a:cubicBezTo>
                <a:cubicBezTo>
                  <a:pt x="303" y="283"/>
                  <a:pt x="309" y="270"/>
                  <a:pt x="309" y="256"/>
                </a:cubicBezTo>
                <a:cubicBezTo>
                  <a:pt x="309" y="241"/>
                  <a:pt x="303" y="228"/>
                  <a:pt x="293" y="218"/>
                </a:cubicBezTo>
                <a:cubicBezTo>
                  <a:pt x="283" y="208"/>
                  <a:pt x="270" y="202"/>
                  <a:pt x="256" y="202"/>
                </a:cubicBezTo>
                <a:cubicBezTo>
                  <a:pt x="241" y="202"/>
                  <a:pt x="228" y="208"/>
                  <a:pt x="218" y="218"/>
                </a:cubicBezTo>
                <a:cubicBezTo>
                  <a:pt x="208" y="228"/>
                  <a:pt x="202" y="241"/>
                  <a:pt x="202" y="256"/>
                </a:cubicBezTo>
                <a:cubicBezTo>
                  <a:pt x="202" y="270"/>
                  <a:pt x="208" y="283"/>
                  <a:pt x="218" y="293"/>
                </a:cubicBezTo>
                <a:close/>
                <a:moveTo>
                  <a:pt x="233" y="233"/>
                </a:moveTo>
                <a:cubicBezTo>
                  <a:pt x="245" y="221"/>
                  <a:pt x="266" y="221"/>
                  <a:pt x="278" y="233"/>
                </a:cubicBezTo>
                <a:cubicBezTo>
                  <a:pt x="278" y="233"/>
                  <a:pt x="278" y="233"/>
                  <a:pt x="278" y="233"/>
                </a:cubicBezTo>
                <a:cubicBezTo>
                  <a:pt x="291" y="245"/>
                  <a:pt x="291" y="266"/>
                  <a:pt x="278" y="278"/>
                </a:cubicBezTo>
                <a:cubicBezTo>
                  <a:pt x="272" y="284"/>
                  <a:pt x="264" y="288"/>
                  <a:pt x="256" y="288"/>
                </a:cubicBezTo>
                <a:cubicBezTo>
                  <a:pt x="247" y="288"/>
                  <a:pt x="239" y="284"/>
                  <a:pt x="233" y="278"/>
                </a:cubicBezTo>
                <a:cubicBezTo>
                  <a:pt x="221" y="266"/>
                  <a:pt x="221" y="246"/>
                  <a:pt x="233" y="233"/>
                </a:cubicBezTo>
                <a:close/>
                <a:moveTo>
                  <a:pt x="138" y="182"/>
                </a:moveTo>
                <a:cubicBezTo>
                  <a:pt x="144" y="173"/>
                  <a:pt x="150" y="165"/>
                  <a:pt x="158" y="158"/>
                </a:cubicBezTo>
                <a:cubicBezTo>
                  <a:pt x="165" y="150"/>
                  <a:pt x="173" y="144"/>
                  <a:pt x="182" y="138"/>
                </a:cubicBezTo>
                <a:cubicBezTo>
                  <a:pt x="213" y="195"/>
                  <a:pt x="213" y="195"/>
                  <a:pt x="213" y="195"/>
                </a:cubicBezTo>
                <a:cubicBezTo>
                  <a:pt x="209" y="197"/>
                  <a:pt x="206" y="200"/>
                  <a:pt x="203" y="203"/>
                </a:cubicBezTo>
                <a:cubicBezTo>
                  <a:pt x="200" y="206"/>
                  <a:pt x="197" y="209"/>
                  <a:pt x="195" y="213"/>
                </a:cubicBezTo>
                <a:lnTo>
                  <a:pt x="138" y="182"/>
                </a:lnTo>
                <a:close/>
                <a:moveTo>
                  <a:pt x="279" y="326"/>
                </a:moveTo>
                <a:cubicBezTo>
                  <a:pt x="311" y="383"/>
                  <a:pt x="311" y="383"/>
                  <a:pt x="311" y="383"/>
                </a:cubicBezTo>
                <a:cubicBezTo>
                  <a:pt x="294" y="390"/>
                  <a:pt x="275" y="394"/>
                  <a:pt x="256" y="394"/>
                </a:cubicBezTo>
                <a:cubicBezTo>
                  <a:pt x="219" y="394"/>
                  <a:pt x="184" y="380"/>
                  <a:pt x="158" y="354"/>
                </a:cubicBezTo>
                <a:cubicBezTo>
                  <a:pt x="131" y="328"/>
                  <a:pt x="117" y="293"/>
                  <a:pt x="117" y="256"/>
                </a:cubicBezTo>
                <a:cubicBezTo>
                  <a:pt x="117" y="236"/>
                  <a:pt x="121" y="218"/>
                  <a:pt x="128" y="201"/>
                </a:cubicBezTo>
                <a:cubicBezTo>
                  <a:pt x="141" y="207"/>
                  <a:pt x="141" y="207"/>
                  <a:pt x="141" y="207"/>
                </a:cubicBezTo>
                <a:cubicBezTo>
                  <a:pt x="185" y="232"/>
                  <a:pt x="185" y="232"/>
                  <a:pt x="185" y="232"/>
                </a:cubicBezTo>
                <a:cubicBezTo>
                  <a:pt x="182" y="239"/>
                  <a:pt x="181" y="247"/>
                  <a:pt x="181" y="256"/>
                </a:cubicBezTo>
                <a:cubicBezTo>
                  <a:pt x="181" y="276"/>
                  <a:pt x="189" y="294"/>
                  <a:pt x="203" y="308"/>
                </a:cubicBezTo>
                <a:cubicBezTo>
                  <a:pt x="217" y="323"/>
                  <a:pt x="236" y="330"/>
                  <a:pt x="256" y="330"/>
                </a:cubicBezTo>
                <a:cubicBezTo>
                  <a:pt x="264" y="330"/>
                  <a:pt x="272" y="329"/>
                  <a:pt x="279" y="326"/>
                </a:cubicBezTo>
                <a:close/>
                <a:moveTo>
                  <a:pt x="248" y="263"/>
                </a:moveTo>
                <a:cubicBezTo>
                  <a:pt x="244" y="259"/>
                  <a:pt x="244" y="252"/>
                  <a:pt x="248" y="248"/>
                </a:cubicBezTo>
                <a:cubicBezTo>
                  <a:pt x="250" y="246"/>
                  <a:pt x="253" y="245"/>
                  <a:pt x="256" y="245"/>
                </a:cubicBezTo>
                <a:cubicBezTo>
                  <a:pt x="259" y="245"/>
                  <a:pt x="261" y="246"/>
                  <a:pt x="263" y="248"/>
                </a:cubicBezTo>
                <a:cubicBezTo>
                  <a:pt x="263" y="248"/>
                  <a:pt x="263" y="248"/>
                  <a:pt x="263" y="248"/>
                </a:cubicBezTo>
                <a:cubicBezTo>
                  <a:pt x="267" y="252"/>
                  <a:pt x="267" y="259"/>
                  <a:pt x="263" y="263"/>
                </a:cubicBezTo>
                <a:cubicBezTo>
                  <a:pt x="259" y="267"/>
                  <a:pt x="252" y="267"/>
                  <a:pt x="248" y="26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9" y="369"/>
                </a:moveTo>
                <a:cubicBezTo>
                  <a:pt x="339" y="399"/>
                  <a:pt x="298" y="416"/>
                  <a:pt x="256" y="416"/>
                </a:cubicBezTo>
                <a:cubicBezTo>
                  <a:pt x="213" y="416"/>
                  <a:pt x="173" y="399"/>
                  <a:pt x="143" y="369"/>
                </a:cubicBezTo>
                <a:cubicBezTo>
                  <a:pt x="112" y="339"/>
                  <a:pt x="96" y="298"/>
                  <a:pt x="96" y="256"/>
                </a:cubicBezTo>
                <a:cubicBezTo>
                  <a:pt x="96" y="213"/>
                  <a:pt x="112" y="173"/>
                  <a:pt x="143" y="143"/>
                </a:cubicBezTo>
                <a:cubicBezTo>
                  <a:pt x="173" y="112"/>
                  <a:pt x="213" y="96"/>
                  <a:pt x="256" y="96"/>
                </a:cubicBezTo>
                <a:cubicBezTo>
                  <a:pt x="298" y="96"/>
                  <a:pt x="339" y="112"/>
                  <a:pt x="369" y="143"/>
                </a:cubicBezTo>
                <a:cubicBezTo>
                  <a:pt x="399" y="173"/>
                  <a:pt x="416" y="213"/>
                  <a:pt x="416" y="256"/>
                </a:cubicBezTo>
                <a:cubicBezTo>
                  <a:pt x="416" y="298"/>
                  <a:pt x="399" y="339"/>
                  <a:pt x="369" y="369"/>
                </a:cubicBezTo>
                <a:close/>
                <a:moveTo>
                  <a:pt x="354" y="158"/>
                </a:moveTo>
                <a:cubicBezTo>
                  <a:pt x="380" y="184"/>
                  <a:pt x="394" y="219"/>
                  <a:pt x="394" y="256"/>
                </a:cubicBezTo>
                <a:cubicBezTo>
                  <a:pt x="394" y="275"/>
                  <a:pt x="390" y="294"/>
                  <a:pt x="383" y="311"/>
                </a:cubicBezTo>
                <a:cubicBezTo>
                  <a:pt x="326" y="279"/>
                  <a:pt x="326" y="279"/>
                  <a:pt x="326" y="279"/>
                </a:cubicBezTo>
                <a:cubicBezTo>
                  <a:pt x="329" y="272"/>
                  <a:pt x="330" y="264"/>
                  <a:pt x="330" y="256"/>
                </a:cubicBezTo>
                <a:cubicBezTo>
                  <a:pt x="330" y="236"/>
                  <a:pt x="323" y="217"/>
                  <a:pt x="308" y="203"/>
                </a:cubicBezTo>
                <a:cubicBezTo>
                  <a:pt x="294" y="189"/>
                  <a:pt x="276" y="181"/>
                  <a:pt x="256" y="181"/>
                </a:cubicBezTo>
                <a:cubicBezTo>
                  <a:pt x="247" y="181"/>
                  <a:pt x="239" y="182"/>
                  <a:pt x="232" y="185"/>
                </a:cubicBezTo>
                <a:cubicBezTo>
                  <a:pt x="201" y="128"/>
                  <a:pt x="201" y="128"/>
                  <a:pt x="201" y="128"/>
                </a:cubicBezTo>
                <a:cubicBezTo>
                  <a:pt x="218" y="121"/>
                  <a:pt x="236" y="117"/>
                  <a:pt x="256" y="117"/>
                </a:cubicBezTo>
                <a:cubicBezTo>
                  <a:pt x="293" y="117"/>
                  <a:pt x="328" y="131"/>
                  <a:pt x="354" y="158"/>
                </a:cubicBezTo>
                <a:close/>
                <a:moveTo>
                  <a:pt x="317" y="298"/>
                </a:moveTo>
                <a:cubicBezTo>
                  <a:pt x="373" y="330"/>
                  <a:pt x="373" y="330"/>
                  <a:pt x="373" y="330"/>
                </a:cubicBezTo>
                <a:cubicBezTo>
                  <a:pt x="367" y="338"/>
                  <a:pt x="361" y="346"/>
                  <a:pt x="354" y="354"/>
                </a:cubicBezTo>
                <a:cubicBezTo>
                  <a:pt x="346" y="361"/>
                  <a:pt x="338" y="367"/>
                  <a:pt x="330" y="373"/>
                </a:cubicBezTo>
                <a:cubicBezTo>
                  <a:pt x="298" y="317"/>
                  <a:pt x="298" y="317"/>
                  <a:pt x="298" y="317"/>
                </a:cubicBezTo>
                <a:cubicBezTo>
                  <a:pt x="302" y="314"/>
                  <a:pt x="305" y="312"/>
                  <a:pt x="308" y="308"/>
                </a:cubicBezTo>
                <a:cubicBezTo>
                  <a:pt x="312" y="305"/>
                  <a:pt x="314" y="302"/>
                  <a:pt x="317" y="29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89" name="Group 882"/>
          <p:cNvGrpSpPr>
            <a:grpSpLocks noChangeAspect="1"/>
          </p:cNvGrpSpPr>
          <p:nvPr/>
        </p:nvGrpSpPr>
        <p:grpSpPr bwMode="auto">
          <a:xfrm>
            <a:off x="6923106" y="5351701"/>
            <a:ext cx="367982" cy="367982"/>
            <a:chOff x="4643" y="3798"/>
            <a:chExt cx="340" cy="340"/>
          </a:xfrm>
          <a:solidFill>
            <a:schemeClr val="accent4"/>
          </a:solidFill>
        </p:grpSpPr>
        <p:sp>
          <p:nvSpPr>
            <p:cNvPr id="690" name="Freeform 689"/>
            <p:cNvSpPr>
              <a:spLocks/>
            </p:cNvSpPr>
            <p:nvPr/>
          </p:nvSpPr>
          <p:spPr bwMode="auto">
            <a:xfrm>
              <a:off x="4724" y="3916"/>
              <a:ext cx="52" cy="38"/>
            </a:xfrm>
            <a:custGeom>
              <a:avLst/>
              <a:gdLst>
                <a:gd name="T0" fmla="*/ 45 w 52"/>
                <a:gd name="T1" fmla="*/ 38 h 38"/>
                <a:gd name="T2" fmla="*/ 0 w 52"/>
                <a:gd name="T3" fmla="*/ 13 h 38"/>
                <a:gd name="T4" fmla="*/ 7 w 52"/>
                <a:gd name="T5" fmla="*/ 0 h 38"/>
                <a:gd name="T6" fmla="*/ 52 w 52"/>
                <a:gd name="T7" fmla="*/ 25 h 38"/>
                <a:gd name="T8" fmla="*/ 45 w 5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8">
                  <a:moveTo>
                    <a:pt x="45" y="38"/>
                  </a:moveTo>
                  <a:lnTo>
                    <a:pt x="0" y="13"/>
                  </a:lnTo>
                  <a:lnTo>
                    <a:pt x="7" y="0"/>
                  </a:lnTo>
                  <a:lnTo>
                    <a:pt x="52" y="25"/>
                  </a:lnTo>
                  <a:lnTo>
                    <a:pt x="45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1" name="Freeform 690"/>
            <p:cNvSpPr>
              <a:spLocks/>
            </p:cNvSpPr>
            <p:nvPr/>
          </p:nvSpPr>
          <p:spPr bwMode="auto">
            <a:xfrm>
              <a:off x="4761" y="3879"/>
              <a:ext cx="38" cy="52"/>
            </a:xfrm>
            <a:custGeom>
              <a:avLst/>
              <a:gdLst>
                <a:gd name="T0" fmla="*/ 25 w 38"/>
                <a:gd name="T1" fmla="*/ 52 h 52"/>
                <a:gd name="T2" fmla="*/ 0 w 38"/>
                <a:gd name="T3" fmla="*/ 7 h 52"/>
                <a:gd name="T4" fmla="*/ 13 w 38"/>
                <a:gd name="T5" fmla="*/ 0 h 52"/>
                <a:gd name="T6" fmla="*/ 38 w 38"/>
                <a:gd name="T7" fmla="*/ 45 h 52"/>
                <a:gd name="T8" fmla="*/ 25 w 38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2">
                  <a:moveTo>
                    <a:pt x="25" y="52"/>
                  </a:moveTo>
                  <a:lnTo>
                    <a:pt x="0" y="7"/>
                  </a:lnTo>
                  <a:lnTo>
                    <a:pt x="13" y="0"/>
                  </a:lnTo>
                  <a:lnTo>
                    <a:pt x="38" y="45"/>
                  </a:lnTo>
                  <a:lnTo>
                    <a:pt x="25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2" name="Freeform 691"/>
            <p:cNvSpPr>
              <a:spLocks noEditPoints="1"/>
            </p:cNvSpPr>
            <p:nvPr/>
          </p:nvSpPr>
          <p:spPr bwMode="auto">
            <a:xfrm>
              <a:off x="4643" y="37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3" name="Freeform 692"/>
            <p:cNvSpPr>
              <a:spLocks noEditPoints="1"/>
            </p:cNvSpPr>
            <p:nvPr/>
          </p:nvSpPr>
          <p:spPr bwMode="auto">
            <a:xfrm>
              <a:off x="4707" y="3862"/>
              <a:ext cx="212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258 w 320"/>
                <a:gd name="T9" fmla="*/ 62 h 320"/>
                <a:gd name="T10" fmla="*/ 287 w 320"/>
                <a:gd name="T11" fmla="*/ 215 h 320"/>
                <a:gd name="T12" fmla="*/ 234 w 320"/>
                <a:gd name="T13" fmla="*/ 160 h 320"/>
                <a:gd name="T14" fmla="*/ 160 w 320"/>
                <a:gd name="T15" fmla="*/ 85 h 320"/>
                <a:gd name="T16" fmla="*/ 105 w 320"/>
                <a:gd name="T17" fmla="*/ 32 h 320"/>
                <a:gd name="T18" fmla="*/ 258 w 320"/>
                <a:gd name="T19" fmla="*/ 62 h 320"/>
                <a:gd name="T20" fmla="*/ 160 w 320"/>
                <a:gd name="T21" fmla="*/ 213 h 320"/>
                <a:gd name="T22" fmla="*/ 106 w 320"/>
                <a:gd name="T23" fmla="*/ 160 h 320"/>
                <a:gd name="T24" fmla="*/ 160 w 320"/>
                <a:gd name="T25" fmla="*/ 106 h 320"/>
                <a:gd name="T26" fmla="*/ 213 w 320"/>
                <a:gd name="T27" fmla="*/ 160 h 320"/>
                <a:gd name="T28" fmla="*/ 62 w 320"/>
                <a:gd name="T29" fmla="*/ 62 h 320"/>
                <a:gd name="T30" fmla="*/ 117 w 320"/>
                <a:gd name="T31" fmla="*/ 99 h 320"/>
                <a:gd name="T32" fmla="*/ 99 w 320"/>
                <a:gd name="T33" fmla="*/ 117 h 320"/>
                <a:gd name="T34" fmla="*/ 62 w 320"/>
                <a:gd name="T35" fmla="*/ 62 h 320"/>
                <a:gd name="T36" fmla="*/ 21 w 320"/>
                <a:gd name="T37" fmla="*/ 160 h 320"/>
                <a:gd name="T38" fmla="*/ 89 w 320"/>
                <a:gd name="T39" fmla="*/ 136 h 320"/>
                <a:gd name="T40" fmla="*/ 107 w 320"/>
                <a:gd name="T41" fmla="*/ 212 h 320"/>
                <a:gd name="T42" fmla="*/ 183 w 320"/>
                <a:gd name="T43" fmla="*/ 230 h 320"/>
                <a:gd name="T44" fmla="*/ 160 w 320"/>
                <a:gd name="T45" fmla="*/ 298 h 320"/>
                <a:gd name="T46" fmla="*/ 258 w 320"/>
                <a:gd name="T47" fmla="*/ 258 h 320"/>
                <a:gd name="T48" fmla="*/ 202 w 320"/>
                <a:gd name="T49" fmla="*/ 221 h 320"/>
                <a:gd name="T50" fmla="*/ 221 w 320"/>
                <a:gd name="T51" fmla="*/ 202 h 320"/>
                <a:gd name="T52" fmla="*/ 258 w 320"/>
                <a:gd name="T53" fmla="*/ 258 h 320"/>
                <a:gd name="T54" fmla="*/ 137 w 320"/>
                <a:gd name="T55" fmla="*/ 137 h 320"/>
                <a:gd name="T56" fmla="*/ 160 w 320"/>
                <a:gd name="T57" fmla="*/ 192 h 320"/>
                <a:gd name="T58" fmla="*/ 182 w 320"/>
                <a:gd name="T59" fmla="*/ 137 h 320"/>
                <a:gd name="T60" fmla="*/ 152 w 320"/>
                <a:gd name="T61" fmla="*/ 167 h 320"/>
                <a:gd name="T62" fmla="*/ 160 w 320"/>
                <a:gd name="T63" fmla="*/ 149 h 320"/>
                <a:gd name="T64" fmla="*/ 167 w 320"/>
                <a:gd name="T65" fmla="*/ 15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320">
                  <a:moveTo>
                    <a:pt x="273" y="47"/>
                  </a:moveTo>
                  <a:cubicBezTo>
                    <a:pt x="243" y="16"/>
                    <a:pt x="202" y="0"/>
                    <a:pt x="160" y="0"/>
                  </a:cubicBezTo>
                  <a:cubicBezTo>
                    <a:pt x="117" y="0"/>
                    <a:pt x="77" y="16"/>
                    <a:pt x="47" y="47"/>
                  </a:cubicBezTo>
                  <a:cubicBezTo>
                    <a:pt x="16" y="77"/>
                    <a:pt x="0" y="117"/>
                    <a:pt x="0" y="160"/>
                  </a:cubicBezTo>
                  <a:cubicBezTo>
                    <a:pt x="0" y="202"/>
                    <a:pt x="16" y="243"/>
                    <a:pt x="47" y="273"/>
                  </a:cubicBezTo>
                  <a:cubicBezTo>
                    <a:pt x="77" y="303"/>
                    <a:pt x="117" y="320"/>
                    <a:pt x="160" y="320"/>
                  </a:cubicBezTo>
                  <a:cubicBezTo>
                    <a:pt x="202" y="320"/>
                    <a:pt x="243" y="303"/>
                    <a:pt x="273" y="273"/>
                  </a:cubicBezTo>
                  <a:cubicBezTo>
                    <a:pt x="303" y="243"/>
                    <a:pt x="320" y="202"/>
                    <a:pt x="320" y="160"/>
                  </a:cubicBezTo>
                  <a:cubicBezTo>
                    <a:pt x="320" y="117"/>
                    <a:pt x="303" y="77"/>
                    <a:pt x="273" y="47"/>
                  </a:cubicBezTo>
                  <a:close/>
                  <a:moveTo>
                    <a:pt x="258" y="62"/>
                  </a:moveTo>
                  <a:cubicBezTo>
                    <a:pt x="284" y="88"/>
                    <a:pt x="298" y="123"/>
                    <a:pt x="298" y="160"/>
                  </a:cubicBezTo>
                  <a:cubicBezTo>
                    <a:pt x="298" y="179"/>
                    <a:pt x="294" y="198"/>
                    <a:pt x="287" y="215"/>
                  </a:cubicBezTo>
                  <a:cubicBezTo>
                    <a:pt x="230" y="183"/>
                    <a:pt x="230" y="183"/>
                    <a:pt x="230" y="183"/>
                  </a:cubicBezTo>
                  <a:cubicBezTo>
                    <a:pt x="233" y="176"/>
                    <a:pt x="234" y="168"/>
                    <a:pt x="234" y="160"/>
                  </a:cubicBezTo>
                  <a:cubicBezTo>
                    <a:pt x="234" y="140"/>
                    <a:pt x="227" y="121"/>
                    <a:pt x="212" y="107"/>
                  </a:cubicBezTo>
                  <a:cubicBezTo>
                    <a:pt x="198" y="93"/>
                    <a:pt x="180" y="85"/>
                    <a:pt x="160" y="85"/>
                  </a:cubicBezTo>
                  <a:cubicBezTo>
                    <a:pt x="151" y="85"/>
                    <a:pt x="143" y="86"/>
                    <a:pt x="136" y="89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22" y="25"/>
                    <a:pt x="140" y="21"/>
                    <a:pt x="160" y="21"/>
                  </a:cubicBezTo>
                  <a:cubicBezTo>
                    <a:pt x="197" y="21"/>
                    <a:pt x="232" y="35"/>
                    <a:pt x="258" y="62"/>
                  </a:cubicBezTo>
                  <a:close/>
                  <a:moveTo>
                    <a:pt x="197" y="197"/>
                  </a:moveTo>
                  <a:cubicBezTo>
                    <a:pt x="187" y="207"/>
                    <a:pt x="174" y="213"/>
                    <a:pt x="160" y="213"/>
                  </a:cubicBezTo>
                  <a:cubicBezTo>
                    <a:pt x="145" y="213"/>
                    <a:pt x="132" y="207"/>
                    <a:pt x="122" y="197"/>
                  </a:cubicBezTo>
                  <a:cubicBezTo>
                    <a:pt x="112" y="187"/>
                    <a:pt x="106" y="174"/>
                    <a:pt x="106" y="160"/>
                  </a:cubicBezTo>
                  <a:cubicBezTo>
                    <a:pt x="106" y="145"/>
                    <a:pt x="112" y="132"/>
                    <a:pt x="122" y="122"/>
                  </a:cubicBezTo>
                  <a:cubicBezTo>
                    <a:pt x="132" y="112"/>
                    <a:pt x="145" y="106"/>
                    <a:pt x="160" y="106"/>
                  </a:cubicBezTo>
                  <a:cubicBezTo>
                    <a:pt x="174" y="106"/>
                    <a:pt x="187" y="112"/>
                    <a:pt x="197" y="122"/>
                  </a:cubicBezTo>
                  <a:cubicBezTo>
                    <a:pt x="207" y="132"/>
                    <a:pt x="213" y="145"/>
                    <a:pt x="213" y="160"/>
                  </a:cubicBezTo>
                  <a:cubicBezTo>
                    <a:pt x="213" y="174"/>
                    <a:pt x="207" y="187"/>
                    <a:pt x="197" y="197"/>
                  </a:cubicBezTo>
                  <a:close/>
                  <a:moveTo>
                    <a:pt x="62" y="62"/>
                  </a:moveTo>
                  <a:cubicBezTo>
                    <a:pt x="69" y="54"/>
                    <a:pt x="77" y="48"/>
                    <a:pt x="86" y="42"/>
                  </a:cubicBezTo>
                  <a:cubicBezTo>
                    <a:pt x="117" y="99"/>
                    <a:pt x="117" y="99"/>
                    <a:pt x="117" y="99"/>
                  </a:cubicBezTo>
                  <a:cubicBezTo>
                    <a:pt x="113" y="101"/>
                    <a:pt x="110" y="104"/>
                    <a:pt x="107" y="107"/>
                  </a:cubicBezTo>
                  <a:cubicBezTo>
                    <a:pt x="104" y="110"/>
                    <a:pt x="101" y="113"/>
                    <a:pt x="99" y="117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8" y="77"/>
                    <a:pt x="54" y="69"/>
                    <a:pt x="62" y="62"/>
                  </a:cubicBezTo>
                  <a:close/>
                  <a:moveTo>
                    <a:pt x="62" y="258"/>
                  </a:moveTo>
                  <a:cubicBezTo>
                    <a:pt x="35" y="232"/>
                    <a:pt x="21" y="197"/>
                    <a:pt x="21" y="160"/>
                  </a:cubicBezTo>
                  <a:cubicBezTo>
                    <a:pt x="21" y="140"/>
                    <a:pt x="25" y="122"/>
                    <a:pt x="32" y="105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86" y="143"/>
                    <a:pt x="85" y="151"/>
                    <a:pt x="85" y="160"/>
                  </a:cubicBezTo>
                  <a:cubicBezTo>
                    <a:pt x="85" y="180"/>
                    <a:pt x="93" y="198"/>
                    <a:pt x="107" y="212"/>
                  </a:cubicBezTo>
                  <a:cubicBezTo>
                    <a:pt x="121" y="227"/>
                    <a:pt x="140" y="234"/>
                    <a:pt x="160" y="234"/>
                  </a:cubicBezTo>
                  <a:cubicBezTo>
                    <a:pt x="168" y="234"/>
                    <a:pt x="176" y="233"/>
                    <a:pt x="183" y="230"/>
                  </a:cubicBezTo>
                  <a:cubicBezTo>
                    <a:pt x="215" y="287"/>
                    <a:pt x="215" y="287"/>
                    <a:pt x="215" y="287"/>
                  </a:cubicBezTo>
                  <a:cubicBezTo>
                    <a:pt x="198" y="294"/>
                    <a:pt x="179" y="298"/>
                    <a:pt x="160" y="298"/>
                  </a:cubicBezTo>
                  <a:cubicBezTo>
                    <a:pt x="123" y="298"/>
                    <a:pt x="88" y="284"/>
                    <a:pt x="62" y="258"/>
                  </a:cubicBezTo>
                  <a:close/>
                  <a:moveTo>
                    <a:pt x="258" y="258"/>
                  </a:moveTo>
                  <a:cubicBezTo>
                    <a:pt x="250" y="265"/>
                    <a:pt x="242" y="271"/>
                    <a:pt x="234" y="277"/>
                  </a:cubicBezTo>
                  <a:cubicBezTo>
                    <a:pt x="202" y="221"/>
                    <a:pt x="202" y="221"/>
                    <a:pt x="202" y="221"/>
                  </a:cubicBezTo>
                  <a:cubicBezTo>
                    <a:pt x="206" y="218"/>
                    <a:pt x="209" y="216"/>
                    <a:pt x="212" y="212"/>
                  </a:cubicBezTo>
                  <a:cubicBezTo>
                    <a:pt x="216" y="209"/>
                    <a:pt x="218" y="206"/>
                    <a:pt x="221" y="202"/>
                  </a:cubicBezTo>
                  <a:cubicBezTo>
                    <a:pt x="277" y="234"/>
                    <a:pt x="277" y="234"/>
                    <a:pt x="277" y="234"/>
                  </a:cubicBezTo>
                  <a:cubicBezTo>
                    <a:pt x="271" y="242"/>
                    <a:pt x="265" y="250"/>
                    <a:pt x="258" y="258"/>
                  </a:cubicBezTo>
                  <a:close/>
                  <a:moveTo>
                    <a:pt x="182" y="137"/>
                  </a:moveTo>
                  <a:cubicBezTo>
                    <a:pt x="170" y="125"/>
                    <a:pt x="149" y="125"/>
                    <a:pt x="137" y="137"/>
                  </a:cubicBezTo>
                  <a:cubicBezTo>
                    <a:pt x="125" y="150"/>
                    <a:pt x="125" y="170"/>
                    <a:pt x="137" y="182"/>
                  </a:cubicBezTo>
                  <a:cubicBezTo>
                    <a:pt x="143" y="188"/>
                    <a:pt x="151" y="192"/>
                    <a:pt x="160" y="192"/>
                  </a:cubicBezTo>
                  <a:cubicBezTo>
                    <a:pt x="168" y="192"/>
                    <a:pt x="176" y="188"/>
                    <a:pt x="182" y="182"/>
                  </a:cubicBezTo>
                  <a:cubicBezTo>
                    <a:pt x="195" y="170"/>
                    <a:pt x="195" y="149"/>
                    <a:pt x="182" y="137"/>
                  </a:cubicBezTo>
                  <a:close/>
                  <a:moveTo>
                    <a:pt x="167" y="167"/>
                  </a:moveTo>
                  <a:cubicBezTo>
                    <a:pt x="163" y="171"/>
                    <a:pt x="156" y="171"/>
                    <a:pt x="152" y="167"/>
                  </a:cubicBezTo>
                  <a:cubicBezTo>
                    <a:pt x="148" y="163"/>
                    <a:pt x="148" y="156"/>
                    <a:pt x="152" y="152"/>
                  </a:cubicBezTo>
                  <a:cubicBezTo>
                    <a:pt x="154" y="150"/>
                    <a:pt x="157" y="149"/>
                    <a:pt x="160" y="149"/>
                  </a:cubicBezTo>
                  <a:cubicBezTo>
                    <a:pt x="163" y="149"/>
                    <a:pt x="165" y="150"/>
                    <a:pt x="167" y="152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71" y="156"/>
                    <a:pt x="171" y="163"/>
                    <a:pt x="167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4" name="Freeform 1020"/>
          <p:cNvSpPr>
            <a:spLocks noChangeAspect="1" noEditPoints="1"/>
          </p:cNvSpPr>
          <p:nvPr/>
        </p:nvSpPr>
        <p:spPr bwMode="auto">
          <a:xfrm>
            <a:off x="7421165" y="5351705"/>
            <a:ext cx="367041" cy="368121"/>
          </a:xfrm>
          <a:custGeom>
            <a:avLst/>
            <a:gdLst>
              <a:gd name="T0" fmla="*/ 298 w 512"/>
              <a:gd name="T1" fmla="*/ 245 h 512"/>
              <a:gd name="T2" fmla="*/ 245 w 512"/>
              <a:gd name="T3" fmla="*/ 298 h 512"/>
              <a:gd name="T4" fmla="*/ 266 w 512"/>
              <a:gd name="T5" fmla="*/ 277 h 512"/>
              <a:gd name="T6" fmla="*/ 277 w 512"/>
              <a:gd name="T7" fmla="*/ 245 h 512"/>
              <a:gd name="T8" fmla="*/ 213 w 512"/>
              <a:gd name="T9" fmla="*/ 213 h 512"/>
              <a:gd name="T10" fmla="*/ 256 w 512"/>
              <a:gd name="T11" fmla="*/ 256 h 512"/>
              <a:gd name="T12" fmla="*/ 138 w 512"/>
              <a:gd name="T13" fmla="*/ 373 h 512"/>
              <a:gd name="T14" fmla="*/ 160 w 512"/>
              <a:gd name="T15" fmla="*/ 352 h 512"/>
              <a:gd name="T16" fmla="*/ 138 w 512"/>
              <a:gd name="T17" fmla="*/ 373 h 512"/>
              <a:gd name="T18" fmla="*/ 138 w 512"/>
              <a:gd name="T19" fmla="*/ 138 h 512"/>
              <a:gd name="T20" fmla="*/ 160 w 512"/>
              <a:gd name="T21" fmla="*/ 160 h 512"/>
              <a:gd name="T22" fmla="*/ 352 w 512"/>
              <a:gd name="T23" fmla="*/ 373 h 512"/>
              <a:gd name="T24" fmla="*/ 373 w 512"/>
              <a:gd name="T25" fmla="*/ 352 h 512"/>
              <a:gd name="T26" fmla="*/ 352 w 512"/>
              <a:gd name="T27" fmla="*/ 373 h 512"/>
              <a:gd name="T28" fmla="*/ 373 w 512"/>
              <a:gd name="T29" fmla="*/ 160 h 512"/>
              <a:gd name="T30" fmla="*/ 352 w 512"/>
              <a:gd name="T31" fmla="*/ 138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384 w 512"/>
              <a:gd name="T39" fmla="*/ 117 h 512"/>
              <a:gd name="T40" fmla="*/ 330 w 512"/>
              <a:gd name="T41" fmla="*/ 128 h 512"/>
              <a:gd name="T42" fmla="*/ 181 w 512"/>
              <a:gd name="T43" fmla="*/ 138 h 512"/>
              <a:gd name="T44" fmla="*/ 170 w 512"/>
              <a:gd name="T45" fmla="*/ 117 h 512"/>
              <a:gd name="T46" fmla="*/ 117 w 512"/>
              <a:gd name="T47" fmla="*/ 128 h 512"/>
              <a:gd name="T48" fmla="*/ 128 w 512"/>
              <a:gd name="T49" fmla="*/ 181 h 512"/>
              <a:gd name="T50" fmla="*/ 138 w 512"/>
              <a:gd name="T51" fmla="*/ 330 h 512"/>
              <a:gd name="T52" fmla="*/ 117 w 512"/>
              <a:gd name="T53" fmla="*/ 341 h 512"/>
              <a:gd name="T54" fmla="*/ 128 w 512"/>
              <a:gd name="T55" fmla="*/ 394 h 512"/>
              <a:gd name="T56" fmla="*/ 181 w 512"/>
              <a:gd name="T57" fmla="*/ 384 h 512"/>
              <a:gd name="T58" fmla="*/ 330 w 512"/>
              <a:gd name="T59" fmla="*/ 373 h 512"/>
              <a:gd name="T60" fmla="*/ 341 w 512"/>
              <a:gd name="T61" fmla="*/ 394 h 512"/>
              <a:gd name="T62" fmla="*/ 394 w 512"/>
              <a:gd name="T63" fmla="*/ 384 h 512"/>
              <a:gd name="T64" fmla="*/ 384 w 512"/>
              <a:gd name="T65" fmla="*/ 330 h 512"/>
              <a:gd name="T66" fmla="*/ 373 w 512"/>
              <a:gd name="T67" fmla="*/ 181 h 512"/>
              <a:gd name="T68" fmla="*/ 394 w 512"/>
              <a:gd name="T69" fmla="*/ 170 h 512"/>
              <a:gd name="T70" fmla="*/ 352 w 512"/>
              <a:gd name="T71" fmla="*/ 330 h 512"/>
              <a:gd name="T72" fmla="*/ 330 w 512"/>
              <a:gd name="T73" fmla="*/ 341 h 512"/>
              <a:gd name="T74" fmla="*/ 181 w 512"/>
              <a:gd name="T75" fmla="*/ 352 h 512"/>
              <a:gd name="T76" fmla="*/ 170 w 512"/>
              <a:gd name="T77" fmla="*/ 330 h 512"/>
              <a:gd name="T78" fmla="*/ 160 w 512"/>
              <a:gd name="T79" fmla="*/ 181 h 512"/>
              <a:gd name="T80" fmla="*/ 181 w 512"/>
              <a:gd name="T81" fmla="*/ 170 h 512"/>
              <a:gd name="T82" fmla="*/ 330 w 512"/>
              <a:gd name="T83" fmla="*/ 160 h 512"/>
              <a:gd name="T84" fmla="*/ 341 w 512"/>
              <a:gd name="T85" fmla="*/ 181 h 512"/>
              <a:gd name="T86" fmla="*/ 352 w 512"/>
              <a:gd name="T87" fmla="*/ 330 h 512"/>
              <a:gd name="T88" fmla="*/ 309 w 512"/>
              <a:gd name="T89" fmla="*/ 224 h 512"/>
              <a:gd name="T90" fmla="*/ 277 w 512"/>
              <a:gd name="T91" fmla="*/ 202 h 512"/>
              <a:gd name="T92" fmla="*/ 202 w 512"/>
              <a:gd name="T93" fmla="*/ 192 h 512"/>
              <a:gd name="T94" fmla="*/ 192 w 512"/>
              <a:gd name="T95" fmla="*/ 266 h 512"/>
              <a:gd name="T96" fmla="*/ 224 w 512"/>
              <a:gd name="T97" fmla="*/ 277 h 512"/>
              <a:gd name="T98" fmla="*/ 234 w 512"/>
              <a:gd name="T99" fmla="*/ 320 h 512"/>
              <a:gd name="T100" fmla="*/ 320 w 512"/>
              <a:gd name="T101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77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98"/>
                  <a:pt x="298" y="298"/>
                  <a:pt x="298" y="298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72" y="277"/>
                  <a:pt x="277" y="272"/>
                  <a:pt x="277" y="266"/>
                </a:cubicBezTo>
                <a:lnTo>
                  <a:pt x="277" y="245"/>
                </a:lnTo>
                <a:close/>
                <a:moveTo>
                  <a:pt x="256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56" y="256"/>
                  <a:pt x="256" y="256"/>
                  <a:pt x="256" y="256"/>
                </a:cubicBezTo>
                <a:lnTo>
                  <a:pt x="256" y="213"/>
                </a:lnTo>
                <a:close/>
                <a:moveTo>
                  <a:pt x="138" y="373"/>
                </a:moveTo>
                <a:cubicBezTo>
                  <a:pt x="160" y="373"/>
                  <a:pt x="160" y="373"/>
                  <a:pt x="160" y="373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38" y="352"/>
                  <a:pt x="138" y="352"/>
                  <a:pt x="138" y="352"/>
                </a:cubicBezTo>
                <a:lnTo>
                  <a:pt x="138" y="373"/>
                </a:lnTo>
                <a:close/>
                <a:moveTo>
                  <a:pt x="160" y="138"/>
                </a:moveTo>
                <a:cubicBezTo>
                  <a:pt x="138" y="138"/>
                  <a:pt x="138" y="138"/>
                  <a:pt x="138" y="138"/>
                </a:cubicBezTo>
                <a:cubicBezTo>
                  <a:pt x="138" y="160"/>
                  <a:pt x="138" y="160"/>
                  <a:pt x="138" y="160"/>
                </a:cubicBezTo>
                <a:cubicBezTo>
                  <a:pt x="160" y="160"/>
                  <a:pt x="160" y="160"/>
                  <a:pt x="160" y="160"/>
                </a:cubicBezTo>
                <a:lnTo>
                  <a:pt x="160" y="138"/>
                </a:lnTo>
                <a:close/>
                <a:moveTo>
                  <a:pt x="352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352"/>
                  <a:pt x="373" y="352"/>
                  <a:pt x="373" y="352"/>
                </a:cubicBezTo>
                <a:cubicBezTo>
                  <a:pt x="352" y="352"/>
                  <a:pt x="352" y="352"/>
                  <a:pt x="352" y="352"/>
                </a:cubicBezTo>
                <a:lnTo>
                  <a:pt x="352" y="373"/>
                </a:lnTo>
                <a:close/>
                <a:moveTo>
                  <a:pt x="352" y="160"/>
                </a:moveTo>
                <a:cubicBezTo>
                  <a:pt x="373" y="160"/>
                  <a:pt x="373" y="160"/>
                  <a:pt x="373" y="160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52" y="138"/>
                  <a:pt x="352" y="138"/>
                  <a:pt x="352" y="138"/>
                </a:cubicBezTo>
                <a:lnTo>
                  <a:pt x="352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35" y="117"/>
                  <a:pt x="330" y="122"/>
                  <a:pt x="330" y="12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81" y="122"/>
                  <a:pt x="176" y="117"/>
                  <a:pt x="170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17" y="176"/>
                  <a:pt x="122" y="181"/>
                  <a:pt x="128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8" y="330"/>
                  <a:pt x="138" y="330"/>
                  <a:pt x="138" y="330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122" y="330"/>
                  <a:pt x="117" y="335"/>
                  <a:pt x="117" y="341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70" y="394"/>
                  <a:pt x="170" y="394"/>
                  <a:pt x="170" y="394"/>
                </a:cubicBezTo>
                <a:cubicBezTo>
                  <a:pt x="176" y="394"/>
                  <a:pt x="181" y="390"/>
                  <a:pt x="181" y="384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330" y="373"/>
                  <a:pt x="330" y="373"/>
                  <a:pt x="330" y="373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94" y="335"/>
                  <a:pt x="390" y="330"/>
                  <a:pt x="384" y="330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90" y="181"/>
                  <a:pt x="394" y="176"/>
                  <a:pt x="394" y="170"/>
                </a:cubicBezTo>
                <a:lnTo>
                  <a:pt x="394" y="128"/>
                </a:lnTo>
                <a:close/>
                <a:moveTo>
                  <a:pt x="352" y="330"/>
                </a:moveTo>
                <a:cubicBezTo>
                  <a:pt x="341" y="330"/>
                  <a:pt x="341" y="330"/>
                  <a:pt x="341" y="330"/>
                </a:cubicBezTo>
                <a:cubicBezTo>
                  <a:pt x="335" y="330"/>
                  <a:pt x="330" y="335"/>
                  <a:pt x="330" y="341"/>
                </a:cubicBezTo>
                <a:cubicBezTo>
                  <a:pt x="330" y="352"/>
                  <a:pt x="330" y="352"/>
                  <a:pt x="330" y="352"/>
                </a:cubicBezTo>
                <a:cubicBezTo>
                  <a:pt x="181" y="352"/>
                  <a:pt x="181" y="352"/>
                  <a:pt x="181" y="352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1" y="335"/>
                  <a:pt x="176" y="330"/>
                  <a:pt x="170" y="330"/>
                </a:cubicBezTo>
                <a:cubicBezTo>
                  <a:pt x="160" y="330"/>
                  <a:pt x="160" y="330"/>
                  <a:pt x="160" y="330"/>
                </a:cubicBezTo>
                <a:cubicBezTo>
                  <a:pt x="160" y="181"/>
                  <a:pt x="160" y="181"/>
                  <a:pt x="160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76" y="181"/>
                  <a:pt x="181" y="176"/>
                  <a:pt x="181" y="17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330" y="160"/>
                  <a:pt x="330" y="160"/>
                  <a:pt x="330" y="160"/>
                </a:cubicBezTo>
                <a:cubicBezTo>
                  <a:pt x="330" y="170"/>
                  <a:pt x="330" y="170"/>
                  <a:pt x="330" y="170"/>
                </a:cubicBezTo>
                <a:cubicBezTo>
                  <a:pt x="330" y="176"/>
                  <a:pt x="335" y="181"/>
                  <a:pt x="341" y="181"/>
                </a:cubicBezTo>
                <a:cubicBezTo>
                  <a:pt x="352" y="181"/>
                  <a:pt x="352" y="181"/>
                  <a:pt x="352" y="181"/>
                </a:cubicBezTo>
                <a:lnTo>
                  <a:pt x="352" y="330"/>
                </a:lnTo>
                <a:close/>
                <a:moveTo>
                  <a:pt x="320" y="234"/>
                </a:moveTo>
                <a:cubicBezTo>
                  <a:pt x="320" y="228"/>
                  <a:pt x="315" y="224"/>
                  <a:pt x="309" y="224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277" y="196"/>
                  <a:pt x="272" y="192"/>
                  <a:pt x="266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196" y="192"/>
                  <a:pt x="192" y="196"/>
                  <a:pt x="192" y="202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92" y="272"/>
                  <a:pt x="196" y="277"/>
                  <a:pt x="202" y="27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24" y="315"/>
                  <a:pt x="228" y="320"/>
                  <a:pt x="234" y="320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15" y="320"/>
                  <a:pt x="320" y="315"/>
                  <a:pt x="320" y="309"/>
                </a:cubicBezTo>
                <a:lnTo>
                  <a:pt x="320" y="23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95" name="Group 1023"/>
          <p:cNvGrpSpPr>
            <a:grpSpLocks noChangeAspect="1"/>
          </p:cNvGrpSpPr>
          <p:nvPr/>
        </p:nvGrpSpPr>
        <p:grpSpPr bwMode="auto">
          <a:xfrm>
            <a:off x="7918283" y="5351705"/>
            <a:ext cx="367041" cy="367041"/>
            <a:chOff x="5852" y="4018"/>
            <a:chExt cx="340" cy="340"/>
          </a:xfrm>
          <a:solidFill>
            <a:schemeClr val="accent5"/>
          </a:solidFill>
        </p:grpSpPr>
        <p:sp>
          <p:nvSpPr>
            <p:cNvPr id="696" name="Freeform 1024"/>
            <p:cNvSpPr>
              <a:spLocks noEditPoints="1"/>
            </p:cNvSpPr>
            <p:nvPr/>
          </p:nvSpPr>
          <p:spPr bwMode="auto">
            <a:xfrm>
              <a:off x="5852" y="40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7" name="Freeform 1025"/>
            <p:cNvSpPr>
              <a:spLocks noEditPoints="1"/>
            </p:cNvSpPr>
            <p:nvPr/>
          </p:nvSpPr>
          <p:spPr bwMode="auto">
            <a:xfrm>
              <a:off x="5930" y="4096"/>
              <a:ext cx="184" cy="184"/>
            </a:xfrm>
            <a:custGeom>
              <a:avLst/>
              <a:gdLst>
                <a:gd name="T0" fmla="*/ 277 w 277"/>
                <a:gd name="T1" fmla="*/ 53 h 277"/>
                <a:gd name="T2" fmla="*/ 267 w 277"/>
                <a:gd name="T3" fmla="*/ 0 h 277"/>
                <a:gd name="T4" fmla="*/ 213 w 277"/>
                <a:gd name="T5" fmla="*/ 11 h 277"/>
                <a:gd name="T6" fmla="*/ 64 w 277"/>
                <a:gd name="T7" fmla="*/ 21 h 277"/>
                <a:gd name="T8" fmla="*/ 53 w 277"/>
                <a:gd name="T9" fmla="*/ 0 h 277"/>
                <a:gd name="T10" fmla="*/ 0 w 277"/>
                <a:gd name="T11" fmla="*/ 11 h 277"/>
                <a:gd name="T12" fmla="*/ 11 w 277"/>
                <a:gd name="T13" fmla="*/ 64 h 277"/>
                <a:gd name="T14" fmla="*/ 21 w 277"/>
                <a:gd name="T15" fmla="*/ 213 h 277"/>
                <a:gd name="T16" fmla="*/ 0 w 277"/>
                <a:gd name="T17" fmla="*/ 224 h 277"/>
                <a:gd name="T18" fmla="*/ 11 w 277"/>
                <a:gd name="T19" fmla="*/ 277 h 277"/>
                <a:gd name="T20" fmla="*/ 64 w 277"/>
                <a:gd name="T21" fmla="*/ 267 h 277"/>
                <a:gd name="T22" fmla="*/ 213 w 277"/>
                <a:gd name="T23" fmla="*/ 256 h 277"/>
                <a:gd name="T24" fmla="*/ 224 w 277"/>
                <a:gd name="T25" fmla="*/ 277 h 277"/>
                <a:gd name="T26" fmla="*/ 277 w 277"/>
                <a:gd name="T27" fmla="*/ 267 h 277"/>
                <a:gd name="T28" fmla="*/ 267 w 277"/>
                <a:gd name="T29" fmla="*/ 213 h 277"/>
                <a:gd name="T30" fmla="*/ 256 w 277"/>
                <a:gd name="T31" fmla="*/ 64 h 277"/>
                <a:gd name="T32" fmla="*/ 235 w 277"/>
                <a:gd name="T33" fmla="*/ 21 h 277"/>
                <a:gd name="T34" fmla="*/ 256 w 277"/>
                <a:gd name="T35" fmla="*/ 43 h 277"/>
                <a:gd name="T36" fmla="*/ 235 w 277"/>
                <a:gd name="T37" fmla="*/ 21 h 277"/>
                <a:gd name="T38" fmla="*/ 43 w 277"/>
                <a:gd name="T39" fmla="*/ 21 h 277"/>
                <a:gd name="T40" fmla="*/ 21 w 277"/>
                <a:gd name="T41" fmla="*/ 43 h 277"/>
                <a:gd name="T42" fmla="*/ 43 w 277"/>
                <a:gd name="T43" fmla="*/ 256 h 277"/>
                <a:gd name="T44" fmla="*/ 21 w 277"/>
                <a:gd name="T45" fmla="*/ 235 h 277"/>
                <a:gd name="T46" fmla="*/ 43 w 277"/>
                <a:gd name="T47" fmla="*/ 256 h 277"/>
                <a:gd name="T48" fmla="*/ 235 w 277"/>
                <a:gd name="T49" fmla="*/ 256 h 277"/>
                <a:gd name="T50" fmla="*/ 256 w 277"/>
                <a:gd name="T51" fmla="*/ 235 h 277"/>
                <a:gd name="T52" fmla="*/ 235 w 277"/>
                <a:gd name="T53" fmla="*/ 213 h 277"/>
                <a:gd name="T54" fmla="*/ 213 w 277"/>
                <a:gd name="T55" fmla="*/ 224 h 277"/>
                <a:gd name="T56" fmla="*/ 64 w 277"/>
                <a:gd name="T57" fmla="*/ 235 h 277"/>
                <a:gd name="T58" fmla="*/ 53 w 277"/>
                <a:gd name="T59" fmla="*/ 213 h 277"/>
                <a:gd name="T60" fmla="*/ 43 w 277"/>
                <a:gd name="T61" fmla="*/ 64 h 277"/>
                <a:gd name="T62" fmla="*/ 64 w 277"/>
                <a:gd name="T63" fmla="*/ 53 h 277"/>
                <a:gd name="T64" fmla="*/ 213 w 277"/>
                <a:gd name="T65" fmla="*/ 43 h 277"/>
                <a:gd name="T66" fmla="*/ 224 w 277"/>
                <a:gd name="T67" fmla="*/ 64 h 277"/>
                <a:gd name="T68" fmla="*/ 235 w 277"/>
                <a:gd name="T69" fmla="*/ 213 h 277"/>
                <a:gd name="T70" fmla="*/ 160 w 277"/>
                <a:gd name="T71" fmla="*/ 107 h 277"/>
                <a:gd name="T72" fmla="*/ 149 w 277"/>
                <a:gd name="T73" fmla="*/ 75 h 277"/>
                <a:gd name="T74" fmla="*/ 75 w 277"/>
                <a:gd name="T75" fmla="*/ 85 h 277"/>
                <a:gd name="T76" fmla="*/ 85 w 277"/>
                <a:gd name="T77" fmla="*/ 160 h 277"/>
                <a:gd name="T78" fmla="*/ 107 w 277"/>
                <a:gd name="T79" fmla="*/ 192 h 277"/>
                <a:gd name="T80" fmla="*/ 192 w 277"/>
                <a:gd name="T81" fmla="*/ 203 h 277"/>
                <a:gd name="T82" fmla="*/ 203 w 277"/>
                <a:gd name="T83" fmla="*/ 117 h 277"/>
                <a:gd name="T84" fmla="*/ 96 w 277"/>
                <a:gd name="T85" fmla="*/ 139 h 277"/>
                <a:gd name="T86" fmla="*/ 139 w 277"/>
                <a:gd name="T87" fmla="*/ 96 h 277"/>
                <a:gd name="T88" fmla="*/ 96 w 277"/>
                <a:gd name="T89" fmla="*/ 139 h 277"/>
                <a:gd name="T90" fmla="*/ 128 w 277"/>
                <a:gd name="T91" fmla="*/ 181 h 277"/>
                <a:gd name="T92" fmla="*/ 149 w 277"/>
                <a:gd name="T93" fmla="*/ 160 h 277"/>
                <a:gd name="T94" fmla="*/ 160 w 277"/>
                <a:gd name="T95" fmla="*/ 128 h 277"/>
                <a:gd name="T96" fmla="*/ 181 w 277"/>
                <a:gd name="T97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277">
                  <a:moveTo>
                    <a:pt x="267" y="64"/>
                  </a:moveTo>
                  <a:cubicBezTo>
                    <a:pt x="273" y="64"/>
                    <a:pt x="277" y="59"/>
                    <a:pt x="277" y="5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18" y="0"/>
                    <a:pt x="213" y="5"/>
                    <a:pt x="213" y="1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213"/>
                    <a:pt x="21" y="213"/>
                    <a:pt x="21" y="213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9" y="277"/>
                    <a:pt x="64" y="273"/>
                    <a:pt x="64" y="267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3" y="273"/>
                    <a:pt x="218" y="277"/>
                    <a:pt x="224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18"/>
                    <a:pt x="273" y="213"/>
                    <a:pt x="267" y="213"/>
                  </a:cubicBezTo>
                  <a:cubicBezTo>
                    <a:pt x="256" y="213"/>
                    <a:pt x="256" y="213"/>
                    <a:pt x="256" y="213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67" y="64"/>
                  </a:lnTo>
                  <a:close/>
                  <a:moveTo>
                    <a:pt x="235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235" y="43"/>
                    <a:pt x="235" y="43"/>
                    <a:pt x="235" y="43"/>
                  </a:cubicBezTo>
                  <a:lnTo>
                    <a:pt x="235" y="21"/>
                  </a:lnTo>
                  <a:close/>
                  <a:moveTo>
                    <a:pt x="21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21" y="43"/>
                    <a:pt x="21" y="43"/>
                    <a:pt x="21" y="43"/>
                  </a:cubicBezTo>
                  <a:lnTo>
                    <a:pt x="21" y="21"/>
                  </a:lnTo>
                  <a:close/>
                  <a:moveTo>
                    <a:pt x="43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43" y="235"/>
                    <a:pt x="43" y="235"/>
                    <a:pt x="43" y="235"/>
                  </a:cubicBezTo>
                  <a:lnTo>
                    <a:pt x="43" y="256"/>
                  </a:lnTo>
                  <a:close/>
                  <a:moveTo>
                    <a:pt x="256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56" y="235"/>
                    <a:pt x="256" y="235"/>
                    <a:pt x="256" y="235"/>
                  </a:cubicBezTo>
                  <a:lnTo>
                    <a:pt x="256" y="256"/>
                  </a:lnTo>
                  <a:close/>
                  <a:moveTo>
                    <a:pt x="235" y="213"/>
                  </a:moveTo>
                  <a:cubicBezTo>
                    <a:pt x="224" y="213"/>
                    <a:pt x="224" y="213"/>
                    <a:pt x="224" y="213"/>
                  </a:cubicBezTo>
                  <a:cubicBezTo>
                    <a:pt x="218" y="213"/>
                    <a:pt x="213" y="218"/>
                    <a:pt x="213" y="224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64" y="235"/>
                    <a:pt x="64" y="235"/>
                    <a:pt x="64" y="235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18"/>
                    <a:pt x="59" y="213"/>
                    <a:pt x="53" y="213"/>
                  </a:cubicBezTo>
                  <a:cubicBezTo>
                    <a:pt x="43" y="213"/>
                    <a:pt x="43" y="213"/>
                    <a:pt x="43" y="21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9"/>
                    <a:pt x="218" y="64"/>
                    <a:pt x="224" y="64"/>
                  </a:cubicBezTo>
                  <a:cubicBezTo>
                    <a:pt x="235" y="64"/>
                    <a:pt x="235" y="64"/>
                    <a:pt x="235" y="64"/>
                  </a:cubicBezTo>
                  <a:lnTo>
                    <a:pt x="235" y="213"/>
                  </a:lnTo>
                  <a:close/>
                  <a:moveTo>
                    <a:pt x="192" y="107"/>
                  </a:moveTo>
                  <a:cubicBezTo>
                    <a:pt x="160" y="107"/>
                    <a:pt x="160" y="107"/>
                    <a:pt x="160" y="107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160" y="79"/>
                    <a:pt x="155" y="75"/>
                    <a:pt x="149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79" y="75"/>
                    <a:pt x="75" y="79"/>
                    <a:pt x="75" y="85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55"/>
                    <a:pt x="79" y="160"/>
                    <a:pt x="85" y="160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98"/>
                    <a:pt x="111" y="203"/>
                    <a:pt x="117" y="203"/>
                  </a:cubicBezTo>
                  <a:cubicBezTo>
                    <a:pt x="192" y="203"/>
                    <a:pt x="192" y="203"/>
                    <a:pt x="192" y="203"/>
                  </a:cubicBezTo>
                  <a:cubicBezTo>
                    <a:pt x="198" y="203"/>
                    <a:pt x="203" y="198"/>
                    <a:pt x="203" y="192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1"/>
                    <a:pt x="198" y="107"/>
                    <a:pt x="192" y="107"/>
                  </a:cubicBezTo>
                  <a:close/>
                  <a:moveTo>
                    <a:pt x="96" y="139"/>
                  </a:moveTo>
                  <a:cubicBezTo>
                    <a:pt x="96" y="96"/>
                    <a:pt x="96" y="96"/>
                    <a:pt x="96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139"/>
                    <a:pt x="139" y="139"/>
                    <a:pt x="139" y="139"/>
                  </a:cubicBezTo>
                  <a:lnTo>
                    <a:pt x="96" y="139"/>
                  </a:lnTo>
                  <a:close/>
                  <a:moveTo>
                    <a:pt x="181" y="181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128" y="160"/>
                    <a:pt x="128" y="160"/>
                    <a:pt x="128" y="160"/>
                  </a:cubicBezTo>
                  <a:cubicBezTo>
                    <a:pt x="149" y="160"/>
                    <a:pt x="149" y="160"/>
                    <a:pt x="149" y="160"/>
                  </a:cubicBezTo>
                  <a:cubicBezTo>
                    <a:pt x="155" y="160"/>
                    <a:pt x="160" y="155"/>
                    <a:pt x="160" y="149"/>
                  </a:cubicBezTo>
                  <a:cubicBezTo>
                    <a:pt x="160" y="128"/>
                    <a:pt x="160" y="128"/>
                    <a:pt x="160" y="128"/>
                  </a:cubicBezTo>
                  <a:cubicBezTo>
                    <a:pt x="181" y="128"/>
                    <a:pt x="181" y="128"/>
                    <a:pt x="181" y="128"/>
                  </a:cubicBezTo>
                  <a:lnTo>
                    <a:pt x="181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8" name="Freeform 1029"/>
          <p:cNvSpPr>
            <a:spLocks noChangeAspect="1" noEditPoints="1"/>
          </p:cNvSpPr>
          <p:nvPr/>
        </p:nvSpPr>
        <p:spPr bwMode="auto">
          <a:xfrm>
            <a:off x="8415401" y="5351705"/>
            <a:ext cx="367041" cy="367041"/>
          </a:xfrm>
          <a:custGeom>
            <a:avLst/>
            <a:gdLst>
              <a:gd name="T0" fmla="*/ 181 w 512"/>
              <a:gd name="T1" fmla="*/ 277 h 512"/>
              <a:gd name="T2" fmla="*/ 160 w 512"/>
              <a:gd name="T3" fmla="*/ 202 h 512"/>
              <a:gd name="T4" fmla="*/ 181 w 512"/>
              <a:gd name="T5" fmla="*/ 181 h 512"/>
              <a:gd name="T6" fmla="*/ 256 w 512"/>
              <a:gd name="T7" fmla="*/ 202 h 512"/>
              <a:gd name="T8" fmla="*/ 256 w 512"/>
              <a:gd name="T9" fmla="*/ 266 h 512"/>
              <a:gd name="T10" fmla="*/ 160 w 512"/>
              <a:gd name="T11" fmla="*/ 160 h 512"/>
              <a:gd name="T12" fmla="*/ 160 w 512"/>
              <a:gd name="T13" fmla="*/ 181 h 512"/>
              <a:gd name="T14" fmla="*/ 266 w 512"/>
              <a:gd name="T15" fmla="*/ 160 h 512"/>
              <a:gd name="T16" fmla="*/ 288 w 512"/>
              <a:gd name="T17" fmla="*/ 160 h 512"/>
              <a:gd name="T18" fmla="*/ 224 w 512"/>
              <a:gd name="T19" fmla="*/ 352 h 512"/>
              <a:gd name="T20" fmla="*/ 266 w 512"/>
              <a:gd name="T21" fmla="*/ 309 h 512"/>
              <a:gd name="T22" fmla="*/ 266 w 512"/>
              <a:gd name="T23" fmla="*/ 288 h 512"/>
              <a:gd name="T24" fmla="*/ 160 w 512"/>
              <a:gd name="T25" fmla="*/ 309 h 512"/>
              <a:gd name="T26" fmla="*/ 138 w 512"/>
              <a:gd name="T27" fmla="*/ 309 h 512"/>
              <a:gd name="T28" fmla="*/ 0 w 512"/>
              <a:gd name="T29" fmla="*/ 256 h 512"/>
              <a:gd name="T30" fmla="*/ 373 w 512"/>
              <a:gd name="T31" fmla="*/ 213 h 512"/>
              <a:gd name="T32" fmla="*/ 309 w 512"/>
              <a:gd name="T33" fmla="*/ 213 h 512"/>
              <a:gd name="T34" fmla="*/ 288 w 512"/>
              <a:gd name="T35" fmla="*/ 202 h 512"/>
              <a:gd name="T36" fmla="*/ 309 w 512"/>
              <a:gd name="T37" fmla="*/ 149 h 512"/>
              <a:gd name="T38" fmla="*/ 245 w 512"/>
              <a:gd name="T39" fmla="*/ 149 h 512"/>
              <a:gd name="T40" fmla="*/ 181 w 512"/>
              <a:gd name="T41" fmla="*/ 149 h 512"/>
              <a:gd name="T42" fmla="*/ 117 w 512"/>
              <a:gd name="T43" fmla="*/ 149 h 512"/>
              <a:gd name="T44" fmla="*/ 138 w 512"/>
              <a:gd name="T45" fmla="*/ 202 h 512"/>
              <a:gd name="T46" fmla="*/ 117 w 512"/>
              <a:gd name="T47" fmla="*/ 277 h 512"/>
              <a:gd name="T48" fmla="*/ 170 w 512"/>
              <a:gd name="T49" fmla="*/ 330 h 512"/>
              <a:gd name="T50" fmla="*/ 202 w 512"/>
              <a:gd name="T51" fmla="*/ 309 h 512"/>
              <a:gd name="T52" fmla="*/ 181 w 512"/>
              <a:gd name="T53" fmla="*/ 341 h 512"/>
              <a:gd name="T54" fmla="*/ 234 w 512"/>
              <a:gd name="T55" fmla="*/ 394 h 512"/>
              <a:gd name="T56" fmla="*/ 309 w 512"/>
              <a:gd name="T57" fmla="*/ 373 h 512"/>
              <a:gd name="T58" fmla="*/ 362 w 512"/>
              <a:gd name="T59" fmla="*/ 394 h 512"/>
              <a:gd name="T60" fmla="*/ 362 w 512"/>
              <a:gd name="T61" fmla="*/ 330 h 512"/>
              <a:gd name="T62" fmla="*/ 362 w 512"/>
              <a:gd name="T63" fmla="*/ 266 h 512"/>
              <a:gd name="T64" fmla="*/ 330 w 512"/>
              <a:gd name="T65" fmla="*/ 266 h 512"/>
              <a:gd name="T66" fmla="*/ 309 w 512"/>
              <a:gd name="T67" fmla="*/ 245 h 512"/>
              <a:gd name="T68" fmla="*/ 298 w 512"/>
              <a:gd name="T69" fmla="*/ 266 h 512"/>
              <a:gd name="T70" fmla="*/ 298 w 512"/>
              <a:gd name="T71" fmla="*/ 330 h 512"/>
              <a:gd name="T72" fmla="*/ 245 w 512"/>
              <a:gd name="T73" fmla="*/ 309 h 512"/>
              <a:gd name="T74" fmla="*/ 234 w 512"/>
              <a:gd name="T75" fmla="*/ 330 h 512"/>
              <a:gd name="T76" fmla="*/ 309 w 512"/>
              <a:gd name="T77" fmla="*/ 352 h 512"/>
              <a:gd name="T78" fmla="*/ 330 w 512"/>
              <a:gd name="T79" fmla="*/ 330 h 512"/>
              <a:gd name="T80" fmla="*/ 352 w 512"/>
              <a:gd name="T81" fmla="*/ 245 h 512"/>
              <a:gd name="T82" fmla="*/ 330 w 512"/>
              <a:gd name="T83" fmla="*/ 245 h 512"/>
              <a:gd name="T84" fmla="*/ 352 w 512"/>
              <a:gd name="T85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245" y="288"/>
                </a:moveTo>
                <a:cubicBezTo>
                  <a:pt x="181" y="288"/>
                  <a:pt x="181" y="288"/>
                  <a:pt x="181" y="288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1"/>
                  <a:pt x="176" y="266"/>
                  <a:pt x="170" y="266"/>
                </a:cubicBezTo>
                <a:cubicBezTo>
                  <a:pt x="160" y="266"/>
                  <a:pt x="160" y="266"/>
                  <a:pt x="160" y="266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70" y="202"/>
                  <a:pt x="170" y="202"/>
                  <a:pt x="170" y="202"/>
                </a:cubicBezTo>
                <a:cubicBezTo>
                  <a:pt x="176" y="202"/>
                  <a:pt x="181" y="198"/>
                  <a:pt x="181" y="192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45" y="198"/>
                  <a:pt x="250" y="202"/>
                  <a:pt x="256" y="202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71"/>
                  <a:pt x="245" y="277"/>
                </a:cubicBezTo>
                <a:lnTo>
                  <a:pt x="245" y="288"/>
                </a:lnTo>
                <a:close/>
                <a:moveTo>
                  <a:pt x="160" y="160"/>
                </a:moveTo>
                <a:cubicBezTo>
                  <a:pt x="138" y="160"/>
                  <a:pt x="138" y="160"/>
                  <a:pt x="138" y="160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60" y="181"/>
                  <a:pt x="160" y="181"/>
                  <a:pt x="160" y="181"/>
                </a:cubicBezTo>
                <a:lnTo>
                  <a:pt x="160" y="160"/>
                </a:lnTo>
                <a:close/>
                <a:moveTo>
                  <a:pt x="288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88" y="181"/>
                  <a:pt x="288" y="181"/>
                  <a:pt x="288" y="181"/>
                </a:cubicBezTo>
                <a:lnTo>
                  <a:pt x="288" y="160"/>
                </a:lnTo>
                <a:close/>
                <a:moveTo>
                  <a:pt x="202" y="373"/>
                </a:moveTo>
                <a:cubicBezTo>
                  <a:pt x="224" y="373"/>
                  <a:pt x="224" y="373"/>
                  <a:pt x="224" y="373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02" y="352"/>
                  <a:pt x="202" y="352"/>
                  <a:pt x="202" y="352"/>
                </a:cubicBezTo>
                <a:lnTo>
                  <a:pt x="202" y="373"/>
                </a:lnTo>
                <a:close/>
                <a:moveTo>
                  <a:pt x="266" y="309"/>
                </a:moveTo>
                <a:cubicBezTo>
                  <a:pt x="288" y="309"/>
                  <a:pt x="288" y="309"/>
                  <a:pt x="288" y="309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66" y="288"/>
                  <a:pt x="266" y="288"/>
                  <a:pt x="266" y="288"/>
                </a:cubicBezTo>
                <a:lnTo>
                  <a:pt x="266" y="309"/>
                </a:lnTo>
                <a:close/>
                <a:moveTo>
                  <a:pt x="138" y="309"/>
                </a:moveTo>
                <a:cubicBezTo>
                  <a:pt x="160" y="309"/>
                  <a:pt x="160" y="309"/>
                  <a:pt x="160" y="309"/>
                </a:cubicBezTo>
                <a:cubicBezTo>
                  <a:pt x="160" y="288"/>
                  <a:pt x="160" y="288"/>
                  <a:pt x="160" y="288"/>
                </a:cubicBezTo>
                <a:cubicBezTo>
                  <a:pt x="138" y="288"/>
                  <a:pt x="138" y="288"/>
                  <a:pt x="138" y="288"/>
                </a:cubicBezTo>
                <a:lnTo>
                  <a:pt x="138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207"/>
                  <a:pt x="368" y="202"/>
                  <a:pt x="362" y="202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14" y="202"/>
                  <a:pt x="309" y="207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304" y="202"/>
                  <a:pt x="309" y="198"/>
                  <a:pt x="309" y="192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43"/>
                  <a:pt x="304" y="138"/>
                  <a:pt x="298" y="138"/>
                </a:cubicBezTo>
                <a:cubicBezTo>
                  <a:pt x="256" y="138"/>
                  <a:pt x="256" y="138"/>
                  <a:pt x="256" y="138"/>
                </a:cubicBezTo>
                <a:cubicBezTo>
                  <a:pt x="250" y="138"/>
                  <a:pt x="245" y="143"/>
                  <a:pt x="245" y="149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43"/>
                  <a:pt x="176" y="138"/>
                  <a:pt x="170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22" y="138"/>
                  <a:pt x="117" y="143"/>
                  <a:pt x="117" y="149"/>
                </a:cubicBezTo>
                <a:cubicBezTo>
                  <a:pt x="117" y="192"/>
                  <a:pt x="117" y="192"/>
                  <a:pt x="117" y="192"/>
                </a:cubicBezTo>
                <a:cubicBezTo>
                  <a:pt x="117" y="198"/>
                  <a:pt x="122" y="202"/>
                  <a:pt x="128" y="202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2" y="266"/>
                  <a:pt x="117" y="271"/>
                  <a:pt x="117" y="277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326"/>
                  <a:pt x="122" y="330"/>
                  <a:pt x="128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76" y="330"/>
                  <a:pt x="181" y="326"/>
                  <a:pt x="181" y="320"/>
                </a:cubicBezTo>
                <a:cubicBezTo>
                  <a:pt x="181" y="309"/>
                  <a:pt x="181" y="309"/>
                  <a:pt x="181" y="309"/>
                </a:cubicBezTo>
                <a:cubicBezTo>
                  <a:pt x="202" y="309"/>
                  <a:pt x="202" y="309"/>
                  <a:pt x="202" y="309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192" y="330"/>
                  <a:pt x="192" y="330"/>
                  <a:pt x="192" y="330"/>
                </a:cubicBezTo>
                <a:cubicBezTo>
                  <a:pt x="186" y="330"/>
                  <a:pt x="181" y="335"/>
                  <a:pt x="181" y="341"/>
                </a:cubicBezTo>
                <a:cubicBezTo>
                  <a:pt x="181" y="384"/>
                  <a:pt x="181" y="384"/>
                  <a:pt x="181" y="384"/>
                </a:cubicBezTo>
                <a:cubicBezTo>
                  <a:pt x="181" y="390"/>
                  <a:pt x="186" y="394"/>
                  <a:pt x="192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9" y="384"/>
                  <a:pt x="309" y="384"/>
                  <a:pt x="309" y="384"/>
                </a:cubicBezTo>
                <a:cubicBezTo>
                  <a:pt x="309" y="390"/>
                  <a:pt x="314" y="394"/>
                  <a:pt x="320" y="394"/>
                </a:cubicBezTo>
                <a:cubicBezTo>
                  <a:pt x="362" y="394"/>
                  <a:pt x="362" y="394"/>
                  <a:pt x="362" y="394"/>
                </a:cubicBezTo>
                <a:cubicBezTo>
                  <a:pt x="368" y="394"/>
                  <a:pt x="373" y="390"/>
                  <a:pt x="373" y="384"/>
                </a:cubicBezTo>
                <a:cubicBezTo>
                  <a:pt x="373" y="341"/>
                  <a:pt x="373" y="341"/>
                  <a:pt x="373" y="341"/>
                </a:cubicBezTo>
                <a:cubicBezTo>
                  <a:pt x="373" y="335"/>
                  <a:pt x="368" y="330"/>
                  <a:pt x="362" y="330"/>
                </a:cubicBezTo>
                <a:cubicBezTo>
                  <a:pt x="352" y="330"/>
                  <a:pt x="352" y="330"/>
                  <a:pt x="352" y="330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8" y="266"/>
                  <a:pt x="373" y="262"/>
                  <a:pt x="373" y="256"/>
                </a:cubicBezTo>
                <a:lnTo>
                  <a:pt x="373" y="213"/>
                </a:lnTo>
                <a:close/>
                <a:moveTo>
                  <a:pt x="330" y="266"/>
                </a:moveTo>
                <a:cubicBezTo>
                  <a:pt x="320" y="266"/>
                  <a:pt x="320" y="266"/>
                  <a:pt x="320" y="266"/>
                </a:cubicBezTo>
                <a:cubicBezTo>
                  <a:pt x="314" y="266"/>
                  <a:pt x="309" y="262"/>
                  <a:pt x="309" y="256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04" y="266"/>
                  <a:pt x="309" y="271"/>
                  <a:pt x="309" y="277"/>
                </a:cubicBezTo>
                <a:cubicBezTo>
                  <a:pt x="309" y="320"/>
                  <a:pt x="309" y="320"/>
                  <a:pt x="309" y="320"/>
                </a:cubicBezTo>
                <a:cubicBezTo>
                  <a:pt x="309" y="326"/>
                  <a:pt x="304" y="330"/>
                  <a:pt x="298" y="330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50" y="330"/>
                  <a:pt x="245" y="326"/>
                  <a:pt x="245" y="320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40" y="330"/>
                  <a:pt x="245" y="335"/>
                  <a:pt x="245" y="341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35"/>
                  <a:pt x="314" y="330"/>
                  <a:pt x="320" y="330"/>
                </a:cubicBezTo>
                <a:cubicBezTo>
                  <a:pt x="330" y="330"/>
                  <a:pt x="330" y="330"/>
                  <a:pt x="330" y="330"/>
                </a:cubicBezTo>
                <a:lnTo>
                  <a:pt x="330" y="266"/>
                </a:lnTo>
                <a:close/>
                <a:moveTo>
                  <a:pt x="330" y="245"/>
                </a:moveTo>
                <a:cubicBezTo>
                  <a:pt x="352" y="245"/>
                  <a:pt x="352" y="245"/>
                  <a:pt x="352" y="245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330" y="224"/>
                  <a:pt x="330" y="224"/>
                  <a:pt x="330" y="224"/>
                </a:cubicBezTo>
                <a:lnTo>
                  <a:pt x="330" y="245"/>
                </a:lnTo>
                <a:close/>
                <a:moveTo>
                  <a:pt x="330" y="373"/>
                </a:moveTo>
                <a:cubicBezTo>
                  <a:pt x="352" y="373"/>
                  <a:pt x="352" y="373"/>
                  <a:pt x="352" y="373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30" y="352"/>
                  <a:pt x="330" y="352"/>
                  <a:pt x="330" y="352"/>
                </a:cubicBezTo>
                <a:lnTo>
                  <a:pt x="330" y="37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99" name="Group 1032"/>
          <p:cNvGrpSpPr>
            <a:grpSpLocks noChangeAspect="1"/>
          </p:cNvGrpSpPr>
          <p:nvPr/>
        </p:nvGrpSpPr>
        <p:grpSpPr bwMode="auto">
          <a:xfrm>
            <a:off x="8912519" y="5351705"/>
            <a:ext cx="367041" cy="367041"/>
            <a:chOff x="6579" y="4030"/>
            <a:chExt cx="340" cy="340"/>
          </a:xfrm>
          <a:solidFill>
            <a:schemeClr val="accent5"/>
          </a:solidFill>
        </p:grpSpPr>
        <p:sp>
          <p:nvSpPr>
            <p:cNvPr id="700" name="Freeform 1033"/>
            <p:cNvSpPr>
              <a:spLocks noEditPoints="1"/>
            </p:cNvSpPr>
            <p:nvPr/>
          </p:nvSpPr>
          <p:spPr bwMode="auto">
            <a:xfrm>
              <a:off x="6579" y="403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1" name="Freeform 1034"/>
            <p:cNvSpPr>
              <a:spLocks noEditPoints="1"/>
            </p:cNvSpPr>
            <p:nvPr/>
          </p:nvSpPr>
          <p:spPr bwMode="auto">
            <a:xfrm>
              <a:off x="6657" y="4122"/>
              <a:ext cx="170" cy="170"/>
            </a:xfrm>
            <a:custGeom>
              <a:avLst/>
              <a:gdLst>
                <a:gd name="T0" fmla="*/ 256 w 256"/>
                <a:gd name="T1" fmla="*/ 118 h 256"/>
                <a:gd name="T2" fmla="*/ 245 w 256"/>
                <a:gd name="T3" fmla="*/ 64 h 256"/>
                <a:gd name="T4" fmla="*/ 192 w 256"/>
                <a:gd name="T5" fmla="*/ 75 h 256"/>
                <a:gd name="T6" fmla="*/ 171 w 256"/>
                <a:gd name="T7" fmla="*/ 86 h 256"/>
                <a:gd name="T8" fmla="*/ 181 w 256"/>
                <a:gd name="T9" fmla="*/ 64 h 256"/>
                <a:gd name="T10" fmla="*/ 192 w 256"/>
                <a:gd name="T11" fmla="*/ 11 h 256"/>
                <a:gd name="T12" fmla="*/ 139 w 256"/>
                <a:gd name="T13" fmla="*/ 0 h 256"/>
                <a:gd name="T14" fmla="*/ 128 w 256"/>
                <a:gd name="T15" fmla="*/ 22 h 256"/>
                <a:gd name="T16" fmla="*/ 64 w 256"/>
                <a:gd name="T17" fmla="*/ 11 h 256"/>
                <a:gd name="T18" fmla="*/ 11 w 256"/>
                <a:gd name="T19" fmla="*/ 0 h 256"/>
                <a:gd name="T20" fmla="*/ 0 w 256"/>
                <a:gd name="T21" fmla="*/ 54 h 256"/>
                <a:gd name="T22" fmla="*/ 21 w 256"/>
                <a:gd name="T23" fmla="*/ 64 h 256"/>
                <a:gd name="T24" fmla="*/ 11 w 256"/>
                <a:gd name="T25" fmla="*/ 128 h 256"/>
                <a:gd name="T26" fmla="*/ 0 w 256"/>
                <a:gd name="T27" fmla="*/ 182 h 256"/>
                <a:gd name="T28" fmla="*/ 53 w 256"/>
                <a:gd name="T29" fmla="*/ 192 h 256"/>
                <a:gd name="T30" fmla="*/ 64 w 256"/>
                <a:gd name="T31" fmla="*/ 171 h 256"/>
                <a:gd name="T32" fmla="*/ 85 w 256"/>
                <a:gd name="T33" fmla="*/ 192 h 256"/>
                <a:gd name="T34" fmla="*/ 64 w 256"/>
                <a:gd name="T35" fmla="*/ 203 h 256"/>
                <a:gd name="T36" fmla="*/ 75 w 256"/>
                <a:gd name="T37" fmla="*/ 256 h 256"/>
                <a:gd name="T38" fmla="*/ 128 w 256"/>
                <a:gd name="T39" fmla="*/ 246 h 256"/>
                <a:gd name="T40" fmla="*/ 192 w 256"/>
                <a:gd name="T41" fmla="*/ 235 h 256"/>
                <a:gd name="T42" fmla="*/ 203 w 256"/>
                <a:gd name="T43" fmla="*/ 256 h 256"/>
                <a:gd name="T44" fmla="*/ 256 w 256"/>
                <a:gd name="T45" fmla="*/ 246 h 256"/>
                <a:gd name="T46" fmla="*/ 245 w 256"/>
                <a:gd name="T47" fmla="*/ 192 h 256"/>
                <a:gd name="T48" fmla="*/ 235 w 256"/>
                <a:gd name="T49" fmla="*/ 128 h 256"/>
                <a:gd name="T50" fmla="*/ 213 w 256"/>
                <a:gd name="T51" fmla="*/ 86 h 256"/>
                <a:gd name="T52" fmla="*/ 235 w 256"/>
                <a:gd name="T53" fmla="*/ 107 h 256"/>
                <a:gd name="T54" fmla="*/ 213 w 256"/>
                <a:gd name="T55" fmla="*/ 86 h 256"/>
                <a:gd name="T56" fmla="*/ 171 w 256"/>
                <a:gd name="T57" fmla="*/ 171 h 256"/>
                <a:gd name="T58" fmla="*/ 149 w 256"/>
                <a:gd name="T59" fmla="*/ 150 h 256"/>
                <a:gd name="T60" fmla="*/ 149 w 256"/>
                <a:gd name="T61" fmla="*/ 22 h 256"/>
                <a:gd name="T62" fmla="*/ 171 w 256"/>
                <a:gd name="T63" fmla="*/ 43 h 256"/>
                <a:gd name="T64" fmla="*/ 149 w 256"/>
                <a:gd name="T65" fmla="*/ 22 h 256"/>
                <a:gd name="T66" fmla="*/ 43 w 256"/>
                <a:gd name="T67" fmla="*/ 22 h 256"/>
                <a:gd name="T68" fmla="*/ 21 w 256"/>
                <a:gd name="T69" fmla="*/ 43 h 256"/>
                <a:gd name="T70" fmla="*/ 43 w 256"/>
                <a:gd name="T71" fmla="*/ 171 h 256"/>
                <a:gd name="T72" fmla="*/ 21 w 256"/>
                <a:gd name="T73" fmla="*/ 150 h 256"/>
                <a:gd name="T74" fmla="*/ 43 w 256"/>
                <a:gd name="T75" fmla="*/ 171 h 256"/>
                <a:gd name="T76" fmla="*/ 43 w 256"/>
                <a:gd name="T77" fmla="*/ 128 h 256"/>
                <a:gd name="T78" fmla="*/ 53 w 256"/>
                <a:gd name="T79" fmla="*/ 64 h 256"/>
                <a:gd name="T80" fmla="*/ 64 w 256"/>
                <a:gd name="T81" fmla="*/ 43 h 256"/>
                <a:gd name="T82" fmla="*/ 128 w 256"/>
                <a:gd name="T83" fmla="*/ 54 h 256"/>
                <a:gd name="T84" fmla="*/ 149 w 256"/>
                <a:gd name="T85" fmla="*/ 64 h 256"/>
                <a:gd name="T86" fmla="*/ 139 w 256"/>
                <a:gd name="T87" fmla="*/ 128 h 256"/>
                <a:gd name="T88" fmla="*/ 128 w 256"/>
                <a:gd name="T89" fmla="*/ 150 h 256"/>
                <a:gd name="T90" fmla="*/ 64 w 256"/>
                <a:gd name="T91" fmla="*/ 139 h 256"/>
                <a:gd name="T92" fmla="*/ 107 w 256"/>
                <a:gd name="T93" fmla="*/ 235 h 256"/>
                <a:gd name="T94" fmla="*/ 85 w 256"/>
                <a:gd name="T95" fmla="*/ 214 h 256"/>
                <a:gd name="T96" fmla="*/ 107 w 256"/>
                <a:gd name="T97" fmla="*/ 235 h 256"/>
                <a:gd name="T98" fmla="*/ 213 w 256"/>
                <a:gd name="T99" fmla="*/ 235 h 256"/>
                <a:gd name="T100" fmla="*/ 235 w 256"/>
                <a:gd name="T101" fmla="*/ 214 h 256"/>
                <a:gd name="T102" fmla="*/ 213 w 256"/>
                <a:gd name="T103" fmla="*/ 192 h 256"/>
                <a:gd name="T104" fmla="*/ 192 w 256"/>
                <a:gd name="T105" fmla="*/ 203 h 256"/>
                <a:gd name="T106" fmla="*/ 128 w 256"/>
                <a:gd name="T107" fmla="*/ 214 h 256"/>
                <a:gd name="T108" fmla="*/ 117 w 256"/>
                <a:gd name="T109" fmla="*/ 192 h 256"/>
                <a:gd name="T110" fmla="*/ 107 w 256"/>
                <a:gd name="T111" fmla="*/ 171 h 256"/>
                <a:gd name="T112" fmla="*/ 128 w 256"/>
                <a:gd name="T113" fmla="*/ 182 h 256"/>
                <a:gd name="T114" fmla="*/ 181 w 256"/>
                <a:gd name="T115" fmla="*/ 192 h 256"/>
                <a:gd name="T116" fmla="*/ 192 w 256"/>
                <a:gd name="T117" fmla="*/ 139 h 256"/>
                <a:gd name="T118" fmla="*/ 171 w 256"/>
                <a:gd name="T119" fmla="*/ 128 h 256"/>
                <a:gd name="T120" fmla="*/ 192 w 256"/>
                <a:gd name="T121" fmla="*/ 107 h 256"/>
                <a:gd name="T122" fmla="*/ 203 w 256"/>
                <a:gd name="T123" fmla="*/ 128 h 256"/>
                <a:gd name="T124" fmla="*/ 213 w 256"/>
                <a:gd name="T125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" h="256">
                  <a:moveTo>
                    <a:pt x="245" y="128"/>
                  </a:moveTo>
                  <a:cubicBezTo>
                    <a:pt x="251" y="128"/>
                    <a:pt x="256" y="124"/>
                    <a:pt x="256" y="118"/>
                  </a:cubicBezTo>
                  <a:cubicBezTo>
                    <a:pt x="256" y="75"/>
                    <a:pt x="256" y="75"/>
                    <a:pt x="256" y="75"/>
                  </a:cubicBezTo>
                  <a:cubicBezTo>
                    <a:pt x="256" y="69"/>
                    <a:pt x="251" y="64"/>
                    <a:pt x="245" y="64"/>
                  </a:cubicBezTo>
                  <a:cubicBezTo>
                    <a:pt x="203" y="64"/>
                    <a:pt x="203" y="64"/>
                    <a:pt x="203" y="64"/>
                  </a:cubicBezTo>
                  <a:cubicBezTo>
                    <a:pt x="197" y="64"/>
                    <a:pt x="192" y="69"/>
                    <a:pt x="192" y="75"/>
                  </a:cubicBezTo>
                  <a:cubicBezTo>
                    <a:pt x="192" y="86"/>
                    <a:pt x="192" y="86"/>
                    <a:pt x="192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81" y="64"/>
                    <a:pt x="181" y="64"/>
                    <a:pt x="181" y="64"/>
                  </a:cubicBezTo>
                  <a:cubicBezTo>
                    <a:pt x="187" y="64"/>
                    <a:pt x="192" y="60"/>
                    <a:pt x="192" y="54"/>
                  </a:cubicBezTo>
                  <a:cubicBezTo>
                    <a:pt x="192" y="11"/>
                    <a:pt x="192" y="11"/>
                    <a:pt x="192" y="11"/>
                  </a:cubicBezTo>
                  <a:cubicBezTo>
                    <a:pt x="192" y="5"/>
                    <a:pt x="187" y="0"/>
                    <a:pt x="18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33" y="0"/>
                    <a:pt x="128" y="5"/>
                    <a:pt x="128" y="11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0"/>
                    <a:pt x="5" y="64"/>
                    <a:pt x="1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5" y="128"/>
                    <a:pt x="0" y="133"/>
                    <a:pt x="0" y="139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8"/>
                    <a:pt x="5" y="192"/>
                    <a:pt x="11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9" y="192"/>
                    <a:pt x="64" y="188"/>
                    <a:pt x="64" y="182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85" y="171"/>
                    <a:pt x="85" y="171"/>
                    <a:pt x="85" y="171"/>
                  </a:cubicBezTo>
                  <a:cubicBezTo>
                    <a:pt x="85" y="192"/>
                    <a:pt x="85" y="192"/>
                    <a:pt x="85" y="192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69" y="192"/>
                    <a:pt x="64" y="197"/>
                    <a:pt x="64" y="203"/>
                  </a:cubicBezTo>
                  <a:cubicBezTo>
                    <a:pt x="64" y="246"/>
                    <a:pt x="64" y="246"/>
                    <a:pt x="64" y="246"/>
                  </a:cubicBezTo>
                  <a:cubicBezTo>
                    <a:pt x="64" y="252"/>
                    <a:pt x="69" y="256"/>
                    <a:pt x="75" y="256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23" y="256"/>
                    <a:pt x="128" y="252"/>
                    <a:pt x="128" y="246"/>
                  </a:cubicBezTo>
                  <a:cubicBezTo>
                    <a:pt x="128" y="235"/>
                    <a:pt x="128" y="235"/>
                    <a:pt x="128" y="235"/>
                  </a:cubicBezTo>
                  <a:cubicBezTo>
                    <a:pt x="192" y="235"/>
                    <a:pt x="192" y="235"/>
                    <a:pt x="192" y="235"/>
                  </a:cubicBezTo>
                  <a:cubicBezTo>
                    <a:pt x="192" y="246"/>
                    <a:pt x="192" y="246"/>
                    <a:pt x="192" y="246"/>
                  </a:cubicBezTo>
                  <a:cubicBezTo>
                    <a:pt x="192" y="252"/>
                    <a:pt x="197" y="256"/>
                    <a:pt x="203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51" y="256"/>
                    <a:pt x="256" y="252"/>
                    <a:pt x="256" y="246"/>
                  </a:cubicBezTo>
                  <a:cubicBezTo>
                    <a:pt x="256" y="203"/>
                    <a:pt x="256" y="203"/>
                    <a:pt x="256" y="203"/>
                  </a:cubicBezTo>
                  <a:cubicBezTo>
                    <a:pt x="256" y="197"/>
                    <a:pt x="251" y="192"/>
                    <a:pt x="245" y="192"/>
                  </a:cubicBezTo>
                  <a:cubicBezTo>
                    <a:pt x="235" y="192"/>
                    <a:pt x="235" y="192"/>
                    <a:pt x="235" y="192"/>
                  </a:cubicBezTo>
                  <a:cubicBezTo>
                    <a:pt x="235" y="128"/>
                    <a:pt x="235" y="128"/>
                    <a:pt x="235" y="128"/>
                  </a:cubicBezTo>
                  <a:lnTo>
                    <a:pt x="245" y="128"/>
                  </a:lnTo>
                  <a:close/>
                  <a:moveTo>
                    <a:pt x="213" y="86"/>
                  </a:moveTo>
                  <a:cubicBezTo>
                    <a:pt x="235" y="86"/>
                    <a:pt x="235" y="86"/>
                    <a:pt x="235" y="86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13" y="107"/>
                    <a:pt x="213" y="107"/>
                    <a:pt x="213" y="107"/>
                  </a:cubicBezTo>
                  <a:lnTo>
                    <a:pt x="213" y="86"/>
                  </a:lnTo>
                  <a:close/>
                  <a:moveTo>
                    <a:pt x="171" y="150"/>
                  </a:moveTo>
                  <a:cubicBezTo>
                    <a:pt x="171" y="171"/>
                    <a:pt x="171" y="171"/>
                    <a:pt x="171" y="171"/>
                  </a:cubicBezTo>
                  <a:cubicBezTo>
                    <a:pt x="149" y="171"/>
                    <a:pt x="149" y="171"/>
                    <a:pt x="149" y="171"/>
                  </a:cubicBezTo>
                  <a:cubicBezTo>
                    <a:pt x="149" y="150"/>
                    <a:pt x="149" y="150"/>
                    <a:pt x="149" y="150"/>
                  </a:cubicBezTo>
                  <a:lnTo>
                    <a:pt x="171" y="150"/>
                  </a:lnTo>
                  <a:close/>
                  <a:moveTo>
                    <a:pt x="149" y="22"/>
                  </a:moveTo>
                  <a:cubicBezTo>
                    <a:pt x="171" y="22"/>
                    <a:pt x="171" y="22"/>
                    <a:pt x="171" y="22"/>
                  </a:cubicBezTo>
                  <a:cubicBezTo>
                    <a:pt x="171" y="43"/>
                    <a:pt x="171" y="43"/>
                    <a:pt x="171" y="43"/>
                  </a:cubicBezTo>
                  <a:cubicBezTo>
                    <a:pt x="149" y="43"/>
                    <a:pt x="149" y="43"/>
                    <a:pt x="149" y="43"/>
                  </a:cubicBezTo>
                  <a:lnTo>
                    <a:pt x="149" y="22"/>
                  </a:lnTo>
                  <a:close/>
                  <a:moveTo>
                    <a:pt x="21" y="22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21" y="43"/>
                    <a:pt x="21" y="43"/>
                    <a:pt x="21" y="43"/>
                  </a:cubicBezTo>
                  <a:lnTo>
                    <a:pt x="21" y="22"/>
                  </a:lnTo>
                  <a:close/>
                  <a:moveTo>
                    <a:pt x="43" y="171"/>
                  </a:moveTo>
                  <a:cubicBezTo>
                    <a:pt x="21" y="171"/>
                    <a:pt x="21" y="171"/>
                    <a:pt x="21" y="17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43" y="150"/>
                    <a:pt x="43" y="150"/>
                    <a:pt x="43" y="150"/>
                  </a:cubicBezTo>
                  <a:lnTo>
                    <a:pt x="43" y="171"/>
                  </a:lnTo>
                  <a:close/>
                  <a:moveTo>
                    <a:pt x="53" y="128"/>
                  </a:moveTo>
                  <a:cubicBezTo>
                    <a:pt x="43" y="128"/>
                    <a:pt x="43" y="128"/>
                    <a:pt x="43" y="128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60"/>
                    <a:pt x="64" y="54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128" y="43"/>
                    <a:pt x="128" y="43"/>
                    <a:pt x="128" y="43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60"/>
                    <a:pt x="133" y="64"/>
                    <a:pt x="139" y="64"/>
                  </a:cubicBezTo>
                  <a:cubicBezTo>
                    <a:pt x="149" y="64"/>
                    <a:pt x="149" y="64"/>
                    <a:pt x="149" y="64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39" y="128"/>
                    <a:pt x="139" y="128"/>
                    <a:pt x="139" y="128"/>
                  </a:cubicBezTo>
                  <a:cubicBezTo>
                    <a:pt x="133" y="128"/>
                    <a:pt x="128" y="133"/>
                    <a:pt x="128" y="139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3"/>
                    <a:pt x="59" y="128"/>
                    <a:pt x="53" y="128"/>
                  </a:cubicBezTo>
                  <a:close/>
                  <a:moveTo>
                    <a:pt x="107" y="235"/>
                  </a:moveTo>
                  <a:cubicBezTo>
                    <a:pt x="85" y="235"/>
                    <a:pt x="85" y="235"/>
                    <a:pt x="85" y="235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107" y="214"/>
                    <a:pt x="107" y="214"/>
                    <a:pt x="107" y="214"/>
                  </a:cubicBezTo>
                  <a:lnTo>
                    <a:pt x="107" y="235"/>
                  </a:lnTo>
                  <a:close/>
                  <a:moveTo>
                    <a:pt x="235" y="235"/>
                  </a:moveTo>
                  <a:cubicBezTo>
                    <a:pt x="213" y="235"/>
                    <a:pt x="213" y="235"/>
                    <a:pt x="213" y="235"/>
                  </a:cubicBezTo>
                  <a:cubicBezTo>
                    <a:pt x="213" y="214"/>
                    <a:pt x="213" y="214"/>
                    <a:pt x="213" y="214"/>
                  </a:cubicBezTo>
                  <a:cubicBezTo>
                    <a:pt x="235" y="214"/>
                    <a:pt x="235" y="214"/>
                    <a:pt x="235" y="214"/>
                  </a:cubicBezTo>
                  <a:lnTo>
                    <a:pt x="235" y="235"/>
                  </a:lnTo>
                  <a:close/>
                  <a:moveTo>
                    <a:pt x="213" y="192"/>
                  </a:moveTo>
                  <a:cubicBezTo>
                    <a:pt x="203" y="192"/>
                    <a:pt x="203" y="192"/>
                    <a:pt x="203" y="192"/>
                  </a:cubicBezTo>
                  <a:cubicBezTo>
                    <a:pt x="197" y="192"/>
                    <a:pt x="192" y="197"/>
                    <a:pt x="192" y="203"/>
                  </a:cubicBezTo>
                  <a:cubicBezTo>
                    <a:pt x="192" y="214"/>
                    <a:pt x="192" y="214"/>
                    <a:pt x="192" y="214"/>
                  </a:cubicBezTo>
                  <a:cubicBezTo>
                    <a:pt x="128" y="214"/>
                    <a:pt x="128" y="214"/>
                    <a:pt x="128" y="214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8" y="197"/>
                    <a:pt x="123" y="192"/>
                    <a:pt x="117" y="192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28" y="182"/>
                    <a:pt x="128" y="182"/>
                    <a:pt x="128" y="182"/>
                  </a:cubicBezTo>
                  <a:cubicBezTo>
                    <a:pt x="128" y="188"/>
                    <a:pt x="133" y="192"/>
                    <a:pt x="139" y="192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187" y="192"/>
                    <a:pt x="192" y="188"/>
                    <a:pt x="192" y="182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3"/>
                    <a:pt x="187" y="128"/>
                    <a:pt x="181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92" y="107"/>
                    <a:pt x="192" y="107"/>
                    <a:pt x="192" y="107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24"/>
                    <a:pt x="197" y="128"/>
                    <a:pt x="203" y="128"/>
                  </a:cubicBezTo>
                  <a:cubicBezTo>
                    <a:pt x="213" y="128"/>
                    <a:pt x="213" y="128"/>
                    <a:pt x="213" y="128"/>
                  </a:cubicBezTo>
                  <a:lnTo>
                    <a:pt x="213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5" name="Group 629"/>
          <p:cNvGrpSpPr>
            <a:grpSpLocks noChangeAspect="1"/>
          </p:cNvGrpSpPr>
          <p:nvPr/>
        </p:nvGrpSpPr>
        <p:grpSpPr bwMode="auto">
          <a:xfrm>
            <a:off x="9909381" y="5351704"/>
            <a:ext cx="369676" cy="370763"/>
            <a:chOff x="5034" y="2282"/>
            <a:chExt cx="340" cy="341"/>
          </a:xfrm>
          <a:solidFill>
            <a:schemeClr val="accent1"/>
          </a:solidFill>
        </p:grpSpPr>
        <p:sp>
          <p:nvSpPr>
            <p:cNvPr id="432" name="Freeform 630"/>
            <p:cNvSpPr>
              <a:spLocks noEditPoints="1"/>
            </p:cNvSpPr>
            <p:nvPr/>
          </p:nvSpPr>
          <p:spPr bwMode="auto">
            <a:xfrm>
              <a:off x="5034" y="22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3" name="Freeform 631"/>
            <p:cNvSpPr>
              <a:spLocks/>
            </p:cNvSpPr>
            <p:nvPr/>
          </p:nvSpPr>
          <p:spPr bwMode="auto">
            <a:xfrm>
              <a:off x="5158" y="2360"/>
              <a:ext cx="92" cy="184"/>
            </a:xfrm>
            <a:custGeom>
              <a:avLst/>
              <a:gdLst>
                <a:gd name="T0" fmla="*/ 128 w 139"/>
                <a:gd name="T1" fmla="*/ 256 h 277"/>
                <a:gd name="T2" fmla="*/ 104 w 139"/>
                <a:gd name="T3" fmla="*/ 256 h 277"/>
                <a:gd name="T4" fmla="*/ 80 w 139"/>
                <a:gd name="T5" fmla="*/ 232 h 277"/>
                <a:gd name="T6" fmla="*/ 80 w 139"/>
                <a:gd name="T7" fmla="*/ 149 h 277"/>
                <a:gd name="T8" fmla="*/ 102 w 139"/>
                <a:gd name="T9" fmla="*/ 149 h 277"/>
                <a:gd name="T10" fmla="*/ 112 w 139"/>
                <a:gd name="T11" fmla="*/ 139 h 277"/>
                <a:gd name="T12" fmla="*/ 102 w 139"/>
                <a:gd name="T13" fmla="*/ 128 h 277"/>
                <a:gd name="T14" fmla="*/ 80 w 139"/>
                <a:gd name="T15" fmla="*/ 128 h 277"/>
                <a:gd name="T16" fmla="*/ 80 w 139"/>
                <a:gd name="T17" fmla="*/ 45 h 277"/>
                <a:gd name="T18" fmla="*/ 104 w 139"/>
                <a:gd name="T19" fmla="*/ 21 h 277"/>
                <a:gd name="T20" fmla="*/ 128 w 139"/>
                <a:gd name="T21" fmla="*/ 21 h 277"/>
                <a:gd name="T22" fmla="*/ 139 w 139"/>
                <a:gd name="T23" fmla="*/ 11 h 277"/>
                <a:gd name="T24" fmla="*/ 128 w 139"/>
                <a:gd name="T25" fmla="*/ 0 h 277"/>
                <a:gd name="T26" fmla="*/ 104 w 139"/>
                <a:gd name="T27" fmla="*/ 0 h 277"/>
                <a:gd name="T28" fmla="*/ 70 w 139"/>
                <a:gd name="T29" fmla="*/ 16 h 277"/>
                <a:gd name="T30" fmla="*/ 35 w 139"/>
                <a:gd name="T31" fmla="*/ 0 h 277"/>
                <a:gd name="T32" fmla="*/ 11 w 139"/>
                <a:gd name="T33" fmla="*/ 0 h 277"/>
                <a:gd name="T34" fmla="*/ 0 w 139"/>
                <a:gd name="T35" fmla="*/ 11 h 277"/>
                <a:gd name="T36" fmla="*/ 11 w 139"/>
                <a:gd name="T37" fmla="*/ 21 h 277"/>
                <a:gd name="T38" fmla="*/ 35 w 139"/>
                <a:gd name="T39" fmla="*/ 21 h 277"/>
                <a:gd name="T40" fmla="*/ 59 w 139"/>
                <a:gd name="T41" fmla="*/ 45 h 277"/>
                <a:gd name="T42" fmla="*/ 59 w 139"/>
                <a:gd name="T43" fmla="*/ 128 h 277"/>
                <a:gd name="T44" fmla="*/ 38 w 139"/>
                <a:gd name="T45" fmla="*/ 128 h 277"/>
                <a:gd name="T46" fmla="*/ 27 w 139"/>
                <a:gd name="T47" fmla="*/ 139 h 277"/>
                <a:gd name="T48" fmla="*/ 38 w 139"/>
                <a:gd name="T49" fmla="*/ 149 h 277"/>
                <a:gd name="T50" fmla="*/ 59 w 139"/>
                <a:gd name="T51" fmla="*/ 149 h 277"/>
                <a:gd name="T52" fmla="*/ 59 w 139"/>
                <a:gd name="T53" fmla="*/ 232 h 277"/>
                <a:gd name="T54" fmla="*/ 35 w 139"/>
                <a:gd name="T55" fmla="*/ 256 h 277"/>
                <a:gd name="T56" fmla="*/ 11 w 139"/>
                <a:gd name="T57" fmla="*/ 256 h 277"/>
                <a:gd name="T58" fmla="*/ 0 w 139"/>
                <a:gd name="T59" fmla="*/ 267 h 277"/>
                <a:gd name="T60" fmla="*/ 11 w 139"/>
                <a:gd name="T61" fmla="*/ 277 h 277"/>
                <a:gd name="T62" fmla="*/ 35 w 139"/>
                <a:gd name="T63" fmla="*/ 277 h 277"/>
                <a:gd name="T64" fmla="*/ 70 w 139"/>
                <a:gd name="T65" fmla="*/ 261 h 277"/>
                <a:gd name="T66" fmla="*/ 104 w 139"/>
                <a:gd name="T67" fmla="*/ 277 h 277"/>
                <a:gd name="T68" fmla="*/ 128 w 139"/>
                <a:gd name="T69" fmla="*/ 277 h 277"/>
                <a:gd name="T70" fmla="*/ 139 w 139"/>
                <a:gd name="T71" fmla="*/ 267 h 277"/>
                <a:gd name="T72" fmla="*/ 128 w 139"/>
                <a:gd name="T73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" h="277">
                  <a:moveTo>
                    <a:pt x="128" y="256"/>
                  </a:moveTo>
                  <a:cubicBezTo>
                    <a:pt x="104" y="256"/>
                    <a:pt x="104" y="256"/>
                    <a:pt x="104" y="256"/>
                  </a:cubicBezTo>
                  <a:cubicBezTo>
                    <a:pt x="91" y="256"/>
                    <a:pt x="80" y="245"/>
                    <a:pt x="80" y="232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8" y="149"/>
                    <a:pt x="112" y="145"/>
                    <a:pt x="112" y="139"/>
                  </a:cubicBezTo>
                  <a:cubicBezTo>
                    <a:pt x="112" y="133"/>
                    <a:pt x="108" y="128"/>
                    <a:pt x="102" y="128"/>
                  </a:cubicBezTo>
                  <a:cubicBezTo>
                    <a:pt x="80" y="128"/>
                    <a:pt x="80" y="128"/>
                    <a:pt x="80" y="128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32"/>
                    <a:pt x="91" y="21"/>
                    <a:pt x="104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34" y="21"/>
                    <a:pt x="139" y="17"/>
                    <a:pt x="139" y="11"/>
                  </a:cubicBezTo>
                  <a:cubicBezTo>
                    <a:pt x="139" y="5"/>
                    <a:pt x="134" y="0"/>
                    <a:pt x="128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0" y="0"/>
                    <a:pt x="78" y="6"/>
                    <a:pt x="70" y="16"/>
                  </a:cubicBezTo>
                  <a:cubicBezTo>
                    <a:pt x="61" y="6"/>
                    <a:pt x="49" y="0"/>
                    <a:pt x="3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48" y="21"/>
                    <a:pt x="59" y="32"/>
                    <a:pt x="59" y="45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2" y="128"/>
                    <a:pt x="27" y="133"/>
                    <a:pt x="27" y="139"/>
                  </a:cubicBezTo>
                  <a:cubicBezTo>
                    <a:pt x="27" y="145"/>
                    <a:pt x="32" y="149"/>
                    <a:pt x="38" y="149"/>
                  </a:cubicBezTo>
                  <a:cubicBezTo>
                    <a:pt x="59" y="149"/>
                    <a:pt x="59" y="149"/>
                    <a:pt x="59" y="149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59" y="245"/>
                    <a:pt x="48" y="256"/>
                    <a:pt x="35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1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35" y="277"/>
                    <a:pt x="35" y="277"/>
                    <a:pt x="35" y="277"/>
                  </a:cubicBezTo>
                  <a:cubicBezTo>
                    <a:pt x="49" y="277"/>
                    <a:pt x="61" y="271"/>
                    <a:pt x="70" y="261"/>
                  </a:cubicBezTo>
                  <a:cubicBezTo>
                    <a:pt x="78" y="271"/>
                    <a:pt x="90" y="277"/>
                    <a:pt x="10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34" y="277"/>
                    <a:pt x="139" y="273"/>
                    <a:pt x="139" y="267"/>
                  </a:cubicBezTo>
                  <a:cubicBezTo>
                    <a:pt x="139" y="261"/>
                    <a:pt x="134" y="256"/>
                    <a:pt x="128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34" name="Freeform 635"/>
          <p:cNvSpPr>
            <a:spLocks noChangeAspect="1" noEditPoints="1"/>
          </p:cNvSpPr>
          <p:nvPr/>
        </p:nvSpPr>
        <p:spPr bwMode="auto">
          <a:xfrm>
            <a:off x="9409637" y="5351701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88 w 512"/>
              <a:gd name="T11" fmla="*/ 245 h 512"/>
              <a:gd name="T12" fmla="*/ 298 w 512"/>
              <a:gd name="T13" fmla="*/ 256 h 512"/>
              <a:gd name="T14" fmla="*/ 288 w 512"/>
              <a:gd name="T15" fmla="*/ 266 h 512"/>
              <a:gd name="T16" fmla="*/ 266 w 512"/>
              <a:gd name="T17" fmla="*/ 266 h 512"/>
              <a:gd name="T18" fmla="*/ 266 w 512"/>
              <a:gd name="T19" fmla="*/ 349 h 512"/>
              <a:gd name="T20" fmla="*/ 290 w 512"/>
              <a:gd name="T21" fmla="*/ 373 h 512"/>
              <a:gd name="T22" fmla="*/ 314 w 512"/>
              <a:gd name="T23" fmla="*/ 373 h 512"/>
              <a:gd name="T24" fmla="*/ 325 w 512"/>
              <a:gd name="T25" fmla="*/ 384 h 512"/>
              <a:gd name="T26" fmla="*/ 314 w 512"/>
              <a:gd name="T27" fmla="*/ 394 h 512"/>
              <a:gd name="T28" fmla="*/ 290 w 512"/>
              <a:gd name="T29" fmla="*/ 394 h 512"/>
              <a:gd name="T30" fmla="*/ 256 w 512"/>
              <a:gd name="T31" fmla="*/ 378 h 512"/>
              <a:gd name="T32" fmla="*/ 221 w 512"/>
              <a:gd name="T33" fmla="*/ 394 h 512"/>
              <a:gd name="T34" fmla="*/ 197 w 512"/>
              <a:gd name="T35" fmla="*/ 394 h 512"/>
              <a:gd name="T36" fmla="*/ 186 w 512"/>
              <a:gd name="T37" fmla="*/ 384 h 512"/>
              <a:gd name="T38" fmla="*/ 197 w 512"/>
              <a:gd name="T39" fmla="*/ 373 h 512"/>
              <a:gd name="T40" fmla="*/ 221 w 512"/>
              <a:gd name="T41" fmla="*/ 373 h 512"/>
              <a:gd name="T42" fmla="*/ 245 w 512"/>
              <a:gd name="T43" fmla="*/ 349 h 512"/>
              <a:gd name="T44" fmla="*/ 245 w 512"/>
              <a:gd name="T45" fmla="*/ 266 h 512"/>
              <a:gd name="T46" fmla="*/ 224 w 512"/>
              <a:gd name="T47" fmla="*/ 266 h 512"/>
              <a:gd name="T48" fmla="*/ 213 w 512"/>
              <a:gd name="T49" fmla="*/ 256 h 512"/>
              <a:gd name="T50" fmla="*/ 224 w 512"/>
              <a:gd name="T51" fmla="*/ 245 h 512"/>
              <a:gd name="T52" fmla="*/ 245 w 512"/>
              <a:gd name="T53" fmla="*/ 245 h 512"/>
              <a:gd name="T54" fmla="*/ 245 w 512"/>
              <a:gd name="T55" fmla="*/ 162 h 512"/>
              <a:gd name="T56" fmla="*/ 221 w 512"/>
              <a:gd name="T57" fmla="*/ 138 h 512"/>
              <a:gd name="T58" fmla="*/ 197 w 512"/>
              <a:gd name="T59" fmla="*/ 138 h 512"/>
              <a:gd name="T60" fmla="*/ 186 w 512"/>
              <a:gd name="T61" fmla="*/ 128 h 512"/>
              <a:gd name="T62" fmla="*/ 197 w 512"/>
              <a:gd name="T63" fmla="*/ 117 h 512"/>
              <a:gd name="T64" fmla="*/ 221 w 512"/>
              <a:gd name="T65" fmla="*/ 117 h 512"/>
              <a:gd name="T66" fmla="*/ 256 w 512"/>
              <a:gd name="T67" fmla="*/ 133 h 512"/>
              <a:gd name="T68" fmla="*/ 290 w 512"/>
              <a:gd name="T69" fmla="*/ 117 h 512"/>
              <a:gd name="T70" fmla="*/ 314 w 512"/>
              <a:gd name="T71" fmla="*/ 117 h 512"/>
              <a:gd name="T72" fmla="*/ 325 w 512"/>
              <a:gd name="T73" fmla="*/ 128 h 512"/>
              <a:gd name="T74" fmla="*/ 314 w 512"/>
              <a:gd name="T75" fmla="*/ 138 h 512"/>
              <a:gd name="T76" fmla="*/ 290 w 512"/>
              <a:gd name="T77" fmla="*/ 138 h 512"/>
              <a:gd name="T78" fmla="*/ 266 w 512"/>
              <a:gd name="T79" fmla="*/ 162 h 512"/>
              <a:gd name="T80" fmla="*/ 266 w 512"/>
              <a:gd name="T81" fmla="*/ 245 h 512"/>
              <a:gd name="T82" fmla="*/ 288 w 512"/>
              <a:gd name="T83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88" y="245"/>
                </a:moveTo>
                <a:cubicBezTo>
                  <a:pt x="294" y="245"/>
                  <a:pt x="298" y="250"/>
                  <a:pt x="298" y="256"/>
                </a:cubicBezTo>
                <a:cubicBezTo>
                  <a:pt x="298" y="262"/>
                  <a:pt x="294" y="266"/>
                  <a:pt x="288" y="266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349"/>
                  <a:pt x="266" y="349"/>
                  <a:pt x="266" y="349"/>
                </a:cubicBezTo>
                <a:cubicBezTo>
                  <a:pt x="266" y="362"/>
                  <a:pt x="277" y="373"/>
                  <a:pt x="290" y="373"/>
                </a:cubicBezTo>
                <a:cubicBezTo>
                  <a:pt x="314" y="373"/>
                  <a:pt x="314" y="373"/>
                  <a:pt x="314" y="373"/>
                </a:cubicBezTo>
                <a:cubicBezTo>
                  <a:pt x="320" y="373"/>
                  <a:pt x="325" y="378"/>
                  <a:pt x="325" y="384"/>
                </a:cubicBezTo>
                <a:cubicBezTo>
                  <a:pt x="325" y="390"/>
                  <a:pt x="320" y="394"/>
                  <a:pt x="314" y="394"/>
                </a:cubicBezTo>
                <a:cubicBezTo>
                  <a:pt x="290" y="394"/>
                  <a:pt x="290" y="394"/>
                  <a:pt x="290" y="394"/>
                </a:cubicBezTo>
                <a:cubicBezTo>
                  <a:pt x="276" y="394"/>
                  <a:pt x="264" y="388"/>
                  <a:pt x="256" y="378"/>
                </a:cubicBezTo>
                <a:cubicBezTo>
                  <a:pt x="247" y="388"/>
                  <a:pt x="235" y="394"/>
                  <a:pt x="221" y="394"/>
                </a:cubicBezTo>
                <a:cubicBezTo>
                  <a:pt x="197" y="394"/>
                  <a:pt x="197" y="394"/>
                  <a:pt x="197" y="394"/>
                </a:cubicBezTo>
                <a:cubicBezTo>
                  <a:pt x="191" y="394"/>
                  <a:pt x="186" y="390"/>
                  <a:pt x="186" y="384"/>
                </a:cubicBezTo>
                <a:cubicBezTo>
                  <a:pt x="186" y="378"/>
                  <a:pt x="191" y="373"/>
                  <a:pt x="197" y="373"/>
                </a:cubicBezTo>
                <a:cubicBezTo>
                  <a:pt x="221" y="373"/>
                  <a:pt x="221" y="373"/>
                  <a:pt x="221" y="373"/>
                </a:cubicBezTo>
                <a:cubicBezTo>
                  <a:pt x="234" y="373"/>
                  <a:pt x="245" y="362"/>
                  <a:pt x="245" y="349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18" y="266"/>
                  <a:pt x="213" y="262"/>
                  <a:pt x="213" y="256"/>
                </a:cubicBezTo>
                <a:cubicBezTo>
                  <a:pt x="213" y="250"/>
                  <a:pt x="218" y="245"/>
                  <a:pt x="224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162"/>
                  <a:pt x="245" y="162"/>
                  <a:pt x="245" y="162"/>
                </a:cubicBezTo>
                <a:cubicBezTo>
                  <a:pt x="245" y="149"/>
                  <a:pt x="234" y="138"/>
                  <a:pt x="221" y="138"/>
                </a:cubicBezTo>
                <a:cubicBezTo>
                  <a:pt x="197" y="138"/>
                  <a:pt x="197" y="138"/>
                  <a:pt x="197" y="138"/>
                </a:cubicBezTo>
                <a:cubicBezTo>
                  <a:pt x="191" y="138"/>
                  <a:pt x="186" y="134"/>
                  <a:pt x="186" y="128"/>
                </a:cubicBezTo>
                <a:cubicBezTo>
                  <a:pt x="186" y="122"/>
                  <a:pt x="191" y="117"/>
                  <a:pt x="197" y="117"/>
                </a:cubicBezTo>
                <a:cubicBezTo>
                  <a:pt x="221" y="117"/>
                  <a:pt x="221" y="117"/>
                  <a:pt x="221" y="117"/>
                </a:cubicBezTo>
                <a:cubicBezTo>
                  <a:pt x="235" y="117"/>
                  <a:pt x="247" y="123"/>
                  <a:pt x="256" y="133"/>
                </a:cubicBezTo>
                <a:cubicBezTo>
                  <a:pt x="264" y="123"/>
                  <a:pt x="276" y="117"/>
                  <a:pt x="290" y="117"/>
                </a:cubicBezTo>
                <a:cubicBezTo>
                  <a:pt x="314" y="117"/>
                  <a:pt x="314" y="117"/>
                  <a:pt x="314" y="117"/>
                </a:cubicBezTo>
                <a:cubicBezTo>
                  <a:pt x="320" y="117"/>
                  <a:pt x="325" y="122"/>
                  <a:pt x="325" y="128"/>
                </a:cubicBezTo>
                <a:cubicBezTo>
                  <a:pt x="325" y="134"/>
                  <a:pt x="320" y="138"/>
                  <a:pt x="314" y="138"/>
                </a:cubicBezTo>
                <a:cubicBezTo>
                  <a:pt x="290" y="138"/>
                  <a:pt x="290" y="138"/>
                  <a:pt x="290" y="138"/>
                </a:cubicBezTo>
                <a:cubicBezTo>
                  <a:pt x="277" y="138"/>
                  <a:pt x="266" y="149"/>
                  <a:pt x="266" y="162"/>
                </a:cubicBezTo>
                <a:cubicBezTo>
                  <a:pt x="266" y="245"/>
                  <a:pt x="266" y="245"/>
                  <a:pt x="266" y="245"/>
                </a:cubicBezTo>
                <a:lnTo>
                  <a:pt x="288" y="2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49817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Media/technolog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453908" y="24430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op</a:t>
            </a:r>
          </a:p>
        </p:txBody>
      </p:sp>
      <p:grpSp>
        <p:nvGrpSpPr>
          <p:cNvPr id="436" name="Group 334"/>
          <p:cNvGrpSpPr>
            <a:grpSpLocks noChangeAspect="1"/>
          </p:cNvGrpSpPr>
          <p:nvPr/>
        </p:nvGrpSpPr>
        <p:grpSpPr bwMode="auto">
          <a:xfrm>
            <a:off x="931082" y="2041429"/>
            <a:ext cx="370763" cy="369676"/>
            <a:chOff x="4278" y="1171"/>
            <a:chExt cx="341" cy="340"/>
          </a:xfrm>
          <a:solidFill>
            <a:schemeClr val="accent4"/>
          </a:solidFill>
        </p:grpSpPr>
        <p:sp>
          <p:nvSpPr>
            <p:cNvPr id="437" name="Freeform 335"/>
            <p:cNvSpPr>
              <a:spLocks noEditPoints="1"/>
            </p:cNvSpPr>
            <p:nvPr/>
          </p:nvSpPr>
          <p:spPr bwMode="auto">
            <a:xfrm>
              <a:off x="4356" y="1249"/>
              <a:ext cx="184" cy="184"/>
            </a:xfrm>
            <a:custGeom>
              <a:avLst/>
              <a:gdLst>
                <a:gd name="T0" fmla="*/ 267 w 277"/>
                <a:gd name="T1" fmla="*/ 277 h 277"/>
                <a:gd name="T2" fmla="*/ 11 w 277"/>
                <a:gd name="T3" fmla="*/ 277 h 277"/>
                <a:gd name="T4" fmla="*/ 0 w 277"/>
                <a:gd name="T5" fmla="*/ 267 h 277"/>
                <a:gd name="T6" fmla="*/ 0 w 277"/>
                <a:gd name="T7" fmla="*/ 11 h 277"/>
                <a:gd name="T8" fmla="*/ 11 w 277"/>
                <a:gd name="T9" fmla="*/ 0 h 277"/>
                <a:gd name="T10" fmla="*/ 267 w 277"/>
                <a:gd name="T11" fmla="*/ 0 h 277"/>
                <a:gd name="T12" fmla="*/ 277 w 277"/>
                <a:gd name="T13" fmla="*/ 11 h 277"/>
                <a:gd name="T14" fmla="*/ 277 w 277"/>
                <a:gd name="T15" fmla="*/ 267 h 277"/>
                <a:gd name="T16" fmla="*/ 267 w 277"/>
                <a:gd name="T17" fmla="*/ 277 h 277"/>
                <a:gd name="T18" fmla="*/ 21 w 277"/>
                <a:gd name="T19" fmla="*/ 256 h 277"/>
                <a:gd name="T20" fmla="*/ 256 w 277"/>
                <a:gd name="T21" fmla="*/ 256 h 277"/>
                <a:gd name="T22" fmla="*/ 256 w 277"/>
                <a:gd name="T23" fmla="*/ 21 h 277"/>
                <a:gd name="T24" fmla="*/ 21 w 277"/>
                <a:gd name="T25" fmla="*/ 21 h 277"/>
                <a:gd name="T26" fmla="*/ 21 w 277"/>
                <a:gd name="T27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277">
                  <a:moveTo>
                    <a:pt x="267" y="277"/>
                  </a:moveTo>
                  <a:cubicBezTo>
                    <a:pt x="11" y="277"/>
                    <a:pt x="11" y="277"/>
                    <a:pt x="11" y="277"/>
                  </a:cubicBezTo>
                  <a:cubicBezTo>
                    <a:pt x="5" y="277"/>
                    <a:pt x="0" y="273"/>
                    <a:pt x="0" y="26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73" y="0"/>
                    <a:pt x="277" y="5"/>
                    <a:pt x="277" y="11"/>
                  </a:cubicBezTo>
                  <a:cubicBezTo>
                    <a:pt x="277" y="267"/>
                    <a:pt x="277" y="267"/>
                    <a:pt x="277" y="267"/>
                  </a:cubicBezTo>
                  <a:cubicBezTo>
                    <a:pt x="277" y="273"/>
                    <a:pt x="273" y="277"/>
                    <a:pt x="267" y="277"/>
                  </a:cubicBezTo>
                  <a:close/>
                  <a:moveTo>
                    <a:pt x="21" y="256"/>
                  </a:moveTo>
                  <a:cubicBezTo>
                    <a:pt x="256" y="256"/>
                    <a:pt x="256" y="256"/>
                    <a:pt x="256" y="256"/>
                  </a:cubicBezTo>
                  <a:cubicBezTo>
                    <a:pt x="256" y="21"/>
                    <a:pt x="256" y="21"/>
                    <a:pt x="256" y="21"/>
                  </a:cubicBezTo>
                  <a:cubicBezTo>
                    <a:pt x="21" y="21"/>
                    <a:pt x="21" y="21"/>
                    <a:pt x="21" y="21"/>
                  </a:cubicBezTo>
                  <a:lnTo>
                    <a:pt x="21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" name="Freeform 336"/>
            <p:cNvSpPr>
              <a:spLocks noEditPoints="1"/>
            </p:cNvSpPr>
            <p:nvPr/>
          </p:nvSpPr>
          <p:spPr bwMode="auto">
            <a:xfrm>
              <a:off x="4278" y="117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39" name="Freeform 340"/>
          <p:cNvSpPr>
            <a:spLocks noChangeAspect="1" noEditPoints="1"/>
          </p:cNvSpPr>
          <p:nvPr/>
        </p:nvSpPr>
        <p:spPr bwMode="auto">
          <a:xfrm>
            <a:off x="433250" y="2041429"/>
            <a:ext cx="369676" cy="370763"/>
          </a:xfrm>
          <a:custGeom>
            <a:avLst/>
            <a:gdLst>
              <a:gd name="T0" fmla="*/ 138 w 512"/>
              <a:gd name="T1" fmla="*/ 138 h 512"/>
              <a:gd name="T2" fmla="*/ 373 w 512"/>
              <a:gd name="T3" fmla="*/ 138 h 512"/>
              <a:gd name="T4" fmla="*/ 373 w 512"/>
              <a:gd name="T5" fmla="*/ 373 h 512"/>
              <a:gd name="T6" fmla="*/ 138 w 512"/>
              <a:gd name="T7" fmla="*/ 373 h 512"/>
              <a:gd name="T8" fmla="*/ 138 w 512"/>
              <a:gd name="T9" fmla="*/ 138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94 w 512"/>
              <a:gd name="T21" fmla="*/ 128 h 512"/>
              <a:gd name="T22" fmla="*/ 384 w 512"/>
              <a:gd name="T23" fmla="*/ 117 h 512"/>
              <a:gd name="T24" fmla="*/ 128 w 512"/>
              <a:gd name="T25" fmla="*/ 117 h 512"/>
              <a:gd name="T26" fmla="*/ 117 w 512"/>
              <a:gd name="T27" fmla="*/ 128 h 512"/>
              <a:gd name="T28" fmla="*/ 117 w 512"/>
              <a:gd name="T29" fmla="*/ 384 h 512"/>
              <a:gd name="T30" fmla="*/ 128 w 512"/>
              <a:gd name="T31" fmla="*/ 394 h 512"/>
              <a:gd name="T32" fmla="*/ 384 w 512"/>
              <a:gd name="T33" fmla="*/ 394 h 512"/>
              <a:gd name="T34" fmla="*/ 394 w 512"/>
              <a:gd name="T35" fmla="*/ 384 h 512"/>
              <a:gd name="T36" fmla="*/ 394 w 512"/>
              <a:gd name="T3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12" h="512">
                <a:moveTo>
                  <a:pt x="138" y="138"/>
                </a:moveTo>
                <a:cubicBezTo>
                  <a:pt x="373" y="138"/>
                  <a:pt x="373" y="138"/>
                  <a:pt x="373" y="138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138" y="373"/>
                  <a:pt x="138" y="373"/>
                  <a:pt x="138" y="373"/>
                </a:cubicBezTo>
                <a:lnTo>
                  <a:pt x="138" y="13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12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40" name="TextBox 439"/>
          <p:cNvSpPr txBox="1"/>
          <p:nvPr/>
        </p:nvSpPr>
        <p:spPr>
          <a:xfrm>
            <a:off x="1456584" y="24430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wind</a:t>
            </a:r>
          </a:p>
        </p:txBody>
      </p:sp>
      <p:grpSp>
        <p:nvGrpSpPr>
          <p:cNvPr id="441" name="Group 715"/>
          <p:cNvGrpSpPr>
            <a:grpSpLocks noChangeAspect="1"/>
          </p:cNvGrpSpPr>
          <p:nvPr/>
        </p:nvGrpSpPr>
        <p:grpSpPr bwMode="auto">
          <a:xfrm>
            <a:off x="1927178" y="2041429"/>
            <a:ext cx="369021" cy="370106"/>
            <a:chOff x="3459" y="2705"/>
            <a:chExt cx="340" cy="341"/>
          </a:xfrm>
          <a:solidFill>
            <a:schemeClr val="accent2"/>
          </a:solidFill>
        </p:grpSpPr>
        <p:sp>
          <p:nvSpPr>
            <p:cNvPr id="442" name="Freeform 716"/>
            <p:cNvSpPr>
              <a:spLocks noEditPoints="1"/>
            </p:cNvSpPr>
            <p:nvPr/>
          </p:nvSpPr>
          <p:spPr bwMode="auto">
            <a:xfrm>
              <a:off x="3459" y="270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" name="Freeform 717"/>
            <p:cNvSpPr>
              <a:spLocks noEditPoints="1"/>
            </p:cNvSpPr>
            <p:nvPr/>
          </p:nvSpPr>
          <p:spPr bwMode="auto">
            <a:xfrm>
              <a:off x="3523" y="2797"/>
              <a:ext cx="205" cy="157"/>
            </a:xfrm>
            <a:custGeom>
              <a:avLst/>
              <a:gdLst>
                <a:gd name="T0" fmla="*/ 298 w 309"/>
                <a:gd name="T1" fmla="*/ 235 h 236"/>
                <a:gd name="T2" fmla="*/ 293 w 309"/>
                <a:gd name="T3" fmla="*/ 233 h 236"/>
                <a:gd name="T4" fmla="*/ 192 w 309"/>
                <a:gd name="T5" fmla="*/ 170 h 236"/>
                <a:gd name="T6" fmla="*/ 192 w 309"/>
                <a:gd name="T7" fmla="*/ 224 h 236"/>
                <a:gd name="T8" fmla="*/ 186 w 309"/>
                <a:gd name="T9" fmla="*/ 234 h 236"/>
                <a:gd name="T10" fmla="*/ 175 w 309"/>
                <a:gd name="T11" fmla="*/ 233 h 236"/>
                <a:gd name="T12" fmla="*/ 5 w 309"/>
                <a:gd name="T13" fmla="*/ 127 h 236"/>
                <a:gd name="T14" fmla="*/ 0 w 309"/>
                <a:gd name="T15" fmla="*/ 118 h 236"/>
                <a:gd name="T16" fmla="*/ 5 w 309"/>
                <a:gd name="T17" fmla="*/ 109 h 236"/>
                <a:gd name="T18" fmla="*/ 175 w 309"/>
                <a:gd name="T19" fmla="*/ 2 h 236"/>
                <a:gd name="T20" fmla="*/ 186 w 309"/>
                <a:gd name="T21" fmla="*/ 2 h 236"/>
                <a:gd name="T22" fmla="*/ 192 w 309"/>
                <a:gd name="T23" fmla="*/ 11 h 236"/>
                <a:gd name="T24" fmla="*/ 192 w 309"/>
                <a:gd name="T25" fmla="*/ 65 h 236"/>
                <a:gd name="T26" fmla="*/ 293 w 309"/>
                <a:gd name="T27" fmla="*/ 2 h 236"/>
                <a:gd name="T28" fmla="*/ 304 w 309"/>
                <a:gd name="T29" fmla="*/ 2 h 236"/>
                <a:gd name="T30" fmla="*/ 309 w 309"/>
                <a:gd name="T31" fmla="*/ 11 h 236"/>
                <a:gd name="T32" fmla="*/ 309 w 309"/>
                <a:gd name="T33" fmla="*/ 224 h 236"/>
                <a:gd name="T34" fmla="*/ 304 w 309"/>
                <a:gd name="T35" fmla="*/ 234 h 236"/>
                <a:gd name="T36" fmla="*/ 298 w 309"/>
                <a:gd name="T37" fmla="*/ 235 h 236"/>
                <a:gd name="T38" fmla="*/ 181 w 309"/>
                <a:gd name="T39" fmla="*/ 140 h 236"/>
                <a:gd name="T40" fmla="*/ 187 w 309"/>
                <a:gd name="T41" fmla="*/ 142 h 236"/>
                <a:gd name="T42" fmla="*/ 288 w 309"/>
                <a:gd name="T43" fmla="*/ 205 h 236"/>
                <a:gd name="T44" fmla="*/ 288 w 309"/>
                <a:gd name="T45" fmla="*/ 30 h 236"/>
                <a:gd name="T46" fmla="*/ 187 w 309"/>
                <a:gd name="T47" fmla="*/ 93 h 236"/>
                <a:gd name="T48" fmla="*/ 176 w 309"/>
                <a:gd name="T49" fmla="*/ 94 h 236"/>
                <a:gd name="T50" fmla="*/ 170 w 309"/>
                <a:gd name="T51" fmla="*/ 84 h 236"/>
                <a:gd name="T52" fmla="*/ 170 w 309"/>
                <a:gd name="T53" fmla="*/ 30 h 236"/>
                <a:gd name="T54" fmla="*/ 30 w 309"/>
                <a:gd name="T55" fmla="*/ 118 h 236"/>
                <a:gd name="T56" fmla="*/ 170 w 309"/>
                <a:gd name="T57" fmla="*/ 205 h 236"/>
                <a:gd name="T58" fmla="*/ 170 w 309"/>
                <a:gd name="T59" fmla="*/ 151 h 236"/>
                <a:gd name="T60" fmla="*/ 176 w 309"/>
                <a:gd name="T61" fmla="*/ 142 h 236"/>
                <a:gd name="T62" fmla="*/ 181 w 309"/>
                <a:gd name="T63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9" h="236">
                  <a:moveTo>
                    <a:pt x="298" y="235"/>
                  </a:moveTo>
                  <a:cubicBezTo>
                    <a:pt x="296" y="235"/>
                    <a:pt x="294" y="234"/>
                    <a:pt x="293" y="233"/>
                  </a:cubicBezTo>
                  <a:cubicBezTo>
                    <a:pt x="192" y="170"/>
                    <a:pt x="192" y="170"/>
                    <a:pt x="192" y="170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2" y="228"/>
                    <a:pt x="190" y="232"/>
                    <a:pt x="186" y="234"/>
                  </a:cubicBezTo>
                  <a:cubicBezTo>
                    <a:pt x="183" y="236"/>
                    <a:pt x="179" y="235"/>
                    <a:pt x="175" y="233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2" y="125"/>
                    <a:pt x="0" y="121"/>
                    <a:pt x="0" y="118"/>
                  </a:cubicBezTo>
                  <a:cubicBezTo>
                    <a:pt x="0" y="114"/>
                    <a:pt x="2" y="111"/>
                    <a:pt x="5" y="109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9" y="0"/>
                    <a:pt x="183" y="0"/>
                    <a:pt x="186" y="2"/>
                  </a:cubicBezTo>
                  <a:cubicBezTo>
                    <a:pt x="190" y="4"/>
                    <a:pt x="192" y="7"/>
                    <a:pt x="192" y="11"/>
                  </a:cubicBezTo>
                  <a:cubicBezTo>
                    <a:pt x="192" y="65"/>
                    <a:pt x="192" y="65"/>
                    <a:pt x="192" y="65"/>
                  </a:cubicBezTo>
                  <a:cubicBezTo>
                    <a:pt x="293" y="2"/>
                    <a:pt x="293" y="2"/>
                    <a:pt x="293" y="2"/>
                  </a:cubicBezTo>
                  <a:cubicBezTo>
                    <a:pt x="296" y="0"/>
                    <a:pt x="300" y="0"/>
                    <a:pt x="304" y="2"/>
                  </a:cubicBezTo>
                  <a:cubicBezTo>
                    <a:pt x="307" y="4"/>
                    <a:pt x="309" y="7"/>
                    <a:pt x="309" y="11"/>
                  </a:cubicBezTo>
                  <a:cubicBezTo>
                    <a:pt x="309" y="224"/>
                    <a:pt x="309" y="224"/>
                    <a:pt x="309" y="224"/>
                  </a:cubicBezTo>
                  <a:cubicBezTo>
                    <a:pt x="309" y="228"/>
                    <a:pt x="307" y="232"/>
                    <a:pt x="304" y="234"/>
                  </a:cubicBezTo>
                  <a:cubicBezTo>
                    <a:pt x="302" y="235"/>
                    <a:pt x="300" y="235"/>
                    <a:pt x="298" y="235"/>
                  </a:cubicBezTo>
                  <a:close/>
                  <a:moveTo>
                    <a:pt x="181" y="140"/>
                  </a:moveTo>
                  <a:cubicBezTo>
                    <a:pt x="183" y="140"/>
                    <a:pt x="185" y="141"/>
                    <a:pt x="187" y="142"/>
                  </a:cubicBezTo>
                  <a:cubicBezTo>
                    <a:pt x="288" y="205"/>
                    <a:pt x="288" y="205"/>
                    <a:pt x="288" y="205"/>
                  </a:cubicBezTo>
                  <a:cubicBezTo>
                    <a:pt x="288" y="30"/>
                    <a:pt x="288" y="30"/>
                    <a:pt x="288" y="30"/>
                  </a:cubicBezTo>
                  <a:cubicBezTo>
                    <a:pt x="187" y="93"/>
                    <a:pt x="187" y="93"/>
                    <a:pt x="187" y="93"/>
                  </a:cubicBezTo>
                  <a:cubicBezTo>
                    <a:pt x="183" y="95"/>
                    <a:pt x="179" y="96"/>
                    <a:pt x="176" y="94"/>
                  </a:cubicBezTo>
                  <a:cubicBezTo>
                    <a:pt x="172" y="92"/>
                    <a:pt x="170" y="88"/>
                    <a:pt x="170" y="84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170" y="205"/>
                    <a:pt x="170" y="205"/>
                    <a:pt x="170" y="205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70" y="147"/>
                    <a:pt x="172" y="144"/>
                    <a:pt x="176" y="142"/>
                  </a:cubicBezTo>
                  <a:cubicBezTo>
                    <a:pt x="177" y="141"/>
                    <a:pt x="179" y="140"/>
                    <a:pt x="181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44" name="Freeform 721"/>
          <p:cNvSpPr>
            <a:spLocks noChangeAspect="1" noEditPoints="1"/>
          </p:cNvSpPr>
          <p:nvPr/>
        </p:nvSpPr>
        <p:spPr bwMode="auto">
          <a:xfrm>
            <a:off x="1430001" y="2041433"/>
            <a:ext cx="369021" cy="369021"/>
          </a:xfrm>
          <a:custGeom>
            <a:avLst/>
            <a:gdLst>
              <a:gd name="T0" fmla="*/ 283 w 512"/>
              <a:gd name="T1" fmla="*/ 231 h 512"/>
              <a:gd name="T2" fmla="*/ 384 w 512"/>
              <a:gd name="T3" fmla="*/ 168 h 512"/>
              <a:gd name="T4" fmla="*/ 384 w 512"/>
              <a:gd name="T5" fmla="*/ 343 h 512"/>
              <a:gd name="T6" fmla="*/ 283 w 512"/>
              <a:gd name="T7" fmla="*/ 280 h 512"/>
              <a:gd name="T8" fmla="*/ 277 w 512"/>
              <a:gd name="T9" fmla="*/ 278 h 512"/>
              <a:gd name="T10" fmla="*/ 272 w 512"/>
              <a:gd name="T11" fmla="*/ 280 h 512"/>
              <a:gd name="T12" fmla="*/ 266 w 512"/>
              <a:gd name="T13" fmla="*/ 289 h 512"/>
              <a:gd name="T14" fmla="*/ 266 w 512"/>
              <a:gd name="T15" fmla="*/ 343 h 512"/>
              <a:gd name="T16" fmla="*/ 126 w 512"/>
              <a:gd name="T17" fmla="*/ 256 h 512"/>
              <a:gd name="T18" fmla="*/ 266 w 512"/>
              <a:gd name="T19" fmla="*/ 168 h 512"/>
              <a:gd name="T20" fmla="*/ 266 w 512"/>
              <a:gd name="T21" fmla="*/ 222 h 512"/>
              <a:gd name="T22" fmla="*/ 272 w 512"/>
              <a:gd name="T23" fmla="*/ 232 h 512"/>
              <a:gd name="T24" fmla="*/ 283 w 512"/>
              <a:gd name="T25" fmla="*/ 231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405 w 512"/>
              <a:gd name="T37" fmla="*/ 149 h 512"/>
              <a:gd name="T38" fmla="*/ 400 w 512"/>
              <a:gd name="T39" fmla="*/ 140 h 512"/>
              <a:gd name="T40" fmla="*/ 389 w 512"/>
              <a:gd name="T41" fmla="*/ 140 h 512"/>
              <a:gd name="T42" fmla="*/ 288 w 512"/>
              <a:gd name="T43" fmla="*/ 203 h 512"/>
              <a:gd name="T44" fmla="*/ 288 w 512"/>
              <a:gd name="T45" fmla="*/ 149 h 512"/>
              <a:gd name="T46" fmla="*/ 282 w 512"/>
              <a:gd name="T47" fmla="*/ 140 h 512"/>
              <a:gd name="T48" fmla="*/ 271 w 512"/>
              <a:gd name="T49" fmla="*/ 140 h 512"/>
              <a:gd name="T50" fmla="*/ 101 w 512"/>
              <a:gd name="T51" fmla="*/ 247 h 512"/>
              <a:gd name="T52" fmla="*/ 96 w 512"/>
              <a:gd name="T53" fmla="*/ 256 h 512"/>
              <a:gd name="T54" fmla="*/ 101 w 512"/>
              <a:gd name="T55" fmla="*/ 265 h 512"/>
              <a:gd name="T56" fmla="*/ 271 w 512"/>
              <a:gd name="T57" fmla="*/ 371 h 512"/>
              <a:gd name="T58" fmla="*/ 282 w 512"/>
              <a:gd name="T59" fmla="*/ 372 h 512"/>
              <a:gd name="T60" fmla="*/ 288 w 512"/>
              <a:gd name="T61" fmla="*/ 362 h 512"/>
              <a:gd name="T62" fmla="*/ 288 w 512"/>
              <a:gd name="T63" fmla="*/ 308 h 512"/>
              <a:gd name="T64" fmla="*/ 389 w 512"/>
              <a:gd name="T65" fmla="*/ 371 h 512"/>
              <a:gd name="T66" fmla="*/ 394 w 512"/>
              <a:gd name="T67" fmla="*/ 373 h 512"/>
              <a:gd name="T68" fmla="*/ 400 w 512"/>
              <a:gd name="T69" fmla="*/ 372 h 512"/>
              <a:gd name="T70" fmla="*/ 405 w 512"/>
              <a:gd name="T71" fmla="*/ 362 h 512"/>
              <a:gd name="T72" fmla="*/ 405 w 512"/>
              <a:gd name="T73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83" y="231"/>
                </a:moveTo>
                <a:cubicBezTo>
                  <a:pt x="384" y="168"/>
                  <a:pt x="384" y="168"/>
                  <a:pt x="384" y="168"/>
                </a:cubicBezTo>
                <a:cubicBezTo>
                  <a:pt x="384" y="343"/>
                  <a:pt x="384" y="343"/>
                  <a:pt x="384" y="343"/>
                </a:cubicBezTo>
                <a:cubicBezTo>
                  <a:pt x="283" y="280"/>
                  <a:pt x="283" y="280"/>
                  <a:pt x="283" y="280"/>
                </a:cubicBezTo>
                <a:cubicBezTo>
                  <a:pt x="281" y="279"/>
                  <a:pt x="279" y="278"/>
                  <a:pt x="277" y="278"/>
                </a:cubicBezTo>
                <a:cubicBezTo>
                  <a:pt x="275" y="278"/>
                  <a:pt x="273" y="279"/>
                  <a:pt x="272" y="280"/>
                </a:cubicBezTo>
                <a:cubicBezTo>
                  <a:pt x="268" y="282"/>
                  <a:pt x="266" y="285"/>
                  <a:pt x="266" y="289"/>
                </a:cubicBezTo>
                <a:cubicBezTo>
                  <a:pt x="266" y="343"/>
                  <a:pt x="266" y="343"/>
                  <a:pt x="266" y="343"/>
                </a:cubicBezTo>
                <a:cubicBezTo>
                  <a:pt x="126" y="256"/>
                  <a:pt x="126" y="256"/>
                  <a:pt x="126" y="256"/>
                </a:cubicBezTo>
                <a:cubicBezTo>
                  <a:pt x="266" y="168"/>
                  <a:pt x="266" y="168"/>
                  <a:pt x="266" y="168"/>
                </a:cubicBezTo>
                <a:cubicBezTo>
                  <a:pt x="266" y="222"/>
                  <a:pt x="266" y="222"/>
                  <a:pt x="266" y="222"/>
                </a:cubicBezTo>
                <a:cubicBezTo>
                  <a:pt x="266" y="226"/>
                  <a:pt x="268" y="230"/>
                  <a:pt x="272" y="232"/>
                </a:cubicBezTo>
                <a:cubicBezTo>
                  <a:pt x="275" y="234"/>
                  <a:pt x="279" y="233"/>
                  <a:pt x="283" y="23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5"/>
                  <a:pt x="403" y="142"/>
                  <a:pt x="400" y="140"/>
                </a:cubicBezTo>
                <a:cubicBezTo>
                  <a:pt x="396" y="138"/>
                  <a:pt x="392" y="138"/>
                  <a:pt x="389" y="140"/>
                </a:cubicBezTo>
                <a:cubicBezTo>
                  <a:pt x="288" y="203"/>
                  <a:pt x="288" y="203"/>
                  <a:pt x="288" y="203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5"/>
                  <a:pt x="286" y="142"/>
                  <a:pt x="282" y="140"/>
                </a:cubicBezTo>
                <a:cubicBezTo>
                  <a:pt x="279" y="138"/>
                  <a:pt x="275" y="138"/>
                  <a:pt x="271" y="140"/>
                </a:cubicBezTo>
                <a:cubicBezTo>
                  <a:pt x="101" y="247"/>
                  <a:pt x="101" y="247"/>
                  <a:pt x="101" y="247"/>
                </a:cubicBezTo>
                <a:cubicBezTo>
                  <a:pt x="98" y="249"/>
                  <a:pt x="96" y="252"/>
                  <a:pt x="96" y="256"/>
                </a:cubicBezTo>
                <a:cubicBezTo>
                  <a:pt x="96" y="259"/>
                  <a:pt x="98" y="263"/>
                  <a:pt x="101" y="265"/>
                </a:cubicBezTo>
                <a:cubicBezTo>
                  <a:pt x="271" y="371"/>
                  <a:pt x="271" y="371"/>
                  <a:pt x="271" y="371"/>
                </a:cubicBezTo>
                <a:cubicBezTo>
                  <a:pt x="275" y="373"/>
                  <a:pt x="279" y="374"/>
                  <a:pt x="282" y="372"/>
                </a:cubicBezTo>
                <a:cubicBezTo>
                  <a:pt x="286" y="370"/>
                  <a:pt x="288" y="366"/>
                  <a:pt x="288" y="362"/>
                </a:cubicBezTo>
                <a:cubicBezTo>
                  <a:pt x="288" y="308"/>
                  <a:pt x="288" y="308"/>
                  <a:pt x="288" y="308"/>
                </a:cubicBezTo>
                <a:cubicBezTo>
                  <a:pt x="389" y="371"/>
                  <a:pt x="389" y="371"/>
                  <a:pt x="389" y="371"/>
                </a:cubicBezTo>
                <a:cubicBezTo>
                  <a:pt x="390" y="372"/>
                  <a:pt x="392" y="373"/>
                  <a:pt x="394" y="373"/>
                </a:cubicBezTo>
                <a:cubicBezTo>
                  <a:pt x="396" y="373"/>
                  <a:pt x="398" y="373"/>
                  <a:pt x="400" y="372"/>
                </a:cubicBezTo>
                <a:cubicBezTo>
                  <a:pt x="403" y="370"/>
                  <a:pt x="405" y="366"/>
                  <a:pt x="405" y="362"/>
                </a:cubicBezTo>
                <a:lnTo>
                  <a:pt x="405" y="14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45" name="TextBox 444"/>
          <p:cNvSpPr txBox="1"/>
          <p:nvPr/>
        </p:nvSpPr>
        <p:spPr>
          <a:xfrm>
            <a:off x="2459260" y="24430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cord</a:t>
            </a:r>
          </a:p>
        </p:txBody>
      </p:sp>
      <p:grpSp>
        <p:nvGrpSpPr>
          <p:cNvPr id="446" name="Group 594"/>
          <p:cNvGrpSpPr>
            <a:grpSpLocks noChangeAspect="1"/>
          </p:cNvGrpSpPr>
          <p:nvPr/>
        </p:nvGrpSpPr>
        <p:grpSpPr bwMode="auto">
          <a:xfrm>
            <a:off x="2921532" y="2041433"/>
            <a:ext cx="369021" cy="369021"/>
            <a:chOff x="5828" y="2316"/>
            <a:chExt cx="340" cy="340"/>
          </a:xfrm>
          <a:solidFill>
            <a:schemeClr val="accent1"/>
          </a:solidFill>
        </p:grpSpPr>
        <p:sp>
          <p:nvSpPr>
            <p:cNvPr id="447" name="Freeform 595"/>
            <p:cNvSpPr>
              <a:spLocks noEditPoints="1"/>
            </p:cNvSpPr>
            <p:nvPr/>
          </p:nvSpPr>
          <p:spPr bwMode="auto">
            <a:xfrm>
              <a:off x="5892" y="2436"/>
              <a:ext cx="212" cy="92"/>
            </a:xfrm>
            <a:custGeom>
              <a:avLst/>
              <a:gdLst>
                <a:gd name="T0" fmla="*/ 320 w 320"/>
                <a:gd name="T1" fmla="*/ 69 h 139"/>
                <a:gd name="T2" fmla="*/ 250 w 320"/>
                <a:gd name="T3" fmla="*/ 0 h 139"/>
                <a:gd name="T4" fmla="*/ 181 w 320"/>
                <a:gd name="T5" fmla="*/ 69 h 139"/>
                <a:gd name="T6" fmla="*/ 200 w 320"/>
                <a:gd name="T7" fmla="*/ 117 h 139"/>
                <a:gd name="T8" fmla="*/ 119 w 320"/>
                <a:gd name="T9" fmla="*/ 117 h 139"/>
                <a:gd name="T10" fmla="*/ 138 w 320"/>
                <a:gd name="T11" fmla="*/ 69 h 139"/>
                <a:gd name="T12" fmla="*/ 69 w 320"/>
                <a:gd name="T13" fmla="*/ 0 h 139"/>
                <a:gd name="T14" fmla="*/ 0 w 320"/>
                <a:gd name="T15" fmla="*/ 69 h 139"/>
                <a:gd name="T16" fmla="*/ 62 w 320"/>
                <a:gd name="T17" fmla="*/ 138 h 139"/>
                <a:gd name="T18" fmla="*/ 64 w 320"/>
                <a:gd name="T19" fmla="*/ 139 h 139"/>
                <a:gd name="T20" fmla="*/ 256 w 320"/>
                <a:gd name="T21" fmla="*/ 139 h 139"/>
                <a:gd name="T22" fmla="*/ 258 w 320"/>
                <a:gd name="T23" fmla="*/ 138 h 139"/>
                <a:gd name="T24" fmla="*/ 320 w 320"/>
                <a:gd name="T25" fmla="*/ 69 h 139"/>
                <a:gd name="T26" fmla="*/ 21 w 320"/>
                <a:gd name="T27" fmla="*/ 69 h 139"/>
                <a:gd name="T28" fmla="*/ 69 w 320"/>
                <a:gd name="T29" fmla="*/ 21 h 139"/>
                <a:gd name="T30" fmla="*/ 117 w 320"/>
                <a:gd name="T31" fmla="*/ 69 h 139"/>
                <a:gd name="T32" fmla="*/ 69 w 320"/>
                <a:gd name="T33" fmla="*/ 117 h 139"/>
                <a:gd name="T34" fmla="*/ 21 w 320"/>
                <a:gd name="T35" fmla="*/ 69 h 139"/>
                <a:gd name="T36" fmla="*/ 250 w 320"/>
                <a:gd name="T37" fmla="*/ 117 h 139"/>
                <a:gd name="T38" fmla="*/ 202 w 320"/>
                <a:gd name="T39" fmla="*/ 69 h 139"/>
                <a:gd name="T40" fmla="*/ 250 w 320"/>
                <a:gd name="T41" fmla="*/ 21 h 139"/>
                <a:gd name="T42" fmla="*/ 298 w 320"/>
                <a:gd name="T43" fmla="*/ 69 h 139"/>
                <a:gd name="T44" fmla="*/ 250 w 320"/>
                <a:gd name="T45" fmla="*/ 11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0" h="139">
                  <a:moveTo>
                    <a:pt x="320" y="69"/>
                  </a:moveTo>
                  <a:cubicBezTo>
                    <a:pt x="320" y="31"/>
                    <a:pt x="289" y="0"/>
                    <a:pt x="250" y="0"/>
                  </a:cubicBezTo>
                  <a:cubicBezTo>
                    <a:pt x="212" y="0"/>
                    <a:pt x="181" y="31"/>
                    <a:pt x="181" y="69"/>
                  </a:cubicBezTo>
                  <a:cubicBezTo>
                    <a:pt x="181" y="88"/>
                    <a:pt x="188" y="105"/>
                    <a:pt x="200" y="117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31" y="105"/>
                    <a:pt x="138" y="88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105"/>
                    <a:pt x="27" y="135"/>
                    <a:pt x="62" y="138"/>
                  </a:cubicBezTo>
                  <a:cubicBezTo>
                    <a:pt x="62" y="138"/>
                    <a:pt x="63" y="139"/>
                    <a:pt x="64" y="139"/>
                  </a:cubicBezTo>
                  <a:cubicBezTo>
                    <a:pt x="256" y="139"/>
                    <a:pt x="256" y="139"/>
                    <a:pt x="256" y="139"/>
                  </a:cubicBezTo>
                  <a:cubicBezTo>
                    <a:pt x="256" y="139"/>
                    <a:pt x="257" y="138"/>
                    <a:pt x="258" y="138"/>
                  </a:cubicBezTo>
                  <a:cubicBezTo>
                    <a:pt x="292" y="135"/>
                    <a:pt x="320" y="105"/>
                    <a:pt x="320" y="69"/>
                  </a:cubicBezTo>
                  <a:close/>
                  <a:moveTo>
                    <a:pt x="21" y="69"/>
                  </a:moveTo>
                  <a:cubicBezTo>
                    <a:pt x="21" y="43"/>
                    <a:pt x="43" y="21"/>
                    <a:pt x="69" y="21"/>
                  </a:cubicBezTo>
                  <a:cubicBezTo>
                    <a:pt x="95" y="21"/>
                    <a:pt x="117" y="43"/>
                    <a:pt x="117" y="69"/>
                  </a:cubicBezTo>
                  <a:cubicBezTo>
                    <a:pt x="117" y="96"/>
                    <a:pt x="95" y="117"/>
                    <a:pt x="69" y="117"/>
                  </a:cubicBezTo>
                  <a:cubicBezTo>
                    <a:pt x="43" y="117"/>
                    <a:pt x="21" y="96"/>
                    <a:pt x="21" y="69"/>
                  </a:cubicBezTo>
                  <a:close/>
                  <a:moveTo>
                    <a:pt x="250" y="117"/>
                  </a:moveTo>
                  <a:cubicBezTo>
                    <a:pt x="224" y="117"/>
                    <a:pt x="202" y="96"/>
                    <a:pt x="202" y="69"/>
                  </a:cubicBezTo>
                  <a:cubicBezTo>
                    <a:pt x="202" y="43"/>
                    <a:pt x="224" y="21"/>
                    <a:pt x="250" y="21"/>
                  </a:cubicBezTo>
                  <a:cubicBezTo>
                    <a:pt x="277" y="21"/>
                    <a:pt x="298" y="43"/>
                    <a:pt x="298" y="69"/>
                  </a:cubicBezTo>
                  <a:cubicBezTo>
                    <a:pt x="298" y="96"/>
                    <a:pt x="277" y="117"/>
                    <a:pt x="250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" name="Freeform 596"/>
            <p:cNvSpPr>
              <a:spLocks noEditPoints="1"/>
            </p:cNvSpPr>
            <p:nvPr/>
          </p:nvSpPr>
          <p:spPr bwMode="auto">
            <a:xfrm>
              <a:off x="5828" y="231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49" name="Freeform 600"/>
          <p:cNvSpPr>
            <a:spLocks noChangeAspect="1" noEditPoints="1"/>
          </p:cNvSpPr>
          <p:nvPr/>
        </p:nvSpPr>
        <p:spPr bwMode="auto">
          <a:xfrm>
            <a:off x="2424355" y="2041429"/>
            <a:ext cx="369021" cy="370106"/>
          </a:xfrm>
          <a:custGeom>
            <a:avLst/>
            <a:gdLst>
              <a:gd name="T0" fmla="*/ 394 w 512"/>
              <a:gd name="T1" fmla="*/ 250 h 512"/>
              <a:gd name="T2" fmla="*/ 346 w 512"/>
              <a:gd name="T3" fmla="*/ 298 h 512"/>
              <a:gd name="T4" fmla="*/ 298 w 512"/>
              <a:gd name="T5" fmla="*/ 250 h 512"/>
              <a:gd name="T6" fmla="*/ 346 w 512"/>
              <a:gd name="T7" fmla="*/ 202 h 512"/>
              <a:gd name="T8" fmla="*/ 394 w 512"/>
              <a:gd name="T9" fmla="*/ 250 h 512"/>
              <a:gd name="T10" fmla="*/ 165 w 512"/>
              <a:gd name="T11" fmla="*/ 202 h 512"/>
              <a:gd name="T12" fmla="*/ 117 w 512"/>
              <a:gd name="T13" fmla="*/ 250 h 512"/>
              <a:gd name="T14" fmla="*/ 165 w 512"/>
              <a:gd name="T15" fmla="*/ 298 h 512"/>
              <a:gd name="T16" fmla="*/ 213 w 512"/>
              <a:gd name="T17" fmla="*/ 250 h 512"/>
              <a:gd name="T18" fmla="*/ 165 w 512"/>
              <a:gd name="T19" fmla="*/ 202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416 w 512"/>
              <a:gd name="T31" fmla="*/ 250 h 512"/>
              <a:gd name="T32" fmla="*/ 346 w 512"/>
              <a:gd name="T33" fmla="*/ 181 h 512"/>
              <a:gd name="T34" fmla="*/ 277 w 512"/>
              <a:gd name="T35" fmla="*/ 250 h 512"/>
              <a:gd name="T36" fmla="*/ 296 w 512"/>
              <a:gd name="T37" fmla="*/ 298 h 512"/>
              <a:gd name="T38" fmla="*/ 215 w 512"/>
              <a:gd name="T39" fmla="*/ 298 h 512"/>
              <a:gd name="T40" fmla="*/ 234 w 512"/>
              <a:gd name="T41" fmla="*/ 250 h 512"/>
              <a:gd name="T42" fmla="*/ 165 w 512"/>
              <a:gd name="T43" fmla="*/ 181 h 512"/>
              <a:gd name="T44" fmla="*/ 96 w 512"/>
              <a:gd name="T45" fmla="*/ 250 h 512"/>
              <a:gd name="T46" fmla="*/ 158 w 512"/>
              <a:gd name="T47" fmla="*/ 319 h 512"/>
              <a:gd name="T48" fmla="*/ 160 w 512"/>
              <a:gd name="T49" fmla="*/ 320 h 512"/>
              <a:gd name="T50" fmla="*/ 352 w 512"/>
              <a:gd name="T51" fmla="*/ 320 h 512"/>
              <a:gd name="T52" fmla="*/ 354 w 512"/>
              <a:gd name="T53" fmla="*/ 319 h 512"/>
              <a:gd name="T54" fmla="*/ 416 w 512"/>
              <a:gd name="T55" fmla="*/ 25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12" h="512">
                <a:moveTo>
                  <a:pt x="394" y="250"/>
                </a:moveTo>
                <a:cubicBezTo>
                  <a:pt x="394" y="277"/>
                  <a:pt x="373" y="298"/>
                  <a:pt x="346" y="298"/>
                </a:cubicBezTo>
                <a:cubicBezTo>
                  <a:pt x="320" y="298"/>
                  <a:pt x="298" y="277"/>
                  <a:pt x="298" y="250"/>
                </a:cubicBezTo>
                <a:cubicBezTo>
                  <a:pt x="298" y="224"/>
                  <a:pt x="320" y="202"/>
                  <a:pt x="346" y="202"/>
                </a:cubicBezTo>
                <a:cubicBezTo>
                  <a:pt x="373" y="202"/>
                  <a:pt x="394" y="224"/>
                  <a:pt x="394" y="250"/>
                </a:cubicBezTo>
                <a:close/>
                <a:moveTo>
                  <a:pt x="165" y="202"/>
                </a:moveTo>
                <a:cubicBezTo>
                  <a:pt x="139" y="202"/>
                  <a:pt x="117" y="224"/>
                  <a:pt x="117" y="250"/>
                </a:cubicBezTo>
                <a:cubicBezTo>
                  <a:pt x="117" y="277"/>
                  <a:pt x="139" y="298"/>
                  <a:pt x="165" y="298"/>
                </a:cubicBezTo>
                <a:cubicBezTo>
                  <a:pt x="191" y="298"/>
                  <a:pt x="213" y="277"/>
                  <a:pt x="213" y="250"/>
                </a:cubicBezTo>
                <a:cubicBezTo>
                  <a:pt x="213" y="224"/>
                  <a:pt x="191" y="202"/>
                  <a:pt x="165" y="20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0"/>
                </a:moveTo>
                <a:cubicBezTo>
                  <a:pt x="416" y="212"/>
                  <a:pt x="385" y="181"/>
                  <a:pt x="346" y="181"/>
                </a:cubicBezTo>
                <a:cubicBezTo>
                  <a:pt x="308" y="181"/>
                  <a:pt x="277" y="212"/>
                  <a:pt x="277" y="250"/>
                </a:cubicBezTo>
                <a:cubicBezTo>
                  <a:pt x="277" y="269"/>
                  <a:pt x="284" y="286"/>
                  <a:pt x="296" y="298"/>
                </a:cubicBezTo>
                <a:cubicBezTo>
                  <a:pt x="215" y="298"/>
                  <a:pt x="215" y="298"/>
                  <a:pt x="215" y="298"/>
                </a:cubicBezTo>
                <a:cubicBezTo>
                  <a:pt x="227" y="286"/>
                  <a:pt x="234" y="269"/>
                  <a:pt x="234" y="250"/>
                </a:cubicBezTo>
                <a:cubicBezTo>
                  <a:pt x="234" y="212"/>
                  <a:pt x="203" y="181"/>
                  <a:pt x="165" y="181"/>
                </a:cubicBezTo>
                <a:cubicBezTo>
                  <a:pt x="127" y="181"/>
                  <a:pt x="96" y="212"/>
                  <a:pt x="96" y="250"/>
                </a:cubicBezTo>
                <a:cubicBezTo>
                  <a:pt x="96" y="286"/>
                  <a:pt x="123" y="316"/>
                  <a:pt x="158" y="319"/>
                </a:cubicBezTo>
                <a:cubicBezTo>
                  <a:pt x="158" y="319"/>
                  <a:pt x="159" y="320"/>
                  <a:pt x="160" y="320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352" y="320"/>
                  <a:pt x="353" y="319"/>
                  <a:pt x="354" y="319"/>
                </a:cubicBezTo>
                <a:cubicBezTo>
                  <a:pt x="388" y="316"/>
                  <a:pt x="416" y="286"/>
                  <a:pt x="416" y="2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50" name="TextBox 449"/>
          <p:cNvSpPr txBox="1"/>
          <p:nvPr/>
        </p:nvSpPr>
        <p:spPr>
          <a:xfrm>
            <a:off x="3461936" y="244308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ject</a:t>
            </a:r>
          </a:p>
        </p:txBody>
      </p:sp>
      <p:sp>
        <p:nvSpPr>
          <p:cNvPr id="451" name="Freeform 453"/>
          <p:cNvSpPr>
            <a:spLocks noChangeAspect="1" noEditPoints="1"/>
          </p:cNvSpPr>
          <p:nvPr/>
        </p:nvSpPr>
        <p:spPr bwMode="auto">
          <a:xfrm>
            <a:off x="3418709" y="204143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19 w 512"/>
              <a:gd name="T11" fmla="*/ 260 h 512"/>
              <a:gd name="T12" fmla="*/ 247 w 512"/>
              <a:gd name="T13" fmla="*/ 106 h 512"/>
              <a:gd name="T14" fmla="*/ 264 w 512"/>
              <a:gd name="T15" fmla="*/ 106 h 512"/>
              <a:gd name="T16" fmla="*/ 392 w 512"/>
              <a:gd name="T17" fmla="*/ 260 h 512"/>
              <a:gd name="T18" fmla="*/ 393 w 512"/>
              <a:gd name="T19" fmla="*/ 271 h 512"/>
              <a:gd name="T20" fmla="*/ 384 w 512"/>
              <a:gd name="T21" fmla="*/ 277 h 512"/>
              <a:gd name="T22" fmla="*/ 128 w 512"/>
              <a:gd name="T23" fmla="*/ 277 h 512"/>
              <a:gd name="T24" fmla="*/ 118 w 512"/>
              <a:gd name="T25" fmla="*/ 271 h 512"/>
              <a:gd name="T26" fmla="*/ 119 w 512"/>
              <a:gd name="T27" fmla="*/ 260 h 512"/>
              <a:gd name="T28" fmla="*/ 394 w 512"/>
              <a:gd name="T29" fmla="*/ 373 h 512"/>
              <a:gd name="T30" fmla="*/ 384 w 512"/>
              <a:gd name="T31" fmla="*/ 384 h 512"/>
              <a:gd name="T32" fmla="*/ 128 w 512"/>
              <a:gd name="T33" fmla="*/ 384 h 512"/>
              <a:gd name="T34" fmla="*/ 117 w 512"/>
              <a:gd name="T35" fmla="*/ 373 h 512"/>
              <a:gd name="T36" fmla="*/ 117 w 512"/>
              <a:gd name="T37" fmla="*/ 309 h 512"/>
              <a:gd name="T38" fmla="*/ 128 w 512"/>
              <a:gd name="T39" fmla="*/ 298 h 512"/>
              <a:gd name="T40" fmla="*/ 384 w 512"/>
              <a:gd name="T41" fmla="*/ 298 h 512"/>
              <a:gd name="T42" fmla="*/ 394 w 512"/>
              <a:gd name="T43" fmla="*/ 309 h 512"/>
              <a:gd name="T44" fmla="*/ 394 w 512"/>
              <a:gd name="T45" fmla="*/ 373 h 512"/>
              <a:gd name="T46" fmla="*/ 138 w 512"/>
              <a:gd name="T47" fmla="*/ 320 h 512"/>
              <a:gd name="T48" fmla="*/ 373 w 512"/>
              <a:gd name="T49" fmla="*/ 320 h 512"/>
              <a:gd name="T50" fmla="*/ 373 w 512"/>
              <a:gd name="T51" fmla="*/ 362 h 512"/>
              <a:gd name="T52" fmla="*/ 138 w 512"/>
              <a:gd name="T53" fmla="*/ 362 h 512"/>
              <a:gd name="T54" fmla="*/ 138 w 512"/>
              <a:gd name="T55" fmla="*/ 320 h 512"/>
              <a:gd name="T56" fmla="*/ 361 w 512"/>
              <a:gd name="T57" fmla="*/ 256 h 512"/>
              <a:gd name="T58" fmla="*/ 150 w 512"/>
              <a:gd name="T59" fmla="*/ 256 h 512"/>
              <a:gd name="T60" fmla="*/ 256 w 512"/>
              <a:gd name="T61" fmla="*/ 129 h 512"/>
              <a:gd name="T62" fmla="*/ 361 w 512"/>
              <a:gd name="T63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9" y="260"/>
                </a:moveTo>
                <a:cubicBezTo>
                  <a:pt x="247" y="106"/>
                  <a:pt x="247" y="106"/>
                  <a:pt x="247" y="106"/>
                </a:cubicBezTo>
                <a:cubicBezTo>
                  <a:pt x="252" y="101"/>
                  <a:pt x="260" y="101"/>
                  <a:pt x="264" y="106"/>
                </a:cubicBezTo>
                <a:cubicBezTo>
                  <a:pt x="392" y="260"/>
                  <a:pt x="392" y="260"/>
                  <a:pt x="392" y="260"/>
                </a:cubicBezTo>
                <a:cubicBezTo>
                  <a:pt x="395" y="263"/>
                  <a:pt x="395" y="267"/>
                  <a:pt x="393" y="271"/>
                </a:cubicBezTo>
                <a:cubicBezTo>
                  <a:pt x="392" y="275"/>
                  <a:pt x="388" y="277"/>
                  <a:pt x="384" y="277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4" y="277"/>
                  <a:pt x="120" y="275"/>
                  <a:pt x="118" y="271"/>
                </a:cubicBezTo>
                <a:cubicBezTo>
                  <a:pt x="116" y="267"/>
                  <a:pt x="117" y="263"/>
                  <a:pt x="119" y="260"/>
                </a:cubicBezTo>
                <a:close/>
                <a:moveTo>
                  <a:pt x="394" y="373"/>
                </a:moveTo>
                <a:cubicBezTo>
                  <a:pt x="394" y="379"/>
                  <a:pt x="390" y="384"/>
                  <a:pt x="384" y="38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2" y="384"/>
                  <a:pt x="117" y="379"/>
                  <a:pt x="117" y="373"/>
                </a:cubicBezTo>
                <a:cubicBezTo>
                  <a:pt x="117" y="309"/>
                  <a:pt x="117" y="309"/>
                  <a:pt x="117" y="309"/>
                </a:cubicBezTo>
                <a:cubicBezTo>
                  <a:pt x="117" y="303"/>
                  <a:pt x="122" y="298"/>
                  <a:pt x="128" y="298"/>
                </a:cubicBezTo>
                <a:cubicBezTo>
                  <a:pt x="384" y="298"/>
                  <a:pt x="384" y="298"/>
                  <a:pt x="384" y="298"/>
                </a:cubicBezTo>
                <a:cubicBezTo>
                  <a:pt x="390" y="298"/>
                  <a:pt x="394" y="303"/>
                  <a:pt x="394" y="309"/>
                </a:cubicBezTo>
                <a:lnTo>
                  <a:pt x="394" y="373"/>
                </a:lnTo>
                <a:close/>
                <a:moveTo>
                  <a:pt x="138" y="320"/>
                </a:moveTo>
                <a:cubicBezTo>
                  <a:pt x="373" y="320"/>
                  <a:pt x="373" y="320"/>
                  <a:pt x="373" y="320"/>
                </a:cubicBezTo>
                <a:cubicBezTo>
                  <a:pt x="373" y="362"/>
                  <a:pt x="373" y="362"/>
                  <a:pt x="373" y="362"/>
                </a:cubicBezTo>
                <a:cubicBezTo>
                  <a:pt x="138" y="362"/>
                  <a:pt x="138" y="362"/>
                  <a:pt x="138" y="362"/>
                </a:cubicBezTo>
                <a:lnTo>
                  <a:pt x="138" y="320"/>
                </a:lnTo>
                <a:close/>
                <a:moveTo>
                  <a:pt x="361" y="256"/>
                </a:moveTo>
                <a:cubicBezTo>
                  <a:pt x="150" y="256"/>
                  <a:pt x="150" y="256"/>
                  <a:pt x="150" y="256"/>
                </a:cubicBezTo>
                <a:cubicBezTo>
                  <a:pt x="256" y="129"/>
                  <a:pt x="256" y="129"/>
                  <a:pt x="256" y="129"/>
                </a:cubicBezTo>
                <a:lnTo>
                  <a:pt x="361" y="25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52" name="Group 456"/>
          <p:cNvGrpSpPr>
            <a:grpSpLocks noChangeAspect="1"/>
          </p:cNvGrpSpPr>
          <p:nvPr/>
        </p:nvGrpSpPr>
        <p:grpSpPr bwMode="auto">
          <a:xfrm>
            <a:off x="3914496" y="2041433"/>
            <a:ext cx="367631" cy="367631"/>
            <a:chOff x="5846" y="1739"/>
            <a:chExt cx="340" cy="340"/>
          </a:xfrm>
          <a:solidFill>
            <a:schemeClr val="accent5"/>
          </a:solidFill>
        </p:grpSpPr>
        <p:sp>
          <p:nvSpPr>
            <p:cNvPr id="453" name="Freeform 457"/>
            <p:cNvSpPr>
              <a:spLocks noEditPoints="1"/>
            </p:cNvSpPr>
            <p:nvPr/>
          </p:nvSpPr>
          <p:spPr bwMode="auto">
            <a:xfrm>
              <a:off x="5846" y="173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" name="Freeform 458"/>
            <p:cNvSpPr>
              <a:spLocks noEditPoints="1"/>
            </p:cNvSpPr>
            <p:nvPr/>
          </p:nvSpPr>
          <p:spPr bwMode="auto">
            <a:xfrm>
              <a:off x="5924" y="1937"/>
              <a:ext cx="184" cy="57"/>
            </a:xfrm>
            <a:custGeom>
              <a:avLst/>
              <a:gdLst>
                <a:gd name="T0" fmla="*/ 267 w 277"/>
                <a:gd name="T1" fmla="*/ 0 h 86"/>
                <a:gd name="T2" fmla="*/ 11 w 277"/>
                <a:gd name="T3" fmla="*/ 0 h 86"/>
                <a:gd name="T4" fmla="*/ 0 w 277"/>
                <a:gd name="T5" fmla="*/ 11 h 86"/>
                <a:gd name="T6" fmla="*/ 0 w 277"/>
                <a:gd name="T7" fmla="*/ 75 h 86"/>
                <a:gd name="T8" fmla="*/ 11 w 277"/>
                <a:gd name="T9" fmla="*/ 86 h 86"/>
                <a:gd name="T10" fmla="*/ 267 w 277"/>
                <a:gd name="T11" fmla="*/ 86 h 86"/>
                <a:gd name="T12" fmla="*/ 277 w 277"/>
                <a:gd name="T13" fmla="*/ 75 h 86"/>
                <a:gd name="T14" fmla="*/ 277 w 277"/>
                <a:gd name="T15" fmla="*/ 11 h 86"/>
                <a:gd name="T16" fmla="*/ 267 w 277"/>
                <a:gd name="T17" fmla="*/ 0 h 86"/>
                <a:gd name="T18" fmla="*/ 256 w 277"/>
                <a:gd name="T19" fmla="*/ 64 h 86"/>
                <a:gd name="T20" fmla="*/ 21 w 277"/>
                <a:gd name="T21" fmla="*/ 64 h 86"/>
                <a:gd name="T22" fmla="*/ 21 w 277"/>
                <a:gd name="T23" fmla="*/ 22 h 86"/>
                <a:gd name="T24" fmla="*/ 256 w 277"/>
                <a:gd name="T25" fmla="*/ 22 h 86"/>
                <a:gd name="T26" fmla="*/ 256 w 277"/>
                <a:gd name="T27" fmla="*/ 6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86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1"/>
                    <a:pt x="5" y="86"/>
                    <a:pt x="11" y="86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3" y="86"/>
                    <a:pt x="277" y="81"/>
                    <a:pt x="277" y="75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  <a:moveTo>
                    <a:pt x="256" y="64"/>
                  </a:moveTo>
                  <a:cubicBezTo>
                    <a:pt x="21" y="64"/>
                    <a:pt x="21" y="64"/>
                    <a:pt x="21" y="6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56" y="22"/>
                    <a:pt x="256" y="22"/>
                    <a:pt x="256" y="22"/>
                  </a:cubicBezTo>
                  <a:lnTo>
                    <a:pt x="25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5" name="Freeform 459"/>
            <p:cNvSpPr>
              <a:spLocks noEditPoints="1"/>
            </p:cNvSpPr>
            <p:nvPr/>
          </p:nvSpPr>
          <p:spPr bwMode="auto">
            <a:xfrm>
              <a:off x="5923" y="1806"/>
              <a:ext cx="185" cy="117"/>
            </a:xfrm>
            <a:custGeom>
              <a:avLst/>
              <a:gdLst>
                <a:gd name="T0" fmla="*/ 12 w 279"/>
                <a:gd name="T1" fmla="*/ 176 h 176"/>
                <a:gd name="T2" fmla="*/ 268 w 279"/>
                <a:gd name="T3" fmla="*/ 176 h 176"/>
                <a:gd name="T4" fmla="*/ 277 w 279"/>
                <a:gd name="T5" fmla="*/ 170 h 176"/>
                <a:gd name="T6" fmla="*/ 276 w 279"/>
                <a:gd name="T7" fmla="*/ 159 h 176"/>
                <a:gd name="T8" fmla="*/ 148 w 279"/>
                <a:gd name="T9" fmla="*/ 5 h 176"/>
                <a:gd name="T10" fmla="*/ 131 w 279"/>
                <a:gd name="T11" fmla="*/ 5 h 176"/>
                <a:gd name="T12" fmla="*/ 3 w 279"/>
                <a:gd name="T13" fmla="*/ 159 h 176"/>
                <a:gd name="T14" fmla="*/ 2 w 279"/>
                <a:gd name="T15" fmla="*/ 170 h 176"/>
                <a:gd name="T16" fmla="*/ 12 w 279"/>
                <a:gd name="T17" fmla="*/ 176 h 176"/>
                <a:gd name="T18" fmla="*/ 140 w 279"/>
                <a:gd name="T19" fmla="*/ 28 h 176"/>
                <a:gd name="T20" fmla="*/ 245 w 279"/>
                <a:gd name="T21" fmla="*/ 155 h 176"/>
                <a:gd name="T22" fmla="*/ 34 w 279"/>
                <a:gd name="T23" fmla="*/ 155 h 176"/>
                <a:gd name="T24" fmla="*/ 140 w 279"/>
                <a:gd name="T25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9" h="176">
                  <a:moveTo>
                    <a:pt x="12" y="176"/>
                  </a:moveTo>
                  <a:cubicBezTo>
                    <a:pt x="268" y="176"/>
                    <a:pt x="268" y="176"/>
                    <a:pt x="268" y="176"/>
                  </a:cubicBezTo>
                  <a:cubicBezTo>
                    <a:pt x="272" y="176"/>
                    <a:pt x="276" y="174"/>
                    <a:pt x="277" y="170"/>
                  </a:cubicBezTo>
                  <a:cubicBezTo>
                    <a:pt x="279" y="166"/>
                    <a:pt x="279" y="162"/>
                    <a:pt x="276" y="159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4" y="0"/>
                    <a:pt x="136" y="0"/>
                    <a:pt x="131" y="5"/>
                  </a:cubicBezTo>
                  <a:cubicBezTo>
                    <a:pt x="3" y="159"/>
                    <a:pt x="3" y="159"/>
                    <a:pt x="3" y="159"/>
                  </a:cubicBezTo>
                  <a:cubicBezTo>
                    <a:pt x="1" y="162"/>
                    <a:pt x="0" y="166"/>
                    <a:pt x="2" y="170"/>
                  </a:cubicBezTo>
                  <a:cubicBezTo>
                    <a:pt x="4" y="174"/>
                    <a:pt x="8" y="176"/>
                    <a:pt x="12" y="176"/>
                  </a:cubicBezTo>
                  <a:close/>
                  <a:moveTo>
                    <a:pt x="140" y="28"/>
                  </a:moveTo>
                  <a:cubicBezTo>
                    <a:pt x="245" y="155"/>
                    <a:pt x="245" y="155"/>
                    <a:pt x="245" y="155"/>
                  </a:cubicBezTo>
                  <a:cubicBezTo>
                    <a:pt x="34" y="155"/>
                    <a:pt x="34" y="155"/>
                    <a:pt x="34" y="155"/>
                  </a:cubicBezTo>
                  <a:lnTo>
                    <a:pt x="14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56" name="TextBox 455"/>
          <p:cNvSpPr txBox="1"/>
          <p:nvPr/>
        </p:nvSpPr>
        <p:spPr>
          <a:xfrm>
            <a:off x="4467787" y="2443092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kip backwards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5458821" y="244308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kip forward</a:t>
            </a:r>
          </a:p>
        </p:txBody>
      </p:sp>
      <p:sp>
        <p:nvSpPr>
          <p:cNvPr id="458" name="TextBox 457"/>
          <p:cNvSpPr txBox="1"/>
          <p:nvPr/>
        </p:nvSpPr>
        <p:spPr>
          <a:xfrm>
            <a:off x="6464672" y="2443092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kip forwards</a:t>
            </a:r>
          </a:p>
        </p:txBody>
      </p:sp>
      <p:sp>
        <p:nvSpPr>
          <p:cNvPr id="459" name="TextBox 458"/>
          <p:cNvSpPr txBox="1"/>
          <p:nvPr/>
        </p:nvSpPr>
        <p:spPr>
          <a:xfrm>
            <a:off x="7467348" y="24430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kip rewind</a:t>
            </a:r>
          </a:p>
        </p:txBody>
      </p:sp>
      <p:grpSp>
        <p:nvGrpSpPr>
          <p:cNvPr id="460" name="Group 18"/>
          <p:cNvGrpSpPr>
            <a:grpSpLocks noChangeAspect="1"/>
          </p:cNvGrpSpPr>
          <p:nvPr/>
        </p:nvGrpSpPr>
        <p:grpSpPr bwMode="auto">
          <a:xfrm>
            <a:off x="7895107" y="2041429"/>
            <a:ext cx="369676" cy="369676"/>
            <a:chOff x="6612" y="6"/>
            <a:chExt cx="340" cy="340"/>
          </a:xfrm>
          <a:solidFill>
            <a:schemeClr val="accent1"/>
          </a:solidFill>
        </p:grpSpPr>
        <p:sp>
          <p:nvSpPr>
            <p:cNvPr id="461" name="Freeform 19"/>
            <p:cNvSpPr>
              <a:spLocks noEditPoints="1"/>
            </p:cNvSpPr>
            <p:nvPr/>
          </p:nvSpPr>
          <p:spPr bwMode="auto">
            <a:xfrm>
              <a:off x="6704" y="76"/>
              <a:ext cx="156" cy="199"/>
            </a:xfrm>
            <a:custGeom>
              <a:avLst/>
              <a:gdLst>
                <a:gd name="T0" fmla="*/ 229 w 235"/>
                <a:gd name="T1" fmla="*/ 2 h 299"/>
                <a:gd name="T2" fmla="*/ 219 w 235"/>
                <a:gd name="T3" fmla="*/ 2 h 299"/>
                <a:gd name="T4" fmla="*/ 22 w 235"/>
                <a:gd name="T5" fmla="*/ 130 h 299"/>
                <a:gd name="T6" fmla="*/ 22 w 235"/>
                <a:gd name="T7" fmla="*/ 11 h 299"/>
                <a:gd name="T8" fmla="*/ 11 w 235"/>
                <a:gd name="T9" fmla="*/ 0 h 299"/>
                <a:gd name="T10" fmla="*/ 0 w 235"/>
                <a:gd name="T11" fmla="*/ 11 h 299"/>
                <a:gd name="T12" fmla="*/ 0 w 235"/>
                <a:gd name="T13" fmla="*/ 288 h 299"/>
                <a:gd name="T14" fmla="*/ 11 w 235"/>
                <a:gd name="T15" fmla="*/ 299 h 299"/>
                <a:gd name="T16" fmla="*/ 22 w 235"/>
                <a:gd name="T17" fmla="*/ 288 h 299"/>
                <a:gd name="T18" fmla="*/ 22 w 235"/>
                <a:gd name="T19" fmla="*/ 169 h 299"/>
                <a:gd name="T20" fmla="*/ 219 w 235"/>
                <a:gd name="T21" fmla="*/ 297 h 299"/>
                <a:gd name="T22" fmla="*/ 224 w 235"/>
                <a:gd name="T23" fmla="*/ 299 h 299"/>
                <a:gd name="T24" fmla="*/ 229 w 235"/>
                <a:gd name="T25" fmla="*/ 298 h 299"/>
                <a:gd name="T26" fmla="*/ 235 w 235"/>
                <a:gd name="T27" fmla="*/ 288 h 299"/>
                <a:gd name="T28" fmla="*/ 235 w 235"/>
                <a:gd name="T29" fmla="*/ 11 h 299"/>
                <a:gd name="T30" fmla="*/ 229 w 235"/>
                <a:gd name="T31" fmla="*/ 2 h 299"/>
                <a:gd name="T32" fmla="*/ 214 w 235"/>
                <a:gd name="T33" fmla="*/ 269 h 299"/>
                <a:gd name="T34" fmla="*/ 31 w 235"/>
                <a:gd name="T35" fmla="*/ 150 h 299"/>
                <a:gd name="T36" fmla="*/ 214 w 235"/>
                <a:gd name="T37" fmla="*/ 31 h 299"/>
                <a:gd name="T38" fmla="*/ 214 w 235"/>
                <a:gd name="T39" fmla="*/ 26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5" h="299">
                  <a:moveTo>
                    <a:pt x="229" y="2"/>
                  </a:moveTo>
                  <a:cubicBezTo>
                    <a:pt x="226" y="0"/>
                    <a:pt x="222" y="0"/>
                    <a:pt x="219" y="2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9"/>
                    <a:pt x="11" y="299"/>
                  </a:cubicBezTo>
                  <a:cubicBezTo>
                    <a:pt x="17" y="299"/>
                    <a:pt x="22" y="294"/>
                    <a:pt x="22" y="288"/>
                  </a:cubicBezTo>
                  <a:cubicBezTo>
                    <a:pt x="22" y="169"/>
                    <a:pt x="22" y="169"/>
                    <a:pt x="22" y="169"/>
                  </a:cubicBezTo>
                  <a:cubicBezTo>
                    <a:pt x="219" y="297"/>
                    <a:pt x="219" y="297"/>
                    <a:pt x="219" y="297"/>
                  </a:cubicBezTo>
                  <a:cubicBezTo>
                    <a:pt x="220" y="298"/>
                    <a:pt x="222" y="299"/>
                    <a:pt x="224" y="299"/>
                  </a:cubicBezTo>
                  <a:cubicBezTo>
                    <a:pt x="226" y="299"/>
                    <a:pt x="228" y="299"/>
                    <a:pt x="229" y="298"/>
                  </a:cubicBezTo>
                  <a:cubicBezTo>
                    <a:pt x="233" y="296"/>
                    <a:pt x="235" y="292"/>
                    <a:pt x="235" y="288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35" y="7"/>
                    <a:pt x="233" y="3"/>
                    <a:pt x="229" y="2"/>
                  </a:cubicBezTo>
                  <a:close/>
                  <a:moveTo>
                    <a:pt x="214" y="269"/>
                  </a:moveTo>
                  <a:cubicBezTo>
                    <a:pt x="31" y="150"/>
                    <a:pt x="31" y="150"/>
                    <a:pt x="31" y="150"/>
                  </a:cubicBezTo>
                  <a:cubicBezTo>
                    <a:pt x="214" y="31"/>
                    <a:pt x="214" y="31"/>
                    <a:pt x="214" y="31"/>
                  </a:cubicBezTo>
                  <a:lnTo>
                    <a:pt x="214" y="2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" name="Freeform 20"/>
            <p:cNvSpPr>
              <a:spLocks noEditPoints="1"/>
            </p:cNvSpPr>
            <p:nvPr/>
          </p:nvSpPr>
          <p:spPr bwMode="auto">
            <a:xfrm>
              <a:off x="6612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63" name="Freeform 24"/>
          <p:cNvSpPr>
            <a:spLocks noChangeAspect="1" noEditPoints="1"/>
          </p:cNvSpPr>
          <p:nvPr/>
        </p:nvSpPr>
        <p:spPr bwMode="auto">
          <a:xfrm>
            <a:off x="7397275" y="2041429"/>
            <a:ext cx="369676" cy="369676"/>
          </a:xfrm>
          <a:custGeom>
            <a:avLst/>
            <a:gdLst>
              <a:gd name="T0" fmla="*/ 169 w 512"/>
              <a:gd name="T1" fmla="*/ 256 h 512"/>
              <a:gd name="T2" fmla="*/ 352 w 512"/>
              <a:gd name="T3" fmla="*/ 137 h 512"/>
              <a:gd name="T4" fmla="*/ 352 w 512"/>
              <a:gd name="T5" fmla="*/ 375 h 512"/>
              <a:gd name="T6" fmla="*/ 169 w 512"/>
              <a:gd name="T7" fmla="*/ 256 h 512"/>
              <a:gd name="T8" fmla="*/ 512 w 512"/>
              <a:gd name="T9" fmla="*/ 256 h 512"/>
              <a:gd name="T10" fmla="*/ 256 w 512"/>
              <a:gd name="T11" fmla="*/ 512 h 512"/>
              <a:gd name="T12" fmla="*/ 0 w 512"/>
              <a:gd name="T13" fmla="*/ 256 h 512"/>
              <a:gd name="T14" fmla="*/ 256 w 512"/>
              <a:gd name="T15" fmla="*/ 0 h 512"/>
              <a:gd name="T16" fmla="*/ 512 w 512"/>
              <a:gd name="T17" fmla="*/ 256 h 512"/>
              <a:gd name="T18" fmla="*/ 373 w 512"/>
              <a:gd name="T19" fmla="*/ 117 h 512"/>
              <a:gd name="T20" fmla="*/ 367 w 512"/>
              <a:gd name="T21" fmla="*/ 108 h 512"/>
              <a:gd name="T22" fmla="*/ 357 w 512"/>
              <a:gd name="T23" fmla="*/ 108 h 512"/>
              <a:gd name="T24" fmla="*/ 160 w 512"/>
              <a:gd name="T25" fmla="*/ 236 h 512"/>
              <a:gd name="T26" fmla="*/ 160 w 512"/>
              <a:gd name="T27" fmla="*/ 117 h 512"/>
              <a:gd name="T28" fmla="*/ 149 w 512"/>
              <a:gd name="T29" fmla="*/ 106 h 512"/>
              <a:gd name="T30" fmla="*/ 138 w 512"/>
              <a:gd name="T31" fmla="*/ 117 h 512"/>
              <a:gd name="T32" fmla="*/ 138 w 512"/>
              <a:gd name="T33" fmla="*/ 394 h 512"/>
              <a:gd name="T34" fmla="*/ 149 w 512"/>
              <a:gd name="T35" fmla="*/ 405 h 512"/>
              <a:gd name="T36" fmla="*/ 160 w 512"/>
              <a:gd name="T37" fmla="*/ 394 h 512"/>
              <a:gd name="T38" fmla="*/ 160 w 512"/>
              <a:gd name="T39" fmla="*/ 275 h 512"/>
              <a:gd name="T40" fmla="*/ 357 w 512"/>
              <a:gd name="T41" fmla="*/ 403 h 512"/>
              <a:gd name="T42" fmla="*/ 362 w 512"/>
              <a:gd name="T43" fmla="*/ 405 h 512"/>
              <a:gd name="T44" fmla="*/ 367 w 512"/>
              <a:gd name="T45" fmla="*/ 404 h 512"/>
              <a:gd name="T46" fmla="*/ 373 w 512"/>
              <a:gd name="T47" fmla="*/ 394 h 512"/>
              <a:gd name="T48" fmla="*/ 373 w 512"/>
              <a:gd name="T49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169" y="256"/>
                </a:moveTo>
                <a:cubicBezTo>
                  <a:pt x="352" y="137"/>
                  <a:pt x="352" y="137"/>
                  <a:pt x="352" y="137"/>
                </a:cubicBezTo>
                <a:cubicBezTo>
                  <a:pt x="352" y="375"/>
                  <a:pt x="352" y="375"/>
                  <a:pt x="352" y="375"/>
                </a:cubicBezTo>
                <a:lnTo>
                  <a:pt x="169" y="2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3"/>
                  <a:pt x="371" y="109"/>
                  <a:pt x="367" y="108"/>
                </a:cubicBezTo>
                <a:cubicBezTo>
                  <a:pt x="364" y="106"/>
                  <a:pt x="360" y="106"/>
                  <a:pt x="357" y="108"/>
                </a:cubicBezTo>
                <a:cubicBezTo>
                  <a:pt x="160" y="236"/>
                  <a:pt x="160" y="236"/>
                  <a:pt x="160" y="236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160" y="111"/>
                  <a:pt x="155" y="106"/>
                  <a:pt x="149" y="106"/>
                </a:cubicBezTo>
                <a:cubicBezTo>
                  <a:pt x="143" y="106"/>
                  <a:pt x="138" y="111"/>
                  <a:pt x="138" y="117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38" y="400"/>
                  <a:pt x="143" y="405"/>
                  <a:pt x="149" y="405"/>
                </a:cubicBezTo>
                <a:cubicBezTo>
                  <a:pt x="155" y="405"/>
                  <a:pt x="160" y="400"/>
                  <a:pt x="160" y="394"/>
                </a:cubicBezTo>
                <a:cubicBezTo>
                  <a:pt x="160" y="275"/>
                  <a:pt x="160" y="275"/>
                  <a:pt x="160" y="275"/>
                </a:cubicBezTo>
                <a:cubicBezTo>
                  <a:pt x="357" y="403"/>
                  <a:pt x="357" y="403"/>
                  <a:pt x="357" y="403"/>
                </a:cubicBezTo>
                <a:cubicBezTo>
                  <a:pt x="358" y="404"/>
                  <a:pt x="360" y="405"/>
                  <a:pt x="362" y="405"/>
                </a:cubicBezTo>
                <a:cubicBezTo>
                  <a:pt x="364" y="405"/>
                  <a:pt x="366" y="405"/>
                  <a:pt x="367" y="404"/>
                </a:cubicBezTo>
                <a:cubicBezTo>
                  <a:pt x="371" y="402"/>
                  <a:pt x="373" y="398"/>
                  <a:pt x="373" y="394"/>
                </a:cubicBezTo>
                <a:lnTo>
                  <a:pt x="373" y="1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4" name="Freeform 28"/>
          <p:cNvSpPr>
            <a:spLocks noChangeAspect="1" noEditPoints="1"/>
          </p:cNvSpPr>
          <p:nvPr/>
        </p:nvSpPr>
        <p:spPr bwMode="auto">
          <a:xfrm>
            <a:off x="6899443" y="2041429"/>
            <a:ext cx="369676" cy="36967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05 w 512"/>
              <a:gd name="T21" fmla="*/ 138 h 512"/>
              <a:gd name="T22" fmla="*/ 394 w 512"/>
              <a:gd name="T23" fmla="*/ 149 h 512"/>
              <a:gd name="T24" fmla="*/ 394 w 512"/>
              <a:gd name="T25" fmla="*/ 243 h 512"/>
              <a:gd name="T26" fmla="*/ 229 w 512"/>
              <a:gd name="T27" fmla="*/ 140 h 512"/>
              <a:gd name="T28" fmla="*/ 218 w 512"/>
              <a:gd name="T29" fmla="*/ 140 h 512"/>
              <a:gd name="T30" fmla="*/ 213 w 512"/>
              <a:gd name="T31" fmla="*/ 149 h 512"/>
              <a:gd name="T32" fmla="*/ 213 w 512"/>
              <a:gd name="T33" fmla="*/ 203 h 512"/>
              <a:gd name="T34" fmla="*/ 112 w 512"/>
              <a:gd name="T35" fmla="*/ 140 h 512"/>
              <a:gd name="T36" fmla="*/ 101 w 512"/>
              <a:gd name="T37" fmla="*/ 140 h 512"/>
              <a:gd name="T38" fmla="*/ 96 w 512"/>
              <a:gd name="T39" fmla="*/ 149 h 512"/>
              <a:gd name="T40" fmla="*/ 96 w 512"/>
              <a:gd name="T41" fmla="*/ 362 h 512"/>
              <a:gd name="T42" fmla="*/ 101 w 512"/>
              <a:gd name="T43" fmla="*/ 372 h 512"/>
              <a:gd name="T44" fmla="*/ 112 w 512"/>
              <a:gd name="T45" fmla="*/ 371 h 512"/>
              <a:gd name="T46" fmla="*/ 213 w 512"/>
              <a:gd name="T47" fmla="*/ 308 h 512"/>
              <a:gd name="T48" fmla="*/ 213 w 512"/>
              <a:gd name="T49" fmla="*/ 362 h 512"/>
              <a:gd name="T50" fmla="*/ 218 w 512"/>
              <a:gd name="T51" fmla="*/ 372 h 512"/>
              <a:gd name="T52" fmla="*/ 224 w 512"/>
              <a:gd name="T53" fmla="*/ 373 h 512"/>
              <a:gd name="T54" fmla="*/ 229 w 512"/>
              <a:gd name="T55" fmla="*/ 371 h 512"/>
              <a:gd name="T56" fmla="*/ 394 w 512"/>
              <a:gd name="T57" fmla="*/ 268 h 512"/>
              <a:gd name="T58" fmla="*/ 394 w 512"/>
              <a:gd name="T59" fmla="*/ 362 h 512"/>
              <a:gd name="T60" fmla="*/ 405 w 512"/>
              <a:gd name="T61" fmla="*/ 373 h 512"/>
              <a:gd name="T62" fmla="*/ 416 w 512"/>
              <a:gd name="T63" fmla="*/ 362 h 512"/>
              <a:gd name="T64" fmla="*/ 416 w 512"/>
              <a:gd name="T65" fmla="*/ 149 h 512"/>
              <a:gd name="T66" fmla="*/ 405 w 512"/>
              <a:gd name="T67" fmla="*/ 138 h 512"/>
              <a:gd name="T68" fmla="*/ 234 w 512"/>
              <a:gd name="T69" fmla="*/ 343 h 512"/>
              <a:gd name="T70" fmla="*/ 234 w 512"/>
              <a:gd name="T71" fmla="*/ 289 h 512"/>
              <a:gd name="T72" fmla="*/ 229 w 512"/>
              <a:gd name="T73" fmla="*/ 280 h 512"/>
              <a:gd name="T74" fmla="*/ 224 w 512"/>
              <a:gd name="T75" fmla="*/ 278 h 512"/>
              <a:gd name="T76" fmla="*/ 218 w 512"/>
              <a:gd name="T77" fmla="*/ 280 h 512"/>
              <a:gd name="T78" fmla="*/ 117 w 512"/>
              <a:gd name="T79" fmla="*/ 343 h 512"/>
              <a:gd name="T80" fmla="*/ 117 w 512"/>
              <a:gd name="T81" fmla="*/ 168 h 512"/>
              <a:gd name="T82" fmla="*/ 218 w 512"/>
              <a:gd name="T83" fmla="*/ 231 h 512"/>
              <a:gd name="T84" fmla="*/ 229 w 512"/>
              <a:gd name="T85" fmla="*/ 232 h 512"/>
              <a:gd name="T86" fmla="*/ 234 w 512"/>
              <a:gd name="T87" fmla="*/ 222 h 512"/>
              <a:gd name="T88" fmla="*/ 234 w 512"/>
              <a:gd name="T89" fmla="*/ 168 h 512"/>
              <a:gd name="T90" fmla="*/ 374 w 512"/>
              <a:gd name="T91" fmla="*/ 256 h 512"/>
              <a:gd name="T92" fmla="*/ 234 w 512"/>
              <a:gd name="T93" fmla="*/ 34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138"/>
                </a:moveTo>
                <a:cubicBezTo>
                  <a:pt x="399" y="138"/>
                  <a:pt x="394" y="143"/>
                  <a:pt x="394" y="149"/>
                </a:cubicBezTo>
                <a:cubicBezTo>
                  <a:pt x="394" y="243"/>
                  <a:pt x="394" y="243"/>
                  <a:pt x="394" y="243"/>
                </a:cubicBezTo>
                <a:cubicBezTo>
                  <a:pt x="229" y="140"/>
                  <a:pt x="229" y="140"/>
                  <a:pt x="229" y="140"/>
                </a:cubicBezTo>
                <a:cubicBezTo>
                  <a:pt x="226" y="138"/>
                  <a:pt x="222" y="138"/>
                  <a:pt x="218" y="140"/>
                </a:cubicBezTo>
                <a:cubicBezTo>
                  <a:pt x="215" y="142"/>
                  <a:pt x="213" y="145"/>
                  <a:pt x="213" y="149"/>
                </a:cubicBezTo>
                <a:cubicBezTo>
                  <a:pt x="213" y="203"/>
                  <a:pt x="213" y="203"/>
                  <a:pt x="213" y="203"/>
                </a:cubicBezTo>
                <a:cubicBezTo>
                  <a:pt x="112" y="140"/>
                  <a:pt x="112" y="140"/>
                  <a:pt x="112" y="140"/>
                </a:cubicBezTo>
                <a:cubicBezTo>
                  <a:pt x="109" y="138"/>
                  <a:pt x="105" y="138"/>
                  <a:pt x="101" y="140"/>
                </a:cubicBezTo>
                <a:cubicBezTo>
                  <a:pt x="98" y="142"/>
                  <a:pt x="96" y="145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6"/>
                  <a:pt x="98" y="370"/>
                  <a:pt x="101" y="372"/>
                </a:cubicBezTo>
                <a:cubicBezTo>
                  <a:pt x="105" y="374"/>
                  <a:pt x="109" y="373"/>
                  <a:pt x="112" y="371"/>
                </a:cubicBezTo>
                <a:cubicBezTo>
                  <a:pt x="213" y="308"/>
                  <a:pt x="213" y="308"/>
                  <a:pt x="213" y="308"/>
                </a:cubicBezTo>
                <a:cubicBezTo>
                  <a:pt x="213" y="362"/>
                  <a:pt x="213" y="362"/>
                  <a:pt x="213" y="362"/>
                </a:cubicBezTo>
                <a:cubicBezTo>
                  <a:pt x="213" y="366"/>
                  <a:pt x="215" y="370"/>
                  <a:pt x="218" y="372"/>
                </a:cubicBezTo>
                <a:cubicBezTo>
                  <a:pt x="220" y="373"/>
                  <a:pt x="222" y="373"/>
                  <a:pt x="224" y="373"/>
                </a:cubicBezTo>
                <a:cubicBezTo>
                  <a:pt x="226" y="373"/>
                  <a:pt x="228" y="372"/>
                  <a:pt x="229" y="371"/>
                </a:cubicBezTo>
                <a:cubicBezTo>
                  <a:pt x="394" y="268"/>
                  <a:pt x="394" y="268"/>
                  <a:pt x="394" y="268"/>
                </a:cubicBezTo>
                <a:cubicBezTo>
                  <a:pt x="394" y="362"/>
                  <a:pt x="394" y="362"/>
                  <a:pt x="394" y="362"/>
                </a:cubicBezTo>
                <a:cubicBezTo>
                  <a:pt x="394" y="368"/>
                  <a:pt x="399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cubicBezTo>
                  <a:pt x="416" y="149"/>
                  <a:pt x="416" y="149"/>
                  <a:pt x="416" y="149"/>
                </a:cubicBezTo>
                <a:cubicBezTo>
                  <a:pt x="416" y="143"/>
                  <a:pt x="411" y="138"/>
                  <a:pt x="405" y="138"/>
                </a:cubicBezTo>
                <a:close/>
                <a:moveTo>
                  <a:pt x="234" y="343"/>
                </a:moveTo>
                <a:cubicBezTo>
                  <a:pt x="234" y="289"/>
                  <a:pt x="234" y="289"/>
                  <a:pt x="234" y="289"/>
                </a:cubicBezTo>
                <a:cubicBezTo>
                  <a:pt x="234" y="285"/>
                  <a:pt x="232" y="282"/>
                  <a:pt x="229" y="280"/>
                </a:cubicBezTo>
                <a:cubicBezTo>
                  <a:pt x="227" y="279"/>
                  <a:pt x="225" y="278"/>
                  <a:pt x="224" y="278"/>
                </a:cubicBezTo>
                <a:cubicBezTo>
                  <a:pt x="222" y="278"/>
                  <a:pt x="220" y="279"/>
                  <a:pt x="218" y="280"/>
                </a:cubicBezTo>
                <a:cubicBezTo>
                  <a:pt x="117" y="343"/>
                  <a:pt x="117" y="343"/>
                  <a:pt x="117" y="343"/>
                </a:cubicBezTo>
                <a:cubicBezTo>
                  <a:pt x="117" y="168"/>
                  <a:pt x="117" y="168"/>
                  <a:pt x="117" y="168"/>
                </a:cubicBezTo>
                <a:cubicBezTo>
                  <a:pt x="218" y="231"/>
                  <a:pt x="218" y="231"/>
                  <a:pt x="218" y="231"/>
                </a:cubicBezTo>
                <a:cubicBezTo>
                  <a:pt x="221" y="233"/>
                  <a:pt x="225" y="234"/>
                  <a:pt x="229" y="232"/>
                </a:cubicBezTo>
                <a:cubicBezTo>
                  <a:pt x="232" y="230"/>
                  <a:pt x="234" y="226"/>
                  <a:pt x="234" y="222"/>
                </a:cubicBezTo>
                <a:cubicBezTo>
                  <a:pt x="234" y="168"/>
                  <a:pt x="234" y="168"/>
                  <a:pt x="234" y="168"/>
                </a:cubicBezTo>
                <a:cubicBezTo>
                  <a:pt x="374" y="256"/>
                  <a:pt x="374" y="256"/>
                  <a:pt x="374" y="256"/>
                </a:cubicBezTo>
                <a:lnTo>
                  <a:pt x="234" y="3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5" name="Freeform 32"/>
          <p:cNvSpPr>
            <a:spLocks noChangeAspect="1" noEditPoints="1"/>
          </p:cNvSpPr>
          <p:nvPr/>
        </p:nvSpPr>
        <p:spPr bwMode="auto">
          <a:xfrm>
            <a:off x="6401611" y="2041429"/>
            <a:ext cx="369676" cy="369676"/>
          </a:xfrm>
          <a:custGeom>
            <a:avLst/>
            <a:gdLst>
              <a:gd name="T0" fmla="*/ 234 w 512"/>
              <a:gd name="T1" fmla="*/ 168 h 512"/>
              <a:gd name="T2" fmla="*/ 374 w 512"/>
              <a:gd name="T3" fmla="*/ 256 h 512"/>
              <a:gd name="T4" fmla="*/ 234 w 512"/>
              <a:gd name="T5" fmla="*/ 343 h 512"/>
              <a:gd name="T6" fmla="*/ 234 w 512"/>
              <a:gd name="T7" fmla="*/ 289 h 512"/>
              <a:gd name="T8" fmla="*/ 229 w 512"/>
              <a:gd name="T9" fmla="*/ 280 h 512"/>
              <a:gd name="T10" fmla="*/ 224 w 512"/>
              <a:gd name="T11" fmla="*/ 278 h 512"/>
              <a:gd name="T12" fmla="*/ 218 w 512"/>
              <a:gd name="T13" fmla="*/ 280 h 512"/>
              <a:gd name="T14" fmla="*/ 117 w 512"/>
              <a:gd name="T15" fmla="*/ 343 h 512"/>
              <a:gd name="T16" fmla="*/ 117 w 512"/>
              <a:gd name="T17" fmla="*/ 168 h 512"/>
              <a:gd name="T18" fmla="*/ 218 w 512"/>
              <a:gd name="T19" fmla="*/ 231 h 512"/>
              <a:gd name="T20" fmla="*/ 229 w 512"/>
              <a:gd name="T21" fmla="*/ 232 h 512"/>
              <a:gd name="T22" fmla="*/ 234 w 512"/>
              <a:gd name="T23" fmla="*/ 222 h 512"/>
              <a:gd name="T24" fmla="*/ 234 w 512"/>
              <a:gd name="T25" fmla="*/ 168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416 w 512"/>
              <a:gd name="T37" fmla="*/ 149 h 512"/>
              <a:gd name="T38" fmla="*/ 405 w 512"/>
              <a:gd name="T39" fmla="*/ 138 h 512"/>
              <a:gd name="T40" fmla="*/ 394 w 512"/>
              <a:gd name="T41" fmla="*/ 149 h 512"/>
              <a:gd name="T42" fmla="*/ 394 w 512"/>
              <a:gd name="T43" fmla="*/ 243 h 512"/>
              <a:gd name="T44" fmla="*/ 229 w 512"/>
              <a:gd name="T45" fmla="*/ 140 h 512"/>
              <a:gd name="T46" fmla="*/ 218 w 512"/>
              <a:gd name="T47" fmla="*/ 140 h 512"/>
              <a:gd name="T48" fmla="*/ 213 w 512"/>
              <a:gd name="T49" fmla="*/ 149 h 512"/>
              <a:gd name="T50" fmla="*/ 213 w 512"/>
              <a:gd name="T51" fmla="*/ 203 h 512"/>
              <a:gd name="T52" fmla="*/ 112 w 512"/>
              <a:gd name="T53" fmla="*/ 140 h 512"/>
              <a:gd name="T54" fmla="*/ 101 w 512"/>
              <a:gd name="T55" fmla="*/ 140 h 512"/>
              <a:gd name="T56" fmla="*/ 96 w 512"/>
              <a:gd name="T57" fmla="*/ 149 h 512"/>
              <a:gd name="T58" fmla="*/ 96 w 512"/>
              <a:gd name="T59" fmla="*/ 362 h 512"/>
              <a:gd name="T60" fmla="*/ 101 w 512"/>
              <a:gd name="T61" fmla="*/ 372 h 512"/>
              <a:gd name="T62" fmla="*/ 112 w 512"/>
              <a:gd name="T63" fmla="*/ 371 h 512"/>
              <a:gd name="T64" fmla="*/ 213 w 512"/>
              <a:gd name="T65" fmla="*/ 308 h 512"/>
              <a:gd name="T66" fmla="*/ 213 w 512"/>
              <a:gd name="T67" fmla="*/ 362 h 512"/>
              <a:gd name="T68" fmla="*/ 218 w 512"/>
              <a:gd name="T69" fmla="*/ 372 h 512"/>
              <a:gd name="T70" fmla="*/ 224 w 512"/>
              <a:gd name="T71" fmla="*/ 373 h 512"/>
              <a:gd name="T72" fmla="*/ 229 w 512"/>
              <a:gd name="T73" fmla="*/ 371 h 512"/>
              <a:gd name="T74" fmla="*/ 394 w 512"/>
              <a:gd name="T75" fmla="*/ 268 h 512"/>
              <a:gd name="T76" fmla="*/ 394 w 512"/>
              <a:gd name="T77" fmla="*/ 362 h 512"/>
              <a:gd name="T78" fmla="*/ 405 w 512"/>
              <a:gd name="T79" fmla="*/ 373 h 512"/>
              <a:gd name="T80" fmla="*/ 416 w 512"/>
              <a:gd name="T81" fmla="*/ 362 h 512"/>
              <a:gd name="T82" fmla="*/ 416 w 512"/>
              <a:gd name="T83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34" y="168"/>
                </a:moveTo>
                <a:cubicBezTo>
                  <a:pt x="374" y="256"/>
                  <a:pt x="374" y="256"/>
                  <a:pt x="374" y="256"/>
                </a:cubicBezTo>
                <a:cubicBezTo>
                  <a:pt x="234" y="343"/>
                  <a:pt x="234" y="343"/>
                  <a:pt x="234" y="343"/>
                </a:cubicBezTo>
                <a:cubicBezTo>
                  <a:pt x="234" y="289"/>
                  <a:pt x="234" y="289"/>
                  <a:pt x="234" y="289"/>
                </a:cubicBezTo>
                <a:cubicBezTo>
                  <a:pt x="234" y="285"/>
                  <a:pt x="232" y="282"/>
                  <a:pt x="229" y="280"/>
                </a:cubicBezTo>
                <a:cubicBezTo>
                  <a:pt x="227" y="279"/>
                  <a:pt x="225" y="278"/>
                  <a:pt x="224" y="278"/>
                </a:cubicBezTo>
                <a:cubicBezTo>
                  <a:pt x="222" y="278"/>
                  <a:pt x="220" y="279"/>
                  <a:pt x="218" y="280"/>
                </a:cubicBezTo>
                <a:cubicBezTo>
                  <a:pt x="117" y="343"/>
                  <a:pt x="117" y="343"/>
                  <a:pt x="117" y="343"/>
                </a:cubicBezTo>
                <a:cubicBezTo>
                  <a:pt x="117" y="168"/>
                  <a:pt x="117" y="168"/>
                  <a:pt x="117" y="168"/>
                </a:cubicBezTo>
                <a:cubicBezTo>
                  <a:pt x="218" y="231"/>
                  <a:pt x="218" y="231"/>
                  <a:pt x="218" y="231"/>
                </a:cubicBezTo>
                <a:cubicBezTo>
                  <a:pt x="221" y="233"/>
                  <a:pt x="225" y="234"/>
                  <a:pt x="229" y="232"/>
                </a:cubicBezTo>
                <a:cubicBezTo>
                  <a:pt x="232" y="230"/>
                  <a:pt x="234" y="226"/>
                  <a:pt x="234" y="222"/>
                </a:cubicBezTo>
                <a:lnTo>
                  <a:pt x="234" y="16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399" y="138"/>
                  <a:pt x="394" y="143"/>
                  <a:pt x="394" y="149"/>
                </a:cubicBezTo>
                <a:cubicBezTo>
                  <a:pt x="394" y="243"/>
                  <a:pt x="394" y="243"/>
                  <a:pt x="394" y="243"/>
                </a:cubicBezTo>
                <a:cubicBezTo>
                  <a:pt x="229" y="140"/>
                  <a:pt x="229" y="140"/>
                  <a:pt x="229" y="140"/>
                </a:cubicBezTo>
                <a:cubicBezTo>
                  <a:pt x="226" y="138"/>
                  <a:pt x="222" y="138"/>
                  <a:pt x="218" y="140"/>
                </a:cubicBezTo>
                <a:cubicBezTo>
                  <a:pt x="215" y="142"/>
                  <a:pt x="213" y="145"/>
                  <a:pt x="213" y="149"/>
                </a:cubicBezTo>
                <a:cubicBezTo>
                  <a:pt x="213" y="203"/>
                  <a:pt x="213" y="203"/>
                  <a:pt x="213" y="203"/>
                </a:cubicBezTo>
                <a:cubicBezTo>
                  <a:pt x="112" y="140"/>
                  <a:pt x="112" y="140"/>
                  <a:pt x="112" y="140"/>
                </a:cubicBezTo>
                <a:cubicBezTo>
                  <a:pt x="109" y="138"/>
                  <a:pt x="105" y="138"/>
                  <a:pt x="101" y="140"/>
                </a:cubicBezTo>
                <a:cubicBezTo>
                  <a:pt x="98" y="142"/>
                  <a:pt x="96" y="145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6"/>
                  <a:pt x="98" y="370"/>
                  <a:pt x="101" y="372"/>
                </a:cubicBezTo>
                <a:cubicBezTo>
                  <a:pt x="105" y="374"/>
                  <a:pt x="109" y="373"/>
                  <a:pt x="112" y="371"/>
                </a:cubicBezTo>
                <a:cubicBezTo>
                  <a:pt x="213" y="308"/>
                  <a:pt x="213" y="308"/>
                  <a:pt x="213" y="308"/>
                </a:cubicBezTo>
                <a:cubicBezTo>
                  <a:pt x="213" y="362"/>
                  <a:pt x="213" y="362"/>
                  <a:pt x="213" y="362"/>
                </a:cubicBezTo>
                <a:cubicBezTo>
                  <a:pt x="213" y="366"/>
                  <a:pt x="215" y="370"/>
                  <a:pt x="218" y="372"/>
                </a:cubicBezTo>
                <a:cubicBezTo>
                  <a:pt x="220" y="373"/>
                  <a:pt x="222" y="373"/>
                  <a:pt x="224" y="373"/>
                </a:cubicBezTo>
                <a:cubicBezTo>
                  <a:pt x="226" y="373"/>
                  <a:pt x="228" y="372"/>
                  <a:pt x="229" y="371"/>
                </a:cubicBezTo>
                <a:cubicBezTo>
                  <a:pt x="394" y="268"/>
                  <a:pt x="394" y="268"/>
                  <a:pt x="394" y="268"/>
                </a:cubicBezTo>
                <a:cubicBezTo>
                  <a:pt x="394" y="362"/>
                  <a:pt x="394" y="362"/>
                  <a:pt x="394" y="362"/>
                </a:cubicBezTo>
                <a:cubicBezTo>
                  <a:pt x="394" y="368"/>
                  <a:pt x="399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66" name="Group 35"/>
          <p:cNvGrpSpPr>
            <a:grpSpLocks noChangeAspect="1"/>
          </p:cNvGrpSpPr>
          <p:nvPr/>
        </p:nvGrpSpPr>
        <p:grpSpPr bwMode="auto">
          <a:xfrm>
            <a:off x="5903779" y="2041429"/>
            <a:ext cx="369676" cy="369676"/>
            <a:chOff x="5170" y="0"/>
            <a:chExt cx="340" cy="340"/>
          </a:xfrm>
          <a:solidFill>
            <a:schemeClr val="accent1"/>
          </a:solidFill>
        </p:grpSpPr>
        <p:sp>
          <p:nvSpPr>
            <p:cNvPr id="467" name="Freeform 36"/>
            <p:cNvSpPr>
              <a:spLocks noEditPoints="1"/>
            </p:cNvSpPr>
            <p:nvPr/>
          </p:nvSpPr>
          <p:spPr bwMode="auto">
            <a:xfrm>
              <a:off x="5262" y="70"/>
              <a:ext cx="156" cy="200"/>
            </a:xfrm>
            <a:custGeom>
              <a:avLst/>
              <a:gdLst>
                <a:gd name="T0" fmla="*/ 224 w 234"/>
                <a:gd name="T1" fmla="*/ 1 h 300"/>
                <a:gd name="T2" fmla="*/ 213 w 234"/>
                <a:gd name="T3" fmla="*/ 12 h 300"/>
                <a:gd name="T4" fmla="*/ 213 w 234"/>
                <a:gd name="T5" fmla="*/ 131 h 300"/>
                <a:gd name="T6" fmla="*/ 16 w 234"/>
                <a:gd name="T7" fmla="*/ 3 h 300"/>
                <a:gd name="T8" fmla="*/ 5 w 234"/>
                <a:gd name="T9" fmla="*/ 2 h 300"/>
                <a:gd name="T10" fmla="*/ 0 w 234"/>
                <a:gd name="T11" fmla="*/ 12 h 300"/>
                <a:gd name="T12" fmla="*/ 0 w 234"/>
                <a:gd name="T13" fmla="*/ 289 h 300"/>
                <a:gd name="T14" fmla="*/ 5 w 234"/>
                <a:gd name="T15" fmla="*/ 298 h 300"/>
                <a:gd name="T16" fmla="*/ 10 w 234"/>
                <a:gd name="T17" fmla="*/ 300 h 300"/>
                <a:gd name="T18" fmla="*/ 16 w 234"/>
                <a:gd name="T19" fmla="*/ 298 h 300"/>
                <a:gd name="T20" fmla="*/ 213 w 234"/>
                <a:gd name="T21" fmla="*/ 170 h 300"/>
                <a:gd name="T22" fmla="*/ 213 w 234"/>
                <a:gd name="T23" fmla="*/ 289 h 300"/>
                <a:gd name="T24" fmla="*/ 224 w 234"/>
                <a:gd name="T25" fmla="*/ 300 h 300"/>
                <a:gd name="T26" fmla="*/ 234 w 234"/>
                <a:gd name="T27" fmla="*/ 289 h 300"/>
                <a:gd name="T28" fmla="*/ 234 w 234"/>
                <a:gd name="T29" fmla="*/ 12 h 300"/>
                <a:gd name="T30" fmla="*/ 224 w 234"/>
                <a:gd name="T31" fmla="*/ 1 h 300"/>
                <a:gd name="T32" fmla="*/ 21 w 234"/>
                <a:gd name="T33" fmla="*/ 269 h 300"/>
                <a:gd name="T34" fmla="*/ 21 w 234"/>
                <a:gd name="T35" fmla="*/ 31 h 300"/>
                <a:gd name="T36" fmla="*/ 204 w 234"/>
                <a:gd name="T37" fmla="*/ 150 h 300"/>
                <a:gd name="T38" fmla="*/ 21 w 234"/>
                <a:gd name="T39" fmla="*/ 26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4" h="300">
                  <a:moveTo>
                    <a:pt x="224" y="1"/>
                  </a:moveTo>
                  <a:cubicBezTo>
                    <a:pt x="218" y="1"/>
                    <a:pt x="213" y="6"/>
                    <a:pt x="213" y="12"/>
                  </a:cubicBezTo>
                  <a:cubicBezTo>
                    <a:pt x="213" y="131"/>
                    <a:pt x="213" y="131"/>
                    <a:pt x="213" y="13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3" y="1"/>
                    <a:pt x="9" y="0"/>
                    <a:pt x="5" y="2"/>
                  </a:cubicBezTo>
                  <a:cubicBezTo>
                    <a:pt x="2" y="4"/>
                    <a:pt x="0" y="8"/>
                    <a:pt x="0" y="12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93"/>
                    <a:pt x="2" y="297"/>
                    <a:pt x="5" y="298"/>
                  </a:cubicBezTo>
                  <a:cubicBezTo>
                    <a:pt x="7" y="299"/>
                    <a:pt x="9" y="300"/>
                    <a:pt x="10" y="300"/>
                  </a:cubicBezTo>
                  <a:cubicBezTo>
                    <a:pt x="12" y="300"/>
                    <a:pt x="14" y="299"/>
                    <a:pt x="16" y="298"/>
                  </a:cubicBezTo>
                  <a:cubicBezTo>
                    <a:pt x="213" y="170"/>
                    <a:pt x="213" y="170"/>
                    <a:pt x="213" y="170"/>
                  </a:cubicBezTo>
                  <a:cubicBezTo>
                    <a:pt x="213" y="289"/>
                    <a:pt x="213" y="289"/>
                    <a:pt x="213" y="289"/>
                  </a:cubicBezTo>
                  <a:cubicBezTo>
                    <a:pt x="213" y="295"/>
                    <a:pt x="218" y="300"/>
                    <a:pt x="224" y="300"/>
                  </a:cubicBezTo>
                  <a:cubicBezTo>
                    <a:pt x="230" y="300"/>
                    <a:pt x="234" y="295"/>
                    <a:pt x="234" y="289"/>
                  </a:cubicBezTo>
                  <a:cubicBezTo>
                    <a:pt x="234" y="12"/>
                    <a:pt x="234" y="12"/>
                    <a:pt x="234" y="12"/>
                  </a:cubicBezTo>
                  <a:cubicBezTo>
                    <a:pt x="234" y="6"/>
                    <a:pt x="230" y="1"/>
                    <a:pt x="224" y="1"/>
                  </a:cubicBezTo>
                  <a:close/>
                  <a:moveTo>
                    <a:pt x="21" y="269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204" y="150"/>
                    <a:pt x="204" y="150"/>
                    <a:pt x="204" y="150"/>
                  </a:cubicBezTo>
                  <a:lnTo>
                    <a:pt x="21" y="2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" name="Freeform 37"/>
            <p:cNvSpPr>
              <a:spLocks noEditPoints="1"/>
            </p:cNvSpPr>
            <p:nvPr/>
          </p:nvSpPr>
          <p:spPr bwMode="auto">
            <a:xfrm>
              <a:off x="5170" y="0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69" name="Freeform 41"/>
          <p:cNvSpPr>
            <a:spLocks noChangeAspect="1" noEditPoints="1"/>
          </p:cNvSpPr>
          <p:nvPr/>
        </p:nvSpPr>
        <p:spPr bwMode="auto">
          <a:xfrm>
            <a:off x="5405947" y="2041429"/>
            <a:ext cx="369676" cy="369676"/>
          </a:xfrm>
          <a:custGeom>
            <a:avLst/>
            <a:gdLst>
              <a:gd name="T0" fmla="*/ 160 w 512"/>
              <a:gd name="T1" fmla="*/ 137 h 512"/>
              <a:gd name="T2" fmla="*/ 343 w 512"/>
              <a:gd name="T3" fmla="*/ 256 h 512"/>
              <a:gd name="T4" fmla="*/ 160 w 512"/>
              <a:gd name="T5" fmla="*/ 375 h 512"/>
              <a:gd name="T6" fmla="*/ 160 w 512"/>
              <a:gd name="T7" fmla="*/ 137 h 512"/>
              <a:gd name="T8" fmla="*/ 512 w 512"/>
              <a:gd name="T9" fmla="*/ 256 h 512"/>
              <a:gd name="T10" fmla="*/ 256 w 512"/>
              <a:gd name="T11" fmla="*/ 512 h 512"/>
              <a:gd name="T12" fmla="*/ 0 w 512"/>
              <a:gd name="T13" fmla="*/ 256 h 512"/>
              <a:gd name="T14" fmla="*/ 256 w 512"/>
              <a:gd name="T15" fmla="*/ 0 h 512"/>
              <a:gd name="T16" fmla="*/ 512 w 512"/>
              <a:gd name="T17" fmla="*/ 256 h 512"/>
              <a:gd name="T18" fmla="*/ 373 w 512"/>
              <a:gd name="T19" fmla="*/ 118 h 512"/>
              <a:gd name="T20" fmla="*/ 363 w 512"/>
              <a:gd name="T21" fmla="*/ 107 h 512"/>
              <a:gd name="T22" fmla="*/ 352 w 512"/>
              <a:gd name="T23" fmla="*/ 118 h 512"/>
              <a:gd name="T24" fmla="*/ 352 w 512"/>
              <a:gd name="T25" fmla="*/ 237 h 512"/>
              <a:gd name="T26" fmla="*/ 155 w 512"/>
              <a:gd name="T27" fmla="*/ 109 h 512"/>
              <a:gd name="T28" fmla="*/ 144 w 512"/>
              <a:gd name="T29" fmla="*/ 108 h 512"/>
              <a:gd name="T30" fmla="*/ 139 w 512"/>
              <a:gd name="T31" fmla="*/ 118 h 512"/>
              <a:gd name="T32" fmla="*/ 139 w 512"/>
              <a:gd name="T33" fmla="*/ 395 h 512"/>
              <a:gd name="T34" fmla="*/ 144 w 512"/>
              <a:gd name="T35" fmla="*/ 404 h 512"/>
              <a:gd name="T36" fmla="*/ 149 w 512"/>
              <a:gd name="T37" fmla="*/ 406 h 512"/>
              <a:gd name="T38" fmla="*/ 155 w 512"/>
              <a:gd name="T39" fmla="*/ 404 h 512"/>
              <a:gd name="T40" fmla="*/ 352 w 512"/>
              <a:gd name="T41" fmla="*/ 276 h 512"/>
              <a:gd name="T42" fmla="*/ 352 w 512"/>
              <a:gd name="T43" fmla="*/ 395 h 512"/>
              <a:gd name="T44" fmla="*/ 363 w 512"/>
              <a:gd name="T45" fmla="*/ 406 h 512"/>
              <a:gd name="T46" fmla="*/ 373 w 512"/>
              <a:gd name="T47" fmla="*/ 395 h 512"/>
              <a:gd name="T48" fmla="*/ 373 w 512"/>
              <a:gd name="T49" fmla="*/ 11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160" y="137"/>
                </a:moveTo>
                <a:cubicBezTo>
                  <a:pt x="343" y="256"/>
                  <a:pt x="343" y="256"/>
                  <a:pt x="343" y="256"/>
                </a:cubicBezTo>
                <a:cubicBezTo>
                  <a:pt x="160" y="375"/>
                  <a:pt x="160" y="375"/>
                  <a:pt x="160" y="375"/>
                </a:cubicBezTo>
                <a:lnTo>
                  <a:pt x="160" y="137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73" y="118"/>
                </a:moveTo>
                <a:cubicBezTo>
                  <a:pt x="373" y="112"/>
                  <a:pt x="369" y="107"/>
                  <a:pt x="363" y="107"/>
                </a:cubicBezTo>
                <a:cubicBezTo>
                  <a:pt x="357" y="107"/>
                  <a:pt x="352" y="112"/>
                  <a:pt x="352" y="118"/>
                </a:cubicBezTo>
                <a:cubicBezTo>
                  <a:pt x="352" y="237"/>
                  <a:pt x="352" y="237"/>
                  <a:pt x="352" y="237"/>
                </a:cubicBezTo>
                <a:cubicBezTo>
                  <a:pt x="155" y="109"/>
                  <a:pt x="155" y="109"/>
                  <a:pt x="155" y="109"/>
                </a:cubicBezTo>
                <a:cubicBezTo>
                  <a:pt x="152" y="107"/>
                  <a:pt x="148" y="106"/>
                  <a:pt x="144" y="108"/>
                </a:cubicBezTo>
                <a:cubicBezTo>
                  <a:pt x="141" y="110"/>
                  <a:pt x="139" y="114"/>
                  <a:pt x="139" y="118"/>
                </a:cubicBezTo>
                <a:cubicBezTo>
                  <a:pt x="139" y="395"/>
                  <a:pt x="139" y="395"/>
                  <a:pt x="139" y="395"/>
                </a:cubicBezTo>
                <a:cubicBezTo>
                  <a:pt x="139" y="399"/>
                  <a:pt x="141" y="403"/>
                  <a:pt x="144" y="404"/>
                </a:cubicBezTo>
                <a:cubicBezTo>
                  <a:pt x="146" y="405"/>
                  <a:pt x="148" y="406"/>
                  <a:pt x="149" y="406"/>
                </a:cubicBezTo>
                <a:cubicBezTo>
                  <a:pt x="151" y="406"/>
                  <a:pt x="153" y="405"/>
                  <a:pt x="155" y="404"/>
                </a:cubicBezTo>
                <a:cubicBezTo>
                  <a:pt x="352" y="276"/>
                  <a:pt x="352" y="276"/>
                  <a:pt x="352" y="276"/>
                </a:cubicBezTo>
                <a:cubicBezTo>
                  <a:pt x="352" y="395"/>
                  <a:pt x="352" y="395"/>
                  <a:pt x="352" y="395"/>
                </a:cubicBezTo>
                <a:cubicBezTo>
                  <a:pt x="352" y="401"/>
                  <a:pt x="357" y="406"/>
                  <a:pt x="363" y="406"/>
                </a:cubicBezTo>
                <a:cubicBezTo>
                  <a:pt x="369" y="406"/>
                  <a:pt x="373" y="401"/>
                  <a:pt x="373" y="395"/>
                </a:cubicBezTo>
                <a:lnTo>
                  <a:pt x="373" y="11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70" name="Freeform 45"/>
          <p:cNvSpPr>
            <a:spLocks noChangeAspect="1" noEditPoints="1"/>
          </p:cNvSpPr>
          <p:nvPr/>
        </p:nvSpPr>
        <p:spPr bwMode="auto">
          <a:xfrm>
            <a:off x="4908115" y="2041429"/>
            <a:ext cx="369676" cy="36967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410 w 512"/>
              <a:gd name="T21" fmla="*/ 140 h 512"/>
              <a:gd name="T22" fmla="*/ 399 w 512"/>
              <a:gd name="T23" fmla="*/ 140 h 512"/>
              <a:gd name="T24" fmla="*/ 298 w 512"/>
              <a:gd name="T25" fmla="*/ 203 h 512"/>
              <a:gd name="T26" fmla="*/ 298 w 512"/>
              <a:gd name="T27" fmla="*/ 149 h 512"/>
              <a:gd name="T28" fmla="*/ 293 w 512"/>
              <a:gd name="T29" fmla="*/ 140 h 512"/>
              <a:gd name="T30" fmla="*/ 282 w 512"/>
              <a:gd name="T31" fmla="*/ 140 h 512"/>
              <a:gd name="T32" fmla="*/ 117 w 512"/>
              <a:gd name="T33" fmla="*/ 243 h 512"/>
              <a:gd name="T34" fmla="*/ 117 w 512"/>
              <a:gd name="T35" fmla="*/ 149 h 512"/>
              <a:gd name="T36" fmla="*/ 106 w 512"/>
              <a:gd name="T37" fmla="*/ 138 h 512"/>
              <a:gd name="T38" fmla="*/ 96 w 512"/>
              <a:gd name="T39" fmla="*/ 149 h 512"/>
              <a:gd name="T40" fmla="*/ 96 w 512"/>
              <a:gd name="T41" fmla="*/ 362 h 512"/>
              <a:gd name="T42" fmla="*/ 106 w 512"/>
              <a:gd name="T43" fmla="*/ 373 h 512"/>
              <a:gd name="T44" fmla="*/ 117 w 512"/>
              <a:gd name="T45" fmla="*/ 362 h 512"/>
              <a:gd name="T46" fmla="*/ 117 w 512"/>
              <a:gd name="T47" fmla="*/ 268 h 512"/>
              <a:gd name="T48" fmla="*/ 282 w 512"/>
              <a:gd name="T49" fmla="*/ 371 h 512"/>
              <a:gd name="T50" fmla="*/ 293 w 512"/>
              <a:gd name="T51" fmla="*/ 372 h 512"/>
              <a:gd name="T52" fmla="*/ 298 w 512"/>
              <a:gd name="T53" fmla="*/ 362 h 512"/>
              <a:gd name="T54" fmla="*/ 298 w 512"/>
              <a:gd name="T55" fmla="*/ 308 h 512"/>
              <a:gd name="T56" fmla="*/ 399 w 512"/>
              <a:gd name="T57" fmla="*/ 371 h 512"/>
              <a:gd name="T58" fmla="*/ 405 w 512"/>
              <a:gd name="T59" fmla="*/ 373 h 512"/>
              <a:gd name="T60" fmla="*/ 410 w 512"/>
              <a:gd name="T61" fmla="*/ 372 h 512"/>
              <a:gd name="T62" fmla="*/ 416 w 512"/>
              <a:gd name="T63" fmla="*/ 362 h 512"/>
              <a:gd name="T64" fmla="*/ 416 w 512"/>
              <a:gd name="T65" fmla="*/ 149 h 512"/>
              <a:gd name="T66" fmla="*/ 410 w 512"/>
              <a:gd name="T67" fmla="*/ 140 h 512"/>
              <a:gd name="T68" fmla="*/ 394 w 512"/>
              <a:gd name="T69" fmla="*/ 343 h 512"/>
              <a:gd name="T70" fmla="*/ 293 w 512"/>
              <a:gd name="T71" fmla="*/ 280 h 512"/>
              <a:gd name="T72" fmla="*/ 288 w 512"/>
              <a:gd name="T73" fmla="*/ 278 h 512"/>
              <a:gd name="T74" fmla="*/ 282 w 512"/>
              <a:gd name="T75" fmla="*/ 280 h 512"/>
              <a:gd name="T76" fmla="*/ 277 w 512"/>
              <a:gd name="T77" fmla="*/ 289 h 512"/>
              <a:gd name="T78" fmla="*/ 277 w 512"/>
              <a:gd name="T79" fmla="*/ 343 h 512"/>
              <a:gd name="T80" fmla="*/ 137 w 512"/>
              <a:gd name="T81" fmla="*/ 256 h 512"/>
              <a:gd name="T82" fmla="*/ 277 w 512"/>
              <a:gd name="T83" fmla="*/ 168 h 512"/>
              <a:gd name="T84" fmla="*/ 277 w 512"/>
              <a:gd name="T85" fmla="*/ 222 h 512"/>
              <a:gd name="T86" fmla="*/ 282 w 512"/>
              <a:gd name="T87" fmla="*/ 232 h 512"/>
              <a:gd name="T88" fmla="*/ 293 w 512"/>
              <a:gd name="T89" fmla="*/ 231 h 512"/>
              <a:gd name="T90" fmla="*/ 394 w 512"/>
              <a:gd name="T91" fmla="*/ 168 h 512"/>
              <a:gd name="T92" fmla="*/ 394 w 512"/>
              <a:gd name="T93" fmla="*/ 34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0" y="140"/>
                </a:moveTo>
                <a:cubicBezTo>
                  <a:pt x="407" y="138"/>
                  <a:pt x="403" y="138"/>
                  <a:pt x="399" y="140"/>
                </a:cubicBezTo>
                <a:cubicBezTo>
                  <a:pt x="298" y="203"/>
                  <a:pt x="298" y="203"/>
                  <a:pt x="298" y="203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98" y="145"/>
                  <a:pt x="296" y="142"/>
                  <a:pt x="293" y="140"/>
                </a:cubicBezTo>
                <a:cubicBezTo>
                  <a:pt x="289" y="138"/>
                  <a:pt x="285" y="138"/>
                  <a:pt x="282" y="140"/>
                </a:cubicBezTo>
                <a:cubicBezTo>
                  <a:pt x="117" y="243"/>
                  <a:pt x="117" y="243"/>
                  <a:pt x="117" y="243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7" y="143"/>
                  <a:pt x="112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112" y="373"/>
                  <a:pt x="117" y="368"/>
                  <a:pt x="117" y="362"/>
                </a:cubicBezTo>
                <a:cubicBezTo>
                  <a:pt x="117" y="268"/>
                  <a:pt x="117" y="268"/>
                  <a:pt x="117" y="268"/>
                </a:cubicBezTo>
                <a:cubicBezTo>
                  <a:pt x="282" y="371"/>
                  <a:pt x="282" y="371"/>
                  <a:pt x="282" y="371"/>
                </a:cubicBezTo>
                <a:cubicBezTo>
                  <a:pt x="285" y="373"/>
                  <a:pt x="289" y="374"/>
                  <a:pt x="293" y="372"/>
                </a:cubicBezTo>
                <a:cubicBezTo>
                  <a:pt x="296" y="370"/>
                  <a:pt x="298" y="366"/>
                  <a:pt x="298" y="362"/>
                </a:cubicBezTo>
                <a:cubicBezTo>
                  <a:pt x="298" y="308"/>
                  <a:pt x="298" y="308"/>
                  <a:pt x="298" y="308"/>
                </a:cubicBezTo>
                <a:cubicBezTo>
                  <a:pt x="399" y="371"/>
                  <a:pt x="399" y="371"/>
                  <a:pt x="399" y="371"/>
                </a:cubicBezTo>
                <a:cubicBezTo>
                  <a:pt x="401" y="372"/>
                  <a:pt x="403" y="373"/>
                  <a:pt x="405" y="373"/>
                </a:cubicBezTo>
                <a:cubicBezTo>
                  <a:pt x="407" y="373"/>
                  <a:pt x="409" y="373"/>
                  <a:pt x="410" y="372"/>
                </a:cubicBezTo>
                <a:cubicBezTo>
                  <a:pt x="414" y="370"/>
                  <a:pt x="416" y="366"/>
                  <a:pt x="416" y="362"/>
                </a:cubicBezTo>
                <a:cubicBezTo>
                  <a:pt x="416" y="149"/>
                  <a:pt x="416" y="149"/>
                  <a:pt x="416" y="149"/>
                </a:cubicBezTo>
                <a:cubicBezTo>
                  <a:pt x="416" y="145"/>
                  <a:pt x="414" y="142"/>
                  <a:pt x="410" y="140"/>
                </a:cubicBezTo>
                <a:close/>
                <a:moveTo>
                  <a:pt x="394" y="343"/>
                </a:moveTo>
                <a:cubicBezTo>
                  <a:pt x="293" y="280"/>
                  <a:pt x="293" y="280"/>
                  <a:pt x="293" y="280"/>
                </a:cubicBezTo>
                <a:cubicBezTo>
                  <a:pt x="292" y="279"/>
                  <a:pt x="290" y="278"/>
                  <a:pt x="288" y="278"/>
                </a:cubicBezTo>
                <a:cubicBezTo>
                  <a:pt x="286" y="278"/>
                  <a:pt x="284" y="279"/>
                  <a:pt x="282" y="280"/>
                </a:cubicBezTo>
                <a:cubicBezTo>
                  <a:pt x="279" y="282"/>
                  <a:pt x="277" y="285"/>
                  <a:pt x="277" y="289"/>
                </a:cubicBezTo>
                <a:cubicBezTo>
                  <a:pt x="277" y="343"/>
                  <a:pt x="277" y="343"/>
                  <a:pt x="277" y="343"/>
                </a:cubicBezTo>
                <a:cubicBezTo>
                  <a:pt x="137" y="256"/>
                  <a:pt x="137" y="256"/>
                  <a:pt x="137" y="256"/>
                </a:cubicBezTo>
                <a:cubicBezTo>
                  <a:pt x="277" y="168"/>
                  <a:pt x="277" y="168"/>
                  <a:pt x="277" y="168"/>
                </a:cubicBezTo>
                <a:cubicBezTo>
                  <a:pt x="277" y="222"/>
                  <a:pt x="277" y="222"/>
                  <a:pt x="277" y="222"/>
                </a:cubicBezTo>
                <a:cubicBezTo>
                  <a:pt x="277" y="226"/>
                  <a:pt x="279" y="230"/>
                  <a:pt x="282" y="232"/>
                </a:cubicBezTo>
                <a:cubicBezTo>
                  <a:pt x="286" y="234"/>
                  <a:pt x="290" y="233"/>
                  <a:pt x="293" y="231"/>
                </a:cubicBezTo>
                <a:cubicBezTo>
                  <a:pt x="394" y="168"/>
                  <a:pt x="394" y="168"/>
                  <a:pt x="394" y="168"/>
                </a:cubicBezTo>
                <a:lnTo>
                  <a:pt x="394" y="3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71" name="Group 48"/>
          <p:cNvGrpSpPr>
            <a:grpSpLocks noChangeAspect="1"/>
          </p:cNvGrpSpPr>
          <p:nvPr/>
        </p:nvGrpSpPr>
        <p:grpSpPr bwMode="auto">
          <a:xfrm>
            <a:off x="4410283" y="2041429"/>
            <a:ext cx="369676" cy="369676"/>
            <a:chOff x="4094" y="6"/>
            <a:chExt cx="340" cy="340"/>
          </a:xfrm>
          <a:solidFill>
            <a:schemeClr val="accent1"/>
          </a:solidFill>
        </p:grpSpPr>
        <p:sp>
          <p:nvSpPr>
            <p:cNvPr id="482" name="Freeform 49"/>
            <p:cNvSpPr>
              <a:spLocks noEditPoints="1"/>
            </p:cNvSpPr>
            <p:nvPr/>
          </p:nvSpPr>
          <p:spPr bwMode="auto">
            <a:xfrm>
              <a:off x="4094" y="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62 h 512"/>
                <a:gd name="T12" fmla="*/ 410 w 512"/>
                <a:gd name="T13" fmla="*/ 372 h 512"/>
                <a:gd name="T14" fmla="*/ 405 w 512"/>
                <a:gd name="T15" fmla="*/ 373 h 512"/>
                <a:gd name="T16" fmla="*/ 399 w 512"/>
                <a:gd name="T17" fmla="*/ 371 h 512"/>
                <a:gd name="T18" fmla="*/ 298 w 512"/>
                <a:gd name="T19" fmla="*/ 308 h 512"/>
                <a:gd name="T20" fmla="*/ 298 w 512"/>
                <a:gd name="T21" fmla="*/ 362 h 512"/>
                <a:gd name="T22" fmla="*/ 293 w 512"/>
                <a:gd name="T23" fmla="*/ 372 h 512"/>
                <a:gd name="T24" fmla="*/ 282 w 512"/>
                <a:gd name="T25" fmla="*/ 371 h 512"/>
                <a:gd name="T26" fmla="*/ 117 w 512"/>
                <a:gd name="T27" fmla="*/ 268 h 512"/>
                <a:gd name="T28" fmla="*/ 117 w 512"/>
                <a:gd name="T29" fmla="*/ 362 h 512"/>
                <a:gd name="T30" fmla="*/ 106 w 512"/>
                <a:gd name="T31" fmla="*/ 373 h 512"/>
                <a:gd name="T32" fmla="*/ 96 w 512"/>
                <a:gd name="T33" fmla="*/ 362 h 512"/>
                <a:gd name="T34" fmla="*/ 96 w 512"/>
                <a:gd name="T35" fmla="*/ 149 h 512"/>
                <a:gd name="T36" fmla="*/ 106 w 512"/>
                <a:gd name="T37" fmla="*/ 138 h 512"/>
                <a:gd name="T38" fmla="*/ 117 w 512"/>
                <a:gd name="T39" fmla="*/ 149 h 512"/>
                <a:gd name="T40" fmla="*/ 117 w 512"/>
                <a:gd name="T41" fmla="*/ 243 h 512"/>
                <a:gd name="T42" fmla="*/ 282 w 512"/>
                <a:gd name="T43" fmla="*/ 140 h 512"/>
                <a:gd name="T44" fmla="*/ 293 w 512"/>
                <a:gd name="T45" fmla="*/ 140 h 512"/>
                <a:gd name="T46" fmla="*/ 298 w 512"/>
                <a:gd name="T47" fmla="*/ 149 h 512"/>
                <a:gd name="T48" fmla="*/ 298 w 512"/>
                <a:gd name="T49" fmla="*/ 203 h 512"/>
                <a:gd name="T50" fmla="*/ 399 w 512"/>
                <a:gd name="T51" fmla="*/ 140 h 512"/>
                <a:gd name="T52" fmla="*/ 410 w 512"/>
                <a:gd name="T53" fmla="*/ 140 h 512"/>
                <a:gd name="T54" fmla="*/ 416 w 512"/>
                <a:gd name="T55" fmla="*/ 149 h 512"/>
                <a:gd name="T56" fmla="*/ 416 w 512"/>
                <a:gd name="T57" fmla="*/ 3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62"/>
                  </a:moveTo>
                  <a:cubicBezTo>
                    <a:pt x="416" y="366"/>
                    <a:pt x="414" y="370"/>
                    <a:pt x="410" y="372"/>
                  </a:cubicBezTo>
                  <a:cubicBezTo>
                    <a:pt x="409" y="373"/>
                    <a:pt x="407" y="373"/>
                    <a:pt x="405" y="373"/>
                  </a:cubicBezTo>
                  <a:cubicBezTo>
                    <a:pt x="403" y="373"/>
                    <a:pt x="401" y="372"/>
                    <a:pt x="399" y="371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8" y="362"/>
                    <a:pt x="298" y="362"/>
                    <a:pt x="298" y="362"/>
                  </a:cubicBezTo>
                  <a:cubicBezTo>
                    <a:pt x="298" y="366"/>
                    <a:pt x="296" y="370"/>
                    <a:pt x="293" y="372"/>
                  </a:cubicBezTo>
                  <a:cubicBezTo>
                    <a:pt x="289" y="374"/>
                    <a:pt x="285" y="373"/>
                    <a:pt x="282" y="371"/>
                  </a:cubicBezTo>
                  <a:cubicBezTo>
                    <a:pt x="117" y="268"/>
                    <a:pt x="117" y="268"/>
                    <a:pt x="117" y="268"/>
                  </a:cubicBezTo>
                  <a:cubicBezTo>
                    <a:pt x="117" y="362"/>
                    <a:pt x="117" y="362"/>
                    <a:pt x="117" y="362"/>
                  </a:cubicBezTo>
                  <a:cubicBezTo>
                    <a:pt x="117" y="368"/>
                    <a:pt x="112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112" y="138"/>
                    <a:pt x="117" y="143"/>
                    <a:pt x="117" y="149"/>
                  </a:cubicBezTo>
                  <a:cubicBezTo>
                    <a:pt x="117" y="243"/>
                    <a:pt x="117" y="243"/>
                    <a:pt x="117" y="243"/>
                  </a:cubicBezTo>
                  <a:cubicBezTo>
                    <a:pt x="282" y="140"/>
                    <a:pt x="282" y="140"/>
                    <a:pt x="282" y="140"/>
                  </a:cubicBezTo>
                  <a:cubicBezTo>
                    <a:pt x="285" y="138"/>
                    <a:pt x="289" y="138"/>
                    <a:pt x="293" y="140"/>
                  </a:cubicBezTo>
                  <a:cubicBezTo>
                    <a:pt x="296" y="142"/>
                    <a:pt x="298" y="145"/>
                    <a:pt x="298" y="149"/>
                  </a:cubicBezTo>
                  <a:cubicBezTo>
                    <a:pt x="298" y="203"/>
                    <a:pt x="298" y="203"/>
                    <a:pt x="298" y="203"/>
                  </a:cubicBezTo>
                  <a:cubicBezTo>
                    <a:pt x="399" y="140"/>
                    <a:pt x="399" y="140"/>
                    <a:pt x="399" y="140"/>
                  </a:cubicBezTo>
                  <a:cubicBezTo>
                    <a:pt x="403" y="138"/>
                    <a:pt x="407" y="138"/>
                    <a:pt x="410" y="140"/>
                  </a:cubicBezTo>
                  <a:cubicBezTo>
                    <a:pt x="414" y="142"/>
                    <a:pt x="416" y="145"/>
                    <a:pt x="416" y="149"/>
                  </a:cubicBezTo>
                  <a:lnTo>
                    <a:pt x="416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" name="Freeform 50"/>
            <p:cNvSpPr>
              <a:spLocks/>
            </p:cNvSpPr>
            <p:nvPr/>
          </p:nvSpPr>
          <p:spPr bwMode="auto">
            <a:xfrm>
              <a:off x="4185" y="118"/>
              <a:ext cx="171" cy="116"/>
            </a:xfrm>
            <a:custGeom>
              <a:avLst/>
              <a:gdLst>
                <a:gd name="T0" fmla="*/ 145 w 257"/>
                <a:gd name="T1" fmla="*/ 64 h 175"/>
                <a:gd name="T2" fmla="*/ 140 w 257"/>
                <a:gd name="T3" fmla="*/ 54 h 175"/>
                <a:gd name="T4" fmla="*/ 140 w 257"/>
                <a:gd name="T5" fmla="*/ 0 h 175"/>
                <a:gd name="T6" fmla="*/ 0 w 257"/>
                <a:gd name="T7" fmla="*/ 88 h 175"/>
                <a:gd name="T8" fmla="*/ 140 w 257"/>
                <a:gd name="T9" fmla="*/ 175 h 175"/>
                <a:gd name="T10" fmla="*/ 140 w 257"/>
                <a:gd name="T11" fmla="*/ 121 h 175"/>
                <a:gd name="T12" fmla="*/ 145 w 257"/>
                <a:gd name="T13" fmla="*/ 112 h 175"/>
                <a:gd name="T14" fmla="*/ 151 w 257"/>
                <a:gd name="T15" fmla="*/ 110 h 175"/>
                <a:gd name="T16" fmla="*/ 156 w 257"/>
                <a:gd name="T17" fmla="*/ 112 h 175"/>
                <a:gd name="T18" fmla="*/ 257 w 257"/>
                <a:gd name="T19" fmla="*/ 175 h 175"/>
                <a:gd name="T20" fmla="*/ 257 w 257"/>
                <a:gd name="T21" fmla="*/ 0 h 175"/>
                <a:gd name="T22" fmla="*/ 156 w 257"/>
                <a:gd name="T23" fmla="*/ 63 h 175"/>
                <a:gd name="T24" fmla="*/ 145 w 257"/>
                <a:gd name="T25" fmla="*/ 6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7" h="175">
                  <a:moveTo>
                    <a:pt x="145" y="64"/>
                  </a:moveTo>
                  <a:cubicBezTo>
                    <a:pt x="142" y="62"/>
                    <a:pt x="140" y="58"/>
                    <a:pt x="140" y="5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40" y="175"/>
                    <a:pt x="140" y="175"/>
                    <a:pt x="140" y="175"/>
                  </a:cubicBezTo>
                  <a:cubicBezTo>
                    <a:pt x="140" y="121"/>
                    <a:pt x="140" y="121"/>
                    <a:pt x="140" y="121"/>
                  </a:cubicBezTo>
                  <a:cubicBezTo>
                    <a:pt x="140" y="117"/>
                    <a:pt x="142" y="114"/>
                    <a:pt x="145" y="112"/>
                  </a:cubicBezTo>
                  <a:cubicBezTo>
                    <a:pt x="147" y="111"/>
                    <a:pt x="149" y="110"/>
                    <a:pt x="151" y="110"/>
                  </a:cubicBezTo>
                  <a:cubicBezTo>
                    <a:pt x="153" y="110"/>
                    <a:pt x="155" y="111"/>
                    <a:pt x="156" y="112"/>
                  </a:cubicBezTo>
                  <a:cubicBezTo>
                    <a:pt x="257" y="175"/>
                    <a:pt x="257" y="175"/>
                    <a:pt x="257" y="175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156" y="63"/>
                    <a:pt x="156" y="63"/>
                    <a:pt x="156" y="63"/>
                  </a:cubicBezTo>
                  <a:cubicBezTo>
                    <a:pt x="153" y="65"/>
                    <a:pt x="149" y="66"/>
                    <a:pt x="14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4" name="TextBox 483"/>
          <p:cNvSpPr txBox="1"/>
          <p:nvPr/>
        </p:nvSpPr>
        <p:spPr>
          <a:xfrm>
            <a:off x="3474349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ute</a:t>
            </a:r>
          </a:p>
        </p:txBody>
      </p:sp>
      <p:sp>
        <p:nvSpPr>
          <p:cNvPr id="485" name="TextBox 484"/>
          <p:cNvSpPr txBox="1"/>
          <p:nvPr/>
        </p:nvSpPr>
        <p:spPr>
          <a:xfrm>
            <a:off x="4472663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Volume 1</a:t>
            </a:r>
          </a:p>
        </p:txBody>
      </p:sp>
      <p:sp>
        <p:nvSpPr>
          <p:cNvPr id="486" name="TextBox 485"/>
          <p:cNvSpPr txBox="1"/>
          <p:nvPr/>
        </p:nvSpPr>
        <p:spPr>
          <a:xfrm>
            <a:off x="5470977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Volume2</a:t>
            </a:r>
          </a:p>
        </p:txBody>
      </p:sp>
      <p:sp>
        <p:nvSpPr>
          <p:cNvPr id="487" name="TextBox 486"/>
          <p:cNvSpPr txBox="1"/>
          <p:nvPr/>
        </p:nvSpPr>
        <p:spPr>
          <a:xfrm>
            <a:off x="6469291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Volume 3</a:t>
            </a:r>
          </a:p>
        </p:txBody>
      </p:sp>
      <p:grpSp>
        <p:nvGrpSpPr>
          <p:cNvPr id="488" name="Group 700"/>
          <p:cNvGrpSpPr>
            <a:grpSpLocks noChangeAspect="1"/>
          </p:cNvGrpSpPr>
          <p:nvPr/>
        </p:nvGrpSpPr>
        <p:grpSpPr bwMode="auto">
          <a:xfrm>
            <a:off x="5904800" y="2905074"/>
            <a:ext cx="369676" cy="369676"/>
            <a:chOff x="7347" y="2631"/>
            <a:chExt cx="340" cy="340"/>
          </a:xfrm>
          <a:solidFill>
            <a:schemeClr val="accent2"/>
          </a:solidFill>
        </p:grpSpPr>
        <p:sp>
          <p:nvSpPr>
            <p:cNvPr id="489" name="Freeform 701"/>
            <p:cNvSpPr>
              <a:spLocks noEditPoints="1"/>
            </p:cNvSpPr>
            <p:nvPr/>
          </p:nvSpPr>
          <p:spPr bwMode="auto">
            <a:xfrm>
              <a:off x="7411" y="2715"/>
              <a:ext cx="106" cy="171"/>
            </a:xfrm>
            <a:custGeom>
              <a:avLst/>
              <a:gdLst>
                <a:gd name="T0" fmla="*/ 153 w 160"/>
                <a:gd name="T1" fmla="*/ 2 h 257"/>
                <a:gd name="T2" fmla="*/ 142 w 160"/>
                <a:gd name="T3" fmla="*/ 3 h 257"/>
                <a:gd name="T4" fmla="*/ 60 w 160"/>
                <a:gd name="T5" fmla="*/ 75 h 257"/>
                <a:gd name="T6" fmla="*/ 10 w 160"/>
                <a:gd name="T7" fmla="*/ 75 h 257"/>
                <a:gd name="T8" fmla="*/ 0 w 160"/>
                <a:gd name="T9" fmla="*/ 86 h 257"/>
                <a:gd name="T10" fmla="*/ 0 w 160"/>
                <a:gd name="T11" fmla="*/ 171 h 257"/>
                <a:gd name="T12" fmla="*/ 10 w 160"/>
                <a:gd name="T13" fmla="*/ 182 h 257"/>
                <a:gd name="T14" fmla="*/ 60 w 160"/>
                <a:gd name="T15" fmla="*/ 182 h 257"/>
                <a:gd name="T16" fmla="*/ 142 w 160"/>
                <a:gd name="T17" fmla="*/ 254 h 257"/>
                <a:gd name="T18" fmla="*/ 149 w 160"/>
                <a:gd name="T19" fmla="*/ 257 h 257"/>
                <a:gd name="T20" fmla="*/ 153 w 160"/>
                <a:gd name="T21" fmla="*/ 256 h 257"/>
                <a:gd name="T22" fmla="*/ 160 w 160"/>
                <a:gd name="T23" fmla="*/ 246 h 257"/>
                <a:gd name="T24" fmla="*/ 160 w 160"/>
                <a:gd name="T25" fmla="*/ 11 h 257"/>
                <a:gd name="T26" fmla="*/ 153 w 160"/>
                <a:gd name="T27" fmla="*/ 2 h 257"/>
                <a:gd name="T28" fmla="*/ 138 w 160"/>
                <a:gd name="T29" fmla="*/ 222 h 257"/>
                <a:gd name="T30" fmla="*/ 71 w 160"/>
                <a:gd name="T31" fmla="*/ 163 h 257"/>
                <a:gd name="T32" fmla="*/ 64 w 160"/>
                <a:gd name="T33" fmla="*/ 161 h 257"/>
                <a:gd name="T34" fmla="*/ 21 w 160"/>
                <a:gd name="T35" fmla="*/ 161 h 257"/>
                <a:gd name="T36" fmla="*/ 21 w 160"/>
                <a:gd name="T37" fmla="*/ 97 h 257"/>
                <a:gd name="T38" fmla="*/ 64 w 160"/>
                <a:gd name="T39" fmla="*/ 97 h 257"/>
                <a:gd name="T40" fmla="*/ 71 w 160"/>
                <a:gd name="T41" fmla="*/ 94 h 257"/>
                <a:gd name="T42" fmla="*/ 138 w 160"/>
                <a:gd name="T43" fmla="*/ 35 h 257"/>
                <a:gd name="T44" fmla="*/ 138 w 160"/>
                <a:gd name="T45" fmla="*/ 22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7">
                  <a:moveTo>
                    <a:pt x="153" y="2"/>
                  </a:moveTo>
                  <a:cubicBezTo>
                    <a:pt x="150" y="0"/>
                    <a:pt x="145" y="1"/>
                    <a:pt x="142" y="3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4" y="75"/>
                    <a:pt x="0" y="80"/>
                    <a:pt x="0" y="8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7"/>
                    <a:pt x="4" y="182"/>
                    <a:pt x="10" y="182"/>
                  </a:cubicBezTo>
                  <a:cubicBezTo>
                    <a:pt x="60" y="182"/>
                    <a:pt x="60" y="182"/>
                    <a:pt x="60" y="182"/>
                  </a:cubicBezTo>
                  <a:cubicBezTo>
                    <a:pt x="142" y="254"/>
                    <a:pt x="142" y="254"/>
                    <a:pt x="142" y="254"/>
                  </a:cubicBezTo>
                  <a:cubicBezTo>
                    <a:pt x="144" y="256"/>
                    <a:pt x="146" y="257"/>
                    <a:pt x="149" y="257"/>
                  </a:cubicBezTo>
                  <a:cubicBezTo>
                    <a:pt x="150" y="257"/>
                    <a:pt x="152" y="256"/>
                    <a:pt x="153" y="256"/>
                  </a:cubicBezTo>
                  <a:cubicBezTo>
                    <a:pt x="157" y="254"/>
                    <a:pt x="160" y="250"/>
                    <a:pt x="160" y="246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7"/>
                    <a:pt x="157" y="3"/>
                    <a:pt x="153" y="2"/>
                  </a:cubicBezTo>
                  <a:close/>
                  <a:moveTo>
                    <a:pt x="138" y="222"/>
                  </a:moveTo>
                  <a:cubicBezTo>
                    <a:pt x="71" y="163"/>
                    <a:pt x="71" y="163"/>
                    <a:pt x="71" y="163"/>
                  </a:cubicBezTo>
                  <a:cubicBezTo>
                    <a:pt x="69" y="162"/>
                    <a:pt x="66" y="161"/>
                    <a:pt x="64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6" y="97"/>
                    <a:pt x="69" y="96"/>
                    <a:pt x="71" y="94"/>
                  </a:cubicBezTo>
                  <a:cubicBezTo>
                    <a:pt x="138" y="35"/>
                    <a:pt x="138" y="35"/>
                    <a:pt x="138" y="35"/>
                  </a:cubicBezTo>
                  <a:lnTo>
                    <a:pt x="13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0" name="Freeform 702"/>
            <p:cNvSpPr>
              <a:spLocks/>
            </p:cNvSpPr>
            <p:nvPr/>
          </p:nvSpPr>
          <p:spPr bwMode="auto">
            <a:xfrm>
              <a:off x="7532" y="2778"/>
              <a:ext cx="20" cy="44"/>
            </a:xfrm>
            <a:custGeom>
              <a:avLst/>
              <a:gdLst>
                <a:gd name="T0" fmla="*/ 5 w 31"/>
                <a:gd name="T1" fmla="*/ 4 h 66"/>
                <a:gd name="T2" fmla="*/ 4 w 31"/>
                <a:gd name="T3" fmla="*/ 19 h 66"/>
                <a:gd name="T4" fmla="*/ 10 w 31"/>
                <a:gd name="T5" fmla="*/ 34 h 66"/>
                <a:gd name="T6" fmla="*/ 4 w 31"/>
                <a:gd name="T7" fmla="*/ 48 h 66"/>
                <a:gd name="T8" fmla="*/ 5 w 31"/>
                <a:gd name="T9" fmla="*/ 63 h 66"/>
                <a:gd name="T10" fmla="*/ 12 w 31"/>
                <a:gd name="T11" fmla="*/ 66 h 66"/>
                <a:gd name="T12" fmla="*/ 20 w 31"/>
                <a:gd name="T13" fmla="*/ 62 h 66"/>
                <a:gd name="T14" fmla="*/ 31 w 31"/>
                <a:gd name="T15" fmla="*/ 34 h 66"/>
                <a:gd name="T16" fmla="*/ 20 w 31"/>
                <a:gd name="T17" fmla="*/ 5 h 66"/>
                <a:gd name="T18" fmla="*/ 5 w 31"/>
                <a:gd name="T19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66">
                  <a:moveTo>
                    <a:pt x="5" y="4"/>
                  </a:moveTo>
                  <a:cubicBezTo>
                    <a:pt x="1" y="8"/>
                    <a:pt x="0" y="15"/>
                    <a:pt x="4" y="19"/>
                  </a:cubicBezTo>
                  <a:cubicBezTo>
                    <a:pt x="8" y="23"/>
                    <a:pt x="10" y="28"/>
                    <a:pt x="10" y="34"/>
                  </a:cubicBezTo>
                  <a:cubicBezTo>
                    <a:pt x="10" y="39"/>
                    <a:pt x="8" y="44"/>
                    <a:pt x="4" y="48"/>
                  </a:cubicBezTo>
                  <a:cubicBezTo>
                    <a:pt x="0" y="52"/>
                    <a:pt x="1" y="59"/>
                    <a:pt x="5" y="63"/>
                  </a:cubicBezTo>
                  <a:cubicBezTo>
                    <a:pt x="7" y="65"/>
                    <a:pt x="10" y="66"/>
                    <a:pt x="12" y="66"/>
                  </a:cubicBezTo>
                  <a:cubicBezTo>
                    <a:pt x="15" y="66"/>
                    <a:pt x="18" y="64"/>
                    <a:pt x="20" y="62"/>
                  </a:cubicBezTo>
                  <a:cubicBezTo>
                    <a:pt x="27" y="54"/>
                    <a:pt x="31" y="44"/>
                    <a:pt x="31" y="34"/>
                  </a:cubicBezTo>
                  <a:cubicBezTo>
                    <a:pt x="31" y="23"/>
                    <a:pt x="27" y="13"/>
                    <a:pt x="20" y="5"/>
                  </a:cubicBezTo>
                  <a:cubicBezTo>
                    <a:pt x="16" y="1"/>
                    <a:pt x="9" y="0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" name="Freeform 703"/>
            <p:cNvSpPr>
              <a:spLocks/>
            </p:cNvSpPr>
            <p:nvPr/>
          </p:nvSpPr>
          <p:spPr bwMode="auto">
            <a:xfrm>
              <a:off x="7554" y="2751"/>
              <a:ext cx="33" cy="99"/>
            </a:xfrm>
            <a:custGeom>
              <a:avLst/>
              <a:gdLst>
                <a:gd name="T0" fmla="*/ 19 w 51"/>
                <a:gd name="T1" fmla="*/ 4 h 150"/>
                <a:gd name="T2" fmla="*/ 4 w 51"/>
                <a:gd name="T3" fmla="*/ 5 h 150"/>
                <a:gd name="T4" fmla="*/ 5 w 51"/>
                <a:gd name="T5" fmla="*/ 20 h 150"/>
                <a:gd name="T6" fmla="*/ 30 w 51"/>
                <a:gd name="T7" fmla="*/ 76 h 150"/>
                <a:gd name="T8" fmla="*/ 5 w 51"/>
                <a:gd name="T9" fmla="*/ 132 h 150"/>
                <a:gd name="T10" fmla="*/ 4 w 51"/>
                <a:gd name="T11" fmla="*/ 147 h 150"/>
                <a:gd name="T12" fmla="*/ 12 w 51"/>
                <a:gd name="T13" fmla="*/ 150 h 150"/>
                <a:gd name="T14" fmla="*/ 19 w 51"/>
                <a:gd name="T15" fmla="*/ 148 h 150"/>
                <a:gd name="T16" fmla="*/ 51 w 51"/>
                <a:gd name="T17" fmla="*/ 76 h 150"/>
                <a:gd name="T18" fmla="*/ 19 w 51"/>
                <a:gd name="T19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150">
                  <a:moveTo>
                    <a:pt x="19" y="4"/>
                  </a:moveTo>
                  <a:cubicBezTo>
                    <a:pt x="14" y="0"/>
                    <a:pt x="8" y="0"/>
                    <a:pt x="4" y="5"/>
                  </a:cubicBezTo>
                  <a:cubicBezTo>
                    <a:pt x="0" y="9"/>
                    <a:pt x="0" y="16"/>
                    <a:pt x="5" y="20"/>
                  </a:cubicBezTo>
                  <a:cubicBezTo>
                    <a:pt x="21" y="34"/>
                    <a:pt x="30" y="54"/>
                    <a:pt x="30" y="76"/>
                  </a:cubicBezTo>
                  <a:cubicBezTo>
                    <a:pt x="30" y="97"/>
                    <a:pt x="21" y="117"/>
                    <a:pt x="5" y="132"/>
                  </a:cubicBezTo>
                  <a:cubicBezTo>
                    <a:pt x="0" y="136"/>
                    <a:pt x="0" y="142"/>
                    <a:pt x="4" y="147"/>
                  </a:cubicBezTo>
                  <a:cubicBezTo>
                    <a:pt x="6" y="149"/>
                    <a:pt x="9" y="150"/>
                    <a:pt x="12" y="150"/>
                  </a:cubicBezTo>
                  <a:cubicBezTo>
                    <a:pt x="14" y="150"/>
                    <a:pt x="17" y="149"/>
                    <a:pt x="19" y="148"/>
                  </a:cubicBezTo>
                  <a:cubicBezTo>
                    <a:pt x="39" y="129"/>
                    <a:pt x="51" y="103"/>
                    <a:pt x="51" y="76"/>
                  </a:cubicBezTo>
                  <a:cubicBezTo>
                    <a:pt x="51" y="48"/>
                    <a:pt x="39" y="22"/>
                    <a:pt x="1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2" name="Freeform 704"/>
            <p:cNvSpPr>
              <a:spLocks noEditPoints="1"/>
            </p:cNvSpPr>
            <p:nvPr/>
          </p:nvSpPr>
          <p:spPr bwMode="auto">
            <a:xfrm>
              <a:off x="7347" y="26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93" name="Freeform 708"/>
          <p:cNvSpPr>
            <a:spLocks noChangeAspect="1" noEditPoints="1"/>
          </p:cNvSpPr>
          <p:nvPr/>
        </p:nvSpPr>
        <p:spPr bwMode="auto">
          <a:xfrm>
            <a:off x="5406399" y="2905074"/>
            <a:ext cx="369676" cy="369676"/>
          </a:xfrm>
          <a:custGeom>
            <a:avLst/>
            <a:gdLst>
              <a:gd name="T0" fmla="*/ 167 w 512"/>
              <a:gd name="T1" fmla="*/ 221 h 512"/>
              <a:gd name="T2" fmla="*/ 234 w 512"/>
              <a:gd name="T3" fmla="*/ 162 h 512"/>
              <a:gd name="T4" fmla="*/ 234 w 512"/>
              <a:gd name="T5" fmla="*/ 349 h 512"/>
              <a:gd name="T6" fmla="*/ 167 w 512"/>
              <a:gd name="T7" fmla="*/ 290 h 512"/>
              <a:gd name="T8" fmla="*/ 160 w 512"/>
              <a:gd name="T9" fmla="*/ 288 h 512"/>
              <a:gd name="T10" fmla="*/ 117 w 512"/>
              <a:gd name="T11" fmla="*/ 288 h 512"/>
              <a:gd name="T12" fmla="*/ 117 w 512"/>
              <a:gd name="T13" fmla="*/ 224 h 512"/>
              <a:gd name="T14" fmla="*/ 160 w 512"/>
              <a:gd name="T15" fmla="*/ 224 h 512"/>
              <a:gd name="T16" fmla="*/ 167 w 512"/>
              <a:gd name="T17" fmla="*/ 221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56 w 512"/>
              <a:gd name="T29" fmla="*/ 138 h 512"/>
              <a:gd name="T30" fmla="*/ 249 w 512"/>
              <a:gd name="T31" fmla="*/ 129 h 512"/>
              <a:gd name="T32" fmla="*/ 238 w 512"/>
              <a:gd name="T33" fmla="*/ 130 h 512"/>
              <a:gd name="T34" fmla="*/ 156 w 512"/>
              <a:gd name="T35" fmla="*/ 202 h 512"/>
              <a:gd name="T36" fmla="*/ 106 w 512"/>
              <a:gd name="T37" fmla="*/ 202 h 512"/>
              <a:gd name="T38" fmla="*/ 96 w 512"/>
              <a:gd name="T39" fmla="*/ 213 h 512"/>
              <a:gd name="T40" fmla="*/ 96 w 512"/>
              <a:gd name="T41" fmla="*/ 298 h 512"/>
              <a:gd name="T42" fmla="*/ 106 w 512"/>
              <a:gd name="T43" fmla="*/ 309 h 512"/>
              <a:gd name="T44" fmla="*/ 156 w 512"/>
              <a:gd name="T45" fmla="*/ 309 h 512"/>
              <a:gd name="T46" fmla="*/ 238 w 512"/>
              <a:gd name="T47" fmla="*/ 381 h 512"/>
              <a:gd name="T48" fmla="*/ 245 w 512"/>
              <a:gd name="T49" fmla="*/ 384 h 512"/>
              <a:gd name="T50" fmla="*/ 249 w 512"/>
              <a:gd name="T51" fmla="*/ 383 h 512"/>
              <a:gd name="T52" fmla="*/ 256 w 512"/>
              <a:gd name="T53" fmla="*/ 373 h 512"/>
              <a:gd name="T54" fmla="*/ 256 w 512"/>
              <a:gd name="T55" fmla="*/ 138 h 512"/>
              <a:gd name="T56" fmla="*/ 309 w 512"/>
              <a:gd name="T57" fmla="*/ 256 h 512"/>
              <a:gd name="T58" fmla="*/ 298 w 512"/>
              <a:gd name="T59" fmla="*/ 227 h 512"/>
              <a:gd name="T60" fmla="*/ 283 w 512"/>
              <a:gd name="T61" fmla="*/ 226 h 512"/>
              <a:gd name="T62" fmla="*/ 282 w 512"/>
              <a:gd name="T63" fmla="*/ 241 h 512"/>
              <a:gd name="T64" fmla="*/ 288 w 512"/>
              <a:gd name="T65" fmla="*/ 256 h 512"/>
              <a:gd name="T66" fmla="*/ 282 w 512"/>
              <a:gd name="T67" fmla="*/ 270 h 512"/>
              <a:gd name="T68" fmla="*/ 283 w 512"/>
              <a:gd name="T69" fmla="*/ 285 h 512"/>
              <a:gd name="T70" fmla="*/ 290 w 512"/>
              <a:gd name="T71" fmla="*/ 288 h 512"/>
              <a:gd name="T72" fmla="*/ 298 w 512"/>
              <a:gd name="T73" fmla="*/ 284 h 512"/>
              <a:gd name="T74" fmla="*/ 309 w 512"/>
              <a:gd name="T75" fmla="*/ 256 h 512"/>
              <a:gd name="T76" fmla="*/ 362 w 512"/>
              <a:gd name="T77" fmla="*/ 256 h 512"/>
              <a:gd name="T78" fmla="*/ 330 w 512"/>
              <a:gd name="T79" fmla="*/ 184 h 512"/>
              <a:gd name="T80" fmla="*/ 315 w 512"/>
              <a:gd name="T81" fmla="*/ 185 h 512"/>
              <a:gd name="T82" fmla="*/ 316 w 512"/>
              <a:gd name="T83" fmla="*/ 200 h 512"/>
              <a:gd name="T84" fmla="*/ 341 w 512"/>
              <a:gd name="T85" fmla="*/ 256 h 512"/>
              <a:gd name="T86" fmla="*/ 316 w 512"/>
              <a:gd name="T87" fmla="*/ 312 h 512"/>
              <a:gd name="T88" fmla="*/ 315 w 512"/>
              <a:gd name="T89" fmla="*/ 327 h 512"/>
              <a:gd name="T90" fmla="*/ 323 w 512"/>
              <a:gd name="T91" fmla="*/ 330 h 512"/>
              <a:gd name="T92" fmla="*/ 330 w 512"/>
              <a:gd name="T93" fmla="*/ 328 h 512"/>
              <a:gd name="T94" fmla="*/ 362 w 512"/>
              <a:gd name="T95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167" y="221"/>
                </a:moveTo>
                <a:cubicBezTo>
                  <a:pt x="234" y="162"/>
                  <a:pt x="234" y="162"/>
                  <a:pt x="234" y="162"/>
                </a:cubicBezTo>
                <a:cubicBezTo>
                  <a:pt x="234" y="349"/>
                  <a:pt x="234" y="349"/>
                  <a:pt x="234" y="349"/>
                </a:cubicBezTo>
                <a:cubicBezTo>
                  <a:pt x="167" y="290"/>
                  <a:pt x="167" y="290"/>
                  <a:pt x="167" y="290"/>
                </a:cubicBezTo>
                <a:cubicBezTo>
                  <a:pt x="165" y="289"/>
                  <a:pt x="162" y="288"/>
                  <a:pt x="160" y="288"/>
                </a:cubicBezTo>
                <a:cubicBezTo>
                  <a:pt x="117" y="288"/>
                  <a:pt x="117" y="288"/>
                  <a:pt x="117" y="28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2" y="224"/>
                  <a:pt x="165" y="223"/>
                  <a:pt x="167" y="22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56" y="138"/>
                </a:moveTo>
                <a:cubicBezTo>
                  <a:pt x="256" y="134"/>
                  <a:pt x="253" y="130"/>
                  <a:pt x="249" y="129"/>
                </a:cubicBezTo>
                <a:cubicBezTo>
                  <a:pt x="246" y="127"/>
                  <a:pt x="241" y="128"/>
                  <a:pt x="238" y="130"/>
                </a:cubicBezTo>
                <a:cubicBezTo>
                  <a:pt x="156" y="202"/>
                  <a:pt x="156" y="202"/>
                  <a:pt x="156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207"/>
                  <a:pt x="96" y="213"/>
                </a:cubicBezTo>
                <a:cubicBezTo>
                  <a:pt x="96" y="298"/>
                  <a:pt x="96" y="298"/>
                  <a:pt x="96" y="298"/>
                </a:cubicBezTo>
                <a:cubicBezTo>
                  <a:pt x="96" y="304"/>
                  <a:pt x="100" y="309"/>
                  <a:pt x="106" y="309"/>
                </a:cubicBezTo>
                <a:cubicBezTo>
                  <a:pt x="156" y="309"/>
                  <a:pt x="156" y="309"/>
                  <a:pt x="156" y="309"/>
                </a:cubicBezTo>
                <a:cubicBezTo>
                  <a:pt x="238" y="381"/>
                  <a:pt x="238" y="381"/>
                  <a:pt x="238" y="381"/>
                </a:cubicBezTo>
                <a:cubicBezTo>
                  <a:pt x="240" y="383"/>
                  <a:pt x="242" y="384"/>
                  <a:pt x="245" y="384"/>
                </a:cubicBezTo>
                <a:cubicBezTo>
                  <a:pt x="246" y="384"/>
                  <a:pt x="248" y="383"/>
                  <a:pt x="249" y="383"/>
                </a:cubicBezTo>
                <a:cubicBezTo>
                  <a:pt x="253" y="381"/>
                  <a:pt x="256" y="377"/>
                  <a:pt x="256" y="373"/>
                </a:cubicBezTo>
                <a:lnTo>
                  <a:pt x="256" y="138"/>
                </a:lnTo>
                <a:close/>
                <a:moveTo>
                  <a:pt x="309" y="256"/>
                </a:moveTo>
                <a:cubicBezTo>
                  <a:pt x="309" y="245"/>
                  <a:pt x="305" y="235"/>
                  <a:pt x="298" y="227"/>
                </a:cubicBezTo>
                <a:cubicBezTo>
                  <a:pt x="294" y="223"/>
                  <a:pt x="287" y="222"/>
                  <a:pt x="283" y="226"/>
                </a:cubicBezTo>
                <a:cubicBezTo>
                  <a:pt x="279" y="230"/>
                  <a:pt x="278" y="237"/>
                  <a:pt x="282" y="241"/>
                </a:cubicBezTo>
                <a:cubicBezTo>
                  <a:pt x="286" y="245"/>
                  <a:pt x="288" y="250"/>
                  <a:pt x="288" y="256"/>
                </a:cubicBezTo>
                <a:cubicBezTo>
                  <a:pt x="288" y="261"/>
                  <a:pt x="286" y="266"/>
                  <a:pt x="282" y="270"/>
                </a:cubicBezTo>
                <a:cubicBezTo>
                  <a:pt x="278" y="274"/>
                  <a:pt x="279" y="281"/>
                  <a:pt x="283" y="285"/>
                </a:cubicBezTo>
                <a:cubicBezTo>
                  <a:pt x="285" y="287"/>
                  <a:pt x="288" y="288"/>
                  <a:pt x="290" y="288"/>
                </a:cubicBezTo>
                <a:cubicBezTo>
                  <a:pt x="293" y="288"/>
                  <a:pt x="296" y="286"/>
                  <a:pt x="298" y="284"/>
                </a:cubicBezTo>
                <a:cubicBezTo>
                  <a:pt x="305" y="276"/>
                  <a:pt x="309" y="266"/>
                  <a:pt x="309" y="256"/>
                </a:cubicBezTo>
                <a:close/>
                <a:moveTo>
                  <a:pt x="362" y="256"/>
                </a:moveTo>
                <a:cubicBezTo>
                  <a:pt x="362" y="228"/>
                  <a:pt x="350" y="202"/>
                  <a:pt x="330" y="184"/>
                </a:cubicBezTo>
                <a:cubicBezTo>
                  <a:pt x="325" y="180"/>
                  <a:pt x="319" y="180"/>
                  <a:pt x="315" y="185"/>
                </a:cubicBezTo>
                <a:cubicBezTo>
                  <a:pt x="311" y="189"/>
                  <a:pt x="311" y="196"/>
                  <a:pt x="316" y="200"/>
                </a:cubicBezTo>
                <a:cubicBezTo>
                  <a:pt x="332" y="214"/>
                  <a:pt x="341" y="234"/>
                  <a:pt x="341" y="256"/>
                </a:cubicBezTo>
                <a:cubicBezTo>
                  <a:pt x="341" y="277"/>
                  <a:pt x="332" y="297"/>
                  <a:pt x="316" y="312"/>
                </a:cubicBezTo>
                <a:cubicBezTo>
                  <a:pt x="311" y="316"/>
                  <a:pt x="311" y="322"/>
                  <a:pt x="315" y="327"/>
                </a:cubicBezTo>
                <a:cubicBezTo>
                  <a:pt x="317" y="329"/>
                  <a:pt x="320" y="330"/>
                  <a:pt x="323" y="330"/>
                </a:cubicBezTo>
                <a:cubicBezTo>
                  <a:pt x="325" y="330"/>
                  <a:pt x="328" y="329"/>
                  <a:pt x="330" y="328"/>
                </a:cubicBezTo>
                <a:cubicBezTo>
                  <a:pt x="350" y="309"/>
                  <a:pt x="362" y="283"/>
                  <a:pt x="362" y="25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94" name="Group 711"/>
          <p:cNvGrpSpPr>
            <a:grpSpLocks noChangeAspect="1"/>
          </p:cNvGrpSpPr>
          <p:nvPr/>
        </p:nvGrpSpPr>
        <p:grpSpPr bwMode="auto">
          <a:xfrm>
            <a:off x="4907998" y="2905077"/>
            <a:ext cx="369676" cy="370763"/>
            <a:chOff x="6611" y="2635"/>
            <a:chExt cx="340" cy="341"/>
          </a:xfrm>
          <a:solidFill>
            <a:schemeClr val="accent2"/>
          </a:solidFill>
        </p:grpSpPr>
        <p:sp>
          <p:nvSpPr>
            <p:cNvPr id="495" name="Freeform 712"/>
            <p:cNvSpPr>
              <a:spLocks noEditPoints="1"/>
            </p:cNvSpPr>
            <p:nvPr/>
          </p:nvSpPr>
          <p:spPr bwMode="auto">
            <a:xfrm>
              <a:off x="6675" y="2720"/>
              <a:ext cx="106" cy="171"/>
            </a:xfrm>
            <a:custGeom>
              <a:avLst/>
              <a:gdLst>
                <a:gd name="T0" fmla="*/ 153 w 160"/>
                <a:gd name="T1" fmla="*/ 2 h 257"/>
                <a:gd name="T2" fmla="*/ 142 w 160"/>
                <a:gd name="T3" fmla="*/ 3 h 257"/>
                <a:gd name="T4" fmla="*/ 60 w 160"/>
                <a:gd name="T5" fmla="*/ 75 h 257"/>
                <a:gd name="T6" fmla="*/ 10 w 160"/>
                <a:gd name="T7" fmla="*/ 75 h 257"/>
                <a:gd name="T8" fmla="*/ 0 w 160"/>
                <a:gd name="T9" fmla="*/ 86 h 257"/>
                <a:gd name="T10" fmla="*/ 0 w 160"/>
                <a:gd name="T11" fmla="*/ 171 h 257"/>
                <a:gd name="T12" fmla="*/ 10 w 160"/>
                <a:gd name="T13" fmla="*/ 182 h 257"/>
                <a:gd name="T14" fmla="*/ 60 w 160"/>
                <a:gd name="T15" fmla="*/ 182 h 257"/>
                <a:gd name="T16" fmla="*/ 142 w 160"/>
                <a:gd name="T17" fmla="*/ 254 h 257"/>
                <a:gd name="T18" fmla="*/ 149 w 160"/>
                <a:gd name="T19" fmla="*/ 257 h 257"/>
                <a:gd name="T20" fmla="*/ 153 w 160"/>
                <a:gd name="T21" fmla="*/ 256 h 257"/>
                <a:gd name="T22" fmla="*/ 160 w 160"/>
                <a:gd name="T23" fmla="*/ 246 h 257"/>
                <a:gd name="T24" fmla="*/ 160 w 160"/>
                <a:gd name="T25" fmla="*/ 11 h 257"/>
                <a:gd name="T26" fmla="*/ 153 w 160"/>
                <a:gd name="T27" fmla="*/ 2 h 257"/>
                <a:gd name="T28" fmla="*/ 138 w 160"/>
                <a:gd name="T29" fmla="*/ 222 h 257"/>
                <a:gd name="T30" fmla="*/ 71 w 160"/>
                <a:gd name="T31" fmla="*/ 163 h 257"/>
                <a:gd name="T32" fmla="*/ 64 w 160"/>
                <a:gd name="T33" fmla="*/ 161 h 257"/>
                <a:gd name="T34" fmla="*/ 21 w 160"/>
                <a:gd name="T35" fmla="*/ 161 h 257"/>
                <a:gd name="T36" fmla="*/ 21 w 160"/>
                <a:gd name="T37" fmla="*/ 97 h 257"/>
                <a:gd name="T38" fmla="*/ 64 w 160"/>
                <a:gd name="T39" fmla="*/ 97 h 257"/>
                <a:gd name="T40" fmla="*/ 71 w 160"/>
                <a:gd name="T41" fmla="*/ 94 h 257"/>
                <a:gd name="T42" fmla="*/ 138 w 160"/>
                <a:gd name="T43" fmla="*/ 35 h 257"/>
                <a:gd name="T44" fmla="*/ 138 w 160"/>
                <a:gd name="T45" fmla="*/ 22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7">
                  <a:moveTo>
                    <a:pt x="153" y="2"/>
                  </a:moveTo>
                  <a:cubicBezTo>
                    <a:pt x="150" y="0"/>
                    <a:pt x="145" y="1"/>
                    <a:pt x="142" y="3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4" y="75"/>
                    <a:pt x="0" y="80"/>
                    <a:pt x="0" y="8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7"/>
                    <a:pt x="4" y="182"/>
                    <a:pt x="10" y="182"/>
                  </a:cubicBezTo>
                  <a:cubicBezTo>
                    <a:pt x="60" y="182"/>
                    <a:pt x="60" y="182"/>
                    <a:pt x="60" y="182"/>
                  </a:cubicBezTo>
                  <a:cubicBezTo>
                    <a:pt x="142" y="254"/>
                    <a:pt x="142" y="254"/>
                    <a:pt x="142" y="254"/>
                  </a:cubicBezTo>
                  <a:cubicBezTo>
                    <a:pt x="144" y="256"/>
                    <a:pt x="146" y="257"/>
                    <a:pt x="149" y="257"/>
                  </a:cubicBezTo>
                  <a:cubicBezTo>
                    <a:pt x="150" y="257"/>
                    <a:pt x="152" y="256"/>
                    <a:pt x="153" y="256"/>
                  </a:cubicBezTo>
                  <a:cubicBezTo>
                    <a:pt x="157" y="254"/>
                    <a:pt x="160" y="250"/>
                    <a:pt x="160" y="246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7"/>
                    <a:pt x="157" y="3"/>
                    <a:pt x="153" y="2"/>
                  </a:cubicBezTo>
                  <a:close/>
                  <a:moveTo>
                    <a:pt x="138" y="222"/>
                  </a:moveTo>
                  <a:cubicBezTo>
                    <a:pt x="71" y="163"/>
                    <a:pt x="71" y="163"/>
                    <a:pt x="71" y="163"/>
                  </a:cubicBezTo>
                  <a:cubicBezTo>
                    <a:pt x="69" y="162"/>
                    <a:pt x="66" y="161"/>
                    <a:pt x="64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6" y="97"/>
                    <a:pt x="69" y="96"/>
                    <a:pt x="71" y="94"/>
                  </a:cubicBezTo>
                  <a:cubicBezTo>
                    <a:pt x="138" y="35"/>
                    <a:pt x="138" y="35"/>
                    <a:pt x="138" y="35"/>
                  </a:cubicBezTo>
                  <a:lnTo>
                    <a:pt x="13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6" name="Freeform 713"/>
            <p:cNvSpPr>
              <a:spLocks/>
            </p:cNvSpPr>
            <p:nvPr/>
          </p:nvSpPr>
          <p:spPr bwMode="auto">
            <a:xfrm>
              <a:off x="6796" y="2783"/>
              <a:ext cx="20" cy="44"/>
            </a:xfrm>
            <a:custGeom>
              <a:avLst/>
              <a:gdLst>
                <a:gd name="T0" fmla="*/ 20 w 31"/>
                <a:gd name="T1" fmla="*/ 5 h 66"/>
                <a:gd name="T2" fmla="*/ 5 w 31"/>
                <a:gd name="T3" fmla="*/ 4 h 66"/>
                <a:gd name="T4" fmla="*/ 4 w 31"/>
                <a:gd name="T5" fmla="*/ 19 h 66"/>
                <a:gd name="T6" fmla="*/ 10 w 31"/>
                <a:gd name="T7" fmla="*/ 34 h 66"/>
                <a:gd name="T8" fmla="*/ 4 w 31"/>
                <a:gd name="T9" fmla="*/ 48 h 66"/>
                <a:gd name="T10" fmla="*/ 5 w 31"/>
                <a:gd name="T11" fmla="*/ 63 h 66"/>
                <a:gd name="T12" fmla="*/ 12 w 31"/>
                <a:gd name="T13" fmla="*/ 66 h 66"/>
                <a:gd name="T14" fmla="*/ 20 w 31"/>
                <a:gd name="T15" fmla="*/ 62 h 66"/>
                <a:gd name="T16" fmla="*/ 31 w 31"/>
                <a:gd name="T17" fmla="*/ 34 h 66"/>
                <a:gd name="T18" fmla="*/ 20 w 31"/>
                <a:gd name="T19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66">
                  <a:moveTo>
                    <a:pt x="20" y="5"/>
                  </a:moveTo>
                  <a:cubicBezTo>
                    <a:pt x="16" y="1"/>
                    <a:pt x="9" y="0"/>
                    <a:pt x="5" y="4"/>
                  </a:cubicBezTo>
                  <a:cubicBezTo>
                    <a:pt x="1" y="8"/>
                    <a:pt x="0" y="15"/>
                    <a:pt x="4" y="19"/>
                  </a:cubicBezTo>
                  <a:cubicBezTo>
                    <a:pt x="8" y="23"/>
                    <a:pt x="10" y="28"/>
                    <a:pt x="10" y="34"/>
                  </a:cubicBezTo>
                  <a:cubicBezTo>
                    <a:pt x="10" y="39"/>
                    <a:pt x="8" y="44"/>
                    <a:pt x="4" y="48"/>
                  </a:cubicBezTo>
                  <a:cubicBezTo>
                    <a:pt x="0" y="52"/>
                    <a:pt x="1" y="59"/>
                    <a:pt x="5" y="63"/>
                  </a:cubicBezTo>
                  <a:cubicBezTo>
                    <a:pt x="7" y="65"/>
                    <a:pt x="10" y="66"/>
                    <a:pt x="12" y="66"/>
                  </a:cubicBezTo>
                  <a:cubicBezTo>
                    <a:pt x="15" y="66"/>
                    <a:pt x="18" y="64"/>
                    <a:pt x="20" y="62"/>
                  </a:cubicBezTo>
                  <a:cubicBezTo>
                    <a:pt x="27" y="54"/>
                    <a:pt x="31" y="44"/>
                    <a:pt x="31" y="34"/>
                  </a:cubicBezTo>
                  <a:cubicBezTo>
                    <a:pt x="31" y="23"/>
                    <a:pt x="27" y="13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7" name="Freeform 714"/>
            <p:cNvSpPr>
              <a:spLocks noEditPoints="1"/>
            </p:cNvSpPr>
            <p:nvPr/>
          </p:nvSpPr>
          <p:spPr bwMode="auto">
            <a:xfrm>
              <a:off x="6611" y="263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98" name="Freeform 718"/>
          <p:cNvSpPr>
            <a:spLocks noChangeAspect="1" noEditPoints="1"/>
          </p:cNvSpPr>
          <p:nvPr/>
        </p:nvSpPr>
        <p:spPr bwMode="auto">
          <a:xfrm>
            <a:off x="4409597" y="2905074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73 h 512"/>
              <a:gd name="T12" fmla="*/ 249 w 512"/>
              <a:gd name="T13" fmla="*/ 383 h 512"/>
              <a:gd name="T14" fmla="*/ 245 w 512"/>
              <a:gd name="T15" fmla="*/ 384 h 512"/>
              <a:gd name="T16" fmla="*/ 238 w 512"/>
              <a:gd name="T17" fmla="*/ 381 h 512"/>
              <a:gd name="T18" fmla="*/ 156 w 512"/>
              <a:gd name="T19" fmla="*/ 309 h 512"/>
              <a:gd name="T20" fmla="*/ 106 w 512"/>
              <a:gd name="T21" fmla="*/ 309 h 512"/>
              <a:gd name="T22" fmla="*/ 96 w 512"/>
              <a:gd name="T23" fmla="*/ 298 h 512"/>
              <a:gd name="T24" fmla="*/ 96 w 512"/>
              <a:gd name="T25" fmla="*/ 213 h 512"/>
              <a:gd name="T26" fmla="*/ 106 w 512"/>
              <a:gd name="T27" fmla="*/ 202 h 512"/>
              <a:gd name="T28" fmla="*/ 156 w 512"/>
              <a:gd name="T29" fmla="*/ 202 h 512"/>
              <a:gd name="T30" fmla="*/ 238 w 512"/>
              <a:gd name="T31" fmla="*/ 130 h 512"/>
              <a:gd name="T32" fmla="*/ 249 w 512"/>
              <a:gd name="T33" fmla="*/ 129 h 512"/>
              <a:gd name="T34" fmla="*/ 256 w 512"/>
              <a:gd name="T35" fmla="*/ 138 h 512"/>
              <a:gd name="T36" fmla="*/ 256 w 512"/>
              <a:gd name="T37" fmla="*/ 373 h 512"/>
              <a:gd name="T38" fmla="*/ 298 w 512"/>
              <a:gd name="T39" fmla="*/ 284 h 512"/>
              <a:gd name="T40" fmla="*/ 290 w 512"/>
              <a:gd name="T41" fmla="*/ 288 h 512"/>
              <a:gd name="T42" fmla="*/ 283 w 512"/>
              <a:gd name="T43" fmla="*/ 285 h 512"/>
              <a:gd name="T44" fmla="*/ 282 w 512"/>
              <a:gd name="T45" fmla="*/ 270 h 512"/>
              <a:gd name="T46" fmla="*/ 288 w 512"/>
              <a:gd name="T47" fmla="*/ 256 h 512"/>
              <a:gd name="T48" fmla="*/ 282 w 512"/>
              <a:gd name="T49" fmla="*/ 241 h 512"/>
              <a:gd name="T50" fmla="*/ 283 w 512"/>
              <a:gd name="T51" fmla="*/ 226 h 512"/>
              <a:gd name="T52" fmla="*/ 298 w 512"/>
              <a:gd name="T53" fmla="*/ 227 h 512"/>
              <a:gd name="T54" fmla="*/ 309 w 512"/>
              <a:gd name="T55" fmla="*/ 256 h 512"/>
              <a:gd name="T56" fmla="*/ 298 w 512"/>
              <a:gd name="T57" fmla="*/ 284 h 512"/>
              <a:gd name="T58" fmla="*/ 167 w 512"/>
              <a:gd name="T59" fmla="*/ 221 h 512"/>
              <a:gd name="T60" fmla="*/ 234 w 512"/>
              <a:gd name="T61" fmla="*/ 162 h 512"/>
              <a:gd name="T62" fmla="*/ 234 w 512"/>
              <a:gd name="T63" fmla="*/ 349 h 512"/>
              <a:gd name="T64" fmla="*/ 167 w 512"/>
              <a:gd name="T65" fmla="*/ 290 h 512"/>
              <a:gd name="T66" fmla="*/ 160 w 512"/>
              <a:gd name="T67" fmla="*/ 288 h 512"/>
              <a:gd name="T68" fmla="*/ 117 w 512"/>
              <a:gd name="T69" fmla="*/ 288 h 512"/>
              <a:gd name="T70" fmla="*/ 117 w 512"/>
              <a:gd name="T71" fmla="*/ 224 h 512"/>
              <a:gd name="T72" fmla="*/ 160 w 512"/>
              <a:gd name="T73" fmla="*/ 224 h 512"/>
              <a:gd name="T74" fmla="*/ 167 w 512"/>
              <a:gd name="T75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73"/>
                </a:moveTo>
                <a:cubicBezTo>
                  <a:pt x="256" y="377"/>
                  <a:pt x="253" y="381"/>
                  <a:pt x="249" y="383"/>
                </a:cubicBezTo>
                <a:cubicBezTo>
                  <a:pt x="248" y="383"/>
                  <a:pt x="246" y="384"/>
                  <a:pt x="245" y="384"/>
                </a:cubicBezTo>
                <a:cubicBezTo>
                  <a:pt x="242" y="384"/>
                  <a:pt x="240" y="383"/>
                  <a:pt x="238" y="381"/>
                </a:cubicBezTo>
                <a:cubicBezTo>
                  <a:pt x="156" y="309"/>
                  <a:pt x="156" y="309"/>
                  <a:pt x="156" y="309"/>
                </a:cubicBezTo>
                <a:cubicBezTo>
                  <a:pt x="106" y="309"/>
                  <a:pt x="106" y="309"/>
                  <a:pt x="106" y="309"/>
                </a:cubicBezTo>
                <a:cubicBezTo>
                  <a:pt x="100" y="309"/>
                  <a:pt x="96" y="304"/>
                  <a:pt x="96" y="298"/>
                </a:cubicBezTo>
                <a:cubicBezTo>
                  <a:pt x="96" y="213"/>
                  <a:pt x="96" y="213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56" y="202"/>
                  <a:pt x="156" y="202"/>
                  <a:pt x="156" y="202"/>
                </a:cubicBezTo>
                <a:cubicBezTo>
                  <a:pt x="238" y="130"/>
                  <a:pt x="238" y="130"/>
                  <a:pt x="238" y="130"/>
                </a:cubicBezTo>
                <a:cubicBezTo>
                  <a:pt x="241" y="128"/>
                  <a:pt x="246" y="127"/>
                  <a:pt x="249" y="129"/>
                </a:cubicBezTo>
                <a:cubicBezTo>
                  <a:pt x="253" y="130"/>
                  <a:pt x="256" y="134"/>
                  <a:pt x="256" y="138"/>
                </a:cubicBezTo>
                <a:lnTo>
                  <a:pt x="256" y="373"/>
                </a:lnTo>
                <a:close/>
                <a:moveTo>
                  <a:pt x="298" y="284"/>
                </a:moveTo>
                <a:cubicBezTo>
                  <a:pt x="296" y="286"/>
                  <a:pt x="293" y="288"/>
                  <a:pt x="290" y="288"/>
                </a:cubicBezTo>
                <a:cubicBezTo>
                  <a:pt x="288" y="288"/>
                  <a:pt x="285" y="287"/>
                  <a:pt x="283" y="285"/>
                </a:cubicBezTo>
                <a:cubicBezTo>
                  <a:pt x="279" y="281"/>
                  <a:pt x="278" y="274"/>
                  <a:pt x="282" y="270"/>
                </a:cubicBezTo>
                <a:cubicBezTo>
                  <a:pt x="286" y="266"/>
                  <a:pt x="288" y="261"/>
                  <a:pt x="288" y="256"/>
                </a:cubicBezTo>
                <a:cubicBezTo>
                  <a:pt x="288" y="250"/>
                  <a:pt x="286" y="245"/>
                  <a:pt x="282" y="241"/>
                </a:cubicBezTo>
                <a:cubicBezTo>
                  <a:pt x="278" y="237"/>
                  <a:pt x="279" y="230"/>
                  <a:pt x="283" y="226"/>
                </a:cubicBezTo>
                <a:cubicBezTo>
                  <a:pt x="287" y="222"/>
                  <a:pt x="294" y="223"/>
                  <a:pt x="298" y="227"/>
                </a:cubicBezTo>
                <a:cubicBezTo>
                  <a:pt x="305" y="235"/>
                  <a:pt x="309" y="245"/>
                  <a:pt x="309" y="256"/>
                </a:cubicBezTo>
                <a:cubicBezTo>
                  <a:pt x="309" y="266"/>
                  <a:pt x="305" y="276"/>
                  <a:pt x="298" y="284"/>
                </a:cubicBezTo>
                <a:close/>
                <a:moveTo>
                  <a:pt x="167" y="221"/>
                </a:moveTo>
                <a:cubicBezTo>
                  <a:pt x="234" y="162"/>
                  <a:pt x="234" y="162"/>
                  <a:pt x="234" y="162"/>
                </a:cubicBezTo>
                <a:cubicBezTo>
                  <a:pt x="234" y="349"/>
                  <a:pt x="234" y="349"/>
                  <a:pt x="234" y="349"/>
                </a:cubicBezTo>
                <a:cubicBezTo>
                  <a:pt x="167" y="290"/>
                  <a:pt x="167" y="290"/>
                  <a:pt x="167" y="290"/>
                </a:cubicBezTo>
                <a:cubicBezTo>
                  <a:pt x="165" y="289"/>
                  <a:pt x="162" y="288"/>
                  <a:pt x="160" y="288"/>
                </a:cubicBezTo>
                <a:cubicBezTo>
                  <a:pt x="117" y="288"/>
                  <a:pt x="117" y="288"/>
                  <a:pt x="117" y="28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2" y="224"/>
                  <a:pt x="165" y="223"/>
                  <a:pt x="167" y="2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99" name="Group 721"/>
          <p:cNvGrpSpPr>
            <a:grpSpLocks noChangeAspect="1"/>
          </p:cNvGrpSpPr>
          <p:nvPr/>
        </p:nvGrpSpPr>
        <p:grpSpPr bwMode="auto">
          <a:xfrm>
            <a:off x="3911196" y="2905077"/>
            <a:ext cx="369676" cy="370763"/>
            <a:chOff x="5832" y="2619"/>
            <a:chExt cx="340" cy="341"/>
          </a:xfrm>
          <a:solidFill>
            <a:schemeClr val="accent2"/>
          </a:solidFill>
        </p:grpSpPr>
        <p:sp>
          <p:nvSpPr>
            <p:cNvPr id="500" name="Freeform 722"/>
            <p:cNvSpPr>
              <a:spLocks noEditPoints="1"/>
            </p:cNvSpPr>
            <p:nvPr/>
          </p:nvSpPr>
          <p:spPr bwMode="auto">
            <a:xfrm>
              <a:off x="5896" y="2704"/>
              <a:ext cx="106" cy="171"/>
            </a:xfrm>
            <a:custGeom>
              <a:avLst/>
              <a:gdLst>
                <a:gd name="T0" fmla="*/ 153 w 160"/>
                <a:gd name="T1" fmla="*/ 2 h 257"/>
                <a:gd name="T2" fmla="*/ 142 w 160"/>
                <a:gd name="T3" fmla="*/ 3 h 257"/>
                <a:gd name="T4" fmla="*/ 60 w 160"/>
                <a:gd name="T5" fmla="*/ 75 h 257"/>
                <a:gd name="T6" fmla="*/ 10 w 160"/>
                <a:gd name="T7" fmla="*/ 75 h 257"/>
                <a:gd name="T8" fmla="*/ 0 w 160"/>
                <a:gd name="T9" fmla="*/ 86 h 257"/>
                <a:gd name="T10" fmla="*/ 0 w 160"/>
                <a:gd name="T11" fmla="*/ 171 h 257"/>
                <a:gd name="T12" fmla="*/ 10 w 160"/>
                <a:gd name="T13" fmla="*/ 182 h 257"/>
                <a:gd name="T14" fmla="*/ 60 w 160"/>
                <a:gd name="T15" fmla="*/ 182 h 257"/>
                <a:gd name="T16" fmla="*/ 142 w 160"/>
                <a:gd name="T17" fmla="*/ 254 h 257"/>
                <a:gd name="T18" fmla="*/ 149 w 160"/>
                <a:gd name="T19" fmla="*/ 257 h 257"/>
                <a:gd name="T20" fmla="*/ 153 w 160"/>
                <a:gd name="T21" fmla="*/ 256 h 257"/>
                <a:gd name="T22" fmla="*/ 160 w 160"/>
                <a:gd name="T23" fmla="*/ 246 h 257"/>
                <a:gd name="T24" fmla="*/ 160 w 160"/>
                <a:gd name="T25" fmla="*/ 11 h 257"/>
                <a:gd name="T26" fmla="*/ 153 w 160"/>
                <a:gd name="T27" fmla="*/ 2 h 257"/>
                <a:gd name="T28" fmla="*/ 138 w 160"/>
                <a:gd name="T29" fmla="*/ 222 h 257"/>
                <a:gd name="T30" fmla="*/ 71 w 160"/>
                <a:gd name="T31" fmla="*/ 163 h 257"/>
                <a:gd name="T32" fmla="*/ 64 w 160"/>
                <a:gd name="T33" fmla="*/ 161 h 257"/>
                <a:gd name="T34" fmla="*/ 21 w 160"/>
                <a:gd name="T35" fmla="*/ 161 h 257"/>
                <a:gd name="T36" fmla="*/ 21 w 160"/>
                <a:gd name="T37" fmla="*/ 97 h 257"/>
                <a:gd name="T38" fmla="*/ 64 w 160"/>
                <a:gd name="T39" fmla="*/ 97 h 257"/>
                <a:gd name="T40" fmla="*/ 71 w 160"/>
                <a:gd name="T41" fmla="*/ 94 h 257"/>
                <a:gd name="T42" fmla="*/ 138 w 160"/>
                <a:gd name="T43" fmla="*/ 35 h 257"/>
                <a:gd name="T44" fmla="*/ 138 w 160"/>
                <a:gd name="T45" fmla="*/ 22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7">
                  <a:moveTo>
                    <a:pt x="153" y="2"/>
                  </a:moveTo>
                  <a:cubicBezTo>
                    <a:pt x="150" y="0"/>
                    <a:pt x="145" y="1"/>
                    <a:pt x="142" y="3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4" y="75"/>
                    <a:pt x="0" y="80"/>
                    <a:pt x="0" y="8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7"/>
                    <a:pt x="4" y="182"/>
                    <a:pt x="10" y="182"/>
                  </a:cubicBezTo>
                  <a:cubicBezTo>
                    <a:pt x="60" y="182"/>
                    <a:pt x="60" y="182"/>
                    <a:pt x="60" y="182"/>
                  </a:cubicBezTo>
                  <a:cubicBezTo>
                    <a:pt x="142" y="254"/>
                    <a:pt x="142" y="254"/>
                    <a:pt x="142" y="254"/>
                  </a:cubicBezTo>
                  <a:cubicBezTo>
                    <a:pt x="144" y="256"/>
                    <a:pt x="146" y="257"/>
                    <a:pt x="149" y="257"/>
                  </a:cubicBezTo>
                  <a:cubicBezTo>
                    <a:pt x="150" y="257"/>
                    <a:pt x="152" y="256"/>
                    <a:pt x="153" y="256"/>
                  </a:cubicBezTo>
                  <a:cubicBezTo>
                    <a:pt x="157" y="254"/>
                    <a:pt x="160" y="250"/>
                    <a:pt x="160" y="246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7"/>
                    <a:pt x="157" y="3"/>
                    <a:pt x="153" y="2"/>
                  </a:cubicBezTo>
                  <a:close/>
                  <a:moveTo>
                    <a:pt x="138" y="222"/>
                  </a:moveTo>
                  <a:cubicBezTo>
                    <a:pt x="71" y="163"/>
                    <a:pt x="71" y="163"/>
                    <a:pt x="71" y="163"/>
                  </a:cubicBezTo>
                  <a:cubicBezTo>
                    <a:pt x="69" y="162"/>
                    <a:pt x="66" y="161"/>
                    <a:pt x="64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6" y="97"/>
                    <a:pt x="69" y="96"/>
                    <a:pt x="71" y="94"/>
                  </a:cubicBezTo>
                  <a:cubicBezTo>
                    <a:pt x="138" y="35"/>
                    <a:pt x="138" y="35"/>
                    <a:pt x="138" y="35"/>
                  </a:cubicBezTo>
                  <a:lnTo>
                    <a:pt x="13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1" name="Freeform 723"/>
            <p:cNvSpPr>
              <a:spLocks/>
            </p:cNvSpPr>
            <p:nvPr/>
          </p:nvSpPr>
          <p:spPr bwMode="auto">
            <a:xfrm>
              <a:off x="6023" y="2753"/>
              <a:ext cx="71" cy="72"/>
            </a:xfrm>
            <a:custGeom>
              <a:avLst/>
              <a:gdLst>
                <a:gd name="T0" fmla="*/ 69 w 108"/>
                <a:gd name="T1" fmla="*/ 55 h 108"/>
                <a:gd name="T2" fmla="*/ 104 w 108"/>
                <a:gd name="T3" fmla="*/ 20 h 108"/>
                <a:gd name="T4" fmla="*/ 104 w 108"/>
                <a:gd name="T5" fmla="*/ 4 h 108"/>
                <a:gd name="T6" fmla="*/ 89 w 108"/>
                <a:gd name="T7" fmla="*/ 4 h 108"/>
                <a:gd name="T8" fmla="*/ 54 w 108"/>
                <a:gd name="T9" fmla="*/ 40 h 108"/>
                <a:gd name="T10" fmla="*/ 19 w 108"/>
                <a:gd name="T11" fmla="*/ 4 h 108"/>
                <a:gd name="T12" fmla="*/ 4 w 108"/>
                <a:gd name="T13" fmla="*/ 4 h 108"/>
                <a:gd name="T14" fmla="*/ 4 w 108"/>
                <a:gd name="T15" fmla="*/ 20 h 108"/>
                <a:gd name="T16" fmla="*/ 39 w 108"/>
                <a:gd name="T17" fmla="*/ 55 h 108"/>
                <a:gd name="T18" fmla="*/ 4 w 108"/>
                <a:gd name="T19" fmla="*/ 90 h 108"/>
                <a:gd name="T20" fmla="*/ 4 w 108"/>
                <a:gd name="T21" fmla="*/ 105 h 108"/>
                <a:gd name="T22" fmla="*/ 11 w 108"/>
                <a:gd name="T23" fmla="*/ 108 h 108"/>
                <a:gd name="T24" fmla="*/ 19 w 108"/>
                <a:gd name="T25" fmla="*/ 105 h 108"/>
                <a:gd name="T26" fmla="*/ 54 w 108"/>
                <a:gd name="T27" fmla="*/ 70 h 108"/>
                <a:gd name="T28" fmla="*/ 89 w 108"/>
                <a:gd name="T29" fmla="*/ 105 h 108"/>
                <a:gd name="T30" fmla="*/ 97 w 108"/>
                <a:gd name="T31" fmla="*/ 108 h 108"/>
                <a:gd name="T32" fmla="*/ 104 w 108"/>
                <a:gd name="T33" fmla="*/ 105 h 108"/>
                <a:gd name="T34" fmla="*/ 104 w 108"/>
                <a:gd name="T35" fmla="*/ 90 h 108"/>
                <a:gd name="T36" fmla="*/ 69 w 108"/>
                <a:gd name="T37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08">
                  <a:moveTo>
                    <a:pt x="69" y="55"/>
                  </a:moveTo>
                  <a:cubicBezTo>
                    <a:pt x="104" y="20"/>
                    <a:pt x="104" y="20"/>
                    <a:pt x="104" y="20"/>
                  </a:cubicBezTo>
                  <a:cubicBezTo>
                    <a:pt x="108" y="15"/>
                    <a:pt x="108" y="9"/>
                    <a:pt x="104" y="4"/>
                  </a:cubicBezTo>
                  <a:cubicBezTo>
                    <a:pt x="100" y="0"/>
                    <a:pt x="93" y="0"/>
                    <a:pt x="89" y="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9"/>
                    <a:pt x="0" y="15"/>
                    <a:pt x="4" y="20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0" y="94"/>
                    <a:pt x="0" y="101"/>
                    <a:pt x="4" y="105"/>
                  </a:cubicBezTo>
                  <a:cubicBezTo>
                    <a:pt x="6" y="107"/>
                    <a:pt x="9" y="108"/>
                    <a:pt x="11" y="108"/>
                  </a:cubicBezTo>
                  <a:cubicBezTo>
                    <a:pt x="14" y="108"/>
                    <a:pt x="17" y="107"/>
                    <a:pt x="19" y="105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91" y="107"/>
                    <a:pt x="94" y="108"/>
                    <a:pt x="97" y="108"/>
                  </a:cubicBezTo>
                  <a:cubicBezTo>
                    <a:pt x="99" y="108"/>
                    <a:pt x="102" y="107"/>
                    <a:pt x="104" y="105"/>
                  </a:cubicBezTo>
                  <a:cubicBezTo>
                    <a:pt x="108" y="101"/>
                    <a:pt x="108" y="94"/>
                    <a:pt x="104" y="90"/>
                  </a:cubicBezTo>
                  <a:lnTo>
                    <a:pt x="69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" name="Freeform 724"/>
            <p:cNvSpPr>
              <a:spLocks noEditPoints="1"/>
            </p:cNvSpPr>
            <p:nvPr/>
          </p:nvSpPr>
          <p:spPr bwMode="auto">
            <a:xfrm>
              <a:off x="5832" y="261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03" name="Freeform 728"/>
          <p:cNvSpPr>
            <a:spLocks noChangeAspect="1" noEditPoints="1"/>
          </p:cNvSpPr>
          <p:nvPr/>
        </p:nvSpPr>
        <p:spPr bwMode="auto">
          <a:xfrm>
            <a:off x="3412795" y="2905074"/>
            <a:ext cx="369676" cy="369676"/>
          </a:xfrm>
          <a:custGeom>
            <a:avLst/>
            <a:gdLst>
              <a:gd name="T0" fmla="*/ 167 w 512"/>
              <a:gd name="T1" fmla="*/ 221 h 512"/>
              <a:gd name="T2" fmla="*/ 234 w 512"/>
              <a:gd name="T3" fmla="*/ 162 h 512"/>
              <a:gd name="T4" fmla="*/ 234 w 512"/>
              <a:gd name="T5" fmla="*/ 349 h 512"/>
              <a:gd name="T6" fmla="*/ 167 w 512"/>
              <a:gd name="T7" fmla="*/ 290 h 512"/>
              <a:gd name="T8" fmla="*/ 160 w 512"/>
              <a:gd name="T9" fmla="*/ 288 h 512"/>
              <a:gd name="T10" fmla="*/ 117 w 512"/>
              <a:gd name="T11" fmla="*/ 288 h 512"/>
              <a:gd name="T12" fmla="*/ 117 w 512"/>
              <a:gd name="T13" fmla="*/ 224 h 512"/>
              <a:gd name="T14" fmla="*/ 160 w 512"/>
              <a:gd name="T15" fmla="*/ 224 h 512"/>
              <a:gd name="T16" fmla="*/ 167 w 512"/>
              <a:gd name="T17" fmla="*/ 221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56 w 512"/>
              <a:gd name="T29" fmla="*/ 138 h 512"/>
              <a:gd name="T30" fmla="*/ 249 w 512"/>
              <a:gd name="T31" fmla="*/ 129 h 512"/>
              <a:gd name="T32" fmla="*/ 238 w 512"/>
              <a:gd name="T33" fmla="*/ 130 h 512"/>
              <a:gd name="T34" fmla="*/ 156 w 512"/>
              <a:gd name="T35" fmla="*/ 202 h 512"/>
              <a:gd name="T36" fmla="*/ 106 w 512"/>
              <a:gd name="T37" fmla="*/ 202 h 512"/>
              <a:gd name="T38" fmla="*/ 96 w 512"/>
              <a:gd name="T39" fmla="*/ 213 h 512"/>
              <a:gd name="T40" fmla="*/ 96 w 512"/>
              <a:gd name="T41" fmla="*/ 298 h 512"/>
              <a:gd name="T42" fmla="*/ 106 w 512"/>
              <a:gd name="T43" fmla="*/ 309 h 512"/>
              <a:gd name="T44" fmla="*/ 156 w 512"/>
              <a:gd name="T45" fmla="*/ 309 h 512"/>
              <a:gd name="T46" fmla="*/ 238 w 512"/>
              <a:gd name="T47" fmla="*/ 381 h 512"/>
              <a:gd name="T48" fmla="*/ 245 w 512"/>
              <a:gd name="T49" fmla="*/ 384 h 512"/>
              <a:gd name="T50" fmla="*/ 249 w 512"/>
              <a:gd name="T51" fmla="*/ 383 h 512"/>
              <a:gd name="T52" fmla="*/ 256 w 512"/>
              <a:gd name="T53" fmla="*/ 373 h 512"/>
              <a:gd name="T54" fmla="*/ 256 w 512"/>
              <a:gd name="T55" fmla="*/ 138 h 512"/>
              <a:gd name="T56" fmla="*/ 356 w 512"/>
              <a:gd name="T57" fmla="*/ 256 h 512"/>
              <a:gd name="T58" fmla="*/ 391 w 512"/>
              <a:gd name="T59" fmla="*/ 221 h 512"/>
              <a:gd name="T60" fmla="*/ 391 w 512"/>
              <a:gd name="T61" fmla="*/ 205 h 512"/>
              <a:gd name="T62" fmla="*/ 376 w 512"/>
              <a:gd name="T63" fmla="*/ 205 h 512"/>
              <a:gd name="T64" fmla="*/ 341 w 512"/>
              <a:gd name="T65" fmla="*/ 241 h 512"/>
              <a:gd name="T66" fmla="*/ 306 w 512"/>
              <a:gd name="T67" fmla="*/ 205 h 512"/>
              <a:gd name="T68" fmla="*/ 291 w 512"/>
              <a:gd name="T69" fmla="*/ 205 h 512"/>
              <a:gd name="T70" fmla="*/ 291 w 512"/>
              <a:gd name="T71" fmla="*/ 221 h 512"/>
              <a:gd name="T72" fmla="*/ 326 w 512"/>
              <a:gd name="T73" fmla="*/ 256 h 512"/>
              <a:gd name="T74" fmla="*/ 291 w 512"/>
              <a:gd name="T75" fmla="*/ 291 h 512"/>
              <a:gd name="T76" fmla="*/ 291 w 512"/>
              <a:gd name="T77" fmla="*/ 306 h 512"/>
              <a:gd name="T78" fmla="*/ 298 w 512"/>
              <a:gd name="T79" fmla="*/ 309 h 512"/>
              <a:gd name="T80" fmla="*/ 306 w 512"/>
              <a:gd name="T81" fmla="*/ 306 h 512"/>
              <a:gd name="T82" fmla="*/ 341 w 512"/>
              <a:gd name="T83" fmla="*/ 271 h 512"/>
              <a:gd name="T84" fmla="*/ 376 w 512"/>
              <a:gd name="T85" fmla="*/ 306 h 512"/>
              <a:gd name="T86" fmla="*/ 384 w 512"/>
              <a:gd name="T87" fmla="*/ 309 h 512"/>
              <a:gd name="T88" fmla="*/ 391 w 512"/>
              <a:gd name="T89" fmla="*/ 306 h 512"/>
              <a:gd name="T90" fmla="*/ 391 w 512"/>
              <a:gd name="T91" fmla="*/ 291 h 512"/>
              <a:gd name="T92" fmla="*/ 356 w 512"/>
              <a:gd name="T93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167" y="221"/>
                </a:moveTo>
                <a:cubicBezTo>
                  <a:pt x="234" y="162"/>
                  <a:pt x="234" y="162"/>
                  <a:pt x="234" y="162"/>
                </a:cubicBezTo>
                <a:cubicBezTo>
                  <a:pt x="234" y="349"/>
                  <a:pt x="234" y="349"/>
                  <a:pt x="234" y="349"/>
                </a:cubicBezTo>
                <a:cubicBezTo>
                  <a:pt x="167" y="290"/>
                  <a:pt x="167" y="290"/>
                  <a:pt x="167" y="290"/>
                </a:cubicBezTo>
                <a:cubicBezTo>
                  <a:pt x="165" y="289"/>
                  <a:pt x="162" y="288"/>
                  <a:pt x="160" y="288"/>
                </a:cubicBezTo>
                <a:cubicBezTo>
                  <a:pt x="117" y="288"/>
                  <a:pt x="117" y="288"/>
                  <a:pt x="117" y="28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2" y="224"/>
                  <a:pt x="165" y="223"/>
                  <a:pt x="167" y="22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56" y="138"/>
                </a:moveTo>
                <a:cubicBezTo>
                  <a:pt x="256" y="134"/>
                  <a:pt x="253" y="130"/>
                  <a:pt x="249" y="129"/>
                </a:cubicBezTo>
                <a:cubicBezTo>
                  <a:pt x="246" y="127"/>
                  <a:pt x="241" y="128"/>
                  <a:pt x="238" y="130"/>
                </a:cubicBezTo>
                <a:cubicBezTo>
                  <a:pt x="156" y="202"/>
                  <a:pt x="156" y="202"/>
                  <a:pt x="156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207"/>
                  <a:pt x="96" y="213"/>
                </a:cubicBezTo>
                <a:cubicBezTo>
                  <a:pt x="96" y="298"/>
                  <a:pt x="96" y="298"/>
                  <a:pt x="96" y="298"/>
                </a:cubicBezTo>
                <a:cubicBezTo>
                  <a:pt x="96" y="304"/>
                  <a:pt x="100" y="309"/>
                  <a:pt x="106" y="309"/>
                </a:cubicBezTo>
                <a:cubicBezTo>
                  <a:pt x="156" y="309"/>
                  <a:pt x="156" y="309"/>
                  <a:pt x="156" y="309"/>
                </a:cubicBezTo>
                <a:cubicBezTo>
                  <a:pt x="238" y="381"/>
                  <a:pt x="238" y="381"/>
                  <a:pt x="238" y="381"/>
                </a:cubicBezTo>
                <a:cubicBezTo>
                  <a:pt x="240" y="383"/>
                  <a:pt x="242" y="384"/>
                  <a:pt x="245" y="384"/>
                </a:cubicBezTo>
                <a:cubicBezTo>
                  <a:pt x="246" y="384"/>
                  <a:pt x="248" y="383"/>
                  <a:pt x="249" y="383"/>
                </a:cubicBezTo>
                <a:cubicBezTo>
                  <a:pt x="253" y="381"/>
                  <a:pt x="256" y="377"/>
                  <a:pt x="256" y="373"/>
                </a:cubicBezTo>
                <a:lnTo>
                  <a:pt x="256" y="138"/>
                </a:lnTo>
                <a:close/>
                <a:moveTo>
                  <a:pt x="356" y="256"/>
                </a:moveTo>
                <a:cubicBezTo>
                  <a:pt x="391" y="221"/>
                  <a:pt x="391" y="221"/>
                  <a:pt x="391" y="221"/>
                </a:cubicBezTo>
                <a:cubicBezTo>
                  <a:pt x="395" y="216"/>
                  <a:pt x="395" y="210"/>
                  <a:pt x="391" y="205"/>
                </a:cubicBezTo>
                <a:cubicBezTo>
                  <a:pt x="387" y="201"/>
                  <a:pt x="380" y="201"/>
                  <a:pt x="376" y="205"/>
                </a:cubicBezTo>
                <a:cubicBezTo>
                  <a:pt x="341" y="241"/>
                  <a:pt x="341" y="241"/>
                  <a:pt x="341" y="241"/>
                </a:cubicBezTo>
                <a:cubicBezTo>
                  <a:pt x="306" y="205"/>
                  <a:pt x="306" y="205"/>
                  <a:pt x="306" y="205"/>
                </a:cubicBezTo>
                <a:cubicBezTo>
                  <a:pt x="302" y="201"/>
                  <a:pt x="295" y="201"/>
                  <a:pt x="291" y="205"/>
                </a:cubicBezTo>
                <a:cubicBezTo>
                  <a:pt x="287" y="210"/>
                  <a:pt x="287" y="216"/>
                  <a:pt x="291" y="221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291" y="291"/>
                  <a:pt x="291" y="291"/>
                  <a:pt x="291" y="291"/>
                </a:cubicBezTo>
                <a:cubicBezTo>
                  <a:pt x="287" y="295"/>
                  <a:pt x="287" y="302"/>
                  <a:pt x="291" y="306"/>
                </a:cubicBezTo>
                <a:cubicBezTo>
                  <a:pt x="293" y="308"/>
                  <a:pt x="296" y="309"/>
                  <a:pt x="298" y="309"/>
                </a:cubicBezTo>
                <a:cubicBezTo>
                  <a:pt x="301" y="309"/>
                  <a:pt x="304" y="308"/>
                  <a:pt x="306" y="306"/>
                </a:cubicBezTo>
                <a:cubicBezTo>
                  <a:pt x="341" y="271"/>
                  <a:pt x="341" y="271"/>
                  <a:pt x="341" y="271"/>
                </a:cubicBezTo>
                <a:cubicBezTo>
                  <a:pt x="376" y="306"/>
                  <a:pt x="376" y="306"/>
                  <a:pt x="376" y="306"/>
                </a:cubicBezTo>
                <a:cubicBezTo>
                  <a:pt x="378" y="308"/>
                  <a:pt x="381" y="309"/>
                  <a:pt x="384" y="309"/>
                </a:cubicBezTo>
                <a:cubicBezTo>
                  <a:pt x="386" y="309"/>
                  <a:pt x="389" y="308"/>
                  <a:pt x="391" y="306"/>
                </a:cubicBezTo>
                <a:cubicBezTo>
                  <a:pt x="395" y="302"/>
                  <a:pt x="395" y="295"/>
                  <a:pt x="391" y="291"/>
                </a:cubicBezTo>
                <a:lnTo>
                  <a:pt x="356" y="25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04" name="Group 903"/>
          <p:cNvGrpSpPr>
            <a:grpSpLocks noChangeAspect="1"/>
          </p:cNvGrpSpPr>
          <p:nvPr/>
        </p:nvGrpSpPr>
        <p:grpSpPr bwMode="auto">
          <a:xfrm>
            <a:off x="6901602" y="2905074"/>
            <a:ext cx="370763" cy="369676"/>
            <a:chOff x="396" y="3068"/>
            <a:chExt cx="341" cy="340"/>
          </a:xfrm>
          <a:solidFill>
            <a:schemeClr val="accent3"/>
          </a:solidFill>
        </p:grpSpPr>
        <p:sp>
          <p:nvSpPr>
            <p:cNvPr id="505" name="Freeform 504"/>
            <p:cNvSpPr>
              <a:spLocks noEditPoints="1"/>
            </p:cNvSpPr>
            <p:nvPr/>
          </p:nvSpPr>
          <p:spPr bwMode="auto">
            <a:xfrm>
              <a:off x="460" y="3152"/>
              <a:ext cx="106" cy="171"/>
            </a:xfrm>
            <a:custGeom>
              <a:avLst/>
              <a:gdLst>
                <a:gd name="T0" fmla="*/ 153 w 160"/>
                <a:gd name="T1" fmla="*/ 2 h 257"/>
                <a:gd name="T2" fmla="*/ 142 w 160"/>
                <a:gd name="T3" fmla="*/ 3 h 257"/>
                <a:gd name="T4" fmla="*/ 60 w 160"/>
                <a:gd name="T5" fmla="*/ 75 h 257"/>
                <a:gd name="T6" fmla="*/ 10 w 160"/>
                <a:gd name="T7" fmla="*/ 75 h 257"/>
                <a:gd name="T8" fmla="*/ 0 w 160"/>
                <a:gd name="T9" fmla="*/ 86 h 257"/>
                <a:gd name="T10" fmla="*/ 0 w 160"/>
                <a:gd name="T11" fmla="*/ 171 h 257"/>
                <a:gd name="T12" fmla="*/ 10 w 160"/>
                <a:gd name="T13" fmla="*/ 182 h 257"/>
                <a:gd name="T14" fmla="*/ 60 w 160"/>
                <a:gd name="T15" fmla="*/ 182 h 257"/>
                <a:gd name="T16" fmla="*/ 142 w 160"/>
                <a:gd name="T17" fmla="*/ 254 h 257"/>
                <a:gd name="T18" fmla="*/ 149 w 160"/>
                <a:gd name="T19" fmla="*/ 257 h 257"/>
                <a:gd name="T20" fmla="*/ 153 w 160"/>
                <a:gd name="T21" fmla="*/ 256 h 257"/>
                <a:gd name="T22" fmla="*/ 160 w 160"/>
                <a:gd name="T23" fmla="*/ 246 h 257"/>
                <a:gd name="T24" fmla="*/ 160 w 160"/>
                <a:gd name="T25" fmla="*/ 11 h 257"/>
                <a:gd name="T26" fmla="*/ 153 w 160"/>
                <a:gd name="T27" fmla="*/ 2 h 257"/>
                <a:gd name="T28" fmla="*/ 138 w 160"/>
                <a:gd name="T29" fmla="*/ 222 h 257"/>
                <a:gd name="T30" fmla="*/ 71 w 160"/>
                <a:gd name="T31" fmla="*/ 163 h 257"/>
                <a:gd name="T32" fmla="*/ 64 w 160"/>
                <a:gd name="T33" fmla="*/ 161 h 257"/>
                <a:gd name="T34" fmla="*/ 21 w 160"/>
                <a:gd name="T35" fmla="*/ 161 h 257"/>
                <a:gd name="T36" fmla="*/ 21 w 160"/>
                <a:gd name="T37" fmla="*/ 97 h 257"/>
                <a:gd name="T38" fmla="*/ 64 w 160"/>
                <a:gd name="T39" fmla="*/ 97 h 257"/>
                <a:gd name="T40" fmla="*/ 71 w 160"/>
                <a:gd name="T41" fmla="*/ 94 h 257"/>
                <a:gd name="T42" fmla="*/ 138 w 160"/>
                <a:gd name="T43" fmla="*/ 35 h 257"/>
                <a:gd name="T44" fmla="*/ 138 w 160"/>
                <a:gd name="T45" fmla="*/ 22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0" h="257">
                  <a:moveTo>
                    <a:pt x="153" y="2"/>
                  </a:moveTo>
                  <a:cubicBezTo>
                    <a:pt x="150" y="0"/>
                    <a:pt x="145" y="1"/>
                    <a:pt x="142" y="3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4" y="75"/>
                    <a:pt x="0" y="80"/>
                    <a:pt x="0" y="86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7"/>
                    <a:pt x="4" y="182"/>
                    <a:pt x="10" y="182"/>
                  </a:cubicBezTo>
                  <a:cubicBezTo>
                    <a:pt x="60" y="182"/>
                    <a:pt x="60" y="182"/>
                    <a:pt x="60" y="182"/>
                  </a:cubicBezTo>
                  <a:cubicBezTo>
                    <a:pt x="142" y="254"/>
                    <a:pt x="142" y="254"/>
                    <a:pt x="142" y="254"/>
                  </a:cubicBezTo>
                  <a:cubicBezTo>
                    <a:pt x="144" y="256"/>
                    <a:pt x="146" y="257"/>
                    <a:pt x="149" y="257"/>
                  </a:cubicBezTo>
                  <a:cubicBezTo>
                    <a:pt x="150" y="257"/>
                    <a:pt x="152" y="256"/>
                    <a:pt x="153" y="256"/>
                  </a:cubicBezTo>
                  <a:cubicBezTo>
                    <a:pt x="157" y="254"/>
                    <a:pt x="160" y="250"/>
                    <a:pt x="160" y="246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7"/>
                    <a:pt x="157" y="3"/>
                    <a:pt x="153" y="2"/>
                  </a:cubicBezTo>
                  <a:close/>
                  <a:moveTo>
                    <a:pt x="138" y="222"/>
                  </a:moveTo>
                  <a:cubicBezTo>
                    <a:pt x="71" y="163"/>
                    <a:pt x="71" y="163"/>
                    <a:pt x="71" y="163"/>
                  </a:cubicBezTo>
                  <a:cubicBezTo>
                    <a:pt x="69" y="162"/>
                    <a:pt x="66" y="161"/>
                    <a:pt x="64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6" y="97"/>
                    <a:pt x="69" y="96"/>
                    <a:pt x="71" y="94"/>
                  </a:cubicBezTo>
                  <a:cubicBezTo>
                    <a:pt x="138" y="35"/>
                    <a:pt x="138" y="35"/>
                    <a:pt x="138" y="35"/>
                  </a:cubicBezTo>
                  <a:lnTo>
                    <a:pt x="13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6" name="Freeform 505"/>
            <p:cNvSpPr>
              <a:spLocks/>
            </p:cNvSpPr>
            <p:nvPr/>
          </p:nvSpPr>
          <p:spPr bwMode="auto">
            <a:xfrm>
              <a:off x="581" y="3215"/>
              <a:ext cx="21" cy="44"/>
            </a:xfrm>
            <a:custGeom>
              <a:avLst/>
              <a:gdLst>
                <a:gd name="T0" fmla="*/ 5 w 31"/>
                <a:gd name="T1" fmla="*/ 4 h 66"/>
                <a:gd name="T2" fmla="*/ 4 w 31"/>
                <a:gd name="T3" fmla="*/ 19 h 66"/>
                <a:gd name="T4" fmla="*/ 10 w 31"/>
                <a:gd name="T5" fmla="*/ 34 h 66"/>
                <a:gd name="T6" fmla="*/ 4 w 31"/>
                <a:gd name="T7" fmla="*/ 48 h 66"/>
                <a:gd name="T8" fmla="*/ 5 w 31"/>
                <a:gd name="T9" fmla="*/ 63 h 66"/>
                <a:gd name="T10" fmla="*/ 12 w 31"/>
                <a:gd name="T11" fmla="*/ 66 h 66"/>
                <a:gd name="T12" fmla="*/ 20 w 31"/>
                <a:gd name="T13" fmla="*/ 62 h 66"/>
                <a:gd name="T14" fmla="*/ 31 w 31"/>
                <a:gd name="T15" fmla="*/ 34 h 66"/>
                <a:gd name="T16" fmla="*/ 20 w 31"/>
                <a:gd name="T17" fmla="*/ 5 h 66"/>
                <a:gd name="T18" fmla="*/ 5 w 31"/>
                <a:gd name="T19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66">
                  <a:moveTo>
                    <a:pt x="5" y="4"/>
                  </a:moveTo>
                  <a:cubicBezTo>
                    <a:pt x="1" y="8"/>
                    <a:pt x="0" y="15"/>
                    <a:pt x="4" y="19"/>
                  </a:cubicBezTo>
                  <a:cubicBezTo>
                    <a:pt x="8" y="23"/>
                    <a:pt x="10" y="28"/>
                    <a:pt x="10" y="34"/>
                  </a:cubicBezTo>
                  <a:cubicBezTo>
                    <a:pt x="10" y="39"/>
                    <a:pt x="8" y="44"/>
                    <a:pt x="4" y="48"/>
                  </a:cubicBezTo>
                  <a:cubicBezTo>
                    <a:pt x="0" y="52"/>
                    <a:pt x="1" y="59"/>
                    <a:pt x="5" y="63"/>
                  </a:cubicBezTo>
                  <a:cubicBezTo>
                    <a:pt x="7" y="65"/>
                    <a:pt x="10" y="66"/>
                    <a:pt x="12" y="66"/>
                  </a:cubicBezTo>
                  <a:cubicBezTo>
                    <a:pt x="15" y="66"/>
                    <a:pt x="18" y="64"/>
                    <a:pt x="20" y="62"/>
                  </a:cubicBezTo>
                  <a:cubicBezTo>
                    <a:pt x="27" y="54"/>
                    <a:pt x="31" y="44"/>
                    <a:pt x="31" y="34"/>
                  </a:cubicBezTo>
                  <a:cubicBezTo>
                    <a:pt x="31" y="23"/>
                    <a:pt x="27" y="13"/>
                    <a:pt x="20" y="5"/>
                  </a:cubicBezTo>
                  <a:cubicBezTo>
                    <a:pt x="16" y="1"/>
                    <a:pt x="9" y="0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7" name="Freeform 506"/>
            <p:cNvSpPr>
              <a:spLocks/>
            </p:cNvSpPr>
            <p:nvPr/>
          </p:nvSpPr>
          <p:spPr bwMode="auto">
            <a:xfrm>
              <a:off x="603" y="3188"/>
              <a:ext cx="34" cy="99"/>
            </a:xfrm>
            <a:custGeom>
              <a:avLst/>
              <a:gdLst>
                <a:gd name="T0" fmla="*/ 19 w 51"/>
                <a:gd name="T1" fmla="*/ 4 h 150"/>
                <a:gd name="T2" fmla="*/ 4 w 51"/>
                <a:gd name="T3" fmla="*/ 5 h 150"/>
                <a:gd name="T4" fmla="*/ 5 w 51"/>
                <a:gd name="T5" fmla="*/ 20 h 150"/>
                <a:gd name="T6" fmla="*/ 30 w 51"/>
                <a:gd name="T7" fmla="*/ 76 h 150"/>
                <a:gd name="T8" fmla="*/ 5 w 51"/>
                <a:gd name="T9" fmla="*/ 132 h 150"/>
                <a:gd name="T10" fmla="*/ 4 w 51"/>
                <a:gd name="T11" fmla="*/ 147 h 150"/>
                <a:gd name="T12" fmla="*/ 12 w 51"/>
                <a:gd name="T13" fmla="*/ 150 h 150"/>
                <a:gd name="T14" fmla="*/ 19 w 51"/>
                <a:gd name="T15" fmla="*/ 148 h 150"/>
                <a:gd name="T16" fmla="*/ 51 w 51"/>
                <a:gd name="T17" fmla="*/ 76 h 150"/>
                <a:gd name="T18" fmla="*/ 19 w 51"/>
                <a:gd name="T19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150">
                  <a:moveTo>
                    <a:pt x="19" y="4"/>
                  </a:moveTo>
                  <a:cubicBezTo>
                    <a:pt x="14" y="0"/>
                    <a:pt x="8" y="0"/>
                    <a:pt x="4" y="5"/>
                  </a:cubicBezTo>
                  <a:cubicBezTo>
                    <a:pt x="0" y="9"/>
                    <a:pt x="0" y="16"/>
                    <a:pt x="5" y="20"/>
                  </a:cubicBezTo>
                  <a:cubicBezTo>
                    <a:pt x="21" y="34"/>
                    <a:pt x="30" y="54"/>
                    <a:pt x="30" y="76"/>
                  </a:cubicBezTo>
                  <a:cubicBezTo>
                    <a:pt x="30" y="97"/>
                    <a:pt x="21" y="117"/>
                    <a:pt x="5" y="132"/>
                  </a:cubicBezTo>
                  <a:cubicBezTo>
                    <a:pt x="0" y="136"/>
                    <a:pt x="0" y="142"/>
                    <a:pt x="4" y="147"/>
                  </a:cubicBezTo>
                  <a:cubicBezTo>
                    <a:pt x="6" y="149"/>
                    <a:pt x="9" y="150"/>
                    <a:pt x="12" y="150"/>
                  </a:cubicBezTo>
                  <a:cubicBezTo>
                    <a:pt x="14" y="150"/>
                    <a:pt x="17" y="149"/>
                    <a:pt x="19" y="148"/>
                  </a:cubicBezTo>
                  <a:cubicBezTo>
                    <a:pt x="39" y="129"/>
                    <a:pt x="51" y="103"/>
                    <a:pt x="51" y="76"/>
                  </a:cubicBezTo>
                  <a:cubicBezTo>
                    <a:pt x="51" y="48"/>
                    <a:pt x="39" y="22"/>
                    <a:pt x="1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8" name="Freeform 507"/>
            <p:cNvSpPr>
              <a:spLocks/>
            </p:cNvSpPr>
            <p:nvPr/>
          </p:nvSpPr>
          <p:spPr bwMode="auto">
            <a:xfrm>
              <a:off x="624" y="3159"/>
              <a:ext cx="49" cy="157"/>
            </a:xfrm>
            <a:custGeom>
              <a:avLst/>
              <a:gdLst>
                <a:gd name="T0" fmla="*/ 19 w 73"/>
                <a:gd name="T1" fmla="*/ 4 h 236"/>
                <a:gd name="T2" fmla="*/ 4 w 73"/>
                <a:gd name="T3" fmla="*/ 5 h 236"/>
                <a:gd name="T4" fmla="*/ 5 w 73"/>
                <a:gd name="T5" fmla="*/ 20 h 236"/>
                <a:gd name="T6" fmla="*/ 51 w 73"/>
                <a:gd name="T7" fmla="*/ 119 h 236"/>
                <a:gd name="T8" fmla="*/ 5 w 73"/>
                <a:gd name="T9" fmla="*/ 217 h 236"/>
                <a:gd name="T10" fmla="*/ 4 w 73"/>
                <a:gd name="T11" fmla="*/ 232 h 236"/>
                <a:gd name="T12" fmla="*/ 12 w 73"/>
                <a:gd name="T13" fmla="*/ 236 h 236"/>
                <a:gd name="T14" fmla="*/ 19 w 73"/>
                <a:gd name="T15" fmla="*/ 234 h 236"/>
                <a:gd name="T16" fmla="*/ 73 w 73"/>
                <a:gd name="T17" fmla="*/ 119 h 236"/>
                <a:gd name="T18" fmla="*/ 19 w 73"/>
                <a:gd name="T19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236">
                  <a:moveTo>
                    <a:pt x="19" y="4"/>
                  </a:moveTo>
                  <a:cubicBezTo>
                    <a:pt x="14" y="0"/>
                    <a:pt x="8" y="1"/>
                    <a:pt x="4" y="5"/>
                  </a:cubicBezTo>
                  <a:cubicBezTo>
                    <a:pt x="0" y="10"/>
                    <a:pt x="1" y="16"/>
                    <a:pt x="5" y="20"/>
                  </a:cubicBezTo>
                  <a:cubicBezTo>
                    <a:pt x="34" y="45"/>
                    <a:pt x="51" y="81"/>
                    <a:pt x="51" y="119"/>
                  </a:cubicBezTo>
                  <a:cubicBezTo>
                    <a:pt x="51" y="157"/>
                    <a:pt x="34" y="193"/>
                    <a:pt x="5" y="217"/>
                  </a:cubicBezTo>
                  <a:cubicBezTo>
                    <a:pt x="1" y="221"/>
                    <a:pt x="0" y="228"/>
                    <a:pt x="4" y="232"/>
                  </a:cubicBezTo>
                  <a:cubicBezTo>
                    <a:pt x="6" y="235"/>
                    <a:pt x="9" y="236"/>
                    <a:pt x="12" y="236"/>
                  </a:cubicBezTo>
                  <a:cubicBezTo>
                    <a:pt x="14" y="236"/>
                    <a:pt x="17" y="235"/>
                    <a:pt x="19" y="234"/>
                  </a:cubicBezTo>
                  <a:cubicBezTo>
                    <a:pt x="53" y="205"/>
                    <a:pt x="73" y="163"/>
                    <a:pt x="73" y="119"/>
                  </a:cubicBezTo>
                  <a:cubicBezTo>
                    <a:pt x="73" y="74"/>
                    <a:pt x="53" y="32"/>
                    <a:pt x="1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9" name="Freeform 508"/>
            <p:cNvSpPr>
              <a:spLocks noEditPoints="1"/>
            </p:cNvSpPr>
            <p:nvPr/>
          </p:nvSpPr>
          <p:spPr bwMode="auto">
            <a:xfrm>
              <a:off x="396" y="306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10" name="Freeform 912"/>
          <p:cNvSpPr>
            <a:spLocks noChangeAspect="1" noEditPoints="1"/>
          </p:cNvSpPr>
          <p:nvPr/>
        </p:nvSpPr>
        <p:spPr bwMode="auto">
          <a:xfrm>
            <a:off x="6403201" y="2905074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73 h 512"/>
              <a:gd name="T12" fmla="*/ 249 w 512"/>
              <a:gd name="T13" fmla="*/ 383 h 512"/>
              <a:gd name="T14" fmla="*/ 245 w 512"/>
              <a:gd name="T15" fmla="*/ 384 h 512"/>
              <a:gd name="T16" fmla="*/ 238 w 512"/>
              <a:gd name="T17" fmla="*/ 381 h 512"/>
              <a:gd name="T18" fmla="*/ 156 w 512"/>
              <a:gd name="T19" fmla="*/ 309 h 512"/>
              <a:gd name="T20" fmla="*/ 106 w 512"/>
              <a:gd name="T21" fmla="*/ 309 h 512"/>
              <a:gd name="T22" fmla="*/ 96 w 512"/>
              <a:gd name="T23" fmla="*/ 298 h 512"/>
              <a:gd name="T24" fmla="*/ 96 w 512"/>
              <a:gd name="T25" fmla="*/ 213 h 512"/>
              <a:gd name="T26" fmla="*/ 106 w 512"/>
              <a:gd name="T27" fmla="*/ 202 h 512"/>
              <a:gd name="T28" fmla="*/ 156 w 512"/>
              <a:gd name="T29" fmla="*/ 202 h 512"/>
              <a:gd name="T30" fmla="*/ 238 w 512"/>
              <a:gd name="T31" fmla="*/ 130 h 512"/>
              <a:gd name="T32" fmla="*/ 249 w 512"/>
              <a:gd name="T33" fmla="*/ 129 h 512"/>
              <a:gd name="T34" fmla="*/ 256 w 512"/>
              <a:gd name="T35" fmla="*/ 138 h 512"/>
              <a:gd name="T36" fmla="*/ 256 w 512"/>
              <a:gd name="T37" fmla="*/ 373 h 512"/>
              <a:gd name="T38" fmla="*/ 298 w 512"/>
              <a:gd name="T39" fmla="*/ 284 h 512"/>
              <a:gd name="T40" fmla="*/ 290 w 512"/>
              <a:gd name="T41" fmla="*/ 288 h 512"/>
              <a:gd name="T42" fmla="*/ 283 w 512"/>
              <a:gd name="T43" fmla="*/ 285 h 512"/>
              <a:gd name="T44" fmla="*/ 282 w 512"/>
              <a:gd name="T45" fmla="*/ 270 h 512"/>
              <a:gd name="T46" fmla="*/ 288 w 512"/>
              <a:gd name="T47" fmla="*/ 256 h 512"/>
              <a:gd name="T48" fmla="*/ 282 w 512"/>
              <a:gd name="T49" fmla="*/ 241 h 512"/>
              <a:gd name="T50" fmla="*/ 283 w 512"/>
              <a:gd name="T51" fmla="*/ 226 h 512"/>
              <a:gd name="T52" fmla="*/ 298 w 512"/>
              <a:gd name="T53" fmla="*/ 227 h 512"/>
              <a:gd name="T54" fmla="*/ 309 w 512"/>
              <a:gd name="T55" fmla="*/ 256 h 512"/>
              <a:gd name="T56" fmla="*/ 298 w 512"/>
              <a:gd name="T57" fmla="*/ 284 h 512"/>
              <a:gd name="T58" fmla="*/ 330 w 512"/>
              <a:gd name="T59" fmla="*/ 328 h 512"/>
              <a:gd name="T60" fmla="*/ 323 w 512"/>
              <a:gd name="T61" fmla="*/ 330 h 512"/>
              <a:gd name="T62" fmla="*/ 315 w 512"/>
              <a:gd name="T63" fmla="*/ 327 h 512"/>
              <a:gd name="T64" fmla="*/ 316 w 512"/>
              <a:gd name="T65" fmla="*/ 312 h 512"/>
              <a:gd name="T66" fmla="*/ 341 w 512"/>
              <a:gd name="T67" fmla="*/ 256 h 512"/>
              <a:gd name="T68" fmla="*/ 316 w 512"/>
              <a:gd name="T69" fmla="*/ 200 h 512"/>
              <a:gd name="T70" fmla="*/ 315 w 512"/>
              <a:gd name="T71" fmla="*/ 185 h 512"/>
              <a:gd name="T72" fmla="*/ 330 w 512"/>
              <a:gd name="T73" fmla="*/ 184 h 512"/>
              <a:gd name="T74" fmla="*/ 362 w 512"/>
              <a:gd name="T75" fmla="*/ 256 h 512"/>
              <a:gd name="T76" fmla="*/ 330 w 512"/>
              <a:gd name="T77" fmla="*/ 328 h 512"/>
              <a:gd name="T78" fmla="*/ 362 w 512"/>
              <a:gd name="T79" fmla="*/ 371 h 512"/>
              <a:gd name="T80" fmla="*/ 355 w 512"/>
              <a:gd name="T81" fmla="*/ 373 h 512"/>
              <a:gd name="T82" fmla="*/ 347 w 512"/>
              <a:gd name="T83" fmla="*/ 369 h 512"/>
              <a:gd name="T84" fmla="*/ 348 w 512"/>
              <a:gd name="T85" fmla="*/ 354 h 512"/>
              <a:gd name="T86" fmla="*/ 394 w 512"/>
              <a:gd name="T87" fmla="*/ 256 h 512"/>
              <a:gd name="T88" fmla="*/ 348 w 512"/>
              <a:gd name="T89" fmla="*/ 157 h 512"/>
              <a:gd name="T90" fmla="*/ 347 w 512"/>
              <a:gd name="T91" fmla="*/ 142 h 512"/>
              <a:gd name="T92" fmla="*/ 362 w 512"/>
              <a:gd name="T93" fmla="*/ 141 h 512"/>
              <a:gd name="T94" fmla="*/ 416 w 512"/>
              <a:gd name="T95" fmla="*/ 256 h 512"/>
              <a:gd name="T96" fmla="*/ 362 w 512"/>
              <a:gd name="T97" fmla="*/ 371 h 512"/>
              <a:gd name="T98" fmla="*/ 167 w 512"/>
              <a:gd name="T99" fmla="*/ 221 h 512"/>
              <a:gd name="T100" fmla="*/ 234 w 512"/>
              <a:gd name="T101" fmla="*/ 162 h 512"/>
              <a:gd name="T102" fmla="*/ 234 w 512"/>
              <a:gd name="T103" fmla="*/ 349 h 512"/>
              <a:gd name="T104" fmla="*/ 167 w 512"/>
              <a:gd name="T105" fmla="*/ 290 h 512"/>
              <a:gd name="T106" fmla="*/ 160 w 512"/>
              <a:gd name="T107" fmla="*/ 288 h 512"/>
              <a:gd name="T108" fmla="*/ 117 w 512"/>
              <a:gd name="T109" fmla="*/ 288 h 512"/>
              <a:gd name="T110" fmla="*/ 117 w 512"/>
              <a:gd name="T111" fmla="*/ 224 h 512"/>
              <a:gd name="T112" fmla="*/ 160 w 512"/>
              <a:gd name="T113" fmla="*/ 224 h 512"/>
              <a:gd name="T114" fmla="*/ 167 w 512"/>
              <a:gd name="T115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73"/>
                </a:moveTo>
                <a:cubicBezTo>
                  <a:pt x="256" y="377"/>
                  <a:pt x="253" y="381"/>
                  <a:pt x="249" y="383"/>
                </a:cubicBezTo>
                <a:cubicBezTo>
                  <a:pt x="248" y="383"/>
                  <a:pt x="246" y="384"/>
                  <a:pt x="245" y="384"/>
                </a:cubicBezTo>
                <a:cubicBezTo>
                  <a:pt x="242" y="384"/>
                  <a:pt x="240" y="383"/>
                  <a:pt x="238" y="381"/>
                </a:cubicBezTo>
                <a:cubicBezTo>
                  <a:pt x="156" y="309"/>
                  <a:pt x="156" y="309"/>
                  <a:pt x="156" y="309"/>
                </a:cubicBezTo>
                <a:cubicBezTo>
                  <a:pt x="106" y="309"/>
                  <a:pt x="106" y="309"/>
                  <a:pt x="106" y="309"/>
                </a:cubicBezTo>
                <a:cubicBezTo>
                  <a:pt x="100" y="309"/>
                  <a:pt x="96" y="304"/>
                  <a:pt x="96" y="298"/>
                </a:cubicBezTo>
                <a:cubicBezTo>
                  <a:pt x="96" y="213"/>
                  <a:pt x="96" y="213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56" y="202"/>
                  <a:pt x="156" y="202"/>
                  <a:pt x="156" y="202"/>
                </a:cubicBezTo>
                <a:cubicBezTo>
                  <a:pt x="238" y="130"/>
                  <a:pt x="238" y="130"/>
                  <a:pt x="238" y="130"/>
                </a:cubicBezTo>
                <a:cubicBezTo>
                  <a:pt x="241" y="128"/>
                  <a:pt x="246" y="127"/>
                  <a:pt x="249" y="129"/>
                </a:cubicBezTo>
                <a:cubicBezTo>
                  <a:pt x="253" y="130"/>
                  <a:pt x="256" y="134"/>
                  <a:pt x="256" y="138"/>
                </a:cubicBezTo>
                <a:lnTo>
                  <a:pt x="256" y="373"/>
                </a:lnTo>
                <a:close/>
                <a:moveTo>
                  <a:pt x="298" y="284"/>
                </a:moveTo>
                <a:cubicBezTo>
                  <a:pt x="296" y="286"/>
                  <a:pt x="293" y="288"/>
                  <a:pt x="290" y="288"/>
                </a:cubicBezTo>
                <a:cubicBezTo>
                  <a:pt x="288" y="288"/>
                  <a:pt x="285" y="287"/>
                  <a:pt x="283" y="285"/>
                </a:cubicBezTo>
                <a:cubicBezTo>
                  <a:pt x="279" y="281"/>
                  <a:pt x="278" y="274"/>
                  <a:pt x="282" y="270"/>
                </a:cubicBezTo>
                <a:cubicBezTo>
                  <a:pt x="286" y="266"/>
                  <a:pt x="288" y="261"/>
                  <a:pt x="288" y="256"/>
                </a:cubicBezTo>
                <a:cubicBezTo>
                  <a:pt x="288" y="250"/>
                  <a:pt x="286" y="245"/>
                  <a:pt x="282" y="241"/>
                </a:cubicBezTo>
                <a:cubicBezTo>
                  <a:pt x="278" y="237"/>
                  <a:pt x="279" y="230"/>
                  <a:pt x="283" y="226"/>
                </a:cubicBezTo>
                <a:cubicBezTo>
                  <a:pt x="287" y="222"/>
                  <a:pt x="294" y="223"/>
                  <a:pt x="298" y="227"/>
                </a:cubicBezTo>
                <a:cubicBezTo>
                  <a:pt x="305" y="235"/>
                  <a:pt x="309" y="245"/>
                  <a:pt x="309" y="256"/>
                </a:cubicBezTo>
                <a:cubicBezTo>
                  <a:pt x="309" y="266"/>
                  <a:pt x="305" y="276"/>
                  <a:pt x="298" y="284"/>
                </a:cubicBezTo>
                <a:close/>
                <a:moveTo>
                  <a:pt x="330" y="328"/>
                </a:moveTo>
                <a:cubicBezTo>
                  <a:pt x="328" y="329"/>
                  <a:pt x="325" y="330"/>
                  <a:pt x="323" y="330"/>
                </a:cubicBezTo>
                <a:cubicBezTo>
                  <a:pt x="320" y="330"/>
                  <a:pt x="317" y="329"/>
                  <a:pt x="315" y="327"/>
                </a:cubicBezTo>
                <a:cubicBezTo>
                  <a:pt x="311" y="322"/>
                  <a:pt x="311" y="316"/>
                  <a:pt x="316" y="312"/>
                </a:cubicBezTo>
                <a:cubicBezTo>
                  <a:pt x="332" y="297"/>
                  <a:pt x="341" y="277"/>
                  <a:pt x="341" y="256"/>
                </a:cubicBezTo>
                <a:cubicBezTo>
                  <a:pt x="341" y="234"/>
                  <a:pt x="332" y="214"/>
                  <a:pt x="316" y="200"/>
                </a:cubicBezTo>
                <a:cubicBezTo>
                  <a:pt x="311" y="196"/>
                  <a:pt x="311" y="189"/>
                  <a:pt x="315" y="185"/>
                </a:cubicBezTo>
                <a:cubicBezTo>
                  <a:pt x="319" y="180"/>
                  <a:pt x="325" y="180"/>
                  <a:pt x="330" y="184"/>
                </a:cubicBezTo>
                <a:cubicBezTo>
                  <a:pt x="350" y="202"/>
                  <a:pt x="362" y="228"/>
                  <a:pt x="362" y="256"/>
                </a:cubicBezTo>
                <a:cubicBezTo>
                  <a:pt x="362" y="283"/>
                  <a:pt x="350" y="309"/>
                  <a:pt x="330" y="328"/>
                </a:cubicBezTo>
                <a:close/>
                <a:moveTo>
                  <a:pt x="362" y="371"/>
                </a:moveTo>
                <a:cubicBezTo>
                  <a:pt x="360" y="372"/>
                  <a:pt x="357" y="373"/>
                  <a:pt x="355" y="373"/>
                </a:cubicBezTo>
                <a:cubicBezTo>
                  <a:pt x="352" y="373"/>
                  <a:pt x="349" y="372"/>
                  <a:pt x="347" y="369"/>
                </a:cubicBezTo>
                <a:cubicBezTo>
                  <a:pt x="343" y="365"/>
                  <a:pt x="344" y="358"/>
                  <a:pt x="348" y="354"/>
                </a:cubicBezTo>
                <a:cubicBezTo>
                  <a:pt x="377" y="330"/>
                  <a:pt x="394" y="294"/>
                  <a:pt x="394" y="256"/>
                </a:cubicBezTo>
                <a:cubicBezTo>
                  <a:pt x="394" y="218"/>
                  <a:pt x="377" y="182"/>
                  <a:pt x="348" y="157"/>
                </a:cubicBezTo>
                <a:cubicBezTo>
                  <a:pt x="344" y="153"/>
                  <a:pt x="343" y="147"/>
                  <a:pt x="347" y="142"/>
                </a:cubicBezTo>
                <a:cubicBezTo>
                  <a:pt x="351" y="138"/>
                  <a:pt x="357" y="137"/>
                  <a:pt x="362" y="141"/>
                </a:cubicBezTo>
                <a:cubicBezTo>
                  <a:pt x="396" y="169"/>
                  <a:pt x="416" y="211"/>
                  <a:pt x="416" y="256"/>
                </a:cubicBezTo>
                <a:cubicBezTo>
                  <a:pt x="416" y="300"/>
                  <a:pt x="396" y="342"/>
                  <a:pt x="362" y="371"/>
                </a:cubicBezTo>
                <a:close/>
                <a:moveTo>
                  <a:pt x="167" y="221"/>
                </a:moveTo>
                <a:cubicBezTo>
                  <a:pt x="234" y="162"/>
                  <a:pt x="234" y="162"/>
                  <a:pt x="234" y="162"/>
                </a:cubicBezTo>
                <a:cubicBezTo>
                  <a:pt x="234" y="349"/>
                  <a:pt x="234" y="349"/>
                  <a:pt x="234" y="349"/>
                </a:cubicBezTo>
                <a:cubicBezTo>
                  <a:pt x="167" y="290"/>
                  <a:pt x="167" y="290"/>
                  <a:pt x="167" y="290"/>
                </a:cubicBezTo>
                <a:cubicBezTo>
                  <a:pt x="165" y="289"/>
                  <a:pt x="162" y="288"/>
                  <a:pt x="160" y="288"/>
                </a:cubicBezTo>
                <a:cubicBezTo>
                  <a:pt x="117" y="288"/>
                  <a:pt x="117" y="288"/>
                  <a:pt x="117" y="28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2" y="224"/>
                  <a:pt x="165" y="223"/>
                  <a:pt x="167" y="22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1" name="TextBox 510"/>
          <p:cNvSpPr txBox="1"/>
          <p:nvPr/>
        </p:nvSpPr>
        <p:spPr>
          <a:xfrm>
            <a:off x="453913" y="4153518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movie</a:t>
            </a:r>
          </a:p>
        </p:txBody>
      </p:sp>
      <p:sp>
        <p:nvSpPr>
          <p:cNvPr id="512" name="TextBox 511"/>
          <p:cNvSpPr txBox="1"/>
          <p:nvPr/>
        </p:nvSpPr>
        <p:spPr>
          <a:xfrm>
            <a:off x="1457687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new</a:t>
            </a:r>
          </a:p>
        </p:txBody>
      </p:sp>
      <p:sp>
        <p:nvSpPr>
          <p:cNvPr id="513" name="TextBox 512"/>
          <p:cNvSpPr txBox="1"/>
          <p:nvPr/>
        </p:nvSpPr>
        <p:spPr>
          <a:xfrm>
            <a:off x="3458885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picture</a:t>
            </a:r>
          </a:p>
        </p:txBody>
      </p:sp>
      <p:sp>
        <p:nvSpPr>
          <p:cNvPr id="514" name="TextBox 513"/>
          <p:cNvSpPr txBox="1"/>
          <p:nvPr/>
        </p:nvSpPr>
        <p:spPr>
          <a:xfrm>
            <a:off x="4459484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</a:t>
            </a:r>
            <a:r>
              <a:rPr lang="en-US" sz="1000" dirty="0" err="1"/>
              <a:t>Ppt</a:t>
            </a:r>
            <a:endParaRPr lang="en-US" sz="1000" dirty="0"/>
          </a:p>
        </p:txBody>
      </p:sp>
      <p:sp>
        <p:nvSpPr>
          <p:cNvPr id="515" name="TextBox 514"/>
          <p:cNvSpPr txBox="1"/>
          <p:nvPr/>
        </p:nvSpPr>
        <p:spPr>
          <a:xfrm>
            <a:off x="2458286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</a:t>
            </a:r>
            <a:r>
              <a:rPr lang="en-US" sz="1000" dirty="0" err="1"/>
              <a:t>Pdf</a:t>
            </a:r>
            <a:endParaRPr lang="en-US" sz="1000" dirty="0"/>
          </a:p>
        </p:txBody>
      </p:sp>
      <p:sp>
        <p:nvSpPr>
          <p:cNvPr id="516" name="TextBox 515"/>
          <p:cNvSpPr txBox="1"/>
          <p:nvPr/>
        </p:nvSpPr>
        <p:spPr>
          <a:xfrm>
            <a:off x="5460083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</a:t>
            </a:r>
            <a:r>
              <a:rPr lang="en-US" sz="1000" dirty="0" err="1"/>
              <a:t>Xls</a:t>
            </a:r>
            <a:endParaRPr lang="en-US" sz="1000" dirty="0"/>
          </a:p>
        </p:txBody>
      </p:sp>
      <p:sp>
        <p:nvSpPr>
          <p:cNvPr id="517" name="TextBox 516"/>
          <p:cNvSpPr txBox="1"/>
          <p:nvPr/>
        </p:nvSpPr>
        <p:spPr>
          <a:xfrm>
            <a:off x="6460682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Zip</a:t>
            </a:r>
          </a:p>
        </p:txBody>
      </p:sp>
      <p:grpSp>
        <p:nvGrpSpPr>
          <p:cNvPr id="518" name="Group 688"/>
          <p:cNvGrpSpPr>
            <a:grpSpLocks noChangeAspect="1"/>
          </p:cNvGrpSpPr>
          <p:nvPr/>
        </p:nvGrpSpPr>
        <p:grpSpPr bwMode="auto">
          <a:xfrm>
            <a:off x="433255" y="3743934"/>
            <a:ext cx="367631" cy="367631"/>
            <a:chOff x="797" y="2771"/>
            <a:chExt cx="340" cy="340"/>
          </a:xfrm>
          <a:solidFill>
            <a:schemeClr val="accent2"/>
          </a:solidFill>
        </p:grpSpPr>
        <p:sp>
          <p:nvSpPr>
            <p:cNvPr id="519" name="Freeform 689"/>
            <p:cNvSpPr>
              <a:spLocks/>
            </p:cNvSpPr>
            <p:nvPr/>
          </p:nvSpPr>
          <p:spPr bwMode="auto">
            <a:xfrm>
              <a:off x="946" y="2932"/>
              <a:ext cx="36" cy="46"/>
            </a:xfrm>
            <a:custGeom>
              <a:avLst/>
              <a:gdLst>
                <a:gd name="T0" fmla="*/ 0 w 36"/>
                <a:gd name="T1" fmla="*/ 0 h 46"/>
                <a:gd name="T2" fmla="*/ 0 w 36"/>
                <a:gd name="T3" fmla="*/ 46 h 46"/>
                <a:gd name="T4" fmla="*/ 36 w 36"/>
                <a:gd name="T5" fmla="*/ 23 h 46"/>
                <a:gd name="T6" fmla="*/ 0 w 36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46">
                  <a:moveTo>
                    <a:pt x="0" y="0"/>
                  </a:moveTo>
                  <a:lnTo>
                    <a:pt x="0" y="46"/>
                  </a:lnTo>
                  <a:lnTo>
                    <a:pt x="36" y="2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0" name="Freeform 690"/>
            <p:cNvSpPr>
              <a:spLocks/>
            </p:cNvSpPr>
            <p:nvPr/>
          </p:nvSpPr>
          <p:spPr bwMode="auto">
            <a:xfrm>
              <a:off x="995" y="2859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1" name="Freeform 691"/>
            <p:cNvSpPr>
              <a:spLocks noEditPoints="1"/>
            </p:cNvSpPr>
            <p:nvPr/>
          </p:nvSpPr>
          <p:spPr bwMode="auto">
            <a:xfrm>
              <a:off x="903" y="2849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149 w 192"/>
                <a:gd name="T17" fmla="*/ 160 h 277"/>
                <a:gd name="T18" fmla="*/ 144 w 192"/>
                <a:gd name="T19" fmla="*/ 169 h 277"/>
                <a:gd name="T20" fmla="*/ 59 w 192"/>
                <a:gd name="T21" fmla="*/ 222 h 277"/>
                <a:gd name="T22" fmla="*/ 53 w 192"/>
                <a:gd name="T23" fmla="*/ 224 h 277"/>
                <a:gd name="T24" fmla="*/ 48 w 192"/>
                <a:gd name="T25" fmla="*/ 223 h 277"/>
                <a:gd name="T26" fmla="*/ 42 w 192"/>
                <a:gd name="T27" fmla="*/ 213 h 277"/>
                <a:gd name="T28" fmla="*/ 42 w 192"/>
                <a:gd name="T29" fmla="*/ 107 h 277"/>
                <a:gd name="T30" fmla="*/ 48 w 192"/>
                <a:gd name="T31" fmla="*/ 97 h 277"/>
                <a:gd name="T32" fmla="*/ 59 w 192"/>
                <a:gd name="T33" fmla="*/ 98 h 277"/>
                <a:gd name="T34" fmla="*/ 144 w 192"/>
                <a:gd name="T35" fmla="*/ 151 h 277"/>
                <a:gd name="T36" fmla="*/ 149 w 192"/>
                <a:gd name="T37" fmla="*/ 16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149" y="160"/>
                  </a:moveTo>
                  <a:cubicBezTo>
                    <a:pt x="149" y="164"/>
                    <a:pt x="147" y="167"/>
                    <a:pt x="144" y="169"/>
                  </a:cubicBezTo>
                  <a:cubicBezTo>
                    <a:pt x="59" y="222"/>
                    <a:pt x="59" y="222"/>
                    <a:pt x="59" y="222"/>
                  </a:cubicBezTo>
                  <a:cubicBezTo>
                    <a:pt x="57" y="223"/>
                    <a:pt x="55" y="224"/>
                    <a:pt x="53" y="224"/>
                  </a:cubicBezTo>
                  <a:cubicBezTo>
                    <a:pt x="51" y="224"/>
                    <a:pt x="49" y="224"/>
                    <a:pt x="48" y="223"/>
                  </a:cubicBezTo>
                  <a:cubicBezTo>
                    <a:pt x="44" y="221"/>
                    <a:pt x="42" y="217"/>
                    <a:pt x="42" y="213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2" y="103"/>
                    <a:pt x="44" y="99"/>
                    <a:pt x="48" y="97"/>
                  </a:cubicBezTo>
                  <a:cubicBezTo>
                    <a:pt x="51" y="95"/>
                    <a:pt x="55" y="96"/>
                    <a:pt x="59" y="98"/>
                  </a:cubicBezTo>
                  <a:cubicBezTo>
                    <a:pt x="144" y="151"/>
                    <a:pt x="144" y="151"/>
                    <a:pt x="144" y="151"/>
                  </a:cubicBezTo>
                  <a:cubicBezTo>
                    <a:pt x="147" y="153"/>
                    <a:pt x="149" y="156"/>
                    <a:pt x="149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692"/>
            <p:cNvSpPr>
              <a:spLocks noEditPoints="1"/>
            </p:cNvSpPr>
            <p:nvPr/>
          </p:nvSpPr>
          <p:spPr bwMode="auto">
            <a:xfrm>
              <a:off x="797" y="277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405 h 512"/>
                <a:gd name="T12" fmla="*/ 362 w 512"/>
                <a:gd name="T13" fmla="*/ 416 h 512"/>
                <a:gd name="T14" fmla="*/ 149 w 512"/>
                <a:gd name="T15" fmla="*/ 416 h 512"/>
                <a:gd name="T16" fmla="*/ 138 w 512"/>
                <a:gd name="T17" fmla="*/ 405 h 512"/>
                <a:gd name="T18" fmla="*/ 138 w 512"/>
                <a:gd name="T19" fmla="*/ 106 h 512"/>
                <a:gd name="T20" fmla="*/ 149 w 512"/>
                <a:gd name="T21" fmla="*/ 96 h 512"/>
                <a:gd name="T22" fmla="*/ 288 w 512"/>
                <a:gd name="T23" fmla="*/ 96 h 512"/>
                <a:gd name="T24" fmla="*/ 292 w 512"/>
                <a:gd name="T25" fmla="*/ 96 h 512"/>
                <a:gd name="T26" fmla="*/ 295 w 512"/>
                <a:gd name="T27" fmla="*/ 99 h 512"/>
                <a:gd name="T28" fmla="*/ 370 w 512"/>
                <a:gd name="T29" fmla="*/ 173 h 512"/>
                <a:gd name="T30" fmla="*/ 372 w 512"/>
                <a:gd name="T31" fmla="*/ 177 h 512"/>
                <a:gd name="T32" fmla="*/ 373 w 512"/>
                <a:gd name="T33" fmla="*/ 181 h 512"/>
                <a:gd name="T34" fmla="*/ 373 w 512"/>
                <a:gd name="T35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9" y="96"/>
                    <a:pt x="290" y="96"/>
                    <a:pt x="292" y="96"/>
                  </a:cubicBezTo>
                  <a:cubicBezTo>
                    <a:pt x="293" y="97"/>
                    <a:pt x="294" y="98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80" name="Group 695"/>
          <p:cNvGrpSpPr>
            <a:grpSpLocks noChangeAspect="1"/>
          </p:cNvGrpSpPr>
          <p:nvPr/>
        </p:nvGrpSpPr>
        <p:grpSpPr bwMode="auto">
          <a:xfrm>
            <a:off x="930351" y="3743938"/>
            <a:ext cx="367631" cy="367631"/>
            <a:chOff x="1174" y="2776"/>
            <a:chExt cx="340" cy="340"/>
          </a:xfrm>
          <a:solidFill>
            <a:schemeClr val="accent2"/>
          </a:solidFill>
        </p:grpSpPr>
        <p:sp>
          <p:nvSpPr>
            <p:cNvPr id="582" name="Freeform 696"/>
            <p:cNvSpPr>
              <a:spLocks noEditPoints="1"/>
            </p:cNvSpPr>
            <p:nvPr/>
          </p:nvSpPr>
          <p:spPr bwMode="auto">
            <a:xfrm>
              <a:off x="1266" y="2840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697"/>
            <p:cNvSpPr>
              <a:spLocks noEditPoints="1"/>
            </p:cNvSpPr>
            <p:nvPr/>
          </p:nvSpPr>
          <p:spPr bwMode="auto">
            <a:xfrm>
              <a:off x="1308" y="2917"/>
              <a:ext cx="71" cy="85"/>
            </a:xfrm>
            <a:custGeom>
              <a:avLst/>
              <a:gdLst>
                <a:gd name="T0" fmla="*/ 102 w 107"/>
                <a:gd name="T1" fmla="*/ 56 h 129"/>
                <a:gd name="T2" fmla="*/ 17 w 107"/>
                <a:gd name="T3" fmla="*/ 3 h 129"/>
                <a:gd name="T4" fmla="*/ 6 w 107"/>
                <a:gd name="T5" fmla="*/ 2 h 129"/>
                <a:gd name="T6" fmla="*/ 0 w 107"/>
                <a:gd name="T7" fmla="*/ 12 h 129"/>
                <a:gd name="T8" fmla="*/ 0 w 107"/>
                <a:gd name="T9" fmla="*/ 118 h 129"/>
                <a:gd name="T10" fmla="*/ 6 w 107"/>
                <a:gd name="T11" fmla="*/ 128 h 129"/>
                <a:gd name="T12" fmla="*/ 11 w 107"/>
                <a:gd name="T13" fmla="*/ 129 h 129"/>
                <a:gd name="T14" fmla="*/ 17 w 107"/>
                <a:gd name="T15" fmla="*/ 127 h 129"/>
                <a:gd name="T16" fmla="*/ 102 w 107"/>
                <a:gd name="T17" fmla="*/ 74 h 129"/>
                <a:gd name="T18" fmla="*/ 107 w 107"/>
                <a:gd name="T19" fmla="*/ 65 h 129"/>
                <a:gd name="T20" fmla="*/ 102 w 107"/>
                <a:gd name="T21" fmla="*/ 56 h 129"/>
                <a:gd name="T22" fmla="*/ 22 w 107"/>
                <a:gd name="T23" fmla="*/ 99 h 129"/>
                <a:gd name="T24" fmla="*/ 22 w 107"/>
                <a:gd name="T25" fmla="*/ 31 h 129"/>
                <a:gd name="T26" fmla="*/ 76 w 107"/>
                <a:gd name="T27" fmla="*/ 65 h 129"/>
                <a:gd name="T28" fmla="*/ 22 w 107"/>
                <a:gd name="T29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129">
                  <a:moveTo>
                    <a:pt x="102" y="56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3" y="1"/>
                    <a:pt x="9" y="0"/>
                    <a:pt x="6" y="2"/>
                  </a:cubicBezTo>
                  <a:cubicBezTo>
                    <a:pt x="2" y="4"/>
                    <a:pt x="0" y="8"/>
                    <a:pt x="0" y="12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2"/>
                    <a:pt x="2" y="126"/>
                    <a:pt x="6" y="128"/>
                  </a:cubicBezTo>
                  <a:cubicBezTo>
                    <a:pt x="7" y="129"/>
                    <a:pt x="9" y="129"/>
                    <a:pt x="11" y="129"/>
                  </a:cubicBezTo>
                  <a:cubicBezTo>
                    <a:pt x="13" y="129"/>
                    <a:pt x="15" y="128"/>
                    <a:pt x="17" y="127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5" y="72"/>
                    <a:pt x="107" y="69"/>
                    <a:pt x="107" y="65"/>
                  </a:cubicBezTo>
                  <a:cubicBezTo>
                    <a:pt x="107" y="61"/>
                    <a:pt x="105" y="58"/>
                    <a:pt x="102" y="56"/>
                  </a:cubicBezTo>
                  <a:close/>
                  <a:moveTo>
                    <a:pt x="22" y="99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76" y="65"/>
                    <a:pt x="76" y="65"/>
                    <a:pt x="76" y="65"/>
                  </a:cubicBezTo>
                  <a:lnTo>
                    <a:pt x="22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698"/>
            <p:cNvSpPr>
              <a:spLocks noEditPoints="1"/>
            </p:cNvSpPr>
            <p:nvPr/>
          </p:nvSpPr>
          <p:spPr bwMode="auto">
            <a:xfrm>
              <a:off x="1174" y="277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85" name="Freeform 702"/>
          <p:cNvSpPr>
            <a:spLocks noChangeAspect="1" noEditPoints="1"/>
          </p:cNvSpPr>
          <p:nvPr/>
        </p:nvSpPr>
        <p:spPr bwMode="auto">
          <a:xfrm>
            <a:off x="1427447" y="3743938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3 w 512"/>
              <a:gd name="T11" fmla="*/ 181 h 512"/>
              <a:gd name="T12" fmla="*/ 373 w 512"/>
              <a:gd name="T13" fmla="*/ 405 h 512"/>
              <a:gd name="T14" fmla="*/ 362 w 512"/>
              <a:gd name="T15" fmla="*/ 416 h 512"/>
              <a:gd name="T16" fmla="*/ 149 w 512"/>
              <a:gd name="T17" fmla="*/ 416 h 512"/>
              <a:gd name="T18" fmla="*/ 138 w 512"/>
              <a:gd name="T19" fmla="*/ 405 h 512"/>
              <a:gd name="T20" fmla="*/ 138 w 512"/>
              <a:gd name="T21" fmla="*/ 106 h 512"/>
              <a:gd name="T22" fmla="*/ 149 w 512"/>
              <a:gd name="T23" fmla="*/ 96 h 512"/>
              <a:gd name="T24" fmla="*/ 288 w 512"/>
              <a:gd name="T25" fmla="*/ 96 h 512"/>
              <a:gd name="T26" fmla="*/ 295 w 512"/>
              <a:gd name="T27" fmla="*/ 98 h 512"/>
              <a:gd name="T28" fmla="*/ 295 w 512"/>
              <a:gd name="T29" fmla="*/ 98 h 512"/>
              <a:gd name="T30" fmla="*/ 295 w 512"/>
              <a:gd name="T31" fmla="*/ 98 h 512"/>
              <a:gd name="T32" fmla="*/ 295 w 512"/>
              <a:gd name="T33" fmla="*/ 99 h 512"/>
              <a:gd name="T34" fmla="*/ 370 w 512"/>
              <a:gd name="T35" fmla="*/ 173 h 512"/>
              <a:gd name="T36" fmla="*/ 372 w 512"/>
              <a:gd name="T37" fmla="*/ 177 h 512"/>
              <a:gd name="T38" fmla="*/ 373 w 512"/>
              <a:gd name="T39" fmla="*/ 181 h 512"/>
              <a:gd name="T40" fmla="*/ 373 w 512"/>
              <a:gd name="T41" fmla="*/ 181 h 512"/>
              <a:gd name="T42" fmla="*/ 337 w 512"/>
              <a:gd name="T43" fmla="*/ 170 h 512"/>
              <a:gd name="T44" fmla="*/ 298 w 512"/>
              <a:gd name="T45" fmla="*/ 170 h 512"/>
              <a:gd name="T46" fmla="*/ 298 w 512"/>
              <a:gd name="T47" fmla="*/ 132 h 512"/>
              <a:gd name="T48" fmla="*/ 337 w 512"/>
              <a:gd name="T49" fmla="*/ 170 h 512"/>
              <a:gd name="T50" fmla="*/ 277 w 512"/>
              <a:gd name="T51" fmla="*/ 181 h 512"/>
              <a:gd name="T52" fmla="*/ 277 w 512"/>
              <a:gd name="T53" fmla="*/ 117 h 512"/>
              <a:gd name="T54" fmla="*/ 160 w 512"/>
              <a:gd name="T55" fmla="*/ 117 h 512"/>
              <a:gd name="T56" fmla="*/ 160 w 512"/>
              <a:gd name="T57" fmla="*/ 394 h 512"/>
              <a:gd name="T58" fmla="*/ 352 w 512"/>
              <a:gd name="T59" fmla="*/ 394 h 512"/>
              <a:gd name="T60" fmla="*/ 352 w 512"/>
              <a:gd name="T61" fmla="*/ 192 h 512"/>
              <a:gd name="T62" fmla="*/ 288 w 512"/>
              <a:gd name="T63" fmla="*/ 192 h 512"/>
              <a:gd name="T64" fmla="*/ 277 w 512"/>
              <a:gd name="T65" fmla="*/ 181 h 512"/>
              <a:gd name="T66" fmla="*/ 320 w 512"/>
              <a:gd name="T67" fmla="*/ 288 h 512"/>
              <a:gd name="T68" fmla="*/ 309 w 512"/>
              <a:gd name="T69" fmla="*/ 298 h 512"/>
              <a:gd name="T70" fmla="*/ 266 w 512"/>
              <a:gd name="T71" fmla="*/ 298 h 512"/>
              <a:gd name="T72" fmla="*/ 266 w 512"/>
              <a:gd name="T73" fmla="*/ 341 h 512"/>
              <a:gd name="T74" fmla="*/ 256 w 512"/>
              <a:gd name="T75" fmla="*/ 352 h 512"/>
              <a:gd name="T76" fmla="*/ 245 w 512"/>
              <a:gd name="T77" fmla="*/ 341 h 512"/>
              <a:gd name="T78" fmla="*/ 245 w 512"/>
              <a:gd name="T79" fmla="*/ 298 h 512"/>
              <a:gd name="T80" fmla="*/ 202 w 512"/>
              <a:gd name="T81" fmla="*/ 298 h 512"/>
              <a:gd name="T82" fmla="*/ 192 w 512"/>
              <a:gd name="T83" fmla="*/ 288 h 512"/>
              <a:gd name="T84" fmla="*/ 202 w 512"/>
              <a:gd name="T85" fmla="*/ 277 h 512"/>
              <a:gd name="T86" fmla="*/ 245 w 512"/>
              <a:gd name="T87" fmla="*/ 277 h 512"/>
              <a:gd name="T88" fmla="*/ 245 w 512"/>
              <a:gd name="T89" fmla="*/ 234 h 512"/>
              <a:gd name="T90" fmla="*/ 256 w 512"/>
              <a:gd name="T91" fmla="*/ 224 h 512"/>
              <a:gd name="T92" fmla="*/ 266 w 512"/>
              <a:gd name="T93" fmla="*/ 234 h 512"/>
              <a:gd name="T94" fmla="*/ 266 w 512"/>
              <a:gd name="T95" fmla="*/ 277 h 512"/>
              <a:gd name="T96" fmla="*/ 309 w 512"/>
              <a:gd name="T97" fmla="*/ 277 h 512"/>
              <a:gd name="T98" fmla="*/ 320 w 512"/>
              <a:gd name="T99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181"/>
                </a:moveTo>
                <a:cubicBezTo>
                  <a:pt x="373" y="405"/>
                  <a:pt x="373" y="405"/>
                  <a:pt x="373" y="405"/>
                </a:cubicBez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06"/>
                  <a:pt x="138" y="106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90" y="96"/>
                  <a:pt x="293" y="97"/>
                  <a:pt x="295" y="98"/>
                </a:cubicBezTo>
                <a:cubicBezTo>
                  <a:pt x="295" y="98"/>
                  <a:pt x="295" y="98"/>
                  <a:pt x="295" y="98"/>
                </a:cubicBezTo>
                <a:cubicBezTo>
                  <a:pt x="295" y="98"/>
                  <a:pt x="295" y="98"/>
                  <a:pt x="295" y="98"/>
                </a:cubicBezTo>
                <a:cubicBezTo>
                  <a:pt x="295" y="99"/>
                  <a:pt x="295" y="99"/>
                  <a:pt x="295" y="99"/>
                </a:cubicBezTo>
                <a:cubicBezTo>
                  <a:pt x="370" y="173"/>
                  <a:pt x="370" y="173"/>
                  <a:pt x="370" y="173"/>
                </a:cubicBezTo>
                <a:cubicBezTo>
                  <a:pt x="371" y="174"/>
                  <a:pt x="372" y="176"/>
                  <a:pt x="372" y="177"/>
                </a:cubicBezTo>
                <a:cubicBezTo>
                  <a:pt x="373" y="178"/>
                  <a:pt x="373" y="180"/>
                  <a:pt x="373" y="181"/>
                </a:cubicBezTo>
                <a:cubicBezTo>
                  <a:pt x="373" y="181"/>
                  <a:pt x="373" y="181"/>
                  <a:pt x="373" y="181"/>
                </a:cubicBezTo>
                <a:close/>
                <a:moveTo>
                  <a:pt x="337" y="170"/>
                </a:moveTo>
                <a:cubicBezTo>
                  <a:pt x="298" y="170"/>
                  <a:pt x="298" y="170"/>
                  <a:pt x="298" y="170"/>
                </a:cubicBezTo>
                <a:cubicBezTo>
                  <a:pt x="298" y="132"/>
                  <a:pt x="298" y="132"/>
                  <a:pt x="298" y="132"/>
                </a:cubicBezTo>
                <a:lnTo>
                  <a:pt x="337" y="170"/>
                </a:lnTo>
                <a:close/>
                <a:moveTo>
                  <a:pt x="277" y="181"/>
                </a:moveTo>
                <a:cubicBezTo>
                  <a:pt x="277" y="117"/>
                  <a:pt x="277" y="117"/>
                  <a:pt x="277" y="117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2" y="192"/>
                  <a:pt x="277" y="187"/>
                  <a:pt x="277" y="181"/>
                </a:cubicBezTo>
                <a:close/>
                <a:moveTo>
                  <a:pt x="320" y="288"/>
                </a:moveTo>
                <a:cubicBezTo>
                  <a:pt x="320" y="294"/>
                  <a:pt x="315" y="298"/>
                  <a:pt x="309" y="298"/>
                </a:cubicBezTo>
                <a:cubicBezTo>
                  <a:pt x="266" y="298"/>
                  <a:pt x="266" y="298"/>
                  <a:pt x="266" y="298"/>
                </a:cubicBezTo>
                <a:cubicBezTo>
                  <a:pt x="266" y="341"/>
                  <a:pt x="266" y="341"/>
                  <a:pt x="266" y="341"/>
                </a:cubicBezTo>
                <a:cubicBezTo>
                  <a:pt x="266" y="347"/>
                  <a:pt x="262" y="352"/>
                  <a:pt x="256" y="352"/>
                </a:cubicBezTo>
                <a:cubicBezTo>
                  <a:pt x="250" y="352"/>
                  <a:pt x="245" y="347"/>
                  <a:pt x="245" y="341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196" y="298"/>
                  <a:pt x="192" y="294"/>
                  <a:pt x="192" y="288"/>
                </a:cubicBezTo>
                <a:cubicBezTo>
                  <a:pt x="192" y="282"/>
                  <a:pt x="196" y="277"/>
                  <a:pt x="202" y="277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45" y="234"/>
                  <a:pt x="245" y="234"/>
                  <a:pt x="245" y="234"/>
                </a:cubicBezTo>
                <a:cubicBezTo>
                  <a:pt x="245" y="228"/>
                  <a:pt x="250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15" y="277"/>
                  <a:pt x="320" y="282"/>
                  <a:pt x="320" y="2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6" name="Group 705"/>
          <p:cNvGrpSpPr>
            <a:grpSpLocks noChangeAspect="1"/>
          </p:cNvGrpSpPr>
          <p:nvPr/>
        </p:nvGrpSpPr>
        <p:grpSpPr bwMode="auto">
          <a:xfrm>
            <a:off x="1924543" y="3743938"/>
            <a:ext cx="367631" cy="367631"/>
            <a:chOff x="1962" y="2775"/>
            <a:chExt cx="340" cy="340"/>
          </a:xfrm>
          <a:solidFill>
            <a:schemeClr val="accent2"/>
          </a:solidFill>
        </p:grpSpPr>
        <p:sp>
          <p:nvSpPr>
            <p:cNvPr id="587" name="Freeform 706"/>
            <p:cNvSpPr>
              <a:spLocks noEditPoints="1"/>
            </p:cNvSpPr>
            <p:nvPr/>
          </p:nvSpPr>
          <p:spPr bwMode="auto">
            <a:xfrm>
              <a:off x="1962" y="277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707"/>
            <p:cNvSpPr>
              <a:spLocks noEditPoints="1"/>
            </p:cNvSpPr>
            <p:nvPr/>
          </p:nvSpPr>
          <p:spPr bwMode="auto">
            <a:xfrm>
              <a:off x="2054" y="2839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7 w 235"/>
                <a:gd name="T7" fmla="*/ 2 h 320"/>
                <a:gd name="T8" fmla="*/ 157 w 235"/>
                <a:gd name="T9" fmla="*/ 2 h 320"/>
                <a:gd name="T10" fmla="*/ 157 w 235"/>
                <a:gd name="T11" fmla="*/ 2 h 320"/>
                <a:gd name="T12" fmla="*/ 150 w 235"/>
                <a:gd name="T13" fmla="*/ 0 h 320"/>
                <a:gd name="T14" fmla="*/ 11 w 235"/>
                <a:gd name="T15" fmla="*/ 0 h 320"/>
                <a:gd name="T16" fmla="*/ 0 w 235"/>
                <a:gd name="T17" fmla="*/ 10 h 320"/>
                <a:gd name="T18" fmla="*/ 0 w 235"/>
                <a:gd name="T19" fmla="*/ 309 h 320"/>
                <a:gd name="T20" fmla="*/ 11 w 235"/>
                <a:gd name="T21" fmla="*/ 320 h 320"/>
                <a:gd name="T22" fmla="*/ 224 w 235"/>
                <a:gd name="T23" fmla="*/ 320 h 320"/>
                <a:gd name="T24" fmla="*/ 235 w 235"/>
                <a:gd name="T25" fmla="*/ 309 h 320"/>
                <a:gd name="T26" fmla="*/ 235 w 235"/>
                <a:gd name="T27" fmla="*/ 85 h 320"/>
                <a:gd name="T28" fmla="*/ 235 w 235"/>
                <a:gd name="T29" fmla="*/ 85 h 320"/>
                <a:gd name="T30" fmla="*/ 234 w 235"/>
                <a:gd name="T31" fmla="*/ 81 h 320"/>
                <a:gd name="T32" fmla="*/ 160 w 235"/>
                <a:gd name="T33" fmla="*/ 36 h 320"/>
                <a:gd name="T34" fmla="*/ 199 w 235"/>
                <a:gd name="T35" fmla="*/ 74 h 320"/>
                <a:gd name="T36" fmla="*/ 160 w 235"/>
                <a:gd name="T37" fmla="*/ 74 h 320"/>
                <a:gd name="T38" fmla="*/ 160 w 235"/>
                <a:gd name="T39" fmla="*/ 36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21 h 320"/>
                <a:gd name="T46" fmla="*/ 139 w 235"/>
                <a:gd name="T47" fmla="*/ 21 h 320"/>
                <a:gd name="T48" fmla="*/ 139 w 235"/>
                <a:gd name="T49" fmla="*/ 85 h 320"/>
                <a:gd name="T50" fmla="*/ 150 w 235"/>
                <a:gd name="T51" fmla="*/ 96 h 320"/>
                <a:gd name="T52" fmla="*/ 214 w 235"/>
                <a:gd name="T53" fmla="*/ 96 h 320"/>
                <a:gd name="T54" fmla="*/ 214 w 235"/>
                <a:gd name="T55" fmla="*/ 298 h 320"/>
                <a:gd name="T56" fmla="*/ 128 w 235"/>
                <a:gd name="T57" fmla="*/ 181 h 320"/>
                <a:gd name="T58" fmla="*/ 171 w 235"/>
                <a:gd name="T59" fmla="*/ 181 h 320"/>
                <a:gd name="T60" fmla="*/ 182 w 235"/>
                <a:gd name="T61" fmla="*/ 192 h 320"/>
                <a:gd name="T62" fmla="*/ 171 w 235"/>
                <a:gd name="T63" fmla="*/ 202 h 320"/>
                <a:gd name="T64" fmla="*/ 128 w 235"/>
                <a:gd name="T65" fmla="*/ 202 h 320"/>
                <a:gd name="T66" fmla="*/ 128 w 235"/>
                <a:gd name="T67" fmla="*/ 245 h 320"/>
                <a:gd name="T68" fmla="*/ 118 w 235"/>
                <a:gd name="T69" fmla="*/ 256 h 320"/>
                <a:gd name="T70" fmla="*/ 107 w 235"/>
                <a:gd name="T71" fmla="*/ 245 h 320"/>
                <a:gd name="T72" fmla="*/ 107 w 235"/>
                <a:gd name="T73" fmla="*/ 202 h 320"/>
                <a:gd name="T74" fmla="*/ 64 w 235"/>
                <a:gd name="T75" fmla="*/ 202 h 320"/>
                <a:gd name="T76" fmla="*/ 54 w 235"/>
                <a:gd name="T77" fmla="*/ 192 h 320"/>
                <a:gd name="T78" fmla="*/ 64 w 235"/>
                <a:gd name="T79" fmla="*/ 181 h 320"/>
                <a:gd name="T80" fmla="*/ 107 w 235"/>
                <a:gd name="T81" fmla="*/ 181 h 320"/>
                <a:gd name="T82" fmla="*/ 107 w 235"/>
                <a:gd name="T83" fmla="*/ 138 h 320"/>
                <a:gd name="T84" fmla="*/ 118 w 235"/>
                <a:gd name="T85" fmla="*/ 128 h 320"/>
                <a:gd name="T86" fmla="*/ 128 w 235"/>
                <a:gd name="T87" fmla="*/ 138 h 320"/>
                <a:gd name="T88" fmla="*/ 128 w 235"/>
                <a:gd name="T89" fmla="*/ 18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5" y="1"/>
                    <a:pt x="152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lnTo>
                    <a:pt x="214" y="298"/>
                  </a:lnTo>
                  <a:close/>
                  <a:moveTo>
                    <a:pt x="128" y="181"/>
                  </a:moveTo>
                  <a:cubicBezTo>
                    <a:pt x="171" y="181"/>
                    <a:pt x="171" y="181"/>
                    <a:pt x="171" y="181"/>
                  </a:cubicBezTo>
                  <a:cubicBezTo>
                    <a:pt x="177" y="181"/>
                    <a:pt x="182" y="186"/>
                    <a:pt x="182" y="192"/>
                  </a:cubicBezTo>
                  <a:cubicBezTo>
                    <a:pt x="182" y="198"/>
                    <a:pt x="177" y="202"/>
                    <a:pt x="171" y="202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28" y="251"/>
                    <a:pt x="124" y="256"/>
                    <a:pt x="118" y="256"/>
                  </a:cubicBezTo>
                  <a:cubicBezTo>
                    <a:pt x="112" y="256"/>
                    <a:pt x="107" y="251"/>
                    <a:pt x="107" y="245"/>
                  </a:cubicBezTo>
                  <a:cubicBezTo>
                    <a:pt x="107" y="202"/>
                    <a:pt x="107" y="202"/>
                    <a:pt x="107" y="202"/>
                  </a:cubicBezTo>
                  <a:cubicBezTo>
                    <a:pt x="64" y="202"/>
                    <a:pt x="64" y="202"/>
                    <a:pt x="64" y="202"/>
                  </a:cubicBezTo>
                  <a:cubicBezTo>
                    <a:pt x="58" y="202"/>
                    <a:pt x="54" y="198"/>
                    <a:pt x="54" y="192"/>
                  </a:cubicBezTo>
                  <a:cubicBezTo>
                    <a:pt x="54" y="186"/>
                    <a:pt x="58" y="181"/>
                    <a:pt x="64" y="181"/>
                  </a:cubicBezTo>
                  <a:cubicBezTo>
                    <a:pt x="107" y="181"/>
                    <a:pt x="107" y="181"/>
                    <a:pt x="107" y="181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7" y="132"/>
                    <a:pt x="112" y="128"/>
                    <a:pt x="118" y="128"/>
                  </a:cubicBezTo>
                  <a:cubicBezTo>
                    <a:pt x="124" y="128"/>
                    <a:pt x="128" y="132"/>
                    <a:pt x="128" y="138"/>
                  </a:cubicBezTo>
                  <a:lnTo>
                    <a:pt x="128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89" name="Group 710"/>
          <p:cNvGrpSpPr>
            <a:grpSpLocks noChangeAspect="1"/>
          </p:cNvGrpSpPr>
          <p:nvPr/>
        </p:nvGrpSpPr>
        <p:grpSpPr bwMode="auto">
          <a:xfrm>
            <a:off x="2421639" y="3743934"/>
            <a:ext cx="367631" cy="368712"/>
            <a:chOff x="2394" y="2789"/>
            <a:chExt cx="340" cy="341"/>
          </a:xfrm>
          <a:solidFill>
            <a:schemeClr val="accent2"/>
          </a:solidFill>
        </p:grpSpPr>
        <p:sp>
          <p:nvSpPr>
            <p:cNvPr id="590" name="Freeform 711"/>
            <p:cNvSpPr>
              <a:spLocks/>
            </p:cNvSpPr>
            <p:nvPr/>
          </p:nvSpPr>
          <p:spPr bwMode="auto">
            <a:xfrm>
              <a:off x="2500" y="2867"/>
              <a:ext cx="128" cy="64"/>
            </a:xfrm>
            <a:custGeom>
              <a:avLst/>
              <a:gdLst>
                <a:gd name="T0" fmla="*/ 192 w 192"/>
                <a:gd name="T1" fmla="*/ 75 h 96"/>
                <a:gd name="T2" fmla="*/ 128 w 192"/>
                <a:gd name="T3" fmla="*/ 75 h 96"/>
                <a:gd name="T4" fmla="*/ 117 w 192"/>
                <a:gd name="T5" fmla="*/ 64 h 96"/>
                <a:gd name="T6" fmla="*/ 117 w 192"/>
                <a:gd name="T7" fmla="*/ 0 h 96"/>
                <a:gd name="T8" fmla="*/ 0 w 192"/>
                <a:gd name="T9" fmla="*/ 0 h 96"/>
                <a:gd name="T10" fmla="*/ 0 w 192"/>
                <a:gd name="T11" fmla="*/ 96 h 96"/>
                <a:gd name="T12" fmla="*/ 192 w 192"/>
                <a:gd name="T13" fmla="*/ 96 h 96"/>
                <a:gd name="T14" fmla="*/ 192 w 192"/>
                <a:gd name="T15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96">
                  <a:moveTo>
                    <a:pt x="192" y="75"/>
                  </a:move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19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712"/>
            <p:cNvSpPr>
              <a:spLocks/>
            </p:cNvSpPr>
            <p:nvPr/>
          </p:nvSpPr>
          <p:spPr bwMode="auto">
            <a:xfrm>
              <a:off x="2510" y="2968"/>
              <a:ext cx="13" cy="15"/>
            </a:xfrm>
            <a:custGeom>
              <a:avLst/>
              <a:gdLst>
                <a:gd name="T0" fmla="*/ 17 w 20"/>
                <a:gd name="T1" fmla="*/ 19 h 22"/>
                <a:gd name="T2" fmla="*/ 20 w 20"/>
                <a:gd name="T3" fmla="*/ 11 h 22"/>
                <a:gd name="T4" fmla="*/ 17 w 20"/>
                <a:gd name="T5" fmla="*/ 2 h 22"/>
                <a:gd name="T6" fmla="*/ 8 w 20"/>
                <a:gd name="T7" fmla="*/ 0 h 22"/>
                <a:gd name="T8" fmla="*/ 0 w 20"/>
                <a:gd name="T9" fmla="*/ 0 h 22"/>
                <a:gd name="T10" fmla="*/ 0 w 20"/>
                <a:gd name="T11" fmla="*/ 22 h 22"/>
                <a:gd name="T12" fmla="*/ 6 w 20"/>
                <a:gd name="T13" fmla="*/ 22 h 22"/>
                <a:gd name="T14" fmla="*/ 17 w 20"/>
                <a:gd name="T15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2">
                  <a:moveTo>
                    <a:pt x="17" y="19"/>
                  </a:moveTo>
                  <a:cubicBezTo>
                    <a:pt x="19" y="17"/>
                    <a:pt x="20" y="14"/>
                    <a:pt x="20" y="11"/>
                  </a:cubicBezTo>
                  <a:cubicBezTo>
                    <a:pt x="20" y="7"/>
                    <a:pt x="19" y="4"/>
                    <a:pt x="17" y="2"/>
                  </a:cubicBezTo>
                  <a:cubicBezTo>
                    <a:pt x="15" y="1"/>
                    <a:pt x="1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1" y="22"/>
                    <a:pt x="14" y="21"/>
                    <a:pt x="17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Rectangle 713"/>
            <p:cNvSpPr>
              <a:spLocks noChangeArrowheads="1"/>
            </p:cNvSpPr>
            <p:nvPr/>
          </p:nvSpPr>
          <p:spPr bwMode="auto">
            <a:xfrm>
              <a:off x="2500" y="3037"/>
              <a:ext cx="128" cy="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714"/>
            <p:cNvSpPr>
              <a:spLocks/>
            </p:cNvSpPr>
            <p:nvPr/>
          </p:nvSpPr>
          <p:spPr bwMode="auto">
            <a:xfrm>
              <a:off x="2553" y="2968"/>
              <a:ext cx="19" cy="32"/>
            </a:xfrm>
            <a:custGeom>
              <a:avLst/>
              <a:gdLst>
                <a:gd name="T0" fmla="*/ 29 w 29"/>
                <a:gd name="T1" fmla="*/ 24 h 48"/>
                <a:gd name="T2" fmla="*/ 8 w 29"/>
                <a:gd name="T3" fmla="*/ 0 h 48"/>
                <a:gd name="T4" fmla="*/ 0 w 29"/>
                <a:gd name="T5" fmla="*/ 0 h 48"/>
                <a:gd name="T6" fmla="*/ 0 w 29"/>
                <a:gd name="T7" fmla="*/ 48 h 48"/>
                <a:gd name="T8" fmla="*/ 6 w 29"/>
                <a:gd name="T9" fmla="*/ 48 h 48"/>
                <a:gd name="T10" fmla="*/ 29 w 29"/>
                <a:gd name="T11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8">
                  <a:moveTo>
                    <a:pt x="29" y="24"/>
                  </a:moveTo>
                  <a:cubicBezTo>
                    <a:pt x="29" y="8"/>
                    <a:pt x="2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22" y="48"/>
                    <a:pt x="29" y="40"/>
                    <a:pt x="29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715"/>
            <p:cNvSpPr>
              <a:spLocks noEditPoints="1"/>
            </p:cNvSpPr>
            <p:nvPr/>
          </p:nvSpPr>
          <p:spPr bwMode="auto">
            <a:xfrm>
              <a:off x="2394" y="2789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362 h 512"/>
                <a:gd name="T12" fmla="*/ 394 w 512"/>
                <a:gd name="T13" fmla="*/ 373 h 512"/>
                <a:gd name="T14" fmla="*/ 373 w 512"/>
                <a:gd name="T15" fmla="*/ 373 h 512"/>
                <a:gd name="T16" fmla="*/ 373 w 512"/>
                <a:gd name="T17" fmla="*/ 405 h 512"/>
                <a:gd name="T18" fmla="*/ 362 w 512"/>
                <a:gd name="T19" fmla="*/ 416 h 512"/>
                <a:gd name="T20" fmla="*/ 149 w 512"/>
                <a:gd name="T21" fmla="*/ 416 h 512"/>
                <a:gd name="T22" fmla="*/ 138 w 512"/>
                <a:gd name="T23" fmla="*/ 405 h 512"/>
                <a:gd name="T24" fmla="*/ 138 w 512"/>
                <a:gd name="T25" fmla="*/ 373 h 512"/>
                <a:gd name="T26" fmla="*/ 117 w 512"/>
                <a:gd name="T27" fmla="*/ 373 h 512"/>
                <a:gd name="T28" fmla="*/ 106 w 512"/>
                <a:gd name="T29" fmla="*/ 362 h 512"/>
                <a:gd name="T30" fmla="*/ 106 w 512"/>
                <a:gd name="T31" fmla="*/ 224 h 512"/>
                <a:gd name="T32" fmla="*/ 117 w 512"/>
                <a:gd name="T33" fmla="*/ 213 h 512"/>
                <a:gd name="T34" fmla="*/ 138 w 512"/>
                <a:gd name="T35" fmla="*/ 213 h 512"/>
                <a:gd name="T36" fmla="*/ 138 w 512"/>
                <a:gd name="T37" fmla="*/ 106 h 512"/>
                <a:gd name="T38" fmla="*/ 149 w 512"/>
                <a:gd name="T39" fmla="*/ 96 h 512"/>
                <a:gd name="T40" fmla="*/ 288 w 512"/>
                <a:gd name="T41" fmla="*/ 96 h 512"/>
                <a:gd name="T42" fmla="*/ 292 w 512"/>
                <a:gd name="T43" fmla="*/ 96 h 512"/>
                <a:gd name="T44" fmla="*/ 295 w 512"/>
                <a:gd name="T45" fmla="*/ 99 h 512"/>
                <a:gd name="T46" fmla="*/ 370 w 512"/>
                <a:gd name="T47" fmla="*/ 173 h 512"/>
                <a:gd name="T48" fmla="*/ 372 w 512"/>
                <a:gd name="T49" fmla="*/ 177 h 512"/>
                <a:gd name="T50" fmla="*/ 373 w 512"/>
                <a:gd name="T51" fmla="*/ 181 h 512"/>
                <a:gd name="T52" fmla="*/ 373 w 512"/>
                <a:gd name="T53" fmla="*/ 213 h 512"/>
                <a:gd name="T54" fmla="*/ 394 w 512"/>
                <a:gd name="T55" fmla="*/ 213 h 512"/>
                <a:gd name="T56" fmla="*/ 405 w 512"/>
                <a:gd name="T57" fmla="*/ 224 h 512"/>
                <a:gd name="T58" fmla="*/ 405 w 512"/>
                <a:gd name="T59" fmla="*/ 3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362"/>
                  </a:moveTo>
                  <a:cubicBezTo>
                    <a:pt x="405" y="368"/>
                    <a:pt x="400" y="373"/>
                    <a:pt x="394" y="373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73"/>
                    <a:pt x="138" y="373"/>
                    <a:pt x="138" y="373"/>
                  </a:cubicBezTo>
                  <a:cubicBezTo>
                    <a:pt x="117" y="373"/>
                    <a:pt x="117" y="373"/>
                    <a:pt x="117" y="373"/>
                  </a:cubicBezTo>
                  <a:cubicBezTo>
                    <a:pt x="111" y="373"/>
                    <a:pt x="106" y="368"/>
                    <a:pt x="106" y="362"/>
                  </a:cubicBezTo>
                  <a:cubicBezTo>
                    <a:pt x="106" y="224"/>
                    <a:pt x="106" y="224"/>
                    <a:pt x="106" y="224"/>
                  </a:cubicBezTo>
                  <a:cubicBezTo>
                    <a:pt x="106" y="218"/>
                    <a:pt x="111" y="213"/>
                    <a:pt x="117" y="213"/>
                  </a:cubicBezTo>
                  <a:cubicBezTo>
                    <a:pt x="138" y="213"/>
                    <a:pt x="138" y="213"/>
                    <a:pt x="138" y="213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9" y="96"/>
                    <a:pt x="290" y="96"/>
                    <a:pt x="292" y="96"/>
                  </a:cubicBezTo>
                  <a:cubicBezTo>
                    <a:pt x="293" y="97"/>
                    <a:pt x="294" y="98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213"/>
                    <a:pt x="373" y="213"/>
                    <a:pt x="373" y="213"/>
                  </a:cubicBezTo>
                  <a:cubicBezTo>
                    <a:pt x="394" y="213"/>
                    <a:pt x="394" y="213"/>
                    <a:pt x="394" y="213"/>
                  </a:cubicBezTo>
                  <a:cubicBezTo>
                    <a:pt x="400" y="213"/>
                    <a:pt x="405" y="218"/>
                    <a:pt x="405" y="224"/>
                  </a:cubicBezTo>
                  <a:lnTo>
                    <a:pt x="405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716"/>
            <p:cNvSpPr>
              <a:spLocks noEditPoints="1"/>
            </p:cNvSpPr>
            <p:nvPr/>
          </p:nvSpPr>
          <p:spPr bwMode="auto">
            <a:xfrm>
              <a:off x="2479" y="2945"/>
              <a:ext cx="170" cy="78"/>
            </a:xfrm>
            <a:custGeom>
              <a:avLst/>
              <a:gdLst>
                <a:gd name="T0" fmla="*/ 0 w 256"/>
                <a:gd name="T1" fmla="*/ 118 h 118"/>
                <a:gd name="T2" fmla="*/ 256 w 256"/>
                <a:gd name="T3" fmla="*/ 118 h 118"/>
                <a:gd name="T4" fmla="*/ 256 w 256"/>
                <a:gd name="T5" fmla="*/ 0 h 118"/>
                <a:gd name="T6" fmla="*/ 0 w 256"/>
                <a:gd name="T7" fmla="*/ 0 h 118"/>
                <a:gd name="T8" fmla="*/ 0 w 256"/>
                <a:gd name="T9" fmla="*/ 118 h 118"/>
                <a:gd name="T10" fmla="*/ 169 w 256"/>
                <a:gd name="T11" fmla="*/ 22 h 118"/>
                <a:gd name="T12" fmla="*/ 212 w 256"/>
                <a:gd name="T13" fmla="*/ 22 h 118"/>
                <a:gd name="T14" fmla="*/ 212 w 256"/>
                <a:gd name="T15" fmla="*/ 35 h 118"/>
                <a:gd name="T16" fmla="*/ 185 w 256"/>
                <a:gd name="T17" fmla="*/ 35 h 118"/>
                <a:gd name="T18" fmla="*/ 185 w 256"/>
                <a:gd name="T19" fmla="*/ 54 h 118"/>
                <a:gd name="T20" fmla="*/ 210 w 256"/>
                <a:gd name="T21" fmla="*/ 54 h 118"/>
                <a:gd name="T22" fmla="*/ 210 w 256"/>
                <a:gd name="T23" fmla="*/ 67 h 118"/>
                <a:gd name="T24" fmla="*/ 185 w 256"/>
                <a:gd name="T25" fmla="*/ 67 h 118"/>
                <a:gd name="T26" fmla="*/ 185 w 256"/>
                <a:gd name="T27" fmla="*/ 96 h 118"/>
                <a:gd name="T28" fmla="*/ 169 w 256"/>
                <a:gd name="T29" fmla="*/ 96 h 118"/>
                <a:gd name="T30" fmla="*/ 169 w 256"/>
                <a:gd name="T31" fmla="*/ 22 h 118"/>
                <a:gd name="T32" fmla="*/ 95 w 256"/>
                <a:gd name="T33" fmla="*/ 22 h 118"/>
                <a:gd name="T34" fmla="*/ 118 w 256"/>
                <a:gd name="T35" fmla="*/ 22 h 118"/>
                <a:gd name="T36" fmla="*/ 147 w 256"/>
                <a:gd name="T37" fmla="*/ 31 h 118"/>
                <a:gd name="T38" fmla="*/ 157 w 256"/>
                <a:gd name="T39" fmla="*/ 58 h 118"/>
                <a:gd name="T40" fmla="*/ 146 w 256"/>
                <a:gd name="T41" fmla="*/ 87 h 118"/>
                <a:gd name="T42" fmla="*/ 116 w 256"/>
                <a:gd name="T43" fmla="*/ 96 h 118"/>
                <a:gd name="T44" fmla="*/ 95 w 256"/>
                <a:gd name="T45" fmla="*/ 96 h 118"/>
                <a:gd name="T46" fmla="*/ 95 w 256"/>
                <a:gd name="T47" fmla="*/ 22 h 118"/>
                <a:gd name="T48" fmla="*/ 32 w 256"/>
                <a:gd name="T49" fmla="*/ 22 h 118"/>
                <a:gd name="T50" fmla="*/ 56 w 256"/>
                <a:gd name="T51" fmla="*/ 22 h 118"/>
                <a:gd name="T52" fmla="*/ 76 w 256"/>
                <a:gd name="T53" fmla="*/ 28 h 118"/>
                <a:gd name="T54" fmla="*/ 83 w 256"/>
                <a:gd name="T55" fmla="*/ 45 h 118"/>
                <a:gd name="T56" fmla="*/ 76 w 256"/>
                <a:gd name="T57" fmla="*/ 63 h 118"/>
                <a:gd name="T58" fmla="*/ 54 w 256"/>
                <a:gd name="T59" fmla="*/ 70 h 118"/>
                <a:gd name="T60" fmla="*/ 47 w 256"/>
                <a:gd name="T61" fmla="*/ 70 h 118"/>
                <a:gd name="T62" fmla="*/ 47 w 256"/>
                <a:gd name="T63" fmla="*/ 96 h 118"/>
                <a:gd name="T64" fmla="*/ 32 w 256"/>
                <a:gd name="T65" fmla="*/ 96 h 118"/>
                <a:gd name="T66" fmla="*/ 32 w 256"/>
                <a:gd name="T67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6" h="118">
                  <a:moveTo>
                    <a:pt x="0" y="118"/>
                  </a:moveTo>
                  <a:cubicBezTo>
                    <a:pt x="256" y="118"/>
                    <a:pt x="256" y="118"/>
                    <a:pt x="256" y="11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8"/>
                  </a:lnTo>
                  <a:close/>
                  <a:moveTo>
                    <a:pt x="169" y="22"/>
                  </a:moveTo>
                  <a:cubicBezTo>
                    <a:pt x="212" y="22"/>
                    <a:pt x="212" y="22"/>
                    <a:pt x="212" y="22"/>
                  </a:cubicBezTo>
                  <a:cubicBezTo>
                    <a:pt x="212" y="35"/>
                    <a:pt x="212" y="35"/>
                    <a:pt x="212" y="35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185" y="54"/>
                    <a:pt x="185" y="54"/>
                    <a:pt x="185" y="54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10" y="67"/>
                    <a:pt x="210" y="67"/>
                    <a:pt x="210" y="67"/>
                  </a:cubicBezTo>
                  <a:cubicBezTo>
                    <a:pt x="185" y="67"/>
                    <a:pt x="185" y="67"/>
                    <a:pt x="185" y="67"/>
                  </a:cubicBezTo>
                  <a:cubicBezTo>
                    <a:pt x="185" y="96"/>
                    <a:pt x="185" y="96"/>
                    <a:pt x="185" y="96"/>
                  </a:cubicBezTo>
                  <a:cubicBezTo>
                    <a:pt x="169" y="96"/>
                    <a:pt x="169" y="96"/>
                    <a:pt x="169" y="96"/>
                  </a:cubicBezTo>
                  <a:lnTo>
                    <a:pt x="169" y="22"/>
                  </a:lnTo>
                  <a:close/>
                  <a:moveTo>
                    <a:pt x="95" y="22"/>
                  </a:moveTo>
                  <a:cubicBezTo>
                    <a:pt x="118" y="22"/>
                    <a:pt x="118" y="22"/>
                    <a:pt x="118" y="22"/>
                  </a:cubicBezTo>
                  <a:cubicBezTo>
                    <a:pt x="130" y="22"/>
                    <a:pt x="140" y="25"/>
                    <a:pt x="147" y="31"/>
                  </a:cubicBezTo>
                  <a:cubicBezTo>
                    <a:pt x="153" y="38"/>
                    <a:pt x="157" y="47"/>
                    <a:pt x="157" y="58"/>
                  </a:cubicBezTo>
                  <a:cubicBezTo>
                    <a:pt x="157" y="71"/>
                    <a:pt x="153" y="80"/>
                    <a:pt x="146" y="87"/>
                  </a:cubicBezTo>
                  <a:cubicBezTo>
                    <a:pt x="139" y="93"/>
                    <a:pt x="129" y="96"/>
                    <a:pt x="116" y="96"/>
                  </a:cubicBezTo>
                  <a:cubicBezTo>
                    <a:pt x="95" y="96"/>
                    <a:pt x="95" y="96"/>
                    <a:pt x="95" y="96"/>
                  </a:cubicBezTo>
                  <a:lnTo>
                    <a:pt x="95" y="22"/>
                  </a:lnTo>
                  <a:close/>
                  <a:moveTo>
                    <a:pt x="32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65" y="22"/>
                    <a:pt x="71" y="24"/>
                    <a:pt x="76" y="28"/>
                  </a:cubicBezTo>
                  <a:cubicBezTo>
                    <a:pt x="81" y="31"/>
                    <a:pt x="83" y="37"/>
                    <a:pt x="83" y="45"/>
                  </a:cubicBezTo>
                  <a:cubicBezTo>
                    <a:pt x="83" y="53"/>
                    <a:pt x="81" y="59"/>
                    <a:pt x="76" y="63"/>
                  </a:cubicBezTo>
                  <a:cubicBezTo>
                    <a:pt x="71" y="68"/>
                    <a:pt x="64" y="70"/>
                    <a:pt x="54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96"/>
                    <a:pt x="47" y="96"/>
                    <a:pt x="47" y="96"/>
                  </a:cubicBezTo>
                  <a:cubicBezTo>
                    <a:pt x="32" y="96"/>
                    <a:pt x="32" y="96"/>
                    <a:pt x="32" y="96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6" name="Freeform 717"/>
            <p:cNvSpPr>
              <a:spLocks/>
            </p:cNvSpPr>
            <p:nvPr/>
          </p:nvSpPr>
          <p:spPr bwMode="auto">
            <a:xfrm>
              <a:off x="2592" y="2877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97" name="Group 720"/>
          <p:cNvGrpSpPr>
            <a:grpSpLocks noChangeAspect="1"/>
          </p:cNvGrpSpPr>
          <p:nvPr/>
        </p:nvGrpSpPr>
        <p:grpSpPr bwMode="auto">
          <a:xfrm>
            <a:off x="2918735" y="3743934"/>
            <a:ext cx="368712" cy="368712"/>
            <a:chOff x="2731" y="2789"/>
            <a:chExt cx="341" cy="341"/>
          </a:xfrm>
          <a:solidFill>
            <a:schemeClr val="accent2"/>
          </a:solidFill>
        </p:grpSpPr>
        <p:sp>
          <p:nvSpPr>
            <p:cNvPr id="598" name="Freeform 721"/>
            <p:cNvSpPr>
              <a:spLocks noEditPoints="1"/>
            </p:cNvSpPr>
            <p:nvPr/>
          </p:nvSpPr>
          <p:spPr bwMode="auto">
            <a:xfrm>
              <a:off x="2731" y="2789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9" name="Freeform 722"/>
            <p:cNvSpPr>
              <a:spLocks noEditPoints="1"/>
            </p:cNvSpPr>
            <p:nvPr/>
          </p:nvSpPr>
          <p:spPr bwMode="auto">
            <a:xfrm>
              <a:off x="2802" y="2853"/>
              <a:ext cx="199" cy="213"/>
            </a:xfrm>
            <a:custGeom>
              <a:avLst/>
              <a:gdLst>
                <a:gd name="T0" fmla="*/ 267 w 299"/>
                <a:gd name="T1" fmla="*/ 117 h 320"/>
                <a:gd name="T2" fmla="*/ 266 w 299"/>
                <a:gd name="T3" fmla="*/ 81 h 320"/>
                <a:gd name="T4" fmla="*/ 189 w 299"/>
                <a:gd name="T5" fmla="*/ 3 h 320"/>
                <a:gd name="T6" fmla="*/ 182 w 299"/>
                <a:gd name="T7" fmla="*/ 0 h 320"/>
                <a:gd name="T8" fmla="*/ 32 w 299"/>
                <a:gd name="T9" fmla="*/ 10 h 320"/>
                <a:gd name="T10" fmla="*/ 11 w 299"/>
                <a:gd name="T11" fmla="*/ 117 h 320"/>
                <a:gd name="T12" fmla="*/ 0 w 299"/>
                <a:gd name="T13" fmla="*/ 266 h 320"/>
                <a:gd name="T14" fmla="*/ 32 w 299"/>
                <a:gd name="T15" fmla="*/ 277 h 320"/>
                <a:gd name="T16" fmla="*/ 43 w 299"/>
                <a:gd name="T17" fmla="*/ 320 h 320"/>
                <a:gd name="T18" fmla="*/ 267 w 299"/>
                <a:gd name="T19" fmla="*/ 309 h 320"/>
                <a:gd name="T20" fmla="*/ 288 w 299"/>
                <a:gd name="T21" fmla="*/ 277 h 320"/>
                <a:gd name="T22" fmla="*/ 299 w 299"/>
                <a:gd name="T23" fmla="*/ 128 h 320"/>
                <a:gd name="T24" fmla="*/ 192 w 299"/>
                <a:gd name="T25" fmla="*/ 36 h 320"/>
                <a:gd name="T26" fmla="*/ 192 w 299"/>
                <a:gd name="T27" fmla="*/ 74 h 320"/>
                <a:gd name="T28" fmla="*/ 54 w 299"/>
                <a:gd name="T29" fmla="*/ 21 h 320"/>
                <a:gd name="T30" fmla="*/ 171 w 299"/>
                <a:gd name="T31" fmla="*/ 85 h 320"/>
                <a:gd name="T32" fmla="*/ 246 w 299"/>
                <a:gd name="T33" fmla="*/ 96 h 320"/>
                <a:gd name="T34" fmla="*/ 54 w 299"/>
                <a:gd name="T35" fmla="*/ 117 h 320"/>
                <a:gd name="T36" fmla="*/ 246 w 299"/>
                <a:gd name="T37" fmla="*/ 298 h 320"/>
                <a:gd name="T38" fmla="*/ 54 w 299"/>
                <a:gd name="T39" fmla="*/ 277 h 320"/>
                <a:gd name="T40" fmla="*/ 246 w 299"/>
                <a:gd name="T41" fmla="*/ 298 h 320"/>
                <a:gd name="T42" fmla="*/ 22 w 299"/>
                <a:gd name="T43" fmla="*/ 256 h 320"/>
                <a:gd name="T44" fmla="*/ 278 w 299"/>
                <a:gd name="T45" fmla="*/ 138 h 320"/>
                <a:gd name="T46" fmla="*/ 168 w 299"/>
                <a:gd name="T47" fmla="*/ 225 h 320"/>
                <a:gd name="T48" fmla="*/ 169 w 299"/>
                <a:gd name="T49" fmla="*/ 169 h 320"/>
                <a:gd name="T50" fmla="*/ 117 w 299"/>
                <a:gd name="T51" fmla="*/ 160 h 320"/>
                <a:gd name="T52" fmla="*/ 138 w 299"/>
                <a:gd name="T53" fmla="*/ 234 h 320"/>
                <a:gd name="T54" fmla="*/ 133 w 299"/>
                <a:gd name="T55" fmla="*/ 173 h 320"/>
                <a:gd name="T56" fmla="*/ 162 w 299"/>
                <a:gd name="T57" fmla="*/ 197 h 320"/>
                <a:gd name="T58" fmla="*/ 133 w 299"/>
                <a:gd name="T59" fmla="*/ 221 h 320"/>
                <a:gd name="T60" fmla="*/ 69 w 299"/>
                <a:gd name="T61" fmla="*/ 208 h 320"/>
                <a:gd name="T62" fmla="*/ 98 w 299"/>
                <a:gd name="T63" fmla="*/ 201 h 320"/>
                <a:gd name="T64" fmla="*/ 98 w 299"/>
                <a:gd name="T65" fmla="*/ 166 h 320"/>
                <a:gd name="T66" fmla="*/ 54 w 299"/>
                <a:gd name="T67" fmla="*/ 160 h 320"/>
                <a:gd name="T68" fmla="*/ 69 w 299"/>
                <a:gd name="T69" fmla="*/ 234 h 320"/>
                <a:gd name="T70" fmla="*/ 69 w 299"/>
                <a:gd name="T71" fmla="*/ 173 h 320"/>
                <a:gd name="T72" fmla="*/ 86 w 299"/>
                <a:gd name="T73" fmla="*/ 175 h 320"/>
                <a:gd name="T74" fmla="*/ 86 w 299"/>
                <a:gd name="T75" fmla="*/ 192 h 320"/>
                <a:gd name="T76" fmla="*/ 69 w 299"/>
                <a:gd name="T77" fmla="*/ 195 h 320"/>
                <a:gd name="T78" fmla="*/ 207 w 299"/>
                <a:gd name="T79" fmla="*/ 234 h 320"/>
                <a:gd name="T80" fmla="*/ 191 w 299"/>
                <a:gd name="T81" fmla="*/ 160 h 320"/>
                <a:gd name="T82" fmla="*/ 234 w 299"/>
                <a:gd name="T83" fmla="*/ 173 h 320"/>
                <a:gd name="T84" fmla="*/ 207 w 299"/>
                <a:gd name="T85" fmla="*/ 192 h 320"/>
                <a:gd name="T86" fmla="*/ 232 w 299"/>
                <a:gd name="T87" fmla="*/ 205 h 320"/>
                <a:gd name="T88" fmla="*/ 207 w 299"/>
                <a:gd name="T89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9" h="320">
                  <a:moveTo>
                    <a:pt x="288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7" y="84"/>
                    <a:pt x="267" y="82"/>
                    <a:pt x="266" y="81"/>
                  </a:cubicBezTo>
                  <a:cubicBezTo>
                    <a:pt x="266" y="80"/>
                    <a:pt x="265" y="78"/>
                    <a:pt x="264" y="77"/>
                  </a:cubicBezTo>
                  <a:cubicBezTo>
                    <a:pt x="189" y="3"/>
                    <a:pt x="189" y="3"/>
                    <a:pt x="189" y="3"/>
                  </a:cubicBezTo>
                  <a:cubicBezTo>
                    <a:pt x="188" y="2"/>
                    <a:pt x="187" y="1"/>
                    <a:pt x="186" y="0"/>
                  </a:cubicBezTo>
                  <a:cubicBezTo>
                    <a:pt x="184" y="0"/>
                    <a:pt x="183" y="0"/>
                    <a:pt x="18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62" y="320"/>
                    <a:pt x="267" y="315"/>
                    <a:pt x="267" y="309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128"/>
                    <a:pt x="299" y="128"/>
                    <a:pt x="299" y="128"/>
                  </a:cubicBezTo>
                  <a:cubicBezTo>
                    <a:pt x="299" y="122"/>
                    <a:pt x="294" y="117"/>
                    <a:pt x="288" y="117"/>
                  </a:cubicBezTo>
                  <a:close/>
                  <a:moveTo>
                    <a:pt x="192" y="36"/>
                  </a:moveTo>
                  <a:cubicBezTo>
                    <a:pt x="231" y="74"/>
                    <a:pt x="231" y="74"/>
                    <a:pt x="231" y="74"/>
                  </a:cubicBezTo>
                  <a:cubicBezTo>
                    <a:pt x="192" y="74"/>
                    <a:pt x="192" y="74"/>
                    <a:pt x="192" y="74"/>
                  </a:cubicBezTo>
                  <a:lnTo>
                    <a:pt x="192" y="36"/>
                  </a:lnTo>
                  <a:close/>
                  <a:moveTo>
                    <a:pt x="54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91"/>
                    <a:pt x="176" y="96"/>
                    <a:pt x="182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7"/>
                    <a:pt x="246" y="117"/>
                    <a:pt x="246" y="117"/>
                  </a:cubicBezTo>
                  <a:cubicBezTo>
                    <a:pt x="54" y="117"/>
                    <a:pt x="54" y="117"/>
                    <a:pt x="54" y="117"/>
                  </a:cubicBezTo>
                  <a:lnTo>
                    <a:pt x="54" y="21"/>
                  </a:lnTo>
                  <a:close/>
                  <a:moveTo>
                    <a:pt x="246" y="298"/>
                  </a:moveTo>
                  <a:cubicBezTo>
                    <a:pt x="54" y="298"/>
                    <a:pt x="54" y="298"/>
                    <a:pt x="54" y="298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246" y="277"/>
                    <a:pt x="246" y="277"/>
                    <a:pt x="246" y="277"/>
                  </a:cubicBezTo>
                  <a:lnTo>
                    <a:pt x="246" y="298"/>
                  </a:lnTo>
                  <a:close/>
                  <a:moveTo>
                    <a:pt x="278" y="256"/>
                  </a:moveTo>
                  <a:cubicBezTo>
                    <a:pt x="22" y="256"/>
                    <a:pt x="22" y="256"/>
                    <a:pt x="22" y="256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78" y="138"/>
                    <a:pt x="278" y="138"/>
                    <a:pt x="278" y="138"/>
                  </a:cubicBezTo>
                  <a:lnTo>
                    <a:pt x="278" y="256"/>
                  </a:lnTo>
                  <a:close/>
                  <a:moveTo>
                    <a:pt x="168" y="225"/>
                  </a:moveTo>
                  <a:cubicBezTo>
                    <a:pt x="175" y="218"/>
                    <a:pt x="179" y="209"/>
                    <a:pt x="179" y="196"/>
                  </a:cubicBezTo>
                  <a:cubicBezTo>
                    <a:pt x="179" y="185"/>
                    <a:pt x="175" y="176"/>
                    <a:pt x="169" y="169"/>
                  </a:cubicBezTo>
                  <a:cubicBezTo>
                    <a:pt x="162" y="163"/>
                    <a:pt x="152" y="160"/>
                    <a:pt x="140" y="160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17" y="234"/>
                    <a:pt x="117" y="234"/>
                    <a:pt x="117" y="234"/>
                  </a:cubicBezTo>
                  <a:cubicBezTo>
                    <a:pt x="138" y="234"/>
                    <a:pt x="138" y="234"/>
                    <a:pt x="138" y="234"/>
                  </a:cubicBezTo>
                  <a:cubicBezTo>
                    <a:pt x="151" y="234"/>
                    <a:pt x="161" y="231"/>
                    <a:pt x="168" y="225"/>
                  </a:cubicBezTo>
                  <a:close/>
                  <a:moveTo>
                    <a:pt x="133" y="173"/>
                  </a:moveTo>
                  <a:cubicBezTo>
                    <a:pt x="141" y="173"/>
                    <a:pt x="141" y="173"/>
                    <a:pt x="141" y="173"/>
                  </a:cubicBezTo>
                  <a:cubicBezTo>
                    <a:pt x="155" y="173"/>
                    <a:pt x="162" y="181"/>
                    <a:pt x="162" y="197"/>
                  </a:cubicBezTo>
                  <a:cubicBezTo>
                    <a:pt x="162" y="213"/>
                    <a:pt x="155" y="221"/>
                    <a:pt x="139" y="221"/>
                  </a:cubicBezTo>
                  <a:cubicBezTo>
                    <a:pt x="133" y="221"/>
                    <a:pt x="133" y="221"/>
                    <a:pt x="133" y="221"/>
                  </a:cubicBezTo>
                  <a:lnTo>
                    <a:pt x="133" y="173"/>
                  </a:lnTo>
                  <a:close/>
                  <a:moveTo>
                    <a:pt x="69" y="208"/>
                  </a:moveTo>
                  <a:cubicBezTo>
                    <a:pt x="76" y="208"/>
                    <a:pt x="76" y="208"/>
                    <a:pt x="76" y="208"/>
                  </a:cubicBezTo>
                  <a:cubicBezTo>
                    <a:pt x="86" y="208"/>
                    <a:pt x="93" y="206"/>
                    <a:pt x="98" y="201"/>
                  </a:cubicBezTo>
                  <a:cubicBezTo>
                    <a:pt x="103" y="197"/>
                    <a:pt x="105" y="191"/>
                    <a:pt x="105" y="183"/>
                  </a:cubicBezTo>
                  <a:cubicBezTo>
                    <a:pt x="105" y="175"/>
                    <a:pt x="103" y="169"/>
                    <a:pt x="98" y="166"/>
                  </a:cubicBezTo>
                  <a:cubicBezTo>
                    <a:pt x="93" y="162"/>
                    <a:pt x="87" y="160"/>
                    <a:pt x="78" y="160"/>
                  </a:cubicBezTo>
                  <a:cubicBezTo>
                    <a:pt x="54" y="160"/>
                    <a:pt x="54" y="160"/>
                    <a:pt x="54" y="160"/>
                  </a:cubicBezTo>
                  <a:cubicBezTo>
                    <a:pt x="54" y="234"/>
                    <a:pt x="54" y="234"/>
                    <a:pt x="54" y="234"/>
                  </a:cubicBezTo>
                  <a:cubicBezTo>
                    <a:pt x="69" y="234"/>
                    <a:pt x="69" y="234"/>
                    <a:pt x="69" y="234"/>
                  </a:cubicBezTo>
                  <a:lnTo>
                    <a:pt x="69" y="208"/>
                  </a:lnTo>
                  <a:close/>
                  <a:moveTo>
                    <a:pt x="69" y="173"/>
                  </a:moveTo>
                  <a:cubicBezTo>
                    <a:pt x="77" y="173"/>
                    <a:pt x="77" y="173"/>
                    <a:pt x="77" y="173"/>
                  </a:cubicBezTo>
                  <a:cubicBezTo>
                    <a:pt x="81" y="173"/>
                    <a:pt x="84" y="174"/>
                    <a:pt x="86" y="175"/>
                  </a:cubicBezTo>
                  <a:cubicBezTo>
                    <a:pt x="88" y="177"/>
                    <a:pt x="89" y="180"/>
                    <a:pt x="89" y="184"/>
                  </a:cubicBezTo>
                  <a:cubicBezTo>
                    <a:pt x="89" y="187"/>
                    <a:pt x="88" y="190"/>
                    <a:pt x="86" y="192"/>
                  </a:cubicBezTo>
                  <a:cubicBezTo>
                    <a:pt x="83" y="194"/>
                    <a:pt x="80" y="195"/>
                    <a:pt x="75" y="195"/>
                  </a:cubicBezTo>
                  <a:cubicBezTo>
                    <a:pt x="69" y="195"/>
                    <a:pt x="69" y="195"/>
                    <a:pt x="69" y="195"/>
                  </a:cubicBezTo>
                  <a:lnTo>
                    <a:pt x="69" y="173"/>
                  </a:lnTo>
                  <a:close/>
                  <a:moveTo>
                    <a:pt x="207" y="234"/>
                  </a:moveTo>
                  <a:cubicBezTo>
                    <a:pt x="191" y="234"/>
                    <a:pt x="191" y="234"/>
                    <a:pt x="191" y="234"/>
                  </a:cubicBezTo>
                  <a:cubicBezTo>
                    <a:pt x="191" y="160"/>
                    <a:pt x="191" y="160"/>
                    <a:pt x="191" y="160"/>
                  </a:cubicBezTo>
                  <a:cubicBezTo>
                    <a:pt x="234" y="160"/>
                    <a:pt x="234" y="160"/>
                    <a:pt x="234" y="160"/>
                  </a:cubicBezTo>
                  <a:cubicBezTo>
                    <a:pt x="234" y="173"/>
                    <a:pt x="234" y="173"/>
                    <a:pt x="234" y="173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7" y="192"/>
                    <a:pt x="207" y="192"/>
                    <a:pt x="207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205"/>
                    <a:pt x="232" y="205"/>
                    <a:pt x="232" y="205"/>
                  </a:cubicBezTo>
                  <a:cubicBezTo>
                    <a:pt x="207" y="205"/>
                    <a:pt x="207" y="205"/>
                    <a:pt x="207" y="205"/>
                  </a:cubicBezTo>
                  <a:lnTo>
                    <a:pt x="207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00" name="Freeform 726"/>
          <p:cNvSpPr>
            <a:spLocks noChangeAspect="1" noEditPoints="1"/>
          </p:cNvSpPr>
          <p:nvPr/>
        </p:nvSpPr>
        <p:spPr bwMode="auto">
          <a:xfrm>
            <a:off x="3416912" y="3743937"/>
            <a:ext cx="367631" cy="368713"/>
          </a:xfrm>
          <a:custGeom>
            <a:avLst/>
            <a:gdLst>
              <a:gd name="T0" fmla="*/ 337 w 512"/>
              <a:gd name="T1" fmla="*/ 170 h 512"/>
              <a:gd name="T2" fmla="*/ 298 w 512"/>
              <a:gd name="T3" fmla="*/ 170 h 512"/>
              <a:gd name="T4" fmla="*/ 298 w 512"/>
              <a:gd name="T5" fmla="*/ 132 h 512"/>
              <a:gd name="T6" fmla="*/ 337 w 512"/>
              <a:gd name="T7" fmla="*/ 170 h 512"/>
              <a:gd name="T8" fmla="*/ 225 w 512"/>
              <a:gd name="T9" fmla="*/ 282 h 512"/>
              <a:gd name="T10" fmla="*/ 202 w 512"/>
              <a:gd name="T11" fmla="*/ 316 h 512"/>
              <a:gd name="T12" fmla="*/ 202 w 512"/>
              <a:gd name="T13" fmla="*/ 245 h 512"/>
              <a:gd name="T14" fmla="*/ 309 w 512"/>
              <a:gd name="T15" fmla="*/ 245 h 512"/>
              <a:gd name="T16" fmla="*/ 309 w 512"/>
              <a:gd name="T17" fmla="*/ 341 h 512"/>
              <a:gd name="T18" fmla="*/ 283 w 512"/>
              <a:gd name="T19" fmla="*/ 341 h 512"/>
              <a:gd name="T20" fmla="*/ 243 w 512"/>
              <a:gd name="T21" fmla="*/ 282 h 512"/>
              <a:gd name="T22" fmla="*/ 225 w 512"/>
              <a:gd name="T23" fmla="*/ 282 h 512"/>
              <a:gd name="T24" fmla="*/ 266 w 512"/>
              <a:gd name="T25" fmla="*/ 277 h 512"/>
              <a:gd name="T26" fmla="*/ 277 w 512"/>
              <a:gd name="T27" fmla="*/ 288 h 512"/>
              <a:gd name="T28" fmla="*/ 288 w 512"/>
              <a:gd name="T29" fmla="*/ 277 h 512"/>
              <a:gd name="T30" fmla="*/ 277 w 512"/>
              <a:gd name="T31" fmla="*/ 266 h 512"/>
              <a:gd name="T32" fmla="*/ 266 w 512"/>
              <a:gd name="T33" fmla="*/ 277 h 512"/>
              <a:gd name="T34" fmla="*/ 212 w 512"/>
              <a:gd name="T35" fmla="*/ 341 h 512"/>
              <a:gd name="T36" fmla="*/ 257 w 512"/>
              <a:gd name="T37" fmla="*/ 341 h 512"/>
              <a:gd name="T38" fmla="*/ 234 w 512"/>
              <a:gd name="T39" fmla="*/ 307 h 512"/>
              <a:gd name="T40" fmla="*/ 212 w 512"/>
              <a:gd name="T41" fmla="*/ 341 h 512"/>
              <a:gd name="T42" fmla="*/ 288 w 512"/>
              <a:gd name="T43" fmla="*/ 192 h 512"/>
              <a:gd name="T44" fmla="*/ 352 w 512"/>
              <a:gd name="T45" fmla="*/ 192 h 512"/>
              <a:gd name="T46" fmla="*/ 352 w 512"/>
              <a:gd name="T47" fmla="*/ 394 h 512"/>
              <a:gd name="T48" fmla="*/ 160 w 512"/>
              <a:gd name="T49" fmla="*/ 394 h 512"/>
              <a:gd name="T50" fmla="*/ 160 w 512"/>
              <a:gd name="T51" fmla="*/ 117 h 512"/>
              <a:gd name="T52" fmla="*/ 277 w 512"/>
              <a:gd name="T53" fmla="*/ 117 h 512"/>
              <a:gd name="T54" fmla="*/ 277 w 512"/>
              <a:gd name="T55" fmla="*/ 181 h 512"/>
              <a:gd name="T56" fmla="*/ 288 w 512"/>
              <a:gd name="T57" fmla="*/ 192 h 512"/>
              <a:gd name="T58" fmla="*/ 320 w 512"/>
              <a:gd name="T59" fmla="*/ 224 h 512"/>
              <a:gd name="T60" fmla="*/ 192 w 512"/>
              <a:gd name="T61" fmla="*/ 224 h 512"/>
              <a:gd name="T62" fmla="*/ 181 w 512"/>
              <a:gd name="T63" fmla="*/ 234 h 512"/>
              <a:gd name="T64" fmla="*/ 181 w 512"/>
              <a:gd name="T65" fmla="*/ 352 h 512"/>
              <a:gd name="T66" fmla="*/ 192 w 512"/>
              <a:gd name="T67" fmla="*/ 362 h 512"/>
              <a:gd name="T68" fmla="*/ 320 w 512"/>
              <a:gd name="T69" fmla="*/ 362 h 512"/>
              <a:gd name="T70" fmla="*/ 330 w 512"/>
              <a:gd name="T71" fmla="*/ 352 h 512"/>
              <a:gd name="T72" fmla="*/ 330 w 512"/>
              <a:gd name="T73" fmla="*/ 234 h 512"/>
              <a:gd name="T74" fmla="*/ 320 w 512"/>
              <a:gd name="T75" fmla="*/ 224 h 512"/>
              <a:gd name="T76" fmla="*/ 512 w 512"/>
              <a:gd name="T77" fmla="*/ 256 h 512"/>
              <a:gd name="T78" fmla="*/ 256 w 512"/>
              <a:gd name="T79" fmla="*/ 512 h 512"/>
              <a:gd name="T80" fmla="*/ 0 w 512"/>
              <a:gd name="T81" fmla="*/ 256 h 512"/>
              <a:gd name="T82" fmla="*/ 256 w 512"/>
              <a:gd name="T83" fmla="*/ 0 h 512"/>
              <a:gd name="T84" fmla="*/ 512 w 512"/>
              <a:gd name="T85" fmla="*/ 256 h 512"/>
              <a:gd name="T86" fmla="*/ 373 w 512"/>
              <a:gd name="T87" fmla="*/ 181 h 512"/>
              <a:gd name="T88" fmla="*/ 372 w 512"/>
              <a:gd name="T89" fmla="*/ 177 h 512"/>
              <a:gd name="T90" fmla="*/ 370 w 512"/>
              <a:gd name="T91" fmla="*/ 173 h 512"/>
              <a:gd name="T92" fmla="*/ 295 w 512"/>
              <a:gd name="T93" fmla="*/ 99 h 512"/>
              <a:gd name="T94" fmla="*/ 295 w 512"/>
              <a:gd name="T95" fmla="*/ 98 h 512"/>
              <a:gd name="T96" fmla="*/ 295 w 512"/>
              <a:gd name="T97" fmla="*/ 98 h 512"/>
              <a:gd name="T98" fmla="*/ 295 w 512"/>
              <a:gd name="T99" fmla="*/ 98 h 512"/>
              <a:gd name="T100" fmla="*/ 288 w 512"/>
              <a:gd name="T101" fmla="*/ 96 h 512"/>
              <a:gd name="T102" fmla="*/ 149 w 512"/>
              <a:gd name="T103" fmla="*/ 96 h 512"/>
              <a:gd name="T104" fmla="*/ 138 w 512"/>
              <a:gd name="T105" fmla="*/ 106 h 512"/>
              <a:gd name="T106" fmla="*/ 138 w 512"/>
              <a:gd name="T107" fmla="*/ 405 h 512"/>
              <a:gd name="T108" fmla="*/ 149 w 512"/>
              <a:gd name="T109" fmla="*/ 416 h 512"/>
              <a:gd name="T110" fmla="*/ 362 w 512"/>
              <a:gd name="T111" fmla="*/ 416 h 512"/>
              <a:gd name="T112" fmla="*/ 373 w 512"/>
              <a:gd name="T113" fmla="*/ 405 h 512"/>
              <a:gd name="T114" fmla="*/ 373 w 512"/>
              <a:gd name="T115" fmla="*/ 181 h 512"/>
              <a:gd name="T116" fmla="*/ 373 w 512"/>
              <a:gd name="T117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337" y="170"/>
                </a:moveTo>
                <a:cubicBezTo>
                  <a:pt x="298" y="170"/>
                  <a:pt x="298" y="170"/>
                  <a:pt x="298" y="170"/>
                </a:cubicBezTo>
                <a:cubicBezTo>
                  <a:pt x="298" y="132"/>
                  <a:pt x="298" y="132"/>
                  <a:pt x="298" y="132"/>
                </a:cubicBezTo>
                <a:lnTo>
                  <a:pt x="337" y="170"/>
                </a:lnTo>
                <a:close/>
                <a:moveTo>
                  <a:pt x="225" y="282"/>
                </a:moveTo>
                <a:cubicBezTo>
                  <a:pt x="202" y="316"/>
                  <a:pt x="202" y="316"/>
                  <a:pt x="202" y="316"/>
                </a:cubicBezTo>
                <a:cubicBezTo>
                  <a:pt x="202" y="245"/>
                  <a:pt x="202" y="245"/>
                  <a:pt x="202" y="245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283" y="341"/>
                  <a:pt x="283" y="341"/>
                  <a:pt x="283" y="341"/>
                </a:cubicBezTo>
                <a:cubicBezTo>
                  <a:pt x="243" y="282"/>
                  <a:pt x="243" y="282"/>
                  <a:pt x="243" y="282"/>
                </a:cubicBezTo>
                <a:cubicBezTo>
                  <a:pt x="239" y="276"/>
                  <a:pt x="229" y="276"/>
                  <a:pt x="225" y="282"/>
                </a:cubicBezTo>
                <a:close/>
                <a:moveTo>
                  <a:pt x="266" y="277"/>
                </a:moveTo>
                <a:cubicBezTo>
                  <a:pt x="266" y="283"/>
                  <a:pt x="271" y="288"/>
                  <a:pt x="277" y="288"/>
                </a:cubicBezTo>
                <a:cubicBezTo>
                  <a:pt x="283" y="288"/>
                  <a:pt x="288" y="283"/>
                  <a:pt x="288" y="277"/>
                </a:cubicBezTo>
                <a:cubicBezTo>
                  <a:pt x="288" y="271"/>
                  <a:pt x="283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lose/>
                <a:moveTo>
                  <a:pt x="212" y="341"/>
                </a:moveTo>
                <a:cubicBezTo>
                  <a:pt x="257" y="341"/>
                  <a:pt x="257" y="341"/>
                  <a:pt x="257" y="341"/>
                </a:cubicBezTo>
                <a:cubicBezTo>
                  <a:pt x="234" y="307"/>
                  <a:pt x="234" y="307"/>
                  <a:pt x="234" y="307"/>
                </a:cubicBezTo>
                <a:lnTo>
                  <a:pt x="212" y="341"/>
                </a:lnTo>
                <a:close/>
                <a:moveTo>
                  <a:pt x="288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277" y="117"/>
                  <a:pt x="277" y="117"/>
                  <a:pt x="277" y="117"/>
                </a:cubicBezTo>
                <a:cubicBezTo>
                  <a:pt x="277" y="181"/>
                  <a:pt x="277" y="181"/>
                  <a:pt x="277" y="181"/>
                </a:cubicBezTo>
                <a:cubicBezTo>
                  <a:pt x="277" y="187"/>
                  <a:pt x="282" y="192"/>
                  <a:pt x="288" y="192"/>
                </a:cubicBezTo>
                <a:close/>
                <a:moveTo>
                  <a:pt x="320" y="224"/>
                </a:moveTo>
                <a:cubicBezTo>
                  <a:pt x="192" y="224"/>
                  <a:pt x="192" y="224"/>
                  <a:pt x="192" y="224"/>
                </a:cubicBezTo>
                <a:cubicBezTo>
                  <a:pt x="186" y="224"/>
                  <a:pt x="181" y="228"/>
                  <a:pt x="181" y="234"/>
                </a:cubicBezTo>
                <a:cubicBezTo>
                  <a:pt x="181" y="352"/>
                  <a:pt x="181" y="352"/>
                  <a:pt x="181" y="352"/>
                </a:cubicBezTo>
                <a:cubicBezTo>
                  <a:pt x="181" y="358"/>
                  <a:pt x="186" y="362"/>
                  <a:pt x="192" y="362"/>
                </a:cubicBezTo>
                <a:cubicBezTo>
                  <a:pt x="320" y="362"/>
                  <a:pt x="320" y="362"/>
                  <a:pt x="320" y="362"/>
                </a:cubicBezTo>
                <a:cubicBezTo>
                  <a:pt x="326" y="362"/>
                  <a:pt x="330" y="358"/>
                  <a:pt x="330" y="352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0" y="228"/>
                  <a:pt x="326" y="224"/>
                  <a:pt x="320" y="22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81"/>
                </a:moveTo>
                <a:cubicBezTo>
                  <a:pt x="373" y="180"/>
                  <a:pt x="373" y="178"/>
                  <a:pt x="372" y="177"/>
                </a:cubicBezTo>
                <a:cubicBezTo>
                  <a:pt x="372" y="176"/>
                  <a:pt x="371" y="174"/>
                  <a:pt x="370" y="173"/>
                </a:cubicBezTo>
                <a:cubicBezTo>
                  <a:pt x="295" y="99"/>
                  <a:pt x="295" y="99"/>
                  <a:pt x="295" y="99"/>
                </a:cubicBezTo>
                <a:cubicBezTo>
                  <a:pt x="295" y="99"/>
                  <a:pt x="295" y="99"/>
                  <a:pt x="295" y="98"/>
                </a:cubicBezTo>
                <a:cubicBezTo>
                  <a:pt x="295" y="98"/>
                  <a:pt x="295" y="98"/>
                  <a:pt x="295" y="98"/>
                </a:cubicBezTo>
                <a:cubicBezTo>
                  <a:pt x="295" y="98"/>
                  <a:pt x="295" y="98"/>
                  <a:pt x="295" y="98"/>
                </a:cubicBezTo>
                <a:cubicBezTo>
                  <a:pt x="293" y="97"/>
                  <a:pt x="290" y="96"/>
                  <a:pt x="288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81"/>
                  <a:pt x="373" y="181"/>
                  <a:pt x="373" y="18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01" name="Group 729"/>
          <p:cNvGrpSpPr>
            <a:grpSpLocks noChangeAspect="1"/>
          </p:cNvGrpSpPr>
          <p:nvPr/>
        </p:nvGrpSpPr>
        <p:grpSpPr bwMode="auto">
          <a:xfrm>
            <a:off x="3914008" y="3743938"/>
            <a:ext cx="367631" cy="367631"/>
            <a:chOff x="3568" y="2909"/>
            <a:chExt cx="340" cy="340"/>
          </a:xfrm>
          <a:solidFill>
            <a:schemeClr val="accent2"/>
          </a:solidFill>
        </p:grpSpPr>
        <p:sp>
          <p:nvSpPr>
            <p:cNvPr id="602" name="Freeform 730"/>
            <p:cNvSpPr>
              <a:spLocks noEditPoints="1"/>
            </p:cNvSpPr>
            <p:nvPr/>
          </p:nvSpPr>
          <p:spPr bwMode="auto">
            <a:xfrm>
              <a:off x="3568" y="29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3" name="Freeform 731"/>
            <p:cNvSpPr>
              <a:spLocks noEditPoints="1"/>
            </p:cNvSpPr>
            <p:nvPr/>
          </p:nvSpPr>
          <p:spPr bwMode="auto">
            <a:xfrm>
              <a:off x="3660" y="2973"/>
              <a:ext cx="156" cy="212"/>
            </a:xfrm>
            <a:custGeom>
              <a:avLst/>
              <a:gdLst>
                <a:gd name="T0" fmla="*/ 43 w 235"/>
                <a:gd name="T1" fmla="*/ 138 h 320"/>
                <a:gd name="T2" fmla="*/ 43 w 235"/>
                <a:gd name="T3" fmla="*/ 256 h 320"/>
                <a:gd name="T4" fmla="*/ 54 w 235"/>
                <a:gd name="T5" fmla="*/ 266 h 320"/>
                <a:gd name="T6" fmla="*/ 182 w 235"/>
                <a:gd name="T7" fmla="*/ 266 h 320"/>
                <a:gd name="T8" fmla="*/ 192 w 235"/>
                <a:gd name="T9" fmla="*/ 256 h 320"/>
                <a:gd name="T10" fmla="*/ 192 w 235"/>
                <a:gd name="T11" fmla="*/ 138 h 320"/>
                <a:gd name="T12" fmla="*/ 182 w 235"/>
                <a:gd name="T13" fmla="*/ 128 h 320"/>
                <a:gd name="T14" fmla="*/ 54 w 235"/>
                <a:gd name="T15" fmla="*/ 128 h 320"/>
                <a:gd name="T16" fmla="*/ 43 w 235"/>
                <a:gd name="T17" fmla="*/ 138 h 320"/>
                <a:gd name="T18" fmla="*/ 74 w 235"/>
                <a:gd name="T19" fmla="*/ 245 h 320"/>
                <a:gd name="T20" fmla="*/ 96 w 235"/>
                <a:gd name="T21" fmla="*/ 211 h 320"/>
                <a:gd name="T22" fmla="*/ 119 w 235"/>
                <a:gd name="T23" fmla="*/ 245 h 320"/>
                <a:gd name="T24" fmla="*/ 74 w 235"/>
                <a:gd name="T25" fmla="*/ 245 h 320"/>
                <a:gd name="T26" fmla="*/ 171 w 235"/>
                <a:gd name="T27" fmla="*/ 149 h 320"/>
                <a:gd name="T28" fmla="*/ 171 w 235"/>
                <a:gd name="T29" fmla="*/ 245 h 320"/>
                <a:gd name="T30" fmla="*/ 145 w 235"/>
                <a:gd name="T31" fmla="*/ 245 h 320"/>
                <a:gd name="T32" fmla="*/ 105 w 235"/>
                <a:gd name="T33" fmla="*/ 186 h 320"/>
                <a:gd name="T34" fmla="*/ 87 w 235"/>
                <a:gd name="T35" fmla="*/ 186 h 320"/>
                <a:gd name="T36" fmla="*/ 64 w 235"/>
                <a:gd name="T37" fmla="*/ 220 h 320"/>
                <a:gd name="T38" fmla="*/ 64 w 235"/>
                <a:gd name="T39" fmla="*/ 149 h 320"/>
                <a:gd name="T40" fmla="*/ 171 w 235"/>
                <a:gd name="T41" fmla="*/ 149 h 320"/>
                <a:gd name="T42" fmla="*/ 128 w 235"/>
                <a:gd name="T43" fmla="*/ 181 h 320"/>
                <a:gd name="T44" fmla="*/ 139 w 235"/>
                <a:gd name="T45" fmla="*/ 170 h 320"/>
                <a:gd name="T46" fmla="*/ 150 w 235"/>
                <a:gd name="T47" fmla="*/ 181 h 320"/>
                <a:gd name="T48" fmla="*/ 139 w 235"/>
                <a:gd name="T49" fmla="*/ 192 h 320"/>
                <a:gd name="T50" fmla="*/ 128 w 235"/>
                <a:gd name="T51" fmla="*/ 181 h 320"/>
                <a:gd name="T52" fmla="*/ 234 w 235"/>
                <a:gd name="T53" fmla="*/ 81 h 320"/>
                <a:gd name="T54" fmla="*/ 232 w 235"/>
                <a:gd name="T55" fmla="*/ 77 h 320"/>
                <a:gd name="T56" fmla="*/ 157 w 235"/>
                <a:gd name="T57" fmla="*/ 3 h 320"/>
                <a:gd name="T58" fmla="*/ 157 w 235"/>
                <a:gd name="T59" fmla="*/ 2 h 320"/>
                <a:gd name="T60" fmla="*/ 157 w 235"/>
                <a:gd name="T61" fmla="*/ 2 h 320"/>
                <a:gd name="T62" fmla="*/ 157 w 235"/>
                <a:gd name="T63" fmla="*/ 2 h 320"/>
                <a:gd name="T64" fmla="*/ 150 w 235"/>
                <a:gd name="T65" fmla="*/ 0 h 320"/>
                <a:gd name="T66" fmla="*/ 11 w 235"/>
                <a:gd name="T67" fmla="*/ 0 h 320"/>
                <a:gd name="T68" fmla="*/ 0 w 235"/>
                <a:gd name="T69" fmla="*/ 10 h 320"/>
                <a:gd name="T70" fmla="*/ 0 w 235"/>
                <a:gd name="T71" fmla="*/ 309 h 320"/>
                <a:gd name="T72" fmla="*/ 11 w 235"/>
                <a:gd name="T73" fmla="*/ 320 h 320"/>
                <a:gd name="T74" fmla="*/ 224 w 235"/>
                <a:gd name="T75" fmla="*/ 320 h 320"/>
                <a:gd name="T76" fmla="*/ 235 w 235"/>
                <a:gd name="T77" fmla="*/ 309 h 320"/>
                <a:gd name="T78" fmla="*/ 235 w 235"/>
                <a:gd name="T79" fmla="*/ 85 h 320"/>
                <a:gd name="T80" fmla="*/ 235 w 235"/>
                <a:gd name="T81" fmla="*/ 85 h 320"/>
                <a:gd name="T82" fmla="*/ 234 w 235"/>
                <a:gd name="T83" fmla="*/ 81 h 320"/>
                <a:gd name="T84" fmla="*/ 160 w 235"/>
                <a:gd name="T85" fmla="*/ 36 h 320"/>
                <a:gd name="T86" fmla="*/ 199 w 235"/>
                <a:gd name="T87" fmla="*/ 74 h 320"/>
                <a:gd name="T88" fmla="*/ 160 w 235"/>
                <a:gd name="T89" fmla="*/ 74 h 320"/>
                <a:gd name="T90" fmla="*/ 160 w 235"/>
                <a:gd name="T91" fmla="*/ 36 h 320"/>
                <a:gd name="T92" fmla="*/ 214 w 235"/>
                <a:gd name="T93" fmla="*/ 298 h 320"/>
                <a:gd name="T94" fmla="*/ 22 w 235"/>
                <a:gd name="T95" fmla="*/ 298 h 320"/>
                <a:gd name="T96" fmla="*/ 22 w 235"/>
                <a:gd name="T97" fmla="*/ 21 h 320"/>
                <a:gd name="T98" fmla="*/ 139 w 235"/>
                <a:gd name="T99" fmla="*/ 21 h 320"/>
                <a:gd name="T100" fmla="*/ 139 w 235"/>
                <a:gd name="T101" fmla="*/ 85 h 320"/>
                <a:gd name="T102" fmla="*/ 150 w 235"/>
                <a:gd name="T103" fmla="*/ 96 h 320"/>
                <a:gd name="T104" fmla="*/ 214 w 235"/>
                <a:gd name="T105" fmla="*/ 96 h 320"/>
                <a:gd name="T106" fmla="*/ 214 w 235"/>
                <a:gd name="T107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5" h="320">
                  <a:moveTo>
                    <a:pt x="43" y="138"/>
                  </a:moveTo>
                  <a:cubicBezTo>
                    <a:pt x="43" y="256"/>
                    <a:pt x="43" y="256"/>
                    <a:pt x="43" y="256"/>
                  </a:cubicBezTo>
                  <a:cubicBezTo>
                    <a:pt x="43" y="262"/>
                    <a:pt x="48" y="266"/>
                    <a:pt x="54" y="266"/>
                  </a:cubicBezTo>
                  <a:cubicBezTo>
                    <a:pt x="182" y="266"/>
                    <a:pt x="182" y="266"/>
                    <a:pt x="182" y="266"/>
                  </a:cubicBezTo>
                  <a:cubicBezTo>
                    <a:pt x="188" y="266"/>
                    <a:pt x="192" y="262"/>
                    <a:pt x="192" y="256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192" y="132"/>
                    <a:pt x="188" y="128"/>
                    <a:pt x="18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48" y="128"/>
                    <a:pt x="43" y="132"/>
                    <a:pt x="43" y="138"/>
                  </a:cubicBezTo>
                  <a:close/>
                  <a:moveTo>
                    <a:pt x="74" y="245"/>
                  </a:moveTo>
                  <a:cubicBezTo>
                    <a:pt x="96" y="211"/>
                    <a:pt x="96" y="211"/>
                    <a:pt x="96" y="211"/>
                  </a:cubicBezTo>
                  <a:cubicBezTo>
                    <a:pt x="119" y="245"/>
                    <a:pt x="119" y="245"/>
                    <a:pt x="119" y="245"/>
                  </a:cubicBezTo>
                  <a:lnTo>
                    <a:pt x="74" y="245"/>
                  </a:lnTo>
                  <a:close/>
                  <a:moveTo>
                    <a:pt x="171" y="149"/>
                  </a:moveTo>
                  <a:cubicBezTo>
                    <a:pt x="171" y="245"/>
                    <a:pt x="171" y="245"/>
                    <a:pt x="171" y="245"/>
                  </a:cubicBezTo>
                  <a:cubicBezTo>
                    <a:pt x="145" y="245"/>
                    <a:pt x="145" y="245"/>
                    <a:pt x="145" y="245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101" y="180"/>
                    <a:pt x="91" y="180"/>
                    <a:pt x="87" y="186"/>
                  </a:cubicBezTo>
                  <a:cubicBezTo>
                    <a:pt x="64" y="220"/>
                    <a:pt x="64" y="220"/>
                    <a:pt x="64" y="220"/>
                  </a:cubicBezTo>
                  <a:cubicBezTo>
                    <a:pt x="64" y="149"/>
                    <a:pt x="64" y="149"/>
                    <a:pt x="64" y="149"/>
                  </a:cubicBezTo>
                  <a:lnTo>
                    <a:pt x="171" y="149"/>
                  </a:lnTo>
                  <a:close/>
                  <a:moveTo>
                    <a:pt x="128" y="181"/>
                  </a:moveTo>
                  <a:cubicBezTo>
                    <a:pt x="128" y="175"/>
                    <a:pt x="133" y="170"/>
                    <a:pt x="139" y="170"/>
                  </a:cubicBezTo>
                  <a:cubicBezTo>
                    <a:pt x="145" y="170"/>
                    <a:pt x="150" y="175"/>
                    <a:pt x="150" y="181"/>
                  </a:cubicBezTo>
                  <a:cubicBezTo>
                    <a:pt x="150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lose/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5" y="1"/>
                    <a:pt x="152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04" name="Group 734"/>
          <p:cNvGrpSpPr>
            <a:grpSpLocks noChangeAspect="1"/>
          </p:cNvGrpSpPr>
          <p:nvPr/>
        </p:nvGrpSpPr>
        <p:grpSpPr bwMode="auto">
          <a:xfrm>
            <a:off x="4411104" y="3743938"/>
            <a:ext cx="367631" cy="367631"/>
            <a:chOff x="4301" y="2990"/>
            <a:chExt cx="340" cy="340"/>
          </a:xfrm>
          <a:solidFill>
            <a:schemeClr val="accent2"/>
          </a:solidFill>
        </p:grpSpPr>
        <p:sp>
          <p:nvSpPr>
            <p:cNvPr id="605" name="Freeform 735"/>
            <p:cNvSpPr>
              <a:spLocks/>
            </p:cNvSpPr>
            <p:nvPr/>
          </p:nvSpPr>
          <p:spPr bwMode="auto">
            <a:xfrm>
              <a:off x="4407" y="3068"/>
              <a:ext cx="128" cy="63"/>
            </a:xfrm>
            <a:custGeom>
              <a:avLst/>
              <a:gdLst>
                <a:gd name="T0" fmla="*/ 192 w 192"/>
                <a:gd name="T1" fmla="*/ 75 h 96"/>
                <a:gd name="T2" fmla="*/ 128 w 192"/>
                <a:gd name="T3" fmla="*/ 75 h 96"/>
                <a:gd name="T4" fmla="*/ 117 w 192"/>
                <a:gd name="T5" fmla="*/ 64 h 96"/>
                <a:gd name="T6" fmla="*/ 117 w 192"/>
                <a:gd name="T7" fmla="*/ 0 h 96"/>
                <a:gd name="T8" fmla="*/ 0 w 192"/>
                <a:gd name="T9" fmla="*/ 0 h 96"/>
                <a:gd name="T10" fmla="*/ 0 w 192"/>
                <a:gd name="T11" fmla="*/ 96 h 96"/>
                <a:gd name="T12" fmla="*/ 192 w 192"/>
                <a:gd name="T13" fmla="*/ 96 h 96"/>
                <a:gd name="T14" fmla="*/ 192 w 192"/>
                <a:gd name="T15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96">
                  <a:moveTo>
                    <a:pt x="192" y="75"/>
                  </a:move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19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6" name="Freeform 736"/>
            <p:cNvSpPr>
              <a:spLocks/>
            </p:cNvSpPr>
            <p:nvPr/>
          </p:nvSpPr>
          <p:spPr bwMode="auto">
            <a:xfrm>
              <a:off x="4466" y="3169"/>
              <a:ext cx="12" cy="14"/>
            </a:xfrm>
            <a:custGeom>
              <a:avLst/>
              <a:gdLst>
                <a:gd name="T0" fmla="*/ 16 w 19"/>
                <a:gd name="T1" fmla="*/ 19 h 22"/>
                <a:gd name="T2" fmla="*/ 19 w 19"/>
                <a:gd name="T3" fmla="*/ 11 h 22"/>
                <a:gd name="T4" fmla="*/ 16 w 19"/>
                <a:gd name="T5" fmla="*/ 2 h 22"/>
                <a:gd name="T6" fmla="*/ 7 w 19"/>
                <a:gd name="T7" fmla="*/ 0 h 22"/>
                <a:gd name="T8" fmla="*/ 0 w 19"/>
                <a:gd name="T9" fmla="*/ 0 h 22"/>
                <a:gd name="T10" fmla="*/ 0 w 19"/>
                <a:gd name="T11" fmla="*/ 22 h 22"/>
                <a:gd name="T12" fmla="*/ 5 w 19"/>
                <a:gd name="T13" fmla="*/ 22 h 22"/>
                <a:gd name="T14" fmla="*/ 16 w 19"/>
                <a:gd name="T15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6" y="19"/>
                  </a:moveTo>
                  <a:cubicBezTo>
                    <a:pt x="18" y="17"/>
                    <a:pt x="19" y="14"/>
                    <a:pt x="19" y="11"/>
                  </a:cubicBezTo>
                  <a:cubicBezTo>
                    <a:pt x="19" y="7"/>
                    <a:pt x="18" y="4"/>
                    <a:pt x="16" y="2"/>
                  </a:cubicBezTo>
                  <a:cubicBezTo>
                    <a:pt x="14" y="1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0" y="22"/>
                    <a:pt x="13" y="21"/>
                    <a:pt x="1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7" name="Rectangle 737"/>
            <p:cNvSpPr>
              <a:spLocks noChangeArrowheads="1"/>
            </p:cNvSpPr>
            <p:nvPr/>
          </p:nvSpPr>
          <p:spPr bwMode="auto">
            <a:xfrm>
              <a:off x="4407" y="3238"/>
              <a:ext cx="128" cy="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8" name="Freeform 738"/>
            <p:cNvSpPr>
              <a:spLocks/>
            </p:cNvSpPr>
            <p:nvPr/>
          </p:nvSpPr>
          <p:spPr bwMode="auto">
            <a:xfrm>
              <a:off x="4425" y="3169"/>
              <a:ext cx="13" cy="14"/>
            </a:xfrm>
            <a:custGeom>
              <a:avLst/>
              <a:gdLst>
                <a:gd name="T0" fmla="*/ 16 w 20"/>
                <a:gd name="T1" fmla="*/ 19 h 22"/>
                <a:gd name="T2" fmla="*/ 20 w 20"/>
                <a:gd name="T3" fmla="*/ 11 h 22"/>
                <a:gd name="T4" fmla="*/ 17 w 20"/>
                <a:gd name="T5" fmla="*/ 2 h 22"/>
                <a:gd name="T6" fmla="*/ 7 w 20"/>
                <a:gd name="T7" fmla="*/ 0 h 22"/>
                <a:gd name="T8" fmla="*/ 0 w 20"/>
                <a:gd name="T9" fmla="*/ 0 h 22"/>
                <a:gd name="T10" fmla="*/ 0 w 20"/>
                <a:gd name="T11" fmla="*/ 22 h 22"/>
                <a:gd name="T12" fmla="*/ 5 w 20"/>
                <a:gd name="T13" fmla="*/ 22 h 22"/>
                <a:gd name="T14" fmla="*/ 16 w 20"/>
                <a:gd name="T15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2">
                  <a:moveTo>
                    <a:pt x="16" y="19"/>
                  </a:moveTo>
                  <a:cubicBezTo>
                    <a:pt x="19" y="17"/>
                    <a:pt x="20" y="14"/>
                    <a:pt x="20" y="11"/>
                  </a:cubicBezTo>
                  <a:cubicBezTo>
                    <a:pt x="20" y="7"/>
                    <a:pt x="19" y="4"/>
                    <a:pt x="17" y="2"/>
                  </a:cubicBezTo>
                  <a:cubicBezTo>
                    <a:pt x="15" y="1"/>
                    <a:pt x="12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0" y="22"/>
                    <a:pt x="14" y="21"/>
                    <a:pt x="1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9" name="Freeform 739"/>
            <p:cNvSpPr>
              <a:spLocks noEditPoints="1"/>
            </p:cNvSpPr>
            <p:nvPr/>
          </p:nvSpPr>
          <p:spPr bwMode="auto">
            <a:xfrm>
              <a:off x="4301" y="299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362 h 512"/>
                <a:gd name="T12" fmla="*/ 394 w 512"/>
                <a:gd name="T13" fmla="*/ 373 h 512"/>
                <a:gd name="T14" fmla="*/ 373 w 512"/>
                <a:gd name="T15" fmla="*/ 373 h 512"/>
                <a:gd name="T16" fmla="*/ 373 w 512"/>
                <a:gd name="T17" fmla="*/ 405 h 512"/>
                <a:gd name="T18" fmla="*/ 362 w 512"/>
                <a:gd name="T19" fmla="*/ 416 h 512"/>
                <a:gd name="T20" fmla="*/ 149 w 512"/>
                <a:gd name="T21" fmla="*/ 416 h 512"/>
                <a:gd name="T22" fmla="*/ 138 w 512"/>
                <a:gd name="T23" fmla="*/ 405 h 512"/>
                <a:gd name="T24" fmla="*/ 138 w 512"/>
                <a:gd name="T25" fmla="*/ 373 h 512"/>
                <a:gd name="T26" fmla="*/ 117 w 512"/>
                <a:gd name="T27" fmla="*/ 373 h 512"/>
                <a:gd name="T28" fmla="*/ 106 w 512"/>
                <a:gd name="T29" fmla="*/ 362 h 512"/>
                <a:gd name="T30" fmla="*/ 106 w 512"/>
                <a:gd name="T31" fmla="*/ 224 h 512"/>
                <a:gd name="T32" fmla="*/ 117 w 512"/>
                <a:gd name="T33" fmla="*/ 213 h 512"/>
                <a:gd name="T34" fmla="*/ 138 w 512"/>
                <a:gd name="T35" fmla="*/ 213 h 512"/>
                <a:gd name="T36" fmla="*/ 138 w 512"/>
                <a:gd name="T37" fmla="*/ 106 h 512"/>
                <a:gd name="T38" fmla="*/ 149 w 512"/>
                <a:gd name="T39" fmla="*/ 96 h 512"/>
                <a:gd name="T40" fmla="*/ 288 w 512"/>
                <a:gd name="T41" fmla="*/ 96 h 512"/>
                <a:gd name="T42" fmla="*/ 292 w 512"/>
                <a:gd name="T43" fmla="*/ 96 h 512"/>
                <a:gd name="T44" fmla="*/ 295 w 512"/>
                <a:gd name="T45" fmla="*/ 99 h 512"/>
                <a:gd name="T46" fmla="*/ 370 w 512"/>
                <a:gd name="T47" fmla="*/ 173 h 512"/>
                <a:gd name="T48" fmla="*/ 372 w 512"/>
                <a:gd name="T49" fmla="*/ 177 h 512"/>
                <a:gd name="T50" fmla="*/ 373 w 512"/>
                <a:gd name="T51" fmla="*/ 181 h 512"/>
                <a:gd name="T52" fmla="*/ 373 w 512"/>
                <a:gd name="T53" fmla="*/ 213 h 512"/>
                <a:gd name="T54" fmla="*/ 394 w 512"/>
                <a:gd name="T55" fmla="*/ 213 h 512"/>
                <a:gd name="T56" fmla="*/ 405 w 512"/>
                <a:gd name="T57" fmla="*/ 224 h 512"/>
                <a:gd name="T58" fmla="*/ 405 w 512"/>
                <a:gd name="T59" fmla="*/ 3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362"/>
                  </a:moveTo>
                  <a:cubicBezTo>
                    <a:pt x="405" y="368"/>
                    <a:pt x="400" y="373"/>
                    <a:pt x="394" y="373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73"/>
                    <a:pt x="138" y="373"/>
                    <a:pt x="138" y="373"/>
                  </a:cubicBezTo>
                  <a:cubicBezTo>
                    <a:pt x="117" y="373"/>
                    <a:pt x="117" y="373"/>
                    <a:pt x="117" y="373"/>
                  </a:cubicBezTo>
                  <a:cubicBezTo>
                    <a:pt x="111" y="373"/>
                    <a:pt x="106" y="368"/>
                    <a:pt x="106" y="362"/>
                  </a:cubicBezTo>
                  <a:cubicBezTo>
                    <a:pt x="106" y="224"/>
                    <a:pt x="106" y="224"/>
                    <a:pt x="106" y="224"/>
                  </a:cubicBezTo>
                  <a:cubicBezTo>
                    <a:pt x="106" y="218"/>
                    <a:pt x="111" y="213"/>
                    <a:pt x="117" y="213"/>
                  </a:cubicBezTo>
                  <a:cubicBezTo>
                    <a:pt x="138" y="213"/>
                    <a:pt x="138" y="213"/>
                    <a:pt x="138" y="213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9" y="96"/>
                    <a:pt x="290" y="96"/>
                    <a:pt x="292" y="96"/>
                  </a:cubicBezTo>
                  <a:cubicBezTo>
                    <a:pt x="293" y="97"/>
                    <a:pt x="294" y="98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213"/>
                    <a:pt x="373" y="213"/>
                    <a:pt x="373" y="213"/>
                  </a:cubicBezTo>
                  <a:cubicBezTo>
                    <a:pt x="394" y="213"/>
                    <a:pt x="394" y="213"/>
                    <a:pt x="394" y="213"/>
                  </a:cubicBezTo>
                  <a:cubicBezTo>
                    <a:pt x="400" y="213"/>
                    <a:pt x="405" y="218"/>
                    <a:pt x="405" y="224"/>
                  </a:cubicBezTo>
                  <a:lnTo>
                    <a:pt x="405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0" name="Freeform 740"/>
            <p:cNvSpPr>
              <a:spLocks/>
            </p:cNvSpPr>
            <p:nvPr/>
          </p:nvSpPr>
          <p:spPr bwMode="auto">
            <a:xfrm>
              <a:off x="4499" y="3078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1" name="Freeform 741"/>
            <p:cNvSpPr>
              <a:spLocks noEditPoints="1"/>
            </p:cNvSpPr>
            <p:nvPr/>
          </p:nvSpPr>
          <p:spPr bwMode="auto">
            <a:xfrm>
              <a:off x="4386" y="3145"/>
              <a:ext cx="170" cy="79"/>
            </a:xfrm>
            <a:custGeom>
              <a:avLst/>
              <a:gdLst>
                <a:gd name="T0" fmla="*/ 0 w 256"/>
                <a:gd name="T1" fmla="*/ 118 h 118"/>
                <a:gd name="T2" fmla="*/ 256 w 256"/>
                <a:gd name="T3" fmla="*/ 118 h 118"/>
                <a:gd name="T4" fmla="*/ 256 w 256"/>
                <a:gd name="T5" fmla="*/ 0 h 118"/>
                <a:gd name="T6" fmla="*/ 0 w 256"/>
                <a:gd name="T7" fmla="*/ 0 h 118"/>
                <a:gd name="T8" fmla="*/ 0 w 256"/>
                <a:gd name="T9" fmla="*/ 118 h 118"/>
                <a:gd name="T10" fmla="*/ 162 w 256"/>
                <a:gd name="T11" fmla="*/ 22 h 118"/>
                <a:gd name="T12" fmla="*/ 219 w 256"/>
                <a:gd name="T13" fmla="*/ 22 h 118"/>
                <a:gd name="T14" fmla="*/ 219 w 256"/>
                <a:gd name="T15" fmla="*/ 35 h 118"/>
                <a:gd name="T16" fmla="*/ 198 w 256"/>
                <a:gd name="T17" fmla="*/ 35 h 118"/>
                <a:gd name="T18" fmla="*/ 198 w 256"/>
                <a:gd name="T19" fmla="*/ 96 h 118"/>
                <a:gd name="T20" fmla="*/ 182 w 256"/>
                <a:gd name="T21" fmla="*/ 96 h 118"/>
                <a:gd name="T22" fmla="*/ 182 w 256"/>
                <a:gd name="T23" fmla="*/ 35 h 118"/>
                <a:gd name="T24" fmla="*/ 162 w 256"/>
                <a:gd name="T25" fmla="*/ 35 h 118"/>
                <a:gd name="T26" fmla="*/ 162 w 256"/>
                <a:gd name="T27" fmla="*/ 22 h 118"/>
                <a:gd name="T28" fmla="*/ 104 w 256"/>
                <a:gd name="T29" fmla="*/ 22 h 118"/>
                <a:gd name="T30" fmla="*/ 128 w 256"/>
                <a:gd name="T31" fmla="*/ 22 h 118"/>
                <a:gd name="T32" fmla="*/ 148 w 256"/>
                <a:gd name="T33" fmla="*/ 28 h 118"/>
                <a:gd name="T34" fmla="*/ 155 w 256"/>
                <a:gd name="T35" fmla="*/ 45 h 118"/>
                <a:gd name="T36" fmla="*/ 148 w 256"/>
                <a:gd name="T37" fmla="*/ 63 h 118"/>
                <a:gd name="T38" fmla="*/ 126 w 256"/>
                <a:gd name="T39" fmla="*/ 70 h 118"/>
                <a:gd name="T40" fmla="*/ 120 w 256"/>
                <a:gd name="T41" fmla="*/ 70 h 118"/>
                <a:gd name="T42" fmla="*/ 120 w 256"/>
                <a:gd name="T43" fmla="*/ 96 h 118"/>
                <a:gd name="T44" fmla="*/ 104 w 256"/>
                <a:gd name="T45" fmla="*/ 96 h 118"/>
                <a:gd name="T46" fmla="*/ 104 w 256"/>
                <a:gd name="T47" fmla="*/ 22 h 118"/>
                <a:gd name="T48" fmla="*/ 42 w 256"/>
                <a:gd name="T49" fmla="*/ 22 h 118"/>
                <a:gd name="T50" fmla="*/ 66 w 256"/>
                <a:gd name="T51" fmla="*/ 22 h 118"/>
                <a:gd name="T52" fmla="*/ 87 w 256"/>
                <a:gd name="T53" fmla="*/ 28 h 118"/>
                <a:gd name="T54" fmla="*/ 94 w 256"/>
                <a:gd name="T55" fmla="*/ 45 h 118"/>
                <a:gd name="T56" fmla="*/ 86 w 256"/>
                <a:gd name="T57" fmla="*/ 63 h 118"/>
                <a:gd name="T58" fmla="*/ 65 w 256"/>
                <a:gd name="T59" fmla="*/ 70 h 118"/>
                <a:gd name="T60" fmla="*/ 58 w 256"/>
                <a:gd name="T61" fmla="*/ 70 h 118"/>
                <a:gd name="T62" fmla="*/ 58 w 256"/>
                <a:gd name="T63" fmla="*/ 96 h 118"/>
                <a:gd name="T64" fmla="*/ 42 w 256"/>
                <a:gd name="T65" fmla="*/ 96 h 118"/>
                <a:gd name="T66" fmla="*/ 42 w 256"/>
                <a:gd name="T67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6" h="118">
                  <a:moveTo>
                    <a:pt x="0" y="118"/>
                  </a:moveTo>
                  <a:cubicBezTo>
                    <a:pt x="256" y="118"/>
                    <a:pt x="256" y="118"/>
                    <a:pt x="256" y="11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8"/>
                  </a:lnTo>
                  <a:close/>
                  <a:moveTo>
                    <a:pt x="162" y="22"/>
                  </a:moveTo>
                  <a:cubicBezTo>
                    <a:pt x="219" y="22"/>
                    <a:pt x="219" y="22"/>
                    <a:pt x="219" y="22"/>
                  </a:cubicBezTo>
                  <a:cubicBezTo>
                    <a:pt x="219" y="35"/>
                    <a:pt x="219" y="35"/>
                    <a:pt x="219" y="35"/>
                  </a:cubicBezTo>
                  <a:cubicBezTo>
                    <a:pt x="198" y="35"/>
                    <a:pt x="198" y="35"/>
                    <a:pt x="198" y="35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182" y="96"/>
                    <a:pt x="182" y="96"/>
                    <a:pt x="182" y="96"/>
                  </a:cubicBezTo>
                  <a:cubicBezTo>
                    <a:pt x="182" y="35"/>
                    <a:pt x="182" y="35"/>
                    <a:pt x="182" y="35"/>
                  </a:cubicBezTo>
                  <a:cubicBezTo>
                    <a:pt x="162" y="35"/>
                    <a:pt x="162" y="35"/>
                    <a:pt x="162" y="35"/>
                  </a:cubicBezTo>
                  <a:lnTo>
                    <a:pt x="162" y="22"/>
                  </a:lnTo>
                  <a:close/>
                  <a:moveTo>
                    <a:pt x="104" y="22"/>
                  </a:moveTo>
                  <a:cubicBezTo>
                    <a:pt x="128" y="22"/>
                    <a:pt x="128" y="22"/>
                    <a:pt x="128" y="22"/>
                  </a:cubicBezTo>
                  <a:cubicBezTo>
                    <a:pt x="137" y="22"/>
                    <a:pt x="144" y="24"/>
                    <a:pt x="148" y="28"/>
                  </a:cubicBezTo>
                  <a:cubicBezTo>
                    <a:pt x="153" y="31"/>
                    <a:pt x="155" y="37"/>
                    <a:pt x="155" y="45"/>
                  </a:cubicBezTo>
                  <a:cubicBezTo>
                    <a:pt x="155" y="53"/>
                    <a:pt x="153" y="59"/>
                    <a:pt x="148" y="63"/>
                  </a:cubicBezTo>
                  <a:cubicBezTo>
                    <a:pt x="143" y="68"/>
                    <a:pt x="136" y="70"/>
                    <a:pt x="126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96"/>
                    <a:pt x="120" y="96"/>
                    <a:pt x="120" y="96"/>
                  </a:cubicBezTo>
                  <a:cubicBezTo>
                    <a:pt x="104" y="96"/>
                    <a:pt x="104" y="96"/>
                    <a:pt x="104" y="96"/>
                  </a:cubicBezTo>
                  <a:lnTo>
                    <a:pt x="104" y="22"/>
                  </a:lnTo>
                  <a:close/>
                  <a:moveTo>
                    <a:pt x="42" y="2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75" y="22"/>
                    <a:pt x="82" y="24"/>
                    <a:pt x="87" y="28"/>
                  </a:cubicBezTo>
                  <a:cubicBezTo>
                    <a:pt x="92" y="31"/>
                    <a:pt x="94" y="37"/>
                    <a:pt x="94" y="45"/>
                  </a:cubicBezTo>
                  <a:cubicBezTo>
                    <a:pt x="94" y="53"/>
                    <a:pt x="91" y="59"/>
                    <a:pt x="86" y="63"/>
                  </a:cubicBezTo>
                  <a:cubicBezTo>
                    <a:pt x="81" y="68"/>
                    <a:pt x="74" y="70"/>
                    <a:pt x="65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42" y="96"/>
                    <a:pt x="42" y="96"/>
                    <a:pt x="42" y="96"/>
                  </a:cubicBezTo>
                  <a:lnTo>
                    <a:pt x="4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2" name="Group 744"/>
          <p:cNvGrpSpPr>
            <a:grpSpLocks noChangeAspect="1"/>
          </p:cNvGrpSpPr>
          <p:nvPr/>
        </p:nvGrpSpPr>
        <p:grpSpPr bwMode="auto">
          <a:xfrm>
            <a:off x="4908200" y="3743938"/>
            <a:ext cx="367631" cy="367631"/>
            <a:chOff x="4629" y="3018"/>
            <a:chExt cx="340" cy="340"/>
          </a:xfrm>
          <a:solidFill>
            <a:schemeClr val="accent2"/>
          </a:solidFill>
        </p:grpSpPr>
        <p:sp>
          <p:nvSpPr>
            <p:cNvPr id="613" name="Freeform 745"/>
            <p:cNvSpPr>
              <a:spLocks noEditPoints="1"/>
            </p:cNvSpPr>
            <p:nvPr/>
          </p:nvSpPr>
          <p:spPr bwMode="auto">
            <a:xfrm>
              <a:off x="4629" y="30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4" name="Freeform 746"/>
            <p:cNvSpPr>
              <a:spLocks noEditPoints="1"/>
            </p:cNvSpPr>
            <p:nvPr/>
          </p:nvSpPr>
          <p:spPr bwMode="auto">
            <a:xfrm>
              <a:off x="4699" y="3082"/>
              <a:ext cx="199" cy="212"/>
            </a:xfrm>
            <a:custGeom>
              <a:avLst/>
              <a:gdLst>
                <a:gd name="T0" fmla="*/ 267 w 299"/>
                <a:gd name="T1" fmla="*/ 117 h 320"/>
                <a:gd name="T2" fmla="*/ 266 w 299"/>
                <a:gd name="T3" fmla="*/ 81 h 320"/>
                <a:gd name="T4" fmla="*/ 189 w 299"/>
                <a:gd name="T5" fmla="*/ 3 h 320"/>
                <a:gd name="T6" fmla="*/ 182 w 299"/>
                <a:gd name="T7" fmla="*/ 0 h 320"/>
                <a:gd name="T8" fmla="*/ 32 w 299"/>
                <a:gd name="T9" fmla="*/ 10 h 320"/>
                <a:gd name="T10" fmla="*/ 11 w 299"/>
                <a:gd name="T11" fmla="*/ 117 h 320"/>
                <a:gd name="T12" fmla="*/ 0 w 299"/>
                <a:gd name="T13" fmla="*/ 266 h 320"/>
                <a:gd name="T14" fmla="*/ 32 w 299"/>
                <a:gd name="T15" fmla="*/ 277 h 320"/>
                <a:gd name="T16" fmla="*/ 43 w 299"/>
                <a:gd name="T17" fmla="*/ 320 h 320"/>
                <a:gd name="T18" fmla="*/ 267 w 299"/>
                <a:gd name="T19" fmla="*/ 309 h 320"/>
                <a:gd name="T20" fmla="*/ 288 w 299"/>
                <a:gd name="T21" fmla="*/ 277 h 320"/>
                <a:gd name="T22" fmla="*/ 299 w 299"/>
                <a:gd name="T23" fmla="*/ 128 h 320"/>
                <a:gd name="T24" fmla="*/ 192 w 299"/>
                <a:gd name="T25" fmla="*/ 36 h 320"/>
                <a:gd name="T26" fmla="*/ 192 w 299"/>
                <a:gd name="T27" fmla="*/ 74 h 320"/>
                <a:gd name="T28" fmla="*/ 54 w 299"/>
                <a:gd name="T29" fmla="*/ 21 h 320"/>
                <a:gd name="T30" fmla="*/ 171 w 299"/>
                <a:gd name="T31" fmla="*/ 85 h 320"/>
                <a:gd name="T32" fmla="*/ 246 w 299"/>
                <a:gd name="T33" fmla="*/ 96 h 320"/>
                <a:gd name="T34" fmla="*/ 54 w 299"/>
                <a:gd name="T35" fmla="*/ 117 h 320"/>
                <a:gd name="T36" fmla="*/ 246 w 299"/>
                <a:gd name="T37" fmla="*/ 298 h 320"/>
                <a:gd name="T38" fmla="*/ 54 w 299"/>
                <a:gd name="T39" fmla="*/ 277 h 320"/>
                <a:gd name="T40" fmla="*/ 246 w 299"/>
                <a:gd name="T41" fmla="*/ 298 h 320"/>
                <a:gd name="T42" fmla="*/ 22 w 299"/>
                <a:gd name="T43" fmla="*/ 256 h 320"/>
                <a:gd name="T44" fmla="*/ 278 w 299"/>
                <a:gd name="T45" fmla="*/ 138 h 320"/>
                <a:gd name="T46" fmla="*/ 80 w 299"/>
                <a:gd name="T47" fmla="*/ 208 h 320"/>
                <a:gd name="T48" fmla="*/ 108 w 299"/>
                <a:gd name="T49" fmla="*/ 201 h 320"/>
                <a:gd name="T50" fmla="*/ 109 w 299"/>
                <a:gd name="T51" fmla="*/ 166 h 320"/>
                <a:gd name="T52" fmla="*/ 64 w 299"/>
                <a:gd name="T53" fmla="*/ 160 h 320"/>
                <a:gd name="T54" fmla="*/ 80 w 299"/>
                <a:gd name="T55" fmla="*/ 234 h 320"/>
                <a:gd name="T56" fmla="*/ 80 w 299"/>
                <a:gd name="T57" fmla="*/ 173 h 320"/>
                <a:gd name="T58" fmla="*/ 97 w 299"/>
                <a:gd name="T59" fmla="*/ 175 h 320"/>
                <a:gd name="T60" fmla="*/ 96 w 299"/>
                <a:gd name="T61" fmla="*/ 192 h 320"/>
                <a:gd name="T62" fmla="*/ 80 w 299"/>
                <a:gd name="T63" fmla="*/ 195 h 320"/>
                <a:gd name="T64" fmla="*/ 142 w 299"/>
                <a:gd name="T65" fmla="*/ 208 h 320"/>
                <a:gd name="T66" fmla="*/ 170 w 299"/>
                <a:gd name="T67" fmla="*/ 201 h 320"/>
                <a:gd name="T68" fmla="*/ 170 w 299"/>
                <a:gd name="T69" fmla="*/ 166 h 320"/>
                <a:gd name="T70" fmla="*/ 126 w 299"/>
                <a:gd name="T71" fmla="*/ 160 h 320"/>
                <a:gd name="T72" fmla="*/ 142 w 299"/>
                <a:gd name="T73" fmla="*/ 234 h 320"/>
                <a:gd name="T74" fmla="*/ 142 w 299"/>
                <a:gd name="T75" fmla="*/ 173 h 320"/>
                <a:gd name="T76" fmla="*/ 158 w 299"/>
                <a:gd name="T77" fmla="*/ 175 h 320"/>
                <a:gd name="T78" fmla="*/ 158 w 299"/>
                <a:gd name="T79" fmla="*/ 192 h 320"/>
                <a:gd name="T80" fmla="*/ 142 w 299"/>
                <a:gd name="T81" fmla="*/ 195 h 320"/>
                <a:gd name="T82" fmla="*/ 204 w 299"/>
                <a:gd name="T83" fmla="*/ 173 h 320"/>
                <a:gd name="T84" fmla="*/ 184 w 299"/>
                <a:gd name="T85" fmla="*/ 160 h 320"/>
                <a:gd name="T86" fmla="*/ 241 w 299"/>
                <a:gd name="T87" fmla="*/ 173 h 320"/>
                <a:gd name="T88" fmla="*/ 220 w 299"/>
                <a:gd name="T89" fmla="*/ 234 h 320"/>
                <a:gd name="T90" fmla="*/ 204 w 299"/>
                <a:gd name="T91" fmla="*/ 17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9" h="320">
                  <a:moveTo>
                    <a:pt x="288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7" y="84"/>
                    <a:pt x="267" y="82"/>
                    <a:pt x="266" y="81"/>
                  </a:cubicBezTo>
                  <a:cubicBezTo>
                    <a:pt x="266" y="80"/>
                    <a:pt x="265" y="78"/>
                    <a:pt x="264" y="77"/>
                  </a:cubicBezTo>
                  <a:cubicBezTo>
                    <a:pt x="189" y="3"/>
                    <a:pt x="189" y="3"/>
                    <a:pt x="189" y="3"/>
                  </a:cubicBezTo>
                  <a:cubicBezTo>
                    <a:pt x="188" y="2"/>
                    <a:pt x="187" y="1"/>
                    <a:pt x="186" y="0"/>
                  </a:cubicBezTo>
                  <a:cubicBezTo>
                    <a:pt x="184" y="0"/>
                    <a:pt x="183" y="0"/>
                    <a:pt x="18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62" y="320"/>
                    <a:pt x="267" y="315"/>
                    <a:pt x="267" y="309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128"/>
                    <a:pt x="299" y="128"/>
                    <a:pt x="299" y="128"/>
                  </a:cubicBezTo>
                  <a:cubicBezTo>
                    <a:pt x="299" y="122"/>
                    <a:pt x="294" y="117"/>
                    <a:pt x="288" y="117"/>
                  </a:cubicBezTo>
                  <a:close/>
                  <a:moveTo>
                    <a:pt x="192" y="36"/>
                  </a:moveTo>
                  <a:cubicBezTo>
                    <a:pt x="231" y="74"/>
                    <a:pt x="231" y="74"/>
                    <a:pt x="231" y="74"/>
                  </a:cubicBezTo>
                  <a:cubicBezTo>
                    <a:pt x="192" y="74"/>
                    <a:pt x="192" y="74"/>
                    <a:pt x="192" y="74"/>
                  </a:cubicBezTo>
                  <a:lnTo>
                    <a:pt x="192" y="36"/>
                  </a:lnTo>
                  <a:close/>
                  <a:moveTo>
                    <a:pt x="54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91"/>
                    <a:pt x="176" y="96"/>
                    <a:pt x="182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7"/>
                    <a:pt x="246" y="117"/>
                    <a:pt x="246" y="117"/>
                  </a:cubicBezTo>
                  <a:cubicBezTo>
                    <a:pt x="54" y="117"/>
                    <a:pt x="54" y="117"/>
                    <a:pt x="54" y="117"/>
                  </a:cubicBezTo>
                  <a:lnTo>
                    <a:pt x="54" y="21"/>
                  </a:lnTo>
                  <a:close/>
                  <a:moveTo>
                    <a:pt x="246" y="298"/>
                  </a:moveTo>
                  <a:cubicBezTo>
                    <a:pt x="54" y="298"/>
                    <a:pt x="54" y="298"/>
                    <a:pt x="54" y="298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246" y="277"/>
                    <a:pt x="246" y="277"/>
                    <a:pt x="246" y="277"/>
                  </a:cubicBezTo>
                  <a:lnTo>
                    <a:pt x="246" y="298"/>
                  </a:lnTo>
                  <a:close/>
                  <a:moveTo>
                    <a:pt x="278" y="256"/>
                  </a:moveTo>
                  <a:cubicBezTo>
                    <a:pt x="22" y="256"/>
                    <a:pt x="22" y="256"/>
                    <a:pt x="22" y="256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78" y="138"/>
                    <a:pt x="278" y="138"/>
                    <a:pt x="278" y="138"/>
                  </a:cubicBezTo>
                  <a:lnTo>
                    <a:pt x="278" y="256"/>
                  </a:lnTo>
                  <a:close/>
                  <a:moveTo>
                    <a:pt x="80" y="208"/>
                  </a:moveTo>
                  <a:cubicBezTo>
                    <a:pt x="87" y="208"/>
                    <a:pt x="87" y="208"/>
                    <a:pt x="87" y="208"/>
                  </a:cubicBezTo>
                  <a:cubicBezTo>
                    <a:pt x="96" y="208"/>
                    <a:pt x="103" y="206"/>
                    <a:pt x="108" y="201"/>
                  </a:cubicBezTo>
                  <a:cubicBezTo>
                    <a:pt x="113" y="197"/>
                    <a:pt x="116" y="191"/>
                    <a:pt x="116" y="183"/>
                  </a:cubicBezTo>
                  <a:cubicBezTo>
                    <a:pt x="116" y="175"/>
                    <a:pt x="114" y="169"/>
                    <a:pt x="109" y="166"/>
                  </a:cubicBezTo>
                  <a:cubicBezTo>
                    <a:pt x="104" y="162"/>
                    <a:pt x="97" y="160"/>
                    <a:pt x="88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80" y="234"/>
                    <a:pt x="80" y="234"/>
                    <a:pt x="80" y="234"/>
                  </a:cubicBezTo>
                  <a:lnTo>
                    <a:pt x="80" y="208"/>
                  </a:lnTo>
                  <a:close/>
                  <a:moveTo>
                    <a:pt x="80" y="173"/>
                  </a:moveTo>
                  <a:cubicBezTo>
                    <a:pt x="87" y="173"/>
                    <a:pt x="87" y="173"/>
                    <a:pt x="87" y="173"/>
                  </a:cubicBezTo>
                  <a:cubicBezTo>
                    <a:pt x="92" y="173"/>
                    <a:pt x="95" y="174"/>
                    <a:pt x="97" y="175"/>
                  </a:cubicBezTo>
                  <a:cubicBezTo>
                    <a:pt x="99" y="177"/>
                    <a:pt x="100" y="180"/>
                    <a:pt x="100" y="184"/>
                  </a:cubicBezTo>
                  <a:cubicBezTo>
                    <a:pt x="100" y="187"/>
                    <a:pt x="99" y="190"/>
                    <a:pt x="96" y="192"/>
                  </a:cubicBezTo>
                  <a:cubicBezTo>
                    <a:pt x="94" y="194"/>
                    <a:pt x="90" y="195"/>
                    <a:pt x="85" y="195"/>
                  </a:cubicBezTo>
                  <a:cubicBezTo>
                    <a:pt x="80" y="195"/>
                    <a:pt x="80" y="195"/>
                    <a:pt x="80" y="195"/>
                  </a:cubicBezTo>
                  <a:lnTo>
                    <a:pt x="80" y="173"/>
                  </a:lnTo>
                  <a:close/>
                  <a:moveTo>
                    <a:pt x="142" y="208"/>
                  </a:moveTo>
                  <a:cubicBezTo>
                    <a:pt x="148" y="208"/>
                    <a:pt x="148" y="208"/>
                    <a:pt x="148" y="208"/>
                  </a:cubicBezTo>
                  <a:cubicBezTo>
                    <a:pt x="158" y="208"/>
                    <a:pt x="165" y="206"/>
                    <a:pt x="170" y="201"/>
                  </a:cubicBezTo>
                  <a:cubicBezTo>
                    <a:pt x="175" y="197"/>
                    <a:pt x="177" y="191"/>
                    <a:pt x="177" y="183"/>
                  </a:cubicBezTo>
                  <a:cubicBezTo>
                    <a:pt x="177" y="175"/>
                    <a:pt x="175" y="169"/>
                    <a:pt x="170" y="166"/>
                  </a:cubicBezTo>
                  <a:cubicBezTo>
                    <a:pt x="166" y="162"/>
                    <a:pt x="159" y="160"/>
                    <a:pt x="150" y="160"/>
                  </a:cubicBezTo>
                  <a:cubicBezTo>
                    <a:pt x="126" y="160"/>
                    <a:pt x="126" y="160"/>
                    <a:pt x="126" y="160"/>
                  </a:cubicBezTo>
                  <a:cubicBezTo>
                    <a:pt x="126" y="234"/>
                    <a:pt x="126" y="234"/>
                    <a:pt x="126" y="234"/>
                  </a:cubicBezTo>
                  <a:cubicBezTo>
                    <a:pt x="142" y="234"/>
                    <a:pt x="142" y="234"/>
                    <a:pt x="142" y="234"/>
                  </a:cubicBezTo>
                  <a:lnTo>
                    <a:pt x="142" y="208"/>
                  </a:lnTo>
                  <a:close/>
                  <a:moveTo>
                    <a:pt x="142" y="173"/>
                  </a:moveTo>
                  <a:cubicBezTo>
                    <a:pt x="149" y="173"/>
                    <a:pt x="149" y="173"/>
                    <a:pt x="149" y="173"/>
                  </a:cubicBezTo>
                  <a:cubicBezTo>
                    <a:pt x="153" y="173"/>
                    <a:pt x="156" y="174"/>
                    <a:pt x="158" y="175"/>
                  </a:cubicBezTo>
                  <a:cubicBezTo>
                    <a:pt x="160" y="177"/>
                    <a:pt x="161" y="180"/>
                    <a:pt x="161" y="184"/>
                  </a:cubicBezTo>
                  <a:cubicBezTo>
                    <a:pt x="161" y="187"/>
                    <a:pt x="160" y="190"/>
                    <a:pt x="158" y="192"/>
                  </a:cubicBezTo>
                  <a:cubicBezTo>
                    <a:pt x="155" y="194"/>
                    <a:pt x="152" y="195"/>
                    <a:pt x="147" y="195"/>
                  </a:cubicBezTo>
                  <a:cubicBezTo>
                    <a:pt x="142" y="195"/>
                    <a:pt x="142" y="195"/>
                    <a:pt x="142" y="195"/>
                  </a:cubicBezTo>
                  <a:lnTo>
                    <a:pt x="142" y="173"/>
                  </a:lnTo>
                  <a:close/>
                  <a:moveTo>
                    <a:pt x="204" y="173"/>
                  </a:moveTo>
                  <a:cubicBezTo>
                    <a:pt x="184" y="173"/>
                    <a:pt x="184" y="173"/>
                    <a:pt x="184" y="173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241" y="160"/>
                    <a:pt x="241" y="160"/>
                    <a:pt x="241" y="160"/>
                  </a:cubicBezTo>
                  <a:cubicBezTo>
                    <a:pt x="241" y="173"/>
                    <a:pt x="241" y="173"/>
                    <a:pt x="241" y="173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20" y="234"/>
                    <a:pt x="220" y="234"/>
                    <a:pt x="220" y="234"/>
                  </a:cubicBezTo>
                  <a:cubicBezTo>
                    <a:pt x="204" y="234"/>
                    <a:pt x="204" y="234"/>
                    <a:pt x="204" y="234"/>
                  </a:cubicBezTo>
                  <a:lnTo>
                    <a:pt x="204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5" name="Group 749"/>
          <p:cNvGrpSpPr>
            <a:grpSpLocks noChangeAspect="1"/>
          </p:cNvGrpSpPr>
          <p:nvPr/>
        </p:nvGrpSpPr>
        <p:grpSpPr bwMode="auto">
          <a:xfrm>
            <a:off x="5405296" y="3743935"/>
            <a:ext cx="374119" cy="373038"/>
            <a:chOff x="4963" y="3130"/>
            <a:chExt cx="346" cy="345"/>
          </a:xfrm>
          <a:solidFill>
            <a:schemeClr val="accent2"/>
          </a:solidFill>
        </p:grpSpPr>
        <p:sp>
          <p:nvSpPr>
            <p:cNvPr id="616" name="Rectangle 750"/>
            <p:cNvSpPr>
              <a:spLocks noChangeArrowheads="1"/>
            </p:cNvSpPr>
            <p:nvPr/>
          </p:nvSpPr>
          <p:spPr bwMode="auto">
            <a:xfrm>
              <a:off x="5075" y="3378"/>
              <a:ext cx="128" cy="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7" name="Freeform 751"/>
            <p:cNvSpPr>
              <a:spLocks/>
            </p:cNvSpPr>
            <p:nvPr/>
          </p:nvSpPr>
          <p:spPr bwMode="auto">
            <a:xfrm>
              <a:off x="5075" y="3208"/>
              <a:ext cx="128" cy="63"/>
            </a:xfrm>
            <a:custGeom>
              <a:avLst/>
              <a:gdLst>
                <a:gd name="T0" fmla="*/ 192 w 192"/>
                <a:gd name="T1" fmla="*/ 75 h 96"/>
                <a:gd name="T2" fmla="*/ 128 w 192"/>
                <a:gd name="T3" fmla="*/ 75 h 96"/>
                <a:gd name="T4" fmla="*/ 117 w 192"/>
                <a:gd name="T5" fmla="*/ 64 h 96"/>
                <a:gd name="T6" fmla="*/ 117 w 192"/>
                <a:gd name="T7" fmla="*/ 0 h 96"/>
                <a:gd name="T8" fmla="*/ 0 w 192"/>
                <a:gd name="T9" fmla="*/ 0 h 96"/>
                <a:gd name="T10" fmla="*/ 0 w 192"/>
                <a:gd name="T11" fmla="*/ 96 h 96"/>
                <a:gd name="T12" fmla="*/ 192 w 192"/>
                <a:gd name="T13" fmla="*/ 96 h 96"/>
                <a:gd name="T14" fmla="*/ 192 w 192"/>
                <a:gd name="T15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96">
                  <a:moveTo>
                    <a:pt x="192" y="75"/>
                  </a:move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19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8" name="Freeform 752"/>
            <p:cNvSpPr>
              <a:spLocks/>
            </p:cNvSpPr>
            <p:nvPr/>
          </p:nvSpPr>
          <p:spPr bwMode="auto">
            <a:xfrm>
              <a:off x="5167" y="3218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9" name="Freeform 753"/>
            <p:cNvSpPr>
              <a:spLocks noEditPoints="1"/>
            </p:cNvSpPr>
            <p:nvPr/>
          </p:nvSpPr>
          <p:spPr bwMode="auto">
            <a:xfrm>
              <a:off x="4963" y="3130"/>
              <a:ext cx="346" cy="345"/>
            </a:xfrm>
            <a:custGeom>
              <a:avLst/>
              <a:gdLst>
                <a:gd name="T0" fmla="*/ 265 w 521"/>
                <a:gd name="T1" fmla="*/ 0 h 520"/>
                <a:gd name="T2" fmla="*/ 9 w 521"/>
                <a:gd name="T3" fmla="*/ 272 h 520"/>
                <a:gd name="T4" fmla="*/ 248 w 521"/>
                <a:gd name="T5" fmla="*/ 511 h 520"/>
                <a:gd name="T6" fmla="*/ 521 w 521"/>
                <a:gd name="T7" fmla="*/ 256 h 520"/>
                <a:gd name="T8" fmla="*/ 265 w 521"/>
                <a:gd name="T9" fmla="*/ 0 h 520"/>
                <a:gd name="T10" fmla="*/ 414 w 521"/>
                <a:gd name="T11" fmla="*/ 362 h 520"/>
                <a:gd name="T12" fmla="*/ 403 w 521"/>
                <a:gd name="T13" fmla="*/ 373 h 520"/>
                <a:gd name="T14" fmla="*/ 382 w 521"/>
                <a:gd name="T15" fmla="*/ 373 h 520"/>
                <a:gd name="T16" fmla="*/ 382 w 521"/>
                <a:gd name="T17" fmla="*/ 405 h 520"/>
                <a:gd name="T18" fmla="*/ 371 w 521"/>
                <a:gd name="T19" fmla="*/ 416 h 520"/>
                <a:gd name="T20" fmla="*/ 158 w 521"/>
                <a:gd name="T21" fmla="*/ 416 h 520"/>
                <a:gd name="T22" fmla="*/ 147 w 521"/>
                <a:gd name="T23" fmla="*/ 405 h 520"/>
                <a:gd name="T24" fmla="*/ 147 w 521"/>
                <a:gd name="T25" fmla="*/ 373 h 520"/>
                <a:gd name="T26" fmla="*/ 126 w 521"/>
                <a:gd name="T27" fmla="*/ 373 h 520"/>
                <a:gd name="T28" fmla="*/ 115 w 521"/>
                <a:gd name="T29" fmla="*/ 362 h 520"/>
                <a:gd name="T30" fmla="*/ 115 w 521"/>
                <a:gd name="T31" fmla="*/ 224 h 520"/>
                <a:gd name="T32" fmla="*/ 126 w 521"/>
                <a:gd name="T33" fmla="*/ 213 h 520"/>
                <a:gd name="T34" fmla="*/ 147 w 521"/>
                <a:gd name="T35" fmla="*/ 213 h 520"/>
                <a:gd name="T36" fmla="*/ 147 w 521"/>
                <a:gd name="T37" fmla="*/ 106 h 520"/>
                <a:gd name="T38" fmla="*/ 158 w 521"/>
                <a:gd name="T39" fmla="*/ 96 h 520"/>
                <a:gd name="T40" fmla="*/ 297 w 521"/>
                <a:gd name="T41" fmla="*/ 96 h 520"/>
                <a:gd name="T42" fmla="*/ 301 w 521"/>
                <a:gd name="T43" fmla="*/ 96 h 520"/>
                <a:gd name="T44" fmla="*/ 304 w 521"/>
                <a:gd name="T45" fmla="*/ 99 h 520"/>
                <a:gd name="T46" fmla="*/ 379 w 521"/>
                <a:gd name="T47" fmla="*/ 173 h 520"/>
                <a:gd name="T48" fmla="*/ 381 w 521"/>
                <a:gd name="T49" fmla="*/ 177 h 520"/>
                <a:gd name="T50" fmla="*/ 382 w 521"/>
                <a:gd name="T51" fmla="*/ 181 h 520"/>
                <a:gd name="T52" fmla="*/ 382 w 521"/>
                <a:gd name="T53" fmla="*/ 213 h 520"/>
                <a:gd name="T54" fmla="*/ 403 w 521"/>
                <a:gd name="T55" fmla="*/ 213 h 520"/>
                <a:gd name="T56" fmla="*/ 414 w 521"/>
                <a:gd name="T57" fmla="*/ 224 h 520"/>
                <a:gd name="T58" fmla="*/ 414 w 521"/>
                <a:gd name="T59" fmla="*/ 36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1" h="520">
                  <a:moveTo>
                    <a:pt x="265" y="0"/>
                  </a:moveTo>
                  <a:cubicBezTo>
                    <a:pt x="118" y="0"/>
                    <a:pt x="0" y="123"/>
                    <a:pt x="9" y="272"/>
                  </a:cubicBezTo>
                  <a:cubicBezTo>
                    <a:pt x="17" y="399"/>
                    <a:pt x="121" y="503"/>
                    <a:pt x="248" y="511"/>
                  </a:cubicBezTo>
                  <a:cubicBezTo>
                    <a:pt x="397" y="520"/>
                    <a:pt x="521" y="402"/>
                    <a:pt x="521" y="256"/>
                  </a:cubicBezTo>
                  <a:cubicBezTo>
                    <a:pt x="521" y="114"/>
                    <a:pt x="406" y="0"/>
                    <a:pt x="265" y="0"/>
                  </a:cubicBezTo>
                  <a:close/>
                  <a:moveTo>
                    <a:pt x="414" y="362"/>
                  </a:moveTo>
                  <a:cubicBezTo>
                    <a:pt x="414" y="368"/>
                    <a:pt x="409" y="373"/>
                    <a:pt x="403" y="373"/>
                  </a:cubicBezTo>
                  <a:cubicBezTo>
                    <a:pt x="382" y="373"/>
                    <a:pt x="382" y="373"/>
                    <a:pt x="382" y="373"/>
                  </a:cubicBezTo>
                  <a:cubicBezTo>
                    <a:pt x="382" y="405"/>
                    <a:pt x="382" y="405"/>
                    <a:pt x="382" y="405"/>
                  </a:cubicBezTo>
                  <a:cubicBezTo>
                    <a:pt x="382" y="411"/>
                    <a:pt x="377" y="416"/>
                    <a:pt x="371" y="416"/>
                  </a:cubicBezTo>
                  <a:cubicBezTo>
                    <a:pt x="158" y="416"/>
                    <a:pt x="158" y="416"/>
                    <a:pt x="158" y="416"/>
                  </a:cubicBezTo>
                  <a:cubicBezTo>
                    <a:pt x="152" y="416"/>
                    <a:pt x="147" y="411"/>
                    <a:pt x="147" y="405"/>
                  </a:cubicBezTo>
                  <a:cubicBezTo>
                    <a:pt x="147" y="373"/>
                    <a:pt x="147" y="373"/>
                    <a:pt x="147" y="373"/>
                  </a:cubicBezTo>
                  <a:cubicBezTo>
                    <a:pt x="126" y="373"/>
                    <a:pt x="126" y="373"/>
                    <a:pt x="126" y="373"/>
                  </a:cubicBezTo>
                  <a:cubicBezTo>
                    <a:pt x="120" y="373"/>
                    <a:pt x="115" y="368"/>
                    <a:pt x="115" y="362"/>
                  </a:cubicBezTo>
                  <a:cubicBezTo>
                    <a:pt x="115" y="224"/>
                    <a:pt x="115" y="224"/>
                    <a:pt x="115" y="224"/>
                  </a:cubicBezTo>
                  <a:cubicBezTo>
                    <a:pt x="115" y="218"/>
                    <a:pt x="120" y="213"/>
                    <a:pt x="126" y="213"/>
                  </a:cubicBezTo>
                  <a:cubicBezTo>
                    <a:pt x="147" y="213"/>
                    <a:pt x="147" y="213"/>
                    <a:pt x="147" y="213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7" y="100"/>
                    <a:pt x="152" y="96"/>
                    <a:pt x="158" y="96"/>
                  </a:cubicBezTo>
                  <a:cubicBezTo>
                    <a:pt x="297" y="96"/>
                    <a:pt x="297" y="96"/>
                    <a:pt x="297" y="96"/>
                  </a:cubicBezTo>
                  <a:cubicBezTo>
                    <a:pt x="298" y="96"/>
                    <a:pt x="299" y="96"/>
                    <a:pt x="301" y="96"/>
                  </a:cubicBezTo>
                  <a:cubicBezTo>
                    <a:pt x="302" y="97"/>
                    <a:pt x="303" y="98"/>
                    <a:pt x="304" y="99"/>
                  </a:cubicBezTo>
                  <a:cubicBezTo>
                    <a:pt x="379" y="173"/>
                    <a:pt x="379" y="173"/>
                    <a:pt x="379" y="173"/>
                  </a:cubicBezTo>
                  <a:cubicBezTo>
                    <a:pt x="380" y="174"/>
                    <a:pt x="381" y="176"/>
                    <a:pt x="381" y="177"/>
                  </a:cubicBezTo>
                  <a:cubicBezTo>
                    <a:pt x="382" y="178"/>
                    <a:pt x="382" y="180"/>
                    <a:pt x="382" y="181"/>
                  </a:cubicBezTo>
                  <a:cubicBezTo>
                    <a:pt x="382" y="213"/>
                    <a:pt x="382" y="213"/>
                    <a:pt x="382" y="213"/>
                  </a:cubicBezTo>
                  <a:cubicBezTo>
                    <a:pt x="403" y="213"/>
                    <a:pt x="403" y="213"/>
                    <a:pt x="403" y="213"/>
                  </a:cubicBezTo>
                  <a:cubicBezTo>
                    <a:pt x="409" y="213"/>
                    <a:pt x="414" y="218"/>
                    <a:pt x="414" y="224"/>
                  </a:cubicBezTo>
                  <a:lnTo>
                    <a:pt x="414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0" name="Freeform 754"/>
            <p:cNvSpPr>
              <a:spLocks noEditPoints="1"/>
            </p:cNvSpPr>
            <p:nvPr/>
          </p:nvSpPr>
          <p:spPr bwMode="auto">
            <a:xfrm>
              <a:off x="5054" y="3285"/>
              <a:ext cx="170" cy="79"/>
            </a:xfrm>
            <a:custGeom>
              <a:avLst/>
              <a:gdLst>
                <a:gd name="T0" fmla="*/ 0 w 256"/>
                <a:gd name="T1" fmla="*/ 118 h 118"/>
                <a:gd name="T2" fmla="*/ 256 w 256"/>
                <a:gd name="T3" fmla="*/ 118 h 118"/>
                <a:gd name="T4" fmla="*/ 256 w 256"/>
                <a:gd name="T5" fmla="*/ 0 h 118"/>
                <a:gd name="T6" fmla="*/ 0 w 256"/>
                <a:gd name="T7" fmla="*/ 0 h 118"/>
                <a:gd name="T8" fmla="*/ 0 w 256"/>
                <a:gd name="T9" fmla="*/ 118 h 118"/>
                <a:gd name="T10" fmla="*/ 165 w 256"/>
                <a:gd name="T11" fmla="*/ 78 h 118"/>
                <a:gd name="T12" fmla="*/ 178 w 256"/>
                <a:gd name="T13" fmla="*/ 83 h 118"/>
                <a:gd name="T14" fmla="*/ 188 w 256"/>
                <a:gd name="T15" fmla="*/ 84 h 118"/>
                <a:gd name="T16" fmla="*/ 196 w 256"/>
                <a:gd name="T17" fmla="*/ 82 h 118"/>
                <a:gd name="T18" fmla="*/ 198 w 256"/>
                <a:gd name="T19" fmla="*/ 76 h 118"/>
                <a:gd name="T20" fmla="*/ 197 w 256"/>
                <a:gd name="T21" fmla="*/ 72 h 118"/>
                <a:gd name="T22" fmla="*/ 194 w 256"/>
                <a:gd name="T23" fmla="*/ 69 h 118"/>
                <a:gd name="T24" fmla="*/ 184 w 256"/>
                <a:gd name="T25" fmla="*/ 64 h 118"/>
                <a:gd name="T26" fmla="*/ 174 w 256"/>
                <a:gd name="T27" fmla="*/ 58 h 118"/>
                <a:gd name="T28" fmla="*/ 168 w 256"/>
                <a:gd name="T29" fmla="*/ 51 h 118"/>
                <a:gd name="T30" fmla="*/ 166 w 256"/>
                <a:gd name="T31" fmla="*/ 42 h 118"/>
                <a:gd name="T32" fmla="*/ 173 w 256"/>
                <a:gd name="T33" fmla="*/ 26 h 118"/>
                <a:gd name="T34" fmla="*/ 191 w 256"/>
                <a:gd name="T35" fmla="*/ 21 h 118"/>
                <a:gd name="T36" fmla="*/ 203 w 256"/>
                <a:gd name="T37" fmla="*/ 22 h 118"/>
                <a:gd name="T38" fmla="*/ 214 w 256"/>
                <a:gd name="T39" fmla="*/ 26 h 118"/>
                <a:gd name="T40" fmla="*/ 208 w 256"/>
                <a:gd name="T41" fmla="*/ 38 h 118"/>
                <a:gd name="T42" fmla="*/ 199 w 256"/>
                <a:gd name="T43" fmla="*/ 35 h 118"/>
                <a:gd name="T44" fmla="*/ 191 w 256"/>
                <a:gd name="T45" fmla="*/ 34 h 118"/>
                <a:gd name="T46" fmla="*/ 184 w 256"/>
                <a:gd name="T47" fmla="*/ 36 h 118"/>
                <a:gd name="T48" fmla="*/ 182 w 256"/>
                <a:gd name="T49" fmla="*/ 41 h 118"/>
                <a:gd name="T50" fmla="*/ 183 w 256"/>
                <a:gd name="T51" fmla="*/ 45 h 118"/>
                <a:gd name="T52" fmla="*/ 186 w 256"/>
                <a:gd name="T53" fmla="*/ 48 h 118"/>
                <a:gd name="T54" fmla="*/ 196 w 256"/>
                <a:gd name="T55" fmla="*/ 53 h 118"/>
                <a:gd name="T56" fmla="*/ 210 w 256"/>
                <a:gd name="T57" fmla="*/ 63 h 118"/>
                <a:gd name="T58" fmla="*/ 214 w 256"/>
                <a:gd name="T59" fmla="*/ 76 h 118"/>
                <a:gd name="T60" fmla="*/ 207 w 256"/>
                <a:gd name="T61" fmla="*/ 92 h 118"/>
                <a:gd name="T62" fmla="*/ 186 w 256"/>
                <a:gd name="T63" fmla="*/ 97 h 118"/>
                <a:gd name="T64" fmla="*/ 165 w 256"/>
                <a:gd name="T65" fmla="*/ 93 h 118"/>
                <a:gd name="T66" fmla="*/ 165 w 256"/>
                <a:gd name="T67" fmla="*/ 78 h 118"/>
                <a:gd name="T68" fmla="*/ 111 w 256"/>
                <a:gd name="T69" fmla="*/ 22 h 118"/>
                <a:gd name="T70" fmla="*/ 127 w 256"/>
                <a:gd name="T71" fmla="*/ 22 h 118"/>
                <a:gd name="T72" fmla="*/ 127 w 256"/>
                <a:gd name="T73" fmla="*/ 83 h 118"/>
                <a:gd name="T74" fmla="*/ 157 w 256"/>
                <a:gd name="T75" fmla="*/ 83 h 118"/>
                <a:gd name="T76" fmla="*/ 157 w 256"/>
                <a:gd name="T77" fmla="*/ 96 h 118"/>
                <a:gd name="T78" fmla="*/ 111 w 256"/>
                <a:gd name="T79" fmla="*/ 96 h 118"/>
                <a:gd name="T80" fmla="*/ 111 w 256"/>
                <a:gd name="T81" fmla="*/ 22 h 118"/>
                <a:gd name="T82" fmla="*/ 33 w 256"/>
                <a:gd name="T83" fmla="*/ 22 h 118"/>
                <a:gd name="T84" fmla="*/ 51 w 256"/>
                <a:gd name="T85" fmla="*/ 22 h 118"/>
                <a:gd name="T86" fmla="*/ 67 w 256"/>
                <a:gd name="T87" fmla="*/ 49 h 118"/>
                <a:gd name="T88" fmla="*/ 83 w 256"/>
                <a:gd name="T89" fmla="*/ 22 h 118"/>
                <a:gd name="T90" fmla="*/ 100 w 256"/>
                <a:gd name="T91" fmla="*/ 22 h 118"/>
                <a:gd name="T92" fmla="*/ 76 w 256"/>
                <a:gd name="T93" fmla="*/ 59 h 118"/>
                <a:gd name="T94" fmla="*/ 101 w 256"/>
                <a:gd name="T95" fmla="*/ 96 h 118"/>
                <a:gd name="T96" fmla="*/ 83 w 256"/>
                <a:gd name="T97" fmla="*/ 96 h 118"/>
                <a:gd name="T98" fmla="*/ 66 w 256"/>
                <a:gd name="T99" fmla="*/ 68 h 118"/>
                <a:gd name="T100" fmla="*/ 49 w 256"/>
                <a:gd name="T101" fmla="*/ 96 h 118"/>
                <a:gd name="T102" fmla="*/ 32 w 256"/>
                <a:gd name="T103" fmla="*/ 96 h 118"/>
                <a:gd name="T104" fmla="*/ 56 w 256"/>
                <a:gd name="T105" fmla="*/ 58 h 118"/>
                <a:gd name="T106" fmla="*/ 33 w 256"/>
                <a:gd name="T107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6" h="118">
                  <a:moveTo>
                    <a:pt x="0" y="118"/>
                  </a:moveTo>
                  <a:cubicBezTo>
                    <a:pt x="256" y="118"/>
                    <a:pt x="256" y="118"/>
                    <a:pt x="256" y="11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8"/>
                  </a:lnTo>
                  <a:close/>
                  <a:moveTo>
                    <a:pt x="165" y="78"/>
                  </a:moveTo>
                  <a:cubicBezTo>
                    <a:pt x="170" y="80"/>
                    <a:pt x="175" y="82"/>
                    <a:pt x="178" y="83"/>
                  </a:cubicBezTo>
                  <a:cubicBezTo>
                    <a:pt x="182" y="84"/>
                    <a:pt x="185" y="84"/>
                    <a:pt x="188" y="84"/>
                  </a:cubicBezTo>
                  <a:cubicBezTo>
                    <a:pt x="191" y="84"/>
                    <a:pt x="194" y="84"/>
                    <a:pt x="196" y="82"/>
                  </a:cubicBezTo>
                  <a:cubicBezTo>
                    <a:pt x="197" y="81"/>
                    <a:pt x="198" y="79"/>
                    <a:pt x="198" y="76"/>
                  </a:cubicBezTo>
                  <a:cubicBezTo>
                    <a:pt x="198" y="75"/>
                    <a:pt x="198" y="74"/>
                    <a:pt x="197" y="72"/>
                  </a:cubicBezTo>
                  <a:cubicBezTo>
                    <a:pt x="196" y="71"/>
                    <a:pt x="195" y="70"/>
                    <a:pt x="194" y="69"/>
                  </a:cubicBezTo>
                  <a:cubicBezTo>
                    <a:pt x="192" y="68"/>
                    <a:pt x="189" y="66"/>
                    <a:pt x="184" y="64"/>
                  </a:cubicBezTo>
                  <a:cubicBezTo>
                    <a:pt x="179" y="62"/>
                    <a:pt x="176" y="60"/>
                    <a:pt x="174" y="58"/>
                  </a:cubicBezTo>
                  <a:cubicBezTo>
                    <a:pt x="171" y="56"/>
                    <a:pt x="170" y="54"/>
                    <a:pt x="168" y="51"/>
                  </a:cubicBezTo>
                  <a:cubicBezTo>
                    <a:pt x="167" y="48"/>
                    <a:pt x="166" y="45"/>
                    <a:pt x="166" y="42"/>
                  </a:cubicBezTo>
                  <a:cubicBezTo>
                    <a:pt x="166" y="35"/>
                    <a:pt x="168" y="30"/>
                    <a:pt x="173" y="26"/>
                  </a:cubicBezTo>
                  <a:cubicBezTo>
                    <a:pt x="177" y="23"/>
                    <a:pt x="184" y="21"/>
                    <a:pt x="191" y="21"/>
                  </a:cubicBezTo>
                  <a:cubicBezTo>
                    <a:pt x="195" y="21"/>
                    <a:pt x="199" y="21"/>
                    <a:pt x="203" y="22"/>
                  </a:cubicBezTo>
                  <a:cubicBezTo>
                    <a:pt x="206" y="23"/>
                    <a:pt x="210" y="24"/>
                    <a:pt x="214" y="26"/>
                  </a:cubicBezTo>
                  <a:cubicBezTo>
                    <a:pt x="208" y="38"/>
                    <a:pt x="208" y="38"/>
                    <a:pt x="208" y="38"/>
                  </a:cubicBezTo>
                  <a:cubicBezTo>
                    <a:pt x="204" y="37"/>
                    <a:pt x="201" y="35"/>
                    <a:pt x="199" y="35"/>
                  </a:cubicBezTo>
                  <a:cubicBezTo>
                    <a:pt x="196" y="34"/>
                    <a:pt x="193" y="34"/>
                    <a:pt x="191" y="34"/>
                  </a:cubicBezTo>
                  <a:cubicBezTo>
                    <a:pt x="188" y="34"/>
                    <a:pt x="186" y="35"/>
                    <a:pt x="184" y="36"/>
                  </a:cubicBezTo>
                  <a:cubicBezTo>
                    <a:pt x="182" y="37"/>
                    <a:pt x="182" y="39"/>
                    <a:pt x="182" y="41"/>
                  </a:cubicBezTo>
                  <a:cubicBezTo>
                    <a:pt x="182" y="43"/>
                    <a:pt x="182" y="44"/>
                    <a:pt x="183" y="45"/>
                  </a:cubicBezTo>
                  <a:cubicBezTo>
                    <a:pt x="183" y="46"/>
                    <a:pt x="184" y="47"/>
                    <a:pt x="186" y="48"/>
                  </a:cubicBezTo>
                  <a:cubicBezTo>
                    <a:pt x="187" y="49"/>
                    <a:pt x="190" y="51"/>
                    <a:pt x="196" y="53"/>
                  </a:cubicBezTo>
                  <a:cubicBezTo>
                    <a:pt x="203" y="57"/>
                    <a:pt x="207" y="60"/>
                    <a:pt x="210" y="63"/>
                  </a:cubicBezTo>
                  <a:cubicBezTo>
                    <a:pt x="213" y="67"/>
                    <a:pt x="214" y="71"/>
                    <a:pt x="214" y="76"/>
                  </a:cubicBezTo>
                  <a:cubicBezTo>
                    <a:pt x="214" y="82"/>
                    <a:pt x="211" y="88"/>
                    <a:pt x="207" y="92"/>
                  </a:cubicBezTo>
                  <a:cubicBezTo>
                    <a:pt x="202" y="95"/>
                    <a:pt x="195" y="97"/>
                    <a:pt x="186" y="97"/>
                  </a:cubicBezTo>
                  <a:cubicBezTo>
                    <a:pt x="178" y="97"/>
                    <a:pt x="171" y="96"/>
                    <a:pt x="165" y="93"/>
                  </a:cubicBezTo>
                  <a:lnTo>
                    <a:pt x="165" y="78"/>
                  </a:lnTo>
                  <a:close/>
                  <a:moveTo>
                    <a:pt x="111" y="22"/>
                  </a:moveTo>
                  <a:cubicBezTo>
                    <a:pt x="127" y="22"/>
                    <a:pt x="127" y="22"/>
                    <a:pt x="127" y="22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96"/>
                    <a:pt x="157" y="96"/>
                    <a:pt x="157" y="96"/>
                  </a:cubicBezTo>
                  <a:cubicBezTo>
                    <a:pt x="111" y="96"/>
                    <a:pt x="111" y="96"/>
                    <a:pt x="111" y="96"/>
                  </a:cubicBezTo>
                  <a:lnTo>
                    <a:pt x="111" y="22"/>
                  </a:lnTo>
                  <a:close/>
                  <a:moveTo>
                    <a:pt x="33" y="22"/>
                  </a:moveTo>
                  <a:cubicBezTo>
                    <a:pt x="51" y="22"/>
                    <a:pt x="51" y="22"/>
                    <a:pt x="51" y="22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56" y="58"/>
                    <a:pt x="56" y="58"/>
                    <a:pt x="56" y="58"/>
                  </a:cubicBezTo>
                  <a:lnTo>
                    <a:pt x="3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21" name="Group 757"/>
          <p:cNvGrpSpPr>
            <a:grpSpLocks noChangeAspect="1"/>
          </p:cNvGrpSpPr>
          <p:nvPr/>
        </p:nvGrpSpPr>
        <p:grpSpPr bwMode="auto">
          <a:xfrm>
            <a:off x="5908880" y="3743938"/>
            <a:ext cx="367631" cy="367631"/>
            <a:chOff x="5285" y="3084"/>
            <a:chExt cx="340" cy="340"/>
          </a:xfrm>
          <a:solidFill>
            <a:schemeClr val="accent2"/>
          </a:solidFill>
        </p:grpSpPr>
        <p:sp>
          <p:nvSpPr>
            <p:cNvPr id="622" name="Freeform 758"/>
            <p:cNvSpPr>
              <a:spLocks noEditPoints="1"/>
            </p:cNvSpPr>
            <p:nvPr/>
          </p:nvSpPr>
          <p:spPr bwMode="auto">
            <a:xfrm>
              <a:off x="5285" y="30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3" name="Freeform 759"/>
            <p:cNvSpPr>
              <a:spLocks noEditPoints="1"/>
            </p:cNvSpPr>
            <p:nvPr/>
          </p:nvSpPr>
          <p:spPr bwMode="auto">
            <a:xfrm>
              <a:off x="5355" y="3148"/>
              <a:ext cx="199" cy="212"/>
            </a:xfrm>
            <a:custGeom>
              <a:avLst/>
              <a:gdLst>
                <a:gd name="T0" fmla="*/ 267 w 299"/>
                <a:gd name="T1" fmla="*/ 117 h 320"/>
                <a:gd name="T2" fmla="*/ 266 w 299"/>
                <a:gd name="T3" fmla="*/ 81 h 320"/>
                <a:gd name="T4" fmla="*/ 189 w 299"/>
                <a:gd name="T5" fmla="*/ 3 h 320"/>
                <a:gd name="T6" fmla="*/ 182 w 299"/>
                <a:gd name="T7" fmla="*/ 0 h 320"/>
                <a:gd name="T8" fmla="*/ 32 w 299"/>
                <a:gd name="T9" fmla="*/ 10 h 320"/>
                <a:gd name="T10" fmla="*/ 11 w 299"/>
                <a:gd name="T11" fmla="*/ 117 h 320"/>
                <a:gd name="T12" fmla="*/ 0 w 299"/>
                <a:gd name="T13" fmla="*/ 266 h 320"/>
                <a:gd name="T14" fmla="*/ 32 w 299"/>
                <a:gd name="T15" fmla="*/ 277 h 320"/>
                <a:gd name="T16" fmla="*/ 43 w 299"/>
                <a:gd name="T17" fmla="*/ 320 h 320"/>
                <a:gd name="T18" fmla="*/ 267 w 299"/>
                <a:gd name="T19" fmla="*/ 309 h 320"/>
                <a:gd name="T20" fmla="*/ 288 w 299"/>
                <a:gd name="T21" fmla="*/ 277 h 320"/>
                <a:gd name="T22" fmla="*/ 299 w 299"/>
                <a:gd name="T23" fmla="*/ 128 h 320"/>
                <a:gd name="T24" fmla="*/ 192 w 299"/>
                <a:gd name="T25" fmla="*/ 36 h 320"/>
                <a:gd name="T26" fmla="*/ 192 w 299"/>
                <a:gd name="T27" fmla="*/ 74 h 320"/>
                <a:gd name="T28" fmla="*/ 54 w 299"/>
                <a:gd name="T29" fmla="*/ 21 h 320"/>
                <a:gd name="T30" fmla="*/ 171 w 299"/>
                <a:gd name="T31" fmla="*/ 85 h 320"/>
                <a:gd name="T32" fmla="*/ 246 w 299"/>
                <a:gd name="T33" fmla="*/ 96 h 320"/>
                <a:gd name="T34" fmla="*/ 54 w 299"/>
                <a:gd name="T35" fmla="*/ 117 h 320"/>
                <a:gd name="T36" fmla="*/ 246 w 299"/>
                <a:gd name="T37" fmla="*/ 298 h 320"/>
                <a:gd name="T38" fmla="*/ 54 w 299"/>
                <a:gd name="T39" fmla="*/ 277 h 320"/>
                <a:gd name="T40" fmla="*/ 246 w 299"/>
                <a:gd name="T41" fmla="*/ 298 h 320"/>
                <a:gd name="T42" fmla="*/ 22 w 299"/>
                <a:gd name="T43" fmla="*/ 256 h 320"/>
                <a:gd name="T44" fmla="*/ 278 w 299"/>
                <a:gd name="T45" fmla="*/ 138 h 320"/>
                <a:gd name="T46" fmla="*/ 208 w 299"/>
                <a:gd name="T47" fmla="*/ 235 h 320"/>
                <a:gd name="T48" fmla="*/ 187 w 299"/>
                <a:gd name="T49" fmla="*/ 216 h 320"/>
                <a:gd name="T50" fmla="*/ 210 w 299"/>
                <a:gd name="T51" fmla="*/ 222 h 320"/>
                <a:gd name="T52" fmla="*/ 220 w 299"/>
                <a:gd name="T53" fmla="*/ 214 h 320"/>
                <a:gd name="T54" fmla="*/ 216 w 299"/>
                <a:gd name="T55" fmla="*/ 207 h 320"/>
                <a:gd name="T56" fmla="*/ 196 w 299"/>
                <a:gd name="T57" fmla="*/ 196 h 320"/>
                <a:gd name="T58" fmla="*/ 188 w 299"/>
                <a:gd name="T59" fmla="*/ 180 h 320"/>
                <a:gd name="T60" fmla="*/ 213 w 299"/>
                <a:gd name="T61" fmla="*/ 159 h 320"/>
                <a:gd name="T62" fmla="*/ 236 w 299"/>
                <a:gd name="T63" fmla="*/ 164 h 320"/>
                <a:gd name="T64" fmla="*/ 221 w 299"/>
                <a:gd name="T65" fmla="*/ 173 h 320"/>
                <a:gd name="T66" fmla="*/ 206 w 299"/>
                <a:gd name="T67" fmla="*/ 174 h 320"/>
                <a:gd name="T68" fmla="*/ 205 w 299"/>
                <a:gd name="T69" fmla="*/ 183 h 320"/>
                <a:gd name="T70" fmla="*/ 218 w 299"/>
                <a:gd name="T71" fmla="*/ 191 h 320"/>
                <a:gd name="T72" fmla="*/ 236 w 299"/>
                <a:gd name="T73" fmla="*/ 214 h 320"/>
                <a:gd name="T74" fmla="*/ 208 w 299"/>
                <a:gd name="T75" fmla="*/ 235 h 320"/>
                <a:gd name="T76" fmla="*/ 78 w 299"/>
                <a:gd name="T77" fmla="*/ 196 h 320"/>
                <a:gd name="T78" fmla="*/ 73 w 299"/>
                <a:gd name="T79" fmla="*/ 160 h 320"/>
                <a:gd name="T80" fmla="*/ 105 w 299"/>
                <a:gd name="T81" fmla="*/ 160 h 320"/>
                <a:gd name="T82" fmla="*/ 98 w 299"/>
                <a:gd name="T83" fmla="*/ 197 h 320"/>
                <a:gd name="T84" fmla="*/ 105 w 299"/>
                <a:gd name="T85" fmla="*/ 234 h 320"/>
                <a:gd name="T86" fmla="*/ 71 w 299"/>
                <a:gd name="T87" fmla="*/ 234 h 320"/>
                <a:gd name="T88" fmla="*/ 179 w 299"/>
                <a:gd name="T89" fmla="*/ 234 h 320"/>
                <a:gd name="T90" fmla="*/ 133 w 299"/>
                <a:gd name="T91" fmla="*/ 160 h 320"/>
                <a:gd name="T92" fmla="*/ 149 w 299"/>
                <a:gd name="T93" fmla="*/ 221 h 320"/>
                <a:gd name="T94" fmla="*/ 179 w 299"/>
                <a:gd name="T9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9" h="320">
                  <a:moveTo>
                    <a:pt x="288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7" y="84"/>
                    <a:pt x="267" y="82"/>
                    <a:pt x="266" y="81"/>
                  </a:cubicBezTo>
                  <a:cubicBezTo>
                    <a:pt x="266" y="80"/>
                    <a:pt x="265" y="78"/>
                    <a:pt x="264" y="77"/>
                  </a:cubicBezTo>
                  <a:cubicBezTo>
                    <a:pt x="189" y="3"/>
                    <a:pt x="189" y="3"/>
                    <a:pt x="189" y="3"/>
                  </a:cubicBezTo>
                  <a:cubicBezTo>
                    <a:pt x="188" y="2"/>
                    <a:pt x="187" y="1"/>
                    <a:pt x="186" y="0"/>
                  </a:cubicBezTo>
                  <a:cubicBezTo>
                    <a:pt x="184" y="0"/>
                    <a:pt x="183" y="0"/>
                    <a:pt x="18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62" y="320"/>
                    <a:pt x="267" y="315"/>
                    <a:pt x="267" y="309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128"/>
                    <a:pt x="299" y="128"/>
                    <a:pt x="299" y="128"/>
                  </a:cubicBezTo>
                  <a:cubicBezTo>
                    <a:pt x="299" y="122"/>
                    <a:pt x="294" y="117"/>
                    <a:pt x="288" y="117"/>
                  </a:cubicBezTo>
                  <a:close/>
                  <a:moveTo>
                    <a:pt x="192" y="36"/>
                  </a:moveTo>
                  <a:cubicBezTo>
                    <a:pt x="231" y="74"/>
                    <a:pt x="231" y="74"/>
                    <a:pt x="231" y="74"/>
                  </a:cubicBezTo>
                  <a:cubicBezTo>
                    <a:pt x="192" y="74"/>
                    <a:pt x="192" y="74"/>
                    <a:pt x="192" y="74"/>
                  </a:cubicBezTo>
                  <a:lnTo>
                    <a:pt x="192" y="36"/>
                  </a:lnTo>
                  <a:close/>
                  <a:moveTo>
                    <a:pt x="54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91"/>
                    <a:pt x="176" y="96"/>
                    <a:pt x="182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7"/>
                    <a:pt x="246" y="117"/>
                    <a:pt x="246" y="117"/>
                  </a:cubicBezTo>
                  <a:cubicBezTo>
                    <a:pt x="54" y="117"/>
                    <a:pt x="54" y="117"/>
                    <a:pt x="54" y="117"/>
                  </a:cubicBezTo>
                  <a:lnTo>
                    <a:pt x="54" y="21"/>
                  </a:lnTo>
                  <a:close/>
                  <a:moveTo>
                    <a:pt x="246" y="298"/>
                  </a:moveTo>
                  <a:cubicBezTo>
                    <a:pt x="54" y="298"/>
                    <a:pt x="54" y="298"/>
                    <a:pt x="54" y="298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246" y="277"/>
                    <a:pt x="246" y="277"/>
                    <a:pt x="246" y="277"/>
                  </a:cubicBezTo>
                  <a:lnTo>
                    <a:pt x="246" y="298"/>
                  </a:lnTo>
                  <a:close/>
                  <a:moveTo>
                    <a:pt x="278" y="256"/>
                  </a:moveTo>
                  <a:cubicBezTo>
                    <a:pt x="22" y="256"/>
                    <a:pt x="22" y="256"/>
                    <a:pt x="22" y="256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78" y="138"/>
                    <a:pt x="278" y="138"/>
                    <a:pt x="278" y="138"/>
                  </a:cubicBezTo>
                  <a:lnTo>
                    <a:pt x="278" y="256"/>
                  </a:lnTo>
                  <a:close/>
                  <a:moveTo>
                    <a:pt x="208" y="235"/>
                  </a:moveTo>
                  <a:cubicBezTo>
                    <a:pt x="200" y="235"/>
                    <a:pt x="193" y="234"/>
                    <a:pt x="187" y="231"/>
                  </a:cubicBezTo>
                  <a:cubicBezTo>
                    <a:pt x="187" y="216"/>
                    <a:pt x="187" y="216"/>
                    <a:pt x="187" y="216"/>
                  </a:cubicBezTo>
                  <a:cubicBezTo>
                    <a:pt x="192" y="218"/>
                    <a:pt x="197" y="220"/>
                    <a:pt x="200" y="221"/>
                  </a:cubicBezTo>
                  <a:cubicBezTo>
                    <a:pt x="204" y="222"/>
                    <a:pt x="207" y="222"/>
                    <a:pt x="210" y="222"/>
                  </a:cubicBezTo>
                  <a:cubicBezTo>
                    <a:pt x="213" y="222"/>
                    <a:pt x="216" y="222"/>
                    <a:pt x="218" y="220"/>
                  </a:cubicBezTo>
                  <a:cubicBezTo>
                    <a:pt x="219" y="219"/>
                    <a:pt x="220" y="217"/>
                    <a:pt x="220" y="214"/>
                  </a:cubicBezTo>
                  <a:cubicBezTo>
                    <a:pt x="220" y="213"/>
                    <a:pt x="220" y="212"/>
                    <a:pt x="219" y="210"/>
                  </a:cubicBezTo>
                  <a:cubicBezTo>
                    <a:pt x="218" y="209"/>
                    <a:pt x="217" y="208"/>
                    <a:pt x="216" y="207"/>
                  </a:cubicBezTo>
                  <a:cubicBezTo>
                    <a:pt x="214" y="206"/>
                    <a:pt x="211" y="204"/>
                    <a:pt x="206" y="202"/>
                  </a:cubicBezTo>
                  <a:cubicBezTo>
                    <a:pt x="201" y="200"/>
                    <a:pt x="198" y="198"/>
                    <a:pt x="196" y="196"/>
                  </a:cubicBezTo>
                  <a:cubicBezTo>
                    <a:pt x="193" y="194"/>
                    <a:pt x="192" y="192"/>
                    <a:pt x="190" y="189"/>
                  </a:cubicBezTo>
                  <a:cubicBezTo>
                    <a:pt x="189" y="186"/>
                    <a:pt x="188" y="183"/>
                    <a:pt x="188" y="180"/>
                  </a:cubicBezTo>
                  <a:cubicBezTo>
                    <a:pt x="188" y="173"/>
                    <a:pt x="190" y="168"/>
                    <a:pt x="195" y="164"/>
                  </a:cubicBezTo>
                  <a:cubicBezTo>
                    <a:pt x="199" y="161"/>
                    <a:pt x="206" y="159"/>
                    <a:pt x="213" y="159"/>
                  </a:cubicBezTo>
                  <a:cubicBezTo>
                    <a:pt x="217" y="159"/>
                    <a:pt x="221" y="159"/>
                    <a:pt x="225" y="160"/>
                  </a:cubicBezTo>
                  <a:cubicBezTo>
                    <a:pt x="228" y="161"/>
                    <a:pt x="232" y="162"/>
                    <a:pt x="236" y="164"/>
                  </a:cubicBezTo>
                  <a:cubicBezTo>
                    <a:pt x="230" y="176"/>
                    <a:pt x="230" y="176"/>
                    <a:pt x="230" y="176"/>
                  </a:cubicBezTo>
                  <a:cubicBezTo>
                    <a:pt x="226" y="175"/>
                    <a:pt x="223" y="173"/>
                    <a:pt x="221" y="173"/>
                  </a:cubicBezTo>
                  <a:cubicBezTo>
                    <a:pt x="218" y="172"/>
                    <a:pt x="215" y="172"/>
                    <a:pt x="213" y="172"/>
                  </a:cubicBezTo>
                  <a:cubicBezTo>
                    <a:pt x="210" y="172"/>
                    <a:pt x="208" y="173"/>
                    <a:pt x="206" y="174"/>
                  </a:cubicBezTo>
                  <a:cubicBezTo>
                    <a:pt x="204" y="175"/>
                    <a:pt x="204" y="177"/>
                    <a:pt x="204" y="179"/>
                  </a:cubicBezTo>
                  <a:cubicBezTo>
                    <a:pt x="204" y="181"/>
                    <a:pt x="204" y="182"/>
                    <a:pt x="205" y="183"/>
                  </a:cubicBezTo>
                  <a:cubicBezTo>
                    <a:pt x="205" y="184"/>
                    <a:pt x="206" y="185"/>
                    <a:pt x="208" y="186"/>
                  </a:cubicBezTo>
                  <a:cubicBezTo>
                    <a:pt x="209" y="187"/>
                    <a:pt x="212" y="189"/>
                    <a:pt x="218" y="191"/>
                  </a:cubicBezTo>
                  <a:cubicBezTo>
                    <a:pt x="225" y="195"/>
                    <a:pt x="229" y="198"/>
                    <a:pt x="232" y="201"/>
                  </a:cubicBezTo>
                  <a:cubicBezTo>
                    <a:pt x="235" y="205"/>
                    <a:pt x="236" y="209"/>
                    <a:pt x="236" y="214"/>
                  </a:cubicBezTo>
                  <a:cubicBezTo>
                    <a:pt x="236" y="220"/>
                    <a:pt x="233" y="226"/>
                    <a:pt x="229" y="230"/>
                  </a:cubicBezTo>
                  <a:cubicBezTo>
                    <a:pt x="224" y="233"/>
                    <a:pt x="217" y="235"/>
                    <a:pt x="208" y="235"/>
                  </a:cubicBezTo>
                  <a:close/>
                  <a:moveTo>
                    <a:pt x="54" y="234"/>
                  </a:moveTo>
                  <a:cubicBezTo>
                    <a:pt x="78" y="196"/>
                    <a:pt x="78" y="196"/>
                    <a:pt x="78" y="196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89" y="187"/>
                    <a:pt x="89" y="187"/>
                    <a:pt x="89" y="187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22" y="160"/>
                    <a:pt x="122" y="160"/>
                    <a:pt x="122" y="160"/>
                  </a:cubicBezTo>
                  <a:cubicBezTo>
                    <a:pt x="98" y="197"/>
                    <a:pt x="98" y="197"/>
                    <a:pt x="98" y="197"/>
                  </a:cubicBezTo>
                  <a:cubicBezTo>
                    <a:pt x="123" y="234"/>
                    <a:pt x="123" y="234"/>
                    <a:pt x="123" y="234"/>
                  </a:cubicBezTo>
                  <a:cubicBezTo>
                    <a:pt x="105" y="234"/>
                    <a:pt x="105" y="234"/>
                    <a:pt x="105" y="234"/>
                  </a:cubicBezTo>
                  <a:cubicBezTo>
                    <a:pt x="88" y="206"/>
                    <a:pt x="88" y="206"/>
                    <a:pt x="88" y="206"/>
                  </a:cubicBezTo>
                  <a:cubicBezTo>
                    <a:pt x="71" y="234"/>
                    <a:pt x="71" y="234"/>
                    <a:pt x="71" y="234"/>
                  </a:cubicBezTo>
                  <a:lnTo>
                    <a:pt x="54" y="234"/>
                  </a:lnTo>
                  <a:close/>
                  <a:moveTo>
                    <a:pt x="179" y="234"/>
                  </a:moveTo>
                  <a:cubicBezTo>
                    <a:pt x="133" y="234"/>
                    <a:pt x="133" y="234"/>
                    <a:pt x="133" y="234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49" y="160"/>
                    <a:pt x="149" y="160"/>
                    <a:pt x="149" y="160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79" y="221"/>
                    <a:pt x="179" y="221"/>
                    <a:pt x="179" y="221"/>
                  </a:cubicBezTo>
                  <a:lnTo>
                    <a:pt x="179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24" name="Freeform 763"/>
          <p:cNvSpPr>
            <a:spLocks noChangeAspect="1" noEditPoints="1"/>
          </p:cNvSpPr>
          <p:nvPr/>
        </p:nvSpPr>
        <p:spPr bwMode="auto">
          <a:xfrm>
            <a:off x="6405976" y="3743938"/>
            <a:ext cx="367631" cy="367631"/>
          </a:xfrm>
          <a:custGeom>
            <a:avLst/>
            <a:gdLst>
              <a:gd name="T0" fmla="*/ 160 w 512"/>
              <a:gd name="T1" fmla="*/ 213 h 512"/>
              <a:gd name="T2" fmla="*/ 277 w 512"/>
              <a:gd name="T3" fmla="*/ 117 h 512"/>
              <a:gd name="T4" fmla="*/ 288 w 512"/>
              <a:gd name="T5" fmla="*/ 192 h 512"/>
              <a:gd name="T6" fmla="*/ 352 w 512"/>
              <a:gd name="T7" fmla="*/ 213 h 512"/>
              <a:gd name="T8" fmla="*/ 352 w 512"/>
              <a:gd name="T9" fmla="*/ 394 h 512"/>
              <a:gd name="T10" fmla="*/ 160 w 512"/>
              <a:gd name="T11" fmla="*/ 373 h 512"/>
              <a:gd name="T12" fmla="*/ 298 w 512"/>
              <a:gd name="T13" fmla="*/ 132 h 512"/>
              <a:gd name="T14" fmla="*/ 337 w 512"/>
              <a:gd name="T15" fmla="*/ 170 h 512"/>
              <a:gd name="T16" fmla="*/ 298 w 512"/>
              <a:gd name="T17" fmla="*/ 288 h 512"/>
              <a:gd name="T18" fmla="*/ 299 w 512"/>
              <a:gd name="T19" fmla="*/ 271 h 512"/>
              <a:gd name="T20" fmla="*/ 282 w 512"/>
              <a:gd name="T21" fmla="*/ 269 h 512"/>
              <a:gd name="T22" fmla="*/ 287 w 512"/>
              <a:gd name="T23" fmla="*/ 291 h 512"/>
              <a:gd name="T24" fmla="*/ 512 w 512"/>
              <a:gd name="T25" fmla="*/ 256 h 512"/>
              <a:gd name="T26" fmla="*/ 0 w 512"/>
              <a:gd name="T27" fmla="*/ 256 h 512"/>
              <a:gd name="T28" fmla="*/ 512 w 512"/>
              <a:gd name="T29" fmla="*/ 256 h 512"/>
              <a:gd name="T30" fmla="*/ 394 w 512"/>
              <a:gd name="T31" fmla="*/ 213 h 512"/>
              <a:gd name="T32" fmla="*/ 373 w 512"/>
              <a:gd name="T33" fmla="*/ 181 h 512"/>
              <a:gd name="T34" fmla="*/ 370 w 512"/>
              <a:gd name="T35" fmla="*/ 173 h 512"/>
              <a:gd name="T36" fmla="*/ 292 w 512"/>
              <a:gd name="T37" fmla="*/ 96 h 512"/>
              <a:gd name="T38" fmla="*/ 149 w 512"/>
              <a:gd name="T39" fmla="*/ 96 h 512"/>
              <a:gd name="T40" fmla="*/ 138 w 512"/>
              <a:gd name="T41" fmla="*/ 213 h 512"/>
              <a:gd name="T42" fmla="*/ 106 w 512"/>
              <a:gd name="T43" fmla="*/ 224 h 512"/>
              <a:gd name="T44" fmla="*/ 117 w 512"/>
              <a:gd name="T45" fmla="*/ 373 h 512"/>
              <a:gd name="T46" fmla="*/ 138 w 512"/>
              <a:gd name="T47" fmla="*/ 405 h 512"/>
              <a:gd name="T48" fmla="*/ 362 w 512"/>
              <a:gd name="T49" fmla="*/ 416 h 512"/>
              <a:gd name="T50" fmla="*/ 373 w 512"/>
              <a:gd name="T51" fmla="*/ 373 h 512"/>
              <a:gd name="T52" fmla="*/ 405 w 512"/>
              <a:gd name="T53" fmla="*/ 362 h 512"/>
              <a:gd name="T54" fmla="*/ 128 w 512"/>
              <a:gd name="T55" fmla="*/ 234 h 512"/>
              <a:gd name="T56" fmla="*/ 384 w 512"/>
              <a:gd name="T57" fmla="*/ 352 h 512"/>
              <a:gd name="T58" fmla="*/ 128 w 512"/>
              <a:gd name="T59" fmla="*/ 234 h 512"/>
              <a:gd name="T60" fmla="*/ 282 w 512"/>
              <a:gd name="T61" fmla="*/ 330 h 512"/>
              <a:gd name="T62" fmla="*/ 289 w 512"/>
              <a:gd name="T63" fmla="*/ 304 h 512"/>
              <a:gd name="T64" fmla="*/ 318 w 512"/>
              <a:gd name="T65" fmla="*/ 279 h 512"/>
              <a:gd name="T66" fmla="*/ 290 w 512"/>
              <a:gd name="T67" fmla="*/ 256 h 512"/>
              <a:gd name="T68" fmla="*/ 266 w 512"/>
              <a:gd name="T69" fmla="*/ 330 h 512"/>
              <a:gd name="T70" fmla="*/ 254 w 512"/>
              <a:gd name="T71" fmla="*/ 330 h 512"/>
              <a:gd name="T72" fmla="*/ 238 w 512"/>
              <a:gd name="T73" fmla="*/ 256 h 512"/>
              <a:gd name="T74" fmla="*/ 170 w 512"/>
              <a:gd name="T75" fmla="*/ 330 h 512"/>
              <a:gd name="T76" fmla="*/ 226 w 512"/>
              <a:gd name="T77" fmla="*/ 317 h 512"/>
              <a:gd name="T78" fmla="*/ 225 w 512"/>
              <a:gd name="T79" fmla="*/ 266 h 512"/>
              <a:gd name="T80" fmla="*/ 171 w 512"/>
              <a:gd name="T81" fmla="*/ 256 h 512"/>
              <a:gd name="T82" fmla="*/ 206 w 512"/>
              <a:gd name="T83" fmla="*/ 269 h 512"/>
              <a:gd name="T84" fmla="*/ 170 w 512"/>
              <a:gd name="T85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352" y="213"/>
                </a:moveTo>
                <a:cubicBezTo>
                  <a:pt x="160" y="213"/>
                  <a:pt x="160" y="213"/>
                  <a:pt x="160" y="213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277" y="117"/>
                  <a:pt x="277" y="117"/>
                  <a:pt x="277" y="117"/>
                </a:cubicBezTo>
                <a:cubicBezTo>
                  <a:pt x="277" y="181"/>
                  <a:pt x="277" y="181"/>
                  <a:pt x="277" y="181"/>
                </a:cubicBezTo>
                <a:cubicBezTo>
                  <a:pt x="277" y="187"/>
                  <a:pt x="282" y="192"/>
                  <a:pt x="288" y="192"/>
                </a:cubicBezTo>
                <a:cubicBezTo>
                  <a:pt x="352" y="192"/>
                  <a:pt x="352" y="192"/>
                  <a:pt x="352" y="192"/>
                </a:cubicBezTo>
                <a:lnTo>
                  <a:pt x="352" y="213"/>
                </a:lnTo>
                <a:close/>
                <a:moveTo>
                  <a:pt x="160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160" y="373"/>
                  <a:pt x="160" y="373"/>
                  <a:pt x="160" y="373"/>
                </a:cubicBezTo>
                <a:lnTo>
                  <a:pt x="160" y="394"/>
                </a:lnTo>
                <a:close/>
                <a:moveTo>
                  <a:pt x="298" y="132"/>
                </a:moveTo>
                <a:cubicBezTo>
                  <a:pt x="298" y="170"/>
                  <a:pt x="298" y="170"/>
                  <a:pt x="298" y="170"/>
                </a:cubicBezTo>
                <a:cubicBezTo>
                  <a:pt x="337" y="170"/>
                  <a:pt x="337" y="170"/>
                  <a:pt x="337" y="170"/>
                </a:cubicBezTo>
                <a:lnTo>
                  <a:pt x="298" y="132"/>
                </a:lnTo>
                <a:close/>
                <a:moveTo>
                  <a:pt x="298" y="288"/>
                </a:moveTo>
                <a:cubicBezTo>
                  <a:pt x="301" y="286"/>
                  <a:pt x="302" y="283"/>
                  <a:pt x="302" y="280"/>
                </a:cubicBezTo>
                <a:cubicBezTo>
                  <a:pt x="302" y="276"/>
                  <a:pt x="301" y="273"/>
                  <a:pt x="299" y="271"/>
                </a:cubicBezTo>
                <a:cubicBezTo>
                  <a:pt x="297" y="270"/>
                  <a:pt x="294" y="269"/>
                  <a:pt x="289" y="269"/>
                </a:cubicBezTo>
                <a:cubicBezTo>
                  <a:pt x="282" y="269"/>
                  <a:pt x="282" y="269"/>
                  <a:pt x="282" y="269"/>
                </a:cubicBezTo>
                <a:cubicBezTo>
                  <a:pt x="282" y="291"/>
                  <a:pt x="282" y="291"/>
                  <a:pt x="282" y="291"/>
                </a:cubicBezTo>
                <a:cubicBezTo>
                  <a:pt x="287" y="291"/>
                  <a:pt x="287" y="291"/>
                  <a:pt x="287" y="291"/>
                </a:cubicBezTo>
                <a:cubicBezTo>
                  <a:pt x="292" y="291"/>
                  <a:pt x="296" y="290"/>
                  <a:pt x="298" y="28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224"/>
                </a:moveTo>
                <a:cubicBezTo>
                  <a:pt x="405" y="218"/>
                  <a:pt x="400" y="213"/>
                  <a:pt x="394" y="213"/>
                </a:cubicBezTo>
                <a:cubicBezTo>
                  <a:pt x="373" y="213"/>
                  <a:pt x="373" y="213"/>
                  <a:pt x="373" y="213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80"/>
                  <a:pt x="373" y="178"/>
                  <a:pt x="372" y="177"/>
                </a:cubicBezTo>
                <a:cubicBezTo>
                  <a:pt x="372" y="176"/>
                  <a:pt x="371" y="174"/>
                  <a:pt x="370" y="173"/>
                </a:cubicBezTo>
                <a:cubicBezTo>
                  <a:pt x="295" y="99"/>
                  <a:pt x="295" y="99"/>
                  <a:pt x="295" y="99"/>
                </a:cubicBezTo>
                <a:cubicBezTo>
                  <a:pt x="294" y="98"/>
                  <a:pt x="293" y="97"/>
                  <a:pt x="292" y="96"/>
                </a:cubicBezTo>
                <a:cubicBezTo>
                  <a:pt x="290" y="96"/>
                  <a:pt x="289" y="96"/>
                  <a:pt x="288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213"/>
                  <a:pt x="138" y="213"/>
                  <a:pt x="138" y="213"/>
                </a:cubicBezTo>
                <a:cubicBezTo>
                  <a:pt x="117" y="213"/>
                  <a:pt x="117" y="213"/>
                  <a:pt x="117" y="213"/>
                </a:cubicBezTo>
                <a:cubicBezTo>
                  <a:pt x="111" y="213"/>
                  <a:pt x="106" y="218"/>
                  <a:pt x="106" y="224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6" y="368"/>
                  <a:pt x="111" y="373"/>
                  <a:pt x="117" y="373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400" y="373"/>
                  <a:pt x="405" y="368"/>
                  <a:pt x="405" y="362"/>
                </a:cubicBezTo>
                <a:lnTo>
                  <a:pt x="405" y="224"/>
                </a:lnTo>
                <a:close/>
                <a:moveTo>
                  <a:pt x="128" y="234"/>
                </a:moveTo>
                <a:cubicBezTo>
                  <a:pt x="384" y="234"/>
                  <a:pt x="384" y="234"/>
                  <a:pt x="384" y="234"/>
                </a:cubicBezTo>
                <a:cubicBezTo>
                  <a:pt x="384" y="352"/>
                  <a:pt x="384" y="352"/>
                  <a:pt x="384" y="352"/>
                </a:cubicBezTo>
                <a:cubicBezTo>
                  <a:pt x="128" y="352"/>
                  <a:pt x="128" y="352"/>
                  <a:pt x="128" y="352"/>
                </a:cubicBezTo>
                <a:lnTo>
                  <a:pt x="128" y="234"/>
                </a:lnTo>
                <a:close/>
                <a:moveTo>
                  <a:pt x="266" y="330"/>
                </a:moveTo>
                <a:cubicBezTo>
                  <a:pt x="282" y="330"/>
                  <a:pt x="282" y="330"/>
                  <a:pt x="282" y="330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9" y="304"/>
                  <a:pt x="289" y="304"/>
                  <a:pt x="289" y="304"/>
                </a:cubicBezTo>
                <a:cubicBezTo>
                  <a:pt x="298" y="304"/>
                  <a:pt x="305" y="302"/>
                  <a:pt x="310" y="297"/>
                </a:cubicBezTo>
                <a:cubicBezTo>
                  <a:pt x="315" y="293"/>
                  <a:pt x="318" y="287"/>
                  <a:pt x="318" y="279"/>
                </a:cubicBezTo>
                <a:cubicBezTo>
                  <a:pt x="318" y="271"/>
                  <a:pt x="315" y="265"/>
                  <a:pt x="311" y="262"/>
                </a:cubicBezTo>
                <a:cubicBezTo>
                  <a:pt x="306" y="258"/>
                  <a:pt x="299" y="256"/>
                  <a:pt x="290" y="256"/>
                </a:cubicBezTo>
                <a:cubicBezTo>
                  <a:pt x="266" y="256"/>
                  <a:pt x="266" y="256"/>
                  <a:pt x="266" y="256"/>
                </a:cubicBezTo>
                <a:lnTo>
                  <a:pt x="266" y="330"/>
                </a:lnTo>
                <a:close/>
                <a:moveTo>
                  <a:pt x="238" y="330"/>
                </a:moveTo>
                <a:cubicBezTo>
                  <a:pt x="254" y="330"/>
                  <a:pt x="254" y="330"/>
                  <a:pt x="254" y="330"/>
                </a:cubicBezTo>
                <a:cubicBezTo>
                  <a:pt x="254" y="256"/>
                  <a:pt x="254" y="256"/>
                  <a:pt x="254" y="256"/>
                </a:cubicBezTo>
                <a:cubicBezTo>
                  <a:pt x="238" y="256"/>
                  <a:pt x="238" y="256"/>
                  <a:pt x="238" y="256"/>
                </a:cubicBezTo>
                <a:lnTo>
                  <a:pt x="238" y="330"/>
                </a:lnTo>
                <a:close/>
                <a:moveTo>
                  <a:pt x="170" y="330"/>
                </a:moveTo>
                <a:cubicBezTo>
                  <a:pt x="226" y="330"/>
                  <a:pt x="226" y="330"/>
                  <a:pt x="226" y="330"/>
                </a:cubicBezTo>
                <a:cubicBezTo>
                  <a:pt x="226" y="317"/>
                  <a:pt x="226" y="317"/>
                  <a:pt x="226" y="317"/>
                </a:cubicBezTo>
                <a:cubicBezTo>
                  <a:pt x="189" y="317"/>
                  <a:pt x="189" y="317"/>
                  <a:pt x="189" y="317"/>
                </a:cubicBezTo>
                <a:cubicBezTo>
                  <a:pt x="225" y="266"/>
                  <a:pt x="225" y="266"/>
                  <a:pt x="225" y="266"/>
                </a:cubicBezTo>
                <a:cubicBezTo>
                  <a:pt x="225" y="256"/>
                  <a:pt x="225" y="256"/>
                  <a:pt x="225" y="256"/>
                </a:cubicBezTo>
                <a:cubicBezTo>
                  <a:pt x="171" y="256"/>
                  <a:pt x="171" y="256"/>
                  <a:pt x="171" y="256"/>
                </a:cubicBezTo>
                <a:cubicBezTo>
                  <a:pt x="171" y="269"/>
                  <a:pt x="171" y="269"/>
                  <a:pt x="171" y="269"/>
                </a:cubicBezTo>
                <a:cubicBezTo>
                  <a:pt x="206" y="269"/>
                  <a:pt x="206" y="269"/>
                  <a:pt x="206" y="269"/>
                </a:cubicBezTo>
                <a:cubicBezTo>
                  <a:pt x="170" y="320"/>
                  <a:pt x="170" y="320"/>
                  <a:pt x="170" y="320"/>
                </a:cubicBezTo>
                <a:lnTo>
                  <a:pt x="170" y="33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25" name="Group 766"/>
          <p:cNvGrpSpPr>
            <a:grpSpLocks noChangeAspect="1"/>
          </p:cNvGrpSpPr>
          <p:nvPr/>
        </p:nvGrpSpPr>
        <p:grpSpPr bwMode="auto">
          <a:xfrm>
            <a:off x="6903072" y="3743938"/>
            <a:ext cx="367631" cy="367631"/>
            <a:chOff x="6068" y="3313"/>
            <a:chExt cx="340" cy="340"/>
          </a:xfrm>
          <a:solidFill>
            <a:schemeClr val="accent2"/>
          </a:solidFill>
        </p:grpSpPr>
        <p:sp>
          <p:nvSpPr>
            <p:cNvPr id="626" name="Freeform 767"/>
            <p:cNvSpPr>
              <a:spLocks noEditPoints="1"/>
            </p:cNvSpPr>
            <p:nvPr/>
          </p:nvSpPr>
          <p:spPr bwMode="auto">
            <a:xfrm>
              <a:off x="6068" y="33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7" name="Freeform 768"/>
            <p:cNvSpPr>
              <a:spLocks noEditPoints="1"/>
            </p:cNvSpPr>
            <p:nvPr/>
          </p:nvSpPr>
          <p:spPr bwMode="auto">
            <a:xfrm>
              <a:off x="6138" y="3377"/>
              <a:ext cx="199" cy="212"/>
            </a:xfrm>
            <a:custGeom>
              <a:avLst/>
              <a:gdLst>
                <a:gd name="T0" fmla="*/ 267 w 299"/>
                <a:gd name="T1" fmla="*/ 117 h 320"/>
                <a:gd name="T2" fmla="*/ 266 w 299"/>
                <a:gd name="T3" fmla="*/ 81 h 320"/>
                <a:gd name="T4" fmla="*/ 189 w 299"/>
                <a:gd name="T5" fmla="*/ 3 h 320"/>
                <a:gd name="T6" fmla="*/ 182 w 299"/>
                <a:gd name="T7" fmla="*/ 0 h 320"/>
                <a:gd name="T8" fmla="*/ 32 w 299"/>
                <a:gd name="T9" fmla="*/ 10 h 320"/>
                <a:gd name="T10" fmla="*/ 11 w 299"/>
                <a:gd name="T11" fmla="*/ 117 h 320"/>
                <a:gd name="T12" fmla="*/ 0 w 299"/>
                <a:gd name="T13" fmla="*/ 266 h 320"/>
                <a:gd name="T14" fmla="*/ 32 w 299"/>
                <a:gd name="T15" fmla="*/ 277 h 320"/>
                <a:gd name="T16" fmla="*/ 43 w 299"/>
                <a:gd name="T17" fmla="*/ 320 h 320"/>
                <a:gd name="T18" fmla="*/ 267 w 299"/>
                <a:gd name="T19" fmla="*/ 309 h 320"/>
                <a:gd name="T20" fmla="*/ 288 w 299"/>
                <a:gd name="T21" fmla="*/ 277 h 320"/>
                <a:gd name="T22" fmla="*/ 299 w 299"/>
                <a:gd name="T23" fmla="*/ 128 h 320"/>
                <a:gd name="T24" fmla="*/ 192 w 299"/>
                <a:gd name="T25" fmla="*/ 36 h 320"/>
                <a:gd name="T26" fmla="*/ 192 w 299"/>
                <a:gd name="T27" fmla="*/ 74 h 320"/>
                <a:gd name="T28" fmla="*/ 54 w 299"/>
                <a:gd name="T29" fmla="*/ 21 h 320"/>
                <a:gd name="T30" fmla="*/ 171 w 299"/>
                <a:gd name="T31" fmla="*/ 85 h 320"/>
                <a:gd name="T32" fmla="*/ 246 w 299"/>
                <a:gd name="T33" fmla="*/ 96 h 320"/>
                <a:gd name="T34" fmla="*/ 54 w 299"/>
                <a:gd name="T35" fmla="*/ 117 h 320"/>
                <a:gd name="T36" fmla="*/ 246 w 299"/>
                <a:gd name="T37" fmla="*/ 298 h 320"/>
                <a:gd name="T38" fmla="*/ 54 w 299"/>
                <a:gd name="T39" fmla="*/ 277 h 320"/>
                <a:gd name="T40" fmla="*/ 246 w 299"/>
                <a:gd name="T41" fmla="*/ 298 h 320"/>
                <a:gd name="T42" fmla="*/ 22 w 299"/>
                <a:gd name="T43" fmla="*/ 256 h 320"/>
                <a:gd name="T44" fmla="*/ 278 w 299"/>
                <a:gd name="T45" fmla="*/ 138 h 320"/>
                <a:gd name="T46" fmla="*/ 176 w 299"/>
                <a:gd name="T47" fmla="*/ 208 h 320"/>
                <a:gd name="T48" fmla="*/ 204 w 299"/>
                <a:gd name="T49" fmla="*/ 201 h 320"/>
                <a:gd name="T50" fmla="*/ 205 w 299"/>
                <a:gd name="T51" fmla="*/ 166 h 320"/>
                <a:gd name="T52" fmla="*/ 160 w 299"/>
                <a:gd name="T53" fmla="*/ 160 h 320"/>
                <a:gd name="T54" fmla="*/ 176 w 299"/>
                <a:gd name="T55" fmla="*/ 234 h 320"/>
                <a:gd name="T56" fmla="*/ 176 w 299"/>
                <a:gd name="T57" fmla="*/ 173 h 320"/>
                <a:gd name="T58" fmla="*/ 193 w 299"/>
                <a:gd name="T59" fmla="*/ 175 h 320"/>
                <a:gd name="T60" fmla="*/ 192 w 299"/>
                <a:gd name="T61" fmla="*/ 192 h 320"/>
                <a:gd name="T62" fmla="*/ 176 w 299"/>
                <a:gd name="T63" fmla="*/ 195 h 320"/>
                <a:gd name="T64" fmla="*/ 148 w 299"/>
                <a:gd name="T65" fmla="*/ 234 h 320"/>
                <a:gd name="T66" fmla="*/ 132 w 299"/>
                <a:gd name="T67" fmla="*/ 160 h 320"/>
                <a:gd name="T68" fmla="*/ 148 w 299"/>
                <a:gd name="T69" fmla="*/ 234 h 320"/>
                <a:gd name="T70" fmla="*/ 64 w 299"/>
                <a:gd name="T71" fmla="*/ 234 h 320"/>
                <a:gd name="T72" fmla="*/ 100 w 299"/>
                <a:gd name="T73" fmla="*/ 173 h 320"/>
                <a:gd name="T74" fmla="*/ 65 w 299"/>
                <a:gd name="T75" fmla="*/ 160 h 320"/>
                <a:gd name="T76" fmla="*/ 119 w 299"/>
                <a:gd name="T77" fmla="*/ 170 h 320"/>
                <a:gd name="T78" fmla="*/ 120 w 299"/>
                <a:gd name="T79" fmla="*/ 2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9" h="320">
                  <a:moveTo>
                    <a:pt x="288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7" y="84"/>
                    <a:pt x="267" y="82"/>
                    <a:pt x="266" y="81"/>
                  </a:cubicBezTo>
                  <a:cubicBezTo>
                    <a:pt x="266" y="80"/>
                    <a:pt x="265" y="78"/>
                    <a:pt x="264" y="77"/>
                  </a:cubicBezTo>
                  <a:cubicBezTo>
                    <a:pt x="189" y="3"/>
                    <a:pt x="189" y="3"/>
                    <a:pt x="189" y="3"/>
                  </a:cubicBezTo>
                  <a:cubicBezTo>
                    <a:pt x="188" y="2"/>
                    <a:pt x="187" y="1"/>
                    <a:pt x="186" y="0"/>
                  </a:cubicBezTo>
                  <a:cubicBezTo>
                    <a:pt x="184" y="0"/>
                    <a:pt x="183" y="0"/>
                    <a:pt x="18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62" y="320"/>
                    <a:pt x="267" y="315"/>
                    <a:pt x="267" y="309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128"/>
                    <a:pt x="299" y="128"/>
                    <a:pt x="299" y="128"/>
                  </a:cubicBezTo>
                  <a:cubicBezTo>
                    <a:pt x="299" y="122"/>
                    <a:pt x="294" y="117"/>
                    <a:pt x="288" y="117"/>
                  </a:cubicBezTo>
                  <a:close/>
                  <a:moveTo>
                    <a:pt x="192" y="36"/>
                  </a:moveTo>
                  <a:cubicBezTo>
                    <a:pt x="231" y="74"/>
                    <a:pt x="231" y="74"/>
                    <a:pt x="231" y="74"/>
                  </a:cubicBezTo>
                  <a:cubicBezTo>
                    <a:pt x="192" y="74"/>
                    <a:pt x="192" y="74"/>
                    <a:pt x="192" y="74"/>
                  </a:cubicBezTo>
                  <a:lnTo>
                    <a:pt x="192" y="36"/>
                  </a:lnTo>
                  <a:close/>
                  <a:moveTo>
                    <a:pt x="54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91"/>
                    <a:pt x="176" y="96"/>
                    <a:pt x="182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7"/>
                    <a:pt x="246" y="117"/>
                    <a:pt x="246" y="117"/>
                  </a:cubicBezTo>
                  <a:cubicBezTo>
                    <a:pt x="54" y="117"/>
                    <a:pt x="54" y="117"/>
                    <a:pt x="54" y="117"/>
                  </a:cubicBezTo>
                  <a:lnTo>
                    <a:pt x="54" y="21"/>
                  </a:lnTo>
                  <a:close/>
                  <a:moveTo>
                    <a:pt x="246" y="298"/>
                  </a:moveTo>
                  <a:cubicBezTo>
                    <a:pt x="54" y="298"/>
                    <a:pt x="54" y="298"/>
                    <a:pt x="54" y="298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246" y="277"/>
                    <a:pt x="246" y="277"/>
                    <a:pt x="246" y="277"/>
                  </a:cubicBezTo>
                  <a:lnTo>
                    <a:pt x="246" y="298"/>
                  </a:lnTo>
                  <a:close/>
                  <a:moveTo>
                    <a:pt x="278" y="256"/>
                  </a:moveTo>
                  <a:cubicBezTo>
                    <a:pt x="22" y="256"/>
                    <a:pt x="22" y="256"/>
                    <a:pt x="22" y="256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78" y="138"/>
                    <a:pt x="278" y="138"/>
                    <a:pt x="278" y="138"/>
                  </a:cubicBezTo>
                  <a:lnTo>
                    <a:pt x="278" y="256"/>
                  </a:lnTo>
                  <a:close/>
                  <a:moveTo>
                    <a:pt x="176" y="208"/>
                  </a:moveTo>
                  <a:cubicBezTo>
                    <a:pt x="183" y="208"/>
                    <a:pt x="183" y="208"/>
                    <a:pt x="183" y="208"/>
                  </a:cubicBezTo>
                  <a:cubicBezTo>
                    <a:pt x="192" y="208"/>
                    <a:pt x="199" y="206"/>
                    <a:pt x="204" y="201"/>
                  </a:cubicBezTo>
                  <a:cubicBezTo>
                    <a:pt x="209" y="197"/>
                    <a:pt x="212" y="191"/>
                    <a:pt x="212" y="183"/>
                  </a:cubicBezTo>
                  <a:cubicBezTo>
                    <a:pt x="212" y="175"/>
                    <a:pt x="209" y="169"/>
                    <a:pt x="205" y="166"/>
                  </a:cubicBezTo>
                  <a:cubicBezTo>
                    <a:pt x="200" y="162"/>
                    <a:pt x="193" y="160"/>
                    <a:pt x="184" y="160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0" y="234"/>
                    <a:pt x="160" y="234"/>
                    <a:pt x="160" y="234"/>
                  </a:cubicBezTo>
                  <a:cubicBezTo>
                    <a:pt x="176" y="234"/>
                    <a:pt x="176" y="234"/>
                    <a:pt x="176" y="234"/>
                  </a:cubicBezTo>
                  <a:lnTo>
                    <a:pt x="176" y="208"/>
                  </a:lnTo>
                  <a:close/>
                  <a:moveTo>
                    <a:pt x="176" y="173"/>
                  </a:moveTo>
                  <a:cubicBezTo>
                    <a:pt x="183" y="173"/>
                    <a:pt x="183" y="173"/>
                    <a:pt x="183" y="173"/>
                  </a:cubicBezTo>
                  <a:cubicBezTo>
                    <a:pt x="188" y="173"/>
                    <a:pt x="191" y="174"/>
                    <a:pt x="193" y="175"/>
                  </a:cubicBezTo>
                  <a:cubicBezTo>
                    <a:pt x="195" y="177"/>
                    <a:pt x="196" y="180"/>
                    <a:pt x="196" y="184"/>
                  </a:cubicBezTo>
                  <a:cubicBezTo>
                    <a:pt x="196" y="187"/>
                    <a:pt x="195" y="190"/>
                    <a:pt x="192" y="192"/>
                  </a:cubicBezTo>
                  <a:cubicBezTo>
                    <a:pt x="190" y="194"/>
                    <a:pt x="186" y="195"/>
                    <a:pt x="181" y="195"/>
                  </a:cubicBezTo>
                  <a:cubicBezTo>
                    <a:pt x="176" y="195"/>
                    <a:pt x="176" y="195"/>
                    <a:pt x="176" y="195"/>
                  </a:cubicBezTo>
                  <a:lnTo>
                    <a:pt x="176" y="173"/>
                  </a:lnTo>
                  <a:close/>
                  <a:moveTo>
                    <a:pt x="148" y="234"/>
                  </a:moveTo>
                  <a:cubicBezTo>
                    <a:pt x="132" y="234"/>
                    <a:pt x="132" y="234"/>
                    <a:pt x="132" y="234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48" y="160"/>
                    <a:pt x="148" y="160"/>
                    <a:pt x="148" y="160"/>
                  </a:cubicBezTo>
                  <a:lnTo>
                    <a:pt x="148" y="234"/>
                  </a:lnTo>
                  <a:close/>
                  <a:moveTo>
                    <a:pt x="120" y="234"/>
                  </a:moveTo>
                  <a:cubicBezTo>
                    <a:pt x="64" y="234"/>
                    <a:pt x="64" y="234"/>
                    <a:pt x="64" y="23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100" y="173"/>
                    <a:pt x="100" y="173"/>
                    <a:pt x="100" y="173"/>
                  </a:cubicBezTo>
                  <a:cubicBezTo>
                    <a:pt x="65" y="173"/>
                    <a:pt x="65" y="173"/>
                    <a:pt x="65" y="173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120" y="221"/>
                    <a:pt x="120" y="221"/>
                    <a:pt x="120" y="221"/>
                  </a:cubicBezTo>
                  <a:lnTo>
                    <a:pt x="12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28" name="TextBox 627"/>
          <p:cNvSpPr txBox="1"/>
          <p:nvPr/>
        </p:nvSpPr>
        <p:spPr>
          <a:xfrm>
            <a:off x="8470024" y="244308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use</a:t>
            </a:r>
          </a:p>
        </p:txBody>
      </p:sp>
      <p:sp>
        <p:nvSpPr>
          <p:cNvPr id="629" name="Freeform 222"/>
          <p:cNvSpPr>
            <a:spLocks noChangeAspect="1" noEditPoints="1"/>
          </p:cNvSpPr>
          <p:nvPr/>
        </p:nvSpPr>
        <p:spPr bwMode="auto">
          <a:xfrm>
            <a:off x="8392939" y="2041433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02 w 512"/>
              <a:gd name="T11" fmla="*/ 384 h 512"/>
              <a:gd name="T12" fmla="*/ 192 w 512"/>
              <a:gd name="T13" fmla="*/ 394 h 512"/>
              <a:gd name="T14" fmla="*/ 181 w 512"/>
              <a:gd name="T15" fmla="*/ 384 h 512"/>
              <a:gd name="T16" fmla="*/ 181 w 512"/>
              <a:gd name="T17" fmla="*/ 128 h 512"/>
              <a:gd name="T18" fmla="*/ 192 w 512"/>
              <a:gd name="T19" fmla="*/ 117 h 512"/>
              <a:gd name="T20" fmla="*/ 202 w 512"/>
              <a:gd name="T21" fmla="*/ 128 h 512"/>
              <a:gd name="T22" fmla="*/ 202 w 512"/>
              <a:gd name="T23" fmla="*/ 384 h 512"/>
              <a:gd name="T24" fmla="*/ 330 w 512"/>
              <a:gd name="T25" fmla="*/ 384 h 512"/>
              <a:gd name="T26" fmla="*/ 320 w 512"/>
              <a:gd name="T27" fmla="*/ 394 h 512"/>
              <a:gd name="T28" fmla="*/ 309 w 512"/>
              <a:gd name="T29" fmla="*/ 384 h 512"/>
              <a:gd name="T30" fmla="*/ 309 w 512"/>
              <a:gd name="T31" fmla="*/ 128 h 512"/>
              <a:gd name="T32" fmla="*/ 320 w 512"/>
              <a:gd name="T33" fmla="*/ 117 h 512"/>
              <a:gd name="T34" fmla="*/ 330 w 512"/>
              <a:gd name="T35" fmla="*/ 128 h 512"/>
              <a:gd name="T36" fmla="*/ 330 w 512"/>
              <a:gd name="T37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2" y="384"/>
                </a:moveTo>
                <a:cubicBezTo>
                  <a:pt x="202" y="390"/>
                  <a:pt x="198" y="394"/>
                  <a:pt x="192" y="394"/>
                </a:cubicBezTo>
                <a:cubicBezTo>
                  <a:pt x="186" y="394"/>
                  <a:pt x="181" y="390"/>
                  <a:pt x="181" y="384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81" y="122"/>
                  <a:pt x="186" y="117"/>
                  <a:pt x="192" y="117"/>
                </a:cubicBezTo>
                <a:cubicBezTo>
                  <a:pt x="198" y="117"/>
                  <a:pt x="202" y="122"/>
                  <a:pt x="202" y="128"/>
                </a:cubicBezTo>
                <a:lnTo>
                  <a:pt x="202" y="384"/>
                </a:lnTo>
                <a:close/>
                <a:moveTo>
                  <a:pt x="330" y="384"/>
                </a:moveTo>
                <a:cubicBezTo>
                  <a:pt x="330" y="390"/>
                  <a:pt x="326" y="394"/>
                  <a:pt x="320" y="394"/>
                </a:cubicBezTo>
                <a:cubicBezTo>
                  <a:pt x="314" y="394"/>
                  <a:pt x="309" y="390"/>
                  <a:pt x="309" y="384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309" y="122"/>
                  <a:pt x="314" y="117"/>
                  <a:pt x="320" y="117"/>
                </a:cubicBezTo>
                <a:cubicBezTo>
                  <a:pt x="326" y="117"/>
                  <a:pt x="330" y="122"/>
                  <a:pt x="330" y="128"/>
                </a:cubicBezTo>
                <a:lnTo>
                  <a:pt x="330" y="3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30" name="Group 225"/>
          <p:cNvGrpSpPr>
            <a:grpSpLocks noChangeAspect="1"/>
          </p:cNvGrpSpPr>
          <p:nvPr/>
        </p:nvGrpSpPr>
        <p:grpSpPr bwMode="auto">
          <a:xfrm>
            <a:off x="8890116" y="2041433"/>
            <a:ext cx="369021" cy="369021"/>
            <a:chOff x="1929" y="778"/>
            <a:chExt cx="340" cy="340"/>
          </a:xfrm>
          <a:solidFill>
            <a:schemeClr val="accent3"/>
          </a:solidFill>
        </p:grpSpPr>
        <p:sp>
          <p:nvSpPr>
            <p:cNvPr id="631" name="Freeform 226"/>
            <p:cNvSpPr>
              <a:spLocks noEditPoints="1"/>
            </p:cNvSpPr>
            <p:nvPr/>
          </p:nvSpPr>
          <p:spPr bwMode="auto">
            <a:xfrm>
              <a:off x="1929" y="7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2" name="Freeform 227"/>
            <p:cNvSpPr>
              <a:spLocks noEditPoints="1"/>
            </p:cNvSpPr>
            <p:nvPr/>
          </p:nvSpPr>
          <p:spPr bwMode="auto">
            <a:xfrm>
              <a:off x="2049" y="856"/>
              <a:ext cx="99" cy="184"/>
            </a:xfrm>
            <a:custGeom>
              <a:avLst/>
              <a:gdLst>
                <a:gd name="T0" fmla="*/ 21 w 149"/>
                <a:gd name="T1" fmla="*/ 11 h 277"/>
                <a:gd name="T2" fmla="*/ 21 w 149"/>
                <a:gd name="T3" fmla="*/ 267 h 277"/>
                <a:gd name="T4" fmla="*/ 11 w 149"/>
                <a:gd name="T5" fmla="*/ 277 h 277"/>
                <a:gd name="T6" fmla="*/ 0 w 149"/>
                <a:gd name="T7" fmla="*/ 267 h 277"/>
                <a:gd name="T8" fmla="*/ 0 w 149"/>
                <a:gd name="T9" fmla="*/ 11 h 277"/>
                <a:gd name="T10" fmla="*/ 11 w 149"/>
                <a:gd name="T11" fmla="*/ 0 h 277"/>
                <a:gd name="T12" fmla="*/ 21 w 149"/>
                <a:gd name="T13" fmla="*/ 11 h 277"/>
                <a:gd name="T14" fmla="*/ 139 w 149"/>
                <a:gd name="T15" fmla="*/ 0 h 277"/>
                <a:gd name="T16" fmla="*/ 128 w 149"/>
                <a:gd name="T17" fmla="*/ 11 h 277"/>
                <a:gd name="T18" fmla="*/ 128 w 149"/>
                <a:gd name="T19" fmla="*/ 267 h 277"/>
                <a:gd name="T20" fmla="*/ 139 w 149"/>
                <a:gd name="T21" fmla="*/ 277 h 277"/>
                <a:gd name="T22" fmla="*/ 149 w 149"/>
                <a:gd name="T23" fmla="*/ 267 h 277"/>
                <a:gd name="T24" fmla="*/ 149 w 149"/>
                <a:gd name="T25" fmla="*/ 11 h 277"/>
                <a:gd name="T26" fmla="*/ 139 w 149"/>
                <a:gd name="T27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277">
                  <a:moveTo>
                    <a:pt x="21" y="11"/>
                  </a:moveTo>
                  <a:cubicBezTo>
                    <a:pt x="21" y="267"/>
                    <a:pt x="21" y="267"/>
                    <a:pt x="21" y="267"/>
                  </a:cubicBezTo>
                  <a:cubicBezTo>
                    <a:pt x="21" y="273"/>
                    <a:pt x="17" y="277"/>
                    <a:pt x="11" y="277"/>
                  </a:cubicBezTo>
                  <a:cubicBezTo>
                    <a:pt x="5" y="277"/>
                    <a:pt x="0" y="273"/>
                    <a:pt x="0" y="26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1" y="5"/>
                    <a:pt x="21" y="11"/>
                  </a:cubicBezTo>
                  <a:close/>
                  <a:moveTo>
                    <a:pt x="139" y="0"/>
                  </a:moveTo>
                  <a:cubicBezTo>
                    <a:pt x="133" y="0"/>
                    <a:pt x="128" y="5"/>
                    <a:pt x="128" y="11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73"/>
                    <a:pt x="133" y="277"/>
                    <a:pt x="139" y="277"/>
                  </a:cubicBezTo>
                  <a:cubicBezTo>
                    <a:pt x="145" y="277"/>
                    <a:pt x="149" y="273"/>
                    <a:pt x="149" y="267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33" name="TextBox 632"/>
          <p:cNvSpPr txBox="1"/>
          <p:nvPr/>
        </p:nvSpPr>
        <p:spPr>
          <a:xfrm>
            <a:off x="471271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py</a:t>
            </a:r>
          </a:p>
        </p:txBody>
      </p:sp>
      <p:grpSp>
        <p:nvGrpSpPr>
          <p:cNvPr id="634" name="Group 91"/>
          <p:cNvGrpSpPr>
            <a:grpSpLocks noChangeAspect="1"/>
          </p:cNvGrpSpPr>
          <p:nvPr/>
        </p:nvGrpSpPr>
        <p:grpSpPr bwMode="auto">
          <a:xfrm>
            <a:off x="433255" y="4579663"/>
            <a:ext cx="367631" cy="367631"/>
            <a:chOff x="5088" y="2680"/>
            <a:chExt cx="340" cy="340"/>
          </a:xfrm>
          <a:solidFill>
            <a:schemeClr val="accent1"/>
          </a:solidFill>
        </p:grpSpPr>
        <p:sp>
          <p:nvSpPr>
            <p:cNvPr id="635" name="Freeform 634"/>
            <p:cNvSpPr>
              <a:spLocks/>
            </p:cNvSpPr>
            <p:nvPr/>
          </p:nvSpPr>
          <p:spPr bwMode="auto">
            <a:xfrm>
              <a:off x="5201" y="2807"/>
              <a:ext cx="85" cy="128"/>
            </a:xfrm>
            <a:custGeom>
              <a:avLst/>
              <a:gdLst>
                <a:gd name="T0" fmla="*/ 75 w 128"/>
                <a:gd name="T1" fmla="*/ 42 h 192"/>
                <a:gd name="T2" fmla="*/ 75 w 128"/>
                <a:gd name="T3" fmla="*/ 0 h 192"/>
                <a:gd name="T4" fmla="*/ 0 w 128"/>
                <a:gd name="T5" fmla="*/ 0 h 192"/>
                <a:gd name="T6" fmla="*/ 0 w 128"/>
                <a:gd name="T7" fmla="*/ 192 h 192"/>
                <a:gd name="T8" fmla="*/ 128 w 128"/>
                <a:gd name="T9" fmla="*/ 192 h 192"/>
                <a:gd name="T10" fmla="*/ 128 w 128"/>
                <a:gd name="T11" fmla="*/ 53 h 192"/>
                <a:gd name="T12" fmla="*/ 86 w 128"/>
                <a:gd name="T13" fmla="*/ 53 h 192"/>
                <a:gd name="T14" fmla="*/ 75 w 128"/>
                <a:gd name="T15" fmla="*/ 4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92">
                  <a:moveTo>
                    <a:pt x="75" y="42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0" y="53"/>
                    <a:pt x="75" y="48"/>
                    <a:pt x="75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6" name="Freeform 635"/>
            <p:cNvSpPr>
              <a:spLocks/>
            </p:cNvSpPr>
            <p:nvPr/>
          </p:nvSpPr>
          <p:spPr bwMode="auto">
            <a:xfrm>
              <a:off x="5265" y="2817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12 h 12"/>
                <a:gd name="T4" fmla="*/ 0 w 12"/>
                <a:gd name="T5" fmla="*/ 0 h 12"/>
                <a:gd name="T6" fmla="*/ 0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12" y="12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7" name="Freeform 636"/>
            <p:cNvSpPr>
              <a:spLocks/>
            </p:cNvSpPr>
            <p:nvPr/>
          </p:nvSpPr>
          <p:spPr bwMode="auto">
            <a:xfrm>
              <a:off x="5314" y="2774"/>
              <a:ext cx="12" cy="12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12 h 12"/>
                <a:gd name="T4" fmla="*/ 12 w 12"/>
                <a:gd name="T5" fmla="*/ 12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lnTo>
                    <a:pt x="0" y="12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8" name="Freeform 637"/>
            <p:cNvSpPr>
              <a:spLocks/>
            </p:cNvSpPr>
            <p:nvPr/>
          </p:nvSpPr>
          <p:spPr bwMode="auto">
            <a:xfrm>
              <a:off x="5251" y="2765"/>
              <a:ext cx="85" cy="127"/>
            </a:xfrm>
            <a:custGeom>
              <a:avLst/>
              <a:gdLst>
                <a:gd name="T0" fmla="*/ 75 w 128"/>
                <a:gd name="T1" fmla="*/ 42 h 192"/>
                <a:gd name="T2" fmla="*/ 75 w 128"/>
                <a:gd name="T3" fmla="*/ 0 h 192"/>
                <a:gd name="T4" fmla="*/ 0 w 128"/>
                <a:gd name="T5" fmla="*/ 0 h 192"/>
                <a:gd name="T6" fmla="*/ 0 w 128"/>
                <a:gd name="T7" fmla="*/ 42 h 192"/>
                <a:gd name="T8" fmla="*/ 12 w 128"/>
                <a:gd name="T9" fmla="*/ 42 h 192"/>
                <a:gd name="T10" fmla="*/ 19 w 128"/>
                <a:gd name="T11" fmla="*/ 45 h 192"/>
                <a:gd name="T12" fmla="*/ 71 w 128"/>
                <a:gd name="T13" fmla="*/ 98 h 192"/>
                <a:gd name="T14" fmla="*/ 73 w 128"/>
                <a:gd name="T15" fmla="*/ 101 h 192"/>
                <a:gd name="T16" fmla="*/ 75 w 128"/>
                <a:gd name="T17" fmla="*/ 106 h 192"/>
                <a:gd name="T18" fmla="*/ 75 w 128"/>
                <a:gd name="T19" fmla="*/ 192 h 192"/>
                <a:gd name="T20" fmla="*/ 128 w 128"/>
                <a:gd name="T21" fmla="*/ 192 h 192"/>
                <a:gd name="T22" fmla="*/ 128 w 128"/>
                <a:gd name="T23" fmla="*/ 53 h 192"/>
                <a:gd name="T24" fmla="*/ 85 w 128"/>
                <a:gd name="T25" fmla="*/ 53 h 192"/>
                <a:gd name="T26" fmla="*/ 75 w 128"/>
                <a:gd name="T27" fmla="*/ 4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92">
                  <a:moveTo>
                    <a:pt x="75" y="42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5" y="42"/>
                    <a:pt x="17" y="43"/>
                    <a:pt x="19" y="45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2" y="99"/>
                    <a:pt x="73" y="100"/>
                    <a:pt x="73" y="101"/>
                  </a:cubicBezTo>
                  <a:cubicBezTo>
                    <a:pt x="74" y="103"/>
                    <a:pt x="75" y="104"/>
                    <a:pt x="75" y="106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79" y="53"/>
                    <a:pt x="75" y="48"/>
                    <a:pt x="75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9" name="Freeform 638"/>
            <p:cNvSpPr>
              <a:spLocks noEditPoints="1"/>
            </p:cNvSpPr>
            <p:nvPr/>
          </p:nvSpPr>
          <p:spPr bwMode="auto">
            <a:xfrm>
              <a:off x="5088" y="268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30 h 512"/>
                <a:gd name="T12" fmla="*/ 384 w 512"/>
                <a:gd name="T13" fmla="*/ 341 h 512"/>
                <a:gd name="T14" fmla="*/ 320 w 512"/>
                <a:gd name="T15" fmla="*/ 341 h 512"/>
                <a:gd name="T16" fmla="*/ 320 w 512"/>
                <a:gd name="T17" fmla="*/ 394 h 512"/>
                <a:gd name="T18" fmla="*/ 309 w 512"/>
                <a:gd name="T19" fmla="*/ 405 h 512"/>
                <a:gd name="T20" fmla="*/ 160 w 512"/>
                <a:gd name="T21" fmla="*/ 405 h 512"/>
                <a:gd name="T22" fmla="*/ 149 w 512"/>
                <a:gd name="T23" fmla="*/ 394 h 512"/>
                <a:gd name="T24" fmla="*/ 149 w 512"/>
                <a:gd name="T25" fmla="*/ 181 h 512"/>
                <a:gd name="T26" fmla="*/ 160 w 512"/>
                <a:gd name="T27" fmla="*/ 170 h 512"/>
                <a:gd name="T28" fmla="*/ 224 w 512"/>
                <a:gd name="T29" fmla="*/ 170 h 512"/>
                <a:gd name="T30" fmla="*/ 224 w 512"/>
                <a:gd name="T31" fmla="*/ 117 h 512"/>
                <a:gd name="T32" fmla="*/ 234 w 512"/>
                <a:gd name="T33" fmla="*/ 106 h 512"/>
                <a:gd name="T34" fmla="*/ 331 w 512"/>
                <a:gd name="T35" fmla="*/ 106 h 512"/>
                <a:gd name="T36" fmla="*/ 339 w 512"/>
                <a:gd name="T37" fmla="*/ 109 h 512"/>
                <a:gd name="T38" fmla="*/ 391 w 512"/>
                <a:gd name="T39" fmla="*/ 162 h 512"/>
                <a:gd name="T40" fmla="*/ 393 w 512"/>
                <a:gd name="T41" fmla="*/ 166 h 512"/>
                <a:gd name="T42" fmla="*/ 394 w 512"/>
                <a:gd name="T43" fmla="*/ 170 h 512"/>
                <a:gd name="T44" fmla="*/ 394 w 512"/>
                <a:gd name="T45" fmla="*/ 33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30"/>
                  </a:moveTo>
                  <a:cubicBezTo>
                    <a:pt x="394" y="336"/>
                    <a:pt x="390" y="341"/>
                    <a:pt x="384" y="341"/>
                  </a:cubicBezTo>
                  <a:cubicBezTo>
                    <a:pt x="320" y="341"/>
                    <a:pt x="320" y="341"/>
                    <a:pt x="320" y="341"/>
                  </a:cubicBezTo>
                  <a:cubicBezTo>
                    <a:pt x="320" y="394"/>
                    <a:pt x="320" y="394"/>
                    <a:pt x="320" y="394"/>
                  </a:cubicBezTo>
                  <a:cubicBezTo>
                    <a:pt x="320" y="400"/>
                    <a:pt x="315" y="405"/>
                    <a:pt x="309" y="405"/>
                  </a:cubicBezTo>
                  <a:cubicBezTo>
                    <a:pt x="160" y="405"/>
                    <a:pt x="160" y="405"/>
                    <a:pt x="160" y="405"/>
                  </a:cubicBezTo>
                  <a:cubicBezTo>
                    <a:pt x="154" y="405"/>
                    <a:pt x="149" y="400"/>
                    <a:pt x="149" y="394"/>
                  </a:cubicBezTo>
                  <a:cubicBezTo>
                    <a:pt x="149" y="181"/>
                    <a:pt x="149" y="181"/>
                    <a:pt x="149" y="181"/>
                  </a:cubicBezTo>
                  <a:cubicBezTo>
                    <a:pt x="149" y="175"/>
                    <a:pt x="154" y="170"/>
                    <a:pt x="160" y="170"/>
                  </a:cubicBezTo>
                  <a:cubicBezTo>
                    <a:pt x="224" y="170"/>
                    <a:pt x="224" y="170"/>
                    <a:pt x="224" y="170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1"/>
                    <a:pt x="228" y="106"/>
                    <a:pt x="234" y="106"/>
                  </a:cubicBezTo>
                  <a:cubicBezTo>
                    <a:pt x="331" y="106"/>
                    <a:pt x="331" y="106"/>
                    <a:pt x="331" y="106"/>
                  </a:cubicBezTo>
                  <a:cubicBezTo>
                    <a:pt x="334" y="106"/>
                    <a:pt x="337" y="107"/>
                    <a:pt x="339" y="109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92" y="163"/>
                    <a:pt x="393" y="164"/>
                    <a:pt x="393" y="166"/>
                  </a:cubicBezTo>
                  <a:cubicBezTo>
                    <a:pt x="394" y="167"/>
                    <a:pt x="394" y="169"/>
                    <a:pt x="394" y="170"/>
                  </a:cubicBezTo>
                  <a:lnTo>
                    <a:pt x="394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0" name="Group 99"/>
          <p:cNvGrpSpPr>
            <a:grpSpLocks noChangeAspect="1"/>
          </p:cNvGrpSpPr>
          <p:nvPr/>
        </p:nvGrpSpPr>
        <p:grpSpPr bwMode="auto">
          <a:xfrm>
            <a:off x="929839" y="4579667"/>
            <a:ext cx="367631" cy="367631"/>
            <a:chOff x="5779" y="1137"/>
            <a:chExt cx="340" cy="340"/>
          </a:xfrm>
          <a:solidFill>
            <a:schemeClr val="accent1"/>
          </a:solidFill>
        </p:grpSpPr>
        <p:sp>
          <p:nvSpPr>
            <p:cNvPr id="641" name="Freeform 100"/>
            <p:cNvSpPr>
              <a:spLocks noEditPoints="1"/>
            </p:cNvSpPr>
            <p:nvPr/>
          </p:nvSpPr>
          <p:spPr bwMode="auto">
            <a:xfrm>
              <a:off x="5878" y="1207"/>
              <a:ext cx="163" cy="199"/>
            </a:xfrm>
            <a:custGeom>
              <a:avLst/>
              <a:gdLst>
                <a:gd name="T0" fmla="*/ 244 w 245"/>
                <a:gd name="T1" fmla="*/ 60 h 299"/>
                <a:gd name="T2" fmla="*/ 242 w 245"/>
                <a:gd name="T3" fmla="*/ 56 h 299"/>
                <a:gd name="T4" fmla="*/ 190 w 245"/>
                <a:gd name="T5" fmla="*/ 3 h 299"/>
                <a:gd name="T6" fmla="*/ 182 w 245"/>
                <a:gd name="T7" fmla="*/ 0 h 299"/>
                <a:gd name="T8" fmla="*/ 85 w 245"/>
                <a:gd name="T9" fmla="*/ 0 h 299"/>
                <a:gd name="T10" fmla="*/ 75 w 245"/>
                <a:gd name="T11" fmla="*/ 11 h 299"/>
                <a:gd name="T12" fmla="*/ 75 w 245"/>
                <a:gd name="T13" fmla="*/ 64 h 299"/>
                <a:gd name="T14" fmla="*/ 11 w 245"/>
                <a:gd name="T15" fmla="*/ 64 h 299"/>
                <a:gd name="T16" fmla="*/ 0 w 245"/>
                <a:gd name="T17" fmla="*/ 75 h 299"/>
                <a:gd name="T18" fmla="*/ 0 w 245"/>
                <a:gd name="T19" fmla="*/ 288 h 299"/>
                <a:gd name="T20" fmla="*/ 11 w 245"/>
                <a:gd name="T21" fmla="*/ 299 h 299"/>
                <a:gd name="T22" fmla="*/ 160 w 245"/>
                <a:gd name="T23" fmla="*/ 299 h 299"/>
                <a:gd name="T24" fmla="*/ 171 w 245"/>
                <a:gd name="T25" fmla="*/ 288 h 299"/>
                <a:gd name="T26" fmla="*/ 171 w 245"/>
                <a:gd name="T27" fmla="*/ 235 h 299"/>
                <a:gd name="T28" fmla="*/ 235 w 245"/>
                <a:gd name="T29" fmla="*/ 235 h 299"/>
                <a:gd name="T30" fmla="*/ 245 w 245"/>
                <a:gd name="T31" fmla="*/ 224 h 299"/>
                <a:gd name="T32" fmla="*/ 245 w 245"/>
                <a:gd name="T33" fmla="*/ 64 h 299"/>
                <a:gd name="T34" fmla="*/ 244 w 245"/>
                <a:gd name="T35" fmla="*/ 60 h 299"/>
                <a:gd name="T36" fmla="*/ 192 w 245"/>
                <a:gd name="T37" fmla="*/ 36 h 299"/>
                <a:gd name="T38" fmla="*/ 210 w 245"/>
                <a:gd name="T39" fmla="*/ 54 h 299"/>
                <a:gd name="T40" fmla="*/ 192 w 245"/>
                <a:gd name="T41" fmla="*/ 54 h 299"/>
                <a:gd name="T42" fmla="*/ 192 w 245"/>
                <a:gd name="T43" fmla="*/ 36 h 299"/>
                <a:gd name="T44" fmla="*/ 149 w 245"/>
                <a:gd name="T45" fmla="*/ 278 h 299"/>
                <a:gd name="T46" fmla="*/ 21 w 245"/>
                <a:gd name="T47" fmla="*/ 278 h 299"/>
                <a:gd name="T48" fmla="*/ 21 w 245"/>
                <a:gd name="T49" fmla="*/ 86 h 299"/>
                <a:gd name="T50" fmla="*/ 96 w 245"/>
                <a:gd name="T51" fmla="*/ 86 h 299"/>
                <a:gd name="T52" fmla="*/ 96 w 245"/>
                <a:gd name="T53" fmla="*/ 128 h 299"/>
                <a:gd name="T54" fmla="*/ 107 w 245"/>
                <a:gd name="T55" fmla="*/ 139 h 299"/>
                <a:gd name="T56" fmla="*/ 149 w 245"/>
                <a:gd name="T57" fmla="*/ 139 h 299"/>
                <a:gd name="T58" fmla="*/ 149 w 245"/>
                <a:gd name="T59" fmla="*/ 278 h 299"/>
                <a:gd name="T60" fmla="*/ 117 w 245"/>
                <a:gd name="T61" fmla="*/ 118 h 299"/>
                <a:gd name="T62" fmla="*/ 117 w 245"/>
                <a:gd name="T63" fmla="*/ 100 h 299"/>
                <a:gd name="T64" fmla="*/ 135 w 245"/>
                <a:gd name="T65" fmla="*/ 118 h 299"/>
                <a:gd name="T66" fmla="*/ 117 w 245"/>
                <a:gd name="T67" fmla="*/ 118 h 299"/>
                <a:gd name="T68" fmla="*/ 224 w 245"/>
                <a:gd name="T69" fmla="*/ 214 h 299"/>
                <a:gd name="T70" fmla="*/ 171 w 245"/>
                <a:gd name="T71" fmla="*/ 214 h 299"/>
                <a:gd name="T72" fmla="*/ 171 w 245"/>
                <a:gd name="T73" fmla="*/ 128 h 299"/>
                <a:gd name="T74" fmla="*/ 169 w 245"/>
                <a:gd name="T75" fmla="*/ 123 h 299"/>
                <a:gd name="T76" fmla="*/ 167 w 245"/>
                <a:gd name="T77" fmla="*/ 120 h 299"/>
                <a:gd name="T78" fmla="*/ 115 w 245"/>
                <a:gd name="T79" fmla="*/ 67 h 299"/>
                <a:gd name="T80" fmla="*/ 108 w 245"/>
                <a:gd name="T81" fmla="*/ 64 h 299"/>
                <a:gd name="T82" fmla="*/ 96 w 245"/>
                <a:gd name="T83" fmla="*/ 64 h 299"/>
                <a:gd name="T84" fmla="*/ 96 w 245"/>
                <a:gd name="T85" fmla="*/ 22 h 299"/>
                <a:gd name="T86" fmla="*/ 171 w 245"/>
                <a:gd name="T87" fmla="*/ 22 h 299"/>
                <a:gd name="T88" fmla="*/ 171 w 245"/>
                <a:gd name="T89" fmla="*/ 64 h 299"/>
                <a:gd name="T90" fmla="*/ 181 w 245"/>
                <a:gd name="T91" fmla="*/ 75 h 299"/>
                <a:gd name="T92" fmla="*/ 224 w 245"/>
                <a:gd name="T93" fmla="*/ 75 h 299"/>
                <a:gd name="T94" fmla="*/ 224 w 245"/>
                <a:gd name="T95" fmla="*/ 2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99">
                  <a:moveTo>
                    <a:pt x="244" y="60"/>
                  </a:moveTo>
                  <a:cubicBezTo>
                    <a:pt x="244" y="58"/>
                    <a:pt x="243" y="57"/>
                    <a:pt x="242" y="56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88" y="1"/>
                    <a:pt x="185" y="0"/>
                    <a:pt x="1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9" y="0"/>
                    <a:pt x="75" y="5"/>
                    <a:pt x="75" y="11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9"/>
                    <a:pt x="11" y="299"/>
                  </a:cubicBezTo>
                  <a:cubicBezTo>
                    <a:pt x="160" y="299"/>
                    <a:pt x="160" y="299"/>
                    <a:pt x="160" y="299"/>
                  </a:cubicBezTo>
                  <a:cubicBezTo>
                    <a:pt x="166" y="299"/>
                    <a:pt x="171" y="294"/>
                    <a:pt x="171" y="288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41" y="235"/>
                    <a:pt x="245" y="230"/>
                    <a:pt x="245" y="224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63"/>
                    <a:pt x="245" y="61"/>
                    <a:pt x="244" y="60"/>
                  </a:cubicBezTo>
                  <a:close/>
                  <a:moveTo>
                    <a:pt x="192" y="36"/>
                  </a:moveTo>
                  <a:cubicBezTo>
                    <a:pt x="210" y="54"/>
                    <a:pt x="210" y="54"/>
                    <a:pt x="210" y="54"/>
                  </a:cubicBezTo>
                  <a:cubicBezTo>
                    <a:pt x="192" y="54"/>
                    <a:pt x="192" y="54"/>
                    <a:pt x="192" y="54"/>
                  </a:cubicBezTo>
                  <a:lnTo>
                    <a:pt x="192" y="36"/>
                  </a:lnTo>
                  <a:close/>
                  <a:moveTo>
                    <a:pt x="149" y="278"/>
                  </a:moveTo>
                  <a:cubicBezTo>
                    <a:pt x="21" y="278"/>
                    <a:pt x="21" y="278"/>
                    <a:pt x="21" y="278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34"/>
                    <a:pt x="101" y="139"/>
                    <a:pt x="107" y="139"/>
                  </a:cubicBezTo>
                  <a:cubicBezTo>
                    <a:pt x="149" y="139"/>
                    <a:pt x="149" y="139"/>
                    <a:pt x="149" y="139"/>
                  </a:cubicBezTo>
                  <a:lnTo>
                    <a:pt x="149" y="278"/>
                  </a:lnTo>
                  <a:close/>
                  <a:moveTo>
                    <a:pt x="117" y="118"/>
                  </a:moveTo>
                  <a:cubicBezTo>
                    <a:pt x="117" y="100"/>
                    <a:pt x="117" y="100"/>
                    <a:pt x="117" y="100"/>
                  </a:cubicBezTo>
                  <a:cubicBezTo>
                    <a:pt x="135" y="118"/>
                    <a:pt x="135" y="118"/>
                    <a:pt x="135" y="118"/>
                  </a:cubicBezTo>
                  <a:lnTo>
                    <a:pt x="117" y="118"/>
                  </a:lnTo>
                  <a:close/>
                  <a:moveTo>
                    <a:pt x="224" y="214"/>
                  </a:moveTo>
                  <a:cubicBezTo>
                    <a:pt x="171" y="214"/>
                    <a:pt x="171" y="214"/>
                    <a:pt x="171" y="21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26"/>
                    <a:pt x="170" y="125"/>
                    <a:pt x="169" y="123"/>
                  </a:cubicBezTo>
                  <a:cubicBezTo>
                    <a:pt x="169" y="122"/>
                    <a:pt x="168" y="121"/>
                    <a:pt x="167" y="120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3" y="65"/>
                    <a:pt x="111" y="64"/>
                    <a:pt x="108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70"/>
                    <a:pt x="175" y="75"/>
                    <a:pt x="181" y="75"/>
                  </a:cubicBezTo>
                  <a:cubicBezTo>
                    <a:pt x="224" y="75"/>
                    <a:pt x="224" y="75"/>
                    <a:pt x="224" y="75"/>
                  </a:cubicBezTo>
                  <a:lnTo>
                    <a:pt x="22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2" name="Freeform 101"/>
            <p:cNvSpPr>
              <a:spLocks noEditPoints="1"/>
            </p:cNvSpPr>
            <p:nvPr/>
          </p:nvSpPr>
          <p:spPr bwMode="auto">
            <a:xfrm>
              <a:off x="5779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43" name="TextBox 642"/>
          <p:cNvSpPr txBox="1"/>
          <p:nvPr/>
        </p:nvSpPr>
        <p:spPr>
          <a:xfrm>
            <a:off x="9472698" y="243936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ay</a:t>
            </a:r>
          </a:p>
        </p:txBody>
      </p:sp>
      <p:grpSp>
        <p:nvGrpSpPr>
          <p:cNvPr id="644" name="Group 472"/>
          <p:cNvGrpSpPr>
            <a:grpSpLocks noChangeAspect="1"/>
          </p:cNvGrpSpPr>
          <p:nvPr/>
        </p:nvGrpSpPr>
        <p:grpSpPr bwMode="auto">
          <a:xfrm>
            <a:off x="9885336" y="2041429"/>
            <a:ext cx="369021" cy="369021"/>
            <a:chOff x="400" y="1576"/>
            <a:chExt cx="340" cy="340"/>
          </a:xfrm>
          <a:solidFill>
            <a:schemeClr val="accent5"/>
          </a:solidFill>
        </p:grpSpPr>
        <p:sp>
          <p:nvSpPr>
            <p:cNvPr id="645" name="Freeform 473"/>
            <p:cNvSpPr>
              <a:spLocks noEditPoints="1"/>
            </p:cNvSpPr>
            <p:nvPr/>
          </p:nvSpPr>
          <p:spPr bwMode="auto">
            <a:xfrm>
              <a:off x="499" y="1654"/>
              <a:ext cx="170" cy="184"/>
            </a:xfrm>
            <a:custGeom>
              <a:avLst/>
              <a:gdLst>
                <a:gd name="T0" fmla="*/ 11 w 256"/>
                <a:gd name="T1" fmla="*/ 277 h 277"/>
                <a:gd name="T2" fmla="*/ 5 w 256"/>
                <a:gd name="T3" fmla="*/ 276 h 277"/>
                <a:gd name="T4" fmla="*/ 0 w 256"/>
                <a:gd name="T5" fmla="*/ 267 h 277"/>
                <a:gd name="T6" fmla="*/ 0 w 256"/>
                <a:gd name="T7" fmla="*/ 11 h 277"/>
                <a:gd name="T8" fmla="*/ 5 w 256"/>
                <a:gd name="T9" fmla="*/ 1 h 277"/>
                <a:gd name="T10" fmla="*/ 16 w 256"/>
                <a:gd name="T11" fmla="*/ 1 h 277"/>
                <a:gd name="T12" fmla="*/ 250 w 256"/>
                <a:gd name="T13" fmla="*/ 129 h 277"/>
                <a:gd name="T14" fmla="*/ 256 w 256"/>
                <a:gd name="T15" fmla="*/ 139 h 277"/>
                <a:gd name="T16" fmla="*/ 250 w 256"/>
                <a:gd name="T17" fmla="*/ 148 h 277"/>
                <a:gd name="T18" fmla="*/ 16 w 256"/>
                <a:gd name="T19" fmla="*/ 276 h 277"/>
                <a:gd name="T20" fmla="*/ 11 w 256"/>
                <a:gd name="T21" fmla="*/ 277 h 277"/>
                <a:gd name="T22" fmla="*/ 21 w 256"/>
                <a:gd name="T23" fmla="*/ 29 h 277"/>
                <a:gd name="T24" fmla="*/ 21 w 256"/>
                <a:gd name="T25" fmla="*/ 249 h 277"/>
                <a:gd name="T26" fmla="*/ 223 w 256"/>
                <a:gd name="T27" fmla="*/ 139 h 277"/>
                <a:gd name="T28" fmla="*/ 21 w 256"/>
                <a:gd name="T29" fmla="*/ 2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277">
                  <a:moveTo>
                    <a:pt x="11" y="277"/>
                  </a:moveTo>
                  <a:cubicBezTo>
                    <a:pt x="9" y="277"/>
                    <a:pt x="7" y="277"/>
                    <a:pt x="5" y="276"/>
                  </a:cubicBezTo>
                  <a:cubicBezTo>
                    <a:pt x="2" y="274"/>
                    <a:pt x="0" y="270"/>
                    <a:pt x="0" y="26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7"/>
                    <a:pt x="2" y="3"/>
                    <a:pt x="5" y="1"/>
                  </a:cubicBezTo>
                  <a:cubicBezTo>
                    <a:pt x="8" y="0"/>
                    <a:pt x="12" y="0"/>
                    <a:pt x="16" y="1"/>
                  </a:cubicBezTo>
                  <a:cubicBezTo>
                    <a:pt x="250" y="129"/>
                    <a:pt x="250" y="129"/>
                    <a:pt x="250" y="129"/>
                  </a:cubicBezTo>
                  <a:cubicBezTo>
                    <a:pt x="254" y="131"/>
                    <a:pt x="256" y="135"/>
                    <a:pt x="256" y="139"/>
                  </a:cubicBezTo>
                  <a:cubicBezTo>
                    <a:pt x="256" y="143"/>
                    <a:pt x="254" y="146"/>
                    <a:pt x="250" y="148"/>
                  </a:cubicBezTo>
                  <a:cubicBezTo>
                    <a:pt x="16" y="276"/>
                    <a:pt x="16" y="276"/>
                    <a:pt x="16" y="276"/>
                  </a:cubicBezTo>
                  <a:cubicBezTo>
                    <a:pt x="14" y="277"/>
                    <a:pt x="12" y="277"/>
                    <a:pt x="11" y="277"/>
                  </a:cubicBezTo>
                  <a:close/>
                  <a:moveTo>
                    <a:pt x="21" y="29"/>
                  </a:moveTo>
                  <a:cubicBezTo>
                    <a:pt x="21" y="249"/>
                    <a:pt x="21" y="249"/>
                    <a:pt x="21" y="249"/>
                  </a:cubicBezTo>
                  <a:cubicBezTo>
                    <a:pt x="223" y="139"/>
                    <a:pt x="223" y="139"/>
                    <a:pt x="223" y="139"/>
                  </a:cubicBezTo>
                  <a:lnTo>
                    <a:pt x="2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6" name="Freeform 474"/>
            <p:cNvSpPr>
              <a:spLocks noEditPoints="1"/>
            </p:cNvSpPr>
            <p:nvPr/>
          </p:nvSpPr>
          <p:spPr bwMode="auto">
            <a:xfrm>
              <a:off x="400" y="157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47" name="Freeform 646"/>
          <p:cNvSpPr>
            <a:spLocks noChangeAspect="1" noEditPoints="1"/>
          </p:cNvSpPr>
          <p:nvPr/>
        </p:nvSpPr>
        <p:spPr bwMode="auto">
          <a:xfrm>
            <a:off x="9387293" y="2041429"/>
            <a:ext cx="369887" cy="369888"/>
          </a:xfrm>
          <a:custGeom>
            <a:avLst/>
            <a:gdLst>
              <a:gd name="T0" fmla="*/ 160 w 512"/>
              <a:gd name="T1" fmla="*/ 394 h 512"/>
              <a:gd name="T2" fmla="*/ 154 w 512"/>
              <a:gd name="T3" fmla="*/ 393 h 512"/>
              <a:gd name="T4" fmla="*/ 149 w 512"/>
              <a:gd name="T5" fmla="*/ 384 h 512"/>
              <a:gd name="T6" fmla="*/ 149 w 512"/>
              <a:gd name="T7" fmla="*/ 128 h 512"/>
              <a:gd name="T8" fmla="*/ 154 w 512"/>
              <a:gd name="T9" fmla="*/ 118 h 512"/>
              <a:gd name="T10" fmla="*/ 165 w 512"/>
              <a:gd name="T11" fmla="*/ 118 h 512"/>
              <a:gd name="T12" fmla="*/ 399 w 512"/>
              <a:gd name="T13" fmla="*/ 246 h 512"/>
              <a:gd name="T14" fmla="*/ 405 w 512"/>
              <a:gd name="T15" fmla="*/ 256 h 512"/>
              <a:gd name="T16" fmla="*/ 399 w 512"/>
              <a:gd name="T17" fmla="*/ 265 h 512"/>
              <a:gd name="T18" fmla="*/ 165 w 512"/>
              <a:gd name="T19" fmla="*/ 393 h 512"/>
              <a:gd name="T20" fmla="*/ 160 w 512"/>
              <a:gd name="T21" fmla="*/ 394 h 512"/>
              <a:gd name="T22" fmla="*/ 170 w 512"/>
              <a:gd name="T23" fmla="*/ 146 h 512"/>
              <a:gd name="T24" fmla="*/ 170 w 512"/>
              <a:gd name="T25" fmla="*/ 366 h 512"/>
              <a:gd name="T26" fmla="*/ 372 w 512"/>
              <a:gd name="T27" fmla="*/ 256 h 512"/>
              <a:gd name="T28" fmla="*/ 170 w 512"/>
              <a:gd name="T29" fmla="*/ 146 h 512"/>
              <a:gd name="T30" fmla="*/ 256 w 512"/>
              <a:gd name="T31" fmla="*/ 0 h 512"/>
              <a:gd name="T32" fmla="*/ 0 w 512"/>
              <a:gd name="T33" fmla="*/ 256 h 512"/>
              <a:gd name="T34" fmla="*/ 256 w 512"/>
              <a:gd name="T35" fmla="*/ 512 h 512"/>
              <a:gd name="T36" fmla="*/ 512 w 512"/>
              <a:gd name="T37" fmla="*/ 256 h 512"/>
              <a:gd name="T38" fmla="*/ 256 w 512"/>
              <a:gd name="T3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12" h="512">
                <a:moveTo>
                  <a:pt x="160" y="394"/>
                </a:moveTo>
                <a:cubicBezTo>
                  <a:pt x="158" y="394"/>
                  <a:pt x="156" y="394"/>
                  <a:pt x="154" y="393"/>
                </a:cubicBezTo>
                <a:cubicBezTo>
                  <a:pt x="151" y="391"/>
                  <a:pt x="149" y="387"/>
                  <a:pt x="149" y="384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149" y="124"/>
                  <a:pt x="151" y="120"/>
                  <a:pt x="154" y="118"/>
                </a:cubicBezTo>
                <a:cubicBezTo>
                  <a:pt x="157" y="117"/>
                  <a:pt x="161" y="117"/>
                  <a:pt x="165" y="118"/>
                </a:cubicBezTo>
                <a:cubicBezTo>
                  <a:pt x="399" y="246"/>
                  <a:pt x="399" y="246"/>
                  <a:pt x="399" y="246"/>
                </a:cubicBezTo>
                <a:cubicBezTo>
                  <a:pt x="403" y="248"/>
                  <a:pt x="405" y="252"/>
                  <a:pt x="405" y="256"/>
                </a:cubicBezTo>
                <a:cubicBezTo>
                  <a:pt x="405" y="260"/>
                  <a:pt x="403" y="263"/>
                  <a:pt x="399" y="265"/>
                </a:cubicBezTo>
                <a:cubicBezTo>
                  <a:pt x="165" y="393"/>
                  <a:pt x="165" y="393"/>
                  <a:pt x="165" y="393"/>
                </a:cubicBezTo>
                <a:cubicBezTo>
                  <a:pt x="163" y="394"/>
                  <a:pt x="161" y="394"/>
                  <a:pt x="160" y="394"/>
                </a:cubicBezTo>
                <a:close/>
                <a:moveTo>
                  <a:pt x="170" y="146"/>
                </a:moveTo>
                <a:cubicBezTo>
                  <a:pt x="170" y="366"/>
                  <a:pt x="170" y="366"/>
                  <a:pt x="170" y="366"/>
                </a:cubicBezTo>
                <a:cubicBezTo>
                  <a:pt x="372" y="256"/>
                  <a:pt x="372" y="256"/>
                  <a:pt x="372" y="256"/>
                </a:cubicBezTo>
                <a:lnTo>
                  <a:pt x="170" y="14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48" name="TextBox 647"/>
          <p:cNvSpPr txBox="1"/>
          <p:nvPr/>
        </p:nvSpPr>
        <p:spPr>
          <a:xfrm>
            <a:off x="1474958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int</a:t>
            </a:r>
          </a:p>
        </p:txBody>
      </p:sp>
      <p:grpSp>
        <p:nvGrpSpPr>
          <p:cNvPr id="649" name="Group 567"/>
          <p:cNvGrpSpPr>
            <a:grpSpLocks noChangeAspect="1"/>
          </p:cNvGrpSpPr>
          <p:nvPr/>
        </p:nvGrpSpPr>
        <p:grpSpPr bwMode="auto">
          <a:xfrm>
            <a:off x="1924397" y="4579667"/>
            <a:ext cx="370106" cy="369021"/>
            <a:chOff x="410" y="1934"/>
            <a:chExt cx="341" cy="340"/>
          </a:xfrm>
          <a:solidFill>
            <a:schemeClr val="accent6"/>
          </a:solidFill>
        </p:grpSpPr>
        <p:sp>
          <p:nvSpPr>
            <p:cNvPr id="650" name="Freeform 568"/>
            <p:cNvSpPr>
              <a:spLocks noEditPoints="1"/>
            </p:cNvSpPr>
            <p:nvPr/>
          </p:nvSpPr>
          <p:spPr bwMode="auto">
            <a:xfrm>
              <a:off x="474" y="1998"/>
              <a:ext cx="213" cy="212"/>
            </a:xfrm>
            <a:custGeom>
              <a:avLst/>
              <a:gdLst>
                <a:gd name="T0" fmla="*/ 309 w 320"/>
                <a:gd name="T1" fmla="*/ 85 h 320"/>
                <a:gd name="T2" fmla="*/ 256 w 320"/>
                <a:gd name="T3" fmla="*/ 85 h 320"/>
                <a:gd name="T4" fmla="*/ 256 w 320"/>
                <a:gd name="T5" fmla="*/ 10 h 320"/>
                <a:gd name="T6" fmla="*/ 245 w 320"/>
                <a:gd name="T7" fmla="*/ 0 h 320"/>
                <a:gd name="T8" fmla="*/ 74 w 320"/>
                <a:gd name="T9" fmla="*/ 0 h 320"/>
                <a:gd name="T10" fmla="*/ 64 w 320"/>
                <a:gd name="T11" fmla="*/ 10 h 320"/>
                <a:gd name="T12" fmla="*/ 64 w 320"/>
                <a:gd name="T13" fmla="*/ 85 h 320"/>
                <a:gd name="T14" fmla="*/ 10 w 320"/>
                <a:gd name="T15" fmla="*/ 85 h 320"/>
                <a:gd name="T16" fmla="*/ 0 w 320"/>
                <a:gd name="T17" fmla="*/ 96 h 320"/>
                <a:gd name="T18" fmla="*/ 0 w 320"/>
                <a:gd name="T19" fmla="*/ 266 h 320"/>
                <a:gd name="T20" fmla="*/ 10 w 320"/>
                <a:gd name="T21" fmla="*/ 277 h 320"/>
                <a:gd name="T22" fmla="*/ 64 w 320"/>
                <a:gd name="T23" fmla="*/ 277 h 320"/>
                <a:gd name="T24" fmla="*/ 64 w 320"/>
                <a:gd name="T25" fmla="*/ 309 h 320"/>
                <a:gd name="T26" fmla="*/ 74 w 320"/>
                <a:gd name="T27" fmla="*/ 320 h 320"/>
                <a:gd name="T28" fmla="*/ 245 w 320"/>
                <a:gd name="T29" fmla="*/ 320 h 320"/>
                <a:gd name="T30" fmla="*/ 256 w 320"/>
                <a:gd name="T31" fmla="*/ 309 h 320"/>
                <a:gd name="T32" fmla="*/ 256 w 320"/>
                <a:gd name="T33" fmla="*/ 277 h 320"/>
                <a:gd name="T34" fmla="*/ 309 w 320"/>
                <a:gd name="T35" fmla="*/ 277 h 320"/>
                <a:gd name="T36" fmla="*/ 320 w 320"/>
                <a:gd name="T37" fmla="*/ 266 h 320"/>
                <a:gd name="T38" fmla="*/ 320 w 320"/>
                <a:gd name="T39" fmla="*/ 96 h 320"/>
                <a:gd name="T40" fmla="*/ 309 w 320"/>
                <a:gd name="T41" fmla="*/ 85 h 320"/>
                <a:gd name="T42" fmla="*/ 85 w 320"/>
                <a:gd name="T43" fmla="*/ 21 h 320"/>
                <a:gd name="T44" fmla="*/ 234 w 320"/>
                <a:gd name="T45" fmla="*/ 21 h 320"/>
                <a:gd name="T46" fmla="*/ 234 w 320"/>
                <a:gd name="T47" fmla="*/ 85 h 320"/>
                <a:gd name="T48" fmla="*/ 85 w 320"/>
                <a:gd name="T49" fmla="*/ 85 h 320"/>
                <a:gd name="T50" fmla="*/ 85 w 320"/>
                <a:gd name="T51" fmla="*/ 21 h 320"/>
                <a:gd name="T52" fmla="*/ 234 w 320"/>
                <a:gd name="T53" fmla="*/ 298 h 320"/>
                <a:gd name="T54" fmla="*/ 85 w 320"/>
                <a:gd name="T55" fmla="*/ 298 h 320"/>
                <a:gd name="T56" fmla="*/ 85 w 320"/>
                <a:gd name="T57" fmla="*/ 213 h 320"/>
                <a:gd name="T58" fmla="*/ 234 w 320"/>
                <a:gd name="T59" fmla="*/ 213 h 320"/>
                <a:gd name="T60" fmla="*/ 234 w 320"/>
                <a:gd name="T61" fmla="*/ 298 h 320"/>
                <a:gd name="T62" fmla="*/ 298 w 320"/>
                <a:gd name="T63" fmla="*/ 256 h 320"/>
                <a:gd name="T64" fmla="*/ 256 w 320"/>
                <a:gd name="T65" fmla="*/ 256 h 320"/>
                <a:gd name="T66" fmla="*/ 256 w 320"/>
                <a:gd name="T67" fmla="*/ 202 h 320"/>
                <a:gd name="T68" fmla="*/ 245 w 320"/>
                <a:gd name="T69" fmla="*/ 192 h 320"/>
                <a:gd name="T70" fmla="*/ 74 w 320"/>
                <a:gd name="T71" fmla="*/ 192 h 320"/>
                <a:gd name="T72" fmla="*/ 64 w 320"/>
                <a:gd name="T73" fmla="*/ 202 h 320"/>
                <a:gd name="T74" fmla="*/ 64 w 320"/>
                <a:gd name="T75" fmla="*/ 256 h 320"/>
                <a:gd name="T76" fmla="*/ 21 w 320"/>
                <a:gd name="T77" fmla="*/ 256 h 320"/>
                <a:gd name="T78" fmla="*/ 21 w 320"/>
                <a:gd name="T79" fmla="*/ 106 h 320"/>
                <a:gd name="T80" fmla="*/ 298 w 320"/>
                <a:gd name="T81" fmla="*/ 106 h 320"/>
                <a:gd name="T82" fmla="*/ 298 w 320"/>
                <a:gd name="T8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" h="320">
                  <a:moveTo>
                    <a:pt x="309" y="85"/>
                  </a:moveTo>
                  <a:cubicBezTo>
                    <a:pt x="256" y="85"/>
                    <a:pt x="256" y="85"/>
                    <a:pt x="256" y="85"/>
                  </a:cubicBezTo>
                  <a:cubicBezTo>
                    <a:pt x="256" y="10"/>
                    <a:pt x="256" y="10"/>
                    <a:pt x="256" y="10"/>
                  </a:cubicBezTo>
                  <a:cubicBezTo>
                    <a:pt x="256" y="4"/>
                    <a:pt x="251" y="0"/>
                    <a:pt x="24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8" y="0"/>
                    <a:pt x="64" y="4"/>
                    <a:pt x="64" y="10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64" y="277"/>
                    <a:pt x="64" y="277"/>
                    <a:pt x="64" y="27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64" y="315"/>
                    <a:pt x="68" y="320"/>
                    <a:pt x="74" y="320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51" y="320"/>
                    <a:pt x="256" y="315"/>
                    <a:pt x="256" y="309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309" y="277"/>
                    <a:pt x="309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0" y="90"/>
                    <a:pt x="315" y="85"/>
                    <a:pt x="309" y="85"/>
                  </a:cubicBezTo>
                  <a:close/>
                  <a:moveTo>
                    <a:pt x="85" y="21"/>
                  </a:moveTo>
                  <a:cubicBezTo>
                    <a:pt x="234" y="21"/>
                    <a:pt x="234" y="21"/>
                    <a:pt x="234" y="21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85" y="85"/>
                    <a:pt x="85" y="85"/>
                    <a:pt x="85" y="85"/>
                  </a:cubicBezTo>
                  <a:lnTo>
                    <a:pt x="85" y="21"/>
                  </a:lnTo>
                  <a:close/>
                  <a:moveTo>
                    <a:pt x="234" y="298"/>
                  </a:moveTo>
                  <a:cubicBezTo>
                    <a:pt x="85" y="298"/>
                    <a:pt x="85" y="298"/>
                    <a:pt x="85" y="298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234" y="213"/>
                    <a:pt x="234" y="213"/>
                    <a:pt x="234" y="213"/>
                  </a:cubicBezTo>
                  <a:lnTo>
                    <a:pt x="234" y="298"/>
                  </a:lnTo>
                  <a:close/>
                  <a:moveTo>
                    <a:pt x="298" y="256"/>
                  </a:moveTo>
                  <a:cubicBezTo>
                    <a:pt x="256" y="256"/>
                    <a:pt x="256" y="256"/>
                    <a:pt x="256" y="256"/>
                  </a:cubicBezTo>
                  <a:cubicBezTo>
                    <a:pt x="256" y="202"/>
                    <a:pt x="256" y="202"/>
                    <a:pt x="256" y="202"/>
                  </a:cubicBezTo>
                  <a:cubicBezTo>
                    <a:pt x="256" y="196"/>
                    <a:pt x="251" y="192"/>
                    <a:pt x="245" y="192"/>
                  </a:cubicBezTo>
                  <a:cubicBezTo>
                    <a:pt x="74" y="192"/>
                    <a:pt x="74" y="192"/>
                    <a:pt x="74" y="192"/>
                  </a:cubicBezTo>
                  <a:cubicBezTo>
                    <a:pt x="68" y="192"/>
                    <a:pt x="64" y="196"/>
                    <a:pt x="64" y="202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98" y="106"/>
                    <a:pt x="298" y="106"/>
                    <a:pt x="298" y="106"/>
                  </a:cubicBezTo>
                  <a:lnTo>
                    <a:pt x="29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1" name="Freeform 569"/>
            <p:cNvSpPr>
              <a:spLocks/>
            </p:cNvSpPr>
            <p:nvPr/>
          </p:nvSpPr>
          <p:spPr bwMode="auto">
            <a:xfrm>
              <a:off x="630" y="2083"/>
              <a:ext cx="28" cy="14"/>
            </a:xfrm>
            <a:custGeom>
              <a:avLst/>
              <a:gdLst>
                <a:gd name="T0" fmla="*/ 0 w 43"/>
                <a:gd name="T1" fmla="*/ 10 h 21"/>
                <a:gd name="T2" fmla="*/ 11 w 43"/>
                <a:gd name="T3" fmla="*/ 21 h 21"/>
                <a:gd name="T4" fmla="*/ 32 w 43"/>
                <a:gd name="T5" fmla="*/ 21 h 21"/>
                <a:gd name="T6" fmla="*/ 43 w 43"/>
                <a:gd name="T7" fmla="*/ 10 h 21"/>
                <a:gd name="T8" fmla="*/ 32 w 43"/>
                <a:gd name="T9" fmla="*/ 0 h 21"/>
                <a:gd name="T10" fmla="*/ 11 w 43"/>
                <a:gd name="T11" fmla="*/ 0 h 21"/>
                <a:gd name="T12" fmla="*/ 0 w 43"/>
                <a:gd name="T13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0" y="10"/>
                  </a:moveTo>
                  <a:cubicBezTo>
                    <a:pt x="0" y="16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6"/>
                    <a:pt x="43" y="10"/>
                  </a:cubicBezTo>
                  <a:cubicBezTo>
                    <a:pt x="43" y="4"/>
                    <a:pt x="38" y="0"/>
                    <a:pt x="3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2" name="Freeform 570"/>
            <p:cNvSpPr>
              <a:spLocks noEditPoints="1"/>
            </p:cNvSpPr>
            <p:nvPr/>
          </p:nvSpPr>
          <p:spPr bwMode="auto">
            <a:xfrm>
              <a:off x="410" y="193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53" name="Freeform 574"/>
          <p:cNvSpPr>
            <a:spLocks noChangeAspect="1" noEditPoints="1"/>
          </p:cNvSpPr>
          <p:nvPr/>
        </p:nvSpPr>
        <p:spPr bwMode="auto">
          <a:xfrm>
            <a:off x="1426423" y="4579667"/>
            <a:ext cx="369021" cy="369021"/>
          </a:xfrm>
          <a:custGeom>
            <a:avLst/>
            <a:gdLst>
              <a:gd name="T0" fmla="*/ 181 w 512"/>
              <a:gd name="T1" fmla="*/ 309 h 512"/>
              <a:gd name="T2" fmla="*/ 330 w 512"/>
              <a:gd name="T3" fmla="*/ 309 h 512"/>
              <a:gd name="T4" fmla="*/ 330 w 512"/>
              <a:gd name="T5" fmla="*/ 394 h 512"/>
              <a:gd name="T6" fmla="*/ 181 w 512"/>
              <a:gd name="T7" fmla="*/ 394 h 512"/>
              <a:gd name="T8" fmla="*/ 181 w 512"/>
              <a:gd name="T9" fmla="*/ 309 h 512"/>
              <a:gd name="T10" fmla="*/ 330 w 512"/>
              <a:gd name="T11" fmla="*/ 117 h 512"/>
              <a:gd name="T12" fmla="*/ 181 w 512"/>
              <a:gd name="T13" fmla="*/ 117 h 512"/>
              <a:gd name="T14" fmla="*/ 181 w 512"/>
              <a:gd name="T15" fmla="*/ 181 h 512"/>
              <a:gd name="T16" fmla="*/ 330 w 512"/>
              <a:gd name="T17" fmla="*/ 181 h 512"/>
              <a:gd name="T18" fmla="*/ 330 w 512"/>
              <a:gd name="T19" fmla="*/ 117 h 512"/>
              <a:gd name="T20" fmla="*/ 117 w 512"/>
              <a:gd name="T21" fmla="*/ 202 h 512"/>
              <a:gd name="T22" fmla="*/ 394 w 512"/>
              <a:gd name="T23" fmla="*/ 202 h 512"/>
              <a:gd name="T24" fmla="*/ 394 w 512"/>
              <a:gd name="T25" fmla="*/ 352 h 512"/>
              <a:gd name="T26" fmla="*/ 352 w 512"/>
              <a:gd name="T27" fmla="*/ 352 h 512"/>
              <a:gd name="T28" fmla="*/ 352 w 512"/>
              <a:gd name="T29" fmla="*/ 298 h 512"/>
              <a:gd name="T30" fmla="*/ 341 w 512"/>
              <a:gd name="T31" fmla="*/ 288 h 512"/>
              <a:gd name="T32" fmla="*/ 170 w 512"/>
              <a:gd name="T33" fmla="*/ 288 h 512"/>
              <a:gd name="T34" fmla="*/ 160 w 512"/>
              <a:gd name="T35" fmla="*/ 298 h 512"/>
              <a:gd name="T36" fmla="*/ 160 w 512"/>
              <a:gd name="T37" fmla="*/ 352 h 512"/>
              <a:gd name="T38" fmla="*/ 117 w 512"/>
              <a:gd name="T39" fmla="*/ 352 h 512"/>
              <a:gd name="T40" fmla="*/ 117 w 512"/>
              <a:gd name="T41" fmla="*/ 202 h 512"/>
              <a:gd name="T42" fmla="*/ 330 w 512"/>
              <a:gd name="T43" fmla="*/ 234 h 512"/>
              <a:gd name="T44" fmla="*/ 341 w 512"/>
              <a:gd name="T45" fmla="*/ 245 h 512"/>
              <a:gd name="T46" fmla="*/ 362 w 512"/>
              <a:gd name="T47" fmla="*/ 245 h 512"/>
              <a:gd name="T48" fmla="*/ 373 w 512"/>
              <a:gd name="T49" fmla="*/ 234 h 512"/>
              <a:gd name="T50" fmla="*/ 362 w 512"/>
              <a:gd name="T51" fmla="*/ 224 h 512"/>
              <a:gd name="T52" fmla="*/ 341 w 512"/>
              <a:gd name="T53" fmla="*/ 224 h 512"/>
              <a:gd name="T54" fmla="*/ 330 w 512"/>
              <a:gd name="T55" fmla="*/ 234 h 512"/>
              <a:gd name="T56" fmla="*/ 512 w 512"/>
              <a:gd name="T57" fmla="*/ 256 h 512"/>
              <a:gd name="T58" fmla="*/ 256 w 512"/>
              <a:gd name="T59" fmla="*/ 512 h 512"/>
              <a:gd name="T60" fmla="*/ 0 w 512"/>
              <a:gd name="T61" fmla="*/ 256 h 512"/>
              <a:gd name="T62" fmla="*/ 256 w 512"/>
              <a:gd name="T63" fmla="*/ 0 h 512"/>
              <a:gd name="T64" fmla="*/ 512 w 512"/>
              <a:gd name="T65" fmla="*/ 256 h 512"/>
              <a:gd name="T66" fmla="*/ 416 w 512"/>
              <a:gd name="T67" fmla="*/ 192 h 512"/>
              <a:gd name="T68" fmla="*/ 405 w 512"/>
              <a:gd name="T69" fmla="*/ 181 h 512"/>
              <a:gd name="T70" fmla="*/ 352 w 512"/>
              <a:gd name="T71" fmla="*/ 181 h 512"/>
              <a:gd name="T72" fmla="*/ 352 w 512"/>
              <a:gd name="T73" fmla="*/ 106 h 512"/>
              <a:gd name="T74" fmla="*/ 341 w 512"/>
              <a:gd name="T75" fmla="*/ 96 h 512"/>
              <a:gd name="T76" fmla="*/ 170 w 512"/>
              <a:gd name="T77" fmla="*/ 96 h 512"/>
              <a:gd name="T78" fmla="*/ 160 w 512"/>
              <a:gd name="T79" fmla="*/ 106 h 512"/>
              <a:gd name="T80" fmla="*/ 160 w 512"/>
              <a:gd name="T81" fmla="*/ 181 h 512"/>
              <a:gd name="T82" fmla="*/ 106 w 512"/>
              <a:gd name="T83" fmla="*/ 181 h 512"/>
              <a:gd name="T84" fmla="*/ 96 w 512"/>
              <a:gd name="T85" fmla="*/ 192 h 512"/>
              <a:gd name="T86" fmla="*/ 96 w 512"/>
              <a:gd name="T87" fmla="*/ 362 h 512"/>
              <a:gd name="T88" fmla="*/ 106 w 512"/>
              <a:gd name="T89" fmla="*/ 373 h 512"/>
              <a:gd name="T90" fmla="*/ 160 w 512"/>
              <a:gd name="T91" fmla="*/ 373 h 512"/>
              <a:gd name="T92" fmla="*/ 160 w 512"/>
              <a:gd name="T93" fmla="*/ 405 h 512"/>
              <a:gd name="T94" fmla="*/ 170 w 512"/>
              <a:gd name="T95" fmla="*/ 416 h 512"/>
              <a:gd name="T96" fmla="*/ 341 w 512"/>
              <a:gd name="T97" fmla="*/ 416 h 512"/>
              <a:gd name="T98" fmla="*/ 352 w 512"/>
              <a:gd name="T99" fmla="*/ 405 h 512"/>
              <a:gd name="T100" fmla="*/ 352 w 512"/>
              <a:gd name="T101" fmla="*/ 373 h 512"/>
              <a:gd name="T102" fmla="*/ 405 w 512"/>
              <a:gd name="T103" fmla="*/ 373 h 512"/>
              <a:gd name="T104" fmla="*/ 416 w 512"/>
              <a:gd name="T105" fmla="*/ 362 h 512"/>
              <a:gd name="T106" fmla="*/ 416 w 512"/>
              <a:gd name="T107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181" y="309"/>
                </a:moveTo>
                <a:cubicBezTo>
                  <a:pt x="330" y="309"/>
                  <a:pt x="330" y="309"/>
                  <a:pt x="330" y="309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181" y="394"/>
                  <a:pt x="181" y="394"/>
                  <a:pt x="181" y="394"/>
                </a:cubicBezTo>
                <a:lnTo>
                  <a:pt x="181" y="309"/>
                </a:lnTo>
                <a:close/>
                <a:moveTo>
                  <a:pt x="330" y="117"/>
                </a:moveTo>
                <a:cubicBezTo>
                  <a:pt x="181" y="117"/>
                  <a:pt x="181" y="117"/>
                  <a:pt x="181" y="117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330" y="181"/>
                  <a:pt x="330" y="181"/>
                  <a:pt x="330" y="181"/>
                </a:cubicBezTo>
                <a:lnTo>
                  <a:pt x="330" y="117"/>
                </a:lnTo>
                <a:close/>
                <a:moveTo>
                  <a:pt x="117" y="202"/>
                </a:moveTo>
                <a:cubicBezTo>
                  <a:pt x="394" y="202"/>
                  <a:pt x="394" y="202"/>
                  <a:pt x="394" y="20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52" y="292"/>
                  <a:pt x="347" y="288"/>
                  <a:pt x="341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92"/>
                  <a:pt x="160" y="298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17" y="352"/>
                  <a:pt x="117" y="352"/>
                  <a:pt x="117" y="352"/>
                </a:cubicBezTo>
                <a:lnTo>
                  <a:pt x="117" y="202"/>
                </a:lnTo>
                <a:close/>
                <a:moveTo>
                  <a:pt x="330" y="234"/>
                </a:moveTo>
                <a:cubicBezTo>
                  <a:pt x="330" y="240"/>
                  <a:pt x="335" y="245"/>
                  <a:pt x="341" y="245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8" y="245"/>
                  <a:pt x="373" y="240"/>
                  <a:pt x="373" y="234"/>
                </a:cubicBezTo>
                <a:cubicBezTo>
                  <a:pt x="373" y="228"/>
                  <a:pt x="368" y="224"/>
                  <a:pt x="362" y="224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335" y="224"/>
                  <a:pt x="330" y="228"/>
                  <a:pt x="330" y="23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92"/>
                </a:moveTo>
                <a:cubicBezTo>
                  <a:pt x="416" y="186"/>
                  <a:pt x="411" y="181"/>
                  <a:pt x="405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2" y="106"/>
                  <a:pt x="352" y="106"/>
                  <a:pt x="352" y="106"/>
                </a:cubicBezTo>
                <a:cubicBezTo>
                  <a:pt x="352" y="100"/>
                  <a:pt x="347" y="96"/>
                  <a:pt x="341" y="96"/>
                </a:cubicBezTo>
                <a:cubicBezTo>
                  <a:pt x="170" y="96"/>
                  <a:pt x="170" y="96"/>
                  <a:pt x="170" y="96"/>
                </a:cubicBezTo>
                <a:cubicBezTo>
                  <a:pt x="164" y="96"/>
                  <a:pt x="160" y="100"/>
                  <a:pt x="160" y="106"/>
                </a:cubicBezTo>
                <a:cubicBezTo>
                  <a:pt x="160" y="181"/>
                  <a:pt x="160" y="181"/>
                  <a:pt x="160" y="181"/>
                </a:cubicBezTo>
                <a:cubicBezTo>
                  <a:pt x="106" y="181"/>
                  <a:pt x="106" y="181"/>
                  <a:pt x="106" y="181"/>
                </a:cubicBezTo>
                <a:cubicBezTo>
                  <a:pt x="100" y="181"/>
                  <a:pt x="96" y="186"/>
                  <a:pt x="96" y="192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160" y="373"/>
                  <a:pt x="160" y="373"/>
                  <a:pt x="160" y="373"/>
                </a:cubicBezTo>
                <a:cubicBezTo>
                  <a:pt x="160" y="405"/>
                  <a:pt x="160" y="405"/>
                  <a:pt x="160" y="405"/>
                </a:cubicBezTo>
                <a:cubicBezTo>
                  <a:pt x="160" y="411"/>
                  <a:pt x="164" y="416"/>
                  <a:pt x="170" y="416"/>
                </a:cubicBezTo>
                <a:cubicBezTo>
                  <a:pt x="341" y="416"/>
                  <a:pt x="341" y="416"/>
                  <a:pt x="341" y="416"/>
                </a:cubicBezTo>
                <a:cubicBezTo>
                  <a:pt x="347" y="416"/>
                  <a:pt x="352" y="411"/>
                  <a:pt x="352" y="405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9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4" name="TextBox 653"/>
          <p:cNvSpPr txBox="1"/>
          <p:nvPr/>
        </p:nvSpPr>
        <p:spPr>
          <a:xfrm>
            <a:off x="2478645" y="498592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nlink</a:t>
            </a:r>
          </a:p>
        </p:txBody>
      </p:sp>
      <p:grpSp>
        <p:nvGrpSpPr>
          <p:cNvPr id="655" name="Group 611"/>
          <p:cNvGrpSpPr>
            <a:grpSpLocks noChangeAspect="1"/>
          </p:cNvGrpSpPr>
          <p:nvPr/>
        </p:nvGrpSpPr>
        <p:grpSpPr bwMode="auto">
          <a:xfrm>
            <a:off x="2922085" y="4579663"/>
            <a:ext cx="369676" cy="369676"/>
            <a:chOff x="6597" y="2260"/>
            <a:chExt cx="340" cy="340"/>
          </a:xfrm>
          <a:solidFill>
            <a:schemeClr val="accent1"/>
          </a:solidFill>
        </p:grpSpPr>
        <p:sp>
          <p:nvSpPr>
            <p:cNvPr id="656" name="Freeform 612"/>
            <p:cNvSpPr>
              <a:spLocks noEditPoints="1"/>
            </p:cNvSpPr>
            <p:nvPr/>
          </p:nvSpPr>
          <p:spPr bwMode="auto">
            <a:xfrm>
              <a:off x="6597" y="22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7" name="Freeform 613"/>
            <p:cNvSpPr>
              <a:spLocks noEditPoints="1"/>
            </p:cNvSpPr>
            <p:nvPr/>
          </p:nvSpPr>
          <p:spPr bwMode="auto">
            <a:xfrm>
              <a:off x="6676" y="2339"/>
              <a:ext cx="182" cy="181"/>
            </a:xfrm>
            <a:custGeom>
              <a:avLst/>
              <a:gdLst>
                <a:gd name="T0" fmla="*/ 262 w 274"/>
                <a:gd name="T1" fmla="*/ 198 h 273"/>
                <a:gd name="T2" fmla="*/ 237 w 274"/>
                <a:gd name="T3" fmla="*/ 222 h 273"/>
                <a:gd name="T4" fmla="*/ 262 w 274"/>
                <a:gd name="T5" fmla="*/ 246 h 273"/>
                <a:gd name="T6" fmla="*/ 262 w 274"/>
                <a:gd name="T7" fmla="*/ 262 h 273"/>
                <a:gd name="T8" fmla="*/ 254 w 274"/>
                <a:gd name="T9" fmla="*/ 265 h 273"/>
                <a:gd name="T10" fmla="*/ 246 w 274"/>
                <a:gd name="T11" fmla="*/ 262 h 273"/>
                <a:gd name="T12" fmla="*/ 222 w 274"/>
                <a:gd name="T13" fmla="*/ 237 h 273"/>
                <a:gd name="T14" fmla="*/ 198 w 274"/>
                <a:gd name="T15" fmla="*/ 262 h 273"/>
                <a:gd name="T16" fmla="*/ 190 w 274"/>
                <a:gd name="T17" fmla="*/ 265 h 273"/>
                <a:gd name="T18" fmla="*/ 182 w 274"/>
                <a:gd name="T19" fmla="*/ 262 h 273"/>
                <a:gd name="T20" fmla="*/ 182 w 274"/>
                <a:gd name="T21" fmla="*/ 246 h 273"/>
                <a:gd name="T22" fmla="*/ 207 w 274"/>
                <a:gd name="T23" fmla="*/ 222 h 273"/>
                <a:gd name="T24" fmla="*/ 182 w 274"/>
                <a:gd name="T25" fmla="*/ 198 h 273"/>
                <a:gd name="T26" fmla="*/ 182 w 274"/>
                <a:gd name="T27" fmla="*/ 182 h 273"/>
                <a:gd name="T28" fmla="*/ 198 w 274"/>
                <a:gd name="T29" fmla="*/ 182 h 273"/>
                <a:gd name="T30" fmla="*/ 222 w 274"/>
                <a:gd name="T31" fmla="*/ 207 h 273"/>
                <a:gd name="T32" fmla="*/ 246 w 274"/>
                <a:gd name="T33" fmla="*/ 182 h 273"/>
                <a:gd name="T34" fmla="*/ 262 w 274"/>
                <a:gd name="T35" fmla="*/ 182 h 273"/>
                <a:gd name="T36" fmla="*/ 262 w 274"/>
                <a:gd name="T37" fmla="*/ 198 h 273"/>
                <a:gd name="T38" fmla="*/ 122 w 274"/>
                <a:gd name="T39" fmla="*/ 197 h 273"/>
                <a:gd name="T40" fmla="*/ 76 w 274"/>
                <a:gd name="T41" fmla="*/ 242 h 273"/>
                <a:gd name="T42" fmla="*/ 54 w 274"/>
                <a:gd name="T43" fmla="*/ 252 h 273"/>
                <a:gd name="T44" fmla="*/ 31 w 274"/>
                <a:gd name="T45" fmla="*/ 242 h 273"/>
                <a:gd name="T46" fmla="*/ 21 w 274"/>
                <a:gd name="T47" fmla="*/ 219 h 273"/>
                <a:gd name="T48" fmla="*/ 31 w 274"/>
                <a:gd name="T49" fmla="*/ 197 h 273"/>
                <a:gd name="T50" fmla="*/ 99 w 274"/>
                <a:gd name="T51" fmla="*/ 129 h 273"/>
                <a:gd name="T52" fmla="*/ 121 w 274"/>
                <a:gd name="T53" fmla="*/ 119 h 273"/>
                <a:gd name="T54" fmla="*/ 144 w 274"/>
                <a:gd name="T55" fmla="*/ 129 h 273"/>
                <a:gd name="T56" fmla="*/ 159 w 274"/>
                <a:gd name="T57" fmla="*/ 129 h 273"/>
                <a:gd name="T58" fmla="*/ 159 w 274"/>
                <a:gd name="T59" fmla="*/ 114 h 273"/>
                <a:gd name="T60" fmla="*/ 120 w 274"/>
                <a:gd name="T61" fmla="*/ 98 h 273"/>
                <a:gd name="T62" fmla="*/ 84 w 274"/>
                <a:gd name="T63" fmla="*/ 114 h 273"/>
                <a:gd name="T64" fmla="*/ 16 w 274"/>
                <a:gd name="T65" fmla="*/ 182 h 273"/>
                <a:gd name="T66" fmla="*/ 0 w 274"/>
                <a:gd name="T67" fmla="*/ 219 h 273"/>
                <a:gd name="T68" fmla="*/ 16 w 274"/>
                <a:gd name="T69" fmla="*/ 257 h 273"/>
                <a:gd name="T70" fmla="*/ 53 w 274"/>
                <a:gd name="T71" fmla="*/ 273 h 273"/>
                <a:gd name="T72" fmla="*/ 55 w 274"/>
                <a:gd name="T73" fmla="*/ 273 h 273"/>
                <a:gd name="T74" fmla="*/ 91 w 274"/>
                <a:gd name="T75" fmla="*/ 257 h 273"/>
                <a:gd name="T76" fmla="*/ 137 w 274"/>
                <a:gd name="T77" fmla="*/ 212 h 273"/>
                <a:gd name="T78" fmla="*/ 137 w 274"/>
                <a:gd name="T79" fmla="*/ 197 h 273"/>
                <a:gd name="T80" fmla="*/ 122 w 274"/>
                <a:gd name="T81" fmla="*/ 197 h 273"/>
                <a:gd name="T82" fmla="*/ 257 w 274"/>
                <a:gd name="T83" fmla="*/ 91 h 273"/>
                <a:gd name="T84" fmla="*/ 273 w 274"/>
                <a:gd name="T85" fmla="*/ 55 h 273"/>
                <a:gd name="T86" fmla="*/ 257 w 274"/>
                <a:gd name="T87" fmla="*/ 16 h 273"/>
                <a:gd name="T88" fmla="*/ 219 w 274"/>
                <a:gd name="T89" fmla="*/ 0 h 273"/>
                <a:gd name="T90" fmla="*/ 182 w 274"/>
                <a:gd name="T91" fmla="*/ 16 h 273"/>
                <a:gd name="T92" fmla="*/ 137 w 274"/>
                <a:gd name="T93" fmla="*/ 61 h 273"/>
                <a:gd name="T94" fmla="*/ 137 w 274"/>
                <a:gd name="T95" fmla="*/ 76 h 273"/>
                <a:gd name="T96" fmla="*/ 152 w 274"/>
                <a:gd name="T97" fmla="*/ 76 h 273"/>
                <a:gd name="T98" fmla="*/ 197 w 274"/>
                <a:gd name="T99" fmla="*/ 31 h 273"/>
                <a:gd name="T100" fmla="*/ 219 w 274"/>
                <a:gd name="T101" fmla="*/ 21 h 273"/>
                <a:gd name="T102" fmla="*/ 242 w 274"/>
                <a:gd name="T103" fmla="*/ 31 h 273"/>
                <a:gd name="T104" fmla="*/ 252 w 274"/>
                <a:gd name="T105" fmla="*/ 54 h 273"/>
                <a:gd name="T106" fmla="*/ 242 w 274"/>
                <a:gd name="T107" fmla="*/ 76 h 273"/>
                <a:gd name="T108" fmla="*/ 174 w 274"/>
                <a:gd name="T109" fmla="*/ 144 h 273"/>
                <a:gd name="T110" fmla="*/ 152 w 274"/>
                <a:gd name="T111" fmla="*/ 154 h 273"/>
                <a:gd name="T112" fmla="*/ 129 w 274"/>
                <a:gd name="T113" fmla="*/ 144 h 273"/>
                <a:gd name="T114" fmla="*/ 114 w 274"/>
                <a:gd name="T115" fmla="*/ 144 h 273"/>
                <a:gd name="T116" fmla="*/ 114 w 274"/>
                <a:gd name="T117" fmla="*/ 159 h 273"/>
                <a:gd name="T118" fmla="*/ 152 w 274"/>
                <a:gd name="T119" fmla="*/ 175 h 273"/>
                <a:gd name="T120" fmla="*/ 153 w 274"/>
                <a:gd name="T121" fmla="*/ 175 h 273"/>
                <a:gd name="T122" fmla="*/ 189 w 274"/>
                <a:gd name="T123" fmla="*/ 159 h 273"/>
                <a:gd name="T124" fmla="*/ 257 w 274"/>
                <a:gd name="T125" fmla="*/ 9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4" h="273">
                  <a:moveTo>
                    <a:pt x="262" y="198"/>
                  </a:moveTo>
                  <a:cubicBezTo>
                    <a:pt x="237" y="222"/>
                    <a:pt x="237" y="222"/>
                    <a:pt x="237" y="222"/>
                  </a:cubicBezTo>
                  <a:cubicBezTo>
                    <a:pt x="262" y="246"/>
                    <a:pt x="262" y="246"/>
                    <a:pt x="262" y="246"/>
                  </a:cubicBezTo>
                  <a:cubicBezTo>
                    <a:pt x="266" y="251"/>
                    <a:pt x="266" y="257"/>
                    <a:pt x="262" y="262"/>
                  </a:cubicBezTo>
                  <a:cubicBezTo>
                    <a:pt x="259" y="264"/>
                    <a:pt x="257" y="265"/>
                    <a:pt x="254" y="265"/>
                  </a:cubicBezTo>
                  <a:cubicBezTo>
                    <a:pt x="251" y="265"/>
                    <a:pt x="249" y="264"/>
                    <a:pt x="246" y="262"/>
                  </a:cubicBezTo>
                  <a:cubicBezTo>
                    <a:pt x="222" y="237"/>
                    <a:pt x="222" y="237"/>
                    <a:pt x="222" y="237"/>
                  </a:cubicBezTo>
                  <a:cubicBezTo>
                    <a:pt x="198" y="262"/>
                    <a:pt x="198" y="262"/>
                    <a:pt x="198" y="262"/>
                  </a:cubicBezTo>
                  <a:cubicBezTo>
                    <a:pt x="195" y="264"/>
                    <a:pt x="193" y="265"/>
                    <a:pt x="190" y="265"/>
                  </a:cubicBezTo>
                  <a:cubicBezTo>
                    <a:pt x="187" y="265"/>
                    <a:pt x="185" y="264"/>
                    <a:pt x="182" y="262"/>
                  </a:cubicBezTo>
                  <a:cubicBezTo>
                    <a:pt x="178" y="257"/>
                    <a:pt x="178" y="251"/>
                    <a:pt x="182" y="246"/>
                  </a:cubicBezTo>
                  <a:cubicBezTo>
                    <a:pt x="207" y="222"/>
                    <a:pt x="207" y="222"/>
                    <a:pt x="207" y="222"/>
                  </a:cubicBezTo>
                  <a:cubicBezTo>
                    <a:pt x="182" y="198"/>
                    <a:pt x="182" y="198"/>
                    <a:pt x="182" y="198"/>
                  </a:cubicBezTo>
                  <a:cubicBezTo>
                    <a:pt x="178" y="193"/>
                    <a:pt x="178" y="187"/>
                    <a:pt x="182" y="182"/>
                  </a:cubicBezTo>
                  <a:cubicBezTo>
                    <a:pt x="187" y="178"/>
                    <a:pt x="193" y="178"/>
                    <a:pt x="198" y="182"/>
                  </a:cubicBezTo>
                  <a:cubicBezTo>
                    <a:pt x="222" y="207"/>
                    <a:pt x="222" y="207"/>
                    <a:pt x="222" y="207"/>
                  </a:cubicBezTo>
                  <a:cubicBezTo>
                    <a:pt x="246" y="182"/>
                    <a:pt x="246" y="182"/>
                    <a:pt x="246" y="182"/>
                  </a:cubicBezTo>
                  <a:cubicBezTo>
                    <a:pt x="251" y="178"/>
                    <a:pt x="257" y="178"/>
                    <a:pt x="262" y="182"/>
                  </a:cubicBezTo>
                  <a:cubicBezTo>
                    <a:pt x="266" y="187"/>
                    <a:pt x="266" y="193"/>
                    <a:pt x="262" y="198"/>
                  </a:cubicBezTo>
                  <a:close/>
                  <a:moveTo>
                    <a:pt x="122" y="197"/>
                  </a:moveTo>
                  <a:cubicBezTo>
                    <a:pt x="76" y="242"/>
                    <a:pt x="76" y="242"/>
                    <a:pt x="76" y="242"/>
                  </a:cubicBezTo>
                  <a:cubicBezTo>
                    <a:pt x="70" y="248"/>
                    <a:pt x="62" y="252"/>
                    <a:pt x="54" y="252"/>
                  </a:cubicBezTo>
                  <a:cubicBezTo>
                    <a:pt x="46" y="252"/>
                    <a:pt x="38" y="249"/>
                    <a:pt x="31" y="242"/>
                  </a:cubicBezTo>
                  <a:cubicBezTo>
                    <a:pt x="24" y="236"/>
                    <a:pt x="21" y="228"/>
                    <a:pt x="21" y="219"/>
                  </a:cubicBezTo>
                  <a:cubicBezTo>
                    <a:pt x="22" y="211"/>
                    <a:pt x="25" y="203"/>
                    <a:pt x="31" y="197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5" y="123"/>
                    <a:pt x="113" y="120"/>
                    <a:pt x="121" y="119"/>
                  </a:cubicBezTo>
                  <a:cubicBezTo>
                    <a:pt x="130" y="119"/>
                    <a:pt x="138" y="123"/>
                    <a:pt x="144" y="129"/>
                  </a:cubicBezTo>
                  <a:cubicBezTo>
                    <a:pt x="148" y="133"/>
                    <a:pt x="155" y="133"/>
                    <a:pt x="159" y="129"/>
                  </a:cubicBezTo>
                  <a:cubicBezTo>
                    <a:pt x="163" y="125"/>
                    <a:pt x="163" y="118"/>
                    <a:pt x="159" y="114"/>
                  </a:cubicBezTo>
                  <a:cubicBezTo>
                    <a:pt x="149" y="103"/>
                    <a:pt x="135" y="98"/>
                    <a:pt x="120" y="98"/>
                  </a:cubicBezTo>
                  <a:cubicBezTo>
                    <a:pt x="107" y="98"/>
                    <a:pt x="94" y="104"/>
                    <a:pt x="84" y="114"/>
                  </a:cubicBezTo>
                  <a:cubicBezTo>
                    <a:pt x="16" y="182"/>
                    <a:pt x="16" y="182"/>
                    <a:pt x="16" y="182"/>
                  </a:cubicBezTo>
                  <a:cubicBezTo>
                    <a:pt x="6" y="192"/>
                    <a:pt x="0" y="205"/>
                    <a:pt x="0" y="219"/>
                  </a:cubicBezTo>
                  <a:cubicBezTo>
                    <a:pt x="0" y="233"/>
                    <a:pt x="5" y="247"/>
                    <a:pt x="16" y="257"/>
                  </a:cubicBezTo>
                  <a:cubicBezTo>
                    <a:pt x="26" y="268"/>
                    <a:pt x="40" y="273"/>
                    <a:pt x="53" y="273"/>
                  </a:cubicBezTo>
                  <a:cubicBezTo>
                    <a:pt x="54" y="273"/>
                    <a:pt x="54" y="273"/>
                    <a:pt x="55" y="273"/>
                  </a:cubicBezTo>
                  <a:cubicBezTo>
                    <a:pt x="68" y="273"/>
                    <a:pt x="81" y="267"/>
                    <a:pt x="91" y="257"/>
                  </a:cubicBezTo>
                  <a:cubicBezTo>
                    <a:pt x="137" y="212"/>
                    <a:pt x="137" y="212"/>
                    <a:pt x="137" y="212"/>
                  </a:cubicBezTo>
                  <a:cubicBezTo>
                    <a:pt x="141" y="208"/>
                    <a:pt x="141" y="201"/>
                    <a:pt x="137" y="197"/>
                  </a:cubicBezTo>
                  <a:cubicBezTo>
                    <a:pt x="133" y="193"/>
                    <a:pt x="126" y="193"/>
                    <a:pt x="122" y="197"/>
                  </a:cubicBezTo>
                  <a:close/>
                  <a:moveTo>
                    <a:pt x="257" y="91"/>
                  </a:moveTo>
                  <a:cubicBezTo>
                    <a:pt x="267" y="81"/>
                    <a:pt x="273" y="68"/>
                    <a:pt x="273" y="55"/>
                  </a:cubicBezTo>
                  <a:cubicBezTo>
                    <a:pt x="274" y="40"/>
                    <a:pt x="268" y="27"/>
                    <a:pt x="257" y="16"/>
                  </a:cubicBezTo>
                  <a:cubicBezTo>
                    <a:pt x="247" y="5"/>
                    <a:pt x="233" y="0"/>
                    <a:pt x="219" y="0"/>
                  </a:cubicBezTo>
                  <a:cubicBezTo>
                    <a:pt x="205" y="0"/>
                    <a:pt x="192" y="6"/>
                    <a:pt x="182" y="16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3" y="65"/>
                    <a:pt x="133" y="72"/>
                    <a:pt x="137" y="76"/>
                  </a:cubicBezTo>
                  <a:cubicBezTo>
                    <a:pt x="141" y="80"/>
                    <a:pt x="148" y="80"/>
                    <a:pt x="152" y="76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3" y="25"/>
                    <a:pt x="211" y="22"/>
                    <a:pt x="219" y="21"/>
                  </a:cubicBezTo>
                  <a:cubicBezTo>
                    <a:pt x="228" y="21"/>
                    <a:pt x="236" y="24"/>
                    <a:pt x="242" y="31"/>
                  </a:cubicBezTo>
                  <a:cubicBezTo>
                    <a:pt x="249" y="38"/>
                    <a:pt x="252" y="46"/>
                    <a:pt x="252" y="54"/>
                  </a:cubicBezTo>
                  <a:cubicBezTo>
                    <a:pt x="252" y="62"/>
                    <a:pt x="248" y="70"/>
                    <a:pt x="242" y="76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68" y="150"/>
                    <a:pt x="160" y="154"/>
                    <a:pt x="152" y="154"/>
                  </a:cubicBezTo>
                  <a:cubicBezTo>
                    <a:pt x="144" y="154"/>
                    <a:pt x="136" y="151"/>
                    <a:pt x="129" y="144"/>
                  </a:cubicBezTo>
                  <a:cubicBezTo>
                    <a:pt x="125" y="140"/>
                    <a:pt x="118" y="140"/>
                    <a:pt x="114" y="144"/>
                  </a:cubicBezTo>
                  <a:cubicBezTo>
                    <a:pt x="110" y="148"/>
                    <a:pt x="110" y="155"/>
                    <a:pt x="114" y="159"/>
                  </a:cubicBezTo>
                  <a:cubicBezTo>
                    <a:pt x="124" y="170"/>
                    <a:pt x="138" y="175"/>
                    <a:pt x="152" y="175"/>
                  </a:cubicBezTo>
                  <a:cubicBezTo>
                    <a:pt x="152" y="175"/>
                    <a:pt x="152" y="175"/>
                    <a:pt x="153" y="175"/>
                  </a:cubicBezTo>
                  <a:cubicBezTo>
                    <a:pt x="167" y="175"/>
                    <a:pt x="180" y="169"/>
                    <a:pt x="189" y="159"/>
                  </a:cubicBezTo>
                  <a:lnTo>
                    <a:pt x="257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58" name="Freeform 617"/>
          <p:cNvSpPr>
            <a:spLocks noChangeAspect="1" noEditPoints="1"/>
          </p:cNvSpPr>
          <p:nvPr/>
        </p:nvSpPr>
        <p:spPr bwMode="auto">
          <a:xfrm>
            <a:off x="2423456" y="4579666"/>
            <a:ext cx="369676" cy="370763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56 w 512"/>
              <a:gd name="T5" fmla="*/ 331 h 512"/>
              <a:gd name="T6" fmla="*/ 174 w 512"/>
              <a:gd name="T7" fmla="*/ 392 h 512"/>
              <a:gd name="T8" fmla="*/ 135 w 512"/>
              <a:gd name="T9" fmla="*/ 376 h 512"/>
              <a:gd name="T10" fmla="*/ 135 w 512"/>
              <a:gd name="T11" fmla="*/ 301 h 512"/>
              <a:gd name="T12" fmla="*/ 239 w 512"/>
              <a:gd name="T13" fmla="*/ 217 h 512"/>
              <a:gd name="T14" fmla="*/ 278 w 512"/>
              <a:gd name="T15" fmla="*/ 248 h 512"/>
              <a:gd name="T16" fmla="*/ 240 w 512"/>
              <a:gd name="T17" fmla="*/ 238 h 512"/>
              <a:gd name="T18" fmla="*/ 150 w 512"/>
              <a:gd name="T19" fmla="*/ 316 h 512"/>
              <a:gd name="T20" fmla="*/ 150 w 512"/>
              <a:gd name="T21" fmla="*/ 361 h 512"/>
              <a:gd name="T22" fmla="*/ 195 w 512"/>
              <a:gd name="T23" fmla="*/ 361 h 512"/>
              <a:gd name="T24" fmla="*/ 256 w 512"/>
              <a:gd name="T25" fmla="*/ 316 h 512"/>
              <a:gd name="T26" fmla="*/ 381 w 512"/>
              <a:gd name="T27" fmla="*/ 365 h 512"/>
              <a:gd name="T28" fmla="*/ 373 w 512"/>
              <a:gd name="T29" fmla="*/ 384 h 512"/>
              <a:gd name="T30" fmla="*/ 341 w 512"/>
              <a:gd name="T31" fmla="*/ 356 h 512"/>
              <a:gd name="T32" fmla="*/ 309 w 512"/>
              <a:gd name="T33" fmla="*/ 384 h 512"/>
              <a:gd name="T34" fmla="*/ 301 w 512"/>
              <a:gd name="T35" fmla="*/ 365 h 512"/>
              <a:gd name="T36" fmla="*/ 301 w 512"/>
              <a:gd name="T37" fmla="*/ 317 h 512"/>
              <a:gd name="T38" fmla="*/ 317 w 512"/>
              <a:gd name="T39" fmla="*/ 301 h 512"/>
              <a:gd name="T40" fmla="*/ 365 w 512"/>
              <a:gd name="T41" fmla="*/ 301 h 512"/>
              <a:gd name="T42" fmla="*/ 381 w 512"/>
              <a:gd name="T43" fmla="*/ 317 h 512"/>
              <a:gd name="T44" fmla="*/ 381 w 512"/>
              <a:gd name="T45" fmla="*/ 365 h 512"/>
              <a:gd name="T46" fmla="*/ 308 w 512"/>
              <a:gd name="T47" fmla="*/ 278 h 512"/>
              <a:gd name="T48" fmla="*/ 271 w 512"/>
              <a:gd name="T49" fmla="*/ 294 h 512"/>
              <a:gd name="T50" fmla="*/ 233 w 512"/>
              <a:gd name="T51" fmla="*/ 263 h 512"/>
              <a:gd name="T52" fmla="*/ 271 w 512"/>
              <a:gd name="T53" fmla="*/ 273 h 512"/>
              <a:gd name="T54" fmla="*/ 361 w 512"/>
              <a:gd name="T55" fmla="*/ 195 h 512"/>
              <a:gd name="T56" fmla="*/ 361 w 512"/>
              <a:gd name="T57" fmla="*/ 150 h 512"/>
              <a:gd name="T58" fmla="*/ 316 w 512"/>
              <a:gd name="T59" fmla="*/ 150 h 512"/>
              <a:gd name="T60" fmla="*/ 256 w 512"/>
              <a:gd name="T61" fmla="*/ 195 h 512"/>
              <a:gd name="T62" fmla="*/ 301 w 512"/>
              <a:gd name="T63" fmla="*/ 135 h 512"/>
              <a:gd name="T64" fmla="*/ 376 w 512"/>
              <a:gd name="T65" fmla="*/ 135 h 512"/>
              <a:gd name="T66" fmla="*/ 376 w 512"/>
              <a:gd name="T67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31"/>
                </a:moveTo>
                <a:cubicBezTo>
                  <a:pt x="210" y="376"/>
                  <a:pt x="210" y="376"/>
                  <a:pt x="210" y="376"/>
                </a:cubicBezTo>
                <a:cubicBezTo>
                  <a:pt x="200" y="386"/>
                  <a:pt x="187" y="392"/>
                  <a:pt x="174" y="392"/>
                </a:cubicBezTo>
                <a:cubicBezTo>
                  <a:pt x="173" y="392"/>
                  <a:pt x="173" y="392"/>
                  <a:pt x="172" y="392"/>
                </a:cubicBezTo>
                <a:cubicBezTo>
                  <a:pt x="159" y="392"/>
                  <a:pt x="145" y="387"/>
                  <a:pt x="135" y="376"/>
                </a:cubicBezTo>
                <a:cubicBezTo>
                  <a:pt x="124" y="366"/>
                  <a:pt x="119" y="352"/>
                  <a:pt x="119" y="338"/>
                </a:cubicBezTo>
                <a:cubicBezTo>
                  <a:pt x="119" y="324"/>
                  <a:pt x="125" y="311"/>
                  <a:pt x="135" y="301"/>
                </a:cubicBezTo>
                <a:cubicBezTo>
                  <a:pt x="203" y="233"/>
                  <a:pt x="203" y="233"/>
                  <a:pt x="203" y="233"/>
                </a:cubicBezTo>
                <a:cubicBezTo>
                  <a:pt x="213" y="223"/>
                  <a:pt x="226" y="217"/>
                  <a:pt x="239" y="217"/>
                </a:cubicBezTo>
                <a:cubicBezTo>
                  <a:pt x="254" y="217"/>
                  <a:pt x="268" y="222"/>
                  <a:pt x="278" y="233"/>
                </a:cubicBezTo>
                <a:cubicBezTo>
                  <a:pt x="282" y="237"/>
                  <a:pt x="282" y="244"/>
                  <a:pt x="278" y="248"/>
                </a:cubicBezTo>
                <a:cubicBezTo>
                  <a:pt x="274" y="252"/>
                  <a:pt x="267" y="252"/>
                  <a:pt x="263" y="248"/>
                </a:cubicBezTo>
                <a:cubicBezTo>
                  <a:pt x="257" y="242"/>
                  <a:pt x="249" y="238"/>
                  <a:pt x="240" y="238"/>
                </a:cubicBezTo>
                <a:cubicBezTo>
                  <a:pt x="232" y="239"/>
                  <a:pt x="224" y="242"/>
                  <a:pt x="218" y="248"/>
                </a:cubicBezTo>
                <a:cubicBezTo>
                  <a:pt x="150" y="316"/>
                  <a:pt x="150" y="316"/>
                  <a:pt x="150" y="316"/>
                </a:cubicBezTo>
                <a:cubicBezTo>
                  <a:pt x="144" y="322"/>
                  <a:pt x="141" y="330"/>
                  <a:pt x="140" y="338"/>
                </a:cubicBezTo>
                <a:cubicBezTo>
                  <a:pt x="140" y="347"/>
                  <a:pt x="143" y="355"/>
                  <a:pt x="150" y="361"/>
                </a:cubicBezTo>
                <a:cubicBezTo>
                  <a:pt x="157" y="368"/>
                  <a:pt x="165" y="371"/>
                  <a:pt x="173" y="371"/>
                </a:cubicBezTo>
                <a:cubicBezTo>
                  <a:pt x="181" y="371"/>
                  <a:pt x="189" y="367"/>
                  <a:pt x="195" y="361"/>
                </a:cubicBezTo>
                <a:cubicBezTo>
                  <a:pt x="241" y="316"/>
                  <a:pt x="241" y="316"/>
                  <a:pt x="241" y="316"/>
                </a:cubicBezTo>
                <a:cubicBezTo>
                  <a:pt x="245" y="312"/>
                  <a:pt x="252" y="312"/>
                  <a:pt x="256" y="316"/>
                </a:cubicBezTo>
                <a:cubicBezTo>
                  <a:pt x="260" y="320"/>
                  <a:pt x="260" y="327"/>
                  <a:pt x="256" y="331"/>
                </a:cubicBezTo>
                <a:close/>
                <a:moveTo>
                  <a:pt x="381" y="365"/>
                </a:moveTo>
                <a:cubicBezTo>
                  <a:pt x="385" y="370"/>
                  <a:pt x="385" y="376"/>
                  <a:pt x="381" y="381"/>
                </a:cubicBezTo>
                <a:cubicBezTo>
                  <a:pt x="378" y="383"/>
                  <a:pt x="376" y="384"/>
                  <a:pt x="373" y="384"/>
                </a:cubicBezTo>
                <a:cubicBezTo>
                  <a:pt x="370" y="384"/>
                  <a:pt x="368" y="383"/>
                  <a:pt x="365" y="381"/>
                </a:cubicBezTo>
                <a:cubicBezTo>
                  <a:pt x="341" y="356"/>
                  <a:pt x="341" y="356"/>
                  <a:pt x="341" y="356"/>
                </a:cubicBezTo>
                <a:cubicBezTo>
                  <a:pt x="317" y="381"/>
                  <a:pt x="317" y="381"/>
                  <a:pt x="317" y="381"/>
                </a:cubicBezTo>
                <a:cubicBezTo>
                  <a:pt x="314" y="383"/>
                  <a:pt x="312" y="384"/>
                  <a:pt x="309" y="384"/>
                </a:cubicBezTo>
                <a:cubicBezTo>
                  <a:pt x="306" y="384"/>
                  <a:pt x="304" y="383"/>
                  <a:pt x="301" y="381"/>
                </a:cubicBezTo>
                <a:cubicBezTo>
                  <a:pt x="297" y="376"/>
                  <a:pt x="297" y="370"/>
                  <a:pt x="301" y="365"/>
                </a:cubicBezTo>
                <a:cubicBezTo>
                  <a:pt x="326" y="341"/>
                  <a:pt x="326" y="341"/>
                  <a:pt x="326" y="341"/>
                </a:cubicBezTo>
                <a:cubicBezTo>
                  <a:pt x="301" y="317"/>
                  <a:pt x="301" y="317"/>
                  <a:pt x="301" y="317"/>
                </a:cubicBezTo>
                <a:cubicBezTo>
                  <a:pt x="297" y="312"/>
                  <a:pt x="297" y="306"/>
                  <a:pt x="301" y="301"/>
                </a:cubicBezTo>
                <a:cubicBezTo>
                  <a:pt x="306" y="297"/>
                  <a:pt x="312" y="297"/>
                  <a:pt x="317" y="301"/>
                </a:cubicBezTo>
                <a:cubicBezTo>
                  <a:pt x="341" y="326"/>
                  <a:pt x="341" y="326"/>
                  <a:pt x="341" y="326"/>
                </a:cubicBezTo>
                <a:cubicBezTo>
                  <a:pt x="365" y="301"/>
                  <a:pt x="365" y="301"/>
                  <a:pt x="365" y="301"/>
                </a:cubicBezTo>
                <a:cubicBezTo>
                  <a:pt x="370" y="297"/>
                  <a:pt x="376" y="297"/>
                  <a:pt x="381" y="301"/>
                </a:cubicBezTo>
                <a:cubicBezTo>
                  <a:pt x="385" y="306"/>
                  <a:pt x="385" y="312"/>
                  <a:pt x="381" y="317"/>
                </a:cubicBezTo>
                <a:cubicBezTo>
                  <a:pt x="356" y="341"/>
                  <a:pt x="356" y="341"/>
                  <a:pt x="356" y="341"/>
                </a:cubicBezTo>
                <a:lnTo>
                  <a:pt x="381" y="365"/>
                </a:lnTo>
                <a:close/>
                <a:moveTo>
                  <a:pt x="376" y="210"/>
                </a:moveTo>
                <a:cubicBezTo>
                  <a:pt x="308" y="278"/>
                  <a:pt x="308" y="278"/>
                  <a:pt x="308" y="278"/>
                </a:cubicBezTo>
                <a:cubicBezTo>
                  <a:pt x="299" y="288"/>
                  <a:pt x="286" y="294"/>
                  <a:pt x="272" y="294"/>
                </a:cubicBezTo>
                <a:cubicBezTo>
                  <a:pt x="271" y="294"/>
                  <a:pt x="271" y="294"/>
                  <a:pt x="271" y="294"/>
                </a:cubicBezTo>
                <a:cubicBezTo>
                  <a:pt x="257" y="294"/>
                  <a:pt x="243" y="289"/>
                  <a:pt x="233" y="278"/>
                </a:cubicBezTo>
                <a:cubicBezTo>
                  <a:pt x="229" y="274"/>
                  <a:pt x="229" y="267"/>
                  <a:pt x="233" y="263"/>
                </a:cubicBezTo>
                <a:cubicBezTo>
                  <a:pt x="237" y="259"/>
                  <a:pt x="244" y="259"/>
                  <a:pt x="248" y="263"/>
                </a:cubicBezTo>
                <a:cubicBezTo>
                  <a:pt x="255" y="270"/>
                  <a:pt x="263" y="273"/>
                  <a:pt x="271" y="273"/>
                </a:cubicBezTo>
                <a:cubicBezTo>
                  <a:pt x="279" y="273"/>
                  <a:pt x="287" y="269"/>
                  <a:pt x="293" y="263"/>
                </a:cubicBezTo>
                <a:cubicBezTo>
                  <a:pt x="361" y="195"/>
                  <a:pt x="361" y="195"/>
                  <a:pt x="361" y="195"/>
                </a:cubicBezTo>
                <a:cubicBezTo>
                  <a:pt x="367" y="189"/>
                  <a:pt x="371" y="181"/>
                  <a:pt x="371" y="173"/>
                </a:cubicBezTo>
                <a:cubicBezTo>
                  <a:pt x="371" y="165"/>
                  <a:pt x="368" y="157"/>
                  <a:pt x="361" y="150"/>
                </a:cubicBezTo>
                <a:cubicBezTo>
                  <a:pt x="355" y="143"/>
                  <a:pt x="347" y="140"/>
                  <a:pt x="338" y="140"/>
                </a:cubicBezTo>
                <a:cubicBezTo>
                  <a:pt x="330" y="141"/>
                  <a:pt x="322" y="144"/>
                  <a:pt x="316" y="150"/>
                </a:cubicBezTo>
                <a:cubicBezTo>
                  <a:pt x="271" y="195"/>
                  <a:pt x="271" y="195"/>
                  <a:pt x="271" y="195"/>
                </a:cubicBezTo>
                <a:cubicBezTo>
                  <a:pt x="267" y="199"/>
                  <a:pt x="260" y="199"/>
                  <a:pt x="256" y="195"/>
                </a:cubicBezTo>
                <a:cubicBezTo>
                  <a:pt x="252" y="191"/>
                  <a:pt x="252" y="184"/>
                  <a:pt x="256" y="180"/>
                </a:cubicBezTo>
                <a:cubicBezTo>
                  <a:pt x="301" y="135"/>
                  <a:pt x="301" y="135"/>
                  <a:pt x="301" y="135"/>
                </a:cubicBezTo>
                <a:cubicBezTo>
                  <a:pt x="311" y="125"/>
                  <a:pt x="324" y="119"/>
                  <a:pt x="338" y="119"/>
                </a:cubicBezTo>
                <a:cubicBezTo>
                  <a:pt x="352" y="119"/>
                  <a:pt x="366" y="124"/>
                  <a:pt x="376" y="135"/>
                </a:cubicBezTo>
                <a:cubicBezTo>
                  <a:pt x="387" y="146"/>
                  <a:pt x="393" y="159"/>
                  <a:pt x="392" y="174"/>
                </a:cubicBezTo>
                <a:cubicBezTo>
                  <a:pt x="392" y="187"/>
                  <a:pt x="386" y="200"/>
                  <a:pt x="376" y="2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9" name="TextBox 658"/>
          <p:cNvSpPr txBox="1"/>
          <p:nvPr/>
        </p:nvSpPr>
        <p:spPr>
          <a:xfrm>
            <a:off x="4474377" y="4985925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icture</a:t>
            </a:r>
          </a:p>
        </p:txBody>
      </p:sp>
      <p:grpSp>
        <p:nvGrpSpPr>
          <p:cNvPr id="660" name="Group 373"/>
          <p:cNvGrpSpPr>
            <a:grpSpLocks noChangeAspect="1"/>
          </p:cNvGrpSpPr>
          <p:nvPr/>
        </p:nvGrpSpPr>
        <p:grpSpPr bwMode="auto">
          <a:xfrm>
            <a:off x="4911755" y="4579667"/>
            <a:ext cx="369021" cy="369021"/>
            <a:chOff x="1147" y="1180"/>
            <a:chExt cx="340" cy="340"/>
          </a:xfrm>
          <a:solidFill>
            <a:schemeClr val="accent4"/>
          </a:solidFill>
        </p:grpSpPr>
        <p:sp>
          <p:nvSpPr>
            <p:cNvPr id="661" name="Freeform 374"/>
            <p:cNvSpPr>
              <a:spLocks noEditPoints="1"/>
            </p:cNvSpPr>
            <p:nvPr/>
          </p:nvSpPr>
          <p:spPr bwMode="auto">
            <a:xfrm>
              <a:off x="1147" y="11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2" name="Freeform 375"/>
            <p:cNvSpPr>
              <a:spLocks noEditPoints="1"/>
            </p:cNvSpPr>
            <p:nvPr/>
          </p:nvSpPr>
          <p:spPr bwMode="auto">
            <a:xfrm>
              <a:off x="1211" y="1272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22 h 235"/>
                <a:gd name="T20" fmla="*/ 298 w 320"/>
                <a:gd name="T21" fmla="*/ 170 h 235"/>
                <a:gd name="T22" fmla="*/ 264 w 320"/>
                <a:gd name="T23" fmla="*/ 122 h 235"/>
                <a:gd name="T24" fmla="*/ 257 w 320"/>
                <a:gd name="T25" fmla="*/ 118 h 235"/>
                <a:gd name="T26" fmla="*/ 248 w 320"/>
                <a:gd name="T27" fmla="*/ 121 h 235"/>
                <a:gd name="T28" fmla="*/ 208 w 320"/>
                <a:gd name="T29" fmla="*/ 161 h 235"/>
                <a:gd name="T30" fmla="*/ 119 w 320"/>
                <a:gd name="T31" fmla="*/ 73 h 235"/>
                <a:gd name="T32" fmla="*/ 104 w 320"/>
                <a:gd name="T33" fmla="*/ 73 h 235"/>
                <a:gd name="T34" fmla="*/ 21 w 320"/>
                <a:gd name="T35" fmla="*/ 156 h 235"/>
                <a:gd name="T36" fmla="*/ 21 w 320"/>
                <a:gd name="T37" fmla="*/ 22 h 235"/>
                <a:gd name="T38" fmla="*/ 298 w 320"/>
                <a:gd name="T39" fmla="*/ 22 h 235"/>
                <a:gd name="T40" fmla="*/ 21 w 320"/>
                <a:gd name="T41" fmla="*/ 214 h 235"/>
                <a:gd name="T42" fmla="*/ 21 w 320"/>
                <a:gd name="T43" fmla="*/ 186 h 235"/>
                <a:gd name="T44" fmla="*/ 112 w 320"/>
                <a:gd name="T45" fmla="*/ 95 h 235"/>
                <a:gd name="T46" fmla="*/ 200 w 320"/>
                <a:gd name="T47" fmla="*/ 184 h 235"/>
                <a:gd name="T48" fmla="*/ 215 w 320"/>
                <a:gd name="T49" fmla="*/ 184 h 235"/>
                <a:gd name="T50" fmla="*/ 254 w 320"/>
                <a:gd name="T51" fmla="*/ 145 h 235"/>
                <a:gd name="T52" fmla="*/ 298 w 320"/>
                <a:gd name="T53" fmla="*/ 206 h 235"/>
                <a:gd name="T54" fmla="*/ 298 w 320"/>
                <a:gd name="T55" fmla="*/ 214 h 235"/>
                <a:gd name="T56" fmla="*/ 21 w 320"/>
                <a:gd name="T57" fmla="*/ 214 h 235"/>
                <a:gd name="T58" fmla="*/ 192 w 320"/>
                <a:gd name="T59" fmla="*/ 75 h 235"/>
                <a:gd name="T60" fmla="*/ 213 w 320"/>
                <a:gd name="T61" fmla="*/ 54 h 235"/>
                <a:gd name="T62" fmla="*/ 234 w 320"/>
                <a:gd name="T63" fmla="*/ 75 h 235"/>
                <a:gd name="T64" fmla="*/ 213 w 320"/>
                <a:gd name="T65" fmla="*/ 96 h 235"/>
                <a:gd name="T66" fmla="*/ 192 w 320"/>
                <a:gd name="T67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2"/>
                  </a:moveTo>
                  <a:cubicBezTo>
                    <a:pt x="298" y="170"/>
                    <a:pt x="298" y="170"/>
                    <a:pt x="298" y="170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63" y="120"/>
                    <a:pt x="260" y="118"/>
                    <a:pt x="257" y="118"/>
                  </a:cubicBezTo>
                  <a:cubicBezTo>
                    <a:pt x="253" y="117"/>
                    <a:pt x="250" y="119"/>
                    <a:pt x="248" y="121"/>
                  </a:cubicBezTo>
                  <a:cubicBezTo>
                    <a:pt x="208" y="161"/>
                    <a:pt x="208" y="161"/>
                    <a:pt x="208" y="16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5" y="69"/>
                    <a:pt x="108" y="69"/>
                    <a:pt x="104" y="73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8" y="22"/>
                  </a:lnTo>
                  <a:close/>
                  <a:moveTo>
                    <a:pt x="21" y="214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112" y="95"/>
                    <a:pt x="112" y="95"/>
                    <a:pt x="112" y="95"/>
                  </a:cubicBezTo>
                  <a:cubicBezTo>
                    <a:pt x="200" y="184"/>
                    <a:pt x="200" y="184"/>
                    <a:pt x="200" y="184"/>
                  </a:cubicBezTo>
                  <a:cubicBezTo>
                    <a:pt x="204" y="188"/>
                    <a:pt x="211" y="188"/>
                    <a:pt x="215" y="184"/>
                  </a:cubicBezTo>
                  <a:cubicBezTo>
                    <a:pt x="254" y="145"/>
                    <a:pt x="254" y="145"/>
                    <a:pt x="254" y="145"/>
                  </a:cubicBezTo>
                  <a:cubicBezTo>
                    <a:pt x="298" y="206"/>
                    <a:pt x="298" y="206"/>
                    <a:pt x="298" y="206"/>
                  </a:cubicBezTo>
                  <a:cubicBezTo>
                    <a:pt x="298" y="214"/>
                    <a:pt x="298" y="214"/>
                    <a:pt x="298" y="214"/>
                  </a:cubicBezTo>
                  <a:lnTo>
                    <a:pt x="21" y="214"/>
                  </a:lnTo>
                  <a:close/>
                  <a:moveTo>
                    <a:pt x="192" y="75"/>
                  </a:moveTo>
                  <a:cubicBezTo>
                    <a:pt x="192" y="63"/>
                    <a:pt x="201" y="54"/>
                    <a:pt x="213" y="54"/>
                  </a:cubicBezTo>
                  <a:cubicBezTo>
                    <a:pt x="225" y="54"/>
                    <a:pt x="234" y="63"/>
                    <a:pt x="234" y="75"/>
                  </a:cubicBezTo>
                  <a:cubicBezTo>
                    <a:pt x="234" y="87"/>
                    <a:pt x="225" y="96"/>
                    <a:pt x="213" y="96"/>
                  </a:cubicBezTo>
                  <a:cubicBezTo>
                    <a:pt x="201" y="96"/>
                    <a:pt x="192" y="87"/>
                    <a:pt x="192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63" name="Freeform 379"/>
          <p:cNvSpPr>
            <a:spLocks noChangeAspect="1" noEditPoints="1"/>
          </p:cNvSpPr>
          <p:nvPr/>
        </p:nvSpPr>
        <p:spPr bwMode="auto">
          <a:xfrm>
            <a:off x="4413781" y="4579667"/>
            <a:ext cx="369021" cy="369021"/>
          </a:xfrm>
          <a:custGeom>
            <a:avLst/>
            <a:gdLst>
              <a:gd name="T0" fmla="*/ 350 w 512"/>
              <a:gd name="T1" fmla="*/ 283 h 512"/>
              <a:gd name="T2" fmla="*/ 394 w 512"/>
              <a:gd name="T3" fmla="*/ 344 h 512"/>
              <a:gd name="T4" fmla="*/ 394 w 512"/>
              <a:gd name="T5" fmla="*/ 352 h 512"/>
              <a:gd name="T6" fmla="*/ 117 w 512"/>
              <a:gd name="T7" fmla="*/ 352 h 512"/>
              <a:gd name="T8" fmla="*/ 117 w 512"/>
              <a:gd name="T9" fmla="*/ 324 h 512"/>
              <a:gd name="T10" fmla="*/ 208 w 512"/>
              <a:gd name="T11" fmla="*/ 233 h 512"/>
              <a:gd name="T12" fmla="*/ 296 w 512"/>
              <a:gd name="T13" fmla="*/ 322 h 512"/>
              <a:gd name="T14" fmla="*/ 311 w 512"/>
              <a:gd name="T15" fmla="*/ 322 h 512"/>
              <a:gd name="T16" fmla="*/ 350 w 512"/>
              <a:gd name="T17" fmla="*/ 283 h 512"/>
              <a:gd name="T18" fmla="*/ 117 w 512"/>
              <a:gd name="T19" fmla="*/ 160 h 512"/>
              <a:gd name="T20" fmla="*/ 394 w 512"/>
              <a:gd name="T21" fmla="*/ 160 h 512"/>
              <a:gd name="T22" fmla="*/ 394 w 512"/>
              <a:gd name="T23" fmla="*/ 308 h 512"/>
              <a:gd name="T24" fmla="*/ 360 w 512"/>
              <a:gd name="T25" fmla="*/ 260 h 512"/>
              <a:gd name="T26" fmla="*/ 353 w 512"/>
              <a:gd name="T27" fmla="*/ 256 h 512"/>
              <a:gd name="T28" fmla="*/ 344 w 512"/>
              <a:gd name="T29" fmla="*/ 259 h 512"/>
              <a:gd name="T30" fmla="*/ 304 w 512"/>
              <a:gd name="T31" fmla="*/ 299 h 512"/>
              <a:gd name="T32" fmla="*/ 215 w 512"/>
              <a:gd name="T33" fmla="*/ 211 h 512"/>
              <a:gd name="T34" fmla="*/ 200 w 512"/>
              <a:gd name="T35" fmla="*/ 211 h 512"/>
              <a:gd name="T36" fmla="*/ 117 w 512"/>
              <a:gd name="T37" fmla="*/ 294 h 512"/>
              <a:gd name="T38" fmla="*/ 117 w 512"/>
              <a:gd name="T39" fmla="*/ 160 h 512"/>
              <a:gd name="T40" fmla="*/ 288 w 512"/>
              <a:gd name="T41" fmla="*/ 213 h 512"/>
              <a:gd name="T42" fmla="*/ 309 w 512"/>
              <a:gd name="T43" fmla="*/ 234 h 512"/>
              <a:gd name="T44" fmla="*/ 330 w 512"/>
              <a:gd name="T45" fmla="*/ 213 h 512"/>
              <a:gd name="T46" fmla="*/ 309 w 512"/>
              <a:gd name="T47" fmla="*/ 192 h 512"/>
              <a:gd name="T48" fmla="*/ 288 w 512"/>
              <a:gd name="T49" fmla="*/ 213 h 512"/>
              <a:gd name="T50" fmla="*/ 512 w 512"/>
              <a:gd name="T51" fmla="*/ 256 h 512"/>
              <a:gd name="T52" fmla="*/ 256 w 512"/>
              <a:gd name="T53" fmla="*/ 512 h 512"/>
              <a:gd name="T54" fmla="*/ 0 w 512"/>
              <a:gd name="T55" fmla="*/ 256 h 512"/>
              <a:gd name="T56" fmla="*/ 256 w 512"/>
              <a:gd name="T57" fmla="*/ 0 h 512"/>
              <a:gd name="T58" fmla="*/ 512 w 512"/>
              <a:gd name="T59" fmla="*/ 256 h 512"/>
              <a:gd name="T60" fmla="*/ 416 w 512"/>
              <a:gd name="T61" fmla="*/ 149 h 512"/>
              <a:gd name="T62" fmla="*/ 405 w 512"/>
              <a:gd name="T63" fmla="*/ 138 h 512"/>
              <a:gd name="T64" fmla="*/ 106 w 512"/>
              <a:gd name="T65" fmla="*/ 138 h 512"/>
              <a:gd name="T66" fmla="*/ 96 w 512"/>
              <a:gd name="T67" fmla="*/ 149 h 512"/>
              <a:gd name="T68" fmla="*/ 96 w 512"/>
              <a:gd name="T69" fmla="*/ 362 h 512"/>
              <a:gd name="T70" fmla="*/ 106 w 512"/>
              <a:gd name="T71" fmla="*/ 373 h 512"/>
              <a:gd name="T72" fmla="*/ 405 w 512"/>
              <a:gd name="T73" fmla="*/ 373 h 512"/>
              <a:gd name="T74" fmla="*/ 416 w 512"/>
              <a:gd name="T75" fmla="*/ 362 h 512"/>
              <a:gd name="T76" fmla="*/ 416 w 512"/>
              <a:gd name="T77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50" y="283"/>
                </a:moveTo>
                <a:cubicBezTo>
                  <a:pt x="394" y="344"/>
                  <a:pt x="394" y="344"/>
                  <a:pt x="394" y="344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324"/>
                  <a:pt x="117" y="324"/>
                  <a:pt x="117" y="324"/>
                </a:cubicBezTo>
                <a:cubicBezTo>
                  <a:pt x="208" y="233"/>
                  <a:pt x="208" y="233"/>
                  <a:pt x="208" y="233"/>
                </a:cubicBezTo>
                <a:cubicBezTo>
                  <a:pt x="296" y="322"/>
                  <a:pt x="296" y="322"/>
                  <a:pt x="296" y="322"/>
                </a:cubicBezTo>
                <a:cubicBezTo>
                  <a:pt x="300" y="326"/>
                  <a:pt x="307" y="326"/>
                  <a:pt x="311" y="322"/>
                </a:cubicBezTo>
                <a:lnTo>
                  <a:pt x="350" y="283"/>
                </a:lnTo>
                <a:close/>
                <a:moveTo>
                  <a:pt x="117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308"/>
                  <a:pt x="394" y="308"/>
                  <a:pt x="394" y="308"/>
                </a:cubicBezTo>
                <a:cubicBezTo>
                  <a:pt x="360" y="260"/>
                  <a:pt x="360" y="260"/>
                  <a:pt x="360" y="260"/>
                </a:cubicBezTo>
                <a:cubicBezTo>
                  <a:pt x="359" y="258"/>
                  <a:pt x="356" y="256"/>
                  <a:pt x="353" y="256"/>
                </a:cubicBezTo>
                <a:cubicBezTo>
                  <a:pt x="349" y="255"/>
                  <a:pt x="346" y="257"/>
                  <a:pt x="344" y="259"/>
                </a:cubicBezTo>
                <a:cubicBezTo>
                  <a:pt x="304" y="299"/>
                  <a:pt x="304" y="299"/>
                  <a:pt x="304" y="299"/>
                </a:cubicBezTo>
                <a:cubicBezTo>
                  <a:pt x="215" y="211"/>
                  <a:pt x="215" y="211"/>
                  <a:pt x="215" y="211"/>
                </a:cubicBezTo>
                <a:cubicBezTo>
                  <a:pt x="211" y="207"/>
                  <a:pt x="204" y="207"/>
                  <a:pt x="200" y="211"/>
                </a:cubicBezTo>
                <a:cubicBezTo>
                  <a:pt x="117" y="294"/>
                  <a:pt x="117" y="294"/>
                  <a:pt x="117" y="294"/>
                </a:cubicBezTo>
                <a:lnTo>
                  <a:pt x="117" y="160"/>
                </a:lnTo>
                <a:close/>
                <a:moveTo>
                  <a:pt x="288" y="213"/>
                </a:moveTo>
                <a:cubicBezTo>
                  <a:pt x="288" y="225"/>
                  <a:pt x="297" y="234"/>
                  <a:pt x="309" y="234"/>
                </a:cubicBezTo>
                <a:cubicBezTo>
                  <a:pt x="321" y="234"/>
                  <a:pt x="330" y="225"/>
                  <a:pt x="330" y="213"/>
                </a:cubicBezTo>
                <a:cubicBezTo>
                  <a:pt x="330" y="201"/>
                  <a:pt x="321" y="192"/>
                  <a:pt x="309" y="192"/>
                </a:cubicBezTo>
                <a:cubicBezTo>
                  <a:pt x="297" y="192"/>
                  <a:pt x="288" y="201"/>
                  <a:pt x="288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4" name="TextBox 663"/>
          <p:cNvSpPr txBox="1"/>
          <p:nvPr/>
        </p:nvSpPr>
        <p:spPr>
          <a:xfrm>
            <a:off x="7467605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wer</a:t>
            </a:r>
          </a:p>
        </p:txBody>
      </p:sp>
      <p:grpSp>
        <p:nvGrpSpPr>
          <p:cNvPr id="665" name="Group 414"/>
          <p:cNvGrpSpPr>
            <a:grpSpLocks noChangeAspect="1"/>
          </p:cNvGrpSpPr>
          <p:nvPr/>
        </p:nvGrpSpPr>
        <p:grpSpPr bwMode="auto">
          <a:xfrm>
            <a:off x="7898836" y="2905078"/>
            <a:ext cx="369021" cy="369021"/>
            <a:chOff x="5036" y="1587"/>
            <a:chExt cx="340" cy="340"/>
          </a:xfrm>
          <a:solidFill>
            <a:schemeClr val="accent5"/>
          </a:solidFill>
        </p:grpSpPr>
        <p:sp>
          <p:nvSpPr>
            <p:cNvPr id="666" name="Freeform 415"/>
            <p:cNvSpPr>
              <a:spLocks noEditPoints="1"/>
            </p:cNvSpPr>
            <p:nvPr/>
          </p:nvSpPr>
          <p:spPr bwMode="auto">
            <a:xfrm>
              <a:off x="5107" y="1651"/>
              <a:ext cx="198" cy="205"/>
            </a:xfrm>
            <a:custGeom>
              <a:avLst/>
              <a:gdLst>
                <a:gd name="T0" fmla="*/ 149 w 298"/>
                <a:gd name="T1" fmla="*/ 309 h 309"/>
                <a:gd name="T2" fmla="*/ 0 w 298"/>
                <a:gd name="T3" fmla="*/ 160 h 309"/>
                <a:gd name="T4" fmla="*/ 99 w 298"/>
                <a:gd name="T5" fmla="*/ 20 h 309"/>
                <a:gd name="T6" fmla="*/ 113 w 298"/>
                <a:gd name="T7" fmla="*/ 27 h 309"/>
                <a:gd name="T8" fmla="*/ 106 w 298"/>
                <a:gd name="T9" fmla="*/ 40 h 309"/>
                <a:gd name="T10" fmla="*/ 21 w 298"/>
                <a:gd name="T11" fmla="*/ 160 h 309"/>
                <a:gd name="T12" fmla="*/ 149 w 298"/>
                <a:gd name="T13" fmla="*/ 288 h 309"/>
                <a:gd name="T14" fmla="*/ 276 w 298"/>
                <a:gd name="T15" fmla="*/ 160 h 309"/>
                <a:gd name="T16" fmla="*/ 191 w 298"/>
                <a:gd name="T17" fmla="*/ 40 h 309"/>
                <a:gd name="T18" fmla="*/ 185 w 298"/>
                <a:gd name="T19" fmla="*/ 26 h 309"/>
                <a:gd name="T20" fmla="*/ 198 w 298"/>
                <a:gd name="T21" fmla="*/ 20 h 309"/>
                <a:gd name="T22" fmla="*/ 298 w 298"/>
                <a:gd name="T23" fmla="*/ 160 h 309"/>
                <a:gd name="T24" fmla="*/ 149 w 298"/>
                <a:gd name="T25" fmla="*/ 309 h 309"/>
                <a:gd name="T26" fmla="*/ 159 w 298"/>
                <a:gd name="T27" fmla="*/ 107 h 309"/>
                <a:gd name="T28" fmla="*/ 159 w 298"/>
                <a:gd name="T29" fmla="*/ 11 h 309"/>
                <a:gd name="T30" fmla="*/ 149 w 298"/>
                <a:gd name="T31" fmla="*/ 0 h 309"/>
                <a:gd name="T32" fmla="*/ 138 w 298"/>
                <a:gd name="T33" fmla="*/ 11 h 309"/>
                <a:gd name="T34" fmla="*/ 138 w 298"/>
                <a:gd name="T35" fmla="*/ 107 h 309"/>
                <a:gd name="T36" fmla="*/ 149 w 298"/>
                <a:gd name="T37" fmla="*/ 117 h 309"/>
                <a:gd name="T38" fmla="*/ 159 w 298"/>
                <a:gd name="T39" fmla="*/ 10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309">
                  <a:moveTo>
                    <a:pt x="149" y="309"/>
                  </a:moveTo>
                  <a:cubicBezTo>
                    <a:pt x="67" y="309"/>
                    <a:pt x="0" y="243"/>
                    <a:pt x="0" y="160"/>
                  </a:cubicBezTo>
                  <a:cubicBezTo>
                    <a:pt x="0" y="97"/>
                    <a:pt x="40" y="41"/>
                    <a:pt x="99" y="20"/>
                  </a:cubicBezTo>
                  <a:cubicBezTo>
                    <a:pt x="105" y="18"/>
                    <a:pt x="111" y="21"/>
                    <a:pt x="113" y="27"/>
                  </a:cubicBezTo>
                  <a:cubicBezTo>
                    <a:pt x="115" y="32"/>
                    <a:pt x="112" y="38"/>
                    <a:pt x="106" y="40"/>
                  </a:cubicBezTo>
                  <a:cubicBezTo>
                    <a:pt x="55" y="58"/>
                    <a:pt x="21" y="106"/>
                    <a:pt x="21" y="160"/>
                  </a:cubicBezTo>
                  <a:cubicBezTo>
                    <a:pt x="21" y="231"/>
                    <a:pt x="78" y="288"/>
                    <a:pt x="149" y="288"/>
                  </a:cubicBezTo>
                  <a:cubicBezTo>
                    <a:pt x="219" y="288"/>
                    <a:pt x="276" y="231"/>
                    <a:pt x="276" y="160"/>
                  </a:cubicBezTo>
                  <a:cubicBezTo>
                    <a:pt x="276" y="106"/>
                    <a:pt x="242" y="58"/>
                    <a:pt x="191" y="40"/>
                  </a:cubicBezTo>
                  <a:cubicBezTo>
                    <a:pt x="186" y="38"/>
                    <a:pt x="183" y="32"/>
                    <a:pt x="185" y="26"/>
                  </a:cubicBezTo>
                  <a:cubicBezTo>
                    <a:pt x="187" y="21"/>
                    <a:pt x="193" y="18"/>
                    <a:pt x="198" y="20"/>
                  </a:cubicBezTo>
                  <a:cubicBezTo>
                    <a:pt x="258" y="41"/>
                    <a:pt x="298" y="97"/>
                    <a:pt x="298" y="160"/>
                  </a:cubicBezTo>
                  <a:cubicBezTo>
                    <a:pt x="298" y="243"/>
                    <a:pt x="231" y="309"/>
                    <a:pt x="149" y="309"/>
                  </a:cubicBezTo>
                  <a:close/>
                  <a:moveTo>
                    <a:pt x="159" y="107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5"/>
                    <a:pt x="155" y="0"/>
                    <a:pt x="149" y="0"/>
                  </a:cubicBezTo>
                  <a:cubicBezTo>
                    <a:pt x="143" y="0"/>
                    <a:pt x="138" y="5"/>
                    <a:pt x="138" y="11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13"/>
                    <a:pt x="143" y="117"/>
                    <a:pt x="149" y="117"/>
                  </a:cubicBezTo>
                  <a:cubicBezTo>
                    <a:pt x="155" y="117"/>
                    <a:pt x="159" y="113"/>
                    <a:pt x="159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7" name="Freeform 416"/>
            <p:cNvSpPr>
              <a:spLocks noEditPoints="1"/>
            </p:cNvSpPr>
            <p:nvPr/>
          </p:nvSpPr>
          <p:spPr bwMode="auto">
            <a:xfrm>
              <a:off x="5036" y="158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68" name="Freeform 420"/>
          <p:cNvSpPr>
            <a:spLocks noChangeAspect="1" noEditPoints="1"/>
          </p:cNvSpPr>
          <p:nvPr/>
        </p:nvSpPr>
        <p:spPr bwMode="auto">
          <a:xfrm>
            <a:off x="7401090" y="2905078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45 w 512"/>
              <a:gd name="T11" fmla="*/ 107 h 512"/>
              <a:gd name="T12" fmla="*/ 256 w 512"/>
              <a:gd name="T13" fmla="*/ 96 h 512"/>
              <a:gd name="T14" fmla="*/ 266 w 512"/>
              <a:gd name="T15" fmla="*/ 107 h 512"/>
              <a:gd name="T16" fmla="*/ 266 w 512"/>
              <a:gd name="T17" fmla="*/ 203 h 512"/>
              <a:gd name="T18" fmla="*/ 256 w 512"/>
              <a:gd name="T19" fmla="*/ 213 h 512"/>
              <a:gd name="T20" fmla="*/ 245 w 512"/>
              <a:gd name="T21" fmla="*/ 203 h 512"/>
              <a:gd name="T22" fmla="*/ 245 w 512"/>
              <a:gd name="T23" fmla="*/ 107 h 512"/>
              <a:gd name="T24" fmla="*/ 256 w 512"/>
              <a:gd name="T25" fmla="*/ 405 h 512"/>
              <a:gd name="T26" fmla="*/ 107 w 512"/>
              <a:gd name="T27" fmla="*/ 256 h 512"/>
              <a:gd name="T28" fmla="*/ 206 w 512"/>
              <a:gd name="T29" fmla="*/ 116 h 512"/>
              <a:gd name="T30" fmla="*/ 220 w 512"/>
              <a:gd name="T31" fmla="*/ 123 h 512"/>
              <a:gd name="T32" fmla="*/ 213 w 512"/>
              <a:gd name="T33" fmla="*/ 136 h 512"/>
              <a:gd name="T34" fmla="*/ 128 w 512"/>
              <a:gd name="T35" fmla="*/ 256 h 512"/>
              <a:gd name="T36" fmla="*/ 256 w 512"/>
              <a:gd name="T37" fmla="*/ 384 h 512"/>
              <a:gd name="T38" fmla="*/ 383 w 512"/>
              <a:gd name="T39" fmla="*/ 256 h 512"/>
              <a:gd name="T40" fmla="*/ 298 w 512"/>
              <a:gd name="T41" fmla="*/ 136 h 512"/>
              <a:gd name="T42" fmla="*/ 292 w 512"/>
              <a:gd name="T43" fmla="*/ 122 h 512"/>
              <a:gd name="T44" fmla="*/ 305 w 512"/>
              <a:gd name="T45" fmla="*/ 116 h 512"/>
              <a:gd name="T46" fmla="*/ 405 w 512"/>
              <a:gd name="T47" fmla="*/ 256 h 512"/>
              <a:gd name="T48" fmla="*/ 256 w 512"/>
              <a:gd name="T49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245" y="107"/>
                </a:moveTo>
                <a:cubicBezTo>
                  <a:pt x="245" y="101"/>
                  <a:pt x="250" y="96"/>
                  <a:pt x="256" y="96"/>
                </a:cubicBezTo>
                <a:cubicBezTo>
                  <a:pt x="262" y="96"/>
                  <a:pt x="266" y="101"/>
                  <a:pt x="266" y="107"/>
                </a:cubicBezTo>
                <a:cubicBezTo>
                  <a:pt x="266" y="203"/>
                  <a:pt x="266" y="203"/>
                  <a:pt x="266" y="203"/>
                </a:cubicBezTo>
                <a:cubicBezTo>
                  <a:pt x="266" y="209"/>
                  <a:pt x="262" y="213"/>
                  <a:pt x="256" y="213"/>
                </a:cubicBezTo>
                <a:cubicBezTo>
                  <a:pt x="250" y="213"/>
                  <a:pt x="245" y="209"/>
                  <a:pt x="245" y="203"/>
                </a:cubicBezTo>
                <a:lnTo>
                  <a:pt x="245" y="107"/>
                </a:lnTo>
                <a:close/>
                <a:moveTo>
                  <a:pt x="256" y="405"/>
                </a:moveTo>
                <a:cubicBezTo>
                  <a:pt x="174" y="405"/>
                  <a:pt x="107" y="339"/>
                  <a:pt x="107" y="256"/>
                </a:cubicBezTo>
                <a:cubicBezTo>
                  <a:pt x="107" y="193"/>
                  <a:pt x="147" y="137"/>
                  <a:pt x="206" y="116"/>
                </a:cubicBezTo>
                <a:cubicBezTo>
                  <a:pt x="212" y="114"/>
                  <a:pt x="218" y="117"/>
                  <a:pt x="220" y="123"/>
                </a:cubicBezTo>
                <a:cubicBezTo>
                  <a:pt x="222" y="128"/>
                  <a:pt x="219" y="134"/>
                  <a:pt x="213" y="136"/>
                </a:cubicBezTo>
                <a:cubicBezTo>
                  <a:pt x="162" y="154"/>
                  <a:pt x="128" y="202"/>
                  <a:pt x="128" y="256"/>
                </a:cubicBezTo>
                <a:cubicBezTo>
                  <a:pt x="128" y="327"/>
                  <a:pt x="185" y="384"/>
                  <a:pt x="256" y="384"/>
                </a:cubicBezTo>
                <a:cubicBezTo>
                  <a:pt x="326" y="384"/>
                  <a:pt x="383" y="327"/>
                  <a:pt x="383" y="256"/>
                </a:cubicBezTo>
                <a:cubicBezTo>
                  <a:pt x="383" y="202"/>
                  <a:pt x="349" y="154"/>
                  <a:pt x="298" y="136"/>
                </a:cubicBezTo>
                <a:cubicBezTo>
                  <a:pt x="293" y="134"/>
                  <a:pt x="290" y="128"/>
                  <a:pt x="292" y="122"/>
                </a:cubicBezTo>
                <a:cubicBezTo>
                  <a:pt x="294" y="117"/>
                  <a:pt x="300" y="114"/>
                  <a:pt x="305" y="116"/>
                </a:cubicBezTo>
                <a:cubicBezTo>
                  <a:pt x="365" y="137"/>
                  <a:pt x="405" y="193"/>
                  <a:pt x="405" y="256"/>
                </a:cubicBezTo>
                <a:cubicBezTo>
                  <a:pt x="405" y="339"/>
                  <a:pt x="338" y="405"/>
                  <a:pt x="256" y="40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9" name="TextBox 668"/>
          <p:cNvSpPr txBox="1"/>
          <p:nvPr/>
        </p:nvSpPr>
        <p:spPr>
          <a:xfrm>
            <a:off x="5481239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pload</a:t>
            </a:r>
          </a:p>
        </p:txBody>
      </p:sp>
      <p:grpSp>
        <p:nvGrpSpPr>
          <p:cNvPr id="670" name="Group 786"/>
          <p:cNvGrpSpPr>
            <a:grpSpLocks noChangeAspect="1"/>
          </p:cNvGrpSpPr>
          <p:nvPr/>
        </p:nvGrpSpPr>
        <p:grpSpPr bwMode="auto">
          <a:xfrm>
            <a:off x="5908358" y="4579663"/>
            <a:ext cx="369676" cy="369676"/>
            <a:chOff x="405" y="2684"/>
            <a:chExt cx="340" cy="340"/>
          </a:xfrm>
          <a:solidFill>
            <a:schemeClr val="accent2"/>
          </a:solidFill>
        </p:grpSpPr>
        <p:sp>
          <p:nvSpPr>
            <p:cNvPr id="671" name="Freeform 670"/>
            <p:cNvSpPr>
              <a:spLocks noEditPoints="1"/>
            </p:cNvSpPr>
            <p:nvPr/>
          </p:nvSpPr>
          <p:spPr bwMode="auto">
            <a:xfrm>
              <a:off x="497" y="2747"/>
              <a:ext cx="156" cy="213"/>
            </a:xfrm>
            <a:custGeom>
              <a:avLst/>
              <a:gdLst>
                <a:gd name="T0" fmla="*/ 25 w 235"/>
                <a:gd name="T1" fmla="*/ 104 h 321"/>
                <a:gd name="T2" fmla="*/ 25 w 235"/>
                <a:gd name="T3" fmla="*/ 89 h 321"/>
                <a:gd name="T4" fmla="*/ 110 w 235"/>
                <a:gd name="T5" fmla="*/ 4 h 321"/>
                <a:gd name="T6" fmla="*/ 114 w 235"/>
                <a:gd name="T7" fmla="*/ 1 h 321"/>
                <a:gd name="T8" fmla="*/ 122 w 235"/>
                <a:gd name="T9" fmla="*/ 1 h 321"/>
                <a:gd name="T10" fmla="*/ 125 w 235"/>
                <a:gd name="T11" fmla="*/ 4 h 321"/>
                <a:gd name="T12" fmla="*/ 211 w 235"/>
                <a:gd name="T13" fmla="*/ 89 h 321"/>
                <a:gd name="T14" fmla="*/ 211 w 235"/>
                <a:gd name="T15" fmla="*/ 104 h 321"/>
                <a:gd name="T16" fmla="*/ 203 w 235"/>
                <a:gd name="T17" fmla="*/ 107 h 321"/>
                <a:gd name="T18" fmla="*/ 195 w 235"/>
                <a:gd name="T19" fmla="*/ 104 h 321"/>
                <a:gd name="T20" fmla="*/ 128 w 235"/>
                <a:gd name="T21" fmla="*/ 37 h 321"/>
                <a:gd name="T22" fmla="*/ 128 w 235"/>
                <a:gd name="T23" fmla="*/ 267 h 321"/>
                <a:gd name="T24" fmla="*/ 118 w 235"/>
                <a:gd name="T25" fmla="*/ 278 h 321"/>
                <a:gd name="T26" fmla="*/ 107 w 235"/>
                <a:gd name="T27" fmla="*/ 267 h 321"/>
                <a:gd name="T28" fmla="*/ 107 w 235"/>
                <a:gd name="T29" fmla="*/ 37 h 321"/>
                <a:gd name="T30" fmla="*/ 40 w 235"/>
                <a:gd name="T31" fmla="*/ 104 h 321"/>
                <a:gd name="T32" fmla="*/ 32 w 235"/>
                <a:gd name="T33" fmla="*/ 107 h 321"/>
                <a:gd name="T34" fmla="*/ 25 w 235"/>
                <a:gd name="T35" fmla="*/ 104 h 321"/>
                <a:gd name="T36" fmla="*/ 224 w 235"/>
                <a:gd name="T37" fmla="*/ 257 h 321"/>
                <a:gd name="T38" fmla="*/ 214 w 235"/>
                <a:gd name="T39" fmla="*/ 267 h 321"/>
                <a:gd name="T40" fmla="*/ 214 w 235"/>
                <a:gd name="T41" fmla="*/ 299 h 321"/>
                <a:gd name="T42" fmla="*/ 22 w 235"/>
                <a:gd name="T43" fmla="*/ 299 h 321"/>
                <a:gd name="T44" fmla="*/ 22 w 235"/>
                <a:gd name="T45" fmla="*/ 267 h 321"/>
                <a:gd name="T46" fmla="*/ 11 w 235"/>
                <a:gd name="T47" fmla="*/ 257 h 321"/>
                <a:gd name="T48" fmla="*/ 0 w 235"/>
                <a:gd name="T49" fmla="*/ 267 h 321"/>
                <a:gd name="T50" fmla="*/ 0 w 235"/>
                <a:gd name="T51" fmla="*/ 310 h 321"/>
                <a:gd name="T52" fmla="*/ 11 w 235"/>
                <a:gd name="T53" fmla="*/ 321 h 321"/>
                <a:gd name="T54" fmla="*/ 224 w 235"/>
                <a:gd name="T55" fmla="*/ 321 h 321"/>
                <a:gd name="T56" fmla="*/ 235 w 235"/>
                <a:gd name="T57" fmla="*/ 310 h 321"/>
                <a:gd name="T58" fmla="*/ 235 w 235"/>
                <a:gd name="T59" fmla="*/ 267 h 321"/>
                <a:gd name="T60" fmla="*/ 224 w 235"/>
                <a:gd name="T61" fmla="*/ 25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5" h="321">
                  <a:moveTo>
                    <a:pt x="25" y="104"/>
                  </a:moveTo>
                  <a:cubicBezTo>
                    <a:pt x="21" y="100"/>
                    <a:pt x="21" y="93"/>
                    <a:pt x="25" y="89"/>
                  </a:cubicBezTo>
                  <a:cubicBezTo>
                    <a:pt x="110" y="4"/>
                    <a:pt x="110" y="4"/>
                    <a:pt x="110" y="4"/>
                  </a:cubicBezTo>
                  <a:cubicBezTo>
                    <a:pt x="111" y="3"/>
                    <a:pt x="112" y="2"/>
                    <a:pt x="114" y="1"/>
                  </a:cubicBezTo>
                  <a:cubicBezTo>
                    <a:pt x="116" y="0"/>
                    <a:pt x="119" y="0"/>
                    <a:pt x="122" y="1"/>
                  </a:cubicBezTo>
                  <a:cubicBezTo>
                    <a:pt x="123" y="2"/>
                    <a:pt x="124" y="3"/>
                    <a:pt x="125" y="4"/>
                  </a:cubicBezTo>
                  <a:cubicBezTo>
                    <a:pt x="211" y="89"/>
                    <a:pt x="211" y="89"/>
                    <a:pt x="211" y="89"/>
                  </a:cubicBezTo>
                  <a:cubicBezTo>
                    <a:pt x="215" y="93"/>
                    <a:pt x="215" y="100"/>
                    <a:pt x="211" y="104"/>
                  </a:cubicBezTo>
                  <a:cubicBezTo>
                    <a:pt x="208" y="106"/>
                    <a:pt x="206" y="107"/>
                    <a:pt x="203" y="107"/>
                  </a:cubicBezTo>
                  <a:cubicBezTo>
                    <a:pt x="200" y="107"/>
                    <a:pt x="198" y="106"/>
                    <a:pt x="195" y="104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73"/>
                    <a:pt x="124" y="278"/>
                    <a:pt x="118" y="278"/>
                  </a:cubicBezTo>
                  <a:cubicBezTo>
                    <a:pt x="112" y="278"/>
                    <a:pt x="107" y="273"/>
                    <a:pt x="107" y="26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40" y="104"/>
                    <a:pt x="40" y="104"/>
                    <a:pt x="40" y="104"/>
                  </a:cubicBezTo>
                  <a:cubicBezTo>
                    <a:pt x="38" y="106"/>
                    <a:pt x="35" y="107"/>
                    <a:pt x="32" y="107"/>
                  </a:cubicBezTo>
                  <a:cubicBezTo>
                    <a:pt x="30" y="107"/>
                    <a:pt x="27" y="106"/>
                    <a:pt x="25" y="104"/>
                  </a:cubicBezTo>
                  <a:close/>
                  <a:moveTo>
                    <a:pt x="224" y="257"/>
                  </a:moveTo>
                  <a:cubicBezTo>
                    <a:pt x="218" y="257"/>
                    <a:pt x="214" y="261"/>
                    <a:pt x="214" y="267"/>
                  </a:cubicBezTo>
                  <a:cubicBezTo>
                    <a:pt x="214" y="299"/>
                    <a:pt x="214" y="299"/>
                    <a:pt x="214" y="299"/>
                  </a:cubicBezTo>
                  <a:cubicBezTo>
                    <a:pt x="22" y="299"/>
                    <a:pt x="22" y="299"/>
                    <a:pt x="22" y="299"/>
                  </a:cubicBezTo>
                  <a:cubicBezTo>
                    <a:pt x="22" y="267"/>
                    <a:pt x="22" y="267"/>
                    <a:pt x="22" y="267"/>
                  </a:cubicBezTo>
                  <a:cubicBezTo>
                    <a:pt x="22" y="261"/>
                    <a:pt x="17" y="257"/>
                    <a:pt x="11" y="257"/>
                  </a:cubicBezTo>
                  <a:cubicBezTo>
                    <a:pt x="5" y="257"/>
                    <a:pt x="0" y="261"/>
                    <a:pt x="0" y="267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316"/>
                    <a:pt x="5" y="321"/>
                    <a:pt x="11" y="321"/>
                  </a:cubicBezTo>
                  <a:cubicBezTo>
                    <a:pt x="224" y="321"/>
                    <a:pt x="224" y="321"/>
                    <a:pt x="224" y="321"/>
                  </a:cubicBezTo>
                  <a:cubicBezTo>
                    <a:pt x="230" y="321"/>
                    <a:pt x="235" y="316"/>
                    <a:pt x="235" y="310"/>
                  </a:cubicBezTo>
                  <a:cubicBezTo>
                    <a:pt x="235" y="267"/>
                    <a:pt x="235" y="267"/>
                    <a:pt x="235" y="267"/>
                  </a:cubicBezTo>
                  <a:cubicBezTo>
                    <a:pt x="235" y="261"/>
                    <a:pt x="230" y="257"/>
                    <a:pt x="22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2" name="Freeform 671"/>
            <p:cNvSpPr>
              <a:spLocks noEditPoints="1"/>
            </p:cNvSpPr>
            <p:nvPr/>
          </p:nvSpPr>
          <p:spPr bwMode="auto">
            <a:xfrm>
              <a:off x="405" y="26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73" name="Freeform 792"/>
          <p:cNvSpPr>
            <a:spLocks noChangeAspect="1" noEditPoints="1"/>
          </p:cNvSpPr>
          <p:nvPr/>
        </p:nvSpPr>
        <p:spPr bwMode="auto">
          <a:xfrm>
            <a:off x="5409729" y="4579663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63 w 512"/>
              <a:gd name="T11" fmla="*/ 184 h 512"/>
              <a:gd name="T12" fmla="*/ 248 w 512"/>
              <a:gd name="T13" fmla="*/ 99 h 512"/>
              <a:gd name="T14" fmla="*/ 252 w 512"/>
              <a:gd name="T15" fmla="*/ 96 h 512"/>
              <a:gd name="T16" fmla="*/ 260 w 512"/>
              <a:gd name="T17" fmla="*/ 96 h 512"/>
              <a:gd name="T18" fmla="*/ 263 w 512"/>
              <a:gd name="T19" fmla="*/ 99 h 512"/>
              <a:gd name="T20" fmla="*/ 349 w 512"/>
              <a:gd name="T21" fmla="*/ 184 h 512"/>
              <a:gd name="T22" fmla="*/ 349 w 512"/>
              <a:gd name="T23" fmla="*/ 199 h 512"/>
              <a:gd name="T24" fmla="*/ 341 w 512"/>
              <a:gd name="T25" fmla="*/ 202 h 512"/>
              <a:gd name="T26" fmla="*/ 333 w 512"/>
              <a:gd name="T27" fmla="*/ 199 h 512"/>
              <a:gd name="T28" fmla="*/ 266 w 512"/>
              <a:gd name="T29" fmla="*/ 132 h 512"/>
              <a:gd name="T30" fmla="*/ 266 w 512"/>
              <a:gd name="T31" fmla="*/ 362 h 512"/>
              <a:gd name="T32" fmla="*/ 256 w 512"/>
              <a:gd name="T33" fmla="*/ 373 h 512"/>
              <a:gd name="T34" fmla="*/ 245 w 512"/>
              <a:gd name="T35" fmla="*/ 362 h 512"/>
              <a:gd name="T36" fmla="*/ 245 w 512"/>
              <a:gd name="T37" fmla="*/ 132 h 512"/>
              <a:gd name="T38" fmla="*/ 178 w 512"/>
              <a:gd name="T39" fmla="*/ 199 h 512"/>
              <a:gd name="T40" fmla="*/ 170 w 512"/>
              <a:gd name="T41" fmla="*/ 202 h 512"/>
              <a:gd name="T42" fmla="*/ 163 w 512"/>
              <a:gd name="T43" fmla="*/ 199 h 512"/>
              <a:gd name="T44" fmla="*/ 163 w 512"/>
              <a:gd name="T45" fmla="*/ 184 h 512"/>
              <a:gd name="T46" fmla="*/ 373 w 512"/>
              <a:gd name="T47" fmla="*/ 405 h 512"/>
              <a:gd name="T48" fmla="*/ 362 w 512"/>
              <a:gd name="T49" fmla="*/ 416 h 512"/>
              <a:gd name="T50" fmla="*/ 149 w 512"/>
              <a:gd name="T51" fmla="*/ 416 h 512"/>
              <a:gd name="T52" fmla="*/ 138 w 512"/>
              <a:gd name="T53" fmla="*/ 405 h 512"/>
              <a:gd name="T54" fmla="*/ 138 w 512"/>
              <a:gd name="T55" fmla="*/ 362 h 512"/>
              <a:gd name="T56" fmla="*/ 149 w 512"/>
              <a:gd name="T57" fmla="*/ 352 h 512"/>
              <a:gd name="T58" fmla="*/ 160 w 512"/>
              <a:gd name="T59" fmla="*/ 362 h 512"/>
              <a:gd name="T60" fmla="*/ 160 w 512"/>
              <a:gd name="T61" fmla="*/ 394 h 512"/>
              <a:gd name="T62" fmla="*/ 352 w 512"/>
              <a:gd name="T63" fmla="*/ 394 h 512"/>
              <a:gd name="T64" fmla="*/ 352 w 512"/>
              <a:gd name="T65" fmla="*/ 362 h 512"/>
              <a:gd name="T66" fmla="*/ 362 w 512"/>
              <a:gd name="T67" fmla="*/ 352 h 512"/>
              <a:gd name="T68" fmla="*/ 373 w 512"/>
              <a:gd name="T69" fmla="*/ 362 h 512"/>
              <a:gd name="T70" fmla="*/ 373 w 512"/>
              <a:gd name="T71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3" y="184"/>
                </a:moveTo>
                <a:cubicBezTo>
                  <a:pt x="248" y="99"/>
                  <a:pt x="248" y="99"/>
                  <a:pt x="248" y="99"/>
                </a:cubicBezTo>
                <a:cubicBezTo>
                  <a:pt x="249" y="98"/>
                  <a:pt x="250" y="97"/>
                  <a:pt x="252" y="96"/>
                </a:cubicBezTo>
                <a:cubicBezTo>
                  <a:pt x="254" y="95"/>
                  <a:pt x="257" y="95"/>
                  <a:pt x="260" y="96"/>
                </a:cubicBezTo>
                <a:cubicBezTo>
                  <a:pt x="261" y="97"/>
                  <a:pt x="262" y="98"/>
                  <a:pt x="263" y="99"/>
                </a:cubicBezTo>
                <a:cubicBezTo>
                  <a:pt x="349" y="184"/>
                  <a:pt x="349" y="184"/>
                  <a:pt x="349" y="184"/>
                </a:cubicBezTo>
                <a:cubicBezTo>
                  <a:pt x="353" y="188"/>
                  <a:pt x="353" y="195"/>
                  <a:pt x="349" y="199"/>
                </a:cubicBezTo>
                <a:cubicBezTo>
                  <a:pt x="346" y="201"/>
                  <a:pt x="344" y="202"/>
                  <a:pt x="341" y="202"/>
                </a:cubicBezTo>
                <a:cubicBezTo>
                  <a:pt x="338" y="202"/>
                  <a:pt x="336" y="201"/>
                  <a:pt x="333" y="199"/>
                </a:cubicBezTo>
                <a:cubicBezTo>
                  <a:pt x="266" y="132"/>
                  <a:pt x="266" y="132"/>
                  <a:pt x="266" y="132"/>
                </a:cubicBezTo>
                <a:cubicBezTo>
                  <a:pt x="266" y="362"/>
                  <a:pt x="266" y="362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cubicBezTo>
                  <a:pt x="245" y="132"/>
                  <a:pt x="245" y="132"/>
                  <a:pt x="245" y="132"/>
                </a:cubicBezTo>
                <a:cubicBezTo>
                  <a:pt x="178" y="199"/>
                  <a:pt x="178" y="199"/>
                  <a:pt x="178" y="199"/>
                </a:cubicBezTo>
                <a:cubicBezTo>
                  <a:pt x="176" y="201"/>
                  <a:pt x="173" y="202"/>
                  <a:pt x="170" y="202"/>
                </a:cubicBezTo>
                <a:cubicBezTo>
                  <a:pt x="168" y="202"/>
                  <a:pt x="165" y="201"/>
                  <a:pt x="163" y="199"/>
                </a:cubicBezTo>
                <a:cubicBezTo>
                  <a:pt x="159" y="195"/>
                  <a:pt x="159" y="188"/>
                  <a:pt x="163" y="184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356"/>
                  <a:pt x="143" y="352"/>
                  <a:pt x="149" y="352"/>
                </a:cubicBezTo>
                <a:cubicBezTo>
                  <a:pt x="155" y="352"/>
                  <a:pt x="160" y="356"/>
                  <a:pt x="160" y="362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362"/>
                  <a:pt x="352" y="362"/>
                  <a:pt x="352" y="362"/>
                </a:cubicBezTo>
                <a:cubicBezTo>
                  <a:pt x="352" y="356"/>
                  <a:pt x="356" y="352"/>
                  <a:pt x="362" y="352"/>
                </a:cubicBezTo>
                <a:cubicBezTo>
                  <a:pt x="368" y="352"/>
                  <a:pt x="373" y="356"/>
                  <a:pt x="373" y="362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74" name="TextBox 673"/>
          <p:cNvSpPr txBox="1"/>
          <p:nvPr/>
        </p:nvSpPr>
        <p:spPr>
          <a:xfrm>
            <a:off x="8480658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ve</a:t>
            </a:r>
          </a:p>
        </p:txBody>
      </p:sp>
      <p:grpSp>
        <p:nvGrpSpPr>
          <p:cNvPr id="675" name="Group 943"/>
          <p:cNvGrpSpPr>
            <a:grpSpLocks noChangeAspect="1"/>
          </p:cNvGrpSpPr>
          <p:nvPr/>
        </p:nvGrpSpPr>
        <p:grpSpPr bwMode="auto">
          <a:xfrm>
            <a:off x="8892163" y="4579667"/>
            <a:ext cx="369021" cy="369021"/>
            <a:chOff x="397" y="3492"/>
            <a:chExt cx="340" cy="340"/>
          </a:xfrm>
          <a:solidFill>
            <a:schemeClr val="accent4"/>
          </a:solidFill>
        </p:grpSpPr>
        <p:sp>
          <p:nvSpPr>
            <p:cNvPr id="676" name="Freeform 944"/>
            <p:cNvSpPr>
              <a:spLocks noEditPoints="1"/>
            </p:cNvSpPr>
            <p:nvPr/>
          </p:nvSpPr>
          <p:spPr bwMode="auto">
            <a:xfrm>
              <a:off x="397" y="34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7" name="Freeform 945"/>
            <p:cNvSpPr>
              <a:spLocks noEditPoints="1"/>
            </p:cNvSpPr>
            <p:nvPr/>
          </p:nvSpPr>
          <p:spPr bwMode="auto">
            <a:xfrm>
              <a:off x="475" y="3570"/>
              <a:ext cx="184" cy="184"/>
            </a:xfrm>
            <a:custGeom>
              <a:avLst/>
              <a:gdLst>
                <a:gd name="T0" fmla="*/ 274 w 277"/>
                <a:gd name="T1" fmla="*/ 46 h 277"/>
                <a:gd name="T2" fmla="*/ 232 w 277"/>
                <a:gd name="T3" fmla="*/ 3 h 277"/>
                <a:gd name="T4" fmla="*/ 224 w 277"/>
                <a:gd name="T5" fmla="*/ 0 h 277"/>
                <a:gd name="T6" fmla="*/ 11 w 277"/>
                <a:gd name="T7" fmla="*/ 0 h 277"/>
                <a:gd name="T8" fmla="*/ 0 w 277"/>
                <a:gd name="T9" fmla="*/ 11 h 277"/>
                <a:gd name="T10" fmla="*/ 0 w 277"/>
                <a:gd name="T11" fmla="*/ 267 h 277"/>
                <a:gd name="T12" fmla="*/ 11 w 277"/>
                <a:gd name="T13" fmla="*/ 277 h 277"/>
                <a:gd name="T14" fmla="*/ 267 w 277"/>
                <a:gd name="T15" fmla="*/ 277 h 277"/>
                <a:gd name="T16" fmla="*/ 277 w 277"/>
                <a:gd name="T17" fmla="*/ 267 h 277"/>
                <a:gd name="T18" fmla="*/ 277 w 277"/>
                <a:gd name="T19" fmla="*/ 53 h 277"/>
                <a:gd name="T20" fmla="*/ 274 w 277"/>
                <a:gd name="T21" fmla="*/ 46 h 277"/>
                <a:gd name="T22" fmla="*/ 85 w 277"/>
                <a:gd name="T23" fmla="*/ 21 h 277"/>
                <a:gd name="T24" fmla="*/ 192 w 277"/>
                <a:gd name="T25" fmla="*/ 21 h 277"/>
                <a:gd name="T26" fmla="*/ 192 w 277"/>
                <a:gd name="T27" fmla="*/ 85 h 277"/>
                <a:gd name="T28" fmla="*/ 85 w 277"/>
                <a:gd name="T29" fmla="*/ 85 h 277"/>
                <a:gd name="T30" fmla="*/ 85 w 277"/>
                <a:gd name="T31" fmla="*/ 21 h 277"/>
                <a:gd name="T32" fmla="*/ 213 w 277"/>
                <a:gd name="T33" fmla="*/ 256 h 277"/>
                <a:gd name="T34" fmla="*/ 64 w 277"/>
                <a:gd name="T35" fmla="*/ 256 h 277"/>
                <a:gd name="T36" fmla="*/ 64 w 277"/>
                <a:gd name="T37" fmla="*/ 149 h 277"/>
                <a:gd name="T38" fmla="*/ 213 w 277"/>
                <a:gd name="T39" fmla="*/ 149 h 277"/>
                <a:gd name="T40" fmla="*/ 213 w 277"/>
                <a:gd name="T41" fmla="*/ 256 h 277"/>
                <a:gd name="T42" fmla="*/ 256 w 277"/>
                <a:gd name="T43" fmla="*/ 256 h 277"/>
                <a:gd name="T44" fmla="*/ 235 w 277"/>
                <a:gd name="T45" fmla="*/ 256 h 277"/>
                <a:gd name="T46" fmla="*/ 235 w 277"/>
                <a:gd name="T47" fmla="*/ 139 h 277"/>
                <a:gd name="T48" fmla="*/ 224 w 277"/>
                <a:gd name="T49" fmla="*/ 128 h 277"/>
                <a:gd name="T50" fmla="*/ 53 w 277"/>
                <a:gd name="T51" fmla="*/ 128 h 277"/>
                <a:gd name="T52" fmla="*/ 43 w 277"/>
                <a:gd name="T53" fmla="*/ 139 h 277"/>
                <a:gd name="T54" fmla="*/ 43 w 277"/>
                <a:gd name="T55" fmla="*/ 256 h 277"/>
                <a:gd name="T56" fmla="*/ 21 w 277"/>
                <a:gd name="T57" fmla="*/ 256 h 277"/>
                <a:gd name="T58" fmla="*/ 21 w 277"/>
                <a:gd name="T59" fmla="*/ 21 h 277"/>
                <a:gd name="T60" fmla="*/ 64 w 277"/>
                <a:gd name="T61" fmla="*/ 21 h 277"/>
                <a:gd name="T62" fmla="*/ 64 w 277"/>
                <a:gd name="T63" fmla="*/ 96 h 277"/>
                <a:gd name="T64" fmla="*/ 75 w 277"/>
                <a:gd name="T65" fmla="*/ 107 h 277"/>
                <a:gd name="T66" fmla="*/ 203 w 277"/>
                <a:gd name="T67" fmla="*/ 107 h 277"/>
                <a:gd name="T68" fmla="*/ 213 w 277"/>
                <a:gd name="T69" fmla="*/ 96 h 277"/>
                <a:gd name="T70" fmla="*/ 213 w 277"/>
                <a:gd name="T71" fmla="*/ 21 h 277"/>
                <a:gd name="T72" fmla="*/ 220 w 277"/>
                <a:gd name="T73" fmla="*/ 21 h 277"/>
                <a:gd name="T74" fmla="*/ 256 w 277"/>
                <a:gd name="T75" fmla="*/ 58 h 277"/>
                <a:gd name="T76" fmla="*/ 256 w 277"/>
                <a:gd name="T77" fmla="*/ 256 h 277"/>
                <a:gd name="T78" fmla="*/ 85 w 277"/>
                <a:gd name="T79" fmla="*/ 181 h 277"/>
                <a:gd name="T80" fmla="*/ 96 w 277"/>
                <a:gd name="T81" fmla="*/ 171 h 277"/>
                <a:gd name="T82" fmla="*/ 181 w 277"/>
                <a:gd name="T83" fmla="*/ 171 h 277"/>
                <a:gd name="T84" fmla="*/ 192 w 277"/>
                <a:gd name="T85" fmla="*/ 181 h 277"/>
                <a:gd name="T86" fmla="*/ 181 w 277"/>
                <a:gd name="T87" fmla="*/ 192 h 277"/>
                <a:gd name="T88" fmla="*/ 96 w 277"/>
                <a:gd name="T89" fmla="*/ 192 h 277"/>
                <a:gd name="T90" fmla="*/ 85 w 277"/>
                <a:gd name="T91" fmla="*/ 181 h 277"/>
                <a:gd name="T92" fmla="*/ 85 w 277"/>
                <a:gd name="T93" fmla="*/ 224 h 277"/>
                <a:gd name="T94" fmla="*/ 96 w 277"/>
                <a:gd name="T95" fmla="*/ 213 h 277"/>
                <a:gd name="T96" fmla="*/ 181 w 277"/>
                <a:gd name="T97" fmla="*/ 213 h 277"/>
                <a:gd name="T98" fmla="*/ 192 w 277"/>
                <a:gd name="T99" fmla="*/ 224 h 277"/>
                <a:gd name="T100" fmla="*/ 181 w 277"/>
                <a:gd name="T101" fmla="*/ 235 h 277"/>
                <a:gd name="T102" fmla="*/ 96 w 277"/>
                <a:gd name="T103" fmla="*/ 235 h 277"/>
                <a:gd name="T104" fmla="*/ 85 w 277"/>
                <a:gd name="T105" fmla="*/ 22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7" h="277">
                  <a:moveTo>
                    <a:pt x="274" y="46"/>
                  </a:moveTo>
                  <a:cubicBezTo>
                    <a:pt x="232" y="3"/>
                    <a:pt x="232" y="3"/>
                    <a:pt x="232" y="3"/>
                  </a:cubicBezTo>
                  <a:cubicBezTo>
                    <a:pt x="230" y="1"/>
                    <a:pt x="227" y="0"/>
                    <a:pt x="2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50"/>
                    <a:pt x="276" y="48"/>
                    <a:pt x="274" y="46"/>
                  </a:cubicBezTo>
                  <a:close/>
                  <a:moveTo>
                    <a:pt x="85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2" y="85"/>
                    <a:pt x="192" y="85"/>
                    <a:pt x="192" y="85"/>
                  </a:cubicBezTo>
                  <a:cubicBezTo>
                    <a:pt x="85" y="85"/>
                    <a:pt x="85" y="85"/>
                    <a:pt x="85" y="85"/>
                  </a:cubicBezTo>
                  <a:lnTo>
                    <a:pt x="85" y="21"/>
                  </a:lnTo>
                  <a:close/>
                  <a:moveTo>
                    <a:pt x="213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213" y="149"/>
                    <a:pt x="213" y="149"/>
                    <a:pt x="213" y="149"/>
                  </a:cubicBezTo>
                  <a:lnTo>
                    <a:pt x="213" y="256"/>
                  </a:lnTo>
                  <a:close/>
                  <a:moveTo>
                    <a:pt x="256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139"/>
                    <a:pt x="235" y="139"/>
                    <a:pt x="235" y="139"/>
                  </a:cubicBezTo>
                  <a:cubicBezTo>
                    <a:pt x="235" y="133"/>
                    <a:pt x="230" y="128"/>
                    <a:pt x="224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47" y="128"/>
                    <a:pt x="43" y="133"/>
                    <a:pt x="43" y="139"/>
                  </a:cubicBezTo>
                  <a:cubicBezTo>
                    <a:pt x="43" y="256"/>
                    <a:pt x="43" y="256"/>
                    <a:pt x="43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102"/>
                    <a:pt x="69" y="107"/>
                    <a:pt x="75" y="107"/>
                  </a:cubicBezTo>
                  <a:cubicBezTo>
                    <a:pt x="203" y="107"/>
                    <a:pt x="203" y="107"/>
                    <a:pt x="203" y="107"/>
                  </a:cubicBezTo>
                  <a:cubicBezTo>
                    <a:pt x="209" y="107"/>
                    <a:pt x="213" y="102"/>
                    <a:pt x="213" y="96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20" y="21"/>
                    <a:pt x="220" y="21"/>
                    <a:pt x="220" y="21"/>
                  </a:cubicBezTo>
                  <a:cubicBezTo>
                    <a:pt x="256" y="58"/>
                    <a:pt x="256" y="58"/>
                    <a:pt x="256" y="58"/>
                  </a:cubicBezTo>
                  <a:lnTo>
                    <a:pt x="256" y="256"/>
                  </a:lnTo>
                  <a:close/>
                  <a:moveTo>
                    <a:pt x="85" y="181"/>
                  </a:moveTo>
                  <a:cubicBezTo>
                    <a:pt x="85" y="175"/>
                    <a:pt x="90" y="171"/>
                    <a:pt x="96" y="171"/>
                  </a:cubicBezTo>
                  <a:cubicBezTo>
                    <a:pt x="181" y="171"/>
                    <a:pt x="181" y="171"/>
                    <a:pt x="181" y="171"/>
                  </a:cubicBezTo>
                  <a:cubicBezTo>
                    <a:pt x="187" y="171"/>
                    <a:pt x="192" y="175"/>
                    <a:pt x="192" y="181"/>
                  </a:cubicBezTo>
                  <a:cubicBezTo>
                    <a:pt x="192" y="187"/>
                    <a:pt x="187" y="192"/>
                    <a:pt x="181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0" y="192"/>
                    <a:pt x="85" y="187"/>
                    <a:pt x="85" y="181"/>
                  </a:cubicBezTo>
                  <a:close/>
                  <a:moveTo>
                    <a:pt x="85" y="224"/>
                  </a:moveTo>
                  <a:cubicBezTo>
                    <a:pt x="85" y="218"/>
                    <a:pt x="90" y="213"/>
                    <a:pt x="96" y="213"/>
                  </a:cubicBezTo>
                  <a:cubicBezTo>
                    <a:pt x="181" y="213"/>
                    <a:pt x="181" y="213"/>
                    <a:pt x="181" y="213"/>
                  </a:cubicBezTo>
                  <a:cubicBezTo>
                    <a:pt x="187" y="213"/>
                    <a:pt x="192" y="218"/>
                    <a:pt x="192" y="224"/>
                  </a:cubicBezTo>
                  <a:cubicBezTo>
                    <a:pt x="192" y="230"/>
                    <a:pt x="187" y="235"/>
                    <a:pt x="181" y="235"/>
                  </a:cubicBezTo>
                  <a:cubicBezTo>
                    <a:pt x="96" y="235"/>
                    <a:pt x="96" y="235"/>
                    <a:pt x="96" y="235"/>
                  </a:cubicBezTo>
                  <a:cubicBezTo>
                    <a:pt x="90" y="235"/>
                    <a:pt x="85" y="230"/>
                    <a:pt x="85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78" name="Freeform 13"/>
          <p:cNvSpPr>
            <a:spLocks noChangeAspect="1" noEditPoints="1"/>
          </p:cNvSpPr>
          <p:nvPr/>
        </p:nvSpPr>
        <p:spPr bwMode="auto">
          <a:xfrm>
            <a:off x="8393323" y="4579663"/>
            <a:ext cx="369887" cy="369888"/>
          </a:xfrm>
          <a:custGeom>
            <a:avLst/>
            <a:gdLst>
              <a:gd name="T0" fmla="*/ 181 w 512"/>
              <a:gd name="T1" fmla="*/ 373 h 512"/>
              <a:gd name="T2" fmla="*/ 330 w 512"/>
              <a:gd name="T3" fmla="*/ 373 h 512"/>
              <a:gd name="T4" fmla="*/ 330 w 512"/>
              <a:gd name="T5" fmla="*/ 266 h 512"/>
              <a:gd name="T6" fmla="*/ 181 w 512"/>
              <a:gd name="T7" fmla="*/ 266 h 512"/>
              <a:gd name="T8" fmla="*/ 181 w 512"/>
              <a:gd name="T9" fmla="*/ 373 h 512"/>
              <a:gd name="T10" fmla="*/ 213 w 512"/>
              <a:gd name="T11" fmla="*/ 288 h 512"/>
              <a:gd name="T12" fmla="*/ 298 w 512"/>
              <a:gd name="T13" fmla="*/ 288 h 512"/>
              <a:gd name="T14" fmla="*/ 309 w 512"/>
              <a:gd name="T15" fmla="*/ 298 h 512"/>
              <a:gd name="T16" fmla="*/ 298 w 512"/>
              <a:gd name="T17" fmla="*/ 309 h 512"/>
              <a:gd name="T18" fmla="*/ 213 w 512"/>
              <a:gd name="T19" fmla="*/ 309 h 512"/>
              <a:gd name="T20" fmla="*/ 202 w 512"/>
              <a:gd name="T21" fmla="*/ 298 h 512"/>
              <a:gd name="T22" fmla="*/ 213 w 512"/>
              <a:gd name="T23" fmla="*/ 288 h 512"/>
              <a:gd name="T24" fmla="*/ 213 w 512"/>
              <a:gd name="T25" fmla="*/ 330 h 512"/>
              <a:gd name="T26" fmla="*/ 298 w 512"/>
              <a:gd name="T27" fmla="*/ 330 h 512"/>
              <a:gd name="T28" fmla="*/ 309 w 512"/>
              <a:gd name="T29" fmla="*/ 341 h 512"/>
              <a:gd name="T30" fmla="*/ 298 w 512"/>
              <a:gd name="T31" fmla="*/ 352 h 512"/>
              <a:gd name="T32" fmla="*/ 213 w 512"/>
              <a:gd name="T33" fmla="*/ 352 h 512"/>
              <a:gd name="T34" fmla="*/ 202 w 512"/>
              <a:gd name="T35" fmla="*/ 341 h 512"/>
              <a:gd name="T36" fmla="*/ 213 w 512"/>
              <a:gd name="T37" fmla="*/ 330 h 512"/>
              <a:gd name="T38" fmla="*/ 337 w 512"/>
              <a:gd name="T39" fmla="*/ 138 h 512"/>
              <a:gd name="T40" fmla="*/ 373 w 512"/>
              <a:gd name="T41" fmla="*/ 175 h 512"/>
              <a:gd name="T42" fmla="*/ 373 w 512"/>
              <a:gd name="T43" fmla="*/ 373 h 512"/>
              <a:gd name="T44" fmla="*/ 352 w 512"/>
              <a:gd name="T45" fmla="*/ 373 h 512"/>
              <a:gd name="T46" fmla="*/ 352 w 512"/>
              <a:gd name="T47" fmla="*/ 256 h 512"/>
              <a:gd name="T48" fmla="*/ 341 w 512"/>
              <a:gd name="T49" fmla="*/ 245 h 512"/>
              <a:gd name="T50" fmla="*/ 170 w 512"/>
              <a:gd name="T51" fmla="*/ 245 h 512"/>
              <a:gd name="T52" fmla="*/ 160 w 512"/>
              <a:gd name="T53" fmla="*/ 256 h 512"/>
              <a:gd name="T54" fmla="*/ 160 w 512"/>
              <a:gd name="T55" fmla="*/ 373 h 512"/>
              <a:gd name="T56" fmla="*/ 138 w 512"/>
              <a:gd name="T57" fmla="*/ 373 h 512"/>
              <a:gd name="T58" fmla="*/ 138 w 512"/>
              <a:gd name="T59" fmla="*/ 138 h 512"/>
              <a:gd name="T60" fmla="*/ 181 w 512"/>
              <a:gd name="T61" fmla="*/ 138 h 512"/>
              <a:gd name="T62" fmla="*/ 181 w 512"/>
              <a:gd name="T63" fmla="*/ 213 h 512"/>
              <a:gd name="T64" fmla="*/ 192 w 512"/>
              <a:gd name="T65" fmla="*/ 224 h 512"/>
              <a:gd name="T66" fmla="*/ 320 w 512"/>
              <a:gd name="T67" fmla="*/ 224 h 512"/>
              <a:gd name="T68" fmla="*/ 330 w 512"/>
              <a:gd name="T69" fmla="*/ 213 h 512"/>
              <a:gd name="T70" fmla="*/ 330 w 512"/>
              <a:gd name="T71" fmla="*/ 138 h 512"/>
              <a:gd name="T72" fmla="*/ 337 w 512"/>
              <a:gd name="T73" fmla="*/ 138 h 512"/>
              <a:gd name="T74" fmla="*/ 256 w 512"/>
              <a:gd name="T75" fmla="*/ 0 h 512"/>
              <a:gd name="T76" fmla="*/ 0 w 512"/>
              <a:gd name="T77" fmla="*/ 256 h 512"/>
              <a:gd name="T78" fmla="*/ 256 w 512"/>
              <a:gd name="T79" fmla="*/ 512 h 512"/>
              <a:gd name="T80" fmla="*/ 512 w 512"/>
              <a:gd name="T81" fmla="*/ 256 h 512"/>
              <a:gd name="T82" fmla="*/ 256 w 512"/>
              <a:gd name="T83" fmla="*/ 0 h 512"/>
              <a:gd name="T84" fmla="*/ 394 w 512"/>
              <a:gd name="T85" fmla="*/ 384 h 512"/>
              <a:gd name="T86" fmla="*/ 384 w 512"/>
              <a:gd name="T87" fmla="*/ 394 h 512"/>
              <a:gd name="T88" fmla="*/ 128 w 512"/>
              <a:gd name="T89" fmla="*/ 394 h 512"/>
              <a:gd name="T90" fmla="*/ 117 w 512"/>
              <a:gd name="T91" fmla="*/ 384 h 512"/>
              <a:gd name="T92" fmla="*/ 117 w 512"/>
              <a:gd name="T93" fmla="*/ 128 h 512"/>
              <a:gd name="T94" fmla="*/ 128 w 512"/>
              <a:gd name="T95" fmla="*/ 117 h 512"/>
              <a:gd name="T96" fmla="*/ 341 w 512"/>
              <a:gd name="T97" fmla="*/ 117 h 512"/>
              <a:gd name="T98" fmla="*/ 349 w 512"/>
              <a:gd name="T99" fmla="*/ 120 h 512"/>
              <a:gd name="T100" fmla="*/ 391 w 512"/>
              <a:gd name="T101" fmla="*/ 163 h 512"/>
              <a:gd name="T102" fmla="*/ 394 w 512"/>
              <a:gd name="T103" fmla="*/ 170 h 512"/>
              <a:gd name="T104" fmla="*/ 394 w 512"/>
              <a:gd name="T105" fmla="*/ 384 h 512"/>
              <a:gd name="T106" fmla="*/ 309 w 512"/>
              <a:gd name="T107" fmla="*/ 202 h 512"/>
              <a:gd name="T108" fmla="*/ 202 w 512"/>
              <a:gd name="T109" fmla="*/ 202 h 512"/>
              <a:gd name="T110" fmla="*/ 202 w 512"/>
              <a:gd name="T111" fmla="*/ 138 h 512"/>
              <a:gd name="T112" fmla="*/ 309 w 512"/>
              <a:gd name="T113" fmla="*/ 138 h 512"/>
              <a:gd name="T114" fmla="*/ 309 w 512"/>
              <a:gd name="T11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81" y="373"/>
                </a:moveTo>
                <a:cubicBezTo>
                  <a:pt x="330" y="373"/>
                  <a:pt x="330" y="373"/>
                  <a:pt x="330" y="373"/>
                </a:cubicBezTo>
                <a:cubicBezTo>
                  <a:pt x="330" y="266"/>
                  <a:pt x="330" y="266"/>
                  <a:pt x="330" y="266"/>
                </a:cubicBezTo>
                <a:cubicBezTo>
                  <a:pt x="181" y="266"/>
                  <a:pt x="181" y="266"/>
                  <a:pt x="181" y="266"/>
                </a:cubicBezTo>
                <a:lnTo>
                  <a:pt x="181" y="373"/>
                </a:lnTo>
                <a:close/>
                <a:moveTo>
                  <a:pt x="213" y="288"/>
                </a:moveTo>
                <a:cubicBezTo>
                  <a:pt x="298" y="288"/>
                  <a:pt x="298" y="288"/>
                  <a:pt x="298" y="288"/>
                </a:cubicBezTo>
                <a:cubicBezTo>
                  <a:pt x="304" y="288"/>
                  <a:pt x="309" y="292"/>
                  <a:pt x="309" y="298"/>
                </a:cubicBezTo>
                <a:cubicBezTo>
                  <a:pt x="309" y="304"/>
                  <a:pt x="304" y="309"/>
                  <a:pt x="298" y="309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07" y="309"/>
                  <a:pt x="202" y="304"/>
                  <a:pt x="202" y="298"/>
                </a:cubicBezTo>
                <a:cubicBezTo>
                  <a:pt x="202" y="292"/>
                  <a:pt x="207" y="288"/>
                  <a:pt x="213" y="288"/>
                </a:cubicBezTo>
                <a:close/>
                <a:moveTo>
                  <a:pt x="213" y="330"/>
                </a:moveTo>
                <a:cubicBezTo>
                  <a:pt x="298" y="330"/>
                  <a:pt x="298" y="330"/>
                  <a:pt x="298" y="330"/>
                </a:cubicBezTo>
                <a:cubicBezTo>
                  <a:pt x="304" y="330"/>
                  <a:pt x="309" y="335"/>
                  <a:pt x="309" y="341"/>
                </a:cubicBezTo>
                <a:cubicBezTo>
                  <a:pt x="309" y="347"/>
                  <a:pt x="304" y="352"/>
                  <a:pt x="298" y="352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07" y="352"/>
                  <a:pt x="202" y="347"/>
                  <a:pt x="202" y="341"/>
                </a:cubicBezTo>
                <a:cubicBezTo>
                  <a:pt x="202" y="335"/>
                  <a:pt x="207" y="330"/>
                  <a:pt x="213" y="330"/>
                </a:cubicBezTo>
                <a:close/>
                <a:moveTo>
                  <a:pt x="337" y="138"/>
                </a:moveTo>
                <a:cubicBezTo>
                  <a:pt x="373" y="175"/>
                  <a:pt x="373" y="175"/>
                  <a:pt x="373" y="17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352" y="256"/>
                  <a:pt x="352" y="256"/>
                  <a:pt x="352" y="256"/>
                </a:cubicBezTo>
                <a:cubicBezTo>
                  <a:pt x="352" y="250"/>
                  <a:pt x="347" y="245"/>
                  <a:pt x="341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50"/>
                  <a:pt x="160" y="256"/>
                </a:cubicBezTo>
                <a:cubicBezTo>
                  <a:pt x="160" y="373"/>
                  <a:pt x="160" y="373"/>
                  <a:pt x="160" y="373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1" y="213"/>
                  <a:pt x="181" y="213"/>
                  <a:pt x="181" y="213"/>
                </a:cubicBezTo>
                <a:cubicBezTo>
                  <a:pt x="181" y="219"/>
                  <a:pt x="186" y="224"/>
                  <a:pt x="192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26" y="224"/>
                  <a:pt x="330" y="219"/>
                  <a:pt x="330" y="213"/>
                </a:cubicBezTo>
                <a:cubicBezTo>
                  <a:pt x="330" y="138"/>
                  <a:pt x="330" y="138"/>
                  <a:pt x="330" y="138"/>
                </a:cubicBezTo>
                <a:lnTo>
                  <a:pt x="337" y="138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44" y="117"/>
                  <a:pt x="347" y="118"/>
                  <a:pt x="349" y="120"/>
                </a:cubicBezTo>
                <a:cubicBezTo>
                  <a:pt x="391" y="163"/>
                  <a:pt x="391" y="163"/>
                  <a:pt x="391" y="163"/>
                </a:cubicBezTo>
                <a:cubicBezTo>
                  <a:pt x="393" y="165"/>
                  <a:pt x="394" y="167"/>
                  <a:pt x="394" y="170"/>
                </a:cubicBezTo>
                <a:lnTo>
                  <a:pt x="394" y="384"/>
                </a:lnTo>
                <a:close/>
                <a:moveTo>
                  <a:pt x="309" y="202"/>
                </a:moveTo>
                <a:cubicBezTo>
                  <a:pt x="202" y="202"/>
                  <a:pt x="202" y="202"/>
                  <a:pt x="202" y="202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309" y="138"/>
                  <a:pt x="309" y="138"/>
                  <a:pt x="309" y="138"/>
                </a:cubicBezTo>
                <a:lnTo>
                  <a:pt x="309" y="2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79" name="TextBox 678"/>
          <p:cNvSpPr txBox="1"/>
          <p:nvPr/>
        </p:nvSpPr>
        <p:spPr>
          <a:xfrm>
            <a:off x="3470690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nk</a:t>
            </a:r>
          </a:p>
        </p:txBody>
      </p:sp>
      <p:sp>
        <p:nvSpPr>
          <p:cNvPr id="680" name="Freeform 594"/>
          <p:cNvSpPr>
            <a:spLocks noChangeAspect="1" noEditPoints="1"/>
          </p:cNvSpPr>
          <p:nvPr/>
        </p:nvSpPr>
        <p:spPr bwMode="auto">
          <a:xfrm>
            <a:off x="3420714" y="4579667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31 h 512"/>
              <a:gd name="T12" fmla="*/ 210 w 512"/>
              <a:gd name="T13" fmla="*/ 376 h 512"/>
              <a:gd name="T14" fmla="*/ 174 w 512"/>
              <a:gd name="T15" fmla="*/ 392 h 512"/>
              <a:gd name="T16" fmla="*/ 172 w 512"/>
              <a:gd name="T17" fmla="*/ 392 h 512"/>
              <a:gd name="T18" fmla="*/ 135 w 512"/>
              <a:gd name="T19" fmla="*/ 376 h 512"/>
              <a:gd name="T20" fmla="*/ 119 w 512"/>
              <a:gd name="T21" fmla="*/ 338 h 512"/>
              <a:gd name="T22" fmla="*/ 135 w 512"/>
              <a:gd name="T23" fmla="*/ 301 h 512"/>
              <a:gd name="T24" fmla="*/ 203 w 512"/>
              <a:gd name="T25" fmla="*/ 233 h 512"/>
              <a:gd name="T26" fmla="*/ 239 w 512"/>
              <a:gd name="T27" fmla="*/ 217 h 512"/>
              <a:gd name="T28" fmla="*/ 278 w 512"/>
              <a:gd name="T29" fmla="*/ 233 h 512"/>
              <a:gd name="T30" fmla="*/ 278 w 512"/>
              <a:gd name="T31" fmla="*/ 248 h 512"/>
              <a:gd name="T32" fmla="*/ 263 w 512"/>
              <a:gd name="T33" fmla="*/ 248 h 512"/>
              <a:gd name="T34" fmla="*/ 240 w 512"/>
              <a:gd name="T35" fmla="*/ 238 h 512"/>
              <a:gd name="T36" fmla="*/ 218 w 512"/>
              <a:gd name="T37" fmla="*/ 248 h 512"/>
              <a:gd name="T38" fmla="*/ 150 w 512"/>
              <a:gd name="T39" fmla="*/ 316 h 512"/>
              <a:gd name="T40" fmla="*/ 140 w 512"/>
              <a:gd name="T41" fmla="*/ 338 h 512"/>
              <a:gd name="T42" fmla="*/ 150 w 512"/>
              <a:gd name="T43" fmla="*/ 361 h 512"/>
              <a:gd name="T44" fmla="*/ 173 w 512"/>
              <a:gd name="T45" fmla="*/ 371 h 512"/>
              <a:gd name="T46" fmla="*/ 195 w 512"/>
              <a:gd name="T47" fmla="*/ 361 h 512"/>
              <a:gd name="T48" fmla="*/ 241 w 512"/>
              <a:gd name="T49" fmla="*/ 316 h 512"/>
              <a:gd name="T50" fmla="*/ 256 w 512"/>
              <a:gd name="T51" fmla="*/ 316 h 512"/>
              <a:gd name="T52" fmla="*/ 256 w 512"/>
              <a:gd name="T53" fmla="*/ 331 h 512"/>
              <a:gd name="T54" fmla="*/ 376 w 512"/>
              <a:gd name="T55" fmla="*/ 210 h 512"/>
              <a:gd name="T56" fmla="*/ 308 w 512"/>
              <a:gd name="T57" fmla="*/ 278 h 512"/>
              <a:gd name="T58" fmla="*/ 272 w 512"/>
              <a:gd name="T59" fmla="*/ 294 h 512"/>
              <a:gd name="T60" fmla="*/ 271 w 512"/>
              <a:gd name="T61" fmla="*/ 294 h 512"/>
              <a:gd name="T62" fmla="*/ 233 w 512"/>
              <a:gd name="T63" fmla="*/ 278 h 512"/>
              <a:gd name="T64" fmla="*/ 233 w 512"/>
              <a:gd name="T65" fmla="*/ 263 h 512"/>
              <a:gd name="T66" fmla="*/ 248 w 512"/>
              <a:gd name="T67" fmla="*/ 263 h 512"/>
              <a:gd name="T68" fmla="*/ 271 w 512"/>
              <a:gd name="T69" fmla="*/ 273 h 512"/>
              <a:gd name="T70" fmla="*/ 293 w 512"/>
              <a:gd name="T71" fmla="*/ 263 h 512"/>
              <a:gd name="T72" fmla="*/ 361 w 512"/>
              <a:gd name="T73" fmla="*/ 195 h 512"/>
              <a:gd name="T74" fmla="*/ 371 w 512"/>
              <a:gd name="T75" fmla="*/ 173 h 512"/>
              <a:gd name="T76" fmla="*/ 361 w 512"/>
              <a:gd name="T77" fmla="*/ 150 h 512"/>
              <a:gd name="T78" fmla="*/ 338 w 512"/>
              <a:gd name="T79" fmla="*/ 140 h 512"/>
              <a:gd name="T80" fmla="*/ 316 w 512"/>
              <a:gd name="T81" fmla="*/ 150 h 512"/>
              <a:gd name="T82" fmla="*/ 271 w 512"/>
              <a:gd name="T83" fmla="*/ 195 h 512"/>
              <a:gd name="T84" fmla="*/ 256 w 512"/>
              <a:gd name="T85" fmla="*/ 195 h 512"/>
              <a:gd name="T86" fmla="*/ 256 w 512"/>
              <a:gd name="T87" fmla="*/ 180 h 512"/>
              <a:gd name="T88" fmla="*/ 301 w 512"/>
              <a:gd name="T89" fmla="*/ 135 h 512"/>
              <a:gd name="T90" fmla="*/ 338 w 512"/>
              <a:gd name="T91" fmla="*/ 119 h 512"/>
              <a:gd name="T92" fmla="*/ 376 w 512"/>
              <a:gd name="T93" fmla="*/ 135 h 512"/>
              <a:gd name="T94" fmla="*/ 392 w 512"/>
              <a:gd name="T95" fmla="*/ 174 h 512"/>
              <a:gd name="T96" fmla="*/ 376 w 512"/>
              <a:gd name="T97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31"/>
                </a:moveTo>
                <a:cubicBezTo>
                  <a:pt x="210" y="376"/>
                  <a:pt x="210" y="376"/>
                  <a:pt x="210" y="376"/>
                </a:cubicBezTo>
                <a:cubicBezTo>
                  <a:pt x="200" y="386"/>
                  <a:pt x="187" y="392"/>
                  <a:pt x="174" y="392"/>
                </a:cubicBezTo>
                <a:cubicBezTo>
                  <a:pt x="173" y="392"/>
                  <a:pt x="173" y="392"/>
                  <a:pt x="172" y="392"/>
                </a:cubicBezTo>
                <a:cubicBezTo>
                  <a:pt x="159" y="392"/>
                  <a:pt x="145" y="387"/>
                  <a:pt x="135" y="376"/>
                </a:cubicBezTo>
                <a:cubicBezTo>
                  <a:pt x="124" y="366"/>
                  <a:pt x="119" y="352"/>
                  <a:pt x="119" y="338"/>
                </a:cubicBezTo>
                <a:cubicBezTo>
                  <a:pt x="119" y="324"/>
                  <a:pt x="125" y="311"/>
                  <a:pt x="135" y="301"/>
                </a:cubicBezTo>
                <a:cubicBezTo>
                  <a:pt x="203" y="233"/>
                  <a:pt x="203" y="233"/>
                  <a:pt x="203" y="233"/>
                </a:cubicBezTo>
                <a:cubicBezTo>
                  <a:pt x="213" y="223"/>
                  <a:pt x="226" y="217"/>
                  <a:pt x="239" y="217"/>
                </a:cubicBezTo>
                <a:cubicBezTo>
                  <a:pt x="254" y="217"/>
                  <a:pt x="268" y="222"/>
                  <a:pt x="278" y="233"/>
                </a:cubicBezTo>
                <a:cubicBezTo>
                  <a:pt x="282" y="237"/>
                  <a:pt x="282" y="244"/>
                  <a:pt x="278" y="248"/>
                </a:cubicBezTo>
                <a:cubicBezTo>
                  <a:pt x="274" y="252"/>
                  <a:pt x="267" y="252"/>
                  <a:pt x="263" y="248"/>
                </a:cubicBezTo>
                <a:cubicBezTo>
                  <a:pt x="257" y="242"/>
                  <a:pt x="249" y="238"/>
                  <a:pt x="240" y="238"/>
                </a:cubicBezTo>
                <a:cubicBezTo>
                  <a:pt x="232" y="239"/>
                  <a:pt x="224" y="242"/>
                  <a:pt x="218" y="248"/>
                </a:cubicBezTo>
                <a:cubicBezTo>
                  <a:pt x="150" y="316"/>
                  <a:pt x="150" y="316"/>
                  <a:pt x="150" y="316"/>
                </a:cubicBezTo>
                <a:cubicBezTo>
                  <a:pt x="144" y="322"/>
                  <a:pt x="141" y="330"/>
                  <a:pt x="140" y="338"/>
                </a:cubicBezTo>
                <a:cubicBezTo>
                  <a:pt x="140" y="347"/>
                  <a:pt x="143" y="355"/>
                  <a:pt x="150" y="361"/>
                </a:cubicBezTo>
                <a:cubicBezTo>
                  <a:pt x="157" y="368"/>
                  <a:pt x="165" y="371"/>
                  <a:pt x="173" y="371"/>
                </a:cubicBezTo>
                <a:cubicBezTo>
                  <a:pt x="181" y="371"/>
                  <a:pt x="189" y="367"/>
                  <a:pt x="195" y="361"/>
                </a:cubicBezTo>
                <a:cubicBezTo>
                  <a:pt x="241" y="316"/>
                  <a:pt x="241" y="316"/>
                  <a:pt x="241" y="316"/>
                </a:cubicBezTo>
                <a:cubicBezTo>
                  <a:pt x="245" y="312"/>
                  <a:pt x="252" y="312"/>
                  <a:pt x="256" y="316"/>
                </a:cubicBezTo>
                <a:cubicBezTo>
                  <a:pt x="260" y="320"/>
                  <a:pt x="260" y="327"/>
                  <a:pt x="256" y="331"/>
                </a:cubicBezTo>
                <a:close/>
                <a:moveTo>
                  <a:pt x="376" y="210"/>
                </a:moveTo>
                <a:cubicBezTo>
                  <a:pt x="308" y="278"/>
                  <a:pt x="308" y="278"/>
                  <a:pt x="308" y="278"/>
                </a:cubicBezTo>
                <a:cubicBezTo>
                  <a:pt x="299" y="288"/>
                  <a:pt x="286" y="294"/>
                  <a:pt x="272" y="294"/>
                </a:cubicBezTo>
                <a:cubicBezTo>
                  <a:pt x="271" y="294"/>
                  <a:pt x="271" y="294"/>
                  <a:pt x="271" y="294"/>
                </a:cubicBezTo>
                <a:cubicBezTo>
                  <a:pt x="257" y="294"/>
                  <a:pt x="243" y="289"/>
                  <a:pt x="233" y="278"/>
                </a:cubicBezTo>
                <a:cubicBezTo>
                  <a:pt x="229" y="274"/>
                  <a:pt x="229" y="267"/>
                  <a:pt x="233" y="263"/>
                </a:cubicBezTo>
                <a:cubicBezTo>
                  <a:pt x="237" y="259"/>
                  <a:pt x="244" y="259"/>
                  <a:pt x="248" y="263"/>
                </a:cubicBezTo>
                <a:cubicBezTo>
                  <a:pt x="255" y="270"/>
                  <a:pt x="263" y="273"/>
                  <a:pt x="271" y="273"/>
                </a:cubicBezTo>
                <a:cubicBezTo>
                  <a:pt x="279" y="273"/>
                  <a:pt x="287" y="269"/>
                  <a:pt x="293" y="263"/>
                </a:cubicBezTo>
                <a:cubicBezTo>
                  <a:pt x="361" y="195"/>
                  <a:pt x="361" y="195"/>
                  <a:pt x="361" y="195"/>
                </a:cubicBezTo>
                <a:cubicBezTo>
                  <a:pt x="367" y="189"/>
                  <a:pt x="371" y="181"/>
                  <a:pt x="371" y="173"/>
                </a:cubicBezTo>
                <a:cubicBezTo>
                  <a:pt x="371" y="165"/>
                  <a:pt x="368" y="157"/>
                  <a:pt x="361" y="150"/>
                </a:cubicBezTo>
                <a:cubicBezTo>
                  <a:pt x="355" y="143"/>
                  <a:pt x="347" y="140"/>
                  <a:pt x="338" y="140"/>
                </a:cubicBezTo>
                <a:cubicBezTo>
                  <a:pt x="330" y="141"/>
                  <a:pt x="322" y="144"/>
                  <a:pt x="316" y="150"/>
                </a:cubicBezTo>
                <a:cubicBezTo>
                  <a:pt x="271" y="195"/>
                  <a:pt x="271" y="195"/>
                  <a:pt x="271" y="195"/>
                </a:cubicBezTo>
                <a:cubicBezTo>
                  <a:pt x="267" y="199"/>
                  <a:pt x="260" y="199"/>
                  <a:pt x="256" y="195"/>
                </a:cubicBezTo>
                <a:cubicBezTo>
                  <a:pt x="252" y="191"/>
                  <a:pt x="252" y="184"/>
                  <a:pt x="256" y="180"/>
                </a:cubicBezTo>
                <a:cubicBezTo>
                  <a:pt x="301" y="135"/>
                  <a:pt x="301" y="135"/>
                  <a:pt x="301" y="135"/>
                </a:cubicBezTo>
                <a:cubicBezTo>
                  <a:pt x="311" y="125"/>
                  <a:pt x="324" y="119"/>
                  <a:pt x="338" y="119"/>
                </a:cubicBezTo>
                <a:cubicBezTo>
                  <a:pt x="352" y="119"/>
                  <a:pt x="366" y="124"/>
                  <a:pt x="376" y="135"/>
                </a:cubicBezTo>
                <a:cubicBezTo>
                  <a:pt x="387" y="146"/>
                  <a:pt x="393" y="159"/>
                  <a:pt x="392" y="174"/>
                </a:cubicBezTo>
                <a:cubicBezTo>
                  <a:pt x="392" y="187"/>
                  <a:pt x="386" y="200"/>
                  <a:pt x="376" y="21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81" name="Group 597"/>
          <p:cNvGrpSpPr>
            <a:grpSpLocks noChangeAspect="1"/>
          </p:cNvGrpSpPr>
          <p:nvPr/>
        </p:nvGrpSpPr>
        <p:grpSpPr bwMode="auto">
          <a:xfrm>
            <a:off x="3916708" y="4579667"/>
            <a:ext cx="368120" cy="367041"/>
            <a:chOff x="2745" y="2621"/>
            <a:chExt cx="341" cy="340"/>
          </a:xfrm>
          <a:solidFill>
            <a:schemeClr val="accent1"/>
          </a:solidFill>
        </p:grpSpPr>
        <p:sp>
          <p:nvSpPr>
            <p:cNvPr id="682" name="Freeform 598"/>
            <p:cNvSpPr>
              <a:spLocks noEditPoints="1"/>
            </p:cNvSpPr>
            <p:nvPr/>
          </p:nvSpPr>
          <p:spPr bwMode="auto">
            <a:xfrm>
              <a:off x="2824" y="2700"/>
              <a:ext cx="183" cy="181"/>
            </a:xfrm>
            <a:custGeom>
              <a:avLst/>
              <a:gdLst>
                <a:gd name="T0" fmla="*/ 137 w 274"/>
                <a:gd name="T1" fmla="*/ 197 h 273"/>
                <a:gd name="T2" fmla="*/ 137 w 274"/>
                <a:gd name="T3" fmla="*/ 212 h 273"/>
                <a:gd name="T4" fmla="*/ 91 w 274"/>
                <a:gd name="T5" fmla="*/ 257 h 273"/>
                <a:gd name="T6" fmla="*/ 55 w 274"/>
                <a:gd name="T7" fmla="*/ 273 h 273"/>
                <a:gd name="T8" fmla="*/ 53 w 274"/>
                <a:gd name="T9" fmla="*/ 273 h 273"/>
                <a:gd name="T10" fmla="*/ 16 w 274"/>
                <a:gd name="T11" fmla="*/ 257 h 273"/>
                <a:gd name="T12" fmla="*/ 0 w 274"/>
                <a:gd name="T13" fmla="*/ 219 h 273"/>
                <a:gd name="T14" fmla="*/ 16 w 274"/>
                <a:gd name="T15" fmla="*/ 182 h 273"/>
                <a:gd name="T16" fmla="*/ 84 w 274"/>
                <a:gd name="T17" fmla="*/ 114 h 273"/>
                <a:gd name="T18" fmla="*/ 120 w 274"/>
                <a:gd name="T19" fmla="*/ 98 h 273"/>
                <a:gd name="T20" fmla="*/ 159 w 274"/>
                <a:gd name="T21" fmla="*/ 114 h 273"/>
                <a:gd name="T22" fmla="*/ 159 w 274"/>
                <a:gd name="T23" fmla="*/ 129 h 273"/>
                <a:gd name="T24" fmla="*/ 144 w 274"/>
                <a:gd name="T25" fmla="*/ 129 h 273"/>
                <a:gd name="T26" fmla="*/ 121 w 274"/>
                <a:gd name="T27" fmla="*/ 119 h 273"/>
                <a:gd name="T28" fmla="*/ 99 w 274"/>
                <a:gd name="T29" fmla="*/ 129 h 273"/>
                <a:gd name="T30" fmla="*/ 31 w 274"/>
                <a:gd name="T31" fmla="*/ 197 h 273"/>
                <a:gd name="T32" fmla="*/ 21 w 274"/>
                <a:gd name="T33" fmla="*/ 219 h 273"/>
                <a:gd name="T34" fmla="*/ 31 w 274"/>
                <a:gd name="T35" fmla="*/ 242 h 273"/>
                <a:gd name="T36" fmla="*/ 54 w 274"/>
                <a:gd name="T37" fmla="*/ 252 h 273"/>
                <a:gd name="T38" fmla="*/ 76 w 274"/>
                <a:gd name="T39" fmla="*/ 242 h 273"/>
                <a:gd name="T40" fmla="*/ 122 w 274"/>
                <a:gd name="T41" fmla="*/ 197 h 273"/>
                <a:gd name="T42" fmla="*/ 137 w 274"/>
                <a:gd name="T43" fmla="*/ 197 h 273"/>
                <a:gd name="T44" fmla="*/ 257 w 274"/>
                <a:gd name="T45" fmla="*/ 16 h 273"/>
                <a:gd name="T46" fmla="*/ 219 w 274"/>
                <a:gd name="T47" fmla="*/ 0 h 273"/>
                <a:gd name="T48" fmla="*/ 182 w 274"/>
                <a:gd name="T49" fmla="*/ 16 h 273"/>
                <a:gd name="T50" fmla="*/ 137 w 274"/>
                <a:gd name="T51" fmla="*/ 61 h 273"/>
                <a:gd name="T52" fmla="*/ 137 w 274"/>
                <a:gd name="T53" fmla="*/ 76 h 273"/>
                <a:gd name="T54" fmla="*/ 152 w 274"/>
                <a:gd name="T55" fmla="*/ 76 h 273"/>
                <a:gd name="T56" fmla="*/ 197 w 274"/>
                <a:gd name="T57" fmla="*/ 31 h 273"/>
                <a:gd name="T58" fmla="*/ 219 w 274"/>
                <a:gd name="T59" fmla="*/ 21 h 273"/>
                <a:gd name="T60" fmla="*/ 242 w 274"/>
                <a:gd name="T61" fmla="*/ 31 h 273"/>
                <a:gd name="T62" fmla="*/ 252 w 274"/>
                <a:gd name="T63" fmla="*/ 54 h 273"/>
                <a:gd name="T64" fmla="*/ 242 w 274"/>
                <a:gd name="T65" fmla="*/ 76 h 273"/>
                <a:gd name="T66" fmla="*/ 174 w 274"/>
                <a:gd name="T67" fmla="*/ 144 h 273"/>
                <a:gd name="T68" fmla="*/ 152 w 274"/>
                <a:gd name="T69" fmla="*/ 154 h 273"/>
                <a:gd name="T70" fmla="*/ 129 w 274"/>
                <a:gd name="T71" fmla="*/ 144 h 273"/>
                <a:gd name="T72" fmla="*/ 114 w 274"/>
                <a:gd name="T73" fmla="*/ 144 h 273"/>
                <a:gd name="T74" fmla="*/ 114 w 274"/>
                <a:gd name="T75" fmla="*/ 159 h 273"/>
                <a:gd name="T76" fmla="*/ 152 w 274"/>
                <a:gd name="T77" fmla="*/ 175 h 273"/>
                <a:gd name="T78" fmla="*/ 153 w 274"/>
                <a:gd name="T79" fmla="*/ 175 h 273"/>
                <a:gd name="T80" fmla="*/ 189 w 274"/>
                <a:gd name="T81" fmla="*/ 159 h 273"/>
                <a:gd name="T82" fmla="*/ 257 w 274"/>
                <a:gd name="T83" fmla="*/ 91 h 273"/>
                <a:gd name="T84" fmla="*/ 273 w 274"/>
                <a:gd name="T85" fmla="*/ 55 h 273"/>
                <a:gd name="T86" fmla="*/ 257 w 274"/>
                <a:gd name="T87" fmla="*/ 1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4" h="273">
                  <a:moveTo>
                    <a:pt x="137" y="197"/>
                  </a:moveTo>
                  <a:cubicBezTo>
                    <a:pt x="141" y="201"/>
                    <a:pt x="141" y="208"/>
                    <a:pt x="137" y="212"/>
                  </a:cubicBezTo>
                  <a:cubicBezTo>
                    <a:pt x="91" y="257"/>
                    <a:pt x="91" y="257"/>
                    <a:pt x="91" y="257"/>
                  </a:cubicBezTo>
                  <a:cubicBezTo>
                    <a:pt x="81" y="267"/>
                    <a:pt x="68" y="273"/>
                    <a:pt x="55" y="273"/>
                  </a:cubicBezTo>
                  <a:cubicBezTo>
                    <a:pt x="54" y="273"/>
                    <a:pt x="54" y="273"/>
                    <a:pt x="53" y="273"/>
                  </a:cubicBezTo>
                  <a:cubicBezTo>
                    <a:pt x="40" y="273"/>
                    <a:pt x="26" y="268"/>
                    <a:pt x="16" y="257"/>
                  </a:cubicBezTo>
                  <a:cubicBezTo>
                    <a:pt x="5" y="247"/>
                    <a:pt x="0" y="233"/>
                    <a:pt x="0" y="219"/>
                  </a:cubicBezTo>
                  <a:cubicBezTo>
                    <a:pt x="0" y="205"/>
                    <a:pt x="6" y="192"/>
                    <a:pt x="16" y="18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94" y="104"/>
                    <a:pt x="107" y="98"/>
                    <a:pt x="120" y="98"/>
                  </a:cubicBezTo>
                  <a:cubicBezTo>
                    <a:pt x="135" y="98"/>
                    <a:pt x="149" y="103"/>
                    <a:pt x="159" y="114"/>
                  </a:cubicBezTo>
                  <a:cubicBezTo>
                    <a:pt x="163" y="118"/>
                    <a:pt x="163" y="125"/>
                    <a:pt x="159" y="129"/>
                  </a:cubicBezTo>
                  <a:cubicBezTo>
                    <a:pt x="155" y="133"/>
                    <a:pt x="148" y="133"/>
                    <a:pt x="144" y="129"/>
                  </a:cubicBezTo>
                  <a:cubicBezTo>
                    <a:pt x="138" y="123"/>
                    <a:pt x="130" y="119"/>
                    <a:pt x="121" y="119"/>
                  </a:cubicBezTo>
                  <a:cubicBezTo>
                    <a:pt x="113" y="120"/>
                    <a:pt x="105" y="123"/>
                    <a:pt x="99" y="129"/>
                  </a:cubicBezTo>
                  <a:cubicBezTo>
                    <a:pt x="31" y="197"/>
                    <a:pt x="31" y="197"/>
                    <a:pt x="31" y="197"/>
                  </a:cubicBezTo>
                  <a:cubicBezTo>
                    <a:pt x="25" y="203"/>
                    <a:pt x="22" y="211"/>
                    <a:pt x="21" y="219"/>
                  </a:cubicBezTo>
                  <a:cubicBezTo>
                    <a:pt x="21" y="228"/>
                    <a:pt x="24" y="236"/>
                    <a:pt x="31" y="242"/>
                  </a:cubicBezTo>
                  <a:cubicBezTo>
                    <a:pt x="38" y="249"/>
                    <a:pt x="46" y="252"/>
                    <a:pt x="54" y="252"/>
                  </a:cubicBezTo>
                  <a:cubicBezTo>
                    <a:pt x="62" y="252"/>
                    <a:pt x="70" y="248"/>
                    <a:pt x="76" y="242"/>
                  </a:cubicBezTo>
                  <a:cubicBezTo>
                    <a:pt x="122" y="197"/>
                    <a:pt x="122" y="197"/>
                    <a:pt x="122" y="197"/>
                  </a:cubicBezTo>
                  <a:cubicBezTo>
                    <a:pt x="126" y="193"/>
                    <a:pt x="133" y="193"/>
                    <a:pt x="137" y="197"/>
                  </a:cubicBezTo>
                  <a:close/>
                  <a:moveTo>
                    <a:pt x="257" y="16"/>
                  </a:moveTo>
                  <a:cubicBezTo>
                    <a:pt x="247" y="5"/>
                    <a:pt x="233" y="0"/>
                    <a:pt x="219" y="0"/>
                  </a:cubicBezTo>
                  <a:cubicBezTo>
                    <a:pt x="205" y="0"/>
                    <a:pt x="192" y="6"/>
                    <a:pt x="182" y="16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3" y="65"/>
                    <a:pt x="133" y="72"/>
                    <a:pt x="137" y="76"/>
                  </a:cubicBezTo>
                  <a:cubicBezTo>
                    <a:pt x="141" y="80"/>
                    <a:pt x="148" y="80"/>
                    <a:pt x="152" y="76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3" y="25"/>
                    <a:pt x="211" y="22"/>
                    <a:pt x="219" y="21"/>
                  </a:cubicBezTo>
                  <a:cubicBezTo>
                    <a:pt x="228" y="21"/>
                    <a:pt x="236" y="24"/>
                    <a:pt x="242" y="31"/>
                  </a:cubicBezTo>
                  <a:cubicBezTo>
                    <a:pt x="249" y="38"/>
                    <a:pt x="252" y="46"/>
                    <a:pt x="252" y="54"/>
                  </a:cubicBezTo>
                  <a:cubicBezTo>
                    <a:pt x="252" y="62"/>
                    <a:pt x="248" y="70"/>
                    <a:pt x="242" y="76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68" y="150"/>
                    <a:pt x="160" y="154"/>
                    <a:pt x="152" y="154"/>
                  </a:cubicBezTo>
                  <a:cubicBezTo>
                    <a:pt x="144" y="154"/>
                    <a:pt x="136" y="151"/>
                    <a:pt x="129" y="144"/>
                  </a:cubicBezTo>
                  <a:cubicBezTo>
                    <a:pt x="125" y="140"/>
                    <a:pt x="118" y="140"/>
                    <a:pt x="114" y="144"/>
                  </a:cubicBezTo>
                  <a:cubicBezTo>
                    <a:pt x="110" y="148"/>
                    <a:pt x="110" y="155"/>
                    <a:pt x="114" y="159"/>
                  </a:cubicBezTo>
                  <a:cubicBezTo>
                    <a:pt x="124" y="170"/>
                    <a:pt x="138" y="175"/>
                    <a:pt x="152" y="175"/>
                  </a:cubicBezTo>
                  <a:cubicBezTo>
                    <a:pt x="152" y="175"/>
                    <a:pt x="152" y="175"/>
                    <a:pt x="153" y="175"/>
                  </a:cubicBezTo>
                  <a:cubicBezTo>
                    <a:pt x="167" y="175"/>
                    <a:pt x="180" y="169"/>
                    <a:pt x="189" y="159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67" y="81"/>
                    <a:pt x="273" y="68"/>
                    <a:pt x="273" y="55"/>
                  </a:cubicBezTo>
                  <a:cubicBezTo>
                    <a:pt x="274" y="40"/>
                    <a:pt x="268" y="27"/>
                    <a:pt x="25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2" name="Freeform 599"/>
            <p:cNvSpPr>
              <a:spLocks noEditPoints="1"/>
            </p:cNvSpPr>
            <p:nvPr/>
          </p:nvSpPr>
          <p:spPr bwMode="auto">
            <a:xfrm>
              <a:off x="2745" y="26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03" name="TextBox 702"/>
          <p:cNvSpPr txBox="1"/>
          <p:nvPr/>
        </p:nvSpPr>
        <p:spPr>
          <a:xfrm>
            <a:off x="499516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Inbox</a:t>
            </a:r>
          </a:p>
        </p:txBody>
      </p:sp>
      <p:grpSp>
        <p:nvGrpSpPr>
          <p:cNvPr id="704" name="Group 362"/>
          <p:cNvGrpSpPr>
            <a:grpSpLocks noChangeAspect="1"/>
          </p:cNvGrpSpPr>
          <p:nvPr/>
        </p:nvGrpSpPr>
        <p:grpSpPr bwMode="auto">
          <a:xfrm>
            <a:off x="433255" y="5359515"/>
            <a:ext cx="367041" cy="367041"/>
            <a:chOff x="6240" y="1538"/>
            <a:chExt cx="340" cy="340"/>
          </a:xfrm>
          <a:solidFill>
            <a:schemeClr val="accent4"/>
          </a:solidFill>
        </p:grpSpPr>
        <p:sp>
          <p:nvSpPr>
            <p:cNvPr id="705" name="Freeform 363"/>
            <p:cNvSpPr>
              <a:spLocks/>
            </p:cNvSpPr>
            <p:nvPr/>
          </p:nvSpPr>
          <p:spPr bwMode="auto">
            <a:xfrm>
              <a:off x="6332" y="1729"/>
              <a:ext cx="156" cy="35"/>
            </a:xfrm>
            <a:custGeom>
              <a:avLst/>
              <a:gdLst>
                <a:gd name="T0" fmla="*/ 160 w 235"/>
                <a:gd name="T1" fmla="*/ 32 h 53"/>
                <a:gd name="T2" fmla="*/ 75 w 235"/>
                <a:gd name="T3" fmla="*/ 32 h 53"/>
                <a:gd name="T4" fmla="*/ 44 w 235"/>
                <a:gd name="T5" fmla="*/ 0 h 53"/>
                <a:gd name="T6" fmla="*/ 0 w 235"/>
                <a:gd name="T7" fmla="*/ 0 h 53"/>
                <a:gd name="T8" fmla="*/ 0 w 235"/>
                <a:gd name="T9" fmla="*/ 53 h 53"/>
                <a:gd name="T10" fmla="*/ 235 w 235"/>
                <a:gd name="T11" fmla="*/ 53 h 53"/>
                <a:gd name="T12" fmla="*/ 235 w 235"/>
                <a:gd name="T13" fmla="*/ 0 h 53"/>
                <a:gd name="T14" fmla="*/ 191 w 235"/>
                <a:gd name="T15" fmla="*/ 0 h 53"/>
                <a:gd name="T16" fmla="*/ 160 w 235"/>
                <a:gd name="T17" fmla="*/ 3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53">
                  <a:moveTo>
                    <a:pt x="160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60" y="32"/>
                    <a:pt x="48" y="18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35" y="53"/>
                    <a:pt x="235" y="53"/>
                    <a:pt x="235" y="53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88" y="18"/>
                    <a:pt x="175" y="32"/>
                    <a:pt x="16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6" name="Freeform 364"/>
            <p:cNvSpPr>
              <a:spLocks noEditPoints="1"/>
            </p:cNvSpPr>
            <p:nvPr/>
          </p:nvSpPr>
          <p:spPr bwMode="auto">
            <a:xfrm>
              <a:off x="6240" y="15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52 h 512"/>
                <a:gd name="T12" fmla="*/ 384 w 512"/>
                <a:gd name="T13" fmla="*/ 362 h 512"/>
                <a:gd name="T14" fmla="*/ 128 w 512"/>
                <a:gd name="T15" fmla="*/ 362 h 512"/>
                <a:gd name="T16" fmla="*/ 117 w 512"/>
                <a:gd name="T17" fmla="*/ 352 h 512"/>
                <a:gd name="T18" fmla="*/ 117 w 512"/>
                <a:gd name="T19" fmla="*/ 277 h 512"/>
                <a:gd name="T20" fmla="*/ 117 w 512"/>
                <a:gd name="T21" fmla="*/ 275 h 512"/>
                <a:gd name="T22" fmla="*/ 118 w 512"/>
                <a:gd name="T23" fmla="*/ 273 h 512"/>
                <a:gd name="T24" fmla="*/ 171 w 512"/>
                <a:gd name="T25" fmla="*/ 134 h 512"/>
                <a:gd name="T26" fmla="*/ 181 w 512"/>
                <a:gd name="T27" fmla="*/ 128 h 512"/>
                <a:gd name="T28" fmla="*/ 181 w 512"/>
                <a:gd name="T29" fmla="*/ 128 h 512"/>
                <a:gd name="T30" fmla="*/ 330 w 512"/>
                <a:gd name="T31" fmla="*/ 128 h 512"/>
                <a:gd name="T32" fmla="*/ 330 w 512"/>
                <a:gd name="T33" fmla="*/ 128 h 512"/>
                <a:gd name="T34" fmla="*/ 340 w 512"/>
                <a:gd name="T35" fmla="*/ 134 h 512"/>
                <a:gd name="T36" fmla="*/ 394 w 512"/>
                <a:gd name="T37" fmla="*/ 273 h 512"/>
                <a:gd name="T38" fmla="*/ 394 w 512"/>
                <a:gd name="T39" fmla="*/ 275 h 512"/>
                <a:gd name="T40" fmla="*/ 394 w 512"/>
                <a:gd name="T41" fmla="*/ 277 h 512"/>
                <a:gd name="T42" fmla="*/ 394 w 512"/>
                <a:gd name="T43" fmla="*/ 35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52"/>
                  </a:moveTo>
                  <a:cubicBezTo>
                    <a:pt x="394" y="358"/>
                    <a:pt x="390" y="362"/>
                    <a:pt x="384" y="362"/>
                  </a:cubicBezTo>
                  <a:cubicBezTo>
                    <a:pt x="128" y="362"/>
                    <a:pt x="128" y="362"/>
                    <a:pt x="128" y="362"/>
                  </a:cubicBezTo>
                  <a:cubicBezTo>
                    <a:pt x="122" y="362"/>
                    <a:pt x="117" y="358"/>
                    <a:pt x="117" y="352"/>
                  </a:cubicBezTo>
                  <a:cubicBezTo>
                    <a:pt x="117" y="277"/>
                    <a:pt x="117" y="277"/>
                    <a:pt x="117" y="277"/>
                  </a:cubicBezTo>
                  <a:cubicBezTo>
                    <a:pt x="117" y="276"/>
                    <a:pt x="117" y="276"/>
                    <a:pt x="117" y="275"/>
                  </a:cubicBezTo>
                  <a:cubicBezTo>
                    <a:pt x="117" y="275"/>
                    <a:pt x="117" y="274"/>
                    <a:pt x="118" y="273"/>
                  </a:cubicBezTo>
                  <a:cubicBezTo>
                    <a:pt x="171" y="134"/>
                    <a:pt x="171" y="134"/>
                    <a:pt x="171" y="134"/>
                  </a:cubicBezTo>
                  <a:cubicBezTo>
                    <a:pt x="173" y="130"/>
                    <a:pt x="177" y="128"/>
                    <a:pt x="181" y="128"/>
                  </a:cubicBezTo>
                  <a:cubicBezTo>
                    <a:pt x="181" y="128"/>
                    <a:pt x="181" y="128"/>
                    <a:pt x="181" y="128"/>
                  </a:cubicBezTo>
                  <a:cubicBezTo>
                    <a:pt x="330" y="128"/>
                    <a:pt x="330" y="128"/>
                    <a:pt x="330" y="128"/>
                  </a:cubicBezTo>
                  <a:cubicBezTo>
                    <a:pt x="330" y="128"/>
                    <a:pt x="330" y="128"/>
                    <a:pt x="330" y="128"/>
                  </a:cubicBezTo>
                  <a:cubicBezTo>
                    <a:pt x="335" y="128"/>
                    <a:pt x="339" y="130"/>
                    <a:pt x="340" y="134"/>
                  </a:cubicBezTo>
                  <a:cubicBezTo>
                    <a:pt x="394" y="273"/>
                    <a:pt x="394" y="273"/>
                    <a:pt x="394" y="273"/>
                  </a:cubicBezTo>
                  <a:cubicBezTo>
                    <a:pt x="394" y="274"/>
                    <a:pt x="394" y="275"/>
                    <a:pt x="394" y="275"/>
                  </a:cubicBezTo>
                  <a:cubicBezTo>
                    <a:pt x="394" y="276"/>
                    <a:pt x="394" y="276"/>
                    <a:pt x="394" y="277"/>
                  </a:cubicBezTo>
                  <a:lnTo>
                    <a:pt x="394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7" name="Freeform 365"/>
            <p:cNvSpPr>
              <a:spLocks/>
            </p:cNvSpPr>
            <p:nvPr/>
          </p:nvSpPr>
          <p:spPr bwMode="auto">
            <a:xfrm>
              <a:off x="6335" y="1637"/>
              <a:ext cx="149" cy="99"/>
            </a:xfrm>
            <a:custGeom>
              <a:avLst/>
              <a:gdLst>
                <a:gd name="T0" fmla="*/ 59 w 225"/>
                <a:gd name="T1" fmla="*/ 128 h 149"/>
                <a:gd name="T2" fmla="*/ 70 w 225"/>
                <a:gd name="T3" fmla="*/ 149 h 149"/>
                <a:gd name="T4" fmla="*/ 155 w 225"/>
                <a:gd name="T5" fmla="*/ 149 h 149"/>
                <a:gd name="T6" fmla="*/ 166 w 225"/>
                <a:gd name="T7" fmla="*/ 128 h 149"/>
                <a:gd name="T8" fmla="*/ 177 w 225"/>
                <a:gd name="T9" fmla="*/ 117 h 149"/>
                <a:gd name="T10" fmla="*/ 225 w 225"/>
                <a:gd name="T11" fmla="*/ 117 h 149"/>
                <a:gd name="T12" fmla="*/ 180 w 225"/>
                <a:gd name="T13" fmla="*/ 0 h 149"/>
                <a:gd name="T14" fmla="*/ 45 w 225"/>
                <a:gd name="T15" fmla="*/ 0 h 149"/>
                <a:gd name="T16" fmla="*/ 0 w 225"/>
                <a:gd name="T17" fmla="*/ 117 h 149"/>
                <a:gd name="T18" fmla="*/ 49 w 225"/>
                <a:gd name="T19" fmla="*/ 117 h 149"/>
                <a:gd name="T20" fmla="*/ 59 w 225"/>
                <a:gd name="T21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149">
                  <a:moveTo>
                    <a:pt x="59" y="128"/>
                  </a:moveTo>
                  <a:cubicBezTo>
                    <a:pt x="59" y="141"/>
                    <a:pt x="66" y="149"/>
                    <a:pt x="70" y="149"/>
                  </a:cubicBezTo>
                  <a:cubicBezTo>
                    <a:pt x="155" y="149"/>
                    <a:pt x="155" y="149"/>
                    <a:pt x="155" y="149"/>
                  </a:cubicBezTo>
                  <a:cubicBezTo>
                    <a:pt x="160" y="149"/>
                    <a:pt x="166" y="141"/>
                    <a:pt x="166" y="128"/>
                  </a:cubicBezTo>
                  <a:cubicBezTo>
                    <a:pt x="166" y="122"/>
                    <a:pt x="171" y="117"/>
                    <a:pt x="177" y="117"/>
                  </a:cubicBezTo>
                  <a:cubicBezTo>
                    <a:pt x="225" y="117"/>
                    <a:pt x="225" y="117"/>
                    <a:pt x="225" y="117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55" y="117"/>
                    <a:pt x="59" y="122"/>
                    <a:pt x="59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08" name="Group 368"/>
          <p:cNvGrpSpPr>
            <a:grpSpLocks noChangeAspect="1"/>
          </p:cNvGrpSpPr>
          <p:nvPr/>
        </p:nvGrpSpPr>
        <p:grpSpPr bwMode="auto">
          <a:xfrm>
            <a:off x="922646" y="5359515"/>
            <a:ext cx="367041" cy="368120"/>
            <a:chOff x="6849" y="1569"/>
            <a:chExt cx="340" cy="341"/>
          </a:xfrm>
          <a:solidFill>
            <a:schemeClr val="accent4"/>
          </a:solidFill>
        </p:grpSpPr>
        <p:sp>
          <p:nvSpPr>
            <p:cNvPr id="709" name="Freeform 369"/>
            <p:cNvSpPr>
              <a:spLocks noEditPoints="1"/>
            </p:cNvSpPr>
            <p:nvPr/>
          </p:nvSpPr>
          <p:spPr bwMode="auto">
            <a:xfrm>
              <a:off x="6849" y="156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0" name="Freeform 370"/>
            <p:cNvSpPr>
              <a:spLocks noEditPoints="1"/>
            </p:cNvSpPr>
            <p:nvPr/>
          </p:nvSpPr>
          <p:spPr bwMode="auto">
            <a:xfrm>
              <a:off x="6927" y="1654"/>
              <a:ext cx="184" cy="156"/>
            </a:xfrm>
            <a:custGeom>
              <a:avLst/>
              <a:gdLst>
                <a:gd name="T0" fmla="*/ 277 w 277"/>
                <a:gd name="T1" fmla="*/ 147 h 234"/>
                <a:gd name="T2" fmla="*/ 277 w 277"/>
                <a:gd name="T3" fmla="*/ 145 h 234"/>
                <a:gd name="T4" fmla="*/ 223 w 277"/>
                <a:gd name="T5" fmla="*/ 6 h 234"/>
                <a:gd name="T6" fmla="*/ 213 w 277"/>
                <a:gd name="T7" fmla="*/ 0 h 234"/>
                <a:gd name="T8" fmla="*/ 213 w 277"/>
                <a:gd name="T9" fmla="*/ 0 h 234"/>
                <a:gd name="T10" fmla="*/ 64 w 277"/>
                <a:gd name="T11" fmla="*/ 0 h 234"/>
                <a:gd name="T12" fmla="*/ 64 w 277"/>
                <a:gd name="T13" fmla="*/ 0 h 234"/>
                <a:gd name="T14" fmla="*/ 54 w 277"/>
                <a:gd name="T15" fmla="*/ 6 h 234"/>
                <a:gd name="T16" fmla="*/ 1 w 277"/>
                <a:gd name="T17" fmla="*/ 145 h 234"/>
                <a:gd name="T18" fmla="*/ 0 w 277"/>
                <a:gd name="T19" fmla="*/ 147 h 234"/>
                <a:gd name="T20" fmla="*/ 0 w 277"/>
                <a:gd name="T21" fmla="*/ 149 h 234"/>
                <a:gd name="T22" fmla="*/ 0 w 277"/>
                <a:gd name="T23" fmla="*/ 224 h 234"/>
                <a:gd name="T24" fmla="*/ 11 w 277"/>
                <a:gd name="T25" fmla="*/ 234 h 234"/>
                <a:gd name="T26" fmla="*/ 267 w 277"/>
                <a:gd name="T27" fmla="*/ 234 h 234"/>
                <a:gd name="T28" fmla="*/ 277 w 277"/>
                <a:gd name="T29" fmla="*/ 224 h 234"/>
                <a:gd name="T30" fmla="*/ 277 w 277"/>
                <a:gd name="T31" fmla="*/ 149 h 234"/>
                <a:gd name="T32" fmla="*/ 277 w 277"/>
                <a:gd name="T33" fmla="*/ 147 h 234"/>
                <a:gd name="T34" fmla="*/ 71 w 277"/>
                <a:gd name="T35" fmla="*/ 21 h 234"/>
                <a:gd name="T36" fmla="*/ 206 w 277"/>
                <a:gd name="T37" fmla="*/ 21 h 234"/>
                <a:gd name="T38" fmla="*/ 251 w 277"/>
                <a:gd name="T39" fmla="*/ 138 h 234"/>
                <a:gd name="T40" fmla="*/ 203 w 277"/>
                <a:gd name="T41" fmla="*/ 138 h 234"/>
                <a:gd name="T42" fmla="*/ 192 w 277"/>
                <a:gd name="T43" fmla="*/ 149 h 234"/>
                <a:gd name="T44" fmla="*/ 181 w 277"/>
                <a:gd name="T45" fmla="*/ 170 h 234"/>
                <a:gd name="T46" fmla="*/ 96 w 277"/>
                <a:gd name="T47" fmla="*/ 170 h 234"/>
                <a:gd name="T48" fmla="*/ 85 w 277"/>
                <a:gd name="T49" fmla="*/ 149 h 234"/>
                <a:gd name="T50" fmla="*/ 75 w 277"/>
                <a:gd name="T51" fmla="*/ 138 h 234"/>
                <a:gd name="T52" fmla="*/ 26 w 277"/>
                <a:gd name="T53" fmla="*/ 138 h 234"/>
                <a:gd name="T54" fmla="*/ 71 w 277"/>
                <a:gd name="T55" fmla="*/ 21 h 234"/>
                <a:gd name="T56" fmla="*/ 256 w 277"/>
                <a:gd name="T57" fmla="*/ 213 h 234"/>
                <a:gd name="T58" fmla="*/ 21 w 277"/>
                <a:gd name="T59" fmla="*/ 213 h 234"/>
                <a:gd name="T60" fmla="*/ 21 w 277"/>
                <a:gd name="T61" fmla="*/ 160 h 234"/>
                <a:gd name="T62" fmla="*/ 65 w 277"/>
                <a:gd name="T63" fmla="*/ 160 h 234"/>
                <a:gd name="T64" fmla="*/ 96 w 277"/>
                <a:gd name="T65" fmla="*/ 192 h 234"/>
                <a:gd name="T66" fmla="*/ 181 w 277"/>
                <a:gd name="T67" fmla="*/ 192 h 234"/>
                <a:gd name="T68" fmla="*/ 212 w 277"/>
                <a:gd name="T69" fmla="*/ 160 h 234"/>
                <a:gd name="T70" fmla="*/ 256 w 277"/>
                <a:gd name="T71" fmla="*/ 160 h 234"/>
                <a:gd name="T72" fmla="*/ 256 w 277"/>
                <a:gd name="T73" fmla="*/ 21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234">
                  <a:moveTo>
                    <a:pt x="277" y="147"/>
                  </a:moveTo>
                  <a:cubicBezTo>
                    <a:pt x="277" y="147"/>
                    <a:pt x="277" y="146"/>
                    <a:pt x="277" y="145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2" y="2"/>
                    <a:pt x="218" y="0"/>
                    <a:pt x="213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0" y="0"/>
                    <a:pt x="56" y="2"/>
                    <a:pt x="54" y="6"/>
                  </a:cubicBezTo>
                  <a:cubicBezTo>
                    <a:pt x="1" y="145"/>
                    <a:pt x="1" y="145"/>
                    <a:pt x="1" y="145"/>
                  </a:cubicBezTo>
                  <a:cubicBezTo>
                    <a:pt x="0" y="146"/>
                    <a:pt x="0" y="147"/>
                    <a:pt x="0" y="147"/>
                  </a:cubicBezTo>
                  <a:cubicBezTo>
                    <a:pt x="0" y="148"/>
                    <a:pt x="0" y="148"/>
                    <a:pt x="0" y="149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4"/>
                    <a:pt x="11" y="234"/>
                  </a:cubicBezTo>
                  <a:cubicBezTo>
                    <a:pt x="267" y="234"/>
                    <a:pt x="267" y="234"/>
                    <a:pt x="267" y="234"/>
                  </a:cubicBezTo>
                  <a:cubicBezTo>
                    <a:pt x="273" y="234"/>
                    <a:pt x="277" y="230"/>
                    <a:pt x="277" y="224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148"/>
                    <a:pt x="277" y="148"/>
                    <a:pt x="277" y="147"/>
                  </a:cubicBezTo>
                  <a:close/>
                  <a:moveTo>
                    <a:pt x="71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51" y="138"/>
                    <a:pt x="251" y="138"/>
                    <a:pt x="251" y="138"/>
                  </a:cubicBezTo>
                  <a:cubicBezTo>
                    <a:pt x="203" y="138"/>
                    <a:pt x="203" y="138"/>
                    <a:pt x="203" y="138"/>
                  </a:cubicBezTo>
                  <a:cubicBezTo>
                    <a:pt x="197" y="138"/>
                    <a:pt x="192" y="143"/>
                    <a:pt x="192" y="149"/>
                  </a:cubicBezTo>
                  <a:cubicBezTo>
                    <a:pt x="192" y="162"/>
                    <a:pt x="186" y="170"/>
                    <a:pt x="181" y="170"/>
                  </a:cubicBezTo>
                  <a:cubicBezTo>
                    <a:pt x="96" y="170"/>
                    <a:pt x="96" y="170"/>
                    <a:pt x="96" y="170"/>
                  </a:cubicBezTo>
                  <a:cubicBezTo>
                    <a:pt x="92" y="170"/>
                    <a:pt x="85" y="162"/>
                    <a:pt x="85" y="149"/>
                  </a:cubicBezTo>
                  <a:cubicBezTo>
                    <a:pt x="85" y="143"/>
                    <a:pt x="81" y="138"/>
                    <a:pt x="75" y="138"/>
                  </a:cubicBezTo>
                  <a:cubicBezTo>
                    <a:pt x="26" y="138"/>
                    <a:pt x="26" y="138"/>
                    <a:pt x="26" y="138"/>
                  </a:cubicBezTo>
                  <a:lnTo>
                    <a:pt x="71" y="21"/>
                  </a:lnTo>
                  <a:close/>
                  <a:moveTo>
                    <a:pt x="256" y="213"/>
                  </a:moveTo>
                  <a:cubicBezTo>
                    <a:pt x="21" y="213"/>
                    <a:pt x="21" y="213"/>
                    <a:pt x="21" y="213"/>
                  </a:cubicBezTo>
                  <a:cubicBezTo>
                    <a:pt x="21" y="160"/>
                    <a:pt x="21" y="160"/>
                    <a:pt x="21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9" y="178"/>
                    <a:pt x="81" y="192"/>
                    <a:pt x="96" y="192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196" y="192"/>
                    <a:pt x="209" y="178"/>
                    <a:pt x="212" y="160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256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11" name="TextBox 710"/>
          <p:cNvSpPr txBox="1"/>
          <p:nvPr/>
        </p:nvSpPr>
        <p:spPr>
          <a:xfrm>
            <a:off x="1497635" y="578173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lder in</a:t>
            </a:r>
          </a:p>
        </p:txBody>
      </p:sp>
      <p:sp>
        <p:nvSpPr>
          <p:cNvPr id="712" name="TextBox 711"/>
          <p:cNvSpPr txBox="1"/>
          <p:nvPr/>
        </p:nvSpPr>
        <p:spPr>
          <a:xfrm>
            <a:off x="2484112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lder out</a:t>
            </a:r>
          </a:p>
        </p:txBody>
      </p:sp>
      <p:sp>
        <p:nvSpPr>
          <p:cNvPr id="713" name="Freeform 885"/>
          <p:cNvSpPr>
            <a:spLocks noChangeAspect="1" noEditPoints="1"/>
          </p:cNvSpPr>
          <p:nvPr/>
        </p:nvSpPr>
        <p:spPr bwMode="auto">
          <a:xfrm>
            <a:off x="1412037" y="5359519"/>
            <a:ext cx="404394" cy="367631"/>
          </a:xfrm>
          <a:custGeom>
            <a:avLst/>
            <a:gdLst>
              <a:gd name="T0" fmla="*/ 296 w 562"/>
              <a:gd name="T1" fmla="*/ 234 h 512"/>
              <a:gd name="T2" fmla="*/ 398 w 562"/>
              <a:gd name="T3" fmla="*/ 234 h 512"/>
              <a:gd name="T4" fmla="*/ 398 w 562"/>
              <a:gd name="T5" fmla="*/ 373 h 512"/>
              <a:gd name="T6" fmla="*/ 163 w 562"/>
              <a:gd name="T7" fmla="*/ 373 h 512"/>
              <a:gd name="T8" fmla="*/ 163 w 562"/>
              <a:gd name="T9" fmla="*/ 213 h 512"/>
              <a:gd name="T10" fmla="*/ 219 w 562"/>
              <a:gd name="T11" fmla="*/ 213 h 512"/>
              <a:gd name="T12" fmla="*/ 233 w 562"/>
              <a:gd name="T13" fmla="*/ 230 h 512"/>
              <a:gd name="T14" fmla="*/ 241 w 562"/>
              <a:gd name="T15" fmla="*/ 234 h 512"/>
              <a:gd name="T16" fmla="*/ 275 w 562"/>
              <a:gd name="T17" fmla="*/ 234 h 512"/>
              <a:gd name="T18" fmla="*/ 270 w 562"/>
              <a:gd name="T19" fmla="*/ 283 h 512"/>
              <a:gd name="T20" fmla="*/ 246 w 562"/>
              <a:gd name="T21" fmla="*/ 259 h 512"/>
              <a:gd name="T22" fmla="*/ 230 w 562"/>
              <a:gd name="T23" fmla="*/ 259 h 512"/>
              <a:gd name="T24" fmla="*/ 230 w 562"/>
              <a:gd name="T25" fmla="*/ 274 h 512"/>
              <a:gd name="T26" fmla="*/ 273 w 562"/>
              <a:gd name="T27" fmla="*/ 317 h 512"/>
              <a:gd name="T28" fmla="*/ 281 w 562"/>
              <a:gd name="T29" fmla="*/ 320 h 512"/>
              <a:gd name="T30" fmla="*/ 288 w 562"/>
              <a:gd name="T31" fmla="*/ 317 h 512"/>
              <a:gd name="T32" fmla="*/ 331 w 562"/>
              <a:gd name="T33" fmla="*/ 274 h 512"/>
              <a:gd name="T34" fmla="*/ 331 w 562"/>
              <a:gd name="T35" fmla="*/ 259 h 512"/>
              <a:gd name="T36" fmla="*/ 316 w 562"/>
              <a:gd name="T37" fmla="*/ 259 h 512"/>
              <a:gd name="T38" fmla="*/ 291 w 562"/>
              <a:gd name="T39" fmla="*/ 283 h 512"/>
              <a:gd name="T40" fmla="*/ 296 w 562"/>
              <a:gd name="T41" fmla="*/ 234 h 512"/>
              <a:gd name="T42" fmla="*/ 462 w 562"/>
              <a:gd name="T43" fmla="*/ 437 h 512"/>
              <a:gd name="T44" fmla="*/ 281 w 562"/>
              <a:gd name="T45" fmla="*/ 512 h 512"/>
              <a:gd name="T46" fmla="*/ 100 w 562"/>
              <a:gd name="T47" fmla="*/ 437 h 512"/>
              <a:gd name="T48" fmla="*/ 100 w 562"/>
              <a:gd name="T49" fmla="*/ 75 h 512"/>
              <a:gd name="T50" fmla="*/ 281 w 562"/>
              <a:gd name="T51" fmla="*/ 0 h 512"/>
              <a:gd name="T52" fmla="*/ 462 w 562"/>
              <a:gd name="T53" fmla="*/ 75 h 512"/>
              <a:gd name="T54" fmla="*/ 462 w 562"/>
              <a:gd name="T55" fmla="*/ 437 h 512"/>
              <a:gd name="T56" fmla="*/ 419 w 562"/>
              <a:gd name="T57" fmla="*/ 224 h 512"/>
              <a:gd name="T58" fmla="*/ 409 w 562"/>
              <a:gd name="T59" fmla="*/ 213 h 512"/>
              <a:gd name="T60" fmla="*/ 302 w 562"/>
              <a:gd name="T61" fmla="*/ 213 h 512"/>
              <a:gd name="T62" fmla="*/ 403 w 562"/>
              <a:gd name="T63" fmla="*/ 149 h 512"/>
              <a:gd name="T64" fmla="*/ 414 w 562"/>
              <a:gd name="T65" fmla="*/ 138 h 512"/>
              <a:gd name="T66" fmla="*/ 403 w 562"/>
              <a:gd name="T67" fmla="*/ 128 h 512"/>
              <a:gd name="T68" fmla="*/ 280 w 562"/>
              <a:gd name="T69" fmla="*/ 213 h 512"/>
              <a:gd name="T70" fmla="*/ 246 w 562"/>
              <a:gd name="T71" fmla="*/ 213 h 512"/>
              <a:gd name="T72" fmla="*/ 232 w 562"/>
              <a:gd name="T73" fmla="*/ 196 h 512"/>
              <a:gd name="T74" fmla="*/ 224 w 562"/>
              <a:gd name="T75" fmla="*/ 192 h 512"/>
              <a:gd name="T76" fmla="*/ 153 w 562"/>
              <a:gd name="T77" fmla="*/ 192 h 512"/>
              <a:gd name="T78" fmla="*/ 142 w 562"/>
              <a:gd name="T79" fmla="*/ 202 h 512"/>
              <a:gd name="T80" fmla="*/ 142 w 562"/>
              <a:gd name="T81" fmla="*/ 384 h 512"/>
              <a:gd name="T82" fmla="*/ 153 w 562"/>
              <a:gd name="T83" fmla="*/ 394 h 512"/>
              <a:gd name="T84" fmla="*/ 409 w 562"/>
              <a:gd name="T85" fmla="*/ 394 h 512"/>
              <a:gd name="T86" fmla="*/ 419 w 562"/>
              <a:gd name="T87" fmla="*/ 384 h 512"/>
              <a:gd name="T88" fmla="*/ 419 w 562"/>
              <a:gd name="T8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2" h="512">
                <a:moveTo>
                  <a:pt x="296" y="234"/>
                </a:moveTo>
                <a:cubicBezTo>
                  <a:pt x="398" y="234"/>
                  <a:pt x="398" y="234"/>
                  <a:pt x="398" y="234"/>
                </a:cubicBezTo>
                <a:cubicBezTo>
                  <a:pt x="398" y="373"/>
                  <a:pt x="398" y="373"/>
                  <a:pt x="398" y="373"/>
                </a:cubicBez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49"/>
                  <a:pt x="270" y="266"/>
                  <a:pt x="270" y="283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1" y="255"/>
                  <a:pt x="235" y="255"/>
                  <a:pt x="230" y="259"/>
                </a:cubicBezTo>
                <a:cubicBezTo>
                  <a:pt x="226" y="263"/>
                  <a:pt x="226" y="270"/>
                  <a:pt x="230" y="274"/>
                </a:cubicBezTo>
                <a:cubicBezTo>
                  <a:pt x="273" y="317"/>
                  <a:pt x="273" y="317"/>
                  <a:pt x="273" y="317"/>
                </a:cubicBezTo>
                <a:cubicBezTo>
                  <a:pt x="275" y="319"/>
                  <a:pt x="278" y="320"/>
                  <a:pt x="281" y="320"/>
                </a:cubicBezTo>
                <a:cubicBezTo>
                  <a:pt x="283" y="320"/>
                  <a:pt x="286" y="319"/>
                  <a:pt x="288" y="317"/>
                </a:cubicBezTo>
                <a:cubicBezTo>
                  <a:pt x="331" y="274"/>
                  <a:pt x="331" y="274"/>
                  <a:pt x="331" y="274"/>
                </a:cubicBezTo>
                <a:cubicBezTo>
                  <a:pt x="335" y="270"/>
                  <a:pt x="335" y="263"/>
                  <a:pt x="331" y="259"/>
                </a:cubicBezTo>
                <a:cubicBezTo>
                  <a:pt x="327" y="255"/>
                  <a:pt x="320" y="255"/>
                  <a:pt x="316" y="259"/>
                </a:cubicBezTo>
                <a:cubicBezTo>
                  <a:pt x="291" y="283"/>
                  <a:pt x="291" y="283"/>
                  <a:pt x="291" y="283"/>
                </a:cubicBezTo>
                <a:cubicBezTo>
                  <a:pt x="292" y="265"/>
                  <a:pt x="293" y="249"/>
                  <a:pt x="296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419" y="224"/>
                </a:moveTo>
                <a:cubicBezTo>
                  <a:pt x="419" y="218"/>
                  <a:pt x="415" y="213"/>
                  <a:pt x="409" y="213"/>
                </a:cubicBezTo>
                <a:cubicBezTo>
                  <a:pt x="302" y="213"/>
                  <a:pt x="302" y="213"/>
                  <a:pt x="302" y="213"/>
                </a:cubicBezTo>
                <a:cubicBezTo>
                  <a:pt x="318" y="170"/>
                  <a:pt x="351" y="149"/>
                  <a:pt x="403" y="149"/>
                </a:cubicBezTo>
                <a:cubicBezTo>
                  <a:pt x="409" y="149"/>
                  <a:pt x="414" y="144"/>
                  <a:pt x="414" y="138"/>
                </a:cubicBezTo>
                <a:cubicBezTo>
                  <a:pt x="414" y="132"/>
                  <a:pt x="409" y="128"/>
                  <a:pt x="403" y="128"/>
                </a:cubicBezTo>
                <a:cubicBezTo>
                  <a:pt x="339" y="128"/>
                  <a:pt x="298" y="157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lnTo>
                  <a:pt x="419" y="22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4" name="Freeform 889"/>
          <p:cNvSpPr>
            <a:spLocks noChangeAspect="1" noEditPoints="1"/>
          </p:cNvSpPr>
          <p:nvPr/>
        </p:nvSpPr>
        <p:spPr bwMode="auto">
          <a:xfrm>
            <a:off x="1938781" y="5359515"/>
            <a:ext cx="404394" cy="368712"/>
          </a:xfrm>
          <a:custGeom>
            <a:avLst/>
            <a:gdLst>
              <a:gd name="T0" fmla="*/ 281 w 562"/>
              <a:gd name="T1" fmla="*/ 21 h 512"/>
              <a:gd name="T2" fmla="*/ 447 w 562"/>
              <a:gd name="T3" fmla="*/ 90 h 512"/>
              <a:gd name="T4" fmla="*/ 447 w 562"/>
              <a:gd name="T5" fmla="*/ 422 h 512"/>
              <a:gd name="T6" fmla="*/ 281 w 562"/>
              <a:gd name="T7" fmla="*/ 490 h 512"/>
              <a:gd name="T8" fmla="*/ 115 w 562"/>
              <a:gd name="T9" fmla="*/ 422 h 512"/>
              <a:gd name="T10" fmla="*/ 115 w 562"/>
              <a:gd name="T11" fmla="*/ 90 h 512"/>
              <a:gd name="T12" fmla="*/ 281 w 562"/>
              <a:gd name="T13" fmla="*/ 21 h 512"/>
              <a:gd name="T14" fmla="*/ 281 w 562"/>
              <a:gd name="T15" fmla="*/ 0 h 512"/>
              <a:gd name="T16" fmla="*/ 100 w 562"/>
              <a:gd name="T17" fmla="*/ 75 h 512"/>
              <a:gd name="T18" fmla="*/ 100 w 562"/>
              <a:gd name="T19" fmla="*/ 437 h 512"/>
              <a:gd name="T20" fmla="*/ 281 w 562"/>
              <a:gd name="T21" fmla="*/ 512 h 512"/>
              <a:gd name="T22" fmla="*/ 462 w 562"/>
              <a:gd name="T23" fmla="*/ 437 h 512"/>
              <a:gd name="T24" fmla="*/ 462 w 562"/>
              <a:gd name="T25" fmla="*/ 75 h 512"/>
              <a:gd name="T26" fmla="*/ 281 w 562"/>
              <a:gd name="T27" fmla="*/ 0 h 512"/>
              <a:gd name="T28" fmla="*/ 409 w 562"/>
              <a:gd name="T29" fmla="*/ 213 h 512"/>
              <a:gd name="T30" fmla="*/ 302 w 562"/>
              <a:gd name="T31" fmla="*/ 213 h 512"/>
              <a:gd name="T32" fmla="*/ 403 w 562"/>
              <a:gd name="T33" fmla="*/ 149 h 512"/>
              <a:gd name="T34" fmla="*/ 414 w 562"/>
              <a:gd name="T35" fmla="*/ 138 h 512"/>
              <a:gd name="T36" fmla="*/ 403 w 562"/>
              <a:gd name="T37" fmla="*/ 128 h 512"/>
              <a:gd name="T38" fmla="*/ 280 w 562"/>
              <a:gd name="T39" fmla="*/ 213 h 512"/>
              <a:gd name="T40" fmla="*/ 246 w 562"/>
              <a:gd name="T41" fmla="*/ 213 h 512"/>
              <a:gd name="T42" fmla="*/ 232 w 562"/>
              <a:gd name="T43" fmla="*/ 196 h 512"/>
              <a:gd name="T44" fmla="*/ 224 w 562"/>
              <a:gd name="T45" fmla="*/ 192 h 512"/>
              <a:gd name="T46" fmla="*/ 153 w 562"/>
              <a:gd name="T47" fmla="*/ 192 h 512"/>
              <a:gd name="T48" fmla="*/ 142 w 562"/>
              <a:gd name="T49" fmla="*/ 202 h 512"/>
              <a:gd name="T50" fmla="*/ 142 w 562"/>
              <a:gd name="T51" fmla="*/ 384 h 512"/>
              <a:gd name="T52" fmla="*/ 153 w 562"/>
              <a:gd name="T53" fmla="*/ 394 h 512"/>
              <a:gd name="T54" fmla="*/ 409 w 562"/>
              <a:gd name="T55" fmla="*/ 394 h 512"/>
              <a:gd name="T56" fmla="*/ 419 w 562"/>
              <a:gd name="T57" fmla="*/ 384 h 512"/>
              <a:gd name="T58" fmla="*/ 419 w 562"/>
              <a:gd name="T59" fmla="*/ 224 h 512"/>
              <a:gd name="T60" fmla="*/ 409 w 562"/>
              <a:gd name="T61" fmla="*/ 213 h 512"/>
              <a:gd name="T62" fmla="*/ 398 w 562"/>
              <a:gd name="T63" fmla="*/ 373 h 512"/>
              <a:gd name="T64" fmla="*/ 163 w 562"/>
              <a:gd name="T65" fmla="*/ 373 h 512"/>
              <a:gd name="T66" fmla="*/ 163 w 562"/>
              <a:gd name="T67" fmla="*/ 213 h 512"/>
              <a:gd name="T68" fmla="*/ 219 w 562"/>
              <a:gd name="T69" fmla="*/ 213 h 512"/>
              <a:gd name="T70" fmla="*/ 233 w 562"/>
              <a:gd name="T71" fmla="*/ 230 h 512"/>
              <a:gd name="T72" fmla="*/ 241 w 562"/>
              <a:gd name="T73" fmla="*/ 234 h 512"/>
              <a:gd name="T74" fmla="*/ 275 w 562"/>
              <a:gd name="T75" fmla="*/ 234 h 512"/>
              <a:gd name="T76" fmla="*/ 270 w 562"/>
              <a:gd name="T77" fmla="*/ 283 h 512"/>
              <a:gd name="T78" fmla="*/ 246 w 562"/>
              <a:gd name="T79" fmla="*/ 259 h 512"/>
              <a:gd name="T80" fmla="*/ 230 w 562"/>
              <a:gd name="T81" fmla="*/ 259 h 512"/>
              <a:gd name="T82" fmla="*/ 230 w 562"/>
              <a:gd name="T83" fmla="*/ 274 h 512"/>
              <a:gd name="T84" fmla="*/ 273 w 562"/>
              <a:gd name="T85" fmla="*/ 317 h 512"/>
              <a:gd name="T86" fmla="*/ 281 w 562"/>
              <a:gd name="T87" fmla="*/ 320 h 512"/>
              <a:gd name="T88" fmla="*/ 288 w 562"/>
              <a:gd name="T89" fmla="*/ 317 h 512"/>
              <a:gd name="T90" fmla="*/ 331 w 562"/>
              <a:gd name="T91" fmla="*/ 274 h 512"/>
              <a:gd name="T92" fmla="*/ 331 w 562"/>
              <a:gd name="T93" fmla="*/ 259 h 512"/>
              <a:gd name="T94" fmla="*/ 316 w 562"/>
              <a:gd name="T95" fmla="*/ 259 h 512"/>
              <a:gd name="T96" fmla="*/ 291 w 562"/>
              <a:gd name="T97" fmla="*/ 283 h 512"/>
              <a:gd name="T98" fmla="*/ 296 w 562"/>
              <a:gd name="T99" fmla="*/ 234 h 512"/>
              <a:gd name="T100" fmla="*/ 398 w 562"/>
              <a:gd name="T101" fmla="*/ 234 h 512"/>
              <a:gd name="T102" fmla="*/ 398 w 562"/>
              <a:gd name="T10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62" h="512">
                <a:moveTo>
                  <a:pt x="281" y="21"/>
                </a:moveTo>
                <a:cubicBezTo>
                  <a:pt x="343" y="21"/>
                  <a:pt x="402" y="45"/>
                  <a:pt x="447" y="90"/>
                </a:cubicBezTo>
                <a:cubicBezTo>
                  <a:pt x="538" y="181"/>
                  <a:pt x="538" y="330"/>
                  <a:pt x="447" y="422"/>
                </a:cubicBezTo>
                <a:cubicBezTo>
                  <a:pt x="402" y="466"/>
                  <a:pt x="343" y="490"/>
                  <a:pt x="281" y="490"/>
                </a:cubicBezTo>
                <a:cubicBezTo>
                  <a:pt x="218" y="490"/>
                  <a:pt x="159" y="466"/>
                  <a:pt x="115" y="422"/>
                </a:cubicBezTo>
                <a:cubicBezTo>
                  <a:pt x="23" y="330"/>
                  <a:pt x="23" y="181"/>
                  <a:pt x="115" y="90"/>
                </a:cubicBezTo>
                <a:cubicBezTo>
                  <a:pt x="159" y="45"/>
                  <a:pt x="218" y="21"/>
                  <a:pt x="281" y="21"/>
                </a:cubicBezTo>
                <a:moveTo>
                  <a:pt x="281" y="0"/>
                </a:moveTo>
                <a:cubicBezTo>
                  <a:pt x="215" y="0"/>
                  <a:pt x="150" y="25"/>
                  <a:pt x="100" y="75"/>
                </a:cubicBezTo>
                <a:cubicBezTo>
                  <a:pt x="0" y="175"/>
                  <a:pt x="0" y="337"/>
                  <a:pt x="100" y="437"/>
                </a:cubicBezTo>
                <a:cubicBezTo>
                  <a:pt x="150" y="487"/>
                  <a:pt x="215" y="512"/>
                  <a:pt x="281" y="512"/>
                </a:cubicBezTo>
                <a:cubicBezTo>
                  <a:pt x="346" y="512"/>
                  <a:pt x="412" y="487"/>
                  <a:pt x="462" y="437"/>
                </a:cubicBezTo>
                <a:cubicBezTo>
                  <a:pt x="562" y="337"/>
                  <a:pt x="562" y="175"/>
                  <a:pt x="462" y="75"/>
                </a:cubicBezTo>
                <a:cubicBezTo>
                  <a:pt x="412" y="25"/>
                  <a:pt x="346" y="0"/>
                  <a:pt x="281" y="0"/>
                </a:cubicBezTo>
                <a:close/>
                <a:moveTo>
                  <a:pt x="409" y="213"/>
                </a:moveTo>
                <a:cubicBezTo>
                  <a:pt x="302" y="213"/>
                  <a:pt x="302" y="213"/>
                  <a:pt x="302" y="213"/>
                </a:cubicBezTo>
                <a:cubicBezTo>
                  <a:pt x="318" y="170"/>
                  <a:pt x="351" y="149"/>
                  <a:pt x="403" y="149"/>
                </a:cubicBezTo>
                <a:cubicBezTo>
                  <a:pt x="409" y="149"/>
                  <a:pt x="414" y="144"/>
                  <a:pt x="414" y="138"/>
                </a:cubicBezTo>
                <a:cubicBezTo>
                  <a:pt x="414" y="132"/>
                  <a:pt x="409" y="128"/>
                  <a:pt x="403" y="128"/>
                </a:cubicBezTo>
                <a:cubicBezTo>
                  <a:pt x="339" y="128"/>
                  <a:pt x="298" y="156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cubicBezTo>
                  <a:pt x="419" y="224"/>
                  <a:pt x="419" y="224"/>
                  <a:pt x="419" y="224"/>
                </a:cubicBezTo>
                <a:cubicBezTo>
                  <a:pt x="419" y="218"/>
                  <a:pt x="415" y="213"/>
                  <a:pt x="409" y="213"/>
                </a:cubicBezTo>
                <a:close/>
                <a:moveTo>
                  <a:pt x="398" y="373"/>
                </a:move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49"/>
                  <a:pt x="270" y="266"/>
                  <a:pt x="270" y="283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1" y="255"/>
                  <a:pt x="235" y="255"/>
                  <a:pt x="230" y="259"/>
                </a:cubicBezTo>
                <a:cubicBezTo>
                  <a:pt x="226" y="263"/>
                  <a:pt x="226" y="270"/>
                  <a:pt x="230" y="274"/>
                </a:cubicBezTo>
                <a:cubicBezTo>
                  <a:pt x="273" y="317"/>
                  <a:pt x="273" y="317"/>
                  <a:pt x="273" y="317"/>
                </a:cubicBezTo>
                <a:cubicBezTo>
                  <a:pt x="275" y="319"/>
                  <a:pt x="278" y="320"/>
                  <a:pt x="281" y="320"/>
                </a:cubicBezTo>
                <a:cubicBezTo>
                  <a:pt x="283" y="320"/>
                  <a:pt x="286" y="319"/>
                  <a:pt x="288" y="317"/>
                </a:cubicBezTo>
                <a:cubicBezTo>
                  <a:pt x="331" y="274"/>
                  <a:pt x="331" y="274"/>
                  <a:pt x="331" y="274"/>
                </a:cubicBezTo>
                <a:cubicBezTo>
                  <a:pt x="335" y="270"/>
                  <a:pt x="335" y="263"/>
                  <a:pt x="331" y="259"/>
                </a:cubicBezTo>
                <a:cubicBezTo>
                  <a:pt x="327" y="255"/>
                  <a:pt x="320" y="255"/>
                  <a:pt x="316" y="259"/>
                </a:cubicBezTo>
                <a:cubicBezTo>
                  <a:pt x="291" y="283"/>
                  <a:pt x="291" y="283"/>
                  <a:pt x="291" y="283"/>
                </a:cubicBezTo>
                <a:cubicBezTo>
                  <a:pt x="292" y="265"/>
                  <a:pt x="293" y="249"/>
                  <a:pt x="296" y="234"/>
                </a:cubicBezTo>
                <a:cubicBezTo>
                  <a:pt x="398" y="234"/>
                  <a:pt x="398" y="234"/>
                  <a:pt x="398" y="234"/>
                </a:cubicBezTo>
                <a:lnTo>
                  <a:pt x="398" y="37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5" name="Freeform 897"/>
          <p:cNvSpPr>
            <a:spLocks noChangeAspect="1" noEditPoints="1"/>
          </p:cNvSpPr>
          <p:nvPr/>
        </p:nvSpPr>
        <p:spPr bwMode="auto">
          <a:xfrm>
            <a:off x="2465525" y="5359519"/>
            <a:ext cx="404394" cy="367631"/>
          </a:xfrm>
          <a:custGeom>
            <a:avLst/>
            <a:gdLst>
              <a:gd name="T0" fmla="*/ 296 w 562"/>
              <a:gd name="T1" fmla="*/ 234 h 512"/>
              <a:gd name="T2" fmla="*/ 398 w 562"/>
              <a:gd name="T3" fmla="*/ 234 h 512"/>
              <a:gd name="T4" fmla="*/ 398 w 562"/>
              <a:gd name="T5" fmla="*/ 373 h 512"/>
              <a:gd name="T6" fmla="*/ 163 w 562"/>
              <a:gd name="T7" fmla="*/ 373 h 512"/>
              <a:gd name="T8" fmla="*/ 163 w 562"/>
              <a:gd name="T9" fmla="*/ 213 h 512"/>
              <a:gd name="T10" fmla="*/ 219 w 562"/>
              <a:gd name="T11" fmla="*/ 213 h 512"/>
              <a:gd name="T12" fmla="*/ 233 w 562"/>
              <a:gd name="T13" fmla="*/ 230 h 512"/>
              <a:gd name="T14" fmla="*/ 241 w 562"/>
              <a:gd name="T15" fmla="*/ 234 h 512"/>
              <a:gd name="T16" fmla="*/ 275 w 562"/>
              <a:gd name="T17" fmla="*/ 234 h 512"/>
              <a:gd name="T18" fmla="*/ 270 w 562"/>
              <a:gd name="T19" fmla="*/ 288 h 512"/>
              <a:gd name="T20" fmla="*/ 281 w 562"/>
              <a:gd name="T21" fmla="*/ 298 h 512"/>
              <a:gd name="T22" fmla="*/ 291 w 562"/>
              <a:gd name="T23" fmla="*/ 288 h 512"/>
              <a:gd name="T24" fmla="*/ 296 w 562"/>
              <a:gd name="T25" fmla="*/ 234 h 512"/>
              <a:gd name="T26" fmla="*/ 462 w 562"/>
              <a:gd name="T27" fmla="*/ 437 h 512"/>
              <a:gd name="T28" fmla="*/ 281 w 562"/>
              <a:gd name="T29" fmla="*/ 512 h 512"/>
              <a:gd name="T30" fmla="*/ 100 w 562"/>
              <a:gd name="T31" fmla="*/ 437 h 512"/>
              <a:gd name="T32" fmla="*/ 100 w 562"/>
              <a:gd name="T33" fmla="*/ 75 h 512"/>
              <a:gd name="T34" fmla="*/ 281 w 562"/>
              <a:gd name="T35" fmla="*/ 0 h 512"/>
              <a:gd name="T36" fmla="*/ 462 w 562"/>
              <a:gd name="T37" fmla="*/ 75 h 512"/>
              <a:gd name="T38" fmla="*/ 462 w 562"/>
              <a:gd name="T39" fmla="*/ 437 h 512"/>
              <a:gd name="T40" fmla="*/ 419 w 562"/>
              <a:gd name="T41" fmla="*/ 224 h 512"/>
              <a:gd name="T42" fmla="*/ 409 w 562"/>
              <a:gd name="T43" fmla="*/ 213 h 512"/>
              <a:gd name="T44" fmla="*/ 302 w 562"/>
              <a:gd name="T45" fmla="*/ 213 h 512"/>
              <a:gd name="T46" fmla="*/ 386 w 562"/>
              <a:gd name="T47" fmla="*/ 150 h 512"/>
              <a:gd name="T48" fmla="*/ 367 w 562"/>
              <a:gd name="T49" fmla="*/ 174 h 512"/>
              <a:gd name="T50" fmla="*/ 369 w 562"/>
              <a:gd name="T51" fmla="*/ 189 h 512"/>
              <a:gd name="T52" fmla="*/ 376 w 562"/>
              <a:gd name="T53" fmla="*/ 191 h 512"/>
              <a:gd name="T54" fmla="*/ 384 w 562"/>
              <a:gd name="T55" fmla="*/ 187 h 512"/>
              <a:gd name="T56" fmla="*/ 417 w 562"/>
              <a:gd name="T57" fmla="*/ 145 h 512"/>
              <a:gd name="T58" fmla="*/ 415 w 562"/>
              <a:gd name="T59" fmla="*/ 130 h 512"/>
              <a:gd name="T60" fmla="*/ 373 w 562"/>
              <a:gd name="T61" fmla="*/ 97 h 512"/>
              <a:gd name="T62" fmla="*/ 358 w 562"/>
              <a:gd name="T63" fmla="*/ 99 h 512"/>
              <a:gd name="T64" fmla="*/ 360 w 562"/>
              <a:gd name="T65" fmla="*/ 114 h 512"/>
              <a:gd name="T66" fmla="*/ 380 w 562"/>
              <a:gd name="T67" fmla="*/ 129 h 512"/>
              <a:gd name="T68" fmla="*/ 280 w 562"/>
              <a:gd name="T69" fmla="*/ 213 h 512"/>
              <a:gd name="T70" fmla="*/ 246 w 562"/>
              <a:gd name="T71" fmla="*/ 213 h 512"/>
              <a:gd name="T72" fmla="*/ 232 w 562"/>
              <a:gd name="T73" fmla="*/ 196 h 512"/>
              <a:gd name="T74" fmla="*/ 224 w 562"/>
              <a:gd name="T75" fmla="*/ 192 h 512"/>
              <a:gd name="T76" fmla="*/ 153 w 562"/>
              <a:gd name="T77" fmla="*/ 192 h 512"/>
              <a:gd name="T78" fmla="*/ 142 w 562"/>
              <a:gd name="T79" fmla="*/ 202 h 512"/>
              <a:gd name="T80" fmla="*/ 142 w 562"/>
              <a:gd name="T81" fmla="*/ 384 h 512"/>
              <a:gd name="T82" fmla="*/ 153 w 562"/>
              <a:gd name="T83" fmla="*/ 394 h 512"/>
              <a:gd name="T84" fmla="*/ 409 w 562"/>
              <a:gd name="T85" fmla="*/ 394 h 512"/>
              <a:gd name="T86" fmla="*/ 419 w 562"/>
              <a:gd name="T87" fmla="*/ 384 h 512"/>
              <a:gd name="T88" fmla="*/ 419 w 562"/>
              <a:gd name="T8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2" h="512">
                <a:moveTo>
                  <a:pt x="296" y="234"/>
                </a:moveTo>
                <a:cubicBezTo>
                  <a:pt x="398" y="234"/>
                  <a:pt x="398" y="234"/>
                  <a:pt x="398" y="234"/>
                </a:cubicBezTo>
                <a:cubicBezTo>
                  <a:pt x="398" y="373"/>
                  <a:pt x="398" y="373"/>
                  <a:pt x="398" y="373"/>
                </a:cubicBez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50"/>
                  <a:pt x="270" y="268"/>
                  <a:pt x="270" y="288"/>
                </a:cubicBezTo>
                <a:cubicBezTo>
                  <a:pt x="270" y="294"/>
                  <a:pt x="275" y="298"/>
                  <a:pt x="281" y="298"/>
                </a:cubicBezTo>
                <a:cubicBezTo>
                  <a:pt x="287" y="298"/>
                  <a:pt x="291" y="294"/>
                  <a:pt x="291" y="288"/>
                </a:cubicBezTo>
                <a:cubicBezTo>
                  <a:pt x="291" y="268"/>
                  <a:pt x="293" y="250"/>
                  <a:pt x="296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419" y="224"/>
                </a:moveTo>
                <a:cubicBezTo>
                  <a:pt x="419" y="218"/>
                  <a:pt x="415" y="213"/>
                  <a:pt x="409" y="213"/>
                </a:cubicBezTo>
                <a:cubicBezTo>
                  <a:pt x="302" y="213"/>
                  <a:pt x="302" y="213"/>
                  <a:pt x="302" y="213"/>
                </a:cubicBezTo>
                <a:cubicBezTo>
                  <a:pt x="316" y="174"/>
                  <a:pt x="344" y="154"/>
                  <a:pt x="386" y="150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4" y="178"/>
                  <a:pt x="365" y="185"/>
                  <a:pt x="369" y="189"/>
                </a:cubicBezTo>
                <a:cubicBezTo>
                  <a:pt x="371" y="190"/>
                  <a:pt x="373" y="191"/>
                  <a:pt x="376" y="191"/>
                </a:cubicBezTo>
                <a:cubicBezTo>
                  <a:pt x="379" y="191"/>
                  <a:pt x="382" y="190"/>
                  <a:pt x="384" y="187"/>
                </a:cubicBezTo>
                <a:cubicBezTo>
                  <a:pt x="417" y="145"/>
                  <a:pt x="417" y="145"/>
                  <a:pt x="417" y="145"/>
                </a:cubicBezTo>
                <a:cubicBezTo>
                  <a:pt x="421" y="140"/>
                  <a:pt x="420" y="134"/>
                  <a:pt x="415" y="130"/>
                </a:cubicBezTo>
                <a:cubicBezTo>
                  <a:pt x="373" y="97"/>
                  <a:pt x="373" y="97"/>
                  <a:pt x="373" y="97"/>
                </a:cubicBezTo>
                <a:cubicBezTo>
                  <a:pt x="369" y="93"/>
                  <a:pt x="362" y="94"/>
                  <a:pt x="358" y="99"/>
                </a:cubicBezTo>
                <a:cubicBezTo>
                  <a:pt x="355" y="104"/>
                  <a:pt x="355" y="110"/>
                  <a:pt x="360" y="114"/>
                </a:cubicBezTo>
                <a:cubicBezTo>
                  <a:pt x="380" y="129"/>
                  <a:pt x="380" y="129"/>
                  <a:pt x="380" y="129"/>
                </a:cubicBezTo>
                <a:cubicBezTo>
                  <a:pt x="329" y="136"/>
                  <a:pt x="295" y="164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lnTo>
                  <a:pt x="419" y="22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6" name="Freeform 901"/>
          <p:cNvSpPr>
            <a:spLocks noChangeAspect="1" noEditPoints="1"/>
          </p:cNvSpPr>
          <p:nvPr/>
        </p:nvSpPr>
        <p:spPr bwMode="auto">
          <a:xfrm>
            <a:off x="2992269" y="5359519"/>
            <a:ext cx="404394" cy="367631"/>
          </a:xfrm>
          <a:custGeom>
            <a:avLst/>
            <a:gdLst>
              <a:gd name="T0" fmla="*/ 281 w 562"/>
              <a:gd name="T1" fmla="*/ 21 h 512"/>
              <a:gd name="T2" fmla="*/ 447 w 562"/>
              <a:gd name="T3" fmla="*/ 90 h 512"/>
              <a:gd name="T4" fmla="*/ 447 w 562"/>
              <a:gd name="T5" fmla="*/ 422 h 512"/>
              <a:gd name="T6" fmla="*/ 281 w 562"/>
              <a:gd name="T7" fmla="*/ 490 h 512"/>
              <a:gd name="T8" fmla="*/ 115 w 562"/>
              <a:gd name="T9" fmla="*/ 422 h 512"/>
              <a:gd name="T10" fmla="*/ 115 w 562"/>
              <a:gd name="T11" fmla="*/ 90 h 512"/>
              <a:gd name="T12" fmla="*/ 281 w 562"/>
              <a:gd name="T13" fmla="*/ 21 h 512"/>
              <a:gd name="T14" fmla="*/ 281 w 562"/>
              <a:gd name="T15" fmla="*/ 0 h 512"/>
              <a:gd name="T16" fmla="*/ 100 w 562"/>
              <a:gd name="T17" fmla="*/ 75 h 512"/>
              <a:gd name="T18" fmla="*/ 100 w 562"/>
              <a:gd name="T19" fmla="*/ 437 h 512"/>
              <a:gd name="T20" fmla="*/ 281 w 562"/>
              <a:gd name="T21" fmla="*/ 512 h 512"/>
              <a:gd name="T22" fmla="*/ 462 w 562"/>
              <a:gd name="T23" fmla="*/ 437 h 512"/>
              <a:gd name="T24" fmla="*/ 462 w 562"/>
              <a:gd name="T25" fmla="*/ 75 h 512"/>
              <a:gd name="T26" fmla="*/ 281 w 562"/>
              <a:gd name="T27" fmla="*/ 0 h 512"/>
              <a:gd name="T28" fmla="*/ 409 w 562"/>
              <a:gd name="T29" fmla="*/ 213 h 512"/>
              <a:gd name="T30" fmla="*/ 302 w 562"/>
              <a:gd name="T31" fmla="*/ 213 h 512"/>
              <a:gd name="T32" fmla="*/ 386 w 562"/>
              <a:gd name="T33" fmla="*/ 150 h 512"/>
              <a:gd name="T34" fmla="*/ 367 w 562"/>
              <a:gd name="T35" fmla="*/ 174 h 512"/>
              <a:gd name="T36" fmla="*/ 369 w 562"/>
              <a:gd name="T37" fmla="*/ 189 h 512"/>
              <a:gd name="T38" fmla="*/ 376 w 562"/>
              <a:gd name="T39" fmla="*/ 191 h 512"/>
              <a:gd name="T40" fmla="*/ 384 w 562"/>
              <a:gd name="T41" fmla="*/ 187 h 512"/>
              <a:gd name="T42" fmla="*/ 417 w 562"/>
              <a:gd name="T43" fmla="*/ 145 h 512"/>
              <a:gd name="T44" fmla="*/ 415 w 562"/>
              <a:gd name="T45" fmla="*/ 130 h 512"/>
              <a:gd name="T46" fmla="*/ 373 w 562"/>
              <a:gd name="T47" fmla="*/ 97 h 512"/>
              <a:gd name="T48" fmla="*/ 358 w 562"/>
              <a:gd name="T49" fmla="*/ 99 h 512"/>
              <a:gd name="T50" fmla="*/ 360 w 562"/>
              <a:gd name="T51" fmla="*/ 114 h 512"/>
              <a:gd name="T52" fmla="*/ 380 w 562"/>
              <a:gd name="T53" fmla="*/ 129 h 512"/>
              <a:gd name="T54" fmla="*/ 280 w 562"/>
              <a:gd name="T55" fmla="*/ 213 h 512"/>
              <a:gd name="T56" fmla="*/ 246 w 562"/>
              <a:gd name="T57" fmla="*/ 213 h 512"/>
              <a:gd name="T58" fmla="*/ 232 w 562"/>
              <a:gd name="T59" fmla="*/ 196 h 512"/>
              <a:gd name="T60" fmla="*/ 224 w 562"/>
              <a:gd name="T61" fmla="*/ 192 h 512"/>
              <a:gd name="T62" fmla="*/ 153 w 562"/>
              <a:gd name="T63" fmla="*/ 192 h 512"/>
              <a:gd name="T64" fmla="*/ 142 w 562"/>
              <a:gd name="T65" fmla="*/ 202 h 512"/>
              <a:gd name="T66" fmla="*/ 142 w 562"/>
              <a:gd name="T67" fmla="*/ 384 h 512"/>
              <a:gd name="T68" fmla="*/ 153 w 562"/>
              <a:gd name="T69" fmla="*/ 394 h 512"/>
              <a:gd name="T70" fmla="*/ 409 w 562"/>
              <a:gd name="T71" fmla="*/ 394 h 512"/>
              <a:gd name="T72" fmla="*/ 419 w 562"/>
              <a:gd name="T73" fmla="*/ 384 h 512"/>
              <a:gd name="T74" fmla="*/ 419 w 562"/>
              <a:gd name="T75" fmla="*/ 224 h 512"/>
              <a:gd name="T76" fmla="*/ 409 w 562"/>
              <a:gd name="T77" fmla="*/ 213 h 512"/>
              <a:gd name="T78" fmla="*/ 398 w 562"/>
              <a:gd name="T79" fmla="*/ 373 h 512"/>
              <a:gd name="T80" fmla="*/ 163 w 562"/>
              <a:gd name="T81" fmla="*/ 373 h 512"/>
              <a:gd name="T82" fmla="*/ 163 w 562"/>
              <a:gd name="T83" fmla="*/ 213 h 512"/>
              <a:gd name="T84" fmla="*/ 219 w 562"/>
              <a:gd name="T85" fmla="*/ 213 h 512"/>
              <a:gd name="T86" fmla="*/ 233 w 562"/>
              <a:gd name="T87" fmla="*/ 230 h 512"/>
              <a:gd name="T88" fmla="*/ 241 w 562"/>
              <a:gd name="T89" fmla="*/ 234 h 512"/>
              <a:gd name="T90" fmla="*/ 275 w 562"/>
              <a:gd name="T91" fmla="*/ 234 h 512"/>
              <a:gd name="T92" fmla="*/ 270 w 562"/>
              <a:gd name="T93" fmla="*/ 288 h 512"/>
              <a:gd name="T94" fmla="*/ 281 w 562"/>
              <a:gd name="T95" fmla="*/ 298 h 512"/>
              <a:gd name="T96" fmla="*/ 291 w 562"/>
              <a:gd name="T97" fmla="*/ 288 h 512"/>
              <a:gd name="T98" fmla="*/ 296 w 562"/>
              <a:gd name="T99" fmla="*/ 234 h 512"/>
              <a:gd name="T100" fmla="*/ 398 w 562"/>
              <a:gd name="T101" fmla="*/ 234 h 512"/>
              <a:gd name="T102" fmla="*/ 398 w 562"/>
              <a:gd name="T10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62" h="512">
                <a:moveTo>
                  <a:pt x="281" y="21"/>
                </a:moveTo>
                <a:cubicBezTo>
                  <a:pt x="343" y="21"/>
                  <a:pt x="402" y="45"/>
                  <a:pt x="447" y="90"/>
                </a:cubicBezTo>
                <a:cubicBezTo>
                  <a:pt x="538" y="181"/>
                  <a:pt x="538" y="330"/>
                  <a:pt x="447" y="422"/>
                </a:cubicBezTo>
                <a:cubicBezTo>
                  <a:pt x="402" y="466"/>
                  <a:pt x="343" y="490"/>
                  <a:pt x="281" y="490"/>
                </a:cubicBezTo>
                <a:cubicBezTo>
                  <a:pt x="218" y="490"/>
                  <a:pt x="159" y="466"/>
                  <a:pt x="115" y="422"/>
                </a:cubicBezTo>
                <a:cubicBezTo>
                  <a:pt x="23" y="330"/>
                  <a:pt x="23" y="181"/>
                  <a:pt x="115" y="90"/>
                </a:cubicBezTo>
                <a:cubicBezTo>
                  <a:pt x="159" y="45"/>
                  <a:pt x="218" y="21"/>
                  <a:pt x="281" y="21"/>
                </a:cubicBezTo>
                <a:moveTo>
                  <a:pt x="281" y="0"/>
                </a:moveTo>
                <a:cubicBezTo>
                  <a:pt x="215" y="0"/>
                  <a:pt x="150" y="25"/>
                  <a:pt x="100" y="75"/>
                </a:cubicBezTo>
                <a:cubicBezTo>
                  <a:pt x="0" y="175"/>
                  <a:pt x="0" y="337"/>
                  <a:pt x="100" y="437"/>
                </a:cubicBezTo>
                <a:cubicBezTo>
                  <a:pt x="150" y="487"/>
                  <a:pt x="215" y="512"/>
                  <a:pt x="281" y="512"/>
                </a:cubicBezTo>
                <a:cubicBezTo>
                  <a:pt x="346" y="512"/>
                  <a:pt x="412" y="487"/>
                  <a:pt x="462" y="437"/>
                </a:cubicBezTo>
                <a:cubicBezTo>
                  <a:pt x="562" y="337"/>
                  <a:pt x="562" y="175"/>
                  <a:pt x="462" y="75"/>
                </a:cubicBezTo>
                <a:cubicBezTo>
                  <a:pt x="412" y="25"/>
                  <a:pt x="346" y="0"/>
                  <a:pt x="281" y="0"/>
                </a:cubicBezTo>
                <a:close/>
                <a:moveTo>
                  <a:pt x="409" y="213"/>
                </a:moveTo>
                <a:cubicBezTo>
                  <a:pt x="302" y="213"/>
                  <a:pt x="302" y="213"/>
                  <a:pt x="302" y="213"/>
                </a:cubicBezTo>
                <a:cubicBezTo>
                  <a:pt x="316" y="175"/>
                  <a:pt x="344" y="154"/>
                  <a:pt x="386" y="150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4" y="178"/>
                  <a:pt x="365" y="185"/>
                  <a:pt x="369" y="189"/>
                </a:cubicBezTo>
                <a:cubicBezTo>
                  <a:pt x="371" y="190"/>
                  <a:pt x="373" y="191"/>
                  <a:pt x="376" y="191"/>
                </a:cubicBezTo>
                <a:cubicBezTo>
                  <a:pt x="379" y="191"/>
                  <a:pt x="382" y="190"/>
                  <a:pt x="384" y="187"/>
                </a:cubicBezTo>
                <a:cubicBezTo>
                  <a:pt x="417" y="145"/>
                  <a:pt x="417" y="145"/>
                  <a:pt x="417" y="145"/>
                </a:cubicBezTo>
                <a:cubicBezTo>
                  <a:pt x="421" y="140"/>
                  <a:pt x="420" y="134"/>
                  <a:pt x="415" y="130"/>
                </a:cubicBezTo>
                <a:cubicBezTo>
                  <a:pt x="373" y="97"/>
                  <a:pt x="373" y="97"/>
                  <a:pt x="373" y="97"/>
                </a:cubicBezTo>
                <a:cubicBezTo>
                  <a:pt x="369" y="93"/>
                  <a:pt x="362" y="94"/>
                  <a:pt x="358" y="99"/>
                </a:cubicBezTo>
                <a:cubicBezTo>
                  <a:pt x="355" y="104"/>
                  <a:pt x="355" y="110"/>
                  <a:pt x="360" y="114"/>
                </a:cubicBezTo>
                <a:cubicBezTo>
                  <a:pt x="380" y="129"/>
                  <a:pt x="380" y="129"/>
                  <a:pt x="380" y="129"/>
                </a:cubicBezTo>
                <a:cubicBezTo>
                  <a:pt x="329" y="136"/>
                  <a:pt x="295" y="164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cubicBezTo>
                  <a:pt x="419" y="224"/>
                  <a:pt x="419" y="224"/>
                  <a:pt x="419" y="224"/>
                </a:cubicBezTo>
                <a:cubicBezTo>
                  <a:pt x="419" y="218"/>
                  <a:pt x="415" y="213"/>
                  <a:pt x="409" y="213"/>
                </a:cubicBezTo>
                <a:close/>
                <a:moveTo>
                  <a:pt x="398" y="373"/>
                </a:move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50"/>
                  <a:pt x="270" y="268"/>
                  <a:pt x="270" y="288"/>
                </a:cubicBezTo>
                <a:cubicBezTo>
                  <a:pt x="270" y="294"/>
                  <a:pt x="275" y="298"/>
                  <a:pt x="281" y="298"/>
                </a:cubicBezTo>
                <a:cubicBezTo>
                  <a:pt x="287" y="298"/>
                  <a:pt x="291" y="294"/>
                  <a:pt x="291" y="288"/>
                </a:cubicBezTo>
                <a:cubicBezTo>
                  <a:pt x="291" y="268"/>
                  <a:pt x="293" y="250"/>
                  <a:pt x="296" y="234"/>
                </a:cubicBezTo>
                <a:cubicBezTo>
                  <a:pt x="398" y="234"/>
                  <a:pt x="398" y="234"/>
                  <a:pt x="398" y="234"/>
                </a:cubicBezTo>
                <a:lnTo>
                  <a:pt x="398" y="37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7" name="TextBox 716"/>
          <p:cNvSpPr txBox="1"/>
          <p:nvPr/>
        </p:nvSpPr>
        <p:spPr>
          <a:xfrm>
            <a:off x="3482231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lders</a:t>
            </a:r>
          </a:p>
        </p:txBody>
      </p:sp>
      <p:sp>
        <p:nvSpPr>
          <p:cNvPr id="718" name="Freeform 914"/>
          <p:cNvSpPr>
            <a:spLocks noChangeAspect="1" noEditPoints="1"/>
          </p:cNvSpPr>
          <p:nvPr/>
        </p:nvSpPr>
        <p:spPr bwMode="auto">
          <a:xfrm>
            <a:off x="3519013" y="5359519"/>
            <a:ext cx="368712" cy="367631"/>
          </a:xfrm>
          <a:custGeom>
            <a:avLst/>
            <a:gdLst>
              <a:gd name="T0" fmla="*/ 192 w 512"/>
              <a:gd name="T1" fmla="*/ 224 h 512"/>
              <a:gd name="T2" fmla="*/ 352 w 512"/>
              <a:gd name="T3" fmla="*/ 224 h 512"/>
              <a:gd name="T4" fmla="*/ 352 w 512"/>
              <a:gd name="T5" fmla="*/ 352 h 512"/>
              <a:gd name="T6" fmla="*/ 117 w 512"/>
              <a:gd name="T7" fmla="*/ 352 h 512"/>
              <a:gd name="T8" fmla="*/ 117 w 512"/>
              <a:gd name="T9" fmla="*/ 202 h 512"/>
              <a:gd name="T10" fmla="*/ 174 w 512"/>
              <a:gd name="T11" fmla="*/ 202 h 512"/>
              <a:gd name="T12" fmla="*/ 182 w 512"/>
              <a:gd name="T13" fmla="*/ 218 h 512"/>
              <a:gd name="T14" fmla="*/ 192 w 512"/>
              <a:gd name="T15" fmla="*/ 224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73 w 512"/>
              <a:gd name="T27" fmla="*/ 213 h 512"/>
              <a:gd name="T28" fmla="*/ 362 w 512"/>
              <a:gd name="T29" fmla="*/ 202 h 512"/>
              <a:gd name="T30" fmla="*/ 198 w 512"/>
              <a:gd name="T31" fmla="*/ 202 h 512"/>
              <a:gd name="T32" fmla="*/ 191 w 512"/>
              <a:gd name="T33" fmla="*/ 187 h 512"/>
              <a:gd name="T34" fmla="*/ 181 w 512"/>
              <a:gd name="T35" fmla="*/ 181 h 512"/>
              <a:gd name="T36" fmla="*/ 106 w 512"/>
              <a:gd name="T37" fmla="*/ 181 h 512"/>
              <a:gd name="T38" fmla="*/ 96 w 512"/>
              <a:gd name="T39" fmla="*/ 192 h 512"/>
              <a:gd name="T40" fmla="*/ 96 w 512"/>
              <a:gd name="T41" fmla="*/ 362 h 512"/>
              <a:gd name="T42" fmla="*/ 106 w 512"/>
              <a:gd name="T43" fmla="*/ 373 h 512"/>
              <a:gd name="T44" fmla="*/ 362 w 512"/>
              <a:gd name="T45" fmla="*/ 373 h 512"/>
              <a:gd name="T46" fmla="*/ 373 w 512"/>
              <a:gd name="T47" fmla="*/ 362 h 512"/>
              <a:gd name="T48" fmla="*/ 373 w 512"/>
              <a:gd name="T49" fmla="*/ 213 h 512"/>
              <a:gd name="T50" fmla="*/ 416 w 512"/>
              <a:gd name="T51" fmla="*/ 170 h 512"/>
              <a:gd name="T52" fmla="*/ 405 w 512"/>
              <a:gd name="T53" fmla="*/ 160 h 512"/>
              <a:gd name="T54" fmla="*/ 241 w 512"/>
              <a:gd name="T55" fmla="*/ 160 h 512"/>
              <a:gd name="T56" fmla="*/ 233 w 512"/>
              <a:gd name="T57" fmla="*/ 144 h 512"/>
              <a:gd name="T58" fmla="*/ 224 w 512"/>
              <a:gd name="T59" fmla="*/ 138 h 512"/>
              <a:gd name="T60" fmla="*/ 149 w 512"/>
              <a:gd name="T61" fmla="*/ 138 h 512"/>
              <a:gd name="T62" fmla="*/ 138 w 512"/>
              <a:gd name="T63" fmla="*/ 149 h 512"/>
              <a:gd name="T64" fmla="*/ 149 w 512"/>
              <a:gd name="T65" fmla="*/ 160 h 512"/>
              <a:gd name="T66" fmla="*/ 217 w 512"/>
              <a:gd name="T67" fmla="*/ 160 h 512"/>
              <a:gd name="T68" fmla="*/ 225 w 512"/>
              <a:gd name="T69" fmla="*/ 175 h 512"/>
              <a:gd name="T70" fmla="*/ 234 w 512"/>
              <a:gd name="T71" fmla="*/ 181 h 512"/>
              <a:gd name="T72" fmla="*/ 394 w 512"/>
              <a:gd name="T73" fmla="*/ 181 h 512"/>
              <a:gd name="T74" fmla="*/ 394 w 512"/>
              <a:gd name="T75" fmla="*/ 320 h 512"/>
              <a:gd name="T76" fmla="*/ 405 w 512"/>
              <a:gd name="T77" fmla="*/ 330 h 512"/>
              <a:gd name="T78" fmla="*/ 416 w 512"/>
              <a:gd name="T79" fmla="*/ 320 h 512"/>
              <a:gd name="T80" fmla="*/ 416 w 512"/>
              <a:gd name="T81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192" y="224"/>
                </a:moveTo>
                <a:cubicBezTo>
                  <a:pt x="352" y="224"/>
                  <a:pt x="352" y="224"/>
                  <a:pt x="352" y="224"/>
                </a:cubicBezTo>
                <a:cubicBezTo>
                  <a:pt x="352" y="352"/>
                  <a:pt x="352" y="352"/>
                  <a:pt x="352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202"/>
                  <a:pt x="117" y="202"/>
                  <a:pt x="117" y="202"/>
                </a:cubicBezTo>
                <a:cubicBezTo>
                  <a:pt x="174" y="202"/>
                  <a:pt x="174" y="202"/>
                  <a:pt x="174" y="202"/>
                </a:cubicBezTo>
                <a:cubicBezTo>
                  <a:pt x="182" y="218"/>
                  <a:pt x="182" y="218"/>
                  <a:pt x="182" y="218"/>
                </a:cubicBezTo>
                <a:cubicBezTo>
                  <a:pt x="184" y="221"/>
                  <a:pt x="188" y="224"/>
                  <a:pt x="192" y="22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13"/>
                </a:moveTo>
                <a:cubicBezTo>
                  <a:pt x="373" y="207"/>
                  <a:pt x="368" y="202"/>
                  <a:pt x="362" y="202"/>
                </a:cubicBezTo>
                <a:cubicBezTo>
                  <a:pt x="198" y="202"/>
                  <a:pt x="198" y="202"/>
                  <a:pt x="198" y="202"/>
                </a:cubicBezTo>
                <a:cubicBezTo>
                  <a:pt x="191" y="187"/>
                  <a:pt x="191" y="187"/>
                  <a:pt x="191" y="187"/>
                </a:cubicBezTo>
                <a:cubicBezTo>
                  <a:pt x="189" y="183"/>
                  <a:pt x="185" y="181"/>
                  <a:pt x="181" y="181"/>
                </a:cubicBezTo>
                <a:cubicBezTo>
                  <a:pt x="106" y="181"/>
                  <a:pt x="106" y="181"/>
                  <a:pt x="106" y="181"/>
                </a:cubicBezTo>
                <a:cubicBezTo>
                  <a:pt x="100" y="181"/>
                  <a:pt x="96" y="186"/>
                  <a:pt x="96" y="192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8" y="373"/>
                  <a:pt x="373" y="368"/>
                  <a:pt x="373" y="362"/>
                </a:cubicBezTo>
                <a:lnTo>
                  <a:pt x="373" y="213"/>
                </a:lnTo>
                <a:close/>
                <a:moveTo>
                  <a:pt x="416" y="170"/>
                </a:moveTo>
                <a:cubicBezTo>
                  <a:pt x="416" y="164"/>
                  <a:pt x="411" y="160"/>
                  <a:pt x="405" y="160"/>
                </a:cubicBezTo>
                <a:cubicBezTo>
                  <a:pt x="241" y="160"/>
                  <a:pt x="241" y="160"/>
                  <a:pt x="241" y="160"/>
                </a:cubicBezTo>
                <a:cubicBezTo>
                  <a:pt x="233" y="144"/>
                  <a:pt x="233" y="144"/>
                  <a:pt x="233" y="144"/>
                </a:cubicBezTo>
                <a:cubicBezTo>
                  <a:pt x="231" y="141"/>
                  <a:pt x="228" y="138"/>
                  <a:pt x="224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155"/>
                  <a:pt x="143" y="160"/>
                  <a:pt x="149" y="160"/>
                </a:cubicBezTo>
                <a:cubicBezTo>
                  <a:pt x="217" y="160"/>
                  <a:pt x="217" y="160"/>
                  <a:pt x="217" y="160"/>
                </a:cubicBezTo>
                <a:cubicBezTo>
                  <a:pt x="225" y="175"/>
                  <a:pt x="225" y="175"/>
                  <a:pt x="225" y="175"/>
                </a:cubicBezTo>
                <a:cubicBezTo>
                  <a:pt x="227" y="179"/>
                  <a:pt x="230" y="181"/>
                  <a:pt x="234" y="181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394" y="320"/>
                  <a:pt x="394" y="320"/>
                  <a:pt x="394" y="320"/>
                </a:cubicBezTo>
                <a:cubicBezTo>
                  <a:pt x="394" y="326"/>
                  <a:pt x="399" y="330"/>
                  <a:pt x="405" y="330"/>
                </a:cubicBezTo>
                <a:cubicBezTo>
                  <a:pt x="411" y="330"/>
                  <a:pt x="416" y="326"/>
                  <a:pt x="416" y="320"/>
                </a:cubicBezTo>
                <a:lnTo>
                  <a:pt x="416" y="17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19" name="Group 917"/>
          <p:cNvGrpSpPr>
            <a:grpSpLocks noChangeAspect="1"/>
          </p:cNvGrpSpPr>
          <p:nvPr/>
        </p:nvGrpSpPr>
        <p:grpSpPr bwMode="auto">
          <a:xfrm>
            <a:off x="4010075" y="5359519"/>
            <a:ext cx="367631" cy="367631"/>
            <a:chOff x="2725" y="3572"/>
            <a:chExt cx="340" cy="340"/>
          </a:xfrm>
          <a:solidFill>
            <a:schemeClr val="accent4"/>
          </a:solidFill>
        </p:grpSpPr>
        <p:sp>
          <p:nvSpPr>
            <p:cNvPr id="720" name="Freeform 918"/>
            <p:cNvSpPr>
              <a:spLocks noEditPoints="1"/>
            </p:cNvSpPr>
            <p:nvPr/>
          </p:nvSpPr>
          <p:spPr bwMode="auto">
            <a:xfrm>
              <a:off x="2789" y="3664"/>
              <a:ext cx="212" cy="156"/>
            </a:xfrm>
            <a:custGeom>
              <a:avLst/>
              <a:gdLst>
                <a:gd name="T0" fmla="*/ 266 w 320"/>
                <a:gd name="T1" fmla="*/ 235 h 235"/>
                <a:gd name="T2" fmla="*/ 10 w 320"/>
                <a:gd name="T3" fmla="*/ 235 h 235"/>
                <a:gd name="T4" fmla="*/ 0 w 320"/>
                <a:gd name="T5" fmla="*/ 224 h 235"/>
                <a:gd name="T6" fmla="*/ 0 w 320"/>
                <a:gd name="T7" fmla="*/ 54 h 235"/>
                <a:gd name="T8" fmla="*/ 10 w 320"/>
                <a:gd name="T9" fmla="*/ 43 h 235"/>
                <a:gd name="T10" fmla="*/ 85 w 320"/>
                <a:gd name="T11" fmla="*/ 43 h 235"/>
                <a:gd name="T12" fmla="*/ 95 w 320"/>
                <a:gd name="T13" fmla="*/ 49 h 235"/>
                <a:gd name="T14" fmla="*/ 102 w 320"/>
                <a:gd name="T15" fmla="*/ 64 h 235"/>
                <a:gd name="T16" fmla="*/ 266 w 320"/>
                <a:gd name="T17" fmla="*/ 64 h 235"/>
                <a:gd name="T18" fmla="*/ 277 w 320"/>
                <a:gd name="T19" fmla="*/ 75 h 235"/>
                <a:gd name="T20" fmla="*/ 277 w 320"/>
                <a:gd name="T21" fmla="*/ 224 h 235"/>
                <a:gd name="T22" fmla="*/ 266 w 320"/>
                <a:gd name="T23" fmla="*/ 235 h 235"/>
                <a:gd name="T24" fmla="*/ 21 w 320"/>
                <a:gd name="T25" fmla="*/ 214 h 235"/>
                <a:gd name="T26" fmla="*/ 256 w 320"/>
                <a:gd name="T27" fmla="*/ 214 h 235"/>
                <a:gd name="T28" fmla="*/ 256 w 320"/>
                <a:gd name="T29" fmla="*/ 86 h 235"/>
                <a:gd name="T30" fmla="*/ 96 w 320"/>
                <a:gd name="T31" fmla="*/ 86 h 235"/>
                <a:gd name="T32" fmla="*/ 86 w 320"/>
                <a:gd name="T33" fmla="*/ 80 h 235"/>
                <a:gd name="T34" fmla="*/ 78 w 320"/>
                <a:gd name="T35" fmla="*/ 64 h 235"/>
                <a:gd name="T36" fmla="*/ 21 w 320"/>
                <a:gd name="T37" fmla="*/ 64 h 235"/>
                <a:gd name="T38" fmla="*/ 21 w 320"/>
                <a:gd name="T39" fmla="*/ 214 h 235"/>
                <a:gd name="T40" fmla="*/ 320 w 320"/>
                <a:gd name="T41" fmla="*/ 182 h 235"/>
                <a:gd name="T42" fmla="*/ 320 w 320"/>
                <a:gd name="T43" fmla="*/ 32 h 235"/>
                <a:gd name="T44" fmla="*/ 309 w 320"/>
                <a:gd name="T45" fmla="*/ 22 h 235"/>
                <a:gd name="T46" fmla="*/ 145 w 320"/>
                <a:gd name="T47" fmla="*/ 22 h 235"/>
                <a:gd name="T48" fmla="*/ 137 w 320"/>
                <a:gd name="T49" fmla="*/ 6 h 235"/>
                <a:gd name="T50" fmla="*/ 128 w 320"/>
                <a:gd name="T51" fmla="*/ 0 h 235"/>
                <a:gd name="T52" fmla="*/ 53 w 320"/>
                <a:gd name="T53" fmla="*/ 0 h 235"/>
                <a:gd name="T54" fmla="*/ 42 w 320"/>
                <a:gd name="T55" fmla="*/ 11 h 235"/>
                <a:gd name="T56" fmla="*/ 53 w 320"/>
                <a:gd name="T57" fmla="*/ 22 h 235"/>
                <a:gd name="T58" fmla="*/ 121 w 320"/>
                <a:gd name="T59" fmla="*/ 22 h 235"/>
                <a:gd name="T60" fmla="*/ 129 w 320"/>
                <a:gd name="T61" fmla="*/ 37 h 235"/>
                <a:gd name="T62" fmla="*/ 138 w 320"/>
                <a:gd name="T63" fmla="*/ 43 h 235"/>
                <a:gd name="T64" fmla="*/ 298 w 320"/>
                <a:gd name="T65" fmla="*/ 43 h 235"/>
                <a:gd name="T66" fmla="*/ 298 w 320"/>
                <a:gd name="T67" fmla="*/ 182 h 235"/>
                <a:gd name="T68" fmla="*/ 309 w 320"/>
                <a:gd name="T69" fmla="*/ 192 h 235"/>
                <a:gd name="T70" fmla="*/ 320 w 320"/>
                <a:gd name="T71" fmla="*/ 18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0" h="235">
                  <a:moveTo>
                    <a:pt x="266" y="235"/>
                  </a:moveTo>
                  <a:cubicBezTo>
                    <a:pt x="10" y="235"/>
                    <a:pt x="10" y="235"/>
                    <a:pt x="10" y="235"/>
                  </a:cubicBezTo>
                  <a:cubicBezTo>
                    <a:pt x="4" y="235"/>
                    <a:pt x="0" y="230"/>
                    <a:pt x="0" y="22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8"/>
                    <a:pt x="4" y="43"/>
                    <a:pt x="10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9" y="43"/>
                    <a:pt x="93" y="45"/>
                    <a:pt x="95" y="49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72" y="64"/>
                    <a:pt x="277" y="69"/>
                    <a:pt x="277" y="75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72" y="235"/>
                    <a:pt x="266" y="235"/>
                  </a:cubicBezTo>
                  <a:close/>
                  <a:moveTo>
                    <a:pt x="21" y="214"/>
                  </a:moveTo>
                  <a:cubicBezTo>
                    <a:pt x="256" y="214"/>
                    <a:pt x="256" y="214"/>
                    <a:pt x="256" y="214"/>
                  </a:cubicBezTo>
                  <a:cubicBezTo>
                    <a:pt x="256" y="86"/>
                    <a:pt x="256" y="86"/>
                    <a:pt x="256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2" y="86"/>
                    <a:pt x="88" y="83"/>
                    <a:pt x="86" y="80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21" y="64"/>
                    <a:pt x="21" y="64"/>
                    <a:pt x="21" y="64"/>
                  </a:cubicBezTo>
                  <a:lnTo>
                    <a:pt x="21" y="214"/>
                  </a:lnTo>
                  <a:close/>
                  <a:moveTo>
                    <a:pt x="320" y="182"/>
                  </a:moveTo>
                  <a:cubicBezTo>
                    <a:pt x="320" y="32"/>
                    <a:pt x="320" y="32"/>
                    <a:pt x="320" y="32"/>
                  </a:cubicBezTo>
                  <a:cubicBezTo>
                    <a:pt x="320" y="26"/>
                    <a:pt x="315" y="22"/>
                    <a:pt x="309" y="22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7" y="6"/>
                    <a:pt x="137" y="6"/>
                    <a:pt x="137" y="6"/>
                  </a:cubicBezTo>
                  <a:cubicBezTo>
                    <a:pt x="135" y="3"/>
                    <a:pt x="132" y="0"/>
                    <a:pt x="12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7" y="0"/>
                    <a:pt x="42" y="5"/>
                    <a:pt x="42" y="11"/>
                  </a:cubicBezTo>
                  <a:cubicBezTo>
                    <a:pt x="42" y="17"/>
                    <a:pt x="47" y="22"/>
                    <a:pt x="53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31" y="41"/>
                    <a:pt x="134" y="43"/>
                    <a:pt x="138" y="43"/>
                  </a:cubicBezTo>
                  <a:cubicBezTo>
                    <a:pt x="298" y="43"/>
                    <a:pt x="298" y="43"/>
                    <a:pt x="298" y="43"/>
                  </a:cubicBezTo>
                  <a:cubicBezTo>
                    <a:pt x="298" y="182"/>
                    <a:pt x="298" y="182"/>
                    <a:pt x="298" y="182"/>
                  </a:cubicBezTo>
                  <a:cubicBezTo>
                    <a:pt x="298" y="188"/>
                    <a:pt x="303" y="192"/>
                    <a:pt x="309" y="192"/>
                  </a:cubicBezTo>
                  <a:cubicBezTo>
                    <a:pt x="315" y="192"/>
                    <a:pt x="320" y="188"/>
                    <a:pt x="320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1" name="Freeform 919"/>
            <p:cNvSpPr>
              <a:spLocks noEditPoints="1"/>
            </p:cNvSpPr>
            <p:nvPr/>
          </p:nvSpPr>
          <p:spPr bwMode="auto">
            <a:xfrm>
              <a:off x="2725" y="35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22" name="TextBox 721"/>
          <p:cNvSpPr txBox="1"/>
          <p:nvPr/>
        </p:nvSpPr>
        <p:spPr>
          <a:xfrm>
            <a:off x="9464229" y="335903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rame</a:t>
            </a:r>
          </a:p>
        </p:txBody>
      </p:sp>
      <p:sp>
        <p:nvSpPr>
          <p:cNvPr id="723" name="TextBox 722"/>
          <p:cNvSpPr txBox="1"/>
          <p:nvPr/>
        </p:nvSpPr>
        <p:spPr>
          <a:xfrm>
            <a:off x="8465919" y="336275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ull frame</a:t>
            </a:r>
          </a:p>
        </p:txBody>
      </p:sp>
      <p:sp>
        <p:nvSpPr>
          <p:cNvPr id="724" name="Freeform 951"/>
          <p:cNvSpPr>
            <a:spLocks noChangeAspect="1" noEditPoints="1"/>
          </p:cNvSpPr>
          <p:nvPr/>
        </p:nvSpPr>
        <p:spPr bwMode="auto">
          <a:xfrm>
            <a:off x="8396582" y="2905078"/>
            <a:ext cx="368712" cy="367631"/>
          </a:xfrm>
          <a:custGeom>
            <a:avLst/>
            <a:gdLst>
              <a:gd name="T0" fmla="*/ 192 w 512"/>
              <a:gd name="T1" fmla="*/ 192 h 512"/>
              <a:gd name="T2" fmla="*/ 320 w 512"/>
              <a:gd name="T3" fmla="*/ 192 h 512"/>
              <a:gd name="T4" fmla="*/ 320 w 512"/>
              <a:gd name="T5" fmla="*/ 320 h 512"/>
              <a:gd name="T6" fmla="*/ 192 w 512"/>
              <a:gd name="T7" fmla="*/ 320 h 512"/>
              <a:gd name="T8" fmla="*/ 192 w 512"/>
              <a:gd name="T9" fmla="*/ 192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117 w 512"/>
              <a:gd name="T21" fmla="*/ 202 h 512"/>
              <a:gd name="T22" fmla="*/ 128 w 512"/>
              <a:gd name="T23" fmla="*/ 213 h 512"/>
              <a:gd name="T24" fmla="*/ 138 w 512"/>
              <a:gd name="T25" fmla="*/ 202 h 512"/>
              <a:gd name="T26" fmla="*/ 138 w 512"/>
              <a:gd name="T27" fmla="*/ 138 h 512"/>
              <a:gd name="T28" fmla="*/ 202 w 512"/>
              <a:gd name="T29" fmla="*/ 138 h 512"/>
              <a:gd name="T30" fmla="*/ 213 w 512"/>
              <a:gd name="T31" fmla="*/ 128 h 512"/>
              <a:gd name="T32" fmla="*/ 202 w 512"/>
              <a:gd name="T33" fmla="*/ 117 h 512"/>
              <a:gd name="T34" fmla="*/ 128 w 512"/>
              <a:gd name="T35" fmla="*/ 117 h 512"/>
              <a:gd name="T36" fmla="*/ 117 w 512"/>
              <a:gd name="T37" fmla="*/ 128 h 512"/>
              <a:gd name="T38" fmla="*/ 117 w 512"/>
              <a:gd name="T39" fmla="*/ 202 h 512"/>
              <a:gd name="T40" fmla="*/ 213 w 512"/>
              <a:gd name="T41" fmla="*/ 384 h 512"/>
              <a:gd name="T42" fmla="*/ 202 w 512"/>
              <a:gd name="T43" fmla="*/ 373 h 512"/>
              <a:gd name="T44" fmla="*/ 138 w 512"/>
              <a:gd name="T45" fmla="*/ 373 h 512"/>
              <a:gd name="T46" fmla="*/ 138 w 512"/>
              <a:gd name="T47" fmla="*/ 309 h 512"/>
              <a:gd name="T48" fmla="*/ 128 w 512"/>
              <a:gd name="T49" fmla="*/ 298 h 512"/>
              <a:gd name="T50" fmla="*/ 117 w 512"/>
              <a:gd name="T51" fmla="*/ 309 h 512"/>
              <a:gd name="T52" fmla="*/ 117 w 512"/>
              <a:gd name="T53" fmla="*/ 384 h 512"/>
              <a:gd name="T54" fmla="*/ 128 w 512"/>
              <a:gd name="T55" fmla="*/ 394 h 512"/>
              <a:gd name="T56" fmla="*/ 202 w 512"/>
              <a:gd name="T57" fmla="*/ 394 h 512"/>
              <a:gd name="T58" fmla="*/ 213 w 512"/>
              <a:gd name="T59" fmla="*/ 384 h 512"/>
              <a:gd name="T60" fmla="*/ 330 w 512"/>
              <a:gd name="T61" fmla="*/ 341 h 512"/>
              <a:gd name="T62" fmla="*/ 341 w 512"/>
              <a:gd name="T63" fmla="*/ 330 h 512"/>
              <a:gd name="T64" fmla="*/ 341 w 512"/>
              <a:gd name="T65" fmla="*/ 181 h 512"/>
              <a:gd name="T66" fmla="*/ 330 w 512"/>
              <a:gd name="T67" fmla="*/ 170 h 512"/>
              <a:gd name="T68" fmla="*/ 181 w 512"/>
              <a:gd name="T69" fmla="*/ 170 h 512"/>
              <a:gd name="T70" fmla="*/ 170 w 512"/>
              <a:gd name="T71" fmla="*/ 181 h 512"/>
              <a:gd name="T72" fmla="*/ 170 w 512"/>
              <a:gd name="T73" fmla="*/ 330 h 512"/>
              <a:gd name="T74" fmla="*/ 181 w 512"/>
              <a:gd name="T75" fmla="*/ 341 h 512"/>
              <a:gd name="T76" fmla="*/ 330 w 512"/>
              <a:gd name="T77" fmla="*/ 341 h 512"/>
              <a:gd name="T78" fmla="*/ 394 w 512"/>
              <a:gd name="T79" fmla="*/ 309 h 512"/>
              <a:gd name="T80" fmla="*/ 384 w 512"/>
              <a:gd name="T81" fmla="*/ 298 h 512"/>
              <a:gd name="T82" fmla="*/ 373 w 512"/>
              <a:gd name="T83" fmla="*/ 309 h 512"/>
              <a:gd name="T84" fmla="*/ 373 w 512"/>
              <a:gd name="T85" fmla="*/ 373 h 512"/>
              <a:gd name="T86" fmla="*/ 309 w 512"/>
              <a:gd name="T87" fmla="*/ 373 h 512"/>
              <a:gd name="T88" fmla="*/ 298 w 512"/>
              <a:gd name="T89" fmla="*/ 384 h 512"/>
              <a:gd name="T90" fmla="*/ 309 w 512"/>
              <a:gd name="T91" fmla="*/ 394 h 512"/>
              <a:gd name="T92" fmla="*/ 384 w 512"/>
              <a:gd name="T93" fmla="*/ 394 h 512"/>
              <a:gd name="T94" fmla="*/ 394 w 512"/>
              <a:gd name="T95" fmla="*/ 384 h 512"/>
              <a:gd name="T96" fmla="*/ 394 w 512"/>
              <a:gd name="T97" fmla="*/ 309 h 512"/>
              <a:gd name="T98" fmla="*/ 394 w 512"/>
              <a:gd name="T99" fmla="*/ 128 h 512"/>
              <a:gd name="T100" fmla="*/ 384 w 512"/>
              <a:gd name="T101" fmla="*/ 117 h 512"/>
              <a:gd name="T102" fmla="*/ 309 w 512"/>
              <a:gd name="T103" fmla="*/ 117 h 512"/>
              <a:gd name="T104" fmla="*/ 298 w 512"/>
              <a:gd name="T105" fmla="*/ 128 h 512"/>
              <a:gd name="T106" fmla="*/ 309 w 512"/>
              <a:gd name="T107" fmla="*/ 138 h 512"/>
              <a:gd name="T108" fmla="*/ 373 w 512"/>
              <a:gd name="T109" fmla="*/ 138 h 512"/>
              <a:gd name="T110" fmla="*/ 373 w 512"/>
              <a:gd name="T111" fmla="*/ 202 h 512"/>
              <a:gd name="T112" fmla="*/ 384 w 512"/>
              <a:gd name="T113" fmla="*/ 213 h 512"/>
              <a:gd name="T114" fmla="*/ 394 w 512"/>
              <a:gd name="T115" fmla="*/ 202 h 512"/>
              <a:gd name="T116" fmla="*/ 394 w 512"/>
              <a:gd name="T11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92" y="192"/>
                </a:moveTo>
                <a:cubicBezTo>
                  <a:pt x="320" y="192"/>
                  <a:pt x="320" y="192"/>
                  <a:pt x="320" y="192"/>
                </a:cubicBezTo>
                <a:cubicBezTo>
                  <a:pt x="320" y="320"/>
                  <a:pt x="320" y="320"/>
                  <a:pt x="320" y="320"/>
                </a:cubicBezTo>
                <a:cubicBezTo>
                  <a:pt x="192" y="320"/>
                  <a:pt x="192" y="320"/>
                  <a:pt x="192" y="320"/>
                </a:cubicBezTo>
                <a:lnTo>
                  <a:pt x="192" y="19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17" y="202"/>
                </a:moveTo>
                <a:cubicBezTo>
                  <a:pt x="117" y="208"/>
                  <a:pt x="122" y="213"/>
                  <a:pt x="128" y="213"/>
                </a:cubicBezTo>
                <a:cubicBezTo>
                  <a:pt x="134" y="213"/>
                  <a:pt x="138" y="208"/>
                  <a:pt x="138" y="202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8" y="138"/>
                  <a:pt x="213" y="134"/>
                  <a:pt x="213" y="128"/>
                </a:cubicBezTo>
                <a:cubicBezTo>
                  <a:pt x="213" y="122"/>
                  <a:pt x="208" y="117"/>
                  <a:pt x="202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lnTo>
                  <a:pt x="117" y="202"/>
                </a:lnTo>
                <a:close/>
                <a:moveTo>
                  <a:pt x="213" y="384"/>
                </a:moveTo>
                <a:cubicBezTo>
                  <a:pt x="213" y="378"/>
                  <a:pt x="208" y="373"/>
                  <a:pt x="202" y="373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03"/>
                  <a:pt x="134" y="298"/>
                  <a:pt x="128" y="298"/>
                </a:cubicBezTo>
                <a:cubicBezTo>
                  <a:pt x="122" y="298"/>
                  <a:pt x="117" y="303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08" y="394"/>
                  <a:pt x="213" y="390"/>
                  <a:pt x="213" y="384"/>
                </a:cubicBezTo>
                <a:close/>
                <a:moveTo>
                  <a:pt x="330" y="341"/>
                </a:moveTo>
                <a:cubicBezTo>
                  <a:pt x="336" y="341"/>
                  <a:pt x="341" y="336"/>
                  <a:pt x="341" y="330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41" y="175"/>
                  <a:pt x="336" y="170"/>
                  <a:pt x="330" y="170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75" y="170"/>
                  <a:pt x="170" y="175"/>
                  <a:pt x="170" y="181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70" y="336"/>
                  <a:pt x="175" y="341"/>
                  <a:pt x="181" y="341"/>
                </a:cubicBezTo>
                <a:lnTo>
                  <a:pt x="330" y="341"/>
                </a:lnTo>
                <a:close/>
                <a:moveTo>
                  <a:pt x="394" y="309"/>
                </a:moveTo>
                <a:cubicBezTo>
                  <a:pt x="394" y="303"/>
                  <a:pt x="390" y="298"/>
                  <a:pt x="384" y="298"/>
                </a:cubicBezTo>
                <a:cubicBezTo>
                  <a:pt x="378" y="298"/>
                  <a:pt x="373" y="303"/>
                  <a:pt x="373" y="309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309"/>
                </a:ln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208"/>
                  <a:pt x="378" y="213"/>
                  <a:pt x="384" y="213"/>
                </a:cubicBezTo>
                <a:cubicBezTo>
                  <a:pt x="390" y="213"/>
                  <a:pt x="394" y="208"/>
                  <a:pt x="394" y="202"/>
                </a:cubicBezTo>
                <a:lnTo>
                  <a:pt x="394" y="12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5" name="Freeform 955"/>
          <p:cNvSpPr>
            <a:spLocks noChangeAspect="1" noEditPoints="1"/>
          </p:cNvSpPr>
          <p:nvPr/>
        </p:nvSpPr>
        <p:spPr bwMode="auto">
          <a:xfrm>
            <a:off x="8894019" y="2905078"/>
            <a:ext cx="367631" cy="367631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138 w 512"/>
              <a:gd name="T11" fmla="*/ 202 h 512"/>
              <a:gd name="T12" fmla="*/ 202 w 512"/>
              <a:gd name="T13" fmla="*/ 138 h 512"/>
              <a:gd name="T14" fmla="*/ 202 w 512"/>
              <a:gd name="T15" fmla="*/ 117 h 512"/>
              <a:gd name="T16" fmla="*/ 117 w 512"/>
              <a:gd name="T17" fmla="*/ 128 h 512"/>
              <a:gd name="T18" fmla="*/ 128 w 512"/>
              <a:gd name="T19" fmla="*/ 213 h 512"/>
              <a:gd name="T20" fmla="*/ 138 w 512"/>
              <a:gd name="T21" fmla="*/ 373 h 512"/>
              <a:gd name="T22" fmla="*/ 128 w 512"/>
              <a:gd name="T23" fmla="*/ 298 h 512"/>
              <a:gd name="T24" fmla="*/ 117 w 512"/>
              <a:gd name="T25" fmla="*/ 384 h 512"/>
              <a:gd name="T26" fmla="*/ 202 w 512"/>
              <a:gd name="T27" fmla="*/ 394 h 512"/>
              <a:gd name="T28" fmla="*/ 202 w 512"/>
              <a:gd name="T29" fmla="*/ 373 h 512"/>
              <a:gd name="T30" fmla="*/ 373 w 512"/>
              <a:gd name="T31" fmla="*/ 309 h 512"/>
              <a:gd name="T32" fmla="*/ 309 w 512"/>
              <a:gd name="T33" fmla="*/ 373 h 512"/>
              <a:gd name="T34" fmla="*/ 309 w 512"/>
              <a:gd name="T35" fmla="*/ 394 h 512"/>
              <a:gd name="T36" fmla="*/ 394 w 512"/>
              <a:gd name="T37" fmla="*/ 384 h 512"/>
              <a:gd name="T38" fmla="*/ 384 w 512"/>
              <a:gd name="T39" fmla="*/ 298 h 512"/>
              <a:gd name="T40" fmla="*/ 309 w 512"/>
              <a:gd name="T41" fmla="*/ 117 h 512"/>
              <a:gd name="T42" fmla="*/ 309 w 512"/>
              <a:gd name="T43" fmla="*/ 138 h 512"/>
              <a:gd name="T44" fmla="*/ 373 w 512"/>
              <a:gd name="T45" fmla="*/ 202 h 512"/>
              <a:gd name="T46" fmla="*/ 394 w 512"/>
              <a:gd name="T47" fmla="*/ 202 h 512"/>
              <a:gd name="T48" fmla="*/ 384 w 512"/>
              <a:gd name="T49" fmla="*/ 117 h 512"/>
              <a:gd name="T50" fmla="*/ 170 w 512"/>
              <a:gd name="T51" fmla="*/ 330 h 512"/>
              <a:gd name="T52" fmla="*/ 330 w 512"/>
              <a:gd name="T53" fmla="*/ 341 h 512"/>
              <a:gd name="T54" fmla="*/ 341 w 512"/>
              <a:gd name="T55" fmla="*/ 181 h 512"/>
              <a:gd name="T56" fmla="*/ 181 w 512"/>
              <a:gd name="T57" fmla="*/ 170 h 512"/>
              <a:gd name="T58" fmla="*/ 192 w 512"/>
              <a:gd name="T59" fmla="*/ 192 h 512"/>
              <a:gd name="T60" fmla="*/ 320 w 512"/>
              <a:gd name="T61" fmla="*/ 320 h 512"/>
              <a:gd name="T62" fmla="*/ 192 w 512"/>
              <a:gd name="T63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28" y="213"/>
                </a:moveTo>
                <a:cubicBezTo>
                  <a:pt x="134" y="213"/>
                  <a:pt x="138" y="208"/>
                  <a:pt x="138" y="202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8" y="138"/>
                  <a:pt x="213" y="134"/>
                  <a:pt x="213" y="128"/>
                </a:cubicBezTo>
                <a:cubicBezTo>
                  <a:pt x="213" y="122"/>
                  <a:pt x="208" y="117"/>
                  <a:pt x="202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02"/>
                  <a:pt x="117" y="202"/>
                  <a:pt x="117" y="202"/>
                </a:cubicBezTo>
                <a:cubicBezTo>
                  <a:pt x="117" y="208"/>
                  <a:pt x="122" y="213"/>
                  <a:pt x="128" y="213"/>
                </a:cubicBezTo>
                <a:close/>
                <a:moveTo>
                  <a:pt x="202" y="373"/>
                </a:moveTo>
                <a:cubicBezTo>
                  <a:pt x="138" y="373"/>
                  <a:pt x="138" y="373"/>
                  <a:pt x="138" y="373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03"/>
                  <a:pt x="134" y="298"/>
                  <a:pt x="128" y="298"/>
                </a:cubicBezTo>
                <a:cubicBezTo>
                  <a:pt x="122" y="298"/>
                  <a:pt x="117" y="303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08" y="394"/>
                  <a:pt x="213" y="390"/>
                  <a:pt x="213" y="384"/>
                </a:cubicBezTo>
                <a:cubicBezTo>
                  <a:pt x="213" y="378"/>
                  <a:pt x="208" y="373"/>
                  <a:pt x="202" y="373"/>
                </a:cubicBezTo>
                <a:close/>
                <a:moveTo>
                  <a:pt x="384" y="298"/>
                </a:moveTo>
                <a:cubicBezTo>
                  <a:pt x="378" y="298"/>
                  <a:pt x="373" y="303"/>
                  <a:pt x="373" y="309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303"/>
                  <a:pt x="390" y="298"/>
                  <a:pt x="384" y="298"/>
                </a:cubicBezTo>
                <a:close/>
                <a:moveTo>
                  <a:pt x="384" y="117"/>
                </a:moveTo>
                <a:cubicBezTo>
                  <a:pt x="309" y="117"/>
                  <a:pt x="309" y="117"/>
                  <a:pt x="309" y="117"/>
                </a:cubicBez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208"/>
                  <a:pt x="378" y="213"/>
                  <a:pt x="384" y="213"/>
                </a:cubicBezTo>
                <a:cubicBezTo>
                  <a:pt x="390" y="213"/>
                  <a:pt x="394" y="208"/>
                  <a:pt x="394" y="202"/>
                </a:cubicBezTo>
                <a:cubicBezTo>
                  <a:pt x="394" y="128"/>
                  <a:pt x="394" y="128"/>
                  <a:pt x="394" y="128"/>
                </a:cubicBezTo>
                <a:cubicBezTo>
                  <a:pt x="394" y="122"/>
                  <a:pt x="390" y="117"/>
                  <a:pt x="384" y="117"/>
                </a:cubicBezTo>
                <a:close/>
                <a:moveTo>
                  <a:pt x="170" y="181"/>
                </a:moveTo>
                <a:cubicBezTo>
                  <a:pt x="170" y="330"/>
                  <a:pt x="170" y="330"/>
                  <a:pt x="170" y="330"/>
                </a:cubicBezTo>
                <a:cubicBezTo>
                  <a:pt x="170" y="336"/>
                  <a:pt x="175" y="341"/>
                  <a:pt x="181" y="341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6" y="341"/>
                  <a:pt x="341" y="336"/>
                  <a:pt x="341" y="330"/>
                </a:cubicBezTo>
                <a:cubicBezTo>
                  <a:pt x="341" y="181"/>
                  <a:pt x="341" y="181"/>
                  <a:pt x="341" y="181"/>
                </a:cubicBezTo>
                <a:cubicBezTo>
                  <a:pt x="341" y="175"/>
                  <a:pt x="336" y="170"/>
                  <a:pt x="330" y="170"/>
                </a:cubicBezTo>
                <a:cubicBezTo>
                  <a:pt x="181" y="170"/>
                  <a:pt x="181" y="170"/>
                  <a:pt x="181" y="170"/>
                </a:cubicBezTo>
                <a:cubicBezTo>
                  <a:pt x="175" y="170"/>
                  <a:pt x="170" y="175"/>
                  <a:pt x="170" y="181"/>
                </a:cubicBezTo>
                <a:close/>
                <a:moveTo>
                  <a:pt x="192" y="192"/>
                </a:moveTo>
                <a:cubicBezTo>
                  <a:pt x="320" y="192"/>
                  <a:pt x="320" y="192"/>
                  <a:pt x="320" y="192"/>
                </a:cubicBezTo>
                <a:cubicBezTo>
                  <a:pt x="320" y="320"/>
                  <a:pt x="320" y="320"/>
                  <a:pt x="320" y="320"/>
                </a:cubicBezTo>
                <a:cubicBezTo>
                  <a:pt x="192" y="320"/>
                  <a:pt x="192" y="320"/>
                  <a:pt x="192" y="320"/>
                </a:cubicBezTo>
                <a:lnTo>
                  <a:pt x="192" y="1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6" name="Freeform 959"/>
          <p:cNvSpPr>
            <a:spLocks noChangeAspect="1" noEditPoints="1"/>
          </p:cNvSpPr>
          <p:nvPr/>
        </p:nvSpPr>
        <p:spPr bwMode="auto">
          <a:xfrm>
            <a:off x="9390375" y="2905077"/>
            <a:ext cx="367631" cy="368713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02 w 512"/>
              <a:gd name="T11" fmla="*/ 394 h 512"/>
              <a:gd name="T12" fmla="*/ 128 w 512"/>
              <a:gd name="T13" fmla="*/ 394 h 512"/>
              <a:gd name="T14" fmla="*/ 117 w 512"/>
              <a:gd name="T15" fmla="*/ 384 h 512"/>
              <a:gd name="T16" fmla="*/ 117 w 512"/>
              <a:gd name="T17" fmla="*/ 309 h 512"/>
              <a:gd name="T18" fmla="*/ 128 w 512"/>
              <a:gd name="T19" fmla="*/ 298 h 512"/>
              <a:gd name="T20" fmla="*/ 138 w 512"/>
              <a:gd name="T21" fmla="*/ 309 h 512"/>
              <a:gd name="T22" fmla="*/ 138 w 512"/>
              <a:gd name="T23" fmla="*/ 373 h 512"/>
              <a:gd name="T24" fmla="*/ 202 w 512"/>
              <a:gd name="T25" fmla="*/ 373 h 512"/>
              <a:gd name="T26" fmla="*/ 213 w 512"/>
              <a:gd name="T27" fmla="*/ 384 h 512"/>
              <a:gd name="T28" fmla="*/ 202 w 512"/>
              <a:gd name="T29" fmla="*/ 394 h 512"/>
              <a:gd name="T30" fmla="*/ 202 w 512"/>
              <a:gd name="T31" fmla="*/ 138 h 512"/>
              <a:gd name="T32" fmla="*/ 138 w 512"/>
              <a:gd name="T33" fmla="*/ 138 h 512"/>
              <a:gd name="T34" fmla="*/ 138 w 512"/>
              <a:gd name="T35" fmla="*/ 202 h 512"/>
              <a:gd name="T36" fmla="*/ 128 w 512"/>
              <a:gd name="T37" fmla="*/ 213 h 512"/>
              <a:gd name="T38" fmla="*/ 117 w 512"/>
              <a:gd name="T39" fmla="*/ 202 h 512"/>
              <a:gd name="T40" fmla="*/ 117 w 512"/>
              <a:gd name="T41" fmla="*/ 128 h 512"/>
              <a:gd name="T42" fmla="*/ 128 w 512"/>
              <a:gd name="T43" fmla="*/ 117 h 512"/>
              <a:gd name="T44" fmla="*/ 202 w 512"/>
              <a:gd name="T45" fmla="*/ 117 h 512"/>
              <a:gd name="T46" fmla="*/ 213 w 512"/>
              <a:gd name="T47" fmla="*/ 128 h 512"/>
              <a:gd name="T48" fmla="*/ 202 w 512"/>
              <a:gd name="T49" fmla="*/ 138 h 512"/>
              <a:gd name="T50" fmla="*/ 394 w 512"/>
              <a:gd name="T51" fmla="*/ 384 h 512"/>
              <a:gd name="T52" fmla="*/ 384 w 512"/>
              <a:gd name="T53" fmla="*/ 394 h 512"/>
              <a:gd name="T54" fmla="*/ 309 w 512"/>
              <a:gd name="T55" fmla="*/ 394 h 512"/>
              <a:gd name="T56" fmla="*/ 298 w 512"/>
              <a:gd name="T57" fmla="*/ 384 h 512"/>
              <a:gd name="T58" fmla="*/ 309 w 512"/>
              <a:gd name="T59" fmla="*/ 373 h 512"/>
              <a:gd name="T60" fmla="*/ 373 w 512"/>
              <a:gd name="T61" fmla="*/ 373 h 512"/>
              <a:gd name="T62" fmla="*/ 373 w 512"/>
              <a:gd name="T63" fmla="*/ 309 h 512"/>
              <a:gd name="T64" fmla="*/ 384 w 512"/>
              <a:gd name="T65" fmla="*/ 298 h 512"/>
              <a:gd name="T66" fmla="*/ 394 w 512"/>
              <a:gd name="T67" fmla="*/ 309 h 512"/>
              <a:gd name="T68" fmla="*/ 394 w 512"/>
              <a:gd name="T69" fmla="*/ 384 h 512"/>
              <a:gd name="T70" fmla="*/ 394 w 512"/>
              <a:gd name="T71" fmla="*/ 202 h 512"/>
              <a:gd name="T72" fmla="*/ 384 w 512"/>
              <a:gd name="T73" fmla="*/ 213 h 512"/>
              <a:gd name="T74" fmla="*/ 373 w 512"/>
              <a:gd name="T75" fmla="*/ 202 h 512"/>
              <a:gd name="T76" fmla="*/ 373 w 512"/>
              <a:gd name="T77" fmla="*/ 138 h 512"/>
              <a:gd name="T78" fmla="*/ 309 w 512"/>
              <a:gd name="T79" fmla="*/ 138 h 512"/>
              <a:gd name="T80" fmla="*/ 298 w 512"/>
              <a:gd name="T81" fmla="*/ 128 h 512"/>
              <a:gd name="T82" fmla="*/ 309 w 512"/>
              <a:gd name="T83" fmla="*/ 117 h 512"/>
              <a:gd name="T84" fmla="*/ 384 w 512"/>
              <a:gd name="T85" fmla="*/ 117 h 512"/>
              <a:gd name="T86" fmla="*/ 394 w 512"/>
              <a:gd name="T87" fmla="*/ 128 h 512"/>
              <a:gd name="T88" fmla="*/ 394 w 512"/>
              <a:gd name="T89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2" y="394"/>
                </a:move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309"/>
                  <a:pt x="117" y="309"/>
                  <a:pt x="117" y="309"/>
                </a:cubicBezTo>
                <a:cubicBezTo>
                  <a:pt x="117" y="303"/>
                  <a:pt x="122" y="298"/>
                  <a:pt x="128" y="298"/>
                </a:cubicBezTo>
                <a:cubicBezTo>
                  <a:pt x="134" y="298"/>
                  <a:pt x="138" y="303"/>
                  <a:pt x="138" y="309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202" y="373"/>
                  <a:pt x="202" y="373"/>
                  <a:pt x="202" y="373"/>
                </a:cubicBezTo>
                <a:cubicBezTo>
                  <a:pt x="208" y="373"/>
                  <a:pt x="213" y="378"/>
                  <a:pt x="213" y="384"/>
                </a:cubicBezTo>
                <a:cubicBezTo>
                  <a:pt x="213" y="390"/>
                  <a:pt x="208" y="394"/>
                  <a:pt x="202" y="394"/>
                </a:cubicBezTo>
                <a:close/>
                <a:moveTo>
                  <a:pt x="202" y="138"/>
                </a:moveTo>
                <a:cubicBezTo>
                  <a:pt x="138" y="138"/>
                  <a:pt x="138" y="138"/>
                  <a:pt x="138" y="138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208"/>
                  <a:pt x="134" y="213"/>
                  <a:pt x="128" y="213"/>
                </a:cubicBezTo>
                <a:cubicBezTo>
                  <a:pt x="122" y="213"/>
                  <a:pt x="117" y="208"/>
                  <a:pt x="117" y="202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208" y="117"/>
                  <a:pt x="213" y="122"/>
                  <a:pt x="213" y="128"/>
                </a:cubicBezTo>
                <a:cubicBezTo>
                  <a:pt x="213" y="134"/>
                  <a:pt x="208" y="138"/>
                  <a:pt x="202" y="138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303" y="394"/>
                  <a:pt x="298" y="390"/>
                  <a:pt x="298" y="384"/>
                </a:cubicBezTo>
                <a:cubicBezTo>
                  <a:pt x="298" y="378"/>
                  <a:pt x="303" y="373"/>
                  <a:pt x="309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373" y="303"/>
                  <a:pt x="378" y="298"/>
                  <a:pt x="384" y="298"/>
                </a:cubicBezTo>
                <a:cubicBezTo>
                  <a:pt x="390" y="298"/>
                  <a:pt x="394" y="303"/>
                  <a:pt x="394" y="309"/>
                </a:cubicBezTo>
                <a:lnTo>
                  <a:pt x="394" y="384"/>
                </a:lnTo>
                <a:close/>
                <a:moveTo>
                  <a:pt x="394" y="202"/>
                </a:moveTo>
                <a:cubicBezTo>
                  <a:pt x="394" y="208"/>
                  <a:pt x="390" y="213"/>
                  <a:pt x="384" y="213"/>
                </a:cubicBezTo>
                <a:cubicBezTo>
                  <a:pt x="378" y="213"/>
                  <a:pt x="373" y="208"/>
                  <a:pt x="373" y="202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03" y="138"/>
                  <a:pt x="298" y="134"/>
                  <a:pt x="298" y="128"/>
                </a:cubicBezTo>
                <a:cubicBezTo>
                  <a:pt x="298" y="122"/>
                  <a:pt x="303" y="117"/>
                  <a:pt x="309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90" y="117"/>
                  <a:pt x="394" y="122"/>
                  <a:pt x="394" y="128"/>
                </a:cubicBezTo>
                <a:lnTo>
                  <a:pt x="394" y="2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7" name="Freeform 963"/>
          <p:cNvSpPr>
            <a:spLocks noChangeAspect="1" noEditPoints="1"/>
          </p:cNvSpPr>
          <p:nvPr/>
        </p:nvSpPr>
        <p:spPr bwMode="auto">
          <a:xfrm>
            <a:off x="9886726" y="2905074"/>
            <a:ext cx="367631" cy="36763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202 w 512"/>
              <a:gd name="T21" fmla="*/ 117 h 512"/>
              <a:gd name="T22" fmla="*/ 128 w 512"/>
              <a:gd name="T23" fmla="*/ 117 h 512"/>
              <a:gd name="T24" fmla="*/ 117 w 512"/>
              <a:gd name="T25" fmla="*/ 128 h 512"/>
              <a:gd name="T26" fmla="*/ 117 w 512"/>
              <a:gd name="T27" fmla="*/ 202 h 512"/>
              <a:gd name="T28" fmla="*/ 128 w 512"/>
              <a:gd name="T29" fmla="*/ 213 h 512"/>
              <a:gd name="T30" fmla="*/ 138 w 512"/>
              <a:gd name="T31" fmla="*/ 202 h 512"/>
              <a:gd name="T32" fmla="*/ 138 w 512"/>
              <a:gd name="T33" fmla="*/ 138 h 512"/>
              <a:gd name="T34" fmla="*/ 202 w 512"/>
              <a:gd name="T35" fmla="*/ 138 h 512"/>
              <a:gd name="T36" fmla="*/ 213 w 512"/>
              <a:gd name="T37" fmla="*/ 128 h 512"/>
              <a:gd name="T38" fmla="*/ 202 w 512"/>
              <a:gd name="T39" fmla="*/ 117 h 512"/>
              <a:gd name="T40" fmla="*/ 202 w 512"/>
              <a:gd name="T41" fmla="*/ 373 h 512"/>
              <a:gd name="T42" fmla="*/ 138 w 512"/>
              <a:gd name="T43" fmla="*/ 373 h 512"/>
              <a:gd name="T44" fmla="*/ 138 w 512"/>
              <a:gd name="T45" fmla="*/ 309 h 512"/>
              <a:gd name="T46" fmla="*/ 128 w 512"/>
              <a:gd name="T47" fmla="*/ 298 h 512"/>
              <a:gd name="T48" fmla="*/ 117 w 512"/>
              <a:gd name="T49" fmla="*/ 309 h 512"/>
              <a:gd name="T50" fmla="*/ 117 w 512"/>
              <a:gd name="T51" fmla="*/ 384 h 512"/>
              <a:gd name="T52" fmla="*/ 128 w 512"/>
              <a:gd name="T53" fmla="*/ 394 h 512"/>
              <a:gd name="T54" fmla="*/ 202 w 512"/>
              <a:gd name="T55" fmla="*/ 394 h 512"/>
              <a:gd name="T56" fmla="*/ 213 w 512"/>
              <a:gd name="T57" fmla="*/ 384 h 512"/>
              <a:gd name="T58" fmla="*/ 202 w 512"/>
              <a:gd name="T59" fmla="*/ 373 h 512"/>
              <a:gd name="T60" fmla="*/ 384 w 512"/>
              <a:gd name="T61" fmla="*/ 298 h 512"/>
              <a:gd name="T62" fmla="*/ 373 w 512"/>
              <a:gd name="T63" fmla="*/ 309 h 512"/>
              <a:gd name="T64" fmla="*/ 373 w 512"/>
              <a:gd name="T65" fmla="*/ 373 h 512"/>
              <a:gd name="T66" fmla="*/ 309 w 512"/>
              <a:gd name="T67" fmla="*/ 373 h 512"/>
              <a:gd name="T68" fmla="*/ 298 w 512"/>
              <a:gd name="T69" fmla="*/ 384 h 512"/>
              <a:gd name="T70" fmla="*/ 309 w 512"/>
              <a:gd name="T71" fmla="*/ 394 h 512"/>
              <a:gd name="T72" fmla="*/ 384 w 512"/>
              <a:gd name="T73" fmla="*/ 394 h 512"/>
              <a:gd name="T74" fmla="*/ 394 w 512"/>
              <a:gd name="T75" fmla="*/ 384 h 512"/>
              <a:gd name="T76" fmla="*/ 394 w 512"/>
              <a:gd name="T77" fmla="*/ 309 h 512"/>
              <a:gd name="T78" fmla="*/ 384 w 512"/>
              <a:gd name="T79" fmla="*/ 298 h 512"/>
              <a:gd name="T80" fmla="*/ 384 w 512"/>
              <a:gd name="T81" fmla="*/ 117 h 512"/>
              <a:gd name="T82" fmla="*/ 309 w 512"/>
              <a:gd name="T83" fmla="*/ 117 h 512"/>
              <a:gd name="T84" fmla="*/ 298 w 512"/>
              <a:gd name="T85" fmla="*/ 128 h 512"/>
              <a:gd name="T86" fmla="*/ 309 w 512"/>
              <a:gd name="T87" fmla="*/ 138 h 512"/>
              <a:gd name="T88" fmla="*/ 373 w 512"/>
              <a:gd name="T89" fmla="*/ 138 h 512"/>
              <a:gd name="T90" fmla="*/ 373 w 512"/>
              <a:gd name="T91" fmla="*/ 202 h 512"/>
              <a:gd name="T92" fmla="*/ 384 w 512"/>
              <a:gd name="T93" fmla="*/ 213 h 512"/>
              <a:gd name="T94" fmla="*/ 394 w 512"/>
              <a:gd name="T95" fmla="*/ 202 h 512"/>
              <a:gd name="T96" fmla="*/ 394 w 512"/>
              <a:gd name="T97" fmla="*/ 128 h 512"/>
              <a:gd name="T98" fmla="*/ 384 w 512"/>
              <a:gd name="T99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2" y="117"/>
                </a:move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02"/>
                  <a:pt x="117" y="202"/>
                  <a:pt x="117" y="202"/>
                </a:cubicBezTo>
                <a:cubicBezTo>
                  <a:pt x="117" y="208"/>
                  <a:pt x="122" y="213"/>
                  <a:pt x="128" y="213"/>
                </a:cubicBezTo>
                <a:cubicBezTo>
                  <a:pt x="134" y="213"/>
                  <a:pt x="138" y="208"/>
                  <a:pt x="138" y="202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8" y="138"/>
                  <a:pt x="213" y="134"/>
                  <a:pt x="213" y="128"/>
                </a:cubicBezTo>
                <a:cubicBezTo>
                  <a:pt x="213" y="122"/>
                  <a:pt x="208" y="117"/>
                  <a:pt x="202" y="117"/>
                </a:cubicBezTo>
                <a:close/>
                <a:moveTo>
                  <a:pt x="202" y="373"/>
                </a:moveTo>
                <a:cubicBezTo>
                  <a:pt x="138" y="373"/>
                  <a:pt x="138" y="373"/>
                  <a:pt x="138" y="373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03"/>
                  <a:pt x="134" y="298"/>
                  <a:pt x="128" y="298"/>
                </a:cubicBezTo>
                <a:cubicBezTo>
                  <a:pt x="122" y="298"/>
                  <a:pt x="117" y="303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08" y="394"/>
                  <a:pt x="213" y="390"/>
                  <a:pt x="213" y="384"/>
                </a:cubicBezTo>
                <a:cubicBezTo>
                  <a:pt x="213" y="378"/>
                  <a:pt x="208" y="373"/>
                  <a:pt x="202" y="373"/>
                </a:cubicBezTo>
                <a:close/>
                <a:moveTo>
                  <a:pt x="384" y="298"/>
                </a:moveTo>
                <a:cubicBezTo>
                  <a:pt x="378" y="298"/>
                  <a:pt x="373" y="303"/>
                  <a:pt x="373" y="309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09" y="373"/>
                  <a:pt x="309" y="373"/>
                  <a:pt x="309" y="373"/>
                </a:cubicBez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303"/>
                  <a:pt x="390" y="298"/>
                  <a:pt x="384" y="298"/>
                </a:cubicBezTo>
                <a:close/>
                <a:moveTo>
                  <a:pt x="384" y="117"/>
                </a:moveTo>
                <a:cubicBezTo>
                  <a:pt x="309" y="117"/>
                  <a:pt x="309" y="117"/>
                  <a:pt x="309" y="117"/>
                </a:cubicBez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208"/>
                  <a:pt x="378" y="213"/>
                  <a:pt x="384" y="213"/>
                </a:cubicBezTo>
                <a:cubicBezTo>
                  <a:pt x="390" y="213"/>
                  <a:pt x="394" y="208"/>
                  <a:pt x="394" y="202"/>
                </a:cubicBezTo>
                <a:cubicBezTo>
                  <a:pt x="394" y="128"/>
                  <a:pt x="394" y="128"/>
                  <a:pt x="394" y="128"/>
                </a:cubicBezTo>
                <a:cubicBezTo>
                  <a:pt x="394" y="122"/>
                  <a:pt x="390" y="117"/>
                  <a:pt x="384" y="11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8" name="TextBox 727"/>
          <p:cNvSpPr txBox="1"/>
          <p:nvPr/>
        </p:nvSpPr>
        <p:spPr>
          <a:xfrm>
            <a:off x="4480350" y="578173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il empty</a:t>
            </a:r>
          </a:p>
        </p:txBody>
      </p:sp>
      <p:sp>
        <p:nvSpPr>
          <p:cNvPr id="729" name="TextBox 728"/>
          <p:cNvSpPr txBox="1"/>
          <p:nvPr/>
        </p:nvSpPr>
        <p:spPr>
          <a:xfrm>
            <a:off x="5466827" y="578173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il full</a:t>
            </a:r>
          </a:p>
        </p:txBody>
      </p:sp>
      <p:sp>
        <p:nvSpPr>
          <p:cNvPr id="730" name="TextBox 729"/>
          <p:cNvSpPr txBox="1"/>
          <p:nvPr/>
        </p:nvSpPr>
        <p:spPr>
          <a:xfrm>
            <a:off x="6468121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il in</a:t>
            </a:r>
          </a:p>
        </p:txBody>
      </p:sp>
      <p:sp>
        <p:nvSpPr>
          <p:cNvPr id="731" name="TextBox 730"/>
          <p:cNvSpPr txBox="1"/>
          <p:nvPr/>
        </p:nvSpPr>
        <p:spPr>
          <a:xfrm>
            <a:off x="8464359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il out</a:t>
            </a:r>
          </a:p>
        </p:txBody>
      </p:sp>
      <p:sp>
        <p:nvSpPr>
          <p:cNvPr id="732" name="TextBox 731"/>
          <p:cNvSpPr txBox="1"/>
          <p:nvPr/>
        </p:nvSpPr>
        <p:spPr>
          <a:xfrm>
            <a:off x="7466240" y="57817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il</a:t>
            </a:r>
          </a:p>
        </p:txBody>
      </p:sp>
      <p:sp>
        <p:nvSpPr>
          <p:cNvPr id="733" name="Freeform 673"/>
          <p:cNvSpPr>
            <a:spLocks noChangeAspect="1" noEditPoints="1"/>
          </p:cNvSpPr>
          <p:nvPr/>
        </p:nvSpPr>
        <p:spPr bwMode="auto">
          <a:xfrm>
            <a:off x="4500056" y="5359519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277 h 512"/>
              <a:gd name="T12" fmla="*/ 373 w 512"/>
              <a:gd name="T13" fmla="*/ 288 h 512"/>
              <a:gd name="T14" fmla="*/ 288 w 512"/>
              <a:gd name="T15" fmla="*/ 288 h 512"/>
              <a:gd name="T16" fmla="*/ 288 w 512"/>
              <a:gd name="T17" fmla="*/ 405 h 512"/>
              <a:gd name="T18" fmla="*/ 277 w 512"/>
              <a:gd name="T19" fmla="*/ 416 h 512"/>
              <a:gd name="T20" fmla="*/ 234 w 512"/>
              <a:gd name="T21" fmla="*/ 416 h 512"/>
              <a:gd name="T22" fmla="*/ 224 w 512"/>
              <a:gd name="T23" fmla="*/ 405 h 512"/>
              <a:gd name="T24" fmla="*/ 224 w 512"/>
              <a:gd name="T25" fmla="*/ 288 h 512"/>
              <a:gd name="T26" fmla="*/ 138 w 512"/>
              <a:gd name="T27" fmla="*/ 288 h 512"/>
              <a:gd name="T28" fmla="*/ 128 w 512"/>
              <a:gd name="T29" fmla="*/ 277 h 512"/>
              <a:gd name="T30" fmla="*/ 128 w 512"/>
              <a:gd name="T31" fmla="*/ 192 h 512"/>
              <a:gd name="T32" fmla="*/ 170 w 512"/>
              <a:gd name="T33" fmla="*/ 149 h 512"/>
              <a:gd name="T34" fmla="*/ 341 w 512"/>
              <a:gd name="T35" fmla="*/ 149 h 512"/>
              <a:gd name="T36" fmla="*/ 384 w 512"/>
              <a:gd name="T37" fmla="*/ 192 h 512"/>
              <a:gd name="T38" fmla="*/ 384 w 512"/>
              <a:gd name="T39" fmla="*/ 277 h 512"/>
              <a:gd name="T40" fmla="*/ 245 w 512"/>
              <a:gd name="T41" fmla="*/ 288 h 512"/>
              <a:gd name="T42" fmla="*/ 266 w 512"/>
              <a:gd name="T43" fmla="*/ 288 h 512"/>
              <a:gd name="T44" fmla="*/ 266 w 512"/>
              <a:gd name="T45" fmla="*/ 394 h 512"/>
              <a:gd name="T46" fmla="*/ 245 w 512"/>
              <a:gd name="T47" fmla="*/ 394 h 512"/>
              <a:gd name="T48" fmla="*/ 245 w 512"/>
              <a:gd name="T49" fmla="*/ 288 h 512"/>
              <a:gd name="T50" fmla="*/ 341 w 512"/>
              <a:gd name="T51" fmla="*/ 170 h 512"/>
              <a:gd name="T52" fmla="*/ 170 w 512"/>
              <a:gd name="T53" fmla="*/ 170 h 512"/>
              <a:gd name="T54" fmla="*/ 149 w 512"/>
              <a:gd name="T55" fmla="*/ 192 h 512"/>
              <a:gd name="T56" fmla="*/ 149 w 512"/>
              <a:gd name="T57" fmla="*/ 266 h 512"/>
              <a:gd name="T58" fmla="*/ 362 w 512"/>
              <a:gd name="T59" fmla="*/ 266 h 512"/>
              <a:gd name="T60" fmla="*/ 362 w 512"/>
              <a:gd name="T61" fmla="*/ 192 h 512"/>
              <a:gd name="T62" fmla="*/ 341 w 512"/>
              <a:gd name="T63" fmla="*/ 170 h 512"/>
              <a:gd name="T64" fmla="*/ 330 w 512"/>
              <a:gd name="T65" fmla="*/ 224 h 512"/>
              <a:gd name="T66" fmla="*/ 320 w 512"/>
              <a:gd name="T67" fmla="*/ 234 h 512"/>
              <a:gd name="T68" fmla="*/ 309 w 512"/>
              <a:gd name="T69" fmla="*/ 224 h 512"/>
              <a:gd name="T70" fmla="*/ 309 w 512"/>
              <a:gd name="T71" fmla="*/ 213 h 512"/>
              <a:gd name="T72" fmla="*/ 234 w 512"/>
              <a:gd name="T73" fmla="*/ 213 h 512"/>
              <a:gd name="T74" fmla="*/ 224 w 512"/>
              <a:gd name="T75" fmla="*/ 202 h 512"/>
              <a:gd name="T76" fmla="*/ 234 w 512"/>
              <a:gd name="T77" fmla="*/ 192 h 512"/>
              <a:gd name="T78" fmla="*/ 320 w 512"/>
              <a:gd name="T79" fmla="*/ 192 h 512"/>
              <a:gd name="T80" fmla="*/ 330 w 512"/>
              <a:gd name="T81" fmla="*/ 202 h 512"/>
              <a:gd name="T82" fmla="*/ 330 w 512"/>
              <a:gd name="T8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277"/>
                </a:moveTo>
                <a:cubicBezTo>
                  <a:pt x="384" y="283"/>
                  <a:pt x="379" y="288"/>
                  <a:pt x="373" y="288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88" y="411"/>
                  <a:pt x="283" y="416"/>
                  <a:pt x="277" y="416"/>
                </a:cubicBezTo>
                <a:cubicBezTo>
                  <a:pt x="234" y="416"/>
                  <a:pt x="234" y="416"/>
                  <a:pt x="234" y="416"/>
                </a:cubicBezTo>
                <a:cubicBezTo>
                  <a:pt x="228" y="416"/>
                  <a:pt x="224" y="411"/>
                  <a:pt x="224" y="405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138" y="288"/>
                  <a:pt x="138" y="288"/>
                  <a:pt x="138" y="288"/>
                </a:cubicBezTo>
                <a:cubicBezTo>
                  <a:pt x="132" y="288"/>
                  <a:pt x="128" y="283"/>
                  <a:pt x="128" y="277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68"/>
                  <a:pt x="147" y="149"/>
                  <a:pt x="170" y="149"/>
                </a:cubicBezTo>
                <a:cubicBezTo>
                  <a:pt x="341" y="149"/>
                  <a:pt x="341" y="149"/>
                  <a:pt x="341" y="149"/>
                </a:cubicBezTo>
                <a:cubicBezTo>
                  <a:pt x="365" y="149"/>
                  <a:pt x="384" y="168"/>
                  <a:pt x="384" y="192"/>
                </a:cubicBezTo>
                <a:lnTo>
                  <a:pt x="384" y="277"/>
                </a:lnTo>
                <a:close/>
                <a:moveTo>
                  <a:pt x="245" y="288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45" y="394"/>
                  <a:pt x="245" y="394"/>
                  <a:pt x="245" y="394"/>
                </a:cubicBezTo>
                <a:lnTo>
                  <a:pt x="245" y="288"/>
                </a:lnTo>
                <a:close/>
                <a:moveTo>
                  <a:pt x="341" y="170"/>
                </a:moveTo>
                <a:cubicBezTo>
                  <a:pt x="170" y="170"/>
                  <a:pt x="170" y="170"/>
                  <a:pt x="170" y="170"/>
                </a:cubicBezTo>
                <a:cubicBezTo>
                  <a:pt x="159" y="170"/>
                  <a:pt x="149" y="180"/>
                  <a:pt x="149" y="192"/>
                </a:cubicBezTo>
                <a:cubicBezTo>
                  <a:pt x="149" y="266"/>
                  <a:pt x="149" y="266"/>
                  <a:pt x="149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2" y="192"/>
                  <a:pt x="362" y="192"/>
                  <a:pt x="362" y="192"/>
                </a:cubicBezTo>
                <a:cubicBezTo>
                  <a:pt x="362" y="180"/>
                  <a:pt x="353" y="170"/>
                  <a:pt x="341" y="170"/>
                </a:cubicBezTo>
                <a:close/>
                <a:moveTo>
                  <a:pt x="330" y="224"/>
                </a:moveTo>
                <a:cubicBezTo>
                  <a:pt x="330" y="230"/>
                  <a:pt x="326" y="234"/>
                  <a:pt x="320" y="234"/>
                </a:cubicBezTo>
                <a:cubicBezTo>
                  <a:pt x="314" y="234"/>
                  <a:pt x="309" y="230"/>
                  <a:pt x="309" y="224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28" y="213"/>
                  <a:pt x="224" y="208"/>
                  <a:pt x="224" y="202"/>
                </a:cubicBezTo>
                <a:cubicBezTo>
                  <a:pt x="224" y="196"/>
                  <a:pt x="228" y="192"/>
                  <a:pt x="234" y="192"/>
                </a:cubicBezTo>
                <a:cubicBezTo>
                  <a:pt x="320" y="192"/>
                  <a:pt x="320" y="192"/>
                  <a:pt x="320" y="192"/>
                </a:cubicBezTo>
                <a:cubicBezTo>
                  <a:pt x="326" y="192"/>
                  <a:pt x="330" y="196"/>
                  <a:pt x="330" y="202"/>
                </a:cubicBezTo>
                <a:lnTo>
                  <a:pt x="330" y="22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4" name="Group 676"/>
          <p:cNvGrpSpPr>
            <a:grpSpLocks noChangeAspect="1"/>
          </p:cNvGrpSpPr>
          <p:nvPr/>
        </p:nvGrpSpPr>
        <p:grpSpPr bwMode="auto">
          <a:xfrm>
            <a:off x="4989447" y="5359519"/>
            <a:ext cx="367041" cy="367041"/>
            <a:chOff x="2467" y="2974"/>
            <a:chExt cx="340" cy="340"/>
          </a:xfrm>
          <a:solidFill>
            <a:schemeClr val="accent2"/>
          </a:solidFill>
        </p:grpSpPr>
        <p:sp>
          <p:nvSpPr>
            <p:cNvPr id="735" name="Freeform 677"/>
            <p:cNvSpPr>
              <a:spLocks noEditPoints="1"/>
            </p:cNvSpPr>
            <p:nvPr/>
          </p:nvSpPr>
          <p:spPr bwMode="auto">
            <a:xfrm>
              <a:off x="2467" y="2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6" name="Freeform 678"/>
            <p:cNvSpPr>
              <a:spLocks noEditPoints="1"/>
            </p:cNvSpPr>
            <p:nvPr/>
          </p:nvSpPr>
          <p:spPr bwMode="auto">
            <a:xfrm>
              <a:off x="2552" y="3073"/>
              <a:ext cx="170" cy="177"/>
            </a:xfrm>
            <a:custGeom>
              <a:avLst/>
              <a:gdLst>
                <a:gd name="T0" fmla="*/ 202 w 256"/>
                <a:gd name="T1" fmla="*/ 53 h 267"/>
                <a:gd name="T2" fmla="*/ 202 w 256"/>
                <a:gd name="T3" fmla="*/ 75 h 267"/>
                <a:gd name="T4" fmla="*/ 192 w 256"/>
                <a:gd name="T5" fmla="*/ 85 h 267"/>
                <a:gd name="T6" fmla="*/ 181 w 256"/>
                <a:gd name="T7" fmla="*/ 75 h 267"/>
                <a:gd name="T8" fmla="*/ 181 w 256"/>
                <a:gd name="T9" fmla="*/ 64 h 267"/>
                <a:gd name="T10" fmla="*/ 106 w 256"/>
                <a:gd name="T11" fmla="*/ 64 h 267"/>
                <a:gd name="T12" fmla="*/ 96 w 256"/>
                <a:gd name="T13" fmla="*/ 53 h 267"/>
                <a:gd name="T14" fmla="*/ 106 w 256"/>
                <a:gd name="T15" fmla="*/ 43 h 267"/>
                <a:gd name="T16" fmla="*/ 192 w 256"/>
                <a:gd name="T17" fmla="*/ 43 h 267"/>
                <a:gd name="T18" fmla="*/ 202 w 256"/>
                <a:gd name="T19" fmla="*/ 53 h 267"/>
                <a:gd name="T20" fmla="*/ 256 w 256"/>
                <a:gd name="T21" fmla="*/ 43 h 267"/>
                <a:gd name="T22" fmla="*/ 256 w 256"/>
                <a:gd name="T23" fmla="*/ 128 h 267"/>
                <a:gd name="T24" fmla="*/ 245 w 256"/>
                <a:gd name="T25" fmla="*/ 139 h 267"/>
                <a:gd name="T26" fmla="*/ 160 w 256"/>
                <a:gd name="T27" fmla="*/ 139 h 267"/>
                <a:gd name="T28" fmla="*/ 160 w 256"/>
                <a:gd name="T29" fmla="*/ 256 h 267"/>
                <a:gd name="T30" fmla="*/ 149 w 256"/>
                <a:gd name="T31" fmla="*/ 267 h 267"/>
                <a:gd name="T32" fmla="*/ 106 w 256"/>
                <a:gd name="T33" fmla="*/ 267 h 267"/>
                <a:gd name="T34" fmla="*/ 96 w 256"/>
                <a:gd name="T35" fmla="*/ 256 h 267"/>
                <a:gd name="T36" fmla="*/ 96 w 256"/>
                <a:gd name="T37" fmla="*/ 139 h 267"/>
                <a:gd name="T38" fmla="*/ 10 w 256"/>
                <a:gd name="T39" fmla="*/ 139 h 267"/>
                <a:gd name="T40" fmla="*/ 0 w 256"/>
                <a:gd name="T41" fmla="*/ 128 h 267"/>
                <a:gd name="T42" fmla="*/ 0 w 256"/>
                <a:gd name="T43" fmla="*/ 43 h 267"/>
                <a:gd name="T44" fmla="*/ 42 w 256"/>
                <a:gd name="T45" fmla="*/ 0 h 267"/>
                <a:gd name="T46" fmla="*/ 213 w 256"/>
                <a:gd name="T47" fmla="*/ 0 h 267"/>
                <a:gd name="T48" fmla="*/ 256 w 256"/>
                <a:gd name="T49" fmla="*/ 43 h 267"/>
                <a:gd name="T50" fmla="*/ 138 w 256"/>
                <a:gd name="T51" fmla="*/ 139 h 267"/>
                <a:gd name="T52" fmla="*/ 117 w 256"/>
                <a:gd name="T53" fmla="*/ 139 h 267"/>
                <a:gd name="T54" fmla="*/ 117 w 256"/>
                <a:gd name="T55" fmla="*/ 245 h 267"/>
                <a:gd name="T56" fmla="*/ 138 w 256"/>
                <a:gd name="T57" fmla="*/ 245 h 267"/>
                <a:gd name="T58" fmla="*/ 138 w 256"/>
                <a:gd name="T59" fmla="*/ 139 h 267"/>
                <a:gd name="T60" fmla="*/ 234 w 256"/>
                <a:gd name="T61" fmla="*/ 43 h 267"/>
                <a:gd name="T62" fmla="*/ 213 w 256"/>
                <a:gd name="T63" fmla="*/ 21 h 267"/>
                <a:gd name="T64" fmla="*/ 42 w 256"/>
                <a:gd name="T65" fmla="*/ 21 h 267"/>
                <a:gd name="T66" fmla="*/ 21 w 256"/>
                <a:gd name="T67" fmla="*/ 43 h 267"/>
                <a:gd name="T68" fmla="*/ 21 w 256"/>
                <a:gd name="T69" fmla="*/ 117 h 267"/>
                <a:gd name="T70" fmla="*/ 234 w 256"/>
                <a:gd name="T71" fmla="*/ 117 h 267"/>
                <a:gd name="T72" fmla="*/ 234 w 256"/>
                <a:gd name="T73" fmla="*/ 4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6" h="267">
                  <a:moveTo>
                    <a:pt x="202" y="53"/>
                  </a:moveTo>
                  <a:cubicBezTo>
                    <a:pt x="202" y="75"/>
                    <a:pt x="202" y="75"/>
                    <a:pt x="202" y="75"/>
                  </a:cubicBezTo>
                  <a:cubicBezTo>
                    <a:pt x="202" y="81"/>
                    <a:pt x="198" y="85"/>
                    <a:pt x="192" y="85"/>
                  </a:cubicBezTo>
                  <a:cubicBezTo>
                    <a:pt x="186" y="85"/>
                    <a:pt x="181" y="81"/>
                    <a:pt x="181" y="75"/>
                  </a:cubicBezTo>
                  <a:cubicBezTo>
                    <a:pt x="181" y="64"/>
                    <a:pt x="181" y="64"/>
                    <a:pt x="181" y="64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0" y="64"/>
                    <a:pt x="96" y="59"/>
                    <a:pt x="96" y="53"/>
                  </a:cubicBezTo>
                  <a:cubicBezTo>
                    <a:pt x="96" y="47"/>
                    <a:pt x="100" y="43"/>
                    <a:pt x="106" y="43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98" y="43"/>
                    <a:pt x="202" y="47"/>
                    <a:pt x="202" y="53"/>
                  </a:cubicBezTo>
                  <a:close/>
                  <a:moveTo>
                    <a:pt x="256" y="43"/>
                  </a:moveTo>
                  <a:cubicBezTo>
                    <a:pt x="256" y="128"/>
                    <a:pt x="256" y="128"/>
                    <a:pt x="256" y="128"/>
                  </a:cubicBezTo>
                  <a:cubicBezTo>
                    <a:pt x="256" y="134"/>
                    <a:pt x="251" y="139"/>
                    <a:pt x="245" y="139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60" y="256"/>
                    <a:pt x="160" y="256"/>
                    <a:pt x="160" y="256"/>
                  </a:cubicBezTo>
                  <a:cubicBezTo>
                    <a:pt x="160" y="262"/>
                    <a:pt x="155" y="267"/>
                    <a:pt x="149" y="267"/>
                  </a:cubicBezTo>
                  <a:cubicBezTo>
                    <a:pt x="106" y="267"/>
                    <a:pt x="106" y="267"/>
                    <a:pt x="106" y="267"/>
                  </a:cubicBezTo>
                  <a:cubicBezTo>
                    <a:pt x="100" y="267"/>
                    <a:pt x="96" y="262"/>
                    <a:pt x="96" y="256"/>
                  </a:cubicBezTo>
                  <a:cubicBezTo>
                    <a:pt x="96" y="139"/>
                    <a:pt x="96" y="139"/>
                    <a:pt x="96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4" y="139"/>
                    <a:pt x="0" y="134"/>
                    <a:pt x="0" y="12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37" y="0"/>
                    <a:pt x="256" y="19"/>
                    <a:pt x="256" y="43"/>
                  </a:cubicBezTo>
                  <a:close/>
                  <a:moveTo>
                    <a:pt x="138" y="139"/>
                  </a:moveTo>
                  <a:cubicBezTo>
                    <a:pt x="117" y="139"/>
                    <a:pt x="117" y="139"/>
                    <a:pt x="117" y="139"/>
                  </a:cubicBezTo>
                  <a:cubicBezTo>
                    <a:pt x="117" y="245"/>
                    <a:pt x="117" y="245"/>
                    <a:pt x="117" y="245"/>
                  </a:cubicBezTo>
                  <a:cubicBezTo>
                    <a:pt x="138" y="245"/>
                    <a:pt x="138" y="245"/>
                    <a:pt x="138" y="245"/>
                  </a:cubicBezTo>
                  <a:lnTo>
                    <a:pt x="138" y="139"/>
                  </a:lnTo>
                  <a:close/>
                  <a:moveTo>
                    <a:pt x="234" y="43"/>
                  </a:moveTo>
                  <a:cubicBezTo>
                    <a:pt x="234" y="31"/>
                    <a:pt x="225" y="21"/>
                    <a:pt x="213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31" y="21"/>
                    <a:pt x="21" y="31"/>
                    <a:pt x="21" y="43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34" y="117"/>
                    <a:pt x="234" y="117"/>
                    <a:pt x="234" y="117"/>
                  </a:cubicBezTo>
                  <a:lnTo>
                    <a:pt x="23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37" name="Freeform 682"/>
          <p:cNvSpPr>
            <a:spLocks noChangeAspect="1" noEditPoints="1"/>
          </p:cNvSpPr>
          <p:nvPr/>
        </p:nvSpPr>
        <p:spPr bwMode="auto">
          <a:xfrm>
            <a:off x="5478838" y="5359519"/>
            <a:ext cx="367041" cy="367041"/>
          </a:xfrm>
          <a:custGeom>
            <a:avLst/>
            <a:gdLst>
              <a:gd name="T0" fmla="*/ 362 w 512"/>
              <a:gd name="T1" fmla="*/ 192 h 512"/>
              <a:gd name="T2" fmla="*/ 362 w 512"/>
              <a:gd name="T3" fmla="*/ 266 h 512"/>
              <a:gd name="T4" fmla="*/ 149 w 512"/>
              <a:gd name="T5" fmla="*/ 266 h 512"/>
              <a:gd name="T6" fmla="*/ 149 w 512"/>
              <a:gd name="T7" fmla="*/ 192 h 512"/>
              <a:gd name="T8" fmla="*/ 170 w 512"/>
              <a:gd name="T9" fmla="*/ 170 h 512"/>
              <a:gd name="T10" fmla="*/ 224 w 512"/>
              <a:gd name="T11" fmla="*/ 170 h 512"/>
              <a:gd name="T12" fmla="*/ 224 w 512"/>
              <a:gd name="T13" fmla="*/ 192 h 512"/>
              <a:gd name="T14" fmla="*/ 234 w 512"/>
              <a:gd name="T15" fmla="*/ 202 h 512"/>
              <a:gd name="T16" fmla="*/ 245 w 512"/>
              <a:gd name="T17" fmla="*/ 192 h 512"/>
              <a:gd name="T18" fmla="*/ 245 w 512"/>
              <a:gd name="T19" fmla="*/ 170 h 512"/>
              <a:gd name="T20" fmla="*/ 341 w 512"/>
              <a:gd name="T21" fmla="*/ 170 h 512"/>
              <a:gd name="T22" fmla="*/ 362 w 512"/>
              <a:gd name="T23" fmla="*/ 192 h 512"/>
              <a:gd name="T24" fmla="*/ 245 w 512"/>
              <a:gd name="T25" fmla="*/ 394 h 512"/>
              <a:gd name="T26" fmla="*/ 266 w 512"/>
              <a:gd name="T27" fmla="*/ 394 h 512"/>
              <a:gd name="T28" fmla="*/ 266 w 512"/>
              <a:gd name="T29" fmla="*/ 288 h 512"/>
              <a:gd name="T30" fmla="*/ 245 w 512"/>
              <a:gd name="T31" fmla="*/ 288 h 512"/>
              <a:gd name="T32" fmla="*/ 245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84 w 512"/>
              <a:gd name="T45" fmla="*/ 192 h 512"/>
              <a:gd name="T46" fmla="*/ 341 w 512"/>
              <a:gd name="T47" fmla="*/ 149 h 512"/>
              <a:gd name="T48" fmla="*/ 245 w 512"/>
              <a:gd name="T49" fmla="*/ 149 h 512"/>
              <a:gd name="T50" fmla="*/ 245 w 512"/>
              <a:gd name="T51" fmla="*/ 117 h 512"/>
              <a:gd name="T52" fmla="*/ 256 w 512"/>
              <a:gd name="T53" fmla="*/ 117 h 512"/>
              <a:gd name="T54" fmla="*/ 266 w 512"/>
              <a:gd name="T55" fmla="*/ 106 h 512"/>
              <a:gd name="T56" fmla="*/ 256 w 512"/>
              <a:gd name="T57" fmla="*/ 96 h 512"/>
              <a:gd name="T58" fmla="*/ 234 w 512"/>
              <a:gd name="T59" fmla="*/ 96 h 512"/>
              <a:gd name="T60" fmla="*/ 224 w 512"/>
              <a:gd name="T61" fmla="*/ 106 h 512"/>
              <a:gd name="T62" fmla="*/ 224 w 512"/>
              <a:gd name="T63" fmla="*/ 149 h 512"/>
              <a:gd name="T64" fmla="*/ 170 w 512"/>
              <a:gd name="T65" fmla="*/ 149 h 512"/>
              <a:gd name="T66" fmla="*/ 128 w 512"/>
              <a:gd name="T67" fmla="*/ 192 h 512"/>
              <a:gd name="T68" fmla="*/ 128 w 512"/>
              <a:gd name="T69" fmla="*/ 277 h 512"/>
              <a:gd name="T70" fmla="*/ 138 w 512"/>
              <a:gd name="T71" fmla="*/ 288 h 512"/>
              <a:gd name="T72" fmla="*/ 224 w 512"/>
              <a:gd name="T73" fmla="*/ 288 h 512"/>
              <a:gd name="T74" fmla="*/ 224 w 512"/>
              <a:gd name="T75" fmla="*/ 405 h 512"/>
              <a:gd name="T76" fmla="*/ 234 w 512"/>
              <a:gd name="T77" fmla="*/ 416 h 512"/>
              <a:gd name="T78" fmla="*/ 277 w 512"/>
              <a:gd name="T79" fmla="*/ 416 h 512"/>
              <a:gd name="T80" fmla="*/ 288 w 512"/>
              <a:gd name="T81" fmla="*/ 405 h 512"/>
              <a:gd name="T82" fmla="*/ 288 w 512"/>
              <a:gd name="T83" fmla="*/ 288 h 512"/>
              <a:gd name="T84" fmla="*/ 373 w 512"/>
              <a:gd name="T85" fmla="*/ 288 h 512"/>
              <a:gd name="T86" fmla="*/ 384 w 512"/>
              <a:gd name="T87" fmla="*/ 277 h 512"/>
              <a:gd name="T88" fmla="*/ 384 w 512"/>
              <a:gd name="T89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362" y="192"/>
                </a:moveTo>
                <a:cubicBezTo>
                  <a:pt x="362" y="266"/>
                  <a:pt x="362" y="266"/>
                  <a:pt x="362" y="266"/>
                </a:cubicBezTo>
                <a:cubicBezTo>
                  <a:pt x="149" y="266"/>
                  <a:pt x="149" y="266"/>
                  <a:pt x="149" y="266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149" y="180"/>
                  <a:pt x="159" y="170"/>
                  <a:pt x="170" y="170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98"/>
                  <a:pt x="228" y="202"/>
                  <a:pt x="234" y="202"/>
                </a:cubicBezTo>
                <a:cubicBezTo>
                  <a:pt x="240" y="202"/>
                  <a:pt x="245" y="198"/>
                  <a:pt x="245" y="192"/>
                </a:cubicBezTo>
                <a:cubicBezTo>
                  <a:pt x="245" y="170"/>
                  <a:pt x="245" y="170"/>
                  <a:pt x="245" y="170"/>
                </a:cubicBezTo>
                <a:cubicBezTo>
                  <a:pt x="341" y="170"/>
                  <a:pt x="341" y="170"/>
                  <a:pt x="341" y="170"/>
                </a:cubicBezTo>
                <a:cubicBezTo>
                  <a:pt x="353" y="170"/>
                  <a:pt x="362" y="180"/>
                  <a:pt x="362" y="192"/>
                </a:cubicBezTo>
                <a:close/>
                <a:moveTo>
                  <a:pt x="245" y="394"/>
                </a:moveTo>
                <a:cubicBezTo>
                  <a:pt x="266" y="394"/>
                  <a:pt x="266" y="394"/>
                  <a:pt x="266" y="394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45" y="288"/>
                  <a:pt x="245" y="288"/>
                  <a:pt x="245" y="288"/>
                </a:cubicBezTo>
                <a:lnTo>
                  <a:pt x="245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192"/>
                </a:moveTo>
                <a:cubicBezTo>
                  <a:pt x="384" y="168"/>
                  <a:pt x="365" y="149"/>
                  <a:pt x="341" y="149"/>
                </a:cubicBezTo>
                <a:cubicBezTo>
                  <a:pt x="245" y="149"/>
                  <a:pt x="245" y="149"/>
                  <a:pt x="245" y="149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262" y="117"/>
                  <a:pt x="266" y="112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34" y="96"/>
                  <a:pt x="234" y="96"/>
                  <a:pt x="234" y="96"/>
                </a:cubicBezTo>
                <a:cubicBezTo>
                  <a:pt x="228" y="96"/>
                  <a:pt x="224" y="100"/>
                  <a:pt x="224" y="106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170" y="149"/>
                  <a:pt x="170" y="149"/>
                  <a:pt x="170" y="149"/>
                </a:cubicBezTo>
                <a:cubicBezTo>
                  <a:pt x="147" y="149"/>
                  <a:pt x="128" y="168"/>
                  <a:pt x="128" y="192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8" y="283"/>
                  <a:pt x="132" y="288"/>
                  <a:pt x="138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24" y="405"/>
                  <a:pt x="224" y="405"/>
                  <a:pt x="224" y="405"/>
                </a:cubicBezTo>
                <a:cubicBezTo>
                  <a:pt x="224" y="411"/>
                  <a:pt x="228" y="416"/>
                  <a:pt x="234" y="416"/>
                </a:cubicBezTo>
                <a:cubicBezTo>
                  <a:pt x="277" y="416"/>
                  <a:pt x="277" y="416"/>
                  <a:pt x="277" y="416"/>
                </a:cubicBezTo>
                <a:cubicBezTo>
                  <a:pt x="283" y="416"/>
                  <a:pt x="288" y="411"/>
                  <a:pt x="288" y="405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9" y="288"/>
                  <a:pt x="384" y="283"/>
                  <a:pt x="384" y="277"/>
                </a:cubicBezTo>
                <a:lnTo>
                  <a:pt x="384" y="1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8" name="Group 685"/>
          <p:cNvGrpSpPr>
            <a:grpSpLocks noChangeAspect="1"/>
          </p:cNvGrpSpPr>
          <p:nvPr/>
        </p:nvGrpSpPr>
        <p:grpSpPr bwMode="auto">
          <a:xfrm>
            <a:off x="5968229" y="5359519"/>
            <a:ext cx="367041" cy="367041"/>
            <a:chOff x="2658" y="2904"/>
            <a:chExt cx="340" cy="340"/>
          </a:xfrm>
          <a:solidFill>
            <a:schemeClr val="accent2"/>
          </a:solidFill>
        </p:grpSpPr>
        <p:sp>
          <p:nvSpPr>
            <p:cNvPr id="739" name="Freeform 686"/>
            <p:cNvSpPr>
              <a:spLocks noEditPoints="1"/>
            </p:cNvSpPr>
            <p:nvPr/>
          </p:nvSpPr>
          <p:spPr bwMode="auto">
            <a:xfrm>
              <a:off x="2658" y="29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0" name="Freeform 687"/>
            <p:cNvSpPr>
              <a:spLocks noEditPoints="1"/>
            </p:cNvSpPr>
            <p:nvPr/>
          </p:nvSpPr>
          <p:spPr bwMode="auto">
            <a:xfrm>
              <a:off x="2743" y="2968"/>
              <a:ext cx="170" cy="212"/>
            </a:xfrm>
            <a:custGeom>
              <a:avLst/>
              <a:gdLst>
                <a:gd name="T0" fmla="*/ 213 w 256"/>
                <a:gd name="T1" fmla="*/ 53 h 320"/>
                <a:gd name="T2" fmla="*/ 117 w 256"/>
                <a:gd name="T3" fmla="*/ 53 h 320"/>
                <a:gd name="T4" fmla="*/ 117 w 256"/>
                <a:gd name="T5" fmla="*/ 21 h 320"/>
                <a:gd name="T6" fmla="*/ 128 w 256"/>
                <a:gd name="T7" fmla="*/ 21 h 320"/>
                <a:gd name="T8" fmla="*/ 138 w 256"/>
                <a:gd name="T9" fmla="*/ 10 h 320"/>
                <a:gd name="T10" fmla="*/ 128 w 256"/>
                <a:gd name="T11" fmla="*/ 0 h 320"/>
                <a:gd name="T12" fmla="*/ 106 w 256"/>
                <a:gd name="T13" fmla="*/ 0 h 320"/>
                <a:gd name="T14" fmla="*/ 96 w 256"/>
                <a:gd name="T15" fmla="*/ 10 h 320"/>
                <a:gd name="T16" fmla="*/ 96 w 256"/>
                <a:gd name="T17" fmla="*/ 53 h 320"/>
                <a:gd name="T18" fmla="*/ 42 w 256"/>
                <a:gd name="T19" fmla="*/ 53 h 320"/>
                <a:gd name="T20" fmla="*/ 0 w 256"/>
                <a:gd name="T21" fmla="*/ 96 h 320"/>
                <a:gd name="T22" fmla="*/ 0 w 256"/>
                <a:gd name="T23" fmla="*/ 181 h 320"/>
                <a:gd name="T24" fmla="*/ 10 w 256"/>
                <a:gd name="T25" fmla="*/ 192 h 320"/>
                <a:gd name="T26" fmla="*/ 96 w 256"/>
                <a:gd name="T27" fmla="*/ 192 h 320"/>
                <a:gd name="T28" fmla="*/ 96 w 256"/>
                <a:gd name="T29" fmla="*/ 309 h 320"/>
                <a:gd name="T30" fmla="*/ 106 w 256"/>
                <a:gd name="T31" fmla="*/ 320 h 320"/>
                <a:gd name="T32" fmla="*/ 149 w 256"/>
                <a:gd name="T33" fmla="*/ 320 h 320"/>
                <a:gd name="T34" fmla="*/ 160 w 256"/>
                <a:gd name="T35" fmla="*/ 309 h 320"/>
                <a:gd name="T36" fmla="*/ 160 w 256"/>
                <a:gd name="T37" fmla="*/ 192 h 320"/>
                <a:gd name="T38" fmla="*/ 245 w 256"/>
                <a:gd name="T39" fmla="*/ 192 h 320"/>
                <a:gd name="T40" fmla="*/ 256 w 256"/>
                <a:gd name="T41" fmla="*/ 181 h 320"/>
                <a:gd name="T42" fmla="*/ 256 w 256"/>
                <a:gd name="T43" fmla="*/ 96 h 320"/>
                <a:gd name="T44" fmla="*/ 213 w 256"/>
                <a:gd name="T45" fmla="*/ 53 h 320"/>
                <a:gd name="T46" fmla="*/ 138 w 256"/>
                <a:gd name="T47" fmla="*/ 298 h 320"/>
                <a:gd name="T48" fmla="*/ 117 w 256"/>
                <a:gd name="T49" fmla="*/ 298 h 320"/>
                <a:gd name="T50" fmla="*/ 117 w 256"/>
                <a:gd name="T51" fmla="*/ 192 h 320"/>
                <a:gd name="T52" fmla="*/ 138 w 256"/>
                <a:gd name="T53" fmla="*/ 192 h 320"/>
                <a:gd name="T54" fmla="*/ 138 w 256"/>
                <a:gd name="T55" fmla="*/ 298 h 320"/>
                <a:gd name="T56" fmla="*/ 234 w 256"/>
                <a:gd name="T57" fmla="*/ 170 h 320"/>
                <a:gd name="T58" fmla="*/ 21 w 256"/>
                <a:gd name="T59" fmla="*/ 170 h 320"/>
                <a:gd name="T60" fmla="*/ 21 w 256"/>
                <a:gd name="T61" fmla="*/ 96 h 320"/>
                <a:gd name="T62" fmla="*/ 42 w 256"/>
                <a:gd name="T63" fmla="*/ 74 h 320"/>
                <a:gd name="T64" fmla="*/ 96 w 256"/>
                <a:gd name="T65" fmla="*/ 74 h 320"/>
                <a:gd name="T66" fmla="*/ 96 w 256"/>
                <a:gd name="T67" fmla="*/ 96 h 320"/>
                <a:gd name="T68" fmla="*/ 106 w 256"/>
                <a:gd name="T69" fmla="*/ 106 h 320"/>
                <a:gd name="T70" fmla="*/ 117 w 256"/>
                <a:gd name="T71" fmla="*/ 96 h 320"/>
                <a:gd name="T72" fmla="*/ 117 w 256"/>
                <a:gd name="T73" fmla="*/ 74 h 320"/>
                <a:gd name="T74" fmla="*/ 213 w 256"/>
                <a:gd name="T75" fmla="*/ 74 h 320"/>
                <a:gd name="T76" fmla="*/ 234 w 256"/>
                <a:gd name="T77" fmla="*/ 96 h 320"/>
                <a:gd name="T78" fmla="*/ 234 w 256"/>
                <a:gd name="T79" fmla="*/ 17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6" h="320">
                  <a:moveTo>
                    <a:pt x="213" y="53"/>
                  </a:moveTo>
                  <a:cubicBezTo>
                    <a:pt x="117" y="53"/>
                    <a:pt x="117" y="53"/>
                    <a:pt x="117" y="53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34" y="21"/>
                    <a:pt x="138" y="16"/>
                    <a:pt x="138" y="10"/>
                  </a:cubicBezTo>
                  <a:cubicBezTo>
                    <a:pt x="138" y="4"/>
                    <a:pt x="134" y="0"/>
                    <a:pt x="128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96" y="4"/>
                    <a:pt x="96" y="10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19" y="53"/>
                    <a:pt x="0" y="72"/>
                    <a:pt x="0" y="96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309"/>
                    <a:pt x="96" y="309"/>
                    <a:pt x="96" y="309"/>
                  </a:cubicBezTo>
                  <a:cubicBezTo>
                    <a:pt x="96" y="315"/>
                    <a:pt x="100" y="320"/>
                    <a:pt x="106" y="320"/>
                  </a:cubicBezTo>
                  <a:cubicBezTo>
                    <a:pt x="149" y="320"/>
                    <a:pt x="149" y="320"/>
                    <a:pt x="149" y="320"/>
                  </a:cubicBezTo>
                  <a:cubicBezTo>
                    <a:pt x="155" y="320"/>
                    <a:pt x="160" y="315"/>
                    <a:pt x="160" y="309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245" y="192"/>
                    <a:pt x="245" y="192"/>
                    <a:pt x="245" y="192"/>
                  </a:cubicBezTo>
                  <a:cubicBezTo>
                    <a:pt x="251" y="192"/>
                    <a:pt x="256" y="187"/>
                    <a:pt x="256" y="181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72"/>
                    <a:pt x="237" y="53"/>
                    <a:pt x="213" y="53"/>
                  </a:cubicBezTo>
                  <a:close/>
                  <a:moveTo>
                    <a:pt x="138" y="298"/>
                  </a:moveTo>
                  <a:cubicBezTo>
                    <a:pt x="117" y="298"/>
                    <a:pt x="117" y="298"/>
                    <a:pt x="117" y="298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138" y="192"/>
                    <a:pt x="138" y="192"/>
                    <a:pt x="138" y="192"/>
                  </a:cubicBezTo>
                  <a:lnTo>
                    <a:pt x="138" y="298"/>
                  </a:lnTo>
                  <a:close/>
                  <a:moveTo>
                    <a:pt x="234" y="170"/>
                  </a:moveTo>
                  <a:cubicBezTo>
                    <a:pt x="21" y="170"/>
                    <a:pt x="21" y="170"/>
                    <a:pt x="21" y="170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1" y="84"/>
                    <a:pt x="31" y="74"/>
                    <a:pt x="42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102"/>
                    <a:pt x="100" y="106"/>
                    <a:pt x="106" y="106"/>
                  </a:cubicBezTo>
                  <a:cubicBezTo>
                    <a:pt x="112" y="106"/>
                    <a:pt x="117" y="102"/>
                    <a:pt x="117" y="96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213" y="74"/>
                    <a:pt x="213" y="74"/>
                    <a:pt x="213" y="74"/>
                  </a:cubicBezTo>
                  <a:cubicBezTo>
                    <a:pt x="225" y="74"/>
                    <a:pt x="234" y="84"/>
                    <a:pt x="234" y="96"/>
                  </a:cubicBezTo>
                  <a:lnTo>
                    <a:pt x="234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1" name="Freeform 691"/>
          <p:cNvSpPr>
            <a:spLocks noChangeAspect="1" noEditPoints="1"/>
          </p:cNvSpPr>
          <p:nvPr/>
        </p:nvSpPr>
        <p:spPr bwMode="auto">
          <a:xfrm>
            <a:off x="6457620" y="5359519"/>
            <a:ext cx="367041" cy="368121"/>
          </a:xfrm>
          <a:custGeom>
            <a:avLst/>
            <a:gdLst>
              <a:gd name="T0" fmla="*/ 208 w 512"/>
              <a:gd name="T1" fmla="*/ 300 h 512"/>
              <a:gd name="T2" fmla="*/ 149 w 512"/>
              <a:gd name="T3" fmla="*/ 359 h 512"/>
              <a:gd name="T4" fmla="*/ 149 w 512"/>
              <a:gd name="T5" fmla="*/ 248 h 512"/>
              <a:gd name="T6" fmla="*/ 208 w 512"/>
              <a:gd name="T7" fmla="*/ 300 h 512"/>
              <a:gd name="T8" fmla="*/ 228 w 512"/>
              <a:gd name="T9" fmla="*/ 310 h 512"/>
              <a:gd name="T10" fmla="*/ 164 w 512"/>
              <a:gd name="T11" fmla="*/ 374 h 512"/>
              <a:gd name="T12" fmla="*/ 348 w 512"/>
              <a:gd name="T13" fmla="*/ 374 h 512"/>
              <a:gd name="T14" fmla="*/ 284 w 512"/>
              <a:gd name="T15" fmla="*/ 310 h 512"/>
              <a:gd name="T16" fmla="*/ 228 w 512"/>
              <a:gd name="T17" fmla="*/ 310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384 w 512"/>
              <a:gd name="T29" fmla="*/ 224 h 512"/>
              <a:gd name="T30" fmla="*/ 381 w 512"/>
              <a:gd name="T31" fmla="*/ 217 h 512"/>
              <a:gd name="T32" fmla="*/ 264 w 512"/>
              <a:gd name="T33" fmla="*/ 99 h 512"/>
              <a:gd name="T34" fmla="*/ 248 w 512"/>
              <a:gd name="T35" fmla="*/ 99 h 512"/>
              <a:gd name="T36" fmla="*/ 131 w 512"/>
              <a:gd name="T37" fmla="*/ 217 h 512"/>
              <a:gd name="T38" fmla="*/ 128 w 512"/>
              <a:gd name="T39" fmla="*/ 224 h 512"/>
              <a:gd name="T40" fmla="*/ 128 w 512"/>
              <a:gd name="T41" fmla="*/ 384 h 512"/>
              <a:gd name="T42" fmla="*/ 139 w 512"/>
              <a:gd name="T43" fmla="*/ 395 h 512"/>
              <a:gd name="T44" fmla="*/ 373 w 512"/>
              <a:gd name="T45" fmla="*/ 395 h 512"/>
              <a:gd name="T46" fmla="*/ 384 w 512"/>
              <a:gd name="T47" fmla="*/ 384 h 512"/>
              <a:gd name="T48" fmla="*/ 384 w 512"/>
              <a:gd name="T49" fmla="*/ 224 h 512"/>
              <a:gd name="T50" fmla="*/ 228 w 512"/>
              <a:gd name="T51" fmla="*/ 288 h 512"/>
              <a:gd name="T52" fmla="*/ 154 w 512"/>
              <a:gd name="T53" fmla="*/ 224 h 512"/>
              <a:gd name="T54" fmla="*/ 256 w 512"/>
              <a:gd name="T55" fmla="*/ 122 h 512"/>
              <a:gd name="T56" fmla="*/ 358 w 512"/>
              <a:gd name="T57" fmla="*/ 224 h 512"/>
              <a:gd name="T58" fmla="*/ 284 w 512"/>
              <a:gd name="T59" fmla="*/ 288 h 512"/>
              <a:gd name="T60" fmla="*/ 228 w 512"/>
              <a:gd name="T61" fmla="*/ 288 h 512"/>
              <a:gd name="T62" fmla="*/ 216 w 512"/>
              <a:gd name="T63" fmla="*/ 232 h 512"/>
              <a:gd name="T64" fmla="*/ 248 w 512"/>
              <a:gd name="T65" fmla="*/ 264 h 512"/>
              <a:gd name="T66" fmla="*/ 252 w 512"/>
              <a:gd name="T67" fmla="*/ 266 h 512"/>
              <a:gd name="T68" fmla="*/ 256 w 512"/>
              <a:gd name="T69" fmla="*/ 267 h 512"/>
              <a:gd name="T70" fmla="*/ 260 w 512"/>
              <a:gd name="T71" fmla="*/ 266 h 512"/>
              <a:gd name="T72" fmla="*/ 264 w 512"/>
              <a:gd name="T73" fmla="*/ 264 h 512"/>
              <a:gd name="T74" fmla="*/ 296 w 512"/>
              <a:gd name="T75" fmla="*/ 232 h 512"/>
              <a:gd name="T76" fmla="*/ 296 w 512"/>
              <a:gd name="T77" fmla="*/ 217 h 512"/>
              <a:gd name="T78" fmla="*/ 280 w 512"/>
              <a:gd name="T79" fmla="*/ 217 h 512"/>
              <a:gd name="T80" fmla="*/ 267 w 512"/>
              <a:gd name="T81" fmla="*/ 231 h 512"/>
              <a:gd name="T82" fmla="*/ 267 w 512"/>
              <a:gd name="T83" fmla="*/ 171 h 512"/>
              <a:gd name="T84" fmla="*/ 256 w 512"/>
              <a:gd name="T85" fmla="*/ 160 h 512"/>
              <a:gd name="T86" fmla="*/ 245 w 512"/>
              <a:gd name="T87" fmla="*/ 171 h 512"/>
              <a:gd name="T88" fmla="*/ 245 w 512"/>
              <a:gd name="T89" fmla="*/ 231 h 512"/>
              <a:gd name="T90" fmla="*/ 232 w 512"/>
              <a:gd name="T91" fmla="*/ 217 h 512"/>
              <a:gd name="T92" fmla="*/ 216 w 512"/>
              <a:gd name="T93" fmla="*/ 217 h 512"/>
              <a:gd name="T94" fmla="*/ 216 w 512"/>
              <a:gd name="T95" fmla="*/ 232 h 512"/>
              <a:gd name="T96" fmla="*/ 363 w 512"/>
              <a:gd name="T97" fmla="*/ 359 h 512"/>
              <a:gd name="T98" fmla="*/ 363 w 512"/>
              <a:gd name="T99" fmla="*/ 248 h 512"/>
              <a:gd name="T100" fmla="*/ 304 w 512"/>
              <a:gd name="T101" fmla="*/ 300 h 512"/>
              <a:gd name="T102" fmla="*/ 363 w 512"/>
              <a:gd name="T103" fmla="*/ 35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08" y="300"/>
                </a:moveTo>
                <a:cubicBezTo>
                  <a:pt x="149" y="359"/>
                  <a:pt x="149" y="359"/>
                  <a:pt x="149" y="359"/>
                </a:cubicBezTo>
                <a:cubicBezTo>
                  <a:pt x="149" y="248"/>
                  <a:pt x="149" y="248"/>
                  <a:pt x="149" y="248"/>
                </a:cubicBezTo>
                <a:lnTo>
                  <a:pt x="208" y="300"/>
                </a:lnTo>
                <a:close/>
                <a:moveTo>
                  <a:pt x="228" y="310"/>
                </a:moveTo>
                <a:cubicBezTo>
                  <a:pt x="164" y="374"/>
                  <a:pt x="164" y="374"/>
                  <a:pt x="164" y="374"/>
                </a:cubicBezTo>
                <a:cubicBezTo>
                  <a:pt x="348" y="374"/>
                  <a:pt x="348" y="374"/>
                  <a:pt x="348" y="374"/>
                </a:cubicBezTo>
                <a:cubicBezTo>
                  <a:pt x="284" y="310"/>
                  <a:pt x="284" y="310"/>
                  <a:pt x="284" y="310"/>
                </a:cubicBezTo>
                <a:lnTo>
                  <a:pt x="228" y="310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84" y="224"/>
                </a:moveTo>
                <a:cubicBezTo>
                  <a:pt x="384" y="222"/>
                  <a:pt x="383" y="219"/>
                  <a:pt x="381" y="217"/>
                </a:cubicBezTo>
                <a:cubicBezTo>
                  <a:pt x="264" y="99"/>
                  <a:pt x="264" y="99"/>
                  <a:pt x="264" y="99"/>
                </a:cubicBezTo>
                <a:cubicBezTo>
                  <a:pt x="259" y="95"/>
                  <a:pt x="253" y="95"/>
                  <a:pt x="248" y="99"/>
                </a:cubicBezTo>
                <a:cubicBezTo>
                  <a:pt x="131" y="217"/>
                  <a:pt x="131" y="217"/>
                  <a:pt x="131" y="217"/>
                </a:cubicBezTo>
                <a:cubicBezTo>
                  <a:pt x="129" y="219"/>
                  <a:pt x="128" y="222"/>
                  <a:pt x="128" y="22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3" y="395"/>
                  <a:pt x="139" y="395"/>
                </a:cubicBezTo>
                <a:cubicBezTo>
                  <a:pt x="373" y="395"/>
                  <a:pt x="373" y="395"/>
                  <a:pt x="373" y="395"/>
                </a:cubicBezTo>
                <a:cubicBezTo>
                  <a:pt x="379" y="395"/>
                  <a:pt x="384" y="390"/>
                  <a:pt x="384" y="384"/>
                </a:cubicBezTo>
                <a:lnTo>
                  <a:pt x="384" y="224"/>
                </a:lnTo>
                <a:close/>
                <a:moveTo>
                  <a:pt x="228" y="288"/>
                </a:moveTo>
                <a:cubicBezTo>
                  <a:pt x="154" y="224"/>
                  <a:pt x="154" y="224"/>
                  <a:pt x="154" y="224"/>
                </a:cubicBezTo>
                <a:cubicBezTo>
                  <a:pt x="256" y="122"/>
                  <a:pt x="256" y="122"/>
                  <a:pt x="256" y="122"/>
                </a:cubicBezTo>
                <a:cubicBezTo>
                  <a:pt x="358" y="224"/>
                  <a:pt x="358" y="224"/>
                  <a:pt x="358" y="224"/>
                </a:cubicBezTo>
                <a:cubicBezTo>
                  <a:pt x="284" y="288"/>
                  <a:pt x="284" y="288"/>
                  <a:pt x="284" y="288"/>
                </a:cubicBezTo>
                <a:lnTo>
                  <a:pt x="228" y="288"/>
                </a:lnTo>
                <a:close/>
                <a:moveTo>
                  <a:pt x="216" y="232"/>
                </a:moveTo>
                <a:cubicBezTo>
                  <a:pt x="248" y="264"/>
                  <a:pt x="248" y="264"/>
                  <a:pt x="248" y="264"/>
                </a:cubicBezTo>
                <a:cubicBezTo>
                  <a:pt x="249" y="265"/>
                  <a:pt x="251" y="266"/>
                  <a:pt x="252" y="266"/>
                </a:cubicBezTo>
                <a:cubicBezTo>
                  <a:pt x="253" y="267"/>
                  <a:pt x="255" y="267"/>
                  <a:pt x="256" y="267"/>
                </a:cubicBezTo>
                <a:cubicBezTo>
                  <a:pt x="257" y="267"/>
                  <a:pt x="259" y="267"/>
                  <a:pt x="260" y="266"/>
                </a:cubicBezTo>
                <a:cubicBezTo>
                  <a:pt x="261" y="266"/>
                  <a:pt x="263" y="265"/>
                  <a:pt x="264" y="264"/>
                </a:cubicBezTo>
                <a:cubicBezTo>
                  <a:pt x="296" y="232"/>
                  <a:pt x="296" y="232"/>
                  <a:pt x="296" y="232"/>
                </a:cubicBezTo>
                <a:cubicBezTo>
                  <a:pt x="300" y="228"/>
                  <a:pt x="300" y="221"/>
                  <a:pt x="296" y="217"/>
                </a:cubicBezTo>
                <a:cubicBezTo>
                  <a:pt x="291" y="213"/>
                  <a:pt x="285" y="213"/>
                  <a:pt x="280" y="217"/>
                </a:cubicBezTo>
                <a:cubicBezTo>
                  <a:pt x="267" y="231"/>
                  <a:pt x="267" y="231"/>
                  <a:pt x="267" y="231"/>
                </a:cubicBezTo>
                <a:cubicBezTo>
                  <a:pt x="267" y="171"/>
                  <a:pt x="267" y="171"/>
                  <a:pt x="267" y="171"/>
                </a:cubicBezTo>
                <a:cubicBezTo>
                  <a:pt x="267" y="165"/>
                  <a:pt x="262" y="160"/>
                  <a:pt x="256" y="160"/>
                </a:cubicBezTo>
                <a:cubicBezTo>
                  <a:pt x="250" y="160"/>
                  <a:pt x="245" y="165"/>
                  <a:pt x="245" y="171"/>
                </a:cubicBezTo>
                <a:cubicBezTo>
                  <a:pt x="245" y="231"/>
                  <a:pt x="245" y="231"/>
                  <a:pt x="245" y="231"/>
                </a:cubicBezTo>
                <a:cubicBezTo>
                  <a:pt x="232" y="217"/>
                  <a:pt x="232" y="217"/>
                  <a:pt x="232" y="217"/>
                </a:cubicBezTo>
                <a:cubicBezTo>
                  <a:pt x="227" y="213"/>
                  <a:pt x="221" y="213"/>
                  <a:pt x="216" y="217"/>
                </a:cubicBezTo>
                <a:cubicBezTo>
                  <a:pt x="212" y="221"/>
                  <a:pt x="212" y="228"/>
                  <a:pt x="216" y="232"/>
                </a:cubicBezTo>
                <a:close/>
                <a:moveTo>
                  <a:pt x="363" y="359"/>
                </a:moveTo>
                <a:cubicBezTo>
                  <a:pt x="363" y="248"/>
                  <a:pt x="363" y="248"/>
                  <a:pt x="363" y="248"/>
                </a:cubicBezTo>
                <a:cubicBezTo>
                  <a:pt x="304" y="300"/>
                  <a:pt x="304" y="300"/>
                  <a:pt x="304" y="300"/>
                </a:cubicBezTo>
                <a:lnTo>
                  <a:pt x="363" y="3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2" name="Group 694"/>
          <p:cNvGrpSpPr>
            <a:grpSpLocks noChangeAspect="1"/>
          </p:cNvGrpSpPr>
          <p:nvPr/>
        </p:nvGrpSpPr>
        <p:grpSpPr bwMode="auto">
          <a:xfrm>
            <a:off x="6947011" y="5359519"/>
            <a:ext cx="367041" cy="367041"/>
            <a:chOff x="2437" y="2897"/>
            <a:chExt cx="340" cy="340"/>
          </a:xfrm>
          <a:solidFill>
            <a:schemeClr val="accent2"/>
          </a:solidFill>
        </p:grpSpPr>
        <p:sp>
          <p:nvSpPr>
            <p:cNvPr id="743" name="Freeform 695"/>
            <p:cNvSpPr>
              <a:spLocks noEditPoints="1"/>
            </p:cNvSpPr>
            <p:nvPr/>
          </p:nvSpPr>
          <p:spPr bwMode="auto">
            <a:xfrm>
              <a:off x="2437" y="2897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4" name="Freeform 696"/>
            <p:cNvSpPr>
              <a:spLocks noEditPoints="1"/>
            </p:cNvSpPr>
            <p:nvPr/>
          </p:nvSpPr>
          <p:spPr bwMode="auto">
            <a:xfrm>
              <a:off x="2522" y="2960"/>
              <a:ext cx="170" cy="199"/>
            </a:xfrm>
            <a:custGeom>
              <a:avLst/>
              <a:gdLst>
                <a:gd name="T0" fmla="*/ 253 w 256"/>
                <a:gd name="T1" fmla="*/ 122 h 300"/>
                <a:gd name="T2" fmla="*/ 136 w 256"/>
                <a:gd name="T3" fmla="*/ 4 h 300"/>
                <a:gd name="T4" fmla="*/ 120 w 256"/>
                <a:gd name="T5" fmla="*/ 4 h 300"/>
                <a:gd name="T6" fmla="*/ 3 w 256"/>
                <a:gd name="T7" fmla="*/ 122 h 300"/>
                <a:gd name="T8" fmla="*/ 0 w 256"/>
                <a:gd name="T9" fmla="*/ 129 h 300"/>
                <a:gd name="T10" fmla="*/ 0 w 256"/>
                <a:gd name="T11" fmla="*/ 289 h 300"/>
                <a:gd name="T12" fmla="*/ 11 w 256"/>
                <a:gd name="T13" fmla="*/ 300 h 300"/>
                <a:gd name="T14" fmla="*/ 245 w 256"/>
                <a:gd name="T15" fmla="*/ 300 h 300"/>
                <a:gd name="T16" fmla="*/ 256 w 256"/>
                <a:gd name="T17" fmla="*/ 289 h 300"/>
                <a:gd name="T18" fmla="*/ 256 w 256"/>
                <a:gd name="T19" fmla="*/ 129 h 300"/>
                <a:gd name="T20" fmla="*/ 253 w 256"/>
                <a:gd name="T21" fmla="*/ 122 h 300"/>
                <a:gd name="T22" fmla="*/ 21 w 256"/>
                <a:gd name="T23" fmla="*/ 153 h 300"/>
                <a:gd name="T24" fmla="*/ 80 w 256"/>
                <a:gd name="T25" fmla="*/ 205 h 300"/>
                <a:gd name="T26" fmla="*/ 21 w 256"/>
                <a:gd name="T27" fmla="*/ 264 h 300"/>
                <a:gd name="T28" fmla="*/ 21 w 256"/>
                <a:gd name="T29" fmla="*/ 153 h 300"/>
                <a:gd name="T30" fmla="*/ 100 w 256"/>
                <a:gd name="T31" fmla="*/ 215 h 300"/>
                <a:gd name="T32" fmla="*/ 156 w 256"/>
                <a:gd name="T33" fmla="*/ 215 h 300"/>
                <a:gd name="T34" fmla="*/ 220 w 256"/>
                <a:gd name="T35" fmla="*/ 279 h 300"/>
                <a:gd name="T36" fmla="*/ 36 w 256"/>
                <a:gd name="T37" fmla="*/ 279 h 300"/>
                <a:gd name="T38" fmla="*/ 100 w 256"/>
                <a:gd name="T39" fmla="*/ 215 h 300"/>
                <a:gd name="T40" fmla="*/ 176 w 256"/>
                <a:gd name="T41" fmla="*/ 205 h 300"/>
                <a:gd name="T42" fmla="*/ 235 w 256"/>
                <a:gd name="T43" fmla="*/ 153 h 300"/>
                <a:gd name="T44" fmla="*/ 235 w 256"/>
                <a:gd name="T45" fmla="*/ 264 h 300"/>
                <a:gd name="T46" fmla="*/ 176 w 256"/>
                <a:gd name="T47" fmla="*/ 205 h 300"/>
                <a:gd name="T48" fmla="*/ 128 w 256"/>
                <a:gd name="T49" fmla="*/ 27 h 300"/>
                <a:gd name="T50" fmla="*/ 230 w 256"/>
                <a:gd name="T51" fmla="*/ 129 h 300"/>
                <a:gd name="T52" fmla="*/ 156 w 256"/>
                <a:gd name="T53" fmla="*/ 193 h 300"/>
                <a:gd name="T54" fmla="*/ 100 w 256"/>
                <a:gd name="T55" fmla="*/ 193 h 300"/>
                <a:gd name="T56" fmla="*/ 26 w 256"/>
                <a:gd name="T57" fmla="*/ 129 h 300"/>
                <a:gd name="T58" fmla="*/ 128 w 256"/>
                <a:gd name="T59" fmla="*/ 2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6" h="300">
                  <a:moveTo>
                    <a:pt x="253" y="122"/>
                  </a:moveTo>
                  <a:cubicBezTo>
                    <a:pt x="136" y="4"/>
                    <a:pt x="136" y="4"/>
                    <a:pt x="136" y="4"/>
                  </a:cubicBezTo>
                  <a:cubicBezTo>
                    <a:pt x="131" y="0"/>
                    <a:pt x="125" y="0"/>
                    <a:pt x="120" y="4"/>
                  </a:cubicBezTo>
                  <a:cubicBezTo>
                    <a:pt x="3" y="122"/>
                    <a:pt x="3" y="122"/>
                    <a:pt x="3" y="122"/>
                  </a:cubicBezTo>
                  <a:cubicBezTo>
                    <a:pt x="1" y="124"/>
                    <a:pt x="0" y="127"/>
                    <a:pt x="0" y="129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95"/>
                    <a:pt x="5" y="300"/>
                    <a:pt x="11" y="300"/>
                  </a:cubicBezTo>
                  <a:cubicBezTo>
                    <a:pt x="245" y="300"/>
                    <a:pt x="245" y="300"/>
                    <a:pt x="245" y="300"/>
                  </a:cubicBezTo>
                  <a:cubicBezTo>
                    <a:pt x="251" y="300"/>
                    <a:pt x="256" y="295"/>
                    <a:pt x="256" y="289"/>
                  </a:cubicBezTo>
                  <a:cubicBezTo>
                    <a:pt x="256" y="129"/>
                    <a:pt x="256" y="129"/>
                    <a:pt x="256" y="129"/>
                  </a:cubicBezTo>
                  <a:cubicBezTo>
                    <a:pt x="256" y="127"/>
                    <a:pt x="255" y="124"/>
                    <a:pt x="253" y="122"/>
                  </a:cubicBezTo>
                  <a:close/>
                  <a:moveTo>
                    <a:pt x="21" y="153"/>
                  </a:moveTo>
                  <a:cubicBezTo>
                    <a:pt x="80" y="205"/>
                    <a:pt x="80" y="205"/>
                    <a:pt x="80" y="205"/>
                  </a:cubicBezTo>
                  <a:cubicBezTo>
                    <a:pt x="21" y="264"/>
                    <a:pt x="21" y="264"/>
                    <a:pt x="21" y="264"/>
                  </a:cubicBezTo>
                  <a:lnTo>
                    <a:pt x="21" y="153"/>
                  </a:lnTo>
                  <a:close/>
                  <a:moveTo>
                    <a:pt x="100" y="215"/>
                  </a:moveTo>
                  <a:cubicBezTo>
                    <a:pt x="156" y="215"/>
                    <a:pt x="156" y="215"/>
                    <a:pt x="156" y="215"/>
                  </a:cubicBezTo>
                  <a:cubicBezTo>
                    <a:pt x="220" y="279"/>
                    <a:pt x="220" y="279"/>
                    <a:pt x="220" y="279"/>
                  </a:cubicBezTo>
                  <a:cubicBezTo>
                    <a:pt x="36" y="279"/>
                    <a:pt x="36" y="279"/>
                    <a:pt x="36" y="279"/>
                  </a:cubicBezTo>
                  <a:lnTo>
                    <a:pt x="100" y="215"/>
                  </a:lnTo>
                  <a:close/>
                  <a:moveTo>
                    <a:pt x="176" y="205"/>
                  </a:moveTo>
                  <a:cubicBezTo>
                    <a:pt x="235" y="153"/>
                    <a:pt x="235" y="153"/>
                    <a:pt x="235" y="153"/>
                  </a:cubicBezTo>
                  <a:cubicBezTo>
                    <a:pt x="235" y="264"/>
                    <a:pt x="235" y="264"/>
                    <a:pt x="235" y="264"/>
                  </a:cubicBezTo>
                  <a:lnTo>
                    <a:pt x="176" y="205"/>
                  </a:lnTo>
                  <a:close/>
                  <a:moveTo>
                    <a:pt x="128" y="27"/>
                  </a:moveTo>
                  <a:cubicBezTo>
                    <a:pt x="230" y="129"/>
                    <a:pt x="230" y="129"/>
                    <a:pt x="230" y="129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00" y="193"/>
                    <a:pt x="100" y="193"/>
                    <a:pt x="100" y="193"/>
                  </a:cubicBezTo>
                  <a:cubicBezTo>
                    <a:pt x="26" y="129"/>
                    <a:pt x="26" y="129"/>
                    <a:pt x="26" y="129"/>
                  </a:cubicBezTo>
                  <a:lnTo>
                    <a:pt x="12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5" name="Freeform 697"/>
            <p:cNvSpPr>
              <a:spLocks/>
            </p:cNvSpPr>
            <p:nvPr/>
          </p:nvSpPr>
          <p:spPr bwMode="auto">
            <a:xfrm>
              <a:off x="2578" y="3003"/>
              <a:ext cx="58" cy="71"/>
            </a:xfrm>
            <a:custGeom>
              <a:avLst/>
              <a:gdLst>
                <a:gd name="T0" fmla="*/ 4 w 88"/>
                <a:gd name="T1" fmla="*/ 72 h 107"/>
                <a:gd name="T2" fmla="*/ 36 w 88"/>
                <a:gd name="T3" fmla="*/ 104 h 107"/>
                <a:gd name="T4" fmla="*/ 40 w 88"/>
                <a:gd name="T5" fmla="*/ 106 h 107"/>
                <a:gd name="T6" fmla="*/ 44 w 88"/>
                <a:gd name="T7" fmla="*/ 107 h 107"/>
                <a:gd name="T8" fmla="*/ 48 w 88"/>
                <a:gd name="T9" fmla="*/ 106 h 107"/>
                <a:gd name="T10" fmla="*/ 52 w 88"/>
                <a:gd name="T11" fmla="*/ 104 h 107"/>
                <a:gd name="T12" fmla="*/ 84 w 88"/>
                <a:gd name="T13" fmla="*/ 72 h 107"/>
                <a:gd name="T14" fmla="*/ 84 w 88"/>
                <a:gd name="T15" fmla="*/ 57 h 107"/>
                <a:gd name="T16" fmla="*/ 68 w 88"/>
                <a:gd name="T17" fmla="*/ 57 h 107"/>
                <a:gd name="T18" fmla="*/ 55 w 88"/>
                <a:gd name="T19" fmla="*/ 71 h 107"/>
                <a:gd name="T20" fmla="*/ 55 w 88"/>
                <a:gd name="T21" fmla="*/ 11 h 107"/>
                <a:gd name="T22" fmla="*/ 44 w 88"/>
                <a:gd name="T23" fmla="*/ 0 h 107"/>
                <a:gd name="T24" fmla="*/ 33 w 88"/>
                <a:gd name="T25" fmla="*/ 11 h 107"/>
                <a:gd name="T26" fmla="*/ 33 w 88"/>
                <a:gd name="T27" fmla="*/ 71 h 107"/>
                <a:gd name="T28" fmla="*/ 20 w 88"/>
                <a:gd name="T29" fmla="*/ 57 h 107"/>
                <a:gd name="T30" fmla="*/ 4 w 88"/>
                <a:gd name="T31" fmla="*/ 57 h 107"/>
                <a:gd name="T32" fmla="*/ 4 w 88"/>
                <a:gd name="T33" fmla="*/ 7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07">
                  <a:moveTo>
                    <a:pt x="4" y="72"/>
                  </a:moveTo>
                  <a:cubicBezTo>
                    <a:pt x="36" y="104"/>
                    <a:pt x="36" y="104"/>
                    <a:pt x="36" y="104"/>
                  </a:cubicBezTo>
                  <a:cubicBezTo>
                    <a:pt x="37" y="105"/>
                    <a:pt x="39" y="106"/>
                    <a:pt x="40" y="106"/>
                  </a:cubicBezTo>
                  <a:cubicBezTo>
                    <a:pt x="41" y="107"/>
                    <a:pt x="43" y="107"/>
                    <a:pt x="44" y="107"/>
                  </a:cubicBezTo>
                  <a:cubicBezTo>
                    <a:pt x="45" y="107"/>
                    <a:pt x="47" y="107"/>
                    <a:pt x="48" y="106"/>
                  </a:cubicBezTo>
                  <a:cubicBezTo>
                    <a:pt x="49" y="106"/>
                    <a:pt x="51" y="105"/>
                    <a:pt x="52" y="104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8" y="68"/>
                    <a:pt x="88" y="61"/>
                    <a:pt x="84" y="57"/>
                  </a:cubicBezTo>
                  <a:cubicBezTo>
                    <a:pt x="79" y="53"/>
                    <a:pt x="73" y="53"/>
                    <a:pt x="68" y="57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5"/>
                    <a:pt x="50" y="0"/>
                    <a:pt x="44" y="0"/>
                  </a:cubicBezTo>
                  <a:cubicBezTo>
                    <a:pt x="38" y="0"/>
                    <a:pt x="33" y="5"/>
                    <a:pt x="33" y="1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15" y="53"/>
                    <a:pt x="9" y="53"/>
                    <a:pt x="4" y="57"/>
                  </a:cubicBezTo>
                  <a:cubicBezTo>
                    <a:pt x="0" y="61"/>
                    <a:pt x="0" y="68"/>
                    <a:pt x="4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6" name="Freeform 701"/>
          <p:cNvSpPr>
            <a:spLocks noChangeAspect="1" noEditPoints="1"/>
          </p:cNvSpPr>
          <p:nvPr/>
        </p:nvSpPr>
        <p:spPr bwMode="auto">
          <a:xfrm>
            <a:off x="7436402" y="5359519"/>
            <a:ext cx="367041" cy="368121"/>
          </a:xfrm>
          <a:custGeom>
            <a:avLst/>
            <a:gdLst>
              <a:gd name="T0" fmla="*/ 202 w 512"/>
              <a:gd name="T1" fmla="*/ 252 h 512"/>
              <a:gd name="T2" fmla="*/ 117 w 512"/>
              <a:gd name="T3" fmla="*/ 337 h 512"/>
              <a:gd name="T4" fmla="*/ 117 w 512"/>
              <a:gd name="T5" fmla="*/ 173 h 512"/>
              <a:gd name="T6" fmla="*/ 202 w 512"/>
              <a:gd name="T7" fmla="*/ 252 h 512"/>
              <a:gd name="T8" fmla="*/ 378 w 512"/>
              <a:gd name="T9" fmla="*/ 160 h 512"/>
              <a:gd name="T10" fmla="*/ 133 w 512"/>
              <a:gd name="T11" fmla="*/ 160 h 512"/>
              <a:gd name="T12" fmla="*/ 256 w 512"/>
              <a:gd name="T13" fmla="*/ 273 h 512"/>
              <a:gd name="T14" fmla="*/ 378 w 512"/>
              <a:gd name="T15" fmla="*/ 160 h 512"/>
              <a:gd name="T16" fmla="*/ 263 w 512"/>
              <a:gd name="T17" fmla="*/ 295 h 512"/>
              <a:gd name="T18" fmla="*/ 256 w 512"/>
              <a:gd name="T19" fmla="*/ 298 h 512"/>
              <a:gd name="T20" fmla="*/ 248 w 512"/>
              <a:gd name="T21" fmla="*/ 295 h 512"/>
              <a:gd name="T22" fmla="*/ 217 w 512"/>
              <a:gd name="T23" fmla="*/ 267 h 512"/>
              <a:gd name="T24" fmla="*/ 132 w 512"/>
              <a:gd name="T25" fmla="*/ 352 h 512"/>
              <a:gd name="T26" fmla="*/ 379 w 512"/>
              <a:gd name="T27" fmla="*/ 352 h 512"/>
              <a:gd name="T28" fmla="*/ 294 w 512"/>
              <a:gd name="T29" fmla="*/ 267 h 512"/>
              <a:gd name="T30" fmla="*/ 263 w 512"/>
              <a:gd name="T31" fmla="*/ 295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149 h 512"/>
              <a:gd name="T44" fmla="*/ 405 w 512"/>
              <a:gd name="T45" fmla="*/ 138 h 512"/>
              <a:gd name="T46" fmla="*/ 106 w 512"/>
              <a:gd name="T47" fmla="*/ 138 h 512"/>
              <a:gd name="T48" fmla="*/ 96 w 512"/>
              <a:gd name="T49" fmla="*/ 149 h 512"/>
              <a:gd name="T50" fmla="*/ 96 w 512"/>
              <a:gd name="T51" fmla="*/ 362 h 512"/>
              <a:gd name="T52" fmla="*/ 106 w 512"/>
              <a:gd name="T53" fmla="*/ 373 h 512"/>
              <a:gd name="T54" fmla="*/ 405 w 512"/>
              <a:gd name="T55" fmla="*/ 373 h 512"/>
              <a:gd name="T56" fmla="*/ 416 w 512"/>
              <a:gd name="T57" fmla="*/ 362 h 512"/>
              <a:gd name="T58" fmla="*/ 416 w 512"/>
              <a:gd name="T59" fmla="*/ 149 h 512"/>
              <a:gd name="T60" fmla="*/ 394 w 512"/>
              <a:gd name="T61" fmla="*/ 337 h 512"/>
              <a:gd name="T62" fmla="*/ 394 w 512"/>
              <a:gd name="T63" fmla="*/ 173 h 512"/>
              <a:gd name="T64" fmla="*/ 310 w 512"/>
              <a:gd name="T65" fmla="*/ 252 h 512"/>
              <a:gd name="T66" fmla="*/ 394 w 512"/>
              <a:gd name="T67" fmla="*/ 33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02" y="252"/>
                </a:moveTo>
                <a:cubicBezTo>
                  <a:pt x="117" y="337"/>
                  <a:pt x="117" y="337"/>
                  <a:pt x="117" y="337"/>
                </a:cubicBezTo>
                <a:cubicBezTo>
                  <a:pt x="117" y="173"/>
                  <a:pt x="117" y="173"/>
                  <a:pt x="117" y="173"/>
                </a:cubicBezTo>
                <a:lnTo>
                  <a:pt x="202" y="252"/>
                </a:lnTo>
                <a:close/>
                <a:moveTo>
                  <a:pt x="378" y="160"/>
                </a:moveTo>
                <a:cubicBezTo>
                  <a:pt x="133" y="160"/>
                  <a:pt x="133" y="160"/>
                  <a:pt x="133" y="160"/>
                </a:cubicBezTo>
                <a:cubicBezTo>
                  <a:pt x="256" y="273"/>
                  <a:pt x="256" y="273"/>
                  <a:pt x="256" y="273"/>
                </a:cubicBezTo>
                <a:lnTo>
                  <a:pt x="378" y="160"/>
                </a:lnTo>
                <a:close/>
                <a:moveTo>
                  <a:pt x="263" y="295"/>
                </a:moveTo>
                <a:cubicBezTo>
                  <a:pt x="261" y="297"/>
                  <a:pt x="258" y="298"/>
                  <a:pt x="256" y="298"/>
                </a:cubicBezTo>
                <a:cubicBezTo>
                  <a:pt x="253" y="298"/>
                  <a:pt x="250" y="297"/>
                  <a:pt x="248" y="295"/>
                </a:cubicBezTo>
                <a:cubicBezTo>
                  <a:pt x="217" y="267"/>
                  <a:pt x="217" y="267"/>
                  <a:pt x="217" y="267"/>
                </a:cubicBezTo>
                <a:cubicBezTo>
                  <a:pt x="132" y="352"/>
                  <a:pt x="132" y="352"/>
                  <a:pt x="132" y="352"/>
                </a:cubicBezTo>
                <a:cubicBezTo>
                  <a:pt x="379" y="352"/>
                  <a:pt x="379" y="352"/>
                  <a:pt x="379" y="352"/>
                </a:cubicBezTo>
                <a:cubicBezTo>
                  <a:pt x="294" y="267"/>
                  <a:pt x="294" y="267"/>
                  <a:pt x="294" y="267"/>
                </a:cubicBezTo>
                <a:lnTo>
                  <a:pt x="263" y="29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  <a:moveTo>
                  <a:pt x="394" y="337"/>
                </a:moveTo>
                <a:cubicBezTo>
                  <a:pt x="394" y="173"/>
                  <a:pt x="394" y="173"/>
                  <a:pt x="394" y="173"/>
                </a:cubicBezTo>
                <a:cubicBezTo>
                  <a:pt x="310" y="252"/>
                  <a:pt x="310" y="252"/>
                  <a:pt x="310" y="252"/>
                </a:cubicBezTo>
                <a:lnTo>
                  <a:pt x="394" y="3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47" name="Freeform 705"/>
          <p:cNvSpPr>
            <a:spLocks noChangeAspect="1" noEditPoints="1"/>
          </p:cNvSpPr>
          <p:nvPr/>
        </p:nvSpPr>
        <p:spPr bwMode="auto">
          <a:xfrm>
            <a:off x="8415184" y="5359519"/>
            <a:ext cx="367041" cy="367041"/>
          </a:xfrm>
          <a:custGeom>
            <a:avLst/>
            <a:gdLst>
              <a:gd name="T0" fmla="*/ 283 w 512"/>
              <a:gd name="T1" fmla="*/ 309 h 512"/>
              <a:gd name="T2" fmla="*/ 347 w 512"/>
              <a:gd name="T3" fmla="*/ 373 h 512"/>
              <a:gd name="T4" fmla="*/ 164 w 512"/>
              <a:gd name="T5" fmla="*/ 373 h 512"/>
              <a:gd name="T6" fmla="*/ 228 w 512"/>
              <a:gd name="T7" fmla="*/ 309 h 512"/>
              <a:gd name="T8" fmla="*/ 283 w 512"/>
              <a:gd name="T9" fmla="*/ 309 h 512"/>
              <a:gd name="T10" fmla="*/ 149 w 512"/>
              <a:gd name="T11" fmla="*/ 247 h 512"/>
              <a:gd name="T12" fmla="*/ 149 w 512"/>
              <a:gd name="T13" fmla="*/ 358 h 512"/>
              <a:gd name="T14" fmla="*/ 208 w 512"/>
              <a:gd name="T15" fmla="*/ 299 h 512"/>
              <a:gd name="T16" fmla="*/ 149 w 512"/>
              <a:gd name="T17" fmla="*/ 247 h 512"/>
              <a:gd name="T18" fmla="*/ 228 w 512"/>
              <a:gd name="T19" fmla="*/ 288 h 512"/>
              <a:gd name="T20" fmla="*/ 154 w 512"/>
              <a:gd name="T21" fmla="*/ 223 h 512"/>
              <a:gd name="T22" fmla="*/ 256 w 512"/>
              <a:gd name="T23" fmla="*/ 121 h 512"/>
              <a:gd name="T24" fmla="*/ 357 w 512"/>
              <a:gd name="T25" fmla="*/ 223 h 512"/>
              <a:gd name="T26" fmla="*/ 284 w 512"/>
              <a:gd name="T27" fmla="*/ 288 h 512"/>
              <a:gd name="T28" fmla="*/ 228 w 512"/>
              <a:gd name="T29" fmla="*/ 288 h 512"/>
              <a:gd name="T30" fmla="*/ 224 w 512"/>
              <a:gd name="T31" fmla="*/ 213 h 512"/>
              <a:gd name="T32" fmla="*/ 231 w 512"/>
              <a:gd name="T33" fmla="*/ 210 h 512"/>
              <a:gd name="T34" fmla="*/ 245 w 512"/>
              <a:gd name="T35" fmla="*/ 196 h 512"/>
              <a:gd name="T36" fmla="*/ 245 w 512"/>
              <a:gd name="T37" fmla="*/ 256 h 512"/>
              <a:gd name="T38" fmla="*/ 256 w 512"/>
              <a:gd name="T39" fmla="*/ 266 h 512"/>
              <a:gd name="T40" fmla="*/ 266 w 512"/>
              <a:gd name="T41" fmla="*/ 256 h 512"/>
              <a:gd name="T42" fmla="*/ 266 w 512"/>
              <a:gd name="T43" fmla="*/ 196 h 512"/>
              <a:gd name="T44" fmla="*/ 280 w 512"/>
              <a:gd name="T45" fmla="*/ 210 h 512"/>
              <a:gd name="T46" fmla="*/ 288 w 512"/>
              <a:gd name="T47" fmla="*/ 213 h 512"/>
              <a:gd name="T48" fmla="*/ 295 w 512"/>
              <a:gd name="T49" fmla="*/ 210 h 512"/>
              <a:gd name="T50" fmla="*/ 295 w 512"/>
              <a:gd name="T51" fmla="*/ 195 h 512"/>
              <a:gd name="T52" fmla="*/ 263 w 512"/>
              <a:gd name="T53" fmla="*/ 163 h 512"/>
              <a:gd name="T54" fmla="*/ 260 w 512"/>
              <a:gd name="T55" fmla="*/ 160 h 512"/>
              <a:gd name="T56" fmla="*/ 252 w 512"/>
              <a:gd name="T57" fmla="*/ 160 h 512"/>
              <a:gd name="T58" fmla="*/ 248 w 512"/>
              <a:gd name="T59" fmla="*/ 163 h 512"/>
              <a:gd name="T60" fmla="*/ 216 w 512"/>
              <a:gd name="T61" fmla="*/ 195 h 512"/>
              <a:gd name="T62" fmla="*/ 216 w 512"/>
              <a:gd name="T63" fmla="*/ 210 h 512"/>
              <a:gd name="T64" fmla="*/ 224 w 512"/>
              <a:gd name="T65" fmla="*/ 213 h 512"/>
              <a:gd name="T66" fmla="*/ 512 w 512"/>
              <a:gd name="T67" fmla="*/ 256 h 512"/>
              <a:gd name="T68" fmla="*/ 256 w 512"/>
              <a:gd name="T69" fmla="*/ 512 h 512"/>
              <a:gd name="T70" fmla="*/ 0 w 512"/>
              <a:gd name="T71" fmla="*/ 256 h 512"/>
              <a:gd name="T72" fmla="*/ 256 w 512"/>
              <a:gd name="T73" fmla="*/ 0 h 512"/>
              <a:gd name="T74" fmla="*/ 512 w 512"/>
              <a:gd name="T75" fmla="*/ 256 h 512"/>
              <a:gd name="T76" fmla="*/ 384 w 512"/>
              <a:gd name="T77" fmla="*/ 224 h 512"/>
              <a:gd name="T78" fmla="*/ 381 w 512"/>
              <a:gd name="T79" fmla="*/ 216 h 512"/>
              <a:gd name="T80" fmla="*/ 263 w 512"/>
              <a:gd name="T81" fmla="*/ 99 h 512"/>
              <a:gd name="T82" fmla="*/ 248 w 512"/>
              <a:gd name="T83" fmla="*/ 99 h 512"/>
              <a:gd name="T84" fmla="*/ 131 w 512"/>
              <a:gd name="T85" fmla="*/ 216 h 512"/>
              <a:gd name="T86" fmla="*/ 128 w 512"/>
              <a:gd name="T87" fmla="*/ 224 h 512"/>
              <a:gd name="T88" fmla="*/ 128 w 512"/>
              <a:gd name="T89" fmla="*/ 384 h 512"/>
              <a:gd name="T90" fmla="*/ 138 w 512"/>
              <a:gd name="T91" fmla="*/ 394 h 512"/>
              <a:gd name="T92" fmla="*/ 373 w 512"/>
              <a:gd name="T93" fmla="*/ 394 h 512"/>
              <a:gd name="T94" fmla="*/ 384 w 512"/>
              <a:gd name="T95" fmla="*/ 384 h 512"/>
              <a:gd name="T96" fmla="*/ 384 w 512"/>
              <a:gd name="T97" fmla="*/ 224 h 512"/>
              <a:gd name="T98" fmla="*/ 362 w 512"/>
              <a:gd name="T99" fmla="*/ 358 h 512"/>
              <a:gd name="T100" fmla="*/ 362 w 512"/>
              <a:gd name="T101" fmla="*/ 247 h 512"/>
              <a:gd name="T102" fmla="*/ 303 w 512"/>
              <a:gd name="T103" fmla="*/ 299 h 512"/>
              <a:gd name="T104" fmla="*/ 362 w 512"/>
              <a:gd name="T105" fmla="*/ 35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83" y="309"/>
                </a:moveTo>
                <a:cubicBezTo>
                  <a:pt x="347" y="373"/>
                  <a:pt x="347" y="373"/>
                  <a:pt x="347" y="373"/>
                </a:cubicBezTo>
                <a:cubicBezTo>
                  <a:pt x="164" y="373"/>
                  <a:pt x="164" y="373"/>
                  <a:pt x="164" y="373"/>
                </a:cubicBezTo>
                <a:cubicBezTo>
                  <a:pt x="228" y="309"/>
                  <a:pt x="228" y="309"/>
                  <a:pt x="228" y="309"/>
                </a:cubicBezTo>
                <a:lnTo>
                  <a:pt x="283" y="309"/>
                </a:lnTo>
                <a:close/>
                <a:moveTo>
                  <a:pt x="149" y="247"/>
                </a:moveTo>
                <a:cubicBezTo>
                  <a:pt x="149" y="358"/>
                  <a:pt x="149" y="358"/>
                  <a:pt x="149" y="358"/>
                </a:cubicBezTo>
                <a:cubicBezTo>
                  <a:pt x="208" y="299"/>
                  <a:pt x="208" y="299"/>
                  <a:pt x="208" y="299"/>
                </a:cubicBezTo>
                <a:lnTo>
                  <a:pt x="149" y="247"/>
                </a:lnTo>
                <a:close/>
                <a:moveTo>
                  <a:pt x="228" y="288"/>
                </a:moveTo>
                <a:cubicBezTo>
                  <a:pt x="154" y="223"/>
                  <a:pt x="154" y="223"/>
                  <a:pt x="154" y="223"/>
                </a:cubicBezTo>
                <a:cubicBezTo>
                  <a:pt x="256" y="121"/>
                  <a:pt x="256" y="121"/>
                  <a:pt x="256" y="121"/>
                </a:cubicBezTo>
                <a:cubicBezTo>
                  <a:pt x="357" y="223"/>
                  <a:pt x="357" y="223"/>
                  <a:pt x="357" y="223"/>
                </a:cubicBezTo>
                <a:cubicBezTo>
                  <a:pt x="284" y="288"/>
                  <a:pt x="284" y="288"/>
                  <a:pt x="284" y="288"/>
                </a:cubicBezTo>
                <a:lnTo>
                  <a:pt x="228" y="288"/>
                </a:lnTo>
                <a:close/>
                <a:moveTo>
                  <a:pt x="224" y="213"/>
                </a:moveTo>
                <a:cubicBezTo>
                  <a:pt x="226" y="213"/>
                  <a:pt x="229" y="212"/>
                  <a:pt x="231" y="210"/>
                </a:cubicBezTo>
                <a:cubicBezTo>
                  <a:pt x="245" y="196"/>
                  <a:pt x="245" y="196"/>
                  <a:pt x="245" y="196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45" y="262"/>
                  <a:pt x="250" y="266"/>
                  <a:pt x="256" y="266"/>
                </a:cubicBezTo>
                <a:cubicBezTo>
                  <a:pt x="262" y="266"/>
                  <a:pt x="266" y="262"/>
                  <a:pt x="266" y="256"/>
                </a:cubicBezTo>
                <a:cubicBezTo>
                  <a:pt x="266" y="196"/>
                  <a:pt x="266" y="196"/>
                  <a:pt x="266" y="196"/>
                </a:cubicBezTo>
                <a:cubicBezTo>
                  <a:pt x="280" y="210"/>
                  <a:pt x="280" y="210"/>
                  <a:pt x="280" y="210"/>
                </a:cubicBezTo>
                <a:cubicBezTo>
                  <a:pt x="282" y="212"/>
                  <a:pt x="285" y="213"/>
                  <a:pt x="288" y="213"/>
                </a:cubicBezTo>
                <a:cubicBezTo>
                  <a:pt x="290" y="213"/>
                  <a:pt x="293" y="212"/>
                  <a:pt x="295" y="210"/>
                </a:cubicBezTo>
                <a:cubicBezTo>
                  <a:pt x="299" y="206"/>
                  <a:pt x="299" y="199"/>
                  <a:pt x="295" y="195"/>
                </a:cubicBezTo>
                <a:cubicBezTo>
                  <a:pt x="263" y="163"/>
                  <a:pt x="263" y="163"/>
                  <a:pt x="263" y="163"/>
                </a:cubicBezTo>
                <a:cubicBezTo>
                  <a:pt x="262" y="162"/>
                  <a:pt x="261" y="161"/>
                  <a:pt x="260" y="160"/>
                </a:cubicBezTo>
                <a:cubicBezTo>
                  <a:pt x="257" y="159"/>
                  <a:pt x="254" y="159"/>
                  <a:pt x="252" y="160"/>
                </a:cubicBezTo>
                <a:cubicBezTo>
                  <a:pt x="250" y="161"/>
                  <a:pt x="249" y="162"/>
                  <a:pt x="248" y="163"/>
                </a:cubicBezTo>
                <a:cubicBezTo>
                  <a:pt x="216" y="195"/>
                  <a:pt x="216" y="195"/>
                  <a:pt x="216" y="195"/>
                </a:cubicBezTo>
                <a:cubicBezTo>
                  <a:pt x="212" y="199"/>
                  <a:pt x="212" y="206"/>
                  <a:pt x="216" y="210"/>
                </a:cubicBezTo>
                <a:cubicBezTo>
                  <a:pt x="218" y="212"/>
                  <a:pt x="221" y="213"/>
                  <a:pt x="224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4" y="224"/>
                </a:moveTo>
                <a:cubicBezTo>
                  <a:pt x="384" y="221"/>
                  <a:pt x="383" y="218"/>
                  <a:pt x="381" y="216"/>
                </a:cubicBezTo>
                <a:cubicBezTo>
                  <a:pt x="263" y="99"/>
                  <a:pt x="263" y="99"/>
                  <a:pt x="263" y="99"/>
                </a:cubicBezTo>
                <a:cubicBezTo>
                  <a:pt x="259" y="95"/>
                  <a:pt x="252" y="95"/>
                  <a:pt x="248" y="99"/>
                </a:cubicBezTo>
                <a:cubicBezTo>
                  <a:pt x="131" y="216"/>
                  <a:pt x="131" y="216"/>
                  <a:pt x="131" y="216"/>
                </a:cubicBezTo>
                <a:cubicBezTo>
                  <a:pt x="129" y="218"/>
                  <a:pt x="128" y="221"/>
                  <a:pt x="128" y="22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lnTo>
                  <a:pt x="384" y="224"/>
                </a:lnTo>
                <a:close/>
                <a:moveTo>
                  <a:pt x="362" y="358"/>
                </a:moveTo>
                <a:cubicBezTo>
                  <a:pt x="362" y="247"/>
                  <a:pt x="362" y="247"/>
                  <a:pt x="362" y="247"/>
                </a:cubicBezTo>
                <a:cubicBezTo>
                  <a:pt x="303" y="299"/>
                  <a:pt x="303" y="299"/>
                  <a:pt x="303" y="299"/>
                </a:cubicBezTo>
                <a:lnTo>
                  <a:pt x="362" y="35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8" name="Group 708"/>
          <p:cNvGrpSpPr>
            <a:grpSpLocks noChangeAspect="1"/>
          </p:cNvGrpSpPr>
          <p:nvPr/>
        </p:nvGrpSpPr>
        <p:grpSpPr bwMode="auto">
          <a:xfrm>
            <a:off x="8904575" y="5359515"/>
            <a:ext cx="367041" cy="368120"/>
            <a:chOff x="3670" y="2977"/>
            <a:chExt cx="340" cy="341"/>
          </a:xfrm>
          <a:solidFill>
            <a:schemeClr val="accent2"/>
          </a:solidFill>
        </p:grpSpPr>
        <p:sp>
          <p:nvSpPr>
            <p:cNvPr id="749" name="Freeform 709"/>
            <p:cNvSpPr>
              <a:spLocks noEditPoints="1"/>
            </p:cNvSpPr>
            <p:nvPr/>
          </p:nvSpPr>
          <p:spPr bwMode="auto">
            <a:xfrm>
              <a:off x="3670" y="297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0" name="Freeform 710"/>
            <p:cNvSpPr>
              <a:spLocks noEditPoints="1"/>
            </p:cNvSpPr>
            <p:nvPr/>
          </p:nvSpPr>
          <p:spPr bwMode="auto">
            <a:xfrm>
              <a:off x="3755" y="3040"/>
              <a:ext cx="170" cy="199"/>
            </a:xfrm>
            <a:custGeom>
              <a:avLst/>
              <a:gdLst>
                <a:gd name="T0" fmla="*/ 253 w 256"/>
                <a:gd name="T1" fmla="*/ 121 h 299"/>
                <a:gd name="T2" fmla="*/ 135 w 256"/>
                <a:gd name="T3" fmla="*/ 4 h 299"/>
                <a:gd name="T4" fmla="*/ 120 w 256"/>
                <a:gd name="T5" fmla="*/ 4 h 299"/>
                <a:gd name="T6" fmla="*/ 3 w 256"/>
                <a:gd name="T7" fmla="*/ 121 h 299"/>
                <a:gd name="T8" fmla="*/ 0 w 256"/>
                <a:gd name="T9" fmla="*/ 129 h 299"/>
                <a:gd name="T10" fmla="*/ 0 w 256"/>
                <a:gd name="T11" fmla="*/ 289 h 299"/>
                <a:gd name="T12" fmla="*/ 10 w 256"/>
                <a:gd name="T13" fmla="*/ 299 h 299"/>
                <a:gd name="T14" fmla="*/ 245 w 256"/>
                <a:gd name="T15" fmla="*/ 299 h 299"/>
                <a:gd name="T16" fmla="*/ 256 w 256"/>
                <a:gd name="T17" fmla="*/ 289 h 299"/>
                <a:gd name="T18" fmla="*/ 256 w 256"/>
                <a:gd name="T19" fmla="*/ 129 h 299"/>
                <a:gd name="T20" fmla="*/ 253 w 256"/>
                <a:gd name="T21" fmla="*/ 121 h 299"/>
                <a:gd name="T22" fmla="*/ 21 w 256"/>
                <a:gd name="T23" fmla="*/ 152 h 299"/>
                <a:gd name="T24" fmla="*/ 80 w 256"/>
                <a:gd name="T25" fmla="*/ 204 h 299"/>
                <a:gd name="T26" fmla="*/ 21 w 256"/>
                <a:gd name="T27" fmla="*/ 263 h 299"/>
                <a:gd name="T28" fmla="*/ 21 w 256"/>
                <a:gd name="T29" fmla="*/ 152 h 299"/>
                <a:gd name="T30" fmla="*/ 100 w 256"/>
                <a:gd name="T31" fmla="*/ 214 h 299"/>
                <a:gd name="T32" fmla="*/ 155 w 256"/>
                <a:gd name="T33" fmla="*/ 214 h 299"/>
                <a:gd name="T34" fmla="*/ 219 w 256"/>
                <a:gd name="T35" fmla="*/ 278 h 299"/>
                <a:gd name="T36" fmla="*/ 36 w 256"/>
                <a:gd name="T37" fmla="*/ 278 h 299"/>
                <a:gd name="T38" fmla="*/ 100 w 256"/>
                <a:gd name="T39" fmla="*/ 214 h 299"/>
                <a:gd name="T40" fmla="*/ 175 w 256"/>
                <a:gd name="T41" fmla="*/ 204 h 299"/>
                <a:gd name="T42" fmla="*/ 234 w 256"/>
                <a:gd name="T43" fmla="*/ 152 h 299"/>
                <a:gd name="T44" fmla="*/ 234 w 256"/>
                <a:gd name="T45" fmla="*/ 263 h 299"/>
                <a:gd name="T46" fmla="*/ 175 w 256"/>
                <a:gd name="T47" fmla="*/ 204 h 299"/>
                <a:gd name="T48" fmla="*/ 128 w 256"/>
                <a:gd name="T49" fmla="*/ 26 h 299"/>
                <a:gd name="T50" fmla="*/ 229 w 256"/>
                <a:gd name="T51" fmla="*/ 128 h 299"/>
                <a:gd name="T52" fmla="*/ 156 w 256"/>
                <a:gd name="T53" fmla="*/ 193 h 299"/>
                <a:gd name="T54" fmla="*/ 100 w 256"/>
                <a:gd name="T55" fmla="*/ 193 h 299"/>
                <a:gd name="T56" fmla="*/ 26 w 256"/>
                <a:gd name="T57" fmla="*/ 128 h 299"/>
                <a:gd name="T58" fmla="*/ 128 w 256"/>
                <a:gd name="T59" fmla="*/ 26 h 299"/>
                <a:gd name="T60" fmla="*/ 88 w 256"/>
                <a:gd name="T61" fmla="*/ 100 h 299"/>
                <a:gd name="T62" fmla="*/ 120 w 256"/>
                <a:gd name="T63" fmla="*/ 68 h 299"/>
                <a:gd name="T64" fmla="*/ 124 w 256"/>
                <a:gd name="T65" fmla="*/ 65 h 299"/>
                <a:gd name="T66" fmla="*/ 132 w 256"/>
                <a:gd name="T67" fmla="*/ 65 h 299"/>
                <a:gd name="T68" fmla="*/ 135 w 256"/>
                <a:gd name="T69" fmla="*/ 68 h 299"/>
                <a:gd name="T70" fmla="*/ 167 w 256"/>
                <a:gd name="T71" fmla="*/ 100 h 299"/>
                <a:gd name="T72" fmla="*/ 167 w 256"/>
                <a:gd name="T73" fmla="*/ 115 h 299"/>
                <a:gd name="T74" fmla="*/ 160 w 256"/>
                <a:gd name="T75" fmla="*/ 118 h 299"/>
                <a:gd name="T76" fmla="*/ 152 w 256"/>
                <a:gd name="T77" fmla="*/ 115 h 299"/>
                <a:gd name="T78" fmla="*/ 138 w 256"/>
                <a:gd name="T79" fmla="*/ 101 h 299"/>
                <a:gd name="T80" fmla="*/ 138 w 256"/>
                <a:gd name="T81" fmla="*/ 161 h 299"/>
                <a:gd name="T82" fmla="*/ 128 w 256"/>
                <a:gd name="T83" fmla="*/ 171 h 299"/>
                <a:gd name="T84" fmla="*/ 117 w 256"/>
                <a:gd name="T85" fmla="*/ 161 h 299"/>
                <a:gd name="T86" fmla="*/ 117 w 256"/>
                <a:gd name="T87" fmla="*/ 101 h 299"/>
                <a:gd name="T88" fmla="*/ 103 w 256"/>
                <a:gd name="T89" fmla="*/ 115 h 299"/>
                <a:gd name="T90" fmla="*/ 96 w 256"/>
                <a:gd name="T91" fmla="*/ 118 h 299"/>
                <a:gd name="T92" fmla="*/ 88 w 256"/>
                <a:gd name="T93" fmla="*/ 115 h 299"/>
                <a:gd name="T94" fmla="*/ 88 w 256"/>
                <a:gd name="T95" fmla="*/ 10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" h="299">
                  <a:moveTo>
                    <a:pt x="253" y="121"/>
                  </a:moveTo>
                  <a:cubicBezTo>
                    <a:pt x="135" y="4"/>
                    <a:pt x="135" y="4"/>
                    <a:pt x="135" y="4"/>
                  </a:cubicBezTo>
                  <a:cubicBezTo>
                    <a:pt x="131" y="0"/>
                    <a:pt x="124" y="0"/>
                    <a:pt x="120" y="4"/>
                  </a:cubicBezTo>
                  <a:cubicBezTo>
                    <a:pt x="3" y="121"/>
                    <a:pt x="3" y="121"/>
                    <a:pt x="3" y="121"/>
                  </a:cubicBezTo>
                  <a:cubicBezTo>
                    <a:pt x="1" y="123"/>
                    <a:pt x="0" y="126"/>
                    <a:pt x="0" y="129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295"/>
                    <a:pt x="4" y="299"/>
                    <a:pt x="10" y="299"/>
                  </a:cubicBezTo>
                  <a:cubicBezTo>
                    <a:pt x="245" y="299"/>
                    <a:pt x="245" y="299"/>
                    <a:pt x="245" y="299"/>
                  </a:cubicBezTo>
                  <a:cubicBezTo>
                    <a:pt x="251" y="299"/>
                    <a:pt x="256" y="295"/>
                    <a:pt x="256" y="289"/>
                  </a:cubicBezTo>
                  <a:cubicBezTo>
                    <a:pt x="256" y="129"/>
                    <a:pt x="256" y="129"/>
                    <a:pt x="256" y="129"/>
                  </a:cubicBezTo>
                  <a:cubicBezTo>
                    <a:pt x="256" y="126"/>
                    <a:pt x="255" y="123"/>
                    <a:pt x="253" y="121"/>
                  </a:cubicBezTo>
                  <a:close/>
                  <a:moveTo>
                    <a:pt x="21" y="152"/>
                  </a:moveTo>
                  <a:cubicBezTo>
                    <a:pt x="80" y="204"/>
                    <a:pt x="80" y="204"/>
                    <a:pt x="80" y="204"/>
                  </a:cubicBezTo>
                  <a:cubicBezTo>
                    <a:pt x="21" y="263"/>
                    <a:pt x="21" y="263"/>
                    <a:pt x="21" y="263"/>
                  </a:cubicBezTo>
                  <a:lnTo>
                    <a:pt x="21" y="152"/>
                  </a:lnTo>
                  <a:close/>
                  <a:moveTo>
                    <a:pt x="100" y="214"/>
                  </a:moveTo>
                  <a:cubicBezTo>
                    <a:pt x="155" y="214"/>
                    <a:pt x="155" y="214"/>
                    <a:pt x="155" y="214"/>
                  </a:cubicBezTo>
                  <a:cubicBezTo>
                    <a:pt x="219" y="278"/>
                    <a:pt x="219" y="278"/>
                    <a:pt x="219" y="278"/>
                  </a:cubicBezTo>
                  <a:cubicBezTo>
                    <a:pt x="36" y="278"/>
                    <a:pt x="36" y="278"/>
                    <a:pt x="36" y="278"/>
                  </a:cubicBezTo>
                  <a:lnTo>
                    <a:pt x="100" y="214"/>
                  </a:lnTo>
                  <a:close/>
                  <a:moveTo>
                    <a:pt x="175" y="204"/>
                  </a:moveTo>
                  <a:cubicBezTo>
                    <a:pt x="234" y="152"/>
                    <a:pt x="234" y="152"/>
                    <a:pt x="234" y="152"/>
                  </a:cubicBezTo>
                  <a:cubicBezTo>
                    <a:pt x="234" y="263"/>
                    <a:pt x="234" y="263"/>
                    <a:pt x="234" y="263"/>
                  </a:cubicBezTo>
                  <a:lnTo>
                    <a:pt x="175" y="204"/>
                  </a:lnTo>
                  <a:close/>
                  <a:moveTo>
                    <a:pt x="128" y="26"/>
                  </a:moveTo>
                  <a:cubicBezTo>
                    <a:pt x="229" y="128"/>
                    <a:pt x="229" y="128"/>
                    <a:pt x="229" y="128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00" y="193"/>
                    <a:pt x="100" y="193"/>
                    <a:pt x="100" y="193"/>
                  </a:cubicBezTo>
                  <a:cubicBezTo>
                    <a:pt x="26" y="128"/>
                    <a:pt x="26" y="128"/>
                    <a:pt x="26" y="128"/>
                  </a:cubicBezTo>
                  <a:lnTo>
                    <a:pt x="128" y="26"/>
                  </a:lnTo>
                  <a:close/>
                  <a:moveTo>
                    <a:pt x="88" y="100"/>
                  </a:moveTo>
                  <a:cubicBezTo>
                    <a:pt x="120" y="68"/>
                    <a:pt x="120" y="68"/>
                    <a:pt x="120" y="68"/>
                  </a:cubicBezTo>
                  <a:cubicBezTo>
                    <a:pt x="121" y="67"/>
                    <a:pt x="122" y="66"/>
                    <a:pt x="124" y="65"/>
                  </a:cubicBezTo>
                  <a:cubicBezTo>
                    <a:pt x="126" y="64"/>
                    <a:pt x="129" y="64"/>
                    <a:pt x="132" y="65"/>
                  </a:cubicBezTo>
                  <a:cubicBezTo>
                    <a:pt x="133" y="66"/>
                    <a:pt x="134" y="67"/>
                    <a:pt x="135" y="68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71" y="104"/>
                    <a:pt x="171" y="111"/>
                    <a:pt x="167" y="115"/>
                  </a:cubicBezTo>
                  <a:cubicBezTo>
                    <a:pt x="165" y="117"/>
                    <a:pt x="162" y="118"/>
                    <a:pt x="160" y="118"/>
                  </a:cubicBezTo>
                  <a:cubicBezTo>
                    <a:pt x="157" y="118"/>
                    <a:pt x="154" y="117"/>
                    <a:pt x="152" y="11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7"/>
                    <a:pt x="134" y="171"/>
                    <a:pt x="128" y="171"/>
                  </a:cubicBezTo>
                  <a:cubicBezTo>
                    <a:pt x="122" y="171"/>
                    <a:pt x="117" y="167"/>
                    <a:pt x="117" y="161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1" y="117"/>
                    <a:pt x="98" y="118"/>
                    <a:pt x="96" y="118"/>
                  </a:cubicBezTo>
                  <a:cubicBezTo>
                    <a:pt x="93" y="118"/>
                    <a:pt x="90" y="117"/>
                    <a:pt x="88" y="115"/>
                  </a:cubicBezTo>
                  <a:cubicBezTo>
                    <a:pt x="84" y="111"/>
                    <a:pt x="84" y="104"/>
                    <a:pt x="88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1" name="Group 713"/>
          <p:cNvGrpSpPr>
            <a:grpSpLocks noChangeAspect="1"/>
          </p:cNvGrpSpPr>
          <p:nvPr/>
        </p:nvGrpSpPr>
        <p:grpSpPr bwMode="auto">
          <a:xfrm>
            <a:off x="7925793" y="5359519"/>
            <a:ext cx="367041" cy="367041"/>
            <a:chOff x="3986" y="3055"/>
            <a:chExt cx="340" cy="340"/>
          </a:xfrm>
          <a:solidFill>
            <a:schemeClr val="accent2"/>
          </a:solidFill>
        </p:grpSpPr>
        <p:sp>
          <p:nvSpPr>
            <p:cNvPr id="752" name="Freeform 714"/>
            <p:cNvSpPr>
              <a:spLocks noEditPoints="1"/>
            </p:cNvSpPr>
            <p:nvPr/>
          </p:nvSpPr>
          <p:spPr bwMode="auto">
            <a:xfrm>
              <a:off x="3986" y="30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3" name="Freeform 715"/>
            <p:cNvSpPr>
              <a:spLocks noEditPoints="1"/>
            </p:cNvSpPr>
            <p:nvPr/>
          </p:nvSpPr>
          <p:spPr bwMode="auto">
            <a:xfrm>
              <a:off x="4050" y="3147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199 h 235"/>
                <a:gd name="T20" fmla="*/ 214 w 320"/>
                <a:gd name="T21" fmla="*/ 114 h 235"/>
                <a:gd name="T22" fmla="*/ 298 w 320"/>
                <a:gd name="T23" fmla="*/ 35 h 235"/>
                <a:gd name="T24" fmla="*/ 298 w 320"/>
                <a:gd name="T25" fmla="*/ 199 h 235"/>
                <a:gd name="T26" fmla="*/ 282 w 320"/>
                <a:gd name="T27" fmla="*/ 22 h 235"/>
                <a:gd name="T28" fmla="*/ 160 w 320"/>
                <a:gd name="T29" fmla="*/ 135 h 235"/>
                <a:gd name="T30" fmla="*/ 37 w 320"/>
                <a:gd name="T31" fmla="*/ 22 h 235"/>
                <a:gd name="T32" fmla="*/ 282 w 320"/>
                <a:gd name="T33" fmla="*/ 22 h 235"/>
                <a:gd name="T34" fmla="*/ 21 w 320"/>
                <a:gd name="T35" fmla="*/ 35 h 235"/>
                <a:gd name="T36" fmla="*/ 106 w 320"/>
                <a:gd name="T37" fmla="*/ 114 h 235"/>
                <a:gd name="T38" fmla="*/ 21 w 320"/>
                <a:gd name="T39" fmla="*/ 199 h 235"/>
                <a:gd name="T40" fmla="*/ 21 w 320"/>
                <a:gd name="T41" fmla="*/ 35 h 235"/>
                <a:gd name="T42" fmla="*/ 121 w 320"/>
                <a:gd name="T43" fmla="*/ 129 h 235"/>
                <a:gd name="T44" fmla="*/ 152 w 320"/>
                <a:gd name="T45" fmla="*/ 157 h 235"/>
                <a:gd name="T46" fmla="*/ 160 w 320"/>
                <a:gd name="T47" fmla="*/ 160 h 235"/>
                <a:gd name="T48" fmla="*/ 167 w 320"/>
                <a:gd name="T49" fmla="*/ 157 h 235"/>
                <a:gd name="T50" fmla="*/ 198 w 320"/>
                <a:gd name="T51" fmla="*/ 129 h 235"/>
                <a:gd name="T52" fmla="*/ 283 w 320"/>
                <a:gd name="T53" fmla="*/ 214 h 235"/>
                <a:gd name="T54" fmla="*/ 36 w 320"/>
                <a:gd name="T55" fmla="*/ 214 h 235"/>
                <a:gd name="T56" fmla="*/ 121 w 320"/>
                <a:gd name="T57" fmla="*/ 12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9"/>
                  </a:moveTo>
                  <a:cubicBezTo>
                    <a:pt x="214" y="114"/>
                    <a:pt x="214" y="114"/>
                    <a:pt x="214" y="114"/>
                  </a:cubicBezTo>
                  <a:cubicBezTo>
                    <a:pt x="298" y="35"/>
                    <a:pt x="298" y="35"/>
                    <a:pt x="298" y="35"/>
                  </a:cubicBezTo>
                  <a:lnTo>
                    <a:pt x="298" y="199"/>
                  </a:lnTo>
                  <a:close/>
                  <a:moveTo>
                    <a:pt x="282" y="22"/>
                  </a:moveTo>
                  <a:cubicBezTo>
                    <a:pt x="160" y="135"/>
                    <a:pt x="160" y="135"/>
                    <a:pt x="160" y="135"/>
                  </a:cubicBezTo>
                  <a:cubicBezTo>
                    <a:pt x="37" y="22"/>
                    <a:pt x="37" y="22"/>
                    <a:pt x="37" y="22"/>
                  </a:cubicBezTo>
                  <a:lnTo>
                    <a:pt x="282" y="22"/>
                  </a:lnTo>
                  <a:close/>
                  <a:moveTo>
                    <a:pt x="21" y="35"/>
                  </a:moveTo>
                  <a:cubicBezTo>
                    <a:pt x="106" y="114"/>
                    <a:pt x="106" y="114"/>
                    <a:pt x="106" y="114"/>
                  </a:cubicBezTo>
                  <a:cubicBezTo>
                    <a:pt x="21" y="199"/>
                    <a:pt x="21" y="199"/>
                    <a:pt x="21" y="199"/>
                  </a:cubicBezTo>
                  <a:lnTo>
                    <a:pt x="21" y="35"/>
                  </a:lnTo>
                  <a:close/>
                  <a:moveTo>
                    <a:pt x="121" y="129"/>
                  </a:moveTo>
                  <a:cubicBezTo>
                    <a:pt x="152" y="157"/>
                    <a:pt x="152" y="157"/>
                    <a:pt x="152" y="157"/>
                  </a:cubicBezTo>
                  <a:cubicBezTo>
                    <a:pt x="154" y="159"/>
                    <a:pt x="157" y="160"/>
                    <a:pt x="160" y="160"/>
                  </a:cubicBezTo>
                  <a:cubicBezTo>
                    <a:pt x="162" y="160"/>
                    <a:pt x="165" y="159"/>
                    <a:pt x="167" y="157"/>
                  </a:cubicBezTo>
                  <a:cubicBezTo>
                    <a:pt x="198" y="129"/>
                    <a:pt x="198" y="129"/>
                    <a:pt x="198" y="129"/>
                  </a:cubicBezTo>
                  <a:cubicBezTo>
                    <a:pt x="283" y="214"/>
                    <a:pt x="283" y="214"/>
                    <a:pt x="283" y="214"/>
                  </a:cubicBezTo>
                  <a:cubicBezTo>
                    <a:pt x="36" y="214"/>
                    <a:pt x="36" y="214"/>
                    <a:pt x="36" y="214"/>
                  </a:cubicBezTo>
                  <a:lnTo>
                    <a:pt x="121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4" name="TextBox 753"/>
          <p:cNvSpPr txBox="1"/>
          <p:nvPr/>
        </p:nvSpPr>
        <p:spPr>
          <a:xfrm>
            <a:off x="1490060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ragraph</a:t>
            </a:r>
          </a:p>
        </p:txBody>
      </p:sp>
      <p:sp>
        <p:nvSpPr>
          <p:cNvPr id="755" name="TextBox 754"/>
          <p:cNvSpPr txBox="1"/>
          <p:nvPr/>
        </p:nvSpPr>
        <p:spPr>
          <a:xfrm>
            <a:off x="2480604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ste</a:t>
            </a:r>
          </a:p>
        </p:txBody>
      </p:sp>
      <p:sp>
        <p:nvSpPr>
          <p:cNvPr id="756" name="TextBox 755"/>
          <p:cNvSpPr txBox="1"/>
          <p:nvPr/>
        </p:nvSpPr>
        <p:spPr>
          <a:xfrm>
            <a:off x="499516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SS</a:t>
            </a:r>
          </a:p>
        </p:txBody>
      </p:sp>
      <p:sp>
        <p:nvSpPr>
          <p:cNvPr id="757" name="TextBox 756"/>
          <p:cNvSpPr txBox="1"/>
          <p:nvPr/>
        </p:nvSpPr>
        <p:spPr>
          <a:xfrm>
            <a:off x="5452236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end</a:t>
            </a:r>
          </a:p>
        </p:txBody>
      </p:sp>
      <p:sp>
        <p:nvSpPr>
          <p:cNvPr id="758" name="TextBox 757"/>
          <p:cNvSpPr txBox="1"/>
          <p:nvPr/>
        </p:nvSpPr>
        <p:spPr>
          <a:xfrm>
            <a:off x="4461692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ply</a:t>
            </a:r>
          </a:p>
        </p:txBody>
      </p:sp>
      <p:sp>
        <p:nvSpPr>
          <p:cNvPr id="759" name="TextBox 758"/>
          <p:cNvSpPr txBox="1"/>
          <p:nvPr/>
        </p:nvSpPr>
        <p:spPr>
          <a:xfrm>
            <a:off x="3471148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ply all</a:t>
            </a:r>
          </a:p>
        </p:txBody>
      </p:sp>
      <p:grpSp>
        <p:nvGrpSpPr>
          <p:cNvPr id="760" name="Group 815"/>
          <p:cNvGrpSpPr>
            <a:grpSpLocks noChangeAspect="1"/>
          </p:cNvGrpSpPr>
          <p:nvPr/>
        </p:nvGrpSpPr>
        <p:grpSpPr bwMode="auto">
          <a:xfrm>
            <a:off x="931042" y="6194138"/>
            <a:ext cx="369021" cy="369021"/>
            <a:chOff x="2629" y="3102"/>
            <a:chExt cx="340" cy="340"/>
          </a:xfrm>
          <a:solidFill>
            <a:schemeClr val="accent3"/>
          </a:solidFill>
        </p:grpSpPr>
        <p:sp>
          <p:nvSpPr>
            <p:cNvPr id="761" name="Freeform 816"/>
            <p:cNvSpPr>
              <a:spLocks noEditPoints="1"/>
            </p:cNvSpPr>
            <p:nvPr/>
          </p:nvSpPr>
          <p:spPr bwMode="auto">
            <a:xfrm>
              <a:off x="2629" y="310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2" name="Oval 817"/>
            <p:cNvSpPr>
              <a:spLocks noChangeArrowheads="1"/>
            </p:cNvSpPr>
            <p:nvPr/>
          </p:nvSpPr>
          <p:spPr bwMode="auto">
            <a:xfrm>
              <a:off x="2728" y="3314"/>
              <a:ext cx="28" cy="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3" name="Freeform 818"/>
            <p:cNvSpPr>
              <a:spLocks/>
            </p:cNvSpPr>
            <p:nvPr/>
          </p:nvSpPr>
          <p:spPr bwMode="auto">
            <a:xfrm>
              <a:off x="2721" y="3166"/>
              <a:ext cx="184" cy="184"/>
            </a:xfrm>
            <a:custGeom>
              <a:avLst/>
              <a:gdLst>
                <a:gd name="T0" fmla="*/ 11 w 278"/>
                <a:gd name="T1" fmla="*/ 0 h 277"/>
                <a:gd name="T2" fmla="*/ 0 w 278"/>
                <a:gd name="T3" fmla="*/ 10 h 277"/>
                <a:gd name="T4" fmla="*/ 11 w 278"/>
                <a:gd name="T5" fmla="*/ 21 h 277"/>
                <a:gd name="T6" fmla="*/ 256 w 278"/>
                <a:gd name="T7" fmla="*/ 266 h 277"/>
                <a:gd name="T8" fmla="*/ 267 w 278"/>
                <a:gd name="T9" fmla="*/ 277 h 277"/>
                <a:gd name="T10" fmla="*/ 278 w 278"/>
                <a:gd name="T11" fmla="*/ 266 h 277"/>
                <a:gd name="T12" fmla="*/ 11 w 278"/>
                <a:gd name="T13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8" h="277">
                  <a:moveTo>
                    <a:pt x="11" y="0"/>
                  </a:move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46" y="21"/>
                    <a:pt x="256" y="131"/>
                    <a:pt x="256" y="266"/>
                  </a:cubicBezTo>
                  <a:cubicBezTo>
                    <a:pt x="256" y="272"/>
                    <a:pt x="261" y="277"/>
                    <a:pt x="267" y="277"/>
                  </a:cubicBezTo>
                  <a:cubicBezTo>
                    <a:pt x="273" y="277"/>
                    <a:pt x="278" y="272"/>
                    <a:pt x="278" y="266"/>
                  </a:cubicBezTo>
                  <a:cubicBezTo>
                    <a:pt x="278" y="119"/>
                    <a:pt x="158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4" name="Freeform 819"/>
            <p:cNvSpPr>
              <a:spLocks/>
            </p:cNvSpPr>
            <p:nvPr/>
          </p:nvSpPr>
          <p:spPr bwMode="auto">
            <a:xfrm>
              <a:off x="2721" y="3243"/>
              <a:ext cx="106" cy="107"/>
            </a:xfrm>
            <a:custGeom>
              <a:avLst/>
              <a:gdLst>
                <a:gd name="T0" fmla="*/ 11 w 160"/>
                <a:gd name="T1" fmla="*/ 0 h 160"/>
                <a:gd name="T2" fmla="*/ 0 w 160"/>
                <a:gd name="T3" fmla="*/ 11 h 160"/>
                <a:gd name="T4" fmla="*/ 11 w 160"/>
                <a:gd name="T5" fmla="*/ 21 h 160"/>
                <a:gd name="T6" fmla="*/ 139 w 160"/>
                <a:gd name="T7" fmla="*/ 149 h 160"/>
                <a:gd name="T8" fmla="*/ 150 w 160"/>
                <a:gd name="T9" fmla="*/ 160 h 160"/>
                <a:gd name="T10" fmla="*/ 160 w 160"/>
                <a:gd name="T11" fmla="*/ 149 h 160"/>
                <a:gd name="T12" fmla="*/ 11 w 160"/>
                <a:gd name="T1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60">
                  <a:moveTo>
                    <a:pt x="11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82" y="21"/>
                    <a:pt x="139" y="79"/>
                    <a:pt x="139" y="149"/>
                  </a:cubicBezTo>
                  <a:cubicBezTo>
                    <a:pt x="139" y="155"/>
                    <a:pt x="144" y="160"/>
                    <a:pt x="150" y="160"/>
                  </a:cubicBezTo>
                  <a:cubicBezTo>
                    <a:pt x="156" y="160"/>
                    <a:pt x="160" y="155"/>
                    <a:pt x="160" y="149"/>
                  </a:cubicBezTo>
                  <a:cubicBezTo>
                    <a:pt x="160" y="67"/>
                    <a:pt x="93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65" name="Freeform 823"/>
          <p:cNvSpPr>
            <a:spLocks noChangeAspect="1" noEditPoints="1"/>
          </p:cNvSpPr>
          <p:nvPr/>
        </p:nvSpPr>
        <p:spPr bwMode="auto">
          <a:xfrm>
            <a:off x="433255" y="6194131"/>
            <a:ext cx="369021" cy="37010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70 w 512"/>
              <a:gd name="T11" fmla="*/ 362 h 512"/>
              <a:gd name="T12" fmla="*/ 149 w 512"/>
              <a:gd name="T13" fmla="*/ 341 h 512"/>
              <a:gd name="T14" fmla="*/ 170 w 512"/>
              <a:gd name="T15" fmla="*/ 320 h 512"/>
              <a:gd name="T16" fmla="*/ 192 w 512"/>
              <a:gd name="T17" fmla="*/ 341 h 512"/>
              <a:gd name="T18" fmla="*/ 170 w 512"/>
              <a:gd name="T19" fmla="*/ 362 h 512"/>
              <a:gd name="T20" fmla="*/ 288 w 512"/>
              <a:gd name="T21" fmla="*/ 373 h 512"/>
              <a:gd name="T22" fmla="*/ 277 w 512"/>
              <a:gd name="T23" fmla="*/ 362 h 512"/>
              <a:gd name="T24" fmla="*/ 149 w 512"/>
              <a:gd name="T25" fmla="*/ 234 h 512"/>
              <a:gd name="T26" fmla="*/ 138 w 512"/>
              <a:gd name="T27" fmla="*/ 224 h 512"/>
              <a:gd name="T28" fmla="*/ 149 w 512"/>
              <a:gd name="T29" fmla="*/ 213 h 512"/>
              <a:gd name="T30" fmla="*/ 298 w 512"/>
              <a:gd name="T31" fmla="*/ 362 h 512"/>
              <a:gd name="T32" fmla="*/ 288 w 512"/>
              <a:gd name="T33" fmla="*/ 373 h 512"/>
              <a:gd name="T34" fmla="*/ 405 w 512"/>
              <a:gd name="T35" fmla="*/ 373 h 512"/>
              <a:gd name="T36" fmla="*/ 394 w 512"/>
              <a:gd name="T37" fmla="*/ 362 h 512"/>
              <a:gd name="T38" fmla="*/ 149 w 512"/>
              <a:gd name="T39" fmla="*/ 117 h 512"/>
              <a:gd name="T40" fmla="*/ 138 w 512"/>
              <a:gd name="T41" fmla="*/ 106 h 512"/>
              <a:gd name="T42" fmla="*/ 149 w 512"/>
              <a:gd name="T43" fmla="*/ 96 h 512"/>
              <a:gd name="T44" fmla="*/ 416 w 512"/>
              <a:gd name="T45" fmla="*/ 362 h 512"/>
              <a:gd name="T46" fmla="*/ 405 w 512"/>
              <a:gd name="T47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70" y="362"/>
                </a:moveTo>
                <a:cubicBezTo>
                  <a:pt x="159" y="362"/>
                  <a:pt x="149" y="353"/>
                  <a:pt x="149" y="341"/>
                </a:cubicBezTo>
                <a:cubicBezTo>
                  <a:pt x="149" y="329"/>
                  <a:pt x="159" y="320"/>
                  <a:pt x="170" y="320"/>
                </a:cubicBezTo>
                <a:cubicBezTo>
                  <a:pt x="182" y="320"/>
                  <a:pt x="192" y="329"/>
                  <a:pt x="192" y="341"/>
                </a:cubicBezTo>
                <a:cubicBezTo>
                  <a:pt x="192" y="353"/>
                  <a:pt x="182" y="362"/>
                  <a:pt x="170" y="362"/>
                </a:cubicBezTo>
                <a:close/>
                <a:moveTo>
                  <a:pt x="288" y="373"/>
                </a:moveTo>
                <a:cubicBezTo>
                  <a:pt x="282" y="373"/>
                  <a:pt x="277" y="368"/>
                  <a:pt x="277" y="362"/>
                </a:cubicBezTo>
                <a:cubicBezTo>
                  <a:pt x="277" y="292"/>
                  <a:pt x="220" y="234"/>
                  <a:pt x="149" y="234"/>
                </a:cubicBezTo>
                <a:cubicBezTo>
                  <a:pt x="143" y="234"/>
                  <a:pt x="138" y="230"/>
                  <a:pt x="138" y="224"/>
                </a:cubicBezTo>
                <a:cubicBezTo>
                  <a:pt x="138" y="218"/>
                  <a:pt x="143" y="213"/>
                  <a:pt x="149" y="213"/>
                </a:cubicBezTo>
                <a:cubicBezTo>
                  <a:pt x="231" y="213"/>
                  <a:pt x="298" y="280"/>
                  <a:pt x="298" y="362"/>
                </a:cubicBezTo>
                <a:cubicBezTo>
                  <a:pt x="298" y="368"/>
                  <a:pt x="294" y="373"/>
                  <a:pt x="288" y="373"/>
                </a:cubicBezTo>
                <a:close/>
                <a:moveTo>
                  <a:pt x="405" y="373"/>
                </a:moveTo>
                <a:cubicBezTo>
                  <a:pt x="399" y="373"/>
                  <a:pt x="394" y="368"/>
                  <a:pt x="394" y="362"/>
                </a:cubicBezTo>
                <a:cubicBezTo>
                  <a:pt x="394" y="227"/>
                  <a:pt x="284" y="117"/>
                  <a:pt x="149" y="117"/>
                </a:cubicBezTo>
                <a:cubicBezTo>
                  <a:pt x="143" y="117"/>
                  <a:pt x="138" y="112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296" y="96"/>
                  <a:pt x="416" y="215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66" name="Freeform 201"/>
          <p:cNvSpPr>
            <a:spLocks noChangeAspect="1" noEditPoints="1"/>
          </p:cNvSpPr>
          <p:nvPr/>
        </p:nvSpPr>
        <p:spPr bwMode="auto">
          <a:xfrm>
            <a:off x="1428829" y="6194138"/>
            <a:ext cx="369021" cy="369021"/>
          </a:xfrm>
          <a:custGeom>
            <a:avLst/>
            <a:gdLst>
              <a:gd name="T0" fmla="*/ 224 w 512"/>
              <a:gd name="T1" fmla="*/ 117 h 512"/>
              <a:gd name="T2" fmla="*/ 234 w 512"/>
              <a:gd name="T3" fmla="*/ 117 h 512"/>
              <a:gd name="T4" fmla="*/ 234 w 512"/>
              <a:gd name="T5" fmla="*/ 245 h 512"/>
              <a:gd name="T6" fmla="*/ 224 w 512"/>
              <a:gd name="T7" fmla="*/ 245 h 512"/>
              <a:gd name="T8" fmla="*/ 160 w 512"/>
              <a:gd name="T9" fmla="*/ 181 h 512"/>
              <a:gd name="T10" fmla="*/ 224 w 512"/>
              <a:gd name="T11" fmla="*/ 117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330 w 512"/>
              <a:gd name="T23" fmla="*/ 106 h 512"/>
              <a:gd name="T24" fmla="*/ 320 w 512"/>
              <a:gd name="T25" fmla="*/ 96 h 512"/>
              <a:gd name="T26" fmla="*/ 224 w 512"/>
              <a:gd name="T27" fmla="*/ 96 h 512"/>
              <a:gd name="T28" fmla="*/ 138 w 512"/>
              <a:gd name="T29" fmla="*/ 181 h 512"/>
              <a:gd name="T30" fmla="*/ 224 w 512"/>
              <a:gd name="T31" fmla="*/ 266 h 512"/>
              <a:gd name="T32" fmla="*/ 234 w 512"/>
              <a:gd name="T33" fmla="*/ 266 h 512"/>
              <a:gd name="T34" fmla="*/ 234 w 512"/>
              <a:gd name="T35" fmla="*/ 405 h 512"/>
              <a:gd name="T36" fmla="*/ 245 w 512"/>
              <a:gd name="T37" fmla="*/ 416 h 512"/>
              <a:gd name="T38" fmla="*/ 256 w 512"/>
              <a:gd name="T39" fmla="*/ 405 h 512"/>
              <a:gd name="T40" fmla="*/ 256 w 512"/>
              <a:gd name="T41" fmla="*/ 117 h 512"/>
              <a:gd name="T42" fmla="*/ 277 w 512"/>
              <a:gd name="T43" fmla="*/ 117 h 512"/>
              <a:gd name="T44" fmla="*/ 277 w 512"/>
              <a:gd name="T45" fmla="*/ 405 h 512"/>
              <a:gd name="T46" fmla="*/ 288 w 512"/>
              <a:gd name="T47" fmla="*/ 416 h 512"/>
              <a:gd name="T48" fmla="*/ 298 w 512"/>
              <a:gd name="T49" fmla="*/ 405 h 512"/>
              <a:gd name="T50" fmla="*/ 298 w 512"/>
              <a:gd name="T51" fmla="*/ 117 h 512"/>
              <a:gd name="T52" fmla="*/ 320 w 512"/>
              <a:gd name="T53" fmla="*/ 117 h 512"/>
              <a:gd name="T54" fmla="*/ 330 w 512"/>
              <a:gd name="T55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12" h="512">
                <a:moveTo>
                  <a:pt x="224" y="117"/>
                </a:moveTo>
                <a:cubicBezTo>
                  <a:pt x="234" y="117"/>
                  <a:pt x="234" y="117"/>
                  <a:pt x="234" y="117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24" y="245"/>
                  <a:pt x="224" y="245"/>
                  <a:pt x="224" y="245"/>
                </a:cubicBezTo>
                <a:cubicBezTo>
                  <a:pt x="188" y="245"/>
                  <a:pt x="160" y="216"/>
                  <a:pt x="160" y="181"/>
                </a:cubicBezTo>
                <a:cubicBezTo>
                  <a:pt x="160" y="146"/>
                  <a:pt x="188" y="117"/>
                  <a:pt x="224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06"/>
                </a:moveTo>
                <a:cubicBezTo>
                  <a:pt x="330" y="100"/>
                  <a:pt x="326" y="96"/>
                  <a:pt x="320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177" y="96"/>
                  <a:pt x="138" y="134"/>
                  <a:pt x="138" y="181"/>
                </a:cubicBezTo>
                <a:cubicBezTo>
                  <a:pt x="138" y="228"/>
                  <a:pt x="177" y="266"/>
                  <a:pt x="224" y="266"/>
                </a:cubicBezTo>
                <a:cubicBezTo>
                  <a:pt x="234" y="266"/>
                  <a:pt x="234" y="266"/>
                  <a:pt x="234" y="266"/>
                </a:cubicBezTo>
                <a:cubicBezTo>
                  <a:pt x="234" y="405"/>
                  <a:pt x="234" y="405"/>
                  <a:pt x="234" y="405"/>
                </a:cubicBezTo>
                <a:cubicBezTo>
                  <a:pt x="234" y="411"/>
                  <a:pt x="239" y="416"/>
                  <a:pt x="245" y="416"/>
                </a:cubicBezTo>
                <a:cubicBezTo>
                  <a:pt x="251" y="416"/>
                  <a:pt x="256" y="411"/>
                  <a:pt x="256" y="405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277" y="117"/>
                  <a:pt x="277" y="117"/>
                  <a:pt x="277" y="117"/>
                </a:cubicBezTo>
                <a:cubicBezTo>
                  <a:pt x="277" y="405"/>
                  <a:pt x="277" y="405"/>
                  <a:pt x="277" y="405"/>
                </a:cubicBezTo>
                <a:cubicBezTo>
                  <a:pt x="277" y="411"/>
                  <a:pt x="282" y="416"/>
                  <a:pt x="288" y="416"/>
                </a:cubicBezTo>
                <a:cubicBezTo>
                  <a:pt x="294" y="416"/>
                  <a:pt x="298" y="411"/>
                  <a:pt x="298" y="405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320" y="117"/>
                  <a:pt x="320" y="117"/>
                  <a:pt x="320" y="117"/>
                </a:cubicBezTo>
                <a:cubicBezTo>
                  <a:pt x="326" y="117"/>
                  <a:pt x="330" y="112"/>
                  <a:pt x="330" y="1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67" name="Group 204"/>
          <p:cNvGrpSpPr>
            <a:grpSpLocks noChangeAspect="1"/>
          </p:cNvGrpSpPr>
          <p:nvPr/>
        </p:nvGrpSpPr>
        <p:grpSpPr bwMode="auto">
          <a:xfrm>
            <a:off x="1926616" y="6194138"/>
            <a:ext cx="369021" cy="369021"/>
            <a:chOff x="374" y="771"/>
            <a:chExt cx="340" cy="340"/>
          </a:xfrm>
          <a:solidFill>
            <a:schemeClr val="accent3"/>
          </a:solidFill>
        </p:grpSpPr>
        <p:sp>
          <p:nvSpPr>
            <p:cNvPr id="768" name="Freeform 205"/>
            <p:cNvSpPr>
              <a:spLocks noEditPoints="1"/>
            </p:cNvSpPr>
            <p:nvPr/>
          </p:nvSpPr>
          <p:spPr bwMode="auto">
            <a:xfrm>
              <a:off x="374" y="7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9" name="Freeform 206"/>
            <p:cNvSpPr>
              <a:spLocks noEditPoints="1"/>
            </p:cNvSpPr>
            <p:nvPr/>
          </p:nvSpPr>
          <p:spPr bwMode="auto">
            <a:xfrm>
              <a:off x="466" y="835"/>
              <a:ext cx="127" cy="212"/>
            </a:xfrm>
            <a:custGeom>
              <a:avLst/>
              <a:gdLst>
                <a:gd name="T0" fmla="*/ 182 w 192"/>
                <a:gd name="T1" fmla="*/ 0 h 320"/>
                <a:gd name="T2" fmla="*/ 86 w 192"/>
                <a:gd name="T3" fmla="*/ 0 h 320"/>
                <a:gd name="T4" fmla="*/ 0 w 192"/>
                <a:gd name="T5" fmla="*/ 85 h 320"/>
                <a:gd name="T6" fmla="*/ 86 w 192"/>
                <a:gd name="T7" fmla="*/ 170 h 320"/>
                <a:gd name="T8" fmla="*/ 96 w 192"/>
                <a:gd name="T9" fmla="*/ 170 h 320"/>
                <a:gd name="T10" fmla="*/ 96 w 192"/>
                <a:gd name="T11" fmla="*/ 309 h 320"/>
                <a:gd name="T12" fmla="*/ 107 w 192"/>
                <a:gd name="T13" fmla="*/ 320 h 320"/>
                <a:gd name="T14" fmla="*/ 118 w 192"/>
                <a:gd name="T15" fmla="*/ 309 h 320"/>
                <a:gd name="T16" fmla="*/ 118 w 192"/>
                <a:gd name="T17" fmla="*/ 21 h 320"/>
                <a:gd name="T18" fmla="*/ 139 w 192"/>
                <a:gd name="T19" fmla="*/ 21 h 320"/>
                <a:gd name="T20" fmla="*/ 139 w 192"/>
                <a:gd name="T21" fmla="*/ 309 h 320"/>
                <a:gd name="T22" fmla="*/ 150 w 192"/>
                <a:gd name="T23" fmla="*/ 320 h 320"/>
                <a:gd name="T24" fmla="*/ 160 w 192"/>
                <a:gd name="T25" fmla="*/ 309 h 320"/>
                <a:gd name="T26" fmla="*/ 160 w 192"/>
                <a:gd name="T27" fmla="*/ 21 h 320"/>
                <a:gd name="T28" fmla="*/ 182 w 192"/>
                <a:gd name="T29" fmla="*/ 21 h 320"/>
                <a:gd name="T30" fmla="*/ 192 w 192"/>
                <a:gd name="T31" fmla="*/ 10 h 320"/>
                <a:gd name="T32" fmla="*/ 182 w 192"/>
                <a:gd name="T33" fmla="*/ 0 h 320"/>
                <a:gd name="T34" fmla="*/ 96 w 192"/>
                <a:gd name="T35" fmla="*/ 149 h 320"/>
                <a:gd name="T36" fmla="*/ 86 w 192"/>
                <a:gd name="T37" fmla="*/ 149 h 320"/>
                <a:gd name="T38" fmla="*/ 22 w 192"/>
                <a:gd name="T39" fmla="*/ 85 h 320"/>
                <a:gd name="T40" fmla="*/ 86 w 192"/>
                <a:gd name="T41" fmla="*/ 21 h 320"/>
                <a:gd name="T42" fmla="*/ 96 w 192"/>
                <a:gd name="T43" fmla="*/ 21 h 320"/>
                <a:gd name="T44" fmla="*/ 96 w 192"/>
                <a:gd name="T45" fmla="*/ 14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2" h="320">
                  <a:moveTo>
                    <a:pt x="182" y="0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39" y="0"/>
                    <a:pt x="0" y="38"/>
                    <a:pt x="0" y="85"/>
                  </a:cubicBezTo>
                  <a:cubicBezTo>
                    <a:pt x="0" y="132"/>
                    <a:pt x="39" y="170"/>
                    <a:pt x="86" y="170"/>
                  </a:cubicBezTo>
                  <a:cubicBezTo>
                    <a:pt x="96" y="170"/>
                    <a:pt x="96" y="170"/>
                    <a:pt x="96" y="170"/>
                  </a:cubicBezTo>
                  <a:cubicBezTo>
                    <a:pt x="96" y="309"/>
                    <a:pt x="96" y="309"/>
                    <a:pt x="96" y="309"/>
                  </a:cubicBezTo>
                  <a:cubicBezTo>
                    <a:pt x="96" y="315"/>
                    <a:pt x="101" y="320"/>
                    <a:pt x="107" y="320"/>
                  </a:cubicBezTo>
                  <a:cubicBezTo>
                    <a:pt x="113" y="320"/>
                    <a:pt x="118" y="315"/>
                    <a:pt x="118" y="309"/>
                  </a:cubicBezTo>
                  <a:cubicBezTo>
                    <a:pt x="118" y="21"/>
                    <a:pt x="118" y="21"/>
                    <a:pt x="118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309"/>
                    <a:pt x="139" y="309"/>
                    <a:pt x="139" y="309"/>
                  </a:cubicBezTo>
                  <a:cubicBezTo>
                    <a:pt x="139" y="315"/>
                    <a:pt x="144" y="320"/>
                    <a:pt x="150" y="320"/>
                  </a:cubicBezTo>
                  <a:cubicBezTo>
                    <a:pt x="156" y="320"/>
                    <a:pt x="160" y="315"/>
                    <a:pt x="160" y="309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8" y="21"/>
                    <a:pt x="192" y="16"/>
                    <a:pt x="192" y="10"/>
                  </a:cubicBezTo>
                  <a:cubicBezTo>
                    <a:pt x="192" y="4"/>
                    <a:pt x="188" y="0"/>
                    <a:pt x="182" y="0"/>
                  </a:cubicBezTo>
                  <a:close/>
                  <a:moveTo>
                    <a:pt x="96" y="149"/>
                  </a:moveTo>
                  <a:cubicBezTo>
                    <a:pt x="86" y="149"/>
                    <a:pt x="86" y="149"/>
                    <a:pt x="86" y="149"/>
                  </a:cubicBezTo>
                  <a:cubicBezTo>
                    <a:pt x="50" y="149"/>
                    <a:pt x="22" y="120"/>
                    <a:pt x="22" y="85"/>
                  </a:cubicBezTo>
                  <a:cubicBezTo>
                    <a:pt x="22" y="50"/>
                    <a:pt x="50" y="21"/>
                    <a:pt x="86" y="21"/>
                  </a:cubicBezTo>
                  <a:cubicBezTo>
                    <a:pt x="96" y="21"/>
                    <a:pt x="96" y="21"/>
                    <a:pt x="96" y="21"/>
                  </a:cubicBezTo>
                  <a:lnTo>
                    <a:pt x="96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70" name="Freeform 210"/>
          <p:cNvSpPr>
            <a:spLocks noChangeAspect="1" noEditPoints="1"/>
          </p:cNvSpPr>
          <p:nvPr/>
        </p:nvSpPr>
        <p:spPr bwMode="auto">
          <a:xfrm>
            <a:off x="2424403" y="6194138"/>
            <a:ext cx="369021" cy="369021"/>
          </a:xfrm>
          <a:custGeom>
            <a:avLst/>
            <a:gdLst>
              <a:gd name="T0" fmla="*/ 352 w 512"/>
              <a:gd name="T1" fmla="*/ 394 h 512"/>
              <a:gd name="T2" fmla="*/ 224 w 512"/>
              <a:gd name="T3" fmla="*/ 224 h 512"/>
              <a:gd name="T4" fmla="*/ 256 w 512"/>
              <a:gd name="T5" fmla="*/ 256 h 512"/>
              <a:gd name="T6" fmla="*/ 330 w 512"/>
              <a:gd name="T7" fmla="*/ 266 h 512"/>
              <a:gd name="T8" fmla="*/ 256 w 512"/>
              <a:gd name="T9" fmla="*/ 277 h 512"/>
              <a:gd name="T10" fmla="*/ 256 w 512"/>
              <a:gd name="T11" fmla="*/ 256 h 512"/>
              <a:gd name="T12" fmla="*/ 320 w 512"/>
              <a:gd name="T13" fmla="*/ 298 h 512"/>
              <a:gd name="T14" fmla="*/ 320 w 512"/>
              <a:gd name="T15" fmla="*/ 320 h 512"/>
              <a:gd name="T16" fmla="*/ 245 w 512"/>
              <a:gd name="T17" fmla="*/ 309 h 512"/>
              <a:gd name="T18" fmla="*/ 256 w 512"/>
              <a:gd name="T19" fmla="*/ 341 h 512"/>
              <a:gd name="T20" fmla="*/ 330 w 512"/>
              <a:gd name="T21" fmla="*/ 352 h 512"/>
              <a:gd name="T22" fmla="*/ 256 w 512"/>
              <a:gd name="T23" fmla="*/ 362 h 512"/>
              <a:gd name="T24" fmla="*/ 256 w 512"/>
              <a:gd name="T25" fmla="*/ 341 h 512"/>
              <a:gd name="T26" fmla="*/ 213 w 512"/>
              <a:gd name="T27" fmla="*/ 202 h 512"/>
              <a:gd name="T28" fmla="*/ 202 w 512"/>
              <a:gd name="T29" fmla="*/ 394 h 512"/>
              <a:gd name="T30" fmla="*/ 160 w 512"/>
              <a:gd name="T31" fmla="*/ 138 h 512"/>
              <a:gd name="T32" fmla="*/ 181 w 512"/>
              <a:gd name="T33" fmla="*/ 149 h 512"/>
              <a:gd name="T34" fmla="*/ 298 w 512"/>
              <a:gd name="T35" fmla="*/ 160 h 512"/>
              <a:gd name="T36" fmla="*/ 309 w 512"/>
              <a:gd name="T37" fmla="*/ 138 h 512"/>
              <a:gd name="T38" fmla="*/ 330 w 512"/>
              <a:gd name="T39" fmla="*/ 202 h 512"/>
              <a:gd name="T40" fmla="*/ 202 w 512"/>
              <a:gd name="T41" fmla="*/ 138 h 512"/>
              <a:gd name="T42" fmla="*/ 202 w 512"/>
              <a:gd name="T43" fmla="*/ 128 h 512"/>
              <a:gd name="T44" fmla="*/ 202 w 512"/>
              <a:gd name="T45" fmla="*/ 117 h 512"/>
              <a:gd name="T46" fmla="*/ 288 w 512"/>
              <a:gd name="T47" fmla="*/ 138 h 512"/>
              <a:gd name="T48" fmla="*/ 0 w 512"/>
              <a:gd name="T49" fmla="*/ 256 h 512"/>
              <a:gd name="T50" fmla="*/ 512 w 512"/>
              <a:gd name="T51" fmla="*/ 256 h 512"/>
              <a:gd name="T52" fmla="*/ 373 w 512"/>
              <a:gd name="T53" fmla="*/ 405 h 512"/>
              <a:gd name="T54" fmla="*/ 149 w 512"/>
              <a:gd name="T55" fmla="*/ 416 h 512"/>
              <a:gd name="T56" fmla="*/ 138 w 512"/>
              <a:gd name="T57" fmla="*/ 128 h 512"/>
              <a:gd name="T58" fmla="*/ 181 w 512"/>
              <a:gd name="T59" fmla="*/ 117 h 512"/>
              <a:gd name="T60" fmla="*/ 192 w 512"/>
              <a:gd name="T61" fmla="*/ 96 h 512"/>
              <a:gd name="T62" fmla="*/ 309 w 512"/>
              <a:gd name="T63" fmla="*/ 106 h 512"/>
              <a:gd name="T64" fmla="*/ 341 w 512"/>
              <a:gd name="T65" fmla="*/ 117 h 512"/>
              <a:gd name="T66" fmla="*/ 352 w 512"/>
              <a:gd name="T67" fmla="*/ 202 h 512"/>
              <a:gd name="T68" fmla="*/ 373 w 512"/>
              <a:gd name="T69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24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224" y="224"/>
                  <a:pt x="224" y="224"/>
                  <a:pt x="224" y="224"/>
                </a:cubicBezTo>
                <a:lnTo>
                  <a:pt x="224" y="394"/>
                </a:lnTo>
                <a:close/>
                <a:moveTo>
                  <a:pt x="256" y="256"/>
                </a:moveTo>
                <a:cubicBezTo>
                  <a:pt x="320" y="256"/>
                  <a:pt x="320" y="256"/>
                  <a:pt x="320" y="256"/>
                </a:cubicBezTo>
                <a:cubicBezTo>
                  <a:pt x="326" y="256"/>
                  <a:pt x="330" y="260"/>
                  <a:pt x="330" y="266"/>
                </a:cubicBezTo>
                <a:cubicBezTo>
                  <a:pt x="330" y="272"/>
                  <a:pt x="326" y="277"/>
                  <a:pt x="320" y="277"/>
                </a:cubicBezTo>
                <a:cubicBezTo>
                  <a:pt x="256" y="277"/>
                  <a:pt x="256" y="277"/>
                  <a:pt x="256" y="277"/>
                </a:cubicBezTo>
                <a:cubicBezTo>
                  <a:pt x="250" y="277"/>
                  <a:pt x="245" y="272"/>
                  <a:pt x="245" y="266"/>
                </a:cubicBezTo>
                <a:cubicBezTo>
                  <a:pt x="245" y="260"/>
                  <a:pt x="250" y="256"/>
                  <a:pt x="256" y="256"/>
                </a:cubicBezTo>
                <a:close/>
                <a:moveTo>
                  <a:pt x="256" y="298"/>
                </a:moveTo>
                <a:cubicBezTo>
                  <a:pt x="320" y="298"/>
                  <a:pt x="320" y="298"/>
                  <a:pt x="320" y="298"/>
                </a:cubicBezTo>
                <a:cubicBezTo>
                  <a:pt x="326" y="298"/>
                  <a:pt x="330" y="303"/>
                  <a:pt x="330" y="309"/>
                </a:cubicBezTo>
                <a:cubicBezTo>
                  <a:pt x="330" y="315"/>
                  <a:pt x="326" y="320"/>
                  <a:pt x="320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50" y="320"/>
                  <a:pt x="245" y="315"/>
                  <a:pt x="245" y="309"/>
                </a:cubicBezTo>
                <a:cubicBezTo>
                  <a:pt x="245" y="303"/>
                  <a:pt x="250" y="298"/>
                  <a:pt x="256" y="298"/>
                </a:cubicBezTo>
                <a:close/>
                <a:moveTo>
                  <a:pt x="256" y="341"/>
                </a:moveTo>
                <a:cubicBezTo>
                  <a:pt x="320" y="341"/>
                  <a:pt x="320" y="341"/>
                  <a:pt x="320" y="341"/>
                </a:cubicBezTo>
                <a:cubicBezTo>
                  <a:pt x="326" y="341"/>
                  <a:pt x="330" y="346"/>
                  <a:pt x="330" y="352"/>
                </a:cubicBezTo>
                <a:cubicBezTo>
                  <a:pt x="330" y="358"/>
                  <a:pt x="326" y="362"/>
                  <a:pt x="320" y="362"/>
                </a:cubicBezTo>
                <a:cubicBezTo>
                  <a:pt x="256" y="362"/>
                  <a:pt x="256" y="362"/>
                  <a:pt x="256" y="362"/>
                </a:cubicBezTo>
                <a:cubicBezTo>
                  <a:pt x="250" y="362"/>
                  <a:pt x="245" y="358"/>
                  <a:pt x="245" y="352"/>
                </a:cubicBezTo>
                <a:cubicBezTo>
                  <a:pt x="245" y="346"/>
                  <a:pt x="250" y="341"/>
                  <a:pt x="256" y="341"/>
                </a:cubicBezTo>
                <a:close/>
                <a:moveTo>
                  <a:pt x="330" y="202"/>
                </a:moveTo>
                <a:cubicBezTo>
                  <a:pt x="213" y="202"/>
                  <a:pt x="213" y="202"/>
                  <a:pt x="213" y="202"/>
                </a:cubicBezTo>
                <a:cubicBezTo>
                  <a:pt x="207" y="202"/>
                  <a:pt x="202" y="207"/>
                  <a:pt x="202" y="213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55"/>
                  <a:pt x="186" y="160"/>
                  <a:pt x="192" y="160"/>
                </a:cubicBezTo>
                <a:cubicBezTo>
                  <a:pt x="298" y="160"/>
                  <a:pt x="298" y="160"/>
                  <a:pt x="298" y="160"/>
                </a:cubicBezTo>
                <a:cubicBezTo>
                  <a:pt x="304" y="160"/>
                  <a:pt x="309" y="155"/>
                  <a:pt x="309" y="149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30" y="202"/>
                </a:lnTo>
                <a:close/>
                <a:moveTo>
                  <a:pt x="288" y="138"/>
                </a:moveTo>
                <a:cubicBezTo>
                  <a:pt x="202" y="138"/>
                  <a:pt x="202" y="138"/>
                  <a:pt x="202" y="13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28"/>
                  <a:pt x="202" y="128"/>
                  <a:pt x="202" y="128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288" y="117"/>
                  <a:pt x="288" y="117"/>
                  <a:pt x="288" y="117"/>
                </a:cubicBezTo>
                <a:lnTo>
                  <a:pt x="288" y="138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28"/>
                  <a:pt x="138" y="128"/>
                  <a:pt x="138" y="128"/>
                </a:cubicBezTo>
                <a:cubicBezTo>
                  <a:pt x="138" y="122"/>
                  <a:pt x="143" y="117"/>
                  <a:pt x="149" y="117"/>
                </a:cubicBezTo>
                <a:cubicBezTo>
                  <a:pt x="181" y="117"/>
                  <a:pt x="181" y="117"/>
                  <a:pt x="181" y="117"/>
                </a:cubicBezTo>
                <a:cubicBezTo>
                  <a:pt x="181" y="106"/>
                  <a:pt x="181" y="106"/>
                  <a:pt x="181" y="106"/>
                </a:cubicBezTo>
                <a:cubicBezTo>
                  <a:pt x="181" y="100"/>
                  <a:pt x="186" y="96"/>
                  <a:pt x="192" y="96"/>
                </a:cubicBezTo>
                <a:cubicBezTo>
                  <a:pt x="298" y="96"/>
                  <a:pt x="298" y="96"/>
                  <a:pt x="298" y="96"/>
                </a:cubicBezTo>
                <a:cubicBezTo>
                  <a:pt x="304" y="96"/>
                  <a:pt x="309" y="100"/>
                  <a:pt x="309" y="106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41" y="117"/>
                  <a:pt x="341" y="117"/>
                  <a:pt x="341" y="117"/>
                </a:cubicBezTo>
                <a:cubicBezTo>
                  <a:pt x="347" y="117"/>
                  <a:pt x="352" y="122"/>
                  <a:pt x="352" y="128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71" name="Group 213"/>
          <p:cNvGrpSpPr>
            <a:grpSpLocks noChangeAspect="1"/>
          </p:cNvGrpSpPr>
          <p:nvPr/>
        </p:nvGrpSpPr>
        <p:grpSpPr bwMode="auto">
          <a:xfrm>
            <a:off x="2922190" y="6194138"/>
            <a:ext cx="369021" cy="369021"/>
            <a:chOff x="1157" y="771"/>
            <a:chExt cx="340" cy="340"/>
          </a:xfrm>
          <a:solidFill>
            <a:schemeClr val="accent3"/>
          </a:solidFill>
        </p:grpSpPr>
        <p:sp>
          <p:nvSpPr>
            <p:cNvPr id="772" name="Freeform 214"/>
            <p:cNvSpPr>
              <a:spLocks noEditPoints="1"/>
            </p:cNvSpPr>
            <p:nvPr/>
          </p:nvSpPr>
          <p:spPr bwMode="auto">
            <a:xfrm>
              <a:off x="1249" y="835"/>
              <a:ext cx="156" cy="212"/>
            </a:xfrm>
            <a:custGeom>
              <a:avLst/>
              <a:gdLst>
                <a:gd name="T0" fmla="*/ 224 w 235"/>
                <a:gd name="T1" fmla="*/ 106 h 320"/>
                <a:gd name="T2" fmla="*/ 214 w 235"/>
                <a:gd name="T3" fmla="*/ 106 h 320"/>
                <a:gd name="T4" fmla="*/ 214 w 235"/>
                <a:gd name="T5" fmla="*/ 32 h 320"/>
                <a:gd name="T6" fmla="*/ 203 w 235"/>
                <a:gd name="T7" fmla="*/ 21 h 320"/>
                <a:gd name="T8" fmla="*/ 171 w 235"/>
                <a:gd name="T9" fmla="*/ 21 h 320"/>
                <a:gd name="T10" fmla="*/ 171 w 235"/>
                <a:gd name="T11" fmla="*/ 10 h 320"/>
                <a:gd name="T12" fmla="*/ 160 w 235"/>
                <a:gd name="T13" fmla="*/ 0 h 320"/>
                <a:gd name="T14" fmla="*/ 54 w 235"/>
                <a:gd name="T15" fmla="*/ 0 h 320"/>
                <a:gd name="T16" fmla="*/ 43 w 235"/>
                <a:gd name="T17" fmla="*/ 10 h 320"/>
                <a:gd name="T18" fmla="*/ 43 w 235"/>
                <a:gd name="T19" fmla="*/ 21 h 320"/>
                <a:gd name="T20" fmla="*/ 11 w 235"/>
                <a:gd name="T21" fmla="*/ 21 h 320"/>
                <a:gd name="T22" fmla="*/ 0 w 235"/>
                <a:gd name="T23" fmla="*/ 32 h 320"/>
                <a:gd name="T24" fmla="*/ 0 w 235"/>
                <a:gd name="T25" fmla="*/ 309 h 320"/>
                <a:gd name="T26" fmla="*/ 11 w 235"/>
                <a:gd name="T27" fmla="*/ 320 h 320"/>
                <a:gd name="T28" fmla="*/ 224 w 235"/>
                <a:gd name="T29" fmla="*/ 320 h 320"/>
                <a:gd name="T30" fmla="*/ 235 w 235"/>
                <a:gd name="T31" fmla="*/ 309 h 320"/>
                <a:gd name="T32" fmla="*/ 235 w 235"/>
                <a:gd name="T33" fmla="*/ 117 h 320"/>
                <a:gd name="T34" fmla="*/ 224 w 235"/>
                <a:gd name="T35" fmla="*/ 106 h 320"/>
                <a:gd name="T36" fmla="*/ 150 w 235"/>
                <a:gd name="T37" fmla="*/ 21 h 320"/>
                <a:gd name="T38" fmla="*/ 150 w 235"/>
                <a:gd name="T39" fmla="*/ 42 h 320"/>
                <a:gd name="T40" fmla="*/ 64 w 235"/>
                <a:gd name="T41" fmla="*/ 42 h 320"/>
                <a:gd name="T42" fmla="*/ 64 w 235"/>
                <a:gd name="T43" fmla="*/ 32 h 320"/>
                <a:gd name="T44" fmla="*/ 64 w 235"/>
                <a:gd name="T45" fmla="*/ 32 h 320"/>
                <a:gd name="T46" fmla="*/ 64 w 235"/>
                <a:gd name="T47" fmla="*/ 32 h 320"/>
                <a:gd name="T48" fmla="*/ 64 w 235"/>
                <a:gd name="T49" fmla="*/ 21 h 320"/>
                <a:gd name="T50" fmla="*/ 150 w 235"/>
                <a:gd name="T51" fmla="*/ 21 h 320"/>
                <a:gd name="T52" fmla="*/ 22 w 235"/>
                <a:gd name="T53" fmla="*/ 42 h 320"/>
                <a:gd name="T54" fmla="*/ 43 w 235"/>
                <a:gd name="T55" fmla="*/ 42 h 320"/>
                <a:gd name="T56" fmla="*/ 43 w 235"/>
                <a:gd name="T57" fmla="*/ 53 h 320"/>
                <a:gd name="T58" fmla="*/ 54 w 235"/>
                <a:gd name="T59" fmla="*/ 64 h 320"/>
                <a:gd name="T60" fmla="*/ 160 w 235"/>
                <a:gd name="T61" fmla="*/ 64 h 320"/>
                <a:gd name="T62" fmla="*/ 171 w 235"/>
                <a:gd name="T63" fmla="*/ 53 h 320"/>
                <a:gd name="T64" fmla="*/ 171 w 235"/>
                <a:gd name="T65" fmla="*/ 42 h 320"/>
                <a:gd name="T66" fmla="*/ 192 w 235"/>
                <a:gd name="T67" fmla="*/ 42 h 320"/>
                <a:gd name="T68" fmla="*/ 192 w 235"/>
                <a:gd name="T69" fmla="*/ 106 h 320"/>
                <a:gd name="T70" fmla="*/ 75 w 235"/>
                <a:gd name="T71" fmla="*/ 106 h 320"/>
                <a:gd name="T72" fmla="*/ 64 w 235"/>
                <a:gd name="T73" fmla="*/ 117 h 320"/>
                <a:gd name="T74" fmla="*/ 64 w 235"/>
                <a:gd name="T75" fmla="*/ 298 h 320"/>
                <a:gd name="T76" fmla="*/ 22 w 235"/>
                <a:gd name="T77" fmla="*/ 298 h 320"/>
                <a:gd name="T78" fmla="*/ 22 w 235"/>
                <a:gd name="T79" fmla="*/ 42 h 320"/>
                <a:gd name="T80" fmla="*/ 214 w 235"/>
                <a:gd name="T81" fmla="*/ 298 h 320"/>
                <a:gd name="T82" fmla="*/ 86 w 235"/>
                <a:gd name="T83" fmla="*/ 298 h 320"/>
                <a:gd name="T84" fmla="*/ 86 w 235"/>
                <a:gd name="T85" fmla="*/ 128 h 320"/>
                <a:gd name="T86" fmla="*/ 214 w 235"/>
                <a:gd name="T87" fmla="*/ 128 h 320"/>
                <a:gd name="T88" fmla="*/ 214 w 235"/>
                <a:gd name="T8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5" h="320">
                  <a:moveTo>
                    <a:pt x="224" y="106"/>
                  </a:moveTo>
                  <a:cubicBezTo>
                    <a:pt x="214" y="106"/>
                    <a:pt x="214" y="106"/>
                    <a:pt x="214" y="106"/>
                  </a:cubicBezTo>
                  <a:cubicBezTo>
                    <a:pt x="214" y="32"/>
                    <a:pt x="214" y="32"/>
                    <a:pt x="214" y="32"/>
                  </a:cubicBezTo>
                  <a:cubicBezTo>
                    <a:pt x="214" y="26"/>
                    <a:pt x="209" y="21"/>
                    <a:pt x="203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1" y="4"/>
                    <a:pt x="166" y="0"/>
                    <a:pt x="16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8" y="0"/>
                    <a:pt x="43" y="4"/>
                    <a:pt x="43" y="10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5" y="111"/>
                    <a:pt x="230" y="106"/>
                    <a:pt x="224" y="106"/>
                  </a:cubicBezTo>
                  <a:close/>
                  <a:moveTo>
                    <a:pt x="150" y="21"/>
                  </a:moveTo>
                  <a:cubicBezTo>
                    <a:pt x="150" y="42"/>
                    <a:pt x="150" y="42"/>
                    <a:pt x="150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21"/>
                    <a:pt x="64" y="21"/>
                    <a:pt x="64" y="21"/>
                  </a:cubicBezTo>
                  <a:lnTo>
                    <a:pt x="150" y="21"/>
                  </a:lnTo>
                  <a:close/>
                  <a:moveTo>
                    <a:pt x="22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9"/>
                    <a:pt x="48" y="64"/>
                    <a:pt x="54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66" y="64"/>
                    <a:pt x="171" y="59"/>
                    <a:pt x="171" y="53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106"/>
                    <a:pt x="192" y="106"/>
                    <a:pt x="192" y="106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69" y="106"/>
                    <a:pt x="64" y="111"/>
                    <a:pt x="64" y="117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22" y="298"/>
                    <a:pt x="22" y="298"/>
                    <a:pt x="22" y="298"/>
                  </a:cubicBezTo>
                  <a:lnTo>
                    <a:pt x="22" y="42"/>
                  </a:lnTo>
                  <a:close/>
                  <a:moveTo>
                    <a:pt x="214" y="298"/>
                  </a:moveTo>
                  <a:cubicBezTo>
                    <a:pt x="86" y="298"/>
                    <a:pt x="86" y="298"/>
                    <a:pt x="86" y="298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214" y="128"/>
                    <a:pt x="214" y="128"/>
                    <a:pt x="214" y="128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3" name="Freeform 215"/>
            <p:cNvSpPr>
              <a:spLocks/>
            </p:cNvSpPr>
            <p:nvPr/>
          </p:nvSpPr>
          <p:spPr bwMode="auto">
            <a:xfrm>
              <a:off x="1320" y="941"/>
              <a:ext cx="56" cy="14"/>
            </a:xfrm>
            <a:custGeom>
              <a:avLst/>
              <a:gdLst>
                <a:gd name="T0" fmla="*/ 75 w 85"/>
                <a:gd name="T1" fmla="*/ 0 h 21"/>
                <a:gd name="T2" fmla="*/ 11 w 85"/>
                <a:gd name="T3" fmla="*/ 0 h 21"/>
                <a:gd name="T4" fmla="*/ 0 w 85"/>
                <a:gd name="T5" fmla="*/ 10 h 21"/>
                <a:gd name="T6" fmla="*/ 11 w 85"/>
                <a:gd name="T7" fmla="*/ 21 h 21"/>
                <a:gd name="T8" fmla="*/ 75 w 85"/>
                <a:gd name="T9" fmla="*/ 21 h 21"/>
                <a:gd name="T10" fmla="*/ 85 w 85"/>
                <a:gd name="T11" fmla="*/ 10 h 21"/>
                <a:gd name="T12" fmla="*/ 75 w 85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1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81" y="21"/>
                    <a:pt x="85" y="16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4" name="Freeform 216"/>
            <p:cNvSpPr>
              <a:spLocks/>
            </p:cNvSpPr>
            <p:nvPr/>
          </p:nvSpPr>
          <p:spPr bwMode="auto">
            <a:xfrm>
              <a:off x="1320" y="969"/>
              <a:ext cx="56" cy="14"/>
            </a:xfrm>
            <a:custGeom>
              <a:avLst/>
              <a:gdLst>
                <a:gd name="T0" fmla="*/ 75 w 85"/>
                <a:gd name="T1" fmla="*/ 0 h 22"/>
                <a:gd name="T2" fmla="*/ 11 w 85"/>
                <a:gd name="T3" fmla="*/ 0 h 22"/>
                <a:gd name="T4" fmla="*/ 0 w 85"/>
                <a:gd name="T5" fmla="*/ 11 h 22"/>
                <a:gd name="T6" fmla="*/ 11 w 85"/>
                <a:gd name="T7" fmla="*/ 22 h 22"/>
                <a:gd name="T8" fmla="*/ 75 w 85"/>
                <a:gd name="T9" fmla="*/ 22 h 22"/>
                <a:gd name="T10" fmla="*/ 85 w 85"/>
                <a:gd name="T11" fmla="*/ 11 h 22"/>
                <a:gd name="T12" fmla="*/ 75 w 85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2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81" y="22"/>
                    <a:pt x="85" y="17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5" name="Freeform 217"/>
            <p:cNvSpPr>
              <a:spLocks/>
            </p:cNvSpPr>
            <p:nvPr/>
          </p:nvSpPr>
          <p:spPr bwMode="auto">
            <a:xfrm>
              <a:off x="1320" y="997"/>
              <a:ext cx="56" cy="14"/>
            </a:xfrm>
            <a:custGeom>
              <a:avLst/>
              <a:gdLst>
                <a:gd name="T0" fmla="*/ 75 w 85"/>
                <a:gd name="T1" fmla="*/ 0 h 21"/>
                <a:gd name="T2" fmla="*/ 11 w 85"/>
                <a:gd name="T3" fmla="*/ 0 h 21"/>
                <a:gd name="T4" fmla="*/ 0 w 85"/>
                <a:gd name="T5" fmla="*/ 11 h 21"/>
                <a:gd name="T6" fmla="*/ 11 w 85"/>
                <a:gd name="T7" fmla="*/ 21 h 21"/>
                <a:gd name="T8" fmla="*/ 75 w 85"/>
                <a:gd name="T9" fmla="*/ 21 h 21"/>
                <a:gd name="T10" fmla="*/ 85 w 85"/>
                <a:gd name="T11" fmla="*/ 11 h 21"/>
                <a:gd name="T12" fmla="*/ 75 w 85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21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81" y="21"/>
                    <a:pt x="85" y="17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6" name="Freeform 218"/>
            <p:cNvSpPr>
              <a:spLocks noEditPoints="1"/>
            </p:cNvSpPr>
            <p:nvPr/>
          </p:nvSpPr>
          <p:spPr bwMode="auto">
            <a:xfrm>
              <a:off x="1157" y="7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77" name="Group 741"/>
          <p:cNvGrpSpPr>
            <a:grpSpLocks noChangeAspect="1"/>
          </p:cNvGrpSpPr>
          <p:nvPr/>
        </p:nvGrpSpPr>
        <p:grpSpPr bwMode="auto">
          <a:xfrm>
            <a:off x="4914423" y="6194138"/>
            <a:ext cx="369021" cy="369021"/>
            <a:chOff x="1163" y="2706"/>
            <a:chExt cx="340" cy="340"/>
          </a:xfrm>
          <a:solidFill>
            <a:schemeClr val="accent2"/>
          </a:solidFill>
        </p:grpSpPr>
        <p:sp>
          <p:nvSpPr>
            <p:cNvPr id="778" name="Freeform 742"/>
            <p:cNvSpPr>
              <a:spLocks noEditPoints="1"/>
            </p:cNvSpPr>
            <p:nvPr/>
          </p:nvSpPr>
          <p:spPr bwMode="auto">
            <a:xfrm>
              <a:off x="1247" y="2769"/>
              <a:ext cx="178" cy="213"/>
            </a:xfrm>
            <a:custGeom>
              <a:avLst/>
              <a:gdLst>
                <a:gd name="T0" fmla="*/ 182 w 268"/>
                <a:gd name="T1" fmla="*/ 321 h 321"/>
                <a:gd name="T2" fmla="*/ 173 w 268"/>
                <a:gd name="T3" fmla="*/ 316 h 321"/>
                <a:gd name="T4" fmla="*/ 176 w 268"/>
                <a:gd name="T5" fmla="*/ 302 h 321"/>
                <a:gd name="T6" fmla="*/ 203 w 268"/>
                <a:gd name="T7" fmla="*/ 247 h 321"/>
                <a:gd name="T8" fmla="*/ 134 w 268"/>
                <a:gd name="T9" fmla="*/ 172 h 321"/>
                <a:gd name="T10" fmla="*/ 129 w 268"/>
                <a:gd name="T11" fmla="*/ 172 h 321"/>
                <a:gd name="T12" fmla="*/ 129 w 268"/>
                <a:gd name="T13" fmla="*/ 225 h 321"/>
                <a:gd name="T14" fmla="*/ 122 w 268"/>
                <a:gd name="T15" fmla="*/ 235 h 321"/>
                <a:gd name="T16" fmla="*/ 111 w 268"/>
                <a:gd name="T17" fmla="*/ 233 h 321"/>
                <a:gd name="T18" fmla="*/ 4 w 268"/>
                <a:gd name="T19" fmla="*/ 126 h 321"/>
                <a:gd name="T20" fmla="*/ 4 w 268"/>
                <a:gd name="T21" fmla="*/ 111 h 321"/>
                <a:gd name="T22" fmla="*/ 111 w 268"/>
                <a:gd name="T23" fmla="*/ 4 h 321"/>
                <a:gd name="T24" fmla="*/ 122 w 268"/>
                <a:gd name="T25" fmla="*/ 2 h 321"/>
                <a:gd name="T26" fmla="*/ 129 w 268"/>
                <a:gd name="T27" fmla="*/ 12 h 321"/>
                <a:gd name="T28" fmla="*/ 129 w 268"/>
                <a:gd name="T29" fmla="*/ 55 h 321"/>
                <a:gd name="T30" fmla="*/ 268 w 268"/>
                <a:gd name="T31" fmla="*/ 193 h 321"/>
                <a:gd name="T32" fmla="*/ 187 w 268"/>
                <a:gd name="T33" fmla="*/ 320 h 321"/>
                <a:gd name="T34" fmla="*/ 182 w 268"/>
                <a:gd name="T35" fmla="*/ 321 h 321"/>
                <a:gd name="T36" fmla="*/ 118 w 268"/>
                <a:gd name="T37" fmla="*/ 151 h 321"/>
                <a:gd name="T38" fmla="*/ 134 w 268"/>
                <a:gd name="T39" fmla="*/ 151 h 321"/>
                <a:gd name="T40" fmla="*/ 225 w 268"/>
                <a:gd name="T41" fmla="*/ 247 h 321"/>
                <a:gd name="T42" fmla="*/ 222 w 268"/>
                <a:gd name="T43" fmla="*/ 266 h 321"/>
                <a:gd name="T44" fmla="*/ 246 w 268"/>
                <a:gd name="T45" fmla="*/ 193 h 321"/>
                <a:gd name="T46" fmla="*/ 129 w 268"/>
                <a:gd name="T47" fmla="*/ 76 h 321"/>
                <a:gd name="T48" fmla="*/ 118 w 268"/>
                <a:gd name="T49" fmla="*/ 76 h 321"/>
                <a:gd name="T50" fmla="*/ 108 w 268"/>
                <a:gd name="T51" fmla="*/ 65 h 321"/>
                <a:gd name="T52" fmla="*/ 108 w 268"/>
                <a:gd name="T53" fmla="*/ 38 h 321"/>
                <a:gd name="T54" fmla="*/ 27 w 268"/>
                <a:gd name="T55" fmla="*/ 119 h 321"/>
                <a:gd name="T56" fmla="*/ 108 w 268"/>
                <a:gd name="T57" fmla="*/ 200 h 321"/>
                <a:gd name="T58" fmla="*/ 108 w 268"/>
                <a:gd name="T59" fmla="*/ 161 h 321"/>
                <a:gd name="T60" fmla="*/ 118 w 268"/>
                <a:gd name="T61" fmla="*/ 15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8" h="321">
                  <a:moveTo>
                    <a:pt x="182" y="321"/>
                  </a:moveTo>
                  <a:cubicBezTo>
                    <a:pt x="179" y="321"/>
                    <a:pt x="175" y="320"/>
                    <a:pt x="173" y="316"/>
                  </a:cubicBezTo>
                  <a:cubicBezTo>
                    <a:pt x="170" y="312"/>
                    <a:pt x="171" y="306"/>
                    <a:pt x="176" y="302"/>
                  </a:cubicBezTo>
                  <a:cubicBezTo>
                    <a:pt x="193" y="288"/>
                    <a:pt x="203" y="267"/>
                    <a:pt x="203" y="247"/>
                  </a:cubicBezTo>
                  <a:cubicBezTo>
                    <a:pt x="203" y="210"/>
                    <a:pt x="182" y="172"/>
                    <a:pt x="134" y="172"/>
                  </a:cubicBezTo>
                  <a:cubicBezTo>
                    <a:pt x="129" y="172"/>
                    <a:pt x="129" y="172"/>
                    <a:pt x="129" y="172"/>
                  </a:cubicBezTo>
                  <a:cubicBezTo>
                    <a:pt x="129" y="225"/>
                    <a:pt x="129" y="225"/>
                    <a:pt x="129" y="225"/>
                  </a:cubicBezTo>
                  <a:cubicBezTo>
                    <a:pt x="129" y="230"/>
                    <a:pt x="126" y="234"/>
                    <a:pt x="122" y="235"/>
                  </a:cubicBezTo>
                  <a:cubicBezTo>
                    <a:pt x="118" y="237"/>
                    <a:pt x="114" y="236"/>
                    <a:pt x="111" y="233"/>
                  </a:cubicBezTo>
                  <a:cubicBezTo>
                    <a:pt x="4" y="126"/>
                    <a:pt x="4" y="126"/>
                    <a:pt x="4" y="126"/>
                  </a:cubicBezTo>
                  <a:cubicBezTo>
                    <a:pt x="0" y="122"/>
                    <a:pt x="0" y="115"/>
                    <a:pt x="4" y="111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4" y="1"/>
                    <a:pt x="118" y="0"/>
                    <a:pt x="122" y="2"/>
                  </a:cubicBezTo>
                  <a:cubicBezTo>
                    <a:pt x="126" y="4"/>
                    <a:pt x="129" y="8"/>
                    <a:pt x="129" y="12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205" y="55"/>
                    <a:pt x="268" y="117"/>
                    <a:pt x="268" y="193"/>
                  </a:cubicBezTo>
                  <a:cubicBezTo>
                    <a:pt x="268" y="249"/>
                    <a:pt x="236" y="299"/>
                    <a:pt x="187" y="320"/>
                  </a:cubicBezTo>
                  <a:cubicBezTo>
                    <a:pt x="185" y="321"/>
                    <a:pt x="184" y="321"/>
                    <a:pt x="182" y="321"/>
                  </a:cubicBezTo>
                  <a:close/>
                  <a:moveTo>
                    <a:pt x="118" y="151"/>
                  </a:moveTo>
                  <a:cubicBezTo>
                    <a:pt x="134" y="151"/>
                    <a:pt x="134" y="151"/>
                    <a:pt x="134" y="151"/>
                  </a:cubicBezTo>
                  <a:cubicBezTo>
                    <a:pt x="187" y="151"/>
                    <a:pt x="225" y="190"/>
                    <a:pt x="225" y="247"/>
                  </a:cubicBezTo>
                  <a:cubicBezTo>
                    <a:pt x="225" y="253"/>
                    <a:pt x="224" y="260"/>
                    <a:pt x="222" y="266"/>
                  </a:cubicBezTo>
                  <a:cubicBezTo>
                    <a:pt x="238" y="246"/>
                    <a:pt x="246" y="221"/>
                    <a:pt x="246" y="193"/>
                  </a:cubicBezTo>
                  <a:cubicBezTo>
                    <a:pt x="246" y="129"/>
                    <a:pt x="194" y="76"/>
                    <a:pt x="129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12" y="76"/>
                    <a:pt x="108" y="71"/>
                    <a:pt x="108" y="6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108" y="200"/>
                    <a:pt x="108" y="200"/>
                    <a:pt x="108" y="200"/>
                  </a:cubicBezTo>
                  <a:cubicBezTo>
                    <a:pt x="108" y="161"/>
                    <a:pt x="108" y="161"/>
                    <a:pt x="108" y="161"/>
                  </a:cubicBezTo>
                  <a:cubicBezTo>
                    <a:pt x="108" y="155"/>
                    <a:pt x="112" y="151"/>
                    <a:pt x="118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9" name="Freeform 743"/>
            <p:cNvSpPr>
              <a:spLocks noEditPoints="1"/>
            </p:cNvSpPr>
            <p:nvPr/>
          </p:nvSpPr>
          <p:spPr bwMode="auto">
            <a:xfrm>
              <a:off x="1163" y="2706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0" name="Freeform 747"/>
          <p:cNvSpPr>
            <a:spLocks noChangeAspect="1" noEditPoints="1"/>
          </p:cNvSpPr>
          <p:nvPr/>
        </p:nvSpPr>
        <p:spPr bwMode="auto">
          <a:xfrm>
            <a:off x="4416636" y="6194135"/>
            <a:ext cx="369021" cy="370106"/>
          </a:xfrm>
          <a:custGeom>
            <a:avLst/>
            <a:gdLst>
              <a:gd name="T0" fmla="*/ 373 w 512"/>
              <a:gd name="T1" fmla="*/ 288 h 512"/>
              <a:gd name="T2" fmla="*/ 349 w 512"/>
              <a:gd name="T3" fmla="*/ 361 h 512"/>
              <a:gd name="T4" fmla="*/ 352 w 512"/>
              <a:gd name="T5" fmla="*/ 342 h 512"/>
              <a:gd name="T6" fmla="*/ 261 w 512"/>
              <a:gd name="T7" fmla="*/ 246 h 512"/>
              <a:gd name="T8" fmla="*/ 245 w 512"/>
              <a:gd name="T9" fmla="*/ 246 h 512"/>
              <a:gd name="T10" fmla="*/ 235 w 512"/>
              <a:gd name="T11" fmla="*/ 256 h 512"/>
              <a:gd name="T12" fmla="*/ 235 w 512"/>
              <a:gd name="T13" fmla="*/ 295 h 512"/>
              <a:gd name="T14" fmla="*/ 154 w 512"/>
              <a:gd name="T15" fmla="*/ 214 h 512"/>
              <a:gd name="T16" fmla="*/ 235 w 512"/>
              <a:gd name="T17" fmla="*/ 133 h 512"/>
              <a:gd name="T18" fmla="*/ 235 w 512"/>
              <a:gd name="T19" fmla="*/ 160 h 512"/>
              <a:gd name="T20" fmla="*/ 245 w 512"/>
              <a:gd name="T21" fmla="*/ 171 h 512"/>
              <a:gd name="T22" fmla="*/ 256 w 512"/>
              <a:gd name="T23" fmla="*/ 171 h 512"/>
              <a:gd name="T24" fmla="*/ 373 w 512"/>
              <a:gd name="T25" fmla="*/ 288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395 w 512"/>
              <a:gd name="T37" fmla="*/ 288 h 512"/>
              <a:gd name="T38" fmla="*/ 256 w 512"/>
              <a:gd name="T39" fmla="*/ 150 h 512"/>
              <a:gd name="T40" fmla="*/ 256 w 512"/>
              <a:gd name="T41" fmla="*/ 107 h 512"/>
              <a:gd name="T42" fmla="*/ 249 w 512"/>
              <a:gd name="T43" fmla="*/ 97 h 512"/>
              <a:gd name="T44" fmla="*/ 238 w 512"/>
              <a:gd name="T45" fmla="*/ 99 h 512"/>
              <a:gd name="T46" fmla="*/ 131 w 512"/>
              <a:gd name="T47" fmla="*/ 206 h 512"/>
              <a:gd name="T48" fmla="*/ 131 w 512"/>
              <a:gd name="T49" fmla="*/ 221 h 512"/>
              <a:gd name="T50" fmla="*/ 238 w 512"/>
              <a:gd name="T51" fmla="*/ 328 h 512"/>
              <a:gd name="T52" fmla="*/ 249 w 512"/>
              <a:gd name="T53" fmla="*/ 330 h 512"/>
              <a:gd name="T54" fmla="*/ 256 w 512"/>
              <a:gd name="T55" fmla="*/ 320 h 512"/>
              <a:gd name="T56" fmla="*/ 256 w 512"/>
              <a:gd name="T57" fmla="*/ 267 h 512"/>
              <a:gd name="T58" fmla="*/ 261 w 512"/>
              <a:gd name="T59" fmla="*/ 267 h 512"/>
              <a:gd name="T60" fmla="*/ 330 w 512"/>
              <a:gd name="T61" fmla="*/ 342 h 512"/>
              <a:gd name="T62" fmla="*/ 303 w 512"/>
              <a:gd name="T63" fmla="*/ 397 h 512"/>
              <a:gd name="T64" fmla="*/ 300 w 512"/>
              <a:gd name="T65" fmla="*/ 411 h 512"/>
              <a:gd name="T66" fmla="*/ 309 w 512"/>
              <a:gd name="T67" fmla="*/ 416 h 512"/>
              <a:gd name="T68" fmla="*/ 314 w 512"/>
              <a:gd name="T69" fmla="*/ 415 h 512"/>
              <a:gd name="T70" fmla="*/ 395 w 512"/>
              <a:gd name="T71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373" y="288"/>
                </a:moveTo>
                <a:cubicBezTo>
                  <a:pt x="373" y="316"/>
                  <a:pt x="365" y="341"/>
                  <a:pt x="349" y="361"/>
                </a:cubicBezTo>
                <a:cubicBezTo>
                  <a:pt x="351" y="355"/>
                  <a:pt x="352" y="348"/>
                  <a:pt x="352" y="342"/>
                </a:cubicBezTo>
                <a:cubicBezTo>
                  <a:pt x="352" y="285"/>
                  <a:pt x="314" y="246"/>
                  <a:pt x="261" y="246"/>
                </a:cubicBezTo>
                <a:cubicBezTo>
                  <a:pt x="245" y="246"/>
                  <a:pt x="245" y="246"/>
                  <a:pt x="245" y="246"/>
                </a:cubicBezTo>
                <a:cubicBezTo>
                  <a:pt x="239" y="246"/>
                  <a:pt x="235" y="250"/>
                  <a:pt x="235" y="256"/>
                </a:cubicBezTo>
                <a:cubicBezTo>
                  <a:pt x="235" y="295"/>
                  <a:pt x="235" y="295"/>
                  <a:pt x="235" y="295"/>
                </a:cubicBezTo>
                <a:cubicBezTo>
                  <a:pt x="154" y="214"/>
                  <a:pt x="154" y="214"/>
                  <a:pt x="154" y="214"/>
                </a:cubicBezTo>
                <a:cubicBezTo>
                  <a:pt x="235" y="133"/>
                  <a:pt x="235" y="133"/>
                  <a:pt x="235" y="133"/>
                </a:cubicBezTo>
                <a:cubicBezTo>
                  <a:pt x="235" y="160"/>
                  <a:pt x="235" y="160"/>
                  <a:pt x="235" y="160"/>
                </a:cubicBezTo>
                <a:cubicBezTo>
                  <a:pt x="235" y="166"/>
                  <a:pt x="239" y="171"/>
                  <a:pt x="245" y="171"/>
                </a:cubicBezTo>
                <a:cubicBezTo>
                  <a:pt x="256" y="171"/>
                  <a:pt x="256" y="171"/>
                  <a:pt x="256" y="171"/>
                </a:cubicBezTo>
                <a:cubicBezTo>
                  <a:pt x="321" y="171"/>
                  <a:pt x="373" y="224"/>
                  <a:pt x="373" y="288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95" y="288"/>
                </a:moveTo>
                <a:cubicBezTo>
                  <a:pt x="395" y="212"/>
                  <a:pt x="332" y="150"/>
                  <a:pt x="256" y="150"/>
                </a:cubicBezTo>
                <a:cubicBezTo>
                  <a:pt x="256" y="107"/>
                  <a:pt x="256" y="107"/>
                  <a:pt x="256" y="107"/>
                </a:cubicBezTo>
                <a:cubicBezTo>
                  <a:pt x="256" y="103"/>
                  <a:pt x="253" y="99"/>
                  <a:pt x="249" y="97"/>
                </a:cubicBezTo>
                <a:cubicBezTo>
                  <a:pt x="245" y="95"/>
                  <a:pt x="241" y="96"/>
                  <a:pt x="238" y="99"/>
                </a:cubicBezTo>
                <a:cubicBezTo>
                  <a:pt x="131" y="206"/>
                  <a:pt x="131" y="206"/>
                  <a:pt x="131" y="206"/>
                </a:cubicBezTo>
                <a:cubicBezTo>
                  <a:pt x="127" y="210"/>
                  <a:pt x="127" y="217"/>
                  <a:pt x="131" y="221"/>
                </a:cubicBezTo>
                <a:cubicBezTo>
                  <a:pt x="238" y="328"/>
                  <a:pt x="238" y="328"/>
                  <a:pt x="238" y="328"/>
                </a:cubicBezTo>
                <a:cubicBezTo>
                  <a:pt x="241" y="331"/>
                  <a:pt x="245" y="332"/>
                  <a:pt x="249" y="330"/>
                </a:cubicBezTo>
                <a:cubicBezTo>
                  <a:pt x="253" y="329"/>
                  <a:pt x="256" y="325"/>
                  <a:pt x="256" y="320"/>
                </a:cubicBezTo>
                <a:cubicBezTo>
                  <a:pt x="256" y="267"/>
                  <a:pt x="256" y="267"/>
                  <a:pt x="256" y="267"/>
                </a:cubicBezTo>
                <a:cubicBezTo>
                  <a:pt x="261" y="267"/>
                  <a:pt x="261" y="267"/>
                  <a:pt x="261" y="267"/>
                </a:cubicBezTo>
                <a:cubicBezTo>
                  <a:pt x="309" y="267"/>
                  <a:pt x="330" y="305"/>
                  <a:pt x="330" y="342"/>
                </a:cubicBezTo>
                <a:cubicBezTo>
                  <a:pt x="330" y="362"/>
                  <a:pt x="320" y="383"/>
                  <a:pt x="303" y="397"/>
                </a:cubicBezTo>
                <a:cubicBezTo>
                  <a:pt x="298" y="401"/>
                  <a:pt x="297" y="407"/>
                  <a:pt x="300" y="411"/>
                </a:cubicBezTo>
                <a:cubicBezTo>
                  <a:pt x="302" y="415"/>
                  <a:pt x="306" y="416"/>
                  <a:pt x="309" y="416"/>
                </a:cubicBezTo>
                <a:cubicBezTo>
                  <a:pt x="311" y="416"/>
                  <a:pt x="312" y="416"/>
                  <a:pt x="314" y="415"/>
                </a:cubicBezTo>
                <a:cubicBezTo>
                  <a:pt x="363" y="394"/>
                  <a:pt x="395" y="344"/>
                  <a:pt x="395" y="2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1" name="Group 750"/>
          <p:cNvGrpSpPr>
            <a:grpSpLocks noChangeAspect="1"/>
          </p:cNvGrpSpPr>
          <p:nvPr/>
        </p:nvGrpSpPr>
        <p:grpSpPr bwMode="auto">
          <a:xfrm>
            <a:off x="3917764" y="6194138"/>
            <a:ext cx="370106" cy="369021"/>
            <a:chOff x="388" y="2730"/>
            <a:chExt cx="341" cy="340"/>
          </a:xfrm>
          <a:solidFill>
            <a:schemeClr val="accent2"/>
          </a:solidFill>
        </p:grpSpPr>
        <p:sp>
          <p:nvSpPr>
            <p:cNvPr id="782" name="Freeform 751"/>
            <p:cNvSpPr>
              <a:spLocks noEditPoints="1"/>
            </p:cNvSpPr>
            <p:nvPr/>
          </p:nvSpPr>
          <p:spPr bwMode="auto">
            <a:xfrm>
              <a:off x="451" y="2793"/>
              <a:ext cx="214" cy="213"/>
            </a:xfrm>
            <a:custGeom>
              <a:avLst/>
              <a:gdLst>
                <a:gd name="T0" fmla="*/ 236 w 321"/>
                <a:gd name="T1" fmla="*/ 321 h 321"/>
                <a:gd name="T2" fmla="*/ 227 w 321"/>
                <a:gd name="T3" fmla="*/ 316 h 321"/>
                <a:gd name="T4" fmla="*/ 229 w 321"/>
                <a:gd name="T5" fmla="*/ 302 h 321"/>
                <a:gd name="T6" fmla="*/ 257 w 321"/>
                <a:gd name="T7" fmla="*/ 247 h 321"/>
                <a:gd name="T8" fmla="*/ 187 w 321"/>
                <a:gd name="T9" fmla="*/ 172 h 321"/>
                <a:gd name="T10" fmla="*/ 182 w 321"/>
                <a:gd name="T11" fmla="*/ 172 h 321"/>
                <a:gd name="T12" fmla="*/ 182 w 321"/>
                <a:gd name="T13" fmla="*/ 225 h 321"/>
                <a:gd name="T14" fmla="*/ 176 w 321"/>
                <a:gd name="T15" fmla="*/ 235 h 321"/>
                <a:gd name="T16" fmla="*/ 164 w 321"/>
                <a:gd name="T17" fmla="*/ 233 h 321"/>
                <a:gd name="T18" fmla="*/ 57 w 321"/>
                <a:gd name="T19" fmla="*/ 126 h 321"/>
                <a:gd name="T20" fmla="*/ 57 w 321"/>
                <a:gd name="T21" fmla="*/ 111 h 321"/>
                <a:gd name="T22" fmla="*/ 164 w 321"/>
                <a:gd name="T23" fmla="*/ 4 h 321"/>
                <a:gd name="T24" fmla="*/ 176 w 321"/>
                <a:gd name="T25" fmla="*/ 2 h 321"/>
                <a:gd name="T26" fmla="*/ 182 w 321"/>
                <a:gd name="T27" fmla="*/ 12 h 321"/>
                <a:gd name="T28" fmla="*/ 182 w 321"/>
                <a:gd name="T29" fmla="*/ 55 h 321"/>
                <a:gd name="T30" fmla="*/ 321 w 321"/>
                <a:gd name="T31" fmla="*/ 193 h 321"/>
                <a:gd name="T32" fmla="*/ 240 w 321"/>
                <a:gd name="T33" fmla="*/ 320 h 321"/>
                <a:gd name="T34" fmla="*/ 236 w 321"/>
                <a:gd name="T35" fmla="*/ 321 h 321"/>
                <a:gd name="T36" fmla="*/ 172 w 321"/>
                <a:gd name="T37" fmla="*/ 151 h 321"/>
                <a:gd name="T38" fmla="*/ 187 w 321"/>
                <a:gd name="T39" fmla="*/ 151 h 321"/>
                <a:gd name="T40" fmla="*/ 278 w 321"/>
                <a:gd name="T41" fmla="*/ 247 h 321"/>
                <a:gd name="T42" fmla="*/ 276 w 321"/>
                <a:gd name="T43" fmla="*/ 266 h 321"/>
                <a:gd name="T44" fmla="*/ 300 w 321"/>
                <a:gd name="T45" fmla="*/ 193 h 321"/>
                <a:gd name="T46" fmla="*/ 182 w 321"/>
                <a:gd name="T47" fmla="*/ 76 h 321"/>
                <a:gd name="T48" fmla="*/ 172 w 321"/>
                <a:gd name="T49" fmla="*/ 76 h 321"/>
                <a:gd name="T50" fmla="*/ 161 w 321"/>
                <a:gd name="T51" fmla="*/ 65 h 321"/>
                <a:gd name="T52" fmla="*/ 161 w 321"/>
                <a:gd name="T53" fmla="*/ 38 h 321"/>
                <a:gd name="T54" fmla="*/ 80 w 321"/>
                <a:gd name="T55" fmla="*/ 119 h 321"/>
                <a:gd name="T56" fmla="*/ 161 w 321"/>
                <a:gd name="T57" fmla="*/ 200 h 321"/>
                <a:gd name="T58" fmla="*/ 161 w 321"/>
                <a:gd name="T59" fmla="*/ 161 h 321"/>
                <a:gd name="T60" fmla="*/ 172 w 321"/>
                <a:gd name="T61" fmla="*/ 151 h 321"/>
                <a:gd name="T62" fmla="*/ 126 w 321"/>
                <a:gd name="T63" fmla="*/ 233 h 321"/>
                <a:gd name="T64" fmla="*/ 126 w 321"/>
                <a:gd name="T65" fmla="*/ 218 h 321"/>
                <a:gd name="T66" fmla="*/ 27 w 321"/>
                <a:gd name="T67" fmla="*/ 119 h 321"/>
                <a:gd name="T68" fmla="*/ 126 w 321"/>
                <a:gd name="T69" fmla="*/ 20 h 321"/>
                <a:gd name="T70" fmla="*/ 126 w 321"/>
                <a:gd name="T71" fmla="*/ 4 h 321"/>
                <a:gd name="T72" fmla="*/ 111 w 321"/>
                <a:gd name="T73" fmla="*/ 4 h 321"/>
                <a:gd name="T74" fmla="*/ 4 w 321"/>
                <a:gd name="T75" fmla="*/ 111 h 321"/>
                <a:gd name="T76" fmla="*/ 4 w 321"/>
                <a:gd name="T77" fmla="*/ 126 h 321"/>
                <a:gd name="T78" fmla="*/ 111 w 321"/>
                <a:gd name="T79" fmla="*/ 233 h 321"/>
                <a:gd name="T80" fmla="*/ 118 w 321"/>
                <a:gd name="T81" fmla="*/ 236 h 321"/>
                <a:gd name="T82" fmla="*/ 126 w 321"/>
                <a:gd name="T83" fmla="*/ 23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1" h="321">
                  <a:moveTo>
                    <a:pt x="236" y="321"/>
                  </a:moveTo>
                  <a:cubicBezTo>
                    <a:pt x="232" y="321"/>
                    <a:pt x="229" y="320"/>
                    <a:pt x="227" y="316"/>
                  </a:cubicBezTo>
                  <a:cubicBezTo>
                    <a:pt x="224" y="312"/>
                    <a:pt x="225" y="306"/>
                    <a:pt x="229" y="302"/>
                  </a:cubicBezTo>
                  <a:cubicBezTo>
                    <a:pt x="247" y="288"/>
                    <a:pt x="257" y="267"/>
                    <a:pt x="257" y="247"/>
                  </a:cubicBezTo>
                  <a:cubicBezTo>
                    <a:pt x="257" y="210"/>
                    <a:pt x="235" y="172"/>
                    <a:pt x="187" y="172"/>
                  </a:cubicBezTo>
                  <a:cubicBezTo>
                    <a:pt x="182" y="172"/>
                    <a:pt x="182" y="172"/>
                    <a:pt x="182" y="172"/>
                  </a:cubicBezTo>
                  <a:cubicBezTo>
                    <a:pt x="182" y="225"/>
                    <a:pt x="182" y="225"/>
                    <a:pt x="182" y="225"/>
                  </a:cubicBezTo>
                  <a:cubicBezTo>
                    <a:pt x="182" y="230"/>
                    <a:pt x="180" y="234"/>
                    <a:pt x="176" y="235"/>
                  </a:cubicBezTo>
                  <a:cubicBezTo>
                    <a:pt x="172" y="237"/>
                    <a:pt x="167" y="236"/>
                    <a:pt x="164" y="233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3" y="122"/>
                    <a:pt x="53" y="115"/>
                    <a:pt x="57" y="111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67" y="1"/>
                    <a:pt x="172" y="0"/>
                    <a:pt x="176" y="2"/>
                  </a:cubicBezTo>
                  <a:cubicBezTo>
                    <a:pt x="180" y="4"/>
                    <a:pt x="182" y="8"/>
                    <a:pt x="182" y="12"/>
                  </a:cubicBezTo>
                  <a:cubicBezTo>
                    <a:pt x="182" y="55"/>
                    <a:pt x="182" y="55"/>
                    <a:pt x="182" y="55"/>
                  </a:cubicBezTo>
                  <a:cubicBezTo>
                    <a:pt x="259" y="55"/>
                    <a:pt x="321" y="117"/>
                    <a:pt x="321" y="193"/>
                  </a:cubicBezTo>
                  <a:cubicBezTo>
                    <a:pt x="321" y="249"/>
                    <a:pt x="289" y="299"/>
                    <a:pt x="240" y="320"/>
                  </a:cubicBezTo>
                  <a:cubicBezTo>
                    <a:pt x="239" y="321"/>
                    <a:pt x="237" y="321"/>
                    <a:pt x="236" y="321"/>
                  </a:cubicBezTo>
                  <a:close/>
                  <a:moveTo>
                    <a:pt x="172" y="151"/>
                  </a:moveTo>
                  <a:cubicBezTo>
                    <a:pt x="187" y="151"/>
                    <a:pt x="187" y="151"/>
                    <a:pt x="187" y="151"/>
                  </a:cubicBezTo>
                  <a:cubicBezTo>
                    <a:pt x="241" y="151"/>
                    <a:pt x="278" y="190"/>
                    <a:pt x="278" y="247"/>
                  </a:cubicBezTo>
                  <a:cubicBezTo>
                    <a:pt x="278" y="253"/>
                    <a:pt x="277" y="260"/>
                    <a:pt x="276" y="266"/>
                  </a:cubicBezTo>
                  <a:cubicBezTo>
                    <a:pt x="291" y="246"/>
                    <a:pt x="300" y="221"/>
                    <a:pt x="300" y="193"/>
                  </a:cubicBezTo>
                  <a:cubicBezTo>
                    <a:pt x="300" y="129"/>
                    <a:pt x="247" y="76"/>
                    <a:pt x="182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66" y="76"/>
                    <a:pt x="161" y="71"/>
                    <a:pt x="161" y="65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161" y="200"/>
                    <a:pt x="161" y="200"/>
                    <a:pt x="161" y="200"/>
                  </a:cubicBezTo>
                  <a:cubicBezTo>
                    <a:pt x="161" y="161"/>
                    <a:pt x="161" y="161"/>
                    <a:pt x="161" y="161"/>
                  </a:cubicBezTo>
                  <a:cubicBezTo>
                    <a:pt x="161" y="155"/>
                    <a:pt x="166" y="151"/>
                    <a:pt x="172" y="151"/>
                  </a:cubicBezTo>
                  <a:close/>
                  <a:moveTo>
                    <a:pt x="126" y="233"/>
                  </a:moveTo>
                  <a:cubicBezTo>
                    <a:pt x="130" y="229"/>
                    <a:pt x="130" y="222"/>
                    <a:pt x="126" y="218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30" y="15"/>
                    <a:pt x="130" y="9"/>
                    <a:pt x="126" y="4"/>
                  </a:cubicBezTo>
                  <a:cubicBezTo>
                    <a:pt x="122" y="0"/>
                    <a:pt x="115" y="0"/>
                    <a:pt x="111" y="4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0" y="115"/>
                    <a:pt x="0" y="122"/>
                    <a:pt x="4" y="126"/>
                  </a:cubicBezTo>
                  <a:cubicBezTo>
                    <a:pt x="111" y="233"/>
                    <a:pt x="111" y="233"/>
                    <a:pt x="111" y="233"/>
                  </a:cubicBezTo>
                  <a:cubicBezTo>
                    <a:pt x="113" y="235"/>
                    <a:pt x="116" y="236"/>
                    <a:pt x="118" y="236"/>
                  </a:cubicBezTo>
                  <a:cubicBezTo>
                    <a:pt x="121" y="236"/>
                    <a:pt x="124" y="235"/>
                    <a:pt x="126" y="2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3" name="Freeform 752"/>
            <p:cNvSpPr>
              <a:spLocks noEditPoints="1"/>
            </p:cNvSpPr>
            <p:nvPr/>
          </p:nvSpPr>
          <p:spPr bwMode="auto">
            <a:xfrm>
              <a:off x="388" y="2730"/>
              <a:ext cx="341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84" name="Freeform 756"/>
          <p:cNvSpPr>
            <a:spLocks noChangeAspect="1" noEditPoints="1"/>
          </p:cNvSpPr>
          <p:nvPr/>
        </p:nvSpPr>
        <p:spPr bwMode="auto">
          <a:xfrm>
            <a:off x="3419977" y="6194138"/>
            <a:ext cx="369021" cy="369021"/>
          </a:xfrm>
          <a:custGeom>
            <a:avLst/>
            <a:gdLst>
              <a:gd name="T0" fmla="*/ 395 w 512"/>
              <a:gd name="T1" fmla="*/ 288 h 512"/>
              <a:gd name="T2" fmla="*/ 371 w 512"/>
              <a:gd name="T3" fmla="*/ 361 h 512"/>
              <a:gd name="T4" fmla="*/ 373 w 512"/>
              <a:gd name="T5" fmla="*/ 342 h 512"/>
              <a:gd name="T6" fmla="*/ 282 w 512"/>
              <a:gd name="T7" fmla="*/ 246 h 512"/>
              <a:gd name="T8" fmla="*/ 267 w 512"/>
              <a:gd name="T9" fmla="*/ 246 h 512"/>
              <a:gd name="T10" fmla="*/ 256 w 512"/>
              <a:gd name="T11" fmla="*/ 256 h 512"/>
              <a:gd name="T12" fmla="*/ 256 w 512"/>
              <a:gd name="T13" fmla="*/ 295 h 512"/>
              <a:gd name="T14" fmla="*/ 175 w 512"/>
              <a:gd name="T15" fmla="*/ 214 h 512"/>
              <a:gd name="T16" fmla="*/ 256 w 512"/>
              <a:gd name="T17" fmla="*/ 133 h 512"/>
              <a:gd name="T18" fmla="*/ 256 w 512"/>
              <a:gd name="T19" fmla="*/ 160 h 512"/>
              <a:gd name="T20" fmla="*/ 267 w 512"/>
              <a:gd name="T21" fmla="*/ 171 h 512"/>
              <a:gd name="T22" fmla="*/ 277 w 512"/>
              <a:gd name="T23" fmla="*/ 171 h 512"/>
              <a:gd name="T24" fmla="*/ 395 w 512"/>
              <a:gd name="T25" fmla="*/ 288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221 w 512"/>
              <a:gd name="T37" fmla="*/ 313 h 512"/>
              <a:gd name="T38" fmla="*/ 122 w 512"/>
              <a:gd name="T39" fmla="*/ 214 h 512"/>
              <a:gd name="T40" fmla="*/ 221 w 512"/>
              <a:gd name="T41" fmla="*/ 115 h 512"/>
              <a:gd name="T42" fmla="*/ 221 w 512"/>
              <a:gd name="T43" fmla="*/ 99 h 512"/>
              <a:gd name="T44" fmla="*/ 206 w 512"/>
              <a:gd name="T45" fmla="*/ 99 h 512"/>
              <a:gd name="T46" fmla="*/ 99 w 512"/>
              <a:gd name="T47" fmla="*/ 206 h 512"/>
              <a:gd name="T48" fmla="*/ 99 w 512"/>
              <a:gd name="T49" fmla="*/ 221 h 512"/>
              <a:gd name="T50" fmla="*/ 206 w 512"/>
              <a:gd name="T51" fmla="*/ 328 h 512"/>
              <a:gd name="T52" fmla="*/ 213 w 512"/>
              <a:gd name="T53" fmla="*/ 331 h 512"/>
              <a:gd name="T54" fmla="*/ 221 w 512"/>
              <a:gd name="T55" fmla="*/ 328 h 512"/>
              <a:gd name="T56" fmla="*/ 221 w 512"/>
              <a:gd name="T57" fmla="*/ 313 h 512"/>
              <a:gd name="T58" fmla="*/ 416 w 512"/>
              <a:gd name="T59" fmla="*/ 288 h 512"/>
              <a:gd name="T60" fmla="*/ 277 w 512"/>
              <a:gd name="T61" fmla="*/ 150 h 512"/>
              <a:gd name="T62" fmla="*/ 277 w 512"/>
              <a:gd name="T63" fmla="*/ 107 h 512"/>
              <a:gd name="T64" fmla="*/ 271 w 512"/>
              <a:gd name="T65" fmla="*/ 97 h 512"/>
              <a:gd name="T66" fmla="*/ 259 w 512"/>
              <a:gd name="T67" fmla="*/ 99 h 512"/>
              <a:gd name="T68" fmla="*/ 152 w 512"/>
              <a:gd name="T69" fmla="*/ 206 h 512"/>
              <a:gd name="T70" fmla="*/ 152 w 512"/>
              <a:gd name="T71" fmla="*/ 221 h 512"/>
              <a:gd name="T72" fmla="*/ 259 w 512"/>
              <a:gd name="T73" fmla="*/ 328 h 512"/>
              <a:gd name="T74" fmla="*/ 271 w 512"/>
              <a:gd name="T75" fmla="*/ 330 h 512"/>
              <a:gd name="T76" fmla="*/ 277 w 512"/>
              <a:gd name="T77" fmla="*/ 320 h 512"/>
              <a:gd name="T78" fmla="*/ 277 w 512"/>
              <a:gd name="T79" fmla="*/ 267 h 512"/>
              <a:gd name="T80" fmla="*/ 282 w 512"/>
              <a:gd name="T81" fmla="*/ 267 h 512"/>
              <a:gd name="T82" fmla="*/ 352 w 512"/>
              <a:gd name="T83" fmla="*/ 342 h 512"/>
              <a:gd name="T84" fmla="*/ 324 w 512"/>
              <a:gd name="T85" fmla="*/ 397 h 512"/>
              <a:gd name="T86" fmla="*/ 322 w 512"/>
              <a:gd name="T87" fmla="*/ 411 h 512"/>
              <a:gd name="T88" fmla="*/ 331 w 512"/>
              <a:gd name="T89" fmla="*/ 416 h 512"/>
              <a:gd name="T90" fmla="*/ 335 w 512"/>
              <a:gd name="T91" fmla="*/ 415 h 512"/>
              <a:gd name="T92" fmla="*/ 416 w 512"/>
              <a:gd name="T9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395" y="288"/>
                </a:moveTo>
                <a:cubicBezTo>
                  <a:pt x="395" y="316"/>
                  <a:pt x="386" y="341"/>
                  <a:pt x="371" y="361"/>
                </a:cubicBezTo>
                <a:cubicBezTo>
                  <a:pt x="372" y="355"/>
                  <a:pt x="373" y="348"/>
                  <a:pt x="373" y="342"/>
                </a:cubicBezTo>
                <a:cubicBezTo>
                  <a:pt x="373" y="285"/>
                  <a:pt x="336" y="246"/>
                  <a:pt x="282" y="246"/>
                </a:cubicBezTo>
                <a:cubicBezTo>
                  <a:pt x="267" y="246"/>
                  <a:pt x="267" y="246"/>
                  <a:pt x="267" y="246"/>
                </a:cubicBezTo>
                <a:cubicBezTo>
                  <a:pt x="261" y="246"/>
                  <a:pt x="256" y="250"/>
                  <a:pt x="256" y="256"/>
                </a:cubicBezTo>
                <a:cubicBezTo>
                  <a:pt x="256" y="295"/>
                  <a:pt x="256" y="295"/>
                  <a:pt x="256" y="295"/>
                </a:cubicBezTo>
                <a:cubicBezTo>
                  <a:pt x="175" y="214"/>
                  <a:pt x="175" y="214"/>
                  <a:pt x="175" y="214"/>
                </a:cubicBezTo>
                <a:cubicBezTo>
                  <a:pt x="256" y="133"/>
                  <a:pt x="256" y="133"/>
                  <a:pt x="256" y="133"/>
                </a:cubicBezTo>
                <a:cubicBezTo>
                  <a:pt x="256" y="160"/>
                  <a:pt x="256" y="160"/>
                  <a:pt x="256" y="160"/>
                </a:cubicBezTo>
                <a:cubicBezTo>
                  <a:pt x="256" y="166"/>
                  <a:pt x="261" y="171"/>
                  <a:pt x="267" y="171"/>
                </a:cubicBezTo>
                <a:cubicBezTo>
                  <a:pt x="277" y="171"/>
                  <a:pt x="277" y="171"/>
                  <a:pt x="277" y="171"/>
                </a:cubicBezTo>
                <a:cubicBezTo>
                  <a:pt x="342" y="171"/>
                  <a:pt x="395" y="224"/>
                  <a:pt x="395" y="288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21" y="313"/>
                </a:moveTo>
                <a:cubicBezTo>
                  <a:pt x="122" y="214"/>
                  <a:pt x="122" y="214"/>
                  <a:pt x="122" y="214"/>
                </a:cubicBezTo>
                <a:cubicBezTo>
                  <a:pt x="221" y="115"/>
                  <a:pt x="221" y="115"/>
                  <a:pt x="221" y="115"/>
                </a:cubicBezTo>
                <a:cubicBezTo>
                  <a:pt x="225" y="110"/>
                  <a:pt x="225" y="104"/>
                  <a:pt x="221" y="99"/>
                </a:cubicBezTo>
                <a:cubicBezTo>
                  <a:pt x="217" y="95"/>
                  <a:pt x="210" y="95"/>
                  <a:pt x="206" y="99"/>
                </a:cubicBezTo>
                <a:cubicBezTo>
                  <a:pt x="99" y="206"/>
                  <a:pt x="99" y="206"/>
                  <a:pt x="99" y="206"/>
                </a:cubicBezTo>
                <a:cubicBezTo>
                  <a:pt x="95" y="210"/>
                  <a:pt x="95" y="217"/>
                  <a:pt x="99" y="221"/>
                </a:cubicBezTo>
                <a:cubicBezTo>
                  <a:pt x="206" y="328"/>
                  <a:pt x="206" y="328"/>
                  <a:pt x="206" y="328"/>
                </a:cubicBezTo>
                <a:cubicBezTo>
                  <a:pt x="208" y="330"/>
                  <a:pt x="211" y="331"/>
                  <a:pt x="213" y="331"/>
                </a:cubicBezTo>
                <a:cubicBezTo>
                  <a:pt x="216" y="331"/>
                  <a:pt x="219" y="330"/>
                  <a:pt x="221" y="328"/>
                </a:cubicBezTo>
                <a:cubicBezTo>
                  <a:pt x="225" y="324"/>
                  <a:pt x="225" y="317"/>
                  <a:pt x="221" y="313"/>
                </a:cubicBezTo>
                <a:close/>
                <a:moveTo>
                  <a:pt x="416" y="288"/>
                </a:moveTo>
                <a:cubicBezTo>
                  <a:pt x="416" y="212"/>
                  <a:pt x="354" y="150"/>
                  <a:pt x="277" y="150"/>
                </a:cubicBezTo>
                <a:cubicBezTo>
                  <a:pt x="277" y="107"/>
                  <a:pt x="277" y="107"/>
                  <a:pt x="277" y="107"/>
                </a:cubicBezTo>
                <a:cubicBezTo>
                  <a:pt x="277" y="103"/>
                  <a:pt x="275" y="99"/>
                  <a:pt x="271" y="97"/>
                </a:cubicBezTo>
                <a:cubicBezTo>
                  <a:pt x="267" y="95"/>
                  <a:pt x="262" y="96"/>
                  <a:pt x="259" y="99"/>
                </a:cubicBezTo>
                <a:cubicBezTo>
                  <a:pt x="152" y="206"/>
                  <a:pt x="152" y="206"/>
                  <a:pt x="152" y="206"/>
                </a:cubicBezTo>
                <a:cubicBezTo>
                  <a:pt x="148" y="210"/>
                  <a:pt x="148" y="217"/>
                  <a:pt x="152" y="221"/>
                </a:cubicBezTo>
                <a:cubicBezTo>
                  <a:pt x="259" y="328"/>
                  <a:pt x="259" y="328"/>
                  <a:pt x="259" y="328"/>
                </a:cubicBezTo>
                <a:cubicBezTo>
                  <a:pt x="262" y="331"/>
                  <a:pt x="267" y="332"/>
                  <a:pt x="271" y="330"/>
                </a:cubicBezTo>
                <a:cubicBezTo>
                  <a:pt x="275" y="329"/>
                  <a:pt x="277" y="325"/>
                  <a:pt x="277" y="320"/>
                </a:cubicBezTo>
                <a:cubicBezTo>
                  <a:pt x="277" y="267"/>
                  <a:pt x="277" y="267"/>
                  <a:pt x="277" y="267"/>
                </a:cubicBezTo>
                <a:cubicBezTo>
                  <a:pt x="282" y="267"/>
                  <a:pt x="282" y="267"/>
                  <a:pt x="282" y="267"/>
                </a:cubicBezTo>
                <a:cubicBezTo>
                  <a:pt x="330" y="267"/>
                  <a:pt x="352" y="305"/>
                  <a:pt x="352" y="342"/>
                </a:cubicBezTo>
                <a:cubicBezTo>
                  <a:pt x="352" y="362"/>
                  <a:pt x="342" y="383"/>
                  <a:pt x="324" y="397"/>
                </a:cubicBezTo>
                <a:cubicBezTo>
                  <a:pt x="320" y="401"/>
                  <a:pt x="319" y="407"/>
                  <a:pt x="322" y="411"/>
                </a:cubicBezTo>
                <a:cubicBezTo>
                  <a:pt x="324" y="415"/>
                  <a:pt x="327" y="416"/>
                  <a:pt x="331" y="416"/>
                </a:cubicBezTo>
                <a:cubicBezTo>
                  <a:pt x="332" y="416"/>
                  <a:pt x="334" y="416"/>
                  <a:pt x="335" y="415"/>
                </a:cubicBezTo>
                <a:cubicBezTo>
                  <a:pt x="384" y="394"/>
                  <a:pt x="416" y="344"/>
                  <a:pt x="416" y="2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5" name="Freeform 183"/>
          <p:cNvSpPr>
            <a:spLocks noChangeAspect="1" noEditPoints="1"/>
          </p:cNvSpPr>
          <p:nvPr/>
        </p:nvSpPr>
        <p:spPr bwMode="auto">
          <a:xfrm>
            <a:off x="5412210" y="6194138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374 h 512"/>
              <a:gd name="T12" fmla="*/ 347 w 512"/>
              <a:gd name="T13" fmla="*/ 382 h 512"/>
              <a:gd name="T14" fmla="*/ 341 w 512"/>
              <a:gd name="T15" fmla="*/ 384 h 512"/>
              <a:gd name="T16" fmla="*/ 337 w 512"/>
              <a:gd name="T17" fmla="*/ 383 h 512"/>
              <a:gd name="T18" fmla="*/ 252 w 512"/>
              <a:gd name="T19" fmla="*/ 348 h 512"/>
              <a:gd name="T20" fmla="*/ 222 w 512"/>
              <a:gd name="T21" fmla="*/ 390 h 512"/>
              <a:gd name="T22" fmla="*/ 222 w 512"/>
              <a:gd name="T23" fmla="*/ 390 h 512"/>
              <a:gd name="T24" fmla="*/ 213 w 512"/>
              <a:gd name="T25" fmla="*/ 394 h 512"/>
              <a:gd name="T26" fmla="*/ 212 w 512"/>
              <a:gd name="T27" fmla="*/ 394 h 512"/>
              <a:gd name="T28" fmla="*/ 203 w 512"/>
              <a:gd name="T29" fmla="*/ 387 h 512"/>
              <a:gd name="T30" fmla="*/ 184 w 512"/>
              <a:gd name="T31" fmla="*/ 320 h 512"/>
              <a:gd name="T32" fmla="*/ 102 w 512"/>
              <a:gd name="T33" fmla="*/ 287 h 512"/>
              <a:gd name="T34" fmla="*/ 96 w 512"/>
              <a:gd name="T35" fmla="*/ 278 h 512"/>
              <a:gd name="T36" fmla="*/ 101 w 512"/>
              <a:gd name="T37" fmla="*/ 268 h 512"/>
              <a:gd name="T38" fmla="*/ 357 w 512"/>
              <a:gd name="T39" fmla="*/ 118 h 512"/>
              <a:gd name="T40" fmla="*/ 368 w 512"/>
              <a:gd name="T41" fmla="*/ 119 h 512"/>
              <a:gd name="T42" fmla="*/ 373 w 512"/>
              <a:gd name="T43" fmla="*/ 129 h 512"/>
              <a:gd name="T44" fmla="*/ 352 w 512"/>
              <a:gd name="T45" fmla="*/ 374 h 512"/>
              <a:gd name="T46" fmla="*/ 304 w 512"/>
              <a:gd name="T47" fmla="*/ 174 h 512"/>
              <a:gd name="T48" fmla="*/ 187 w 512"/>
              <a:gd name="T49" fmla="*/ 298 h 512"/>
              <a:gd name="T50" fmla="*/ 130 w 512"/>
              <a:gd name="T51" fmla="*/ 275 h 512"/>
              <a:gd name="T52" fmla="*/ 304 w 512"/>
              <a:gd name="T53" fmla="*/ 174 h 512"/>
              <a:gd name="T54" fmla="*/ 294 w 512"/>
              <a:gd name="T55" fmla="*/ 216 h 512"/>
              <a:gd name="T56" fmla="*/ 225 w 512"/>
              <a:gd name="T57" fmla="*/ 325 h 512"/>
              <a:gd name="T58" fmla="*/ 224 w 512"/>
              <a:gd name="T59" fmla="*/ 326 h 512"/>
              <a:gd name="T60" fmla="*/ 215 w 512"/>
              <a:gd name="T61" fmla="*/ 351 h 512"/>
              <a:gd name="T62" fmla="*/ 204 w 512"/>
              <a:gd name="T63" fmla="*/ 312 h 512"/>
              <a:gd name="T64" fmla="*/ 294 w 512"/>
              <a:gd name="T65" fmla="*/ 216 h 512"/>
              <a:gd name="T66" fmla="*/ 251 w 512"/>
              <a:gd name="T67" fmla="*/ 325 h 512"/>
              <a:gd name="T68" fmla="*/ 348 w 512"/>
              <a:gd name="T69" fmla="*/ 170 h 512"/>
              <a:gd name="T70" fmla="*/ 332 w 512"/>
              <a:gd name="T71" fmla="*/ 358 h 512"/>
              <a:gd name="T72" fmla="*/ 251 w 512"/>
              <a:gd name="T73" fmla="*/ 32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374"/>
                </a:moveTo>
                <a:cubicBezTo>
                  <a:pt x="351" y="377"/>
                  <a:pt x="349" y="380"/>
                  <a:pt x="347" y="382"/>
                </a:cubicBezTo>
                <a:cubicBezTo>
                  <a:pt x="345" y="383"/>
                  <a:pt x="343" y="384"/>
                  <a:pt x="341" y="384"/>
                </a:cubicBezTo>
                <a:cubicBezTo>
                  <a:pt x="340" y="384"/>
                  <a:pt x="338" y="383"/>
                  <a:pt x="337" y="383"/>
                </a:cubicBezTo>
                <a:cubicBezTo>
                  <a:pt x="252" y="348"/>
                  <a:pt x="252" y="348"/>
                  <a:pt x="252" y="348"/>
                </a:cubicBezTo>
                <a:cubicBezTo>
                  <a:pt x="222" y="390"/>
                  <a:pt x="222" y="390"/>
                  <a:pt x="222" y="390"/>
                </a:cubicBezTo>
                <a:cubicBezTo>
                  <a:pt x="222" y="390"/>
                  <a:pt x="222" y="390"/>
                  <a:pt x="222" y="390"/>
                </a:cubicBezTo>
                <a:cubicBezTo>
                  <a:pt x="220" y="393"/>
                  <a:pt x="216" y="394"/>
                  <a:pt x="213" y="394"/>
                </a:cubicBezTo>
                <a:cubicBezTo>
                  <a:pt x="213" y="394"/>
                  <a:pt x="213" y="394"/>
                  <a:pt x="212" y="394"/>
                </a:cubicBezTo>
                <a:cubicBezTo>
                  <a:pt x="208" y="394"/>
                  <a:pt x="204" y="391"/>
                  <a:pt x="203" y="387"/>
                </a:cubicBezTo>
                <a:cubicBezTo>
                  <a:pt x="184" y="320"/>
                  <a:pt x="184" y="320"/>
                  <a:pt x="184" y="320"/>
                </a:cubicBezTo>
                <a:cubicBezTo>
                  <a:pt x="102" y="287"/>
                  <a:pt x="102" y="287"/>
                  <a:pt x="102" y="287"/>
                </a:cubicBezTo>
                <a:cubicBezTo>
                  <a:pt x="99" y="285"/>
                  <a:pt x="96" y="282"/>
                  <a:pt x="96" y="278"/>
                </a:cubicBezTo>
                <a:cubicBezTo>
                  <a:pt x="95" y="274"/>
                  <a:pt x="97" y="270"/>
                  <a:pt x="101" y="268"/>
                </a:cubicBezTo>
                <a:cubicBezTo>
                  <a:pt x="357" y="118"/>
                  <a:pt x="357" y="118"/>
                  <a:pt x="357" y="118"/>
                </a:cubicBezTo>
                <a:cubicBezTo>
                  <a:pt x="360" y="116"/>
                  <a:pt x="365" y="117"/>
                  <a:pt x="368" y="119"/>
                </a:cubicBezTo>
                <a:cubicBezTo>
                  <a:pt x="371" y="121"/>
                  <a:pt x="373" y="125"/>
                  <a:pt x="373" y="129"/>
                </a:cubicBezTo>
                <a:lnTo>
                  <a:pt x="352" y="374"/>
                </a:lnTo>
                <a:close/>
                <a:moveTo>
                  <a:pt x="304" y="174"/>
                </a:moveTo>
                <a:cubicBezTo>
                  <a:pt x="187" y="298"/>
                  <a:pt x="187" y="298"/>
                  <a:pt x="187" y="298"/>
                </a:cubicBezTo>
                <a:cubicBezTo>
                  <a:pt x="130" y="275"/>
                  <a:pt x="130" y="275"/>
                  <a:pt x="130" y="275"/>
                </a:cubicBezTo>
                <a:lnTo>
                  <a:pt x="304" y="174"/>
                </a:lnTo>
                <a:close/>
                <a:moveTo>
                  <a:pt x="294" y="216"/>
                </a:moveTo>
                <a:cubicBezTo>
                  <a:pt x="225" y="325"/>
                  <a:pt x="225" y="325"/>
                  <a:pt x="225" y="325"/>
                </a:cubicBezTo>
                <a:cubicBezTo>
                  <a:pt x="225" y="325"/>
                  <a:pt x="225" y="326"/>
                  <a:pt x="224" y="326"/>
                </a:cubicBezTo>
                <a:cubicBezTo>
                  <a:pt x="215" y="351"/>
                  <a:pt x="215" y="351"/>
                  <a:pt x="215" y="351"/>
                </a:cubicBezTo>
                <a:cubicBezTo>
                  <a:pt x="204" y="312"/>
                  <a:pt x="204" y="312"/>
                  <a:pt x="204" y="312"/>
                </a:cubicBezTo>
                <a:lnTo>
                  <a:pt x="294" y="216"/>
                </a:lnTo>
                <a:close/>
                <a:moveTo>
                  <a:pt x="251" y="325"/>
                </a:moveTo>
                <a:cubicBezTo>
                  <a:pt x="348" y="170"/>
                  <a:pt x="348" y="170"/>
                  <a:pt x="348" y="170"/>
                </a:cubicBezTo>
                <a:cubicBezTo>
                  <a:pt x="332" y="358"/>
                  <a:pt x="332" y="358"/>
                  <a:pt x="332" y="358"/>
                </a:cubicBezTo>
                <a:lnTo>
                  <a:pt x="251" y="32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86" name="Group 186"/>
          <p:cNvGrpSpPr>
            <a:grpSpLocks noChangeAspect="1"/>
          </p:cNvGrpSpPr>
          <p:nvPr/>
        </p:nvGrpSpPr>
        <p:grpSpPr bwMode="auto">
          <a:xfrm>
            <a:off x="5909997" y="6194138"/>
            <a:ext cx="369021" cy="369021"/>
            <a:chOff x="6560" y="394"/>
            <a:chExt cx="340" cy="340"/>
          </a:xfrm>
          <a:solidFill>
            <a:schemeClr val="accent2"/>
          </a:solidFill>
        </p:grpSpPr>
        <p:sp>
          <p:nvSpPr>
            <p:cNvPr id="787" name="Freeform 187"/>
            <p:cNvSpPr>
              <a:spLocks noEditPoints="1"/>
            </p:cNvSpPr>
            <p:nvPr/>
          </p:nvSpPr>
          <p:spPr bwMode="auto">
            <a:xfrm>
              <a:off x="6560" y="3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8" name="Freeform 188"/>
            <p:cNvSpPr>
              <a:spLocks noEditPoints="1"/>
            </p:cNvSpPr>
            <p:nvPr/>
          </p:nvSpPr>
          <p:spPr bwMode="auto">
            <a:xfrm>
              <a:off x="6623" y="471"/>
              <a:ext cx="185" cy="185"/>
            </a:xfrm>
            <a:custGeom>
              <a:avLst/>
              <a:gdLst>
                <a:gd name="T0" fmla="*/ 273 w 278"/>
                <a:gd name="T1" fmla="*/ 3 h 278"/>
                <a:gd name="T2" fmla="*/ 262 w 278"/>
                <a:gd name="T3" fmla="*/ 2 h 278"/>
                <a:gd name="T4" fmla="*/ 6 w 278"/>
                <a:gd name="T5" fmla="*/ 152 h 278"/>
                <a:gd name="T6" fmla="*/ 1 w 278"/>
                <a:gd name="T7" fmla="*/ 162 h 278"/>
                <a:gd name="T8" fmla="*/ 7 w 278"/>
                <a:gd name="T9" fmla="*/ 171 h 278"/>
                <a:gd name="T10" fmla="*/ 89 w 278"/>
                <a:gd name="T11" fmla="*/ 204 h 278"/>
                <a:gd name="T12" fmla="*/ 108 w 278"/>
                <a:gd name="T13" fmla="*/ 271 h 278"/>
                <a:gd name="T14" fmla="*/ 117 w 278"/>
                <a:gd name="T15" fmla="*/ 278 h 278"/>
                <a:gd name="T16" fmla="*/ 118 w 278"/>
                <a:gd name="T17" fmla="*/ 278 h 278"/>
                <a:gd name="T18" fmla="*/ 127 w 278"/>
                <a:gd name="T19" fmla="*/ 274 h 278"/>
                <a:gd name="T20" fmla="*/ 127 w 278"/>
                <a:gd name="T21" fmla="*/ 274 h 278"/>
                <a:gd name="T22" fmla="*/ 157 w 278"/>
                <a:gd name="T23" fmla="*/ 232 h 278"/>
                <a:gd name="T24" fmla="*/ 242 w 278"/>
                <a:gd name="T25" fmla="*/ 267 h 278"/>
                <a:gd name="T26" fmla="*/ 246 w 278"/>
                <a:gd name="T27" fmla="*/ 268 h 278"/>
                <a:gd name="T28" fmla="*/ 252 w 278"/>
                <a:gd name="T29" fmla="*/ 266 h 278"/>
                <a:gd name="T30" fmla="*/ 257 w 278"/>
                <a:gd name="T31" fmla="*/ 258 h 278"/>
                <a:gd name="T32" fmla="*/ 278 w 278"/>
                <a:gd name="T33" fmla="*/ 13 h 278"/>
                <a:gd name="T34" fmla="*/ 273 w 278"/>
                <a:gd name="T35" fmla="*/ 3 h 278"/>
                <a:gd name="T36" fmla="*/ 92 w 278"/>
                <a:gd name="T37" fmla="*/ 182 h 278"/>
                <a:gd name="T38" fmla="*/ 35 w 278"/>
                <a:gd name="T39" fmla="*/ 159 h 278"/>
                <a:gd name="T40" fmla="*/ 209 w 278"/>
                <a:gd name="T41" fmla="*/ 58 h 278"/>
                <a:gd name="T42" fmla="*/ 92 w 278"/>
                <a:gd name="T43" fmla="*/ 182 h 278"/>
                <a:gd name="T44" fmla="*/ 199 w 278"/>
                <a:gd name="T45" fmla="*/ 100 h 278"/>
                <a:gd name="T46" fmla="*/ 130 w 278"/>
                <a:gd name="T47" fmla="*/ 209 h 278"/>
                <a:gd name="T48" fmla="*/ 129 w 278"/>
                <a:gd name="T49" fmla="*/ 210 h 278"/>
                <a:gd name="T50" fmla="*/ 120 w 278"/>
                <a:gd name="T51" fmla="*/ 235 h 278"/>
                <a:gd name="T52" fmla="*/ 109 w 278"/>
                <a:gd name="T53" fmla="*/ 196 h 278"/>
                <a:gd name="T54" fmla="*/ 199 w 278"/>
                <a:gd name="T55" fmla="*/ 100 h 278"/>
                <a:gd name="T56" fmla="*/ 237 w 278"/>
                <a:gd name="T57" fmla="*/ 242 h 278"/>
                <a:gd name="T58" fmla="*/ 156 w 278"/>
                <a:gd name="T59" fmla="*/ 209 h 278"/>
                <a:gd name="T60" fmla="*/ 253 w 278"/>
                <a:gd name="T61" fmla="*/ 54 h 278"/>
                <a:gd name="T62" fmla="*/ 237 w 278"/>
                <a:gd name="T6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8" h="278">
                  <a:moveTo>
                    <a:pt x="273" y="3"/>
                  </a:moveTo>
                  <a:cubicBezTo>
                    <a:pt x="270" y="1"/>
                    <a:pt x="265" y="0"/>
                    <a:pt x="262" y="2"/>
                  </a:cubicBezTo>
                  <a:cubicBezTo>
                    <a:pt x="6" y="152"/>
                    <a:pt x="6" y="152"/>
                    <a:pt x="6" y="152"/>
                  </a:cubicBezTo>
                  <a:cubicBezTo>
                    <a:pt x="2" y="154"/>
                    <a:pt x="0" y="158"/>
                    <a:pt x="1" y="162"/>
                  </a:cubicBezTo>
                  <a:cubicBezTo>
                    <a:pt x="1" y="166"/>
                    <a:pt x="4" y="169"/>
                    <a:pt x="7" y="171"/>
                  </a:cubicBezTo>
                  <a:cubicBezTo>
                    <a:pt x="89" y="204"/>
                    <a:pt x="89" y="204"/>
                    <a:pt x="89" y="204"/>
                  </a:cubicBezTo>
                  <a:cubicBezTo>
                    <a:pt x="108" y="271"/>
                    <a:pt x="108" y="271"/>
                    <a:pt x="108" y="271"/>
                  </a:cubicBezTo>
                  <a:cubicBezTo>
                    <a:pt x="109" y="275"/>
                    <a:pt x="113" y="278"/>
                    <a:pt x="117" y="278"/>
                  </a:cubicBezTo>
                  <a:cubicBezTo>
                    <a:pt x="118" y="278"/>
                    <a:pt x="118" y="278"/>
                    <a:pt x="118" y="278"/>
                  </a:cubicBezTo>
                  <a:cubicBezTo>
                    <a:pt x="121" y="278"/>
                    <a:pt x="125" y="277"/>
                    <a:pt x="127" y="274"/>
                  </a:cubicBezTo>
                  <a:cubicBezTo>
                    <a:pt x="127" y="274"/>
                    <a:pt x="127" y="274"/>
                    <a:pt x="127" y="274"/>
                  </a:cubicBezTo>
                  <a:cubicBezTo>
                    <a:pt x="157" y="232"/>
                    <a:pt x="157" y="232"/>
                    <a:pt x="157" y="232"/>
                  </a:cubicBezTo>
                  <a:cubicBezTo>
                    <a:pt x="242" y="267"/>
                    <a:pt x="242" y="267"/>
                    <a:pt x="242" y="267"/>
                  </a:cubicBezTo>
                  <a:cubicBezTo>
                    <a:pt x="243" y="267"/>
                    <a:pt x="245" y="268"/>
                    <a:pt x="246" y="268"/>
                  </a:cubicBezTo>
                  <a:cubicBezTo>
                    <a:pt x="248" y="268"/>
                    <a:pt x="250" y="267"/>
                    <a:pt x="252" y="266"/>
                  </a:cubicBezTo>
                  <a:cubicBezTo>
                    <a:pt x="254" y="264"/>
                    <a:pt x="256" y="261"/>
                    <a:pt x="257" y="258"/>
                  </a:cubicBezTo>
                  <a:cubicBezTo>
                    <a:pt x="278" y="13"/>
                    <a:pt x="278" y="13"/>
                    <a:pt x="278" y="13"/>
                  </a:cubicBezTo>
                  <a:cubicBezTo>
                    <a:pt x="278" y="9"/>
                    <a:pt x="276" y="5"/>
                    <a:pt x="273" y="3"/>
                  </a:cubicBezTo>
                  <a:close/>
                  <a:moveTo>
                    <a:pt x="92" y="182"/>
                  </a:moveTo>
                  <a:cubicBezTo>
                    <a:pt x="35" y="159"/>
                    <a:pt x="35" y="159"/>
                    <a:pt x="35" y="159"/>
                  </a:cubicBezTo>
                  <a:cubicBezTo>
                    <a:pt x="209" y="58"/>
                    <a:pt x="209" y="58"/>
                    <a:pt x="209" y="58"/>
                  </a:cubicBezTo>
                  <a:lnTo>
                    <a:pt x="92" y="182"/>
                  </a:lnTo>
                  <a:close/>
                  <a:moveTo>
                    <a:pt x="199" y="100"/>
                  </a:moveTo>
                  <a:cubicBezTo>
                    <a:pt x="130" y="209"/>
                    <a:pt x="130" y="209"/>
                    <a:pt x="130" y="209"/>
                  </a:cubicBezTo>
                  <a:cubicBezTo>
                    <a:pt x="130" y="209"/>
                    <a:pt x="130" y="210"/>
                    <a:pt x="129" y="210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09" y="196"/>
                    <a:pt x="109" y="196"/>
                    <a:pt x="109" y="196"/>
                  </a:cubicBezTo>
                  <a:lnTo>
                    <a:pt x="199" y="100"/>
                  </a:lnTo>
                  <a:close/>
                  <a:moveTo>
                    <a:pt x="237" y="242"/>
                  </a:moveTo>
                  <a:cubicBezTo>
                    <a:pt x="156" y="209"/>
                    <a:pt x="156" y="209"/>
                    <a:pt x="156" y="209"/>
                  </a:cubicBezTo>
                  <a:cubicBezTo>
                    <a:pt x="253" y="54"/>
                    <a:pt x="253" y="54"/>
                    <a:pt x="253" y="54"/>
                  </a:cubicBezTo>
                  <a:lnTo>
                    <a:pt x="237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96" name="TextBox 795"/>
          <p:cNvSpPr txBox="1"/>
          <p:nvPr/>
        </p:nvSpPr>
        <p:spPr>
          <a:xfrm>
            <a:off x="499516" y="336275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st forward</a:t>
            </a:r>
          </a:p>
        </p:txBody>
      </p:sp>
      <p:grpSp>
        <p:nvGrpSpPr>
          <p:cNvPr id="797" name="Group 595"/>
          <p:cNvGrpSpPr>
            <a:grpSpLocks noChangeAspect="1"/>
          </p:cNvGrpSpPr>
          <p:nvPr/>
        </p:nvGrpSpPr>
        <p:grpSpPr bwMode="auto">
          <a:xfrm>
            <a:off x="433255" y="2905074"/>
            <a:ext cx="367631" cy="367631"/>
            <a:chOff x="1572" y="2382"/>
            <a:chExt cx="340" cy="340"/>
          </a:xfrm>
          <a:solidFill>
            <a:schemeClr val="accent1"/>
          </a:solidFill>
        </p:grpSpPr>
        <p:sp>
          <p:nvSpPr>
            <p:cNvPr id="798" name="Freeform 596"/>
            <p:cNvSpPr>
              <a:spLocks noEditPoints="1"/>
            </p:cNvSpPr>
            <p:nvPr/>
          </p:nvSpPr>
          <p:spPr bwMode="auto">
            <a:xfrm>
              <a:off x="1572" y="238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1 w 512"/>
                <a:gd name="T11" fmla="*/ 265 h 512"/>
                <a:gd name="T12" fmla="*/ 240 w 512"/>
                <a:gd name="T13" fmla="*/ 371 h 512"/>
                <a:gd name="T14" fmla="*/ 234 w 512"/>
                <a:gd name="T15" fmla="*/ 373 h 512"/>
                <a:gd name="T16" fmla="*/ 229 w 512"/>
                <a:gd name="T17" fmla="*/ 372 h 512"/>
                <a:gd name="T18" fmla="*/ 224 w 512"/>
                <a:gd name="T19" fmla="*/ 362 h 512"/>
                <a:gd name="T20" fmla="*/ 224 w 512"/>
                <a:gd name="T21" fmla="*/ 308 h 512"/>
                <a:gd name="T22" fmla="*/ 123 w 512"/>
                <a:gd name="T23" fmla="*/ 371 h 512"/>
                <a:gd name="T24" fmla="*/ 112 w 512"/>
                <a:gd name="T25" fmla="*/ 372 h 512"/>
                <a:gd name="T26" fmla="*/ 106 w 512"/>
                <a:gd name="T27" fmla="*/ 362 h 512"/>
                <a:gd name="T28" fmla="*/ 106 w 512"/>
                <a:gd name="T29" fmla="*/ 149 h 512"/>
                <a:gd name="T30" fmla="*/ 112 w 512"/>
                <a:gd name="T31" fmla="*/ 140 h 512"/>
                <a:gd name="T32" fmla="*/ 123 w 512"/>
                <a:gd name="T33" fmla="*/ 140 h 512"/>
                <a:gd name="T34" fmla="*/ 224 w 512"/>
                <a:gd name="T35" fmla="*/ 203 h 512"/>
                <a:gd name="T36" fmla="*/ 224 w 512"/>
                <a:gd name="T37" fmla="*/ 149 h 512"/>
                <a:gd name="T38" fmla="*/ 229 w 512"/>
                <a:gd name="T39" fmla="*/ 140 h 512"/>
                <a:gd name="T40" fmla="*/ 240 w 512"/>
                <a:gd name="T41" fmla="*/ 140 h 512"/>
                <a:gd name="T42" fmla="*/ 411 w 512"/>
                <a:gd name="T43" fmla="*/ 247 h 512"/>
                <a:gd name="T44" fmla="*/ 416 w 512"/>
                <a:gd name="T45" fmla="*/ 256 h 512"/>
                <a:gd name="T46" fmla="*/ 411 w 512"/>
                <a:gd name="T47" fmla="*/ 26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1" y="265"/>
                  </a:moveTo>
                  <a:cubicBezTo>
                    <a:pt x="240" y="371"/>
                    <a:pt x="240" y="371"/>
                    <a:pt x="240" y="371"/>
                  </a:cubicBezTo>
                  <a:cubicBezTo>
                    <a:pt x="238" y="372"/>
                    <a:pt x="236" y="373"/>
                    <a:pt x="234" y="373"/>
                  </a:cubicBezTo>
                  <a:cubicBezTo>
                    <a:pt x="233" y="373"/>
                    <a:pt x="231" y="373"/>
                    <a:pt x="229" y="372"/>
                  </a:cubicBezTo>
                  <a:cubicBezTo>
                    <a:pt x="226" y="370"/>
                    <a:pt x="224" y="366"/>
                    <a:pt x="224" y="362"/>
                  </a:cubicBezTo>
                  <a:cubicBezTo>
                    <a:pt x="224" y="308"/>
                    <a:pt x="224" y="308"/>
                    <a:pt x="224" y="308"/>
                  </a:cubicBezTo>
                  <a:cubicBezTo>
                    <a:pt x="123" y="371"/>
                    <a:pt x="123" y="371"/>
                    <a:pt x="123" y="371"/>
                  </a:cubicBezTo>
                  <a:cubicBezTo>
                    <a:pt x="119" y="373"/>
                    <a:pt x="115" y="374"/>
                    <a:pt x="112" y="372"/>
                  </a:cubicBezTo>
                  <a:cubicBezTo>
                    <a:pt x="108" y="370"/>
                    <a:pt x="106" y="366"/>
                    <a:pt x="106" y="362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6" y="145"/>
                    <a:pt x="108" y="142"/>
                    <a:pt x="112" y="140"/>
                  </a:cubicBezTo>
                  <a:cubicBezTo>
                    <a:pt x="115" y="138"/>
                    <a:pt x="119" y="138"/>
                    <a:pt x="123" y="140"/>
                  </a:cubicBezTo>
                  <a:cubicBezTo>
                    <a:pt x="224" y="203"/>
                    <a:pt x="224" y="203"/>
                    <a:pt x="224" y="203"/>
                  </a:cubicBezTo>
                  <a:cubicBezTo>
                    <a:pt x="224" y="149"/>
                    <a:pt x="224" y="149"/>
                    <a:pt x="224" y="149"/>
                  </a:cubicBezTo>
                  <a:cubicBezTo>
                    <a:pt x="224" y="145"/>
                    <a:pt x="226" y="142"/>
                    <a:pt x="229" y="140"/>
                  </a:cubicBezTo>
                  <a:cubicBezTo>
                    <a:pt x="233" y="138"/>
                    <a:pt x="237" y="138"/>
                    <a:pt x="240" y="140"/>
                  </a:cubicBezTo>
                  <a:cubicBezTo>
                    <a:pt x="411" y="247"/>
                    <a:pt x="411" y="247"/>
                    <a:pt x="411" y="247"/>
                  </a:cubicBezTo>
                  <a:cubicBezTo>
                    <a:pt x="414" y="249"/>
                    <a:pt x="416" y="252"/>
                    <a:pt x="416" y="256"/>
                  </a:cubicBezTo>
                  <a:cubicBezTo>
                    <a:pt x="416" y="259"/>
                    <a:pt x="414" y="263"/>
                    <a:pt x="411" y="2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9" name="Freeform 597"/>
            <p:cNvSpPr>
              <a:spLocks/>
            </p:cNvSpPr>
            <p:nvPr/>
          </p:nvSpPr>
          <p:spPr bwMode="auto">
            <a:xfrm>
              <a:off x="1657" y="2494"/>
              <a:ext cx="171" cy="116"/>
            </a:xfrm>
            <a:custGeom>
              <a:avLst/>
              <a:gdLst>
                <a:gd name="T0" fmla="*/ 117 w 257"/>
                <a:gd name="T1" fmla="*/ 54 h 175"/>
                <a:gd name="T2" fmla="*/ 112 w 257"/>
                <a:gd name="T3" fmla="*/ 64 h 175"/>
                <a:gd name="T4" fmla="*/ 101 w 257"/>
                <a:gd name="T5" fmla="*/ 63 h 175"/>
                <a:gd name="T6" fmla="*/ 0 w 257"/>
                <a:gd name="T7" fmla="*/ 0 h 175"/>
                <a:gd name="T8" fmla="*/ 0 w 257"/>
                <a:gd name="T9" fmla="*/ 175 h 175"/>
                <a:gd name="T10" fmla="*/ 101 w 257"/>
                <a:gd name="T11" fmla="*/ 112 h 175"/>
                <a:gd name="T12" fmla="*/ 106 w 257"/>
                <a:gd name="T13" fmla="*/ 110 h 175"/>
                <a:gd name="T14" fmla="*/ 112 w 257"/>
                <a:gd name="T15" fmla="*/ 112 h 175"/>
                <a:gd name="T16" fmla="*/ 117 w 257"/>
                <a:gd name="T17" fmla="*/ 121 h 175"/>
                <a:gd name="T18" fmla="*/ 117 w 257"/>
                <a:gd name="T19" fmla="*/ 175 h 175"/>
                <a:gd name="T20" fmla="*/ 257 w 257"/>
                <a:gd name="T21" fmla="*/ 88 h 175"/>
                <a:gd name="T22" fmla="*/ 117 w 257"/>
                <a:gd name="T23" fmla="*/ 0 h 175"/>
                <a:gd name="T24" fmla="*/ 117 w 257"/>
                <a:gd name="T25" fmla="*/ 5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7" h="175">
                  <a:moveTo>
                    <a:pt x="117" y="54"/>
                  </a:moveTo>
                  <a:cubicBezTo>
                    <a:pt x="117" y="58"/>
                    <a:pt x="115" y="62"/>
                    <a:pt x="112" y="64"/>
                  </a:cubicBezTo>
                  <a:cubicBezTo>
                    <a:pt x="108" y="66"/>
                    <a:pt x="104" y="65"/>
                    <a:pt x="101" y="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102" y="111"/>
                    <a:pt x="104" y="110"/>
                    <a:pt x="106" y="110"/>
                  </a:cubicBezTo>
                  <a:cubicBezTo>
                    <a:pt x="108" y="110"/>
                    <a:pt x="110" y="111"/>
                    <a:pt x="112" y="112"/>
                  </a:cubicBezTo>
                  <a:cubicBezTo>
                    <a:pt x="115" y="114"/>
                    <a:pt x="117" y="117"/>
                    <a:pt x="117" y="121"/>
                  </a:cubicBezTo>
                  <a:cubicBezTo>
                    <a:pt x="117" y="175"/>
                    <a:pt x="117" y="175"/>
                    <a:pt x="117" y="175"/>
                  </a:cubicBezTo>
                  <a:cubicBezTo>
                    <a:pt x="257" y="88"/>
                    <a:pt x="257" y="88"/>
                    <a:pt x="257" y="88"/>
                  </a:cubicBezTo>
                  <a:cubicBezTo>
                    <a:pt x="117" y="0"/>
                    <a:pt x="117" y="0"/>
                    <a:pt x="117" y="0"/>
                  </a:cubicBezTo>
                  <a:lnTo>
                    <a:pt x="117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00" name="Group 600"/>
          <p:cNvGrpSpPr>
            <a:grpSpLocks noChangeAspect="1"/>
          </p:cNvGrpSpPr>
          <p:nvPr/>
        </p:nvGrpSpPr>
        <p:grpSpPr bwMode="auto">
          <a:xfrm>
            <a:off x="929611" y="2905078"/>
            <a:ext cx="367631" cy="367631"/>
            <a:chOff x="1949" y="2395"/>
            <a:chExt cx="340" cy="340"/>
          </a:xfrm>
          <a:solidFill>
            <a:schemeClr val="accent1"/>
          </a:solidFill>
        </p:grpSpPr>
        <p:sp>
          <p:nvSpPr>
            <p:cNvPr id="801" name="Freeform 601"/>
            <p:cNvSpPr>
              <a:spLocks noEditPoints="1"/>
            </p:cNvSpPr>
            <p:nvPr/>
          </p:nvSpPr>
          <p:spPr bwMode="auto">
            <a:xfrm>
              <a:off x="1949" y="23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2" name="Freeform 602"/>
            <p:cNvSpPr>
              <a:spLocks noEditPoints="1"/>
            </p:cNvSpPr>
            <p:nvPr/>
          </p:nvSpPr>
          <p:spPr bwMode="auto">
            <a:xfrm>
              <a:off x="2019" y="2487"/>
              <a:ext cx="206" cy="156"/>
            </a:xfrm>
            <a:custGeom>
              <a:avLst/>
              <a:gdLst>
                <a:gd name="T0" fmla="*/ 128 w 310"/>
                <a:gd name="T1" fmla="*/ 235 h 236"/>
                <a:gd name="T2" fmla="*/ 123 w 310"/>
                <a:gd name="T3" fmla="*/ 234 h 236"/>
                <a:gd name="T4" fmla="*/ 118 w 310"/>
                <a:gd name="T5" fmla="*/ 224 h 236"/>
                <a:gd name="T6" fmla="*/ 118 w 310"/>
                <a:gd name="T7" fmla="*/ 170 h 236"/>
                <a:gd name="T8" fmla="*/ 17 w 310"/>
                <a:gd name="T9" fmla="*/ 233 h 236"/>
                <a:gd name="T10" fmla="*/ 6 w 310"/>
                <a:gd name="T11" fmla="*/ 234 h 236"/>
                <a:gd name="T12" fmla="*/ 0 w 310"/>
                <a:gd name="T13" fmla="*/ 224 h 236"/>
                <a:gd name="T14" fmla="*/ 0 w 310"/>
                <a:gd name="T15" fmla="*/ 11 h 236"/>
                <a:gd name="T16" fmla="*/ 6 w 310"/>
                <a:gd name="T17" fmla="*/ 2 h 236"/>
                <a:gd name="T18" fmla="*/ 17 w 310"/>
                <a:gd name="T19" fmla="*/ 2 h 236"/>
                <a:gd name="T20" fmla="*/ 118 w 310"/>
                <a:gd name="T21" fmla="*/ 65 h 236"/>
                <a:gd name="T22" fmla="*/ 118 w 310"/>
                <a:gd name="T23" fmla="*/ 11 h 236"/>
                <a:gd name="T24" fmla="*/ 123 w 310"/>
                <a:gd name="T25" fmla="*/ 2 h 236"/>
                <a:gd name="T26" fmla="*/ 134 w 310"/>
                <a:gd name="T27" fmla="*/ 2 h 236"/>
                <a:gd name="T28" fmla="*/ 305 w 310"/>
                <a:gd name="T29" fmla="*/ 109 h 236"/>
                <a:gd name="T30" fmla="*/ 310 w 310"/>
                <a:gd name="T31" fmla="*/ 118 h 236"/>
                <a:gd name="T32" fmla="*/ 305 w 310"/>
                <a:gd name="T33" fmla="*/ 127 h 236"/>
                <a:gd name="T34" fmla="*/ 134 w 310"/>
                <a:gd name="T35" fmla="*/ 233 h 236"/>
                <a:gd name="T36" fmla="*/ 128 w 310"/>
                <a:gd name="T37" fmla="*/ 235 h 236"/>
                <a:gd name="T38" fmla="*/ 128 w 310"/>
                <a:gd name="T39" fmla="*/ 140 h 236"/>
                <a:gd name="T40" fmla="*/ 134 w 310"/>
                <a:gd name="T41" fmla="*/ 142 h 236"/>
                <a:gd name="T42" fmla="*/ 139 w 310"/>
                <a:gd name="T43" fmla="*/ 151 h 236"/>
                <a:gd name="T44" fmla="*/ 139 w 310"/>
                <a:gd name="T45" fmla="*/ 205 h 236"/>
                <a:gd name="T46" fmla="*/ 279 w 310"/>
                <a:gd name="T47" fmla="*/ 118 h 236"/>
                <a:gd name="T48" fmla="*/ 139 w 310"/>
                <a:gd name="T49" fmla="*/ 30 h 236"/>
                <a:gd name="T50" fmla="*/ 139 w 310"/>
                <a:gd name="T51" fmla="*/ 84 h 236"/>
                <a:gd name="T52" fmla="*/ 134 w 310"/>
                <a:gd name="T53" fmla="*/ 94 h 236"/>
                <a:gd name="T54" fmla="*/ 123 w 310"/>
                <a:gd name="T55" fmla="*/ 93 h 236"/>
                <a:gd name="T56" fmla="*/ 22 w 310"/>
                <a:gd name="T57" fmla="*/ 30 h 236"/>
                <a:gd name="T58" fmla="*/ 22 w 310"/>
                <a:gd name="T59" fmla="*/ 205 h 236"/>
                <a:gd name="T60" fmla="*/ 123 w 310"/>
                <a:gd name="T61" fmla="*/ 142 h 236"/>
                <a:gd name="T62" fmla="*/ 128 w 310"/>
                <a:gd name="T63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0" h="236">
                  <a:moveTo>
                    <a:pt x="128" y="235"/>
                  </a:moveTo>
                  <a:cubicBezTo>
                    <a:pt x="127" y="235"/>
                    <a:pt x="125" y="235"/>
                    <a:pt x="123" y="234"/>
                  </a:cubicBezTo>
                  <a:cubicBezTo>
                    <a:pt x="120" y="232"/>
                    <a:pt x="118" y="228"/>
                    <a:pt x="118" y="224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7" y="233"/>
                    <a:pt x="17" y="233"/>
                    <a:pt x="17" y="233"/>
                  </a:cubicBezTo>
                  <a:cubicBezTo>
                    <a:pt x="13" y="235"/>
                    <a:pt x="9" y="236"/>
                    <a:pt x="6" y="234"/>
                  </a:cubicBezTo>
                  <a:cubicBezTo>
                    <a:pt x="2" y="232"/>
                    <a:pt x="0" y="228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7"/>
                    <a:pt x="2" y="4"/>
                    <a:pt x="6" y="2"/>
                  </a:cubicBezTo>
                  <a:cubicBezTo>
                    <a:pt x="9" y="0"/>
                    <a:pt x="13" y="0"/>
                    <a:pt x="17" y="2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8" y="7"/>
                    <a:pt x="120" y="4"/>
                    <a:pt x="123" y="2"/>
                  </a:cubicBezTo>
                  <a:cubicBezTo>
                    <a:pt x="127" y="0"/>
                    <a:pt x="131" y="0"/>
                    <a:pt x="134" y="2"/>
                  </a:cubicBezTo>
                  <a:cubicBezTo>
                    <a:pt x="305" y="109"/>
                    <a:pt x="305" y="109"/>
                    <a:pt x="305" y="109"/>
                  </a:cubicBezTo>
                  <a:cubicBezTo>
                    <a:pt x="308" y="111"/>
                    <a:pt x="310" y="114"/>
                    <a:pt x="310" y="118"/>
                  </a:cubicBezTo>
                  <a:cubicBezTo>
                    <a:pt x="310" y="121"/>
                    <a:pt x="308" y="125"/>
                    <a:pt x="305" y="127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lose/>
                  <a:moveTo>
                    <a:pt x="128" y="140"/>
                  </a:moveTo>
                  <a:cubicBezTo>
                    <a:pt x="130" y="140"/>
                    <a:pt x="132" y="141"/>
                    <a:pt x="134" y="142"/>
                  </a:cubicBezTo>
                  <a:cubicBezTo>
                    <a:pt x="137" y="144"/>
                    <a:pt x="139" y="147"/>
                    <a:pt x="139" y="151"/>
                  </a:cubicBezTo>
                  <a:cubicBezTo>
                    <a:pt x="139" y="205"/>
                    <a:pt x="139" y="205"/>
                    <a:pt x="139" y="205"/>
                  </a:cubicBezTo>
                  <a:cubicBezTo>
                    <a:pt x="279" y="118"/>
                    <a:pt x="279" y="118"/>
                    <a:pt x="279" y="118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9" y="88"/>
                    <a:pt x="137" y="92"/>
                    <a:pt x="134" y="94"/>
                  </a:cubicBezTo>
                  <a:cubicBezTo>
                    <a:pt x="130" y="96"/>
                    <a:pt x="126" y="95"/>
                    <a:pt x="123" y="93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205"/>
                    <a:pt x="22" y="205"/>
                    <a:pt x="22" y="205"/>
                  </a:cubicBezTo>
                  <a:cubicBezTo>
                    <a:pt x="123" y="142"/>
                    <a:pt x="123" y="142"/>
                    <a:pt x="123" y="142"/>
                  </a:cubicBezTo>
                  <a:cubicBezTo>
                    <a:pt x="124" y="141"/>
                    <a:pt x="126" y="140"/>
                    <a:pt x="12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03" name="TextBox 802"/>
          <p:cNvSpPr txBox="1"/>
          <p:nvPr/>
        </p:nvSpPr>
        <p:spPr>
          <a:xfrm>
            <a:off x="6484926" y="498592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dit profile</a:t>
            </a:r>
          </a:p>
        </p:txBody>
      </p:sp>
      <p:sp>
        <p:nvSpPr>
          <p:cNvPr id="804" name="Freeform 433"/>
          <p:cNvSpPr>
            <a:spLocks noChangeAspect="1" noEditPoints="1"/>
          </p:cNvSpPr>
          <p:nvPr/>
        </p:nvSpPr>
        <p:spPr bwMode="auto">
          <a:xfrm>
            <a:off x="6406987" y="4579667"/>
            <a:ext cx="367631" cy="367631"/>
          </a:xfrm>
          <a:custGeom>
            <a:avLst/>
            <a:gdLst>
              <a:gd name="T0" fmla="*/ 368 w 512"/>
              <a:gd name="T1" fmla="*/ 225 h 512"/>
              <a:gd name="T2" fmla="*/ 281 w 512"/>
              <a:gd name="T3" fmla="*/ 138 h 512"/>
              <a:gd name="T4" fmla="*/ 298 w 512"/>
              <a:gd name="T5" fmla="*/ 121 h 512"/>
              <a:gd name="T6" fmla="*/ 385 w 512"/>
              <a:gd name="T7" fmla="*/ 208 h 512"/>
              <a:gd name="T8" fmla="*/ 390 w 512"/>
              <a:gd name="T9" fmla="*/ 230 h 512"/>
              <a:gd name="T10" fmla="*/ 368 w 512"/>
              <a:gd name="T11" fmla="*/ 225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259 w 512"/>
              <a:gd name="T23" fmla="*/ 146 h 512"/>
              <a:gd name="T24" fmla="*/ 355 w 512"/>
              <a:gd name="T25" fmla="*/ 242 h 512"/>
              <a:gd name="T26" fmla="*/ 360 w 512"/>
              <a:gd name="T27" fmla="*/ 245 h 512"/>
              <a:gd name="T28" fmla="*/ 402 w 512"/>
              <a:gd name="T29" fmla="*/ 255 h 512"/>
              <a:gd name="T30" fmla="*/ 405 w 512"/>
              <a:gd name="T31" fmla="*/ 256 h 512"/>
              <a:gd name="T32" fmla="*/ 413 w 512"/>
              <a:gd name="T33" fmla="*/ 253 h 512"/>
              <a:gd name="T34" fmla="*/ 415 w 512"/>
              <a:gd name="T35" fmla="*/ 242 h 512"/>
              <a:gd name="T36" fmla="*/ 405 w 512"/>
              <a:gd name="T37" fmla="*/ 200 h 512"/>
              <a:gd name="T38" fmla="*/ 402 w 512"/>
              <a:gd name="T39" fmla="*/ 195 h 512"/>
              <a:gd name="T40" fmla="*/ 306 w 512"/>
              <a:gd name="T41" fmla="*/ 99 h 512"/>
              <a:gd name="T42" fmla="*/ 291 w 512"/>
              <a:gd name="T43" fmla="*/ 99 h 512"/>
              <a:gd name="T44" fmla="*/ 259 w 512"/>
              <a:gd name="T45" fmla="*/ 131 h 512"/>
              <a:gd name="T46" fmla="*/ 259 w 512"/>
              <a:gd name="T47" fmla="*/ 146 h 512"/>
              <a:gd name="T48" fmla="*/ 303 w 512"/>
              <a:gd name="T49" fmla="*/ 342 h 512"/>
              <a:gd name="T50" fmla="*/ 267 w 512"/>
              <a:gd name="T51" fmla="*/ 334 h 512"/>
              <a:gd name="T52" fmla="*/ 250 w 512"/>
              <a:gd name="T53" fmla="*/ 331 h 512"/>
              <a:gd name="T54" fmla="*/ 239 w 512"/>
              <a:gd name="T55" fmla="*/ 302 h 512"/>
              <a:gd name="T56" fmla="*/ 261 w 512"/>
              <a:gd name="T57" fmla="*/ 251 h 512"/>
              <a:gd name="T58" fmla="*/ 251 w 512"/>
              <a:gd name="T59" fmla="*/ 177 h 512"/>
              <a:gd name="T60" fmla="*/ 203 w 512"/>
              <a:gd name="T61" fmla="*/ 155 h 512"/>
              <a:gd name="T62" fmla="*/ 153 w 512"/>
              <a:gd name="T63" fmla="*/ 177 h 512"/>
              <a:gd name="T64" fmla="*/ 144 w 512"/>
              <a:gd name="T65" fmla="*/ 251 h 512"/>
              <a:gd name="T66" fmla="*/ 166 w 512"/>
              <a:gd name="T67" fmla="*/ 302 h 512"/>
              <a:gd name="T68" fmla="*/ 155 w 512"/>
              <a:gd name="T69" fmla="*/ 331 h 512"/>
              <a:gd name="T70" fmla="*/ 137 w 512"/>
              <a:gd name="T71" fmla="*/ 334 h 512"/>
              <a:gd name="T72" fmla="*/ 101 w 512"/>
              <a:gd name="T73" fmla="*/ 342 h 512"/>
              <a:gd name="T74" fmla="*/ 97 w 512"/>
              <a:gd name="T75" fmla="*/ 357 h 512"/>
              <a:gd name="T76" fmla="*/ 111 w 512"/>
              <a:gd name="T77" fmla="*/ 361 h 512"/>
              <a:gd name="T78" fmla="*/ 139 w 512"/>
              <a:gd name="T79" fmla="*/ 356 h 512"/>
              <a:gd name="T80" fmla="*/ 164 w 512"/>
              <a:gd name="T81" fmla="*/ 351 h 512"/>
              <a:gd name="T82" fmla="*/ 185 w 512"/>
              <a:gd name="T83" fmla="*/ 318 h 512"/>
              <a:gd name="T84" fmla="*/ 184 w 512"/>
              <a:gd name="T85" fmla="*/ 290 h 512"/>
              <a:gd name="T86" fmla="*/ 165 w 512"/>
              <a:gd name="T87" fmla="*/ 246 h 512"/>
              <a:gd name="T88" fmla="*/ 170 w 512"/>
              <a:gd name="T89" fmla="*/ 191 h 512"/>
              <a:gd name="T90" fmla="*/ 203 w 512"/>
              <a:gd name="T91" fmla="*/ 177 h 512"/>
              <a:gd name="T92" fmla="*/ 235 w 512"/>
              <a:gd name="T93" fmla="*/ 191 h 512"/>
              <a:gd name="T94" fmla="*/ 240 w 512"/>
              <a:gd name="T95" fmla="*/ 246 h 512"/>
              <a:gd name="T96" fmla="*/ 221 w 512"/>
              <a:gd name="T97" fmla="*/ 290 h 512"/>
              <a:gd name="T98" fmla="*/ 219 w 512"/>
              <a:gd name="T99" fmla="*/ 318 h 512"/>
              <a:gd name="T100" fmla="*/ 240 w 512"/>
              <a:gd name="T101" fmla="*/ 351 h 512"/>
              <a:gd name="T102" fmla="*/ 265 w 512"/>
              <a:gd name="T103" fmla="*/ 356 h 512"/>
              <a:gd name="T104" fmla="*/ 293 w 512"/>
              <a:gd name="T105" fmla="*/ 361 h 512"/>
              <a:gd name="T106" fmla="*/ 298 w 512"/>
              <a:gd name="T107" fmla="*/ 362 h 512"/>
              <a:gd name="T108" fmla="*/ 308 w 512"/>
              <a:gd name="T109" fmla="*/ 357 h 512"/>
              <a:gd name="T110" fmla="*/ 303 w 512"/>
              <a:gd name="T111" fmla="*/ 342 h 512"/>
              <a:gd name="T112" fmla="*/ 416 w 512"/>
              <a:gd name="T113" fmla="*/ 288 h 512"/>
              <a:gd name="T114" fmla="*/ 405 w 512"/>
              <a:gd name="T115" fmla="*/ 277 h 512"/>
              <a:gd name="T116" fmla="*/ 298 w 512"/>
              <a:gd name="T117" fmla="*/ 277 h 512"/>
              <a:gd name="T118" fmla="*/ 288 w 512"/>
              <a:gd name="T119" fmla="*/ 288 h 512"/>
              <a:gd name="T120" fmla="*/ 298 w 512"/>
              <a:gd name="T121" fmla="*/ 298 h 512"/>
              <a:gd name="T122" fmla="*/ 405 w 512"/>
              <a:gd name="T123" fmla="*/ 298 h 512"/>
              <a:gd name="T124" fmla="*/ 416 w 512"/>
              <a:gd name="T125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68" y="225"/>
                </a:moveTo>
                <a:cubicBezTo>
                  <a:pt x="281" y="138"/>
                  <a:pt x="281" y="138"/>
                  <a:pt x="281" y="138"/>
                </a:cubicBezTo>
                <a:cubicBezTo>
                  <a:pt x="298" y="121"/>
                  <a:pt x="298" y="121"/>
                  <a:pt x="298" y="121"/>
                </a:cubicBezTo>
                <a:cubicBezTo>
                  <a:pt x="385" y="208"/>
                  <a:pt x="385" y="208"/>
                  <a:pt x="385" y="208"/>
                </a:cubicBezTo>
                <a:cubicBezTo>
                  <a:pt x="390" y="230"/>
                  <a:pt x="390" y="230"/>
                  <a:pt x="390" y="230"/>
                </a:cubicBezTo>
                <a:lnTo>
                  <a:pt x="368" y="22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59" y="146"/>
                </a:moveTo>
                <a:cubicBezTo>
                  <a:pt x="355" y="242"/>
                  <a:pt x="355" y="242"/>
                  <a:pt x="355" y="242"/>
                </a:cubicBezTo>
                <a:cubicBezTo>
                  <a:pt x="356" y="243"/>
                  <a:pt x="358" y="244"/>
                  <a:pt x="360" y="245"/>
                </a:cubicBezTo>
                <a:cubicBezTo>
                  <a:pt x="402" y="255"/>
                  <a:pt x="402" y="255"/>
                  <a:pt x="402" y="255"/>
                </a:cubicBezTo>
                <a:cubicBezTo>
                  <a:pt x="403" y="256"/>
                  <a:pt x="404" y="256"/>
                  <a:pt x="405" y="256"/>
                </a:cubicBezTo>
                <a:cubicBezTo>
                  <a:pt x="408" y="256"/>
                  <a:pt x="411" y="255"/>
                  <a:pt x="413" y="253"/>
                </a:cubicBezTo>
                <a:cubicBezTo>
                  <a:pt x="415" y="250"/>
                  <a:pt x="416" y="246"/>
                  <a:pt x="415" y="242"/>
                </a:cubicBezTo>
                <a:cubicBezTo>
                  <a:pt x="405" y="200"/>
                  <a:pt x="405" y="200"/>
                  <a:pt x="405" y="200"/>
                </a:cubicBezTo>
                <a:cubicBezTo>
                  <a:pt x="404" y="198"/>
                  <a:pt x="403" y="196"/>
                  <a:pt x="402" y="195"/>
                </a:cubicBezTo>
                <a:cubicBezTo>
                  <a:pt x="306" y="99"/>
                  <a:pt x="306" y="99"/>
                  <a:pt x="306" y="99"/>
                </a:cubicBezTo>
                <a:cubicBezTo>
                  <a:pt x="302" y="95"/>
                  <a:pt x="295" y="95"/>
                  <a:pt x="291" y="99"/>
                </a:cubicBezTo>
                <a:cubicBezTo>
                  <a:pt x="259" y="131"/>
                  <a:pt x="259" y="131"/>
                  <a:pt x="259" y="131"/>
                </a:cubicBezTo>
                <a:cubicBezTo>
                  <a:pt x="255" y="135"/>
                  <a:pt x="255" y="142"/>
                  <a:pt x="259" y="146"/>
                </a:cubicBezTo>
                <a:close/>
                <a:moveTo>
                  <a:pt x="303" y="342"/>
                </a:moveTo>
                <a:cubicBezTo>
                  <a:pt x="293" y="337"/>
                  <a:pt x="279" y="335"/>
                  <a:pt x="267" y="334"/>
                </a:cubicBezTo>
                <a:cubicBezTo>
                  <a:pt x="260" y="334"/>
                  <a:pt x="252" y="333"/>
                  <a:pt x="250" y="331"/>
                </a:cubicBezTo>
                <a:cubicBezTo>
                  <a:pt x="243" y="328"/>
                  <a:pt x="237" y="308"/>
                  <a:pt x="239" y="302"/>
                </a:cubicBezTo>
                <a:cubicBezTo>
                  <a:pt x="247" y="289"/>
                  <a:pt x="256" y="269"/>
                  <a:pt x="261" y="251"/>
                </a:cubicBezTo>
                <a:cubicBezTo>
                  <a:pt x="268" y="219"/>
                  <a:pt x="265" y="194"/>
                  <a:pt x="251" y="177"/>
                </a:cubicBezTo>
                <a:cubicBezTo>
                  <a:pt x="233" y="155"/>
                  <a:pt x="203" y="155"/>
                  <a:pt x="203" y="155"/>
                </a:cubicBezTo>
                <a:cubicBezTo>
                  <a:pt x="201" y="155"/>
                  <a:pt x="172" y="155"/>
                  <a:pt x="153" y="177"/>
                </a:cubicBezTo>
                <a:cubicBezTo>
                  <a:pt x="139" y="194"/>
                  <a:pt x="136" y="219"/>
                  <a:pt x="144" y="251"/>
                </a:cubicBezTo>
                <a:cubicBezTo>
                  <a:pt x="148" y="269"/>
                  <a:pt x="157" y="289"/>
                  <a:pt x="166" y="302"/>
                </a:cubicBezTo>
                <a:cubicBezTo>
                  <a:pt x="167" y="308"/>
                  <a:pt x="161" y="328"/>
                  <a:pt x="155" y="331"/>
                </a:cubicBezTo>
                <a:cubicBezTo>
                  <a:pt x="152" y="333"/>
                  <a:pt x="144" y="334"/>
                  <a:pt x="137" y="334"/>
                </a:cubicBezTo>
                <a:cubicBezTo>
                  <a:pt x="125" y="335"/>
                  <a:pt x="112" y="337"/>
                  <a:pt x="101" y="342"/>
                </a:cubicBezTo>
                <a:cubicBezTo>
                  <a:pt x="96" y="345"/>
                  <a:pt x="94" y="351"/>
                  <a:pt x="97" y="357"/>
                </a:cubicBezTo>
                <a:cubicBezTo>
                  <a:pt x="100" y="362"/>
                  <a:pt x="106" y="364"/>
                  <a:pt x="111" y="361"/>
                </a:cubicBezTo>
                <a:cubicBezTo>
                  <a:pt x="118" y="357"/>
                  <a:pt x="129" y="356"/>
                  <a:pt x="139" y="356"/>
                </a:cubicBezTo>
                <a:cubicBezTo>
                  <a:pt x="149" y="355"/>
                  <a:pt x="158" y="354"/>
                  <a:pt x="164" y="351"/>
                </a:cubicBezTo>
                <a:cubicBezTo>
                  <a:pt x="178" y="344"/>
                  <a:pt x="184" y="324"/>
                  <a:pt x="185" y="318"/>
                </a:cubicBezTo>
                <a:cubicBezTo>
                  <a:pt x="187" y="309"/>
                  <a:pt x="189" y="297"/>
                  <a:pt x="184" y="290"/>
                </a:cubicBezTo>
                <a:cubicBezTo>
                  <a:pt x="176" y="280"/>
                  <a:pt x="168" y="261"/>
                  <a:pt x="165" y="246"/>
                </a:cubicBezTo>
                <a:cubicBezTo>
                  <a:pt x="159" y="221"/>
                  <a:pt x="160" y="202"/>
                  <a:pt x="170" y="191"/>
                </a:cubicBezTo>
                <a:cubicBezTo>
                  <a:pt x="181" y="176"/>
                  <a:pt x="202" y="176"/>
                  <a:pt x="203" y="177"/>
                </a:cubicBezTo>
                <a:cubicBezTo>
                  <a:pt x="203" y="176"/>
                  <a:pt x="223" y="176"/>
                  <a:pt x="235" y="191"/>
                </a:cubicBezTo>
                <a:cubicBezTo>
                  <a:pt x="244" y="202"/>
                  <a:pt x="246" y="221"/>
                  <a:pt x="240" y="246"/>
                </a:cubicBezTo>
                <a:cubicBezTo>
                  <a:pt x="236" y="261"/>
                  <a:pt x="228" y="280"/>
                  <a:pt x="221" y="290"/>
                </a:cubicBezTo>
                <a:cubicBezTo>
                  <a:pt x="216" y="297"/>
                  <a:pt x="217" y="309"/>
                  <a:pt x="219" y="318"/>
                </a:cubicBezTo>
                <a:cubicBezTo>
                  <a:pt x="221" y="324"/>
                  <a:pt x="227" y="344"/>
                  <a:pt x="240" y="351"/>
                </a:cubicBezTo>
                <a:cubicBezTo>
                  <a:pt x="247" y="354"/>
                  <a:pt x="255" y="355"/>
                  <a:pt x="265" y="356"/>
                </a:cubicBezTo>
                <a:cubicBezTo>
                  <a:pt x="275" y="356"/>
                  <a:pt x="286" y="357"/>
                  <a:pt x="293" y="361"/>
                </a:cubicBezTo>
                <a:cubicBezTo>
                  <a:pt x="295" y="362"/>
                  <a:pt x="296" y="362"/>
                  <a:pt x="298" y="362"/>
                </a:cubicBezTo>
                <a:cubicBezTo>
                  <a:pt x="302" y="362"/>
                  <a:pt x="306" y="360"/>
                  <a:pt x="308" y="357"/>
                </a:cubicBezTo>
                <a:cubicBezTo>
                  <a:pt x="310" y="351"/>
                  <a:pt x="308" y="345"/>
                  <a:pt x="303" y="342"/>
                </a:cubicBezTo>
                <a:close/>
                <a:moveTo>
                  <a:pt x="416" y="288"/>
                </a:moveTo>
                <a:cubicBezTo>
                  <a:pt x="416" y="282"/>
                  <a:pt x="411" y="277"/>
                  <a:pt x="405" y="277"/>
                </a:cubicBezTo>
                <a:cubicBezTo>
                  <a:pt x="298" y="277"/>
                  <a:pt x="298" y="277"/>
                  <a:pt x="298" y="277"/>
                </a:cubicBezTo>
                <a:cubicBezTo>
                  <a:pt x="292" y="277"/>
                  <a:pt x="288" y="282"/>
                  <a:pt x="288" y="288"/>
                </a:cubicBezTo>
                <a:cubicBezTo>
                  <a:pt x="288" y="294"/>
                  <a:pt x="292" y="298"/>
                  <a:pt x="298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05" name="Group 436"/>
          <p:cNvGrpSpPr>
            <a:grpSpLocks noChangeAspect="1"/>
          </p:cNvGrpSpPr>
          <p:nvPr/>
        </p:nvGrpSpPr>
        <p:grpSpPr bwMode="auto">
          <a:xfrm>
            <a:off x="6903571" y="4579667"/>
            <a:ext cx="367631" cy="367631"/>
            <a:chOff x="4224" y="1636"/>
            <a:chExt cx="340" cy="340"/>
          </a:xfrm>
          <a:solidFill>
            <a:schemeClr val="accent5"/>
          </a:solidFill>
        </p:grpSpPr>
        <p:sp>
          <p:nvSpPr>
            <p:cNvPr id="806" name="Freeform 437"/>
            <p:cNvSpPr>
              <a:spLocks noEditPoints="1"/>
            </p:cNvSpPr>
            <p:nvPr/>
          </p:nvSpPr>
          <p:spPr bwMode="auto">
            <a:xfrm>
              <a:off x="4224" y="163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7" name="Freeform 438"/>
            <p:cNvSpPr>
              <a:spLocks/>
            </p:cNvSpPr>
            <p:nvPr/>
          </p:nvSpPr>
          <p:spPr bwMode="auto">
            <a:xfrm>
              <a:off x="4415" y="1820"/>
              <a:ext cx="85" cy="14"/>
            </a:xfrm>
            <a:custGeom>
              <a:avLst/>
              <a:gdLst>
                <a:gd name="T0" fmla="*/ 117 w 128"/>
                <a:gd name="T1" fmla="*/ 0 h 21"/>
                <a:gd name="T2" fmla="*/ 10 w 128"/>
                <a:gd name="T3" fmla="*/ 0 h 21"/>
                <a:gd name="T4" fmla="*/ 0 w 128"/>
                <a:gd name="T5" fmla="*/ 11 h 21"/>
                <a:gd name="T6" fmla="*/ 10 w 128"/>
                <a:gd name="T7" fmla="*/ 21 h 21"/>
                <a:gd name="T8" fmla="*/ 117 w 128"/>
                <a:gd name="T9" fmla="*/ 21 h 21"/>
                <a:gd name="T10" fmla="*/ 128 w 128"/>
                <a:gd name="T11" fmla="*/ 11 h 21"/>
                <a:gd name="T12" fmla="*/ 117 w 128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8" name="Freeform 439"/>
            <p:cNvSpPr>
              <a:spLocks noEditPoints="1"/>
            </p:cNvSpPr>
            <p:nvPr/>
          </p:nvSpPr>
          <p:spPr bwMode="auto">
            <a:xfrm>
              <a:off x="4393" y="1699"/>
              <a:ext cx="107" cy="107"/>
            </a:xfrm>
            <a:custGeom>
              <a:avLst/>
              <a:gdLst>
                <a:gd name="T0" fmla="*/ 100 w 161"/>
                <a:gd name="T1" fmla="*/ 147 h 161"/>
                <a:gd name="T2" fmla="*/ 105 w 161"/>
                <a:gd name="T3" fmla="*/ 150 h 161"/>
                <a:gd name="T4" fmla="*/ 147 w 161"/>
                <a:gd name="T5" fmla="*/ 160 h 161"/>
                <a:gd name="T6" fmla="*/ 150 w 161"/>
                <a:gd name="T7" fmla="*/ 161 h 161"/>
                <a:gd name="T8" fmla="*/ 158 w 161"/>
                <a:gd name="T9" fmla="*/ 158 h 161"/>
                <a:gd name="T10" fmla="*/ 160 w 161"/>
                <a:gd name="T11" fmla="*/ 147 h 161"/>
                <a:gd name="T12" fmla="*/ 150 w 161"/>
                <a:gd name="T13" fmla="*/ 105 h 161"/>
                <a:gd name="T14" fmla="*/ 147 w 161"/>
                <a:gd name="T15" fmla="*/ 100 h 161"/>
                <a:gd name="T16" fmla="*/ 51 w 161"/>
                <a:gd name="T17" fmla="*/ 4 h 161"/>
                <a:gd name="T18" fmla="*/ 36 w 161"/>
                <a:gd name="T19" fmla="*/ 4 h 161"/>
                <a:gd name="T20" fmla="*/ 4 w 161"/>
                <a:gd name="T21" fmla="*/ 36 h 161"/>
                <a:gd name="T22" fmla="*/ 4 w 161"/>
                <a:gd name="T23" fmla="*/ 51 h 161"/>
                <a:gd name="T24" fmla="*/ 100 w 161"/>
                <a:gd name="T25" fmla="*/ 147 h 161"/>
                <a:gd name="T26" fmla="*/ 43 w 161"/>
                <a:gd name="T27" fmla="*/ 26 h 161"/>
                <a:gd name="T28" fmla="*/ 130 w 161"/>
                <a:gd name="T29" fmla="*/ 113 h 161"/>
                <a:gd name="T30" fmla="*/ 135 w 161"/>
                <a:gd name="T31" fmla="*/ 135 h 161"/>
                <a:gd name="T32" fmla="*/ 113 w 161"/>
                <a:gd name="T33" fmla="*/ 130 h 161"/>
                <a:gd name="T34" fmla="*/ 26 w 161"/>
                <a:gd name="T35" fmla="*/ 43 h 161"/>
                <a:gd name="T36" fmla="*/ 43 w 161"/>
                <a:gd name="T37" fmla="*/ 2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" h="161">
                  <a:moveTo>
                    <a:pt x="100" y="147"/>
                  </a:moveTo>
                  <a:cubicBezTo>
                    <a:pt x="101" y="148"/>
                    <a:pt x="103" y="149"/>
                    <a:pt x="105" y="150"/>
                  </a:cubicBezTo>
                  <a:cubicBezTo>
                    <a:pt x="147" y="160"/>
                    <a:pt x="147" y="160"/>
                    <a:pt x="147" y="160"/>
                  </a:cubicBezTo>
                  <a:cubicBezTo>
                    <a:pt x="148" y="161"/>
                    <a:pt x="149" y="161"/>
                    <a:pt x="150" y="161"/>
                  </a:cubicBezTo>
                  <a:cubicBezTo>
                    <a:pt x="153" y="161"/>
                    <a:pt x="156" y="160"/>
                    <a:pt x="158" y="158"/>
                  </a:cubicBezTo>
                  <a:cubicBezTo>
                    <a:pt x="160" y="155"/>
                    <a:pt x="161" y="151"/>
                    <a:pt x="160" y="147"/>
                  </a:cubicBezTo>
                  <a:cubicBezTo>
                    <a:pt x="150" y="105"/>
                    <a:pt x="150" y="105"/>
                    <a:pt x="150" y="105"/>
                  </a:cubicBezTo>
                  <a:cubicBezTo>
                    <a:pt x="149" y="103"/>
                    <a:pt x="148" y="101"/>
                    <a:pt x="147" y="100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7" y="0"/>
                    <a:pt x="40" y="0"/>
                    <a:pt x="36" y="4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0" y="40"/>
                    <a:pt x="0" y="47"/>
                    <a:pt x="4" y="51"/>
                  </a:cubicBezTo>
                  <a:lnTo>
                    <a:pt x="100" y="147"/>
                  </a:lnTo>
                  <a:close/>
                  <a:moveTo>
                    <a:pt x="43" y="26"/>
                  </a:moveTo>
                  <a:cubicBezTo>
                    <a:pt x="130" y="113"/>
                    <a:pt x="130" y="113"/>
                    <a:pt x="130" y="113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26" y="43"/>
                    <a:pt x="26" y="43"/>
                    <a:pt x="26" y="43"/>
                  </a:cubicBezTo>
                  <a:lnTo>
                    <a:pt x="43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9" name="Freeform 440"/>
            <p:cNvSpPr>
              <a:spLocks/>
            </p:cNvSpPr>
            <p:nvPr/>
          </p:nvSpPr>
          <p:spPr bwMode="auto">
            <a:xfrm>
              <a:off x="4286" y="1739"/>
              <a:ext cx="144" cy="139"/>
            </a:xfrm>
            <a:custGeom>
              <a:avLst/>
              <a:gdLst>
                <a:gd name="T0" fmla="*/ 209 w 216"/>
                <a:gd name="T1" fmla="*/ 187 h 209"/>
                <a:gd name="T2" fmla="*/ 173 w 216"/>
                <a:gd name="T3" fmla="*/ 179 h 209"/>
                <a:gd name="T4" fmla="*/ 156 w 216"/>
                <a:gd name="T5" fmla="*/ 176 h 209"/>
                <a:gd name="T6" fmla="*/ 145 w 216"/>
                <a:gd name="T7" fmla="*/ 147 h 209"/>
                <a:gd name="T8" fmla="*/ 167 w 216"/>
                <a:gd name="T9" fmla="*/ 96 h 209"/>
                <a:gd name="T10" fmla="*/ 157 w 216"/>
                <a:gd name="T11" fmla="*/ 22 h 209"/>
                <a:gd name="T12" fmla="*/ 109 w 216"/>
                <a:gd name="T13" fmla="*/ 0 h 209"/>
                <a:gd name="T14" fmla="*/ 59 w 216"/>
                <a:gd name="T15" fmla="*/ 22 h 209"/>
                <a:gd name="T16" fmla="*/ 50 w 216"/>
                <a:gd name="T17" fmla="*/ 96 h 209"/>
                <a:gd name="T18" fmla="*/ 72 w 216"/>
                <a:gd name="T19" fmla="*/ 147 h 209"/>
                <a:gd name="T20" fmla="*/ 61 w 216"/>
                <a:gd name="T21" fmla="*/ 176 h 209"/>
                <a:gd name="T22" fmla="*/ 43 w 216"/>
                <a:gd name="T23" fmla="*/ 179 h 209"/>
                <a:gd name="T24" fmla="*/ 7 w 216"/>
                <a:gd name="T25" fmla="*/ 187 h 209"/>
                <a:gd name="T26" fmla="*/ 3 w 216"/>
                <a:gd name="T27" fmla="*/ 202 h 209"/>
                <a:gd name="T28" fmla="*/ 17 w 216"/>
                <a:gd name="T29" fmla="*/ 206 h 209"/>
                <a:gd name="T30" fmla="*/ 45 w 216"/>
                <a:gd name="T31" fmla="*/ 201 h 209"/>
                <a:gd name="T32" fmla="*/ 70 w 216"/>
                <a:gd name="T33" fmla="*/ 196 h 209"/>
                <a:gd name="T34" fmla="*/ 91 w 216"/>
                <a:gd name="T35" fmla="*/ 163 h 209"/>
                <a:gd name="T36" fmla="*/ 90 w 216"/>
                <a:gd name="T37" fmla="*/ 135 h 209"/>
                <a:gd name="T38" fmla="*/ 71 w 216"/>
                <a:gd name="T39" fmla="*/ 91 h 209"/>
                <a:gd name="T40" fmla="*/ 76 w 216"/>
                <a:gd name="T41" fmla="*/ 36 h 209"/>
                <a:gd name="T42" fmla="*/ 109 w 216"/>
                <a:gd name="T43" fmla="*/ 22 h 209"/>
                <a:gd name="T44" fmla="*/ 141 w 216"/>
                <a:gd name="T45" fmla="*/ 36 h 209"/>
                <a:gd name="T46" fmla="*/ 146 w 216"/>
                <a:gd name="T47" fmla="*/ 91 h 209"/>
                <a:gd name="T48" fmla="*/ 127 w 216"/>
                <a:gd name="T49" fmla="*/ 135 h 209"/>
                <a:gd name="T50" fmla="*/ 125 w 216"/>
                <a:gd name="T51" fmla="*/ 163 h 209"/>
                <a:gd name="T52" fmla="*/ 146 w 216"/>
                <a:gd name="T53" fmla="*/ 196 h 209"/>
                <a:gd name="T54" fmla="*/ 171 w 216"/>
                <a:gd name="T55" fmla="*/ 201 h 209"/>
                <a:gd name="T56" fmla="*/ 199 w 216"/>
                <a:gd name="T57" fmla="*/ 206 h 209"/>
                <a:gd name="T58" fmla="*/ 204 w 216"/>
                <a:gd name="T59" fmla="*/ 207 h 209"/>
                <a:gd name="T60" fmla="*/ 214 w 216"/>
                <a:gd name="T61" fmla="*/ 202 h 209"/>
                <a:gd name="T62" fmla="*/ 209 w 216"/>
                <a:gd name="T63" fmla="*/ 18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209">
                  <a:moveTo>
                    <a:pt x="209" y="187"/>
                  </a:moveTo>
                  <a:cubicBezTo>
                    <a:pt x="199" y="182"/>
                    <a:pt x="185" y="180"/>
                    <a:pt x="173" y="179"/>
                  </a:cubicBezTo>
                  <a:cubicBezTo>
                    <a:pt x="166" y="179"/>
                    <a:pt x="158" y="178"/>
                    <a:pt x="156" y="176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09" y="0"/>
                    <a:pt x="109" y="0"/>
                  </a:cubicBezTo>
                  <a:cubicBezTo>
                    <a:pt x="107" y="0"/>
                    <a:pt x="78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6"/>
                  </a:cubicBezTo>
                  <a:cubicBezTo>
                    <a:pt x="58" y="178"/>
                    <a:pt x="50" y="179"/>
                    <a:pt x="43" y="179"/>
                  </a:cubicBezTo>
                  <a:cubicBezTo>
                    <a:pt x="31" y="180"/>
                    <a:pt x="18" y="182"/>
                    <a:pt x="7" y="187"/>
                  </a:cubicBezTo>
                  <a:cubicBezTo>
                    <a:pt x="2" y="190"/>
                    <a:pt x="0" y="196"/>
                    <a:pt x="3" y="202"/>
                  </a:cubicBezTo>
                  <a:cubicBezTo>
                    <a:pt x="6" y="207"/>
                    <a:pt x="12" y="209"/>
                    <a:pt x="17" y="206"/>
                  </a:cubicBezTo>
                  <a:cubicBezTo>
                    <a:pt x="24" y="202"/>
                    <a:pt x="35" y="201"/>
                    <a:pt x="45" y="201"/>
                  </a:cubicBezTo>
                  <a:cubicBezTo>
                    <a:pt x="55" y="200"/>
                    <a:pt x="64" y="199"/>
                    <a:pt x="70" y="196"/>
                  </a:cubicBezTo>
                  <a:cubicBezTo>
                    <a:pt x="84" y="189"/>
                    <a:pt x="90" y="169"/>
                    <a:pt x="91" y="163"/>
                  </a:cubicBezTo>
                  <a:cubicBezTo>
                    <a:pt x="93" y="154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1"/>
                    <a:pt x="109" y="22"/>
                  </a:cubicBezTo>
                  <a:cubicBezTo>
                    <a:pt x="109" y="21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4"/>
                    <a:pt x="125" y="163"/>
                  </a:cubicBezTo>
                  <a:cubicBezTo>
                    <a:pt x="127" y="169"/>
                    <a:pt x="133" y="189"/>
                    <a:pt x="146" y="196"/>
                  </a:cubicBezTo>
                  <a:cubicBezTo>
                    <a:pt x="153" y="199"/>
                    <a:pt x="161" y="200"/>
                    <a:pt x="171" y="201"/>
                  </a:cubicBezTo>
                  <a:cubicBezTo>
                    <a:pt x="181" y="201"/>
                    <a:pt x="192" y="202"/>
                    <a:pt x="199" y="206"/>
                  </a:cubicBezTo>
                  <a:cubicBezTo>
                    <a:pt x="201" y="207"/>
                    <a:pt x="202" y="207"/>
                    <a:pt x="204" y="207"/>
                  </a:cubicBezTo>
                  <a:cubicBezTo>
                    <a:pt x="208" y="207"/>
                    <a:pt x="212" y="205"/>
                    <a:pt x="214" y="202"/>
                  </a:cubicBezTo>
                  <a:cubicBezTo>
                    <a:pt x="216" y="196"/>
                    <a:pt x="214" y="190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10" name="TextBox 809"/>
          <p:cNvSpPr txBox="1"/>
          <p:nvPr/>
        </p:nvSpPr>
        <p:spPr>
          <a:xfrm>
            <a:off x="9462476" y="577800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aperclip</a:t>
            </a:r>
          </a:p>
        </p:txBody>
      </p:sp>
      <p:sp>
        <p:nvSpPr>
          <p:cNvPr id="811" name="Freeform 192"/>
          <p:cNvSpPr>
            <a:spLocks noChangeAspect="1" noEditPoints="1"/>
          </p:cNvSpPr>
          <p:nvPr/>
        </p:nvSpPr>
        <p:spPr bwMode="auto">
          <a:xfrm>
            <a:off x="9393966" y="5359519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1 w 512"/>
              <a:gd name="T11" fmla="*/ 226 h 512"/>
              <a:gd name="T12" fmla="*/ 241 w 512"/>
              <a:gd name="T13" fmla="*/ 376 h 512"/>
              <a:gd name="T14" fmla="*/ 188 w 512"/>
              <a:gd name="T15" fmla="*/ 398 h 512"/>
              <a:gd name="T16" fmla="*/ 135 w 512"/>
              <a:gd name="T17" fmla="*/ 376 h 512"/>
              <a:gd name="T18" fmla="*/ 113 w 512"/>
              <a:gd name="T19" fmla="*/ 324 h 512"/>
              <a:gd name="T20" fmla="*/ 135 w 512"/>
              <a:gd name="T21" fmla="*/ 271 h 512"/>
              <a:gd name="T22" fmla="*/ 241 w 512"/>
              <a:gd name="T23" fmla="*/ 165 h 512"/>
              <a:gd name="T24" fmla="*/ 256 w 512"/>
              <a:gd name="T25" fmla="*/ 165 h 512"/>
              <a:gd name="T26" fmla="*/ 256 w 512"/>
              <a:gd name="T27" fmla="*/ 180 h 512"/>
              <a:gd name="T28" fmla="*/ 150 w 512"/>
              <a:gd name="T29" fmla="*/ 286 h 512"/>
              <a:gd name="T30" fmla="*/ 134 w 512"/>
              <a:gd name="T31" fmla="*/ 324 h 512"/>
              <a:gd name="T32" fmla="*/ 150 w 512"/>
              <a:gd name="T33" fmla="*/ 361 h 512"/>
              <a:gd name="T34" fmla="*/ 188 w 512"/>
              <a:gd name="T35" fmla="*/ 377 h 512"/>
              <a:gd name="T36" fmla="*/ 226 w 512"/>
              <a:gd name="T37" fmla="*/ 361 h 512"/>
              <a:gd name="T38" fmla="*/ 376 w 512"/>
              <a:gd name="T39" fmla="*/ 210 h 512"/>
              <a:gd name="T40" fmla="*/ 376 w 512"/>
              <a:gd name="T41" fmla="*/ 165 h 512"/>
              <a:gd name="T42" fmla="*/ 331 w 512"/>
              <a:gd name="T43" fmla="*/ 165 h 512"/>
              <a:gd name="T44" fmla="*/ 180 w 512"/>
              <a:gd name="T45" fmla="*/ 316 h 512"/>
              <a:gd name="T46" fmla="*/ 177 w 512"/>
              <a:gd name="T47" fmla="*/ 324 h 512"/>
              <a:gd name="T48" fmla="*/ 180 w 512"/>
              <a:gd name="T49" fmla="*/ 331 h 512"/>
              <a:gd name="T50" fmla="*/ 195 w 512"/>
              <a:gd name="T51" fmla="*/ 331 h 512"/>
              <a:gd name="T52" fmla="*/ 301 w 512"/>
              <a:gd name="T53" fmla="*/ 226 h 512"/>
              <a:gd name="T54" fmla="*/ 316 w 512"/>
              <a:gd name="T55" fmla="*/ 226 h 512"/>
              <a:gd name="T56" fmla="*/ 316 w 512"/>
              <a:gd name="T57" fmla="*/ 241 h 512"/>
              <a:gd name="T58" fmla="*/ 210 w 512"/>
              <a:gd name="T59" fmla="*/ 346 h 512"/>
              <a:gd name="T60" fmla="*/ 188 w 512"/>
              <a:gd name="T61" fmla="*/ 356 h 512"/>
              <a:gd name="T62" fmla="*/ 165 w 512"/>
              <a:gd name="T63" fmla="*/ 346 h 512"/>
              <a:gd name="T64" fmla="*/ 156 w 512"/>
              <a:gd name="T65" fmla="*/ 324 h 512"/>
              <a:gd name="T66" fmla="*/ 165 w 512"/>
              <a:gd name="T67" fmla="*/ 301 h 512"/>
              <a:gd name="T68" fmla="*/ 316 w 512"/>
              <a:gd name="T69" fmla="*/ 150 h 512"/>
              <a:gd name="T70" fmla="*/ 391 w 512"/>
              <a:gd name="T71" fmla="*/ 150 h 512"/>
              <a:gd name="T72" fmla="*/ 391 w 512"/>
              <a:gd name="T73" fmla="*/ 22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1" y="226"/>
                </a:moveTo>
                <a:cubicBezTo>
                  <a:pt x="241" y="376"/>
                  <a:pt x="241" y="376"/>
                  <a:pt x="241" y="376"/>
                </a:cubicBezTo>
                <a:cubicBezTo>
                  <a:pt x="226" y="390"/>
                  <a:pt x="208" y="398"/>
                  <a:pt x="188" y="398"/>
                </a:cubicBezTo>
                <a:cubicBezTo>
                  <a:pt x="168" y="398"/>
                  <a:pt x="149" y="390"/>
                  <a:pt x="135" y="376"/>
                </a:cubicBezTo>
                <a:cubicBezTo>
                  <a:pt x="121" y="362"/>
                  <a:pt x="113" y="344"/>
                  <a:pt x="113" y="324"/>
                </a:cubicBezTo>
                <a:cubicBezTo>
                  <a:pt x="113" y="304"/>
                  <a:pt x="121" y="285"/>
                  <a:pt x="135" y="271"/>
                </a:cubicBezTo>
                <a:cubicBezTo>
                  <a:pt x="241" y="165"/>
                  <a:pt x="241" y="165"/>
                  <a:pt x="241" y="165"/>
                </a:cubicBezTo>
                <a:cubicBezTo>
                  <a:pt x="245" y="161"/>
                  <a:pt x="252" y="161"/>
                  <a:pt x="256" y="165"/>
                </a:cubicBezTo>
                <a:cubicBezTo>
                  <a:pt x="260" y="169"/>
                  <a:pt x="260" y="176"/>
                  <a:pt x="256" y="180"/>
                </a:cubicBezTo>
                <a:cubicBezTo>
                  <a:pt x="150" y="286"/>
                  <a:pt x="150" y="286"/>
                  <a:pt x="150" y="286"/>
                </a:cubicBezTo>
                <a:cubicBezTo>
                  <a:pt x="140" y="296"/>
                  <a:pt x="134" y="309"/>
                  <a:pt x="134" y="324"/>
                </a:cubicBezTo>
                <a:cubicBezTo>
                  <a:pt x="134" y="338"/>
                  <a:pt x="140" y="351"/>
                  <a:pt x="150" y="361"/>
                </a:cubicBezTo>
                <a:cubicBezTo>
                  <a:pt x="160" y="371"/>
                  <a:pt x="174" y="377"/>
                  <a:pt x="188" y="377"/>
                </a:cubicBezTo>
                <a:cubicBezTo>
                  <a:pt x="202" y="377"/>
                  <a:pt x="215" y="371"/>
                  <a:pt x="226" y="361"/>
                </a:cubicBezTo>
                <a:cubicBezTo>
                  <a:pt x="376" y="210"/>
                  <a:pt x="376" y="210"/>
                  <a:pt x="376" y="210"/>
                </a:cubicBezTo>
                <a:cubicBezTo>
                  <a:pt x="389" y="198"/>
                  <a:pt x="389" y="178"/>
                  <a:pt x="376" y="165"/>
                </a:cubicBezTo>
                <a:cubicBezTo>
                  <a:pt x="364" y="153"/>
                  <a:pt x="344" y="153"/>
                  <a:pt x="331" y="165"/>
                </a:cubicBezTo>
                <a:cubicBezTo>
                  <a:pt x="180" y="316"/>
                  <a:pt x="180" y="316"/>
                  <a:pt x="180" y="316"/>
                </a:cubicBezTo>
                <a:cubicBezTo>
                  <a:pt x="178" y="318"/>
                  <a:pt x="177" y="321"/>
                  <a:pt x="177" y="324"/>
                </a:cubicBezTo>
                <a:cubicBezTo>
                  <a:pt x="177" y="326"/>
                  <a:pt x="178" y="329"/>
                  <a:pt x="180" y="331"/>
                </a:cubicBezTo>
                <a:cubicBezTo>
                  <a:pt x="184" y="335"/>
                  <a:pt x="191" y="335"/>
                  <a:pt x="195" y="331"/>
                </a:cubicBezTo>
                <a:cubicBezTo>
                  <a:pt x="301" y="226"/>
                  <a:pt x="301" y="226"/>
                  <a:pt x="301" y="226"/>
                </a:cubicBezTo>
                <a:cubicBezTo>
                  <a:pt x="305" y="221"/>
                  <a:pt x="312" y="221"/>
                  <a:pt x="316" y="226"/>
                </a:cubicBezTo>
                <a:cubicBezTo>
                  <a:pt x="320" y="230"/>
                  <a:pt x="320" y="236"/>
                  <a:pt x="316" y="241"/>
                </a:cubicBezTo>
                <a:cubicBezTo>
                  <a:pt x="210" y="346"/>
                  <a:pt x="210" y="346"/>
                  <a:pt x="210" y="346"/>
                </a:cubicBezTo>
                <a:cubicBezTo>
                  <a:pt x="204" y="352"/>
                  <a:pt x="196" y="356"/>
                  <a:pt x="188" y="356"/>
                </a:cubicBezTo>
                <a:cubicBezTo>
                  <a:pt x="180" y="356"/>
                  <a:pt x="171" y="352"/>
                  <a:pt x="165" y="346"/>
                </a:cubicBezTo>
                <a:cubicBezTo>
                  <a:pt x="159" y="340"/>
                  <a:pt x="156" y="332"/>
                  <a:pt x="156" y="324"/>
                </a:cubicBezTo>
                <a:cubicBezTo>
                  <a:pt x="156" y="315"/>
                  <a:pt x="159" y="307"/>
                  <a:pt x="165" y="301"/>
                </a:cubicBezTo>
                <a:cubicBezTo>
                  <a:pt x="316" y="150"/>
                  <a:pt x="316" y="150"/>
                  <a:pt x="316" y="150"/>
                </a:cubicBezTo>
                <a:cubicBezTo>
                  <a:pt x="337" y="129"/>
                  <a:pt x="371" y="129"/>
                  <a:pt x="391" y="150"/>
                </a:cubicBezTo>
                <a:cubicBezTo>
                  <a:pt x="412" y="171"/>
                  <a:pt x="412" y="205"/>
                  <a:pt x="391" y="2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12" name="Group 195"/>
          <p:cNvGrpSpPr>
            <a:grpSpLocks noChangeAspect="1"/>
          </p:cNvGrpSpPr>
          <p:nvPr/>
        </p:nvGrpSpPr>
        <p:grpSpPr bwMode="auto">
          <a:xfrm>
            <a:off x="9885336" y="5359515"/>
            <a:ext cx="369021" cy="369021"/>
            <a:chOff x="7340" y="410"/>
            <a:chExt cx="340" cy="340"/>
          </a:xfrm>
          <a:solidFill>
            <a:schemeClr val="accent2"/>
          </a:solidFill>
        </p:grpSpPr>
        <p:sp>
          <p:nvSpPr>
            <p:cNvPr id="813" name="Freeform 196"/>
            <p:cNvSpPr>
              <a:spLocks/>
            </p:cNvSpPr>
            <p:nvPr/>
          </p:nvSpPr>
          <p:spPr bwMode="auto">
            <a:xfrm>
              <a:off x="7415" y="496"/>
              <a:ext cx="199" cy="178"/>
            </a:xfrm>
            <a:custGeom>
              <a:avLst/>
              <a:gdLst>
                <a:gd name="T0" fmla="*/ 278 w 299"/>
                <a:gd name="T1" fmla="*/ 21 h 269"/>
                <a:gd name="T2" fmla="*/ 203 w 299"/>
                <a:gd name="T3" fmla="*/ 21 h 269"/>
                <a:gd name="T4" fmla="*/ 52 w 299"/>
                <a:gd name="T5" fmla="*/ 172 h 269"/>
                <a:gd name="T6" fmla="*/ 43 w 299"/>
                <a:gd name="T7" fmla="*/ 195 h 269"/>
                <a:gd name="T8" fmla="*/ 52 w 299"/>
                <a:gd name="T9" fmla="*/ 217 h 269"/>
                <a:gd name="T10" fmla="*/ 75 w 299"/>
                <a:gd name="T11" fmla="*/ 227 h 269"/>
                <a:gd name="T12" fmla="*/ 97 w 299"/>
                <a:gd name="T13" fmla="*/ 217 h 269"/>
                <a:gd name="T14" fmla="*/ 203 w 299"/>
                <a:gd name="T15" fmla="*/ 112 h 269"/>
                <a:gd name="T16" fmla="*/ 203 w 299"/>
                <a:gd name="T17" fmla="*/ 97 h 269"/>
                <a:gd name="T18" fmla="*/ 188 w 299"/>
                <a:gd name="T19" fmla="*/ 97 h 269"/>
                <a:gd name="T20" fmla="*/ 82 w 299"/>
                <a:gd name="T21" fmla="*/ 202 h 269"/>
                <a:gd name="T22" fmla="*/ 67 w 299"/>
                <a:gd name="T23" fmla="*/ 202 h 269"/>
                <a:gd name="T24" fmla="*/ 64 w 299"/>
                <a:gd name="T25" fmla="*/ 195 h 269"/>
                <a:gd name="T26" fmla="*/ 67 w 299"/>
                <a:gd name="T27" fmla="*/ 187 h 269"/>
                <a:gd name="T28" fmla="*/ 218 w 299"/>
                <a:gd name="T29" fmla="*/ 36 h 269"/>
                <a:gd name="T30" fmla="*/ 263 w 299"/>
                <a:gd name="T31" fmla="*/ 36 h 269"/>
                <a:gd name="T32" fmla="*/ 263 w 299"/>
                <a:gd name="T33" fmla="*/ 81 h 269"/>
                <a:gd name="T34" fmla="*/ 113 w 299"/>
                <a:gd name="T35" fmla="*/ 232 h 269"/>
                <a:gd name="T36" fmla="*/ 75 w 299"/>
                <a:gd name="T37" fmla="*/ 248 h 269"/>
                <a:gd name="T38" fmla="*/ 37 w 299"/>
                <a:gd name="T39" fmla="*/ 232 h 269"/>
                <a:gd name="T40" fmla="*/ 21 w 299"/>
                <a:gd name="T41" fmla="*/ 195 h 269"/>
                <a:gd name="T42" fmla="*/ 37 w 299"/>
                <a:gd name="T43" fmla="*/ 157 h 269"/>
                <a:gd name="T44" fmla="*/ 143 w 299"/>
                <a:gd name="T45" fmla="*/ 51 h 269"/>
                <a:gd name="T46" fmla="*/ 143 w 299"/>
                <a:gd name="T47" fmla="*/ 36 h 269"/>
                <a:gd name="T48" fmla="*/ 128 w 299"/>
                <a:gd name="T49" fmla="*/ 36 h 269"/>
                <a:gd name="T50" fmla="*/ 22 w 299"/>
                <a:gd name="T51" fmla="*/ 142 h 269"/>
                <a:gd name="T52" fmla="*/ 0 w 299"/>
                <a:gd name="T53" fmla="*/ 195 h 269"/>
                <a:gd name="T54" fmla="*/ 22 w 299"/>
                <a:gd name="T55" fmla="*/ 247 h 269"/>
                <a:gd name="T56" fmla="*/ 75 w 299"/>
                <a:gd name="T57" fmla="*/ 269 h 269"/>
                <a:gd name="T58" fmla="*/ 128 w 299"/>
                <a:gd name="T59" fmla="*/ 247 h 269"/>
                <a:gd name="T60" fmla="*/ 278 w 299"/>
                <a:gd name="T61" fmla="*/ 97 h 269"/>
                <a:gd name="T62" fmla="*/ 278 w 299"/>
                <a:gd name="T63" fmla="*/ 2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9" h="269">
                  <a:moveTo>
                    <a:pt x="278" y="21"/>
                  </a:moveTo>
                  <a:cubicBezTo>
                    <a:pt x="258" y="0"/>
                    <a:pt x="224" y="0"/>
                    <a:pt x="203" y="21"/>
                  </a:cubicBezTo>
                  <a:cubicBezTo>
                    <a:pt x="52" y="172"/>
                    <a:pt x="52" y="172"/>
                    <a:pt x="52" y="172"/>
                  </a:cubicBezTo>
                  <a:cubicBezTo>
                    <a:pt x="46" y="178"/>
                    <a:pt x="43" y="186"/>
                    <a:pt x="43" y="195"/>
                  </a:cubicBezTo>
                  <a:cubicBezTo>
                    <a:pt x="43" y="203"/>
                    <a:pt x="46" y="211"/>
                    <a:pt x="52" y="217"/>
                  </a:cubicBezTo>
                  <a:cubicBezTo>
                    <a:pt x="58" y="223"/>
                    <a:pt x="67" y="227"/>
                    <a:pt x="75" y="227"/>
                  </a:cubicBezTo>
                  <a:cubicBezTo>
                    <a:pt x="83" y="227"/>
                    <a:pt x="91" y="223"/>
                    <a:pt x="97" y="217"/>
                  </a:cubicBezTo>
                  <a:cubicBezTo>
                    <a:pt x="203" y="112"/>
                    <a:pt x="203" y="112"/>
                    <a:pt x="203" y="112"/>
                  </a:cubicBezTo>
                  <a:cubicBezTo>
                    <a:pt x="207" y="107"/>
                    <a:pt x="207" y="101"/>
                    <a:pt x="203" y="97"/>
                  </a:cubicBezTo>
                  <a:cubicBezTo>
                    <a:pt x="199" y="92"/>
                    <a:pt x="192" y="92"/>
                    <a:pt x="188" y="97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78" y="206"/>
                    <a:pt x="71" y="206"/>
                    <a:pt x="67" y="202"/>
                  </a:cubicBezTo>
                  <a:cubicBezTo>
                    <a:pt x="65" y="200"/>
                    <a:pt x="64" y="197"/>
                    <a:pt x="64" y="195"/>
                  </a:cubicBezTo>
                  <a:cubicBezTo>
                    <a:pt x="64" y="192"/>
                    <a:pt x="65" y="189"/>
                    <a:pt x="67" y="187"/>
                  </a:cubicBezTo>
                  <a:cubicBezTo>
                    <a:pt x="218" y="36"/>
                    <a:pt x="218" y="36"/>
                    <a:pt x="218" y="36"/>
                  </a:cubicBezTo>
                  <a:cubicBezTo>
                    <a:pt x="231" y="24"/>
                    <a:pt x="251" y="24"/>
                    <a:pt x="263" y="36"/>
                  </a:cubicBezTo>
                  <a:cubicBezTo>
                    <a:pt x="276" y="49"/>
                    <a:pt x="276" y="69"/>
                    <a:pt x="263" y="81"/>
                  </a:cubicBezTo>
                  <a:cubicBezTo>
                    <a:pt x="113" y="232"/>
                    <a:pt x="113" y="232"/>
                    <a:pt x="113" y="232"/>
                  </a:cubicBezTo>
                  <a:cubicBezTo>
                    <a:pt x="102" y="242"/>
                    <a:pt x="89" y="248"/>
                    <a:pt x="75" y="248"/>
                  </a:cubicBezTo>
                  <a:cubicBezTo>
                    <a:pt x="61" y="248"/>
                    <a:pt x="47" y="242"/>
                    <a:pt x="37" y="232"/>
                  </a:cubicBezTo>
                  <a:cubicBezTo>
                    <a:pt x="27" y="222"/>
                    <a:pt x="21" y="209"/>
                    <a:pt x="21" y="195"/>
                  </a:cubicBezTo>
                  <a:cubicBezTo>
                    <a:pt x="21" y="180"/>
                    <a:pt x="27" y="167"/>
                    <a:pt x="37" y="157"/>
                  </a:cubicBezTo>
                  <a:cubicBezTo>
                    <a:pt x="143" y="51"/>
                    <a:pt x="143" y="51"/>
                    <a:pt x="143" y="51"/>
                  </a:cubicBezTo>
                  <a:cubicBezTo>
                    <a:pt x="147" y="47"/>
                    <a:pt x="147" y="40"/>
                    <a:pt x="143" y="36"/>
                  </a:cubicBezTo>
                  <a:cubicBezTo>
                    <a:pt x="139" y="32"/>
                    <a:pt x="132" y="32"/>
                    <a:pt x="128" y="36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8" y="156"/>
                    <a:pt x="0" y="175"/>
                    <a:pt x="0" y="195"/>
                  </a:cubicBezTo>
                  <a:cubicBezTo>
                    <a:pt x="0" y="215"/>
                    <a:pt x="8" y="233"/>
                    <a:pt x="22" y="247"/>
                  </a:cubicBezTo>
                  <a:cubicBezTo>
                    <a:pt x="36" y="261"/>
                    <a:pt x="55" y="269"/>
                    <a:pt x="75" y="269"/>
                  </a:cubicBezTo>
                  <a:cubicBezTo>
                    <a:pt x="95" y="269"/>
                    <a:pt x="113" y="261"/>
                    <a:pt x="128" y="247"/>
                  </a:cubicBezTo>
                  <a:cubicBezTo>
                    <a:pt x="278" y="97"/>
                    <a:pt x="278" y="97"/>
                    <a:pt x="278" y="97"/>
                  </a:cubicBezTo>
                  <a:cubicBezTo>
                    <a:pt x="299" y="76"/>
                    <a:pt x="299" y="42"/>
                    <a:pt x="27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4" name="Freeform 197"/>
            <p:cNvSpPr>
              <a:spLocks noEditPoints="1"/>
            </p:cNvSpPr>
            <p:nvPr/>
          </p:nvSpPr>
          <p:spPr bwMode="auto">
            <a:xfrm>
              <a:off x="7340" y="4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15" name="TextBox 814"/>
          <p:cNvSpPr txBox="1"/>
          <p:nvPr/>
        </p:nvSpPr>
        <p:spPr>
          <a:xfrm>
            <a:off x="7476971" y="498592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de</a:t>
            </a:r>
          </a:p>
        </p:txBody>
      </p:sp>
      <p:sp>
        <p:nvSpPr>
          <p:cNvPr id="816" name="Freeform 815"/>
          <p:cNvSpPr>
            <a:spLocks noChangeAspect="1" noEditPoints="1"/>
          </p:cNvSpPr>
          <p:nvPr/>
        </p:nvSpPr>
        <p:spPr bwMode="auto">
          <a:xfrm>
            <a:off x="7400155" y="4579667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9 w 512"/>
              <a:gd name="T11" fmla="*/ 334 h 512"/>
              <a:gd name="T12" fmla="*/ 199 w 512"/>
              <a:gd name="T13" fmla="*/ 349 h 512"/>
              <a:gd name="T14" fmla="*/ 192 w 512"/>
              <a:gd name="T15" fmla="*/ 352 h 512"/>
              <a:gd name="T16" fmla="*/ 184 w 512"/>
              <a:gd name="T17" fmla="*/ 349 h 512"/>
              <a:gd name="T18" fmla="*/ 99 w 512"/>
              <a:gd name="T19" fmla="*/ 264 h 512"/>
              <a:gd name="T20" fmla="*/ 99 w 512"/>
              <a:gd name="T21" fmla="*/ 248 h 512"/>
              <a:gd name="T22" fmla="*/ 184 w 512"/>
              <a:gd name="T23" fmla="*/ 163 h 512"/>
              <a:gd name="T24" fmla="*/ 199 w 512"/>
              <a:gd name="T25" fmla="*/ 163 h 512"/>
              <a:gd name="T26" fmla="*/ 199 w 512"/>
              <a:gd name="T27" fmla="*/ 178 h 512"/>
              <a:gd name="T28" fmla="*/ 121 w 512"/>
              <a:gd name="T29" fmla="*/ 256 h 512"/>
              <a:gd name="T30" fmla="*/ 199 w 512"/>
              <a:gd name="T31" fmla="*/ 334 h 512"/>
              <a:gd name="T32" fmla="*/ 241 w 512"/>
              <a:gd name="T33" fmla="*/ 386 h 512"/>
              <a:gd name="T34" fmla="*/ 230 w 512"/>
              <a:gd name="T35" fmla="*/ 395 h 512"/>
              <a:gd name="T36" fmla="*/ 228 w 512"/>
              <a:gd name="T37" fmla="*/ 394 h 512"/>
              <a:gd name="T38" fmla="*/ 220 w 512"/>
              <a:gd name="T39" fmla="*/ 382 h 512"/>
              <a:gd name="T40" fmla="*/ 271 w 512"/>
              <a:gd name="T41" fmla="*/ 126 h 512"/>
              <a:gd name="T42" fmla="*/ 283 w 512"/>
              <a:gd name="T43" fmla="*/ 118 h 512"/>
              <a:gd name="T44" fmla="*/ 292 w 512"/>
              <a:gd name="T45" fmla="*/ 130 h 512"/>
              <a:gd name="T46" fmla="*/ 241 w 512"/>
              <a:gd name="T47" fmla="*/ 386 h 512"/>
              <a:gd name="T48" fmla="*/ 413 w 512"/>
              <a:gd name="T49" fmla="*/ 264 h 512"/>
              <a:gd name="T50" fmla="*/ 327 w 512"/>
              <a:gd name="T51" fmla="*/ 349 h 512"/>
              <a:gd name="T52" fmla="*/ 320 w 512"/>
              <a:gd name="T53" fmla="*/ 352 h 512"/>
              <a:gd name="T54" fmla="*/ 312 w 512"/>
              <a:gd name="T55" fmla="*/ 349 h 512"/>
              <a:gd name="T56" fmla="*/ 312 w 512"/>
              <a:gd name="T57" fmla="*/ 334 h 512"/>
              <a:gd name="T58" fmla="*/ 390 w 512"/>
              <a:gd name="T59" fmla="*/ 256 h 512"/>
              <a:gd name="T60" fmla="*/ 312 w 512"/>
              <a:gd name="T61" fmla="*/ 178 h 512"/>
              <a:gd name="T62" fmla="*/ 312 w 512"/>
              <a:gd name="T63" fmla="*/ 163 h 512"/>
              <a:gd name="T64" fmla="*/ 327 w 512"/>
              <a:gd name="T65" fmla="*/ 163 h 512"/>
              <a:gd name="T66" fmla="*/ 413 w 512"/>
              <a:gd name="T67" fmla="*/ 248 h 512"/>
              <a:gd name="T68" fmla="*/ 413 w 512"/>
              <a:gd name="T69" fmla="*/ 26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99" y="334"/>
                </a:moveTo>
                <a:cubicBezTo>
                  <a:pt x="203" y="338"/>
                  <a:pt x="203" y="345"/>
                  <a:pt x="199" y="349"/>
                </a:cubicBezTo>
                <a:cubicBezTo>
                  <a:pt x="197" y="351"/>
                  <a:pt x="194" y="352"/>
                  <a:pt x="192" y="352"/>
                </a:cubicBezTo>
                <a:cubicBezTo>
                  <a:pt x="189" y="352"/>
                  <a:pt x="186" y="351"/>
                  <a:pt x="184" y="349"/>
                </a:cubicBezTo>
                <a:cubicBezTo>
                  <a:pt x="99" y="264"/>
                  <a:pt x="99" y="264"/>
                  <a:pt x="99" y="264"/>
                </a:cubicBezTo>
                <a:cubicBezTo>
                  <a:pt x="95" y="259"/>
                  <a:pt x="95" y="253"/>
                  <a:pt x="99" y="248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188" y="159"/>
                  <a:pt x="195" y="159"/>
                  <a:pt x="199" y="163"/>
                </a:cubicBezTo>
                <a:cubicBezTo>
                  <a:pt x="203" y="167"/>
                  <a:pt x="203" y="174"/>
                  <a:pt x="199" y="178"/>
                </a:cubicBezTo>
                <a:cubicBezTo>
                  <a:pt x="121" y="256"/>
                  <a:pt x="121" y="256"/>
                  <a:pt x="121" y="256"/>
                </a:cubicBezTo>
                <a:lnTo>
                  <a:pt x="199" y="334"/>
                </a:lnTo>
                <a:close/>
                <a:moveTo>
                  <a:pt x="241" y="386"/>
                </a:moveTo>
                <a:cubicBezTo>
                  <a:pt x="240" y="391"/>
                  <a:pt x="235" y="395"/>
                  <a:pt x="230" y="395"/>
                </a:cubicBezTo>
                <a:cubicBezTo>
                  <a:pt x="229" y="395"/>
                  <a:pt x="229" y="395"/>
                  <a:pt x="228" y="394"/>
                </a:cubicBezTo>
                <a:cubicBezTo>
                  <a:pt x="222" y="393"/>
                  <a:pt x="218" y="388"/>
                  <a:pt x="220" y="382"/>
                </a:cubicBezTo>
                <a:cubicBezTo>
                  <a:pt x="271" y="126"/>
                  <a:pt x="271" y="126"/>
                  <a:pt x="271" y="126"/>
                </a:cubicBezTo>
                <a:cubicBezTo>
                  <a:pt x="272" y="120"/>
                  <a:pt x="278" y="116"/>
                  <a:pt x="283" y="118"/>
                </a:cubicBezTo>
                <a:cubicBezTo>
                  <a:pt x="289" y="119"/>
                  <a:pt x="293" y="124"/>
                  <a:pt x="292" y="130"/>
                </a:cubicBezTo>
                <a:lnTo>
                  <a:pt x="241" y="386"/>
                </a:lnTo>
                <a:close/>
                <a:moveTo>
                  <a:pt x="413" y="264"/>
                </a:moveTo>
                <a:cubicBezTo>
                  <a:pt x="327" y="349"/>
                  <a:pt x="327" y="349"/>
                  <a:pt x="327" y="349"/>
                </a:cubicBezTo>
                <a:cubicBezTo>
                  <a:pt x="325" y="351"/>
                  <a:pt x="322" y="352"/>
                  <a:pt x="320" y="352"/>
                </a:cubicBezTo>
                <a:cubicBezTo>
                  <a:pt x="317" y="352"/>
                  <a:pt x="314" y="351"/>
                  <a:pt x="312" y="349"/>
                </a:cubicBezTo>
                <a:cubicBezTo>
                  <a:pt x="308" y="345"/>
                  <a:pt x="308" y="338"/>
                  <a:pt x="312" y="334"/>
                </a:cubicBezTo>
                <a:cubicBezTo>
                  <a:pt x="390" y="256"/>
                  <a:pt x="390" y="256"/>
                  <a:pt x="390" y="256"/>
                </a:cubicBezTo>
                <a:cubicBezTo>
                  <a:pt x="312" y="178"/>
                  <a:pt x="312" y="178"/>
                  <a:pt x="312" y="178"/>
                </a:cubicBezTo>
                <a:cubicBezTo>
                  <a:pt x="308" y="174"/>
                  <a:pt x="308" y="167"/>
                  <a:pt x="312" y="163"/>
                </a:cubicBezTo>
                <a:cubicBezTo>
                  <a:pt x="316" y="159"/>
                  <a:pt x="323" y="159"/>
                  <a:pt x="327" y="163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3"/>
                  <a:pt x="417" y="259"/>
                  <a:pt x="413" y="2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17" name="Group 8"/>
          <p:cNvGrpSpPr>
            <a:grpSpLocks noChangeAspect="1"/>
          </p:cNvGrpSpPr>
          <p:nvPr/>
        </p:nvGrpSpPr>
        <p:grpSpPr bwMode="auto">
          <a:xfrm>
            <a:off x="7896739" y="4579667"/>
            <a:ext cx="367631" cy="367631"/>
            <a:chOff x="4229" y="1872"/>
            <a:chExt cx="340" cy="340"/>
          </a:xfrm>
          <a:solidFill>
            <a:schemeClr val="accent1"/>
          </a:solidFill>
        </p:grpSpPr>
        <p:sp>
          <p:nvSpPr>
            <p:cNvPr id="818" name="Freeform 9"/>
            <p:cNvSpPr>
              <a:spLocks noEditPoints="1"/>
            </p:cNvSpPr>
            <p:nvPr/>
          </p:nvSpPr>
          <p:spPr bwMode="auto">
            <a:xfrm>
              <a:off x="4292" y="1949"/>
              <a:ext cx="214" cy="185"/>
            </a:xfrm>
            <a:custGeom>
              <a:avLst/>
              <a:gdLst>
                <a:gd name="T0" fmla="*/ 97 w 322"/>
                <a:gd name="T1" fmla="*/ 236 h 279"/>
                <a:gd name="T2" fmla="*/ 89 w 322"/>
                <a:gd name="T3" fmla="*/ 233 h 279"/>
                <a:gd name="T4" fmla="*/ 4 w 322"/>
                <a:gd name="T5" fmla="*/ 148 h 279"/>
                <a:gd name="T6" fmla="*/ 4 w 322"/>
                <a:gd name="T7" fmla="*/ 132 h 279"/>
                <a:gd name="T8" fmla="*/ 89 w 322"/>
                <a:gd name="T9" fmla="*/ 47 h 279"/>
                <a:gd name="T10" fmla="*/ 104 w 322"/>
                <a:gd name="T11" fmla="*/ 47 h 279"/>
                <a:gd name="T12" fmla="*/ 104 w 322"/>
                <a:gd name="T13" fmla="*/ 62 h 279"/>
                <a:gd name="T14" fmla="*/ 26 w 322"/>
                <a:gd name="T15" fmla="*/ 140 h 279"/>
                <a:gd name="T16" fmla="*/ 104 w 322"/>
                <a:gd name="T17" fmla="*/ 218 h 279"/>
                <a:gd name="T18" fmla="*/ 104 w 322"/>
                <a:gd name="T19" fmla="*/ 233 h 279"/>
                <a:gd name="T20" fmla="*/ 97 w 322"/>
                <a:gd name="T21" fmla="*/ 236 h 279"/>
                <a:gd name="T22" fmla="*/ 232 w 322"/>
                <a:gd name="T23" fmla="*/ 233 h 279"/>
                <a:gd name="T24" fmla="*/ 318 w 322"/>
                <a:gd name="T25" fmla="*/ 148 h 279"/>
                <a:gd name="T26" fmla="*/ 318 w 322"/>
                <a:gd name="T27" fmla="*/ 132 h 279"/>
                <a:gd name="T28" fmla="*/ 232 w 322"/>
                <a:gd name="T29" fmla="*/ 47 h 279"/>
                <a:gd name="T30" fmla="*/ 217 w 322"/>
                <a:gd name="T31" fmla="*/ 47 h 279"/>
                <a:gd name="T32" fmla="*/ 217 w 322"/>
                <a:gd name="T33" fmla="*/ 62 h 279"/>
                <a:gd name="T34" fmla="*/ 295 w 322"/>
                <a:gd name="T35" fmla="*/ 140 h 279"/>
                <a:gd name="T36" fmla="*/ 217 w 322"/>
                <a:gd name="T37" fmla="*/ 218 h 279"/>
                <a:gd name="T38" fmla="*/ 217 w 322"/>
                <a:gd name="T39" fmla="*/ 233 h 279"/>
                <a:gd name="T40" fmla="*/ 225 w 322"/>
                <a:gd name="T41" fmla="*/ 236 h 279"/>
                <a:gd name="T42" fmla="*/ 232 w 322"/>
                <a:gd name="T43" fmla="*/ 233 h 279"/>
                <a:gd name="T44" fmla="*/ 146 w 322"/>
                <a:gd name="T45" fmla="*/ 270 h 279"/>
                <a:gd name="T46" fmla="*/ 197 w 322"/>
                <a:gd name="T47" fmla="*/ 14 h 279"/>
                <a:gd name="T48" fmla="*/ 188 w 322"/>
                <a:gd name="T49" fmla="*/ 2 h 279"/>
                <a:gd name="T50" fmla="*/ 176 w 322"/>
                <a:gd name="T51" fmla="*/ 10 h 279"/>
                <a:gd name="T52" fmla="*/ 125 w 322"/>
                <a:gd name="T53" fmla="*/ 266 h 279"/>
                <a:gd name="T54" fmla="*/ 133 w 322"/>
                <a:gd name="T55" fmla="*/ 278 h 279"/>
                <a:gd name="T56" fmla="*/ 135 w 322"/>
                <a:gd name="T57" fmla="*/ 279 h 279"/>
                <a:gd name="T58" fmla="*/ 146 w 322"/>
                <a:gd name="T59" fmla="*/ 27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2" h="279">
                  <a:moveTo>
                    <a:pt x="97" y="236"/>
                  </a:moveTo>
                  <a:cubicBezTo>
                    <a:pt x="94" y="236"/>
                    <a:pt x="91" y="235"/>
                    <a:pt x="89" y="233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0" y="143"/>
                    <a:pt x="0" y="137"/>
                    <a:pt x="4" y="132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3" y="43"/>
                    <a:pt x="100" y="43"/>
                    <a:pt x="104" y="47"/>
                  </a:cubicBezTo>
                  <a:cubicBezTo>
                    <a:pt x="108" y="51"/>
                    <a:pt x="108" y="58"/>
                    <a:pt x="104" y="62"/>
                  </a:cubicBezTo>
                  <a:cubicBezTo>
                    <a:pt x="26" y="140"/>
                    <a:pt x="26" y="140"/>
                    <a:pt x="26" y="140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108" y="222"/>
                    <a:pt x="108" y="229"/>
                    <a:pt x="104" y="233"/>
                  </a:cubicBezTo>
                  <a:cubicBezTo>
                    <a:pt x="102" y="235"/>
                    <a:pt x="99" y="236"/>
                    <a:pt x="97" y="236"/>
                  </a:cubicBezTo>
                  <a:close/>
                  <a:moveTo>
                    <a:pt x="232" y="233"/>
                  </a:moveTo>
                  <a:cubicBezTo>
                    <a:pt x="318" y="148"/>
                    <a:pt x="318" y="148"/>
                    <a:pt x="318" y="148"/>
                  </a:cubicBezTo>
                  <a:cubicBezTo>
                    <a:pt x="322" y="143"/>
                    <a:pt x="322" y="137"/>
                    <a:pt x="318" y="132"/>
                  </a:cubicBezTo>
                  <a:cubicBezTo>
                    <a:pt x="232" y="47"/>
                    <a:pt x="232" y="47"/>
                    <a:pt x="232" y="47"/>
                  </a:cubicBezTo>
                  <a:cubicBezTo>
                    <a:pt x="228" y="43"/>
                    <a:pt x="221" y="43"/>
                    <a:pt x="217" y="47"/>
                  </a:cubicBezTo>
                  <a:cubicBezTo>
                    <a:pt x="213" y="51"/>
                    <a:pt x="213" y="58"/>
                    <a:pt x="217" y="62"/>
                  </a:cubicBezTo>
                  <a:cubicBezTo>
                    <a:pt x="295" y="140"/>
                    <a:pt x="295" y="140"/>
                    <a:pt x="295" y="140"/>
                  </a:cubicBezTo>
                  <a:cubicBezTo>
                    <a:pt x="217" y="218"/>
                    <a:pt x="217" y="218"/>
                    <a:pt x="217" y="218"/>
                  </a:cubicBezTo>
                  <a:cubicBezTo>
                    <a:pt x="213" y="222"/>
                    <a:pt x="213" y="229"/>
                    <a:pt x="217" y="233"/>
                  </a:cubicBezTo>
                  <a:cubicBezTo>
                    <a:pt x="219" y="235"/>
                    <a:pt x="222" y="236"/>
                    <a:pt x="225" y="236"/>
                  </a:cubicBezTo>
                  <a:cubicBezTo>
                    <a:pt x="227" y="236"/>
                    <a:pt x="230" y="235"/>
                    <a:pt x="232" y="233"/>
                  </a:cubicBezTo>
                  <a:close/>
                  <a:moveTo>
                    <a:pt x="146" y="270"/>
                  </a:moveTo>
                  <a:cubicBezTo>
                    <a:pt x="197" y="14"/>
                    <a:pt x="197" y="14"/>
                    <a:pt x="197" y="14"/>
                  </a:cubicBezTo>
                  <a:cubicBezTo>
                    <a:pt x="198" y="8"/>
                    <a:pt x="194" y="3"/>
                    <a:pt x="188" y="2"/>
                  </a:cubicBezTo>
                  <a:cubicBezTo>
                    <a:pt x="183" y="0"/>
                    <a:pt x="177" y="4"/>
                    <a:pt x="176" y="10"/>
                  </a:cubicBezTo>
                  <a:cubicBezTo>
                    <a:pt x="125" y="266"/>
                    <a:pt x="125" y="266"/>
                    <a:pt x="125" y="266"/>
                  </a:cubicBezTo>
                  <a:cubicBezTo>
                    <a:pt x="123" y="272"/>
                    <a:pt x="127" y="277"/>
                    <a:pt x="133" y="278"/>
                  </a:cubicBezTo>
                  <a:cubicBezTo>
                    <a:pt x="134" y="279"/>
                    <a:pt x="134" y="279"/>
                    <a:pt x="135" y="279"/>
                  </a:cubicBezTo>
                  <a:cubicBezTo>
                    <a:pt x="140" y="279"/>
                    <a:pt x="145" y="275"/>
                    <a:pt x="146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9" name="Freeform 10"/>
            <p:cNvSpPr>
              <a:spLocks noEditPoints="1"/>
            </p:cNvSpPr>
            <p:nvPr/>
          </p:nvSpPr>
          <p:spPr bwMode="auto">
            <a:xfrm>
              <a:off x="4229" y="18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20" name="TextBox 819"/>
          <p:cNvSpPr txBox="1"/>
          <p:nvPr/>
        </p:nvSpPr>
        <p:spPr>
          <a:xfrm>
            <a:off x="8461880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audio</a:t>
            </a:r>
          </a:p>
        </p:txBody>
      </p:sp>
      <p:sp>
        <p:nvSpPr>
          <p:cNvPr id="821" name="TextBox 820"/>
          <p:cNvSpPr txBox="1"/>
          <p:nvPr/>
        </p:nvSpPr>
        <p:spPr>
          <a:xfrm>
            <a:off x="9462476" y="414979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code</a:t>
            </a:r>
          </a:p>
        </p:txBody>
      </p:sp>
      <p:sp>
        <p:nvSpPr>
          <p:cNvPr id="822" name="TextBox 821"/>
          <p:cNvSpPr txBox="1"/>
          <p:nvPr/>
        </p:nvSpPr>
        <p:spPr>
          <a:xfrm>
            <a:off x="7461281" y="415351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Doc</a:t>
            </a:r>
          </a:p>
        </p:txBody>
      </p:sp>
      <p:sp>
        <p:nvSpPr>
          <p:cNvPr id="823" name="Freeform 641"/>
          <p:cNvSpPr>
            <a:spLocks noChangeAspect="1" noEditPoints="1"/>
          </p:cNvSpPr>
          <p:nvPr/>
        </p:nvSpPr>
        <p:spPr bwMode="auto">
          <a:xfrm>
            <a:off x="8394360" y="3743938"/>
            <a:ext cx="367631" cy="367631"/>
          </a:xfrm>
          <a:custGeom>
            <a:avLst/>
            <a:gdLst>
              <a:gd name="T0" fmla="*/ 309 w 512"/>
              <a:gd name="T1" fmla="*/ 330 h 512"/>
              <a:gd name="T2" fmla="*/ 298 w 512"/>
              <a:gd name="T3" fmla="*/ 341 h 512"/>
              <a:gd name="T4" fmla="*/ 288 w 512"/>
              <a:gd name="T5" fmla="*/ 330 h 512"/>
              <a:gd name="T6" fmla="*/ 298 w 512"/>
              <a:gd name="T7" fmla="*/ 320 h 512"/>
              <a:gd name="T8" fmla="*/ 309 w 512"/>
              <a:gd name="T9" fmla="*/ 330 h 512"/>
              <a:gd name="T10" fmla="*/ 213 w 512"/>
              <a:gd name="T11" fmla="*/ 330 h 512"/>
              <a:gd name="T12" fmla="*/ 202 w 512"/>
              <a:gd name="T13" fmla="*/ 341 h 512"/>
              <a:gd name="T14" fmla="*/ 213 w 512"/>
              <a:gd name="T15" fmla="*/ 352 h 512"/>
              <a:gd name="T16" fmla="*/ 224 w 512"/>
              <a:gd name="T17" fmla="*/ 341 h 512"/>
              <a:gd name="T18" fmla="*/ 213 w 512"/>
              <a:gd name="T19" fmla="*/ 330 h 512"/>
              <a:gd name="T20" fmla="*/ 298 w 512"/>
              <a:gd name="T21" fmla="*/ 132 h 512"/>
              <a:gd name="T22" fmla="*/ 298 w 512"/>
              <a:gd name="T23" fmla="*/ 170 h 512"/>
              <a:gd name="T24" fmla="*/ 337 w 512"/>
              <a:gd name="T25" fmla="*/ 170 h 512"/>
              <a:gd name="T26" fmla="*/ 298 w 512"/>
              <a:gd name="T27" fmla="*/ 132 h 512"/>
              <a:gd name="T28" fmla="*/ 288 w 512"/>
              <a:gd name="T29" fmla="*/ 192 h 512"/>
              <a:gd name="T30" fmla="*/ 352 w 512"/>
              <a:gd name="T31" fmla="*/ 192 h 512"/>
              <a:gd name="T32" fmla="*/ 352 w 512"/>
              <a:gd name="T33" fmla="*/ 394 h 512"/>
              <a:gd name="T34" fmla="*/ 160 w 512"/>
              <a:gd name="T35" fmla="*/ 394 h 512"/>
              <a:gd name="T36" fmla="*/ 160 w 512"/>
              <a:gd name="T37" fmla="*/ 117 h 512"/>
              <a:gd name="T38" fmla="*/ 277 w 512"/>
              <a:gd name="T39" fmla="*/ 117 h 512"/>
              <a:gd name="T40" fmla="*/ 277 w 512"/>
              <a:gd name="T41" fmla="*/ 181 h 512"/>
              <a:gd name="T42" fmla="*/ 288 w 512"/>
              <a:gd name="T43" fmla="*/ 192 h 512"/>
              <a:gd name="T44" fmla="*/ 317 w 512"/>
              <a:gd name="T45" fmla="*/ 224 h 512"/>
              <a:gd name="T46" fmla="*/ 232 w 512"/>
              <a:gd name="T47" fmla="*/ 245 h 512"/>
              <a:gd name="T48" fmla="*/ 224 w 512"/>
              <a:gd name="T49" fmla="*/ 256 h 512"/>
              <a:gd name="T50" fmla="*/ 224 w 512"/>
              <a:gd name="T51" fmla="*/ 311 h 512"/>
              <a:gd name="T52" fmla="*/ 213 w 512"/>
              <a:gd name="T53" fmla="*/ 309 h 512"/>
              <a:gd name="T54" fmla="*/ 181 w 512"/>
              <a:gd name="T55" fmla="*/ 341 h 512"/>
              <a:gd name="T56" fmla="*/ 213 w 512"/>
              <a:gd name="T57" fmla="*/ 373 h 512"/>
              <a:gd name="T58" fmla="*/ 245 w 512"/>
              <a:gd name="T59" fmla="*/ 341 h 512"/>
              <a:gd name="T60" fmla="*/ 245 w 512"/>
              <a:gd name="T61" fmla="*/ 264 h 512"/>
              <a:gd name="T62" fmla="*/ 309 w 512"/>
              <a:gd name="T63" fmla="*/ 248 h 512"/>
              <a:gd name="T64" fmla="*/ 309 w 512"/>
              <a:gd name="T65" fmla="*/ 300 h 512"/>
              <a:gd name="T66" fmla="*/ 298 w 512"/>
              <a:gd name="T67" fmla="*/ 298 h 512"/>
              <a:gd name="T68" fmla="*/ 266 w 512"/>
              <a:gd name="T69" fmla="*/ 330 h 512"/>
              <a:gd name="T70" fmla="*/ 298 w 512"/>
              <a:gd name="T71" fmla="*/ 362 h 512"/>
              <a:gd name="T72" fmla="*/ 330 w 512"/>
              <a:gd name="T73" fmla="*/ 330 h 512"/>
              <a:gd name="T74" fmla="*/ 330 w 512"/>
              <a:gd name="T75" fmla="*/ 234 h 512"/>
              <a:gd name="T76" fmla="*/ 330 w 512"/>
              <a:gd name="T77" fmla="*/ 232 h 512"/>
              <a:gd name="T78" fmla="*/ 317 w 512"/>
              <a:gd name="T79" fmla="*/ 224 h 512"/>
              <a:gd name="T80" fmla="*/ 512 w 512"/>
              <a:gd name="T81" fmla="*/ 256 h 512"/>
              <a:gd name="T82" fmla="*/ 256 w 512"/>
              <a:gd name="T83" fmla="*/ 512 h 512"/>
              <a:gd name="T84" fmla="*/ 0 w 512"/>
              <a:gd name="T85" fmla="*/ 256 h 512"/>
              <a:gd name="T86" fmla="*/ 256 w 512"/>
              <a:gd name="T87" fmla="*/ 0 h 512"/>
              <a:gd name="T88" fmla="*/ 512 w 512"/>
              <a:gd name="T89" fmla="*/ 256 h 512"/>
              <a:gd name="T90" fmla="*/ 373 w 512"/>
              <a:gd name="T91" fmla="*/ 181 h 512"/>
              <a:gd name="T92" fmla="*/ 372 w 512"/>
              <a:gd name="T93" fmla="*/ 177 h 512"/>
              <a:gd name="T94" fmla="*/ 370 w 512"/>
              <a:gd name="T95" fmla="*/ 173 h 512"/>
              <a:gd name="T96" fmla="*/ 295 w 512"/>
              <a:gd name="T97" fmla="*/ 99 h 512"/>
              <a:gd name="T98" fmla="*/ 292 w 512"/>
              <a:gd name="T99" fmla="*/ 96 h 512"/>
              <a:gd name="T100" fmla="*/ 288 w 512"/>
              <a:gd name="T101" fmla="*/ 96 h 512"/>
              <a:gd name="T102" fmla="*/ 149 w 512"/>
              <a:gd name="T103" fmla="*/ 96 h 512"/>
              <a:gd name="T104" fmla="*/ 138 w 512"/>
              <a:gd name="T105" fmla="*/ 106 h 512"/>
              <a:gd name="T106" fmla="*/ 138 w 512"/>
              <a:gd name="T107" fmla="*/ 405 h 512"/>
              <a:gd name="T108" fmla="*/ 149 w 512"/>
              <a:gd name="T109" fmla="*/ 416 h 512"/>
              <a:gd name="T110" fmla="*/ 362 w 512"/>
              <a:gd name="T111" fmla="*/ 416 h 512"/>
              <a:gd name="T112" fmla="*/ 373 w 512"/>
              <a:gd name="T113" fmla="*/ 405 h 512"/>
              <a:gd name="T114" fmla="*/ 373 w 512"/>
              <a:gd name="T115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309" y="330"/>
                </a:moveTo>
                <a:cubicBezTo>
                  <a:pt x="309" y="336"/>
                  <a:pt x="304" y="341"/>
                  <a:pt x="298" y="341"/>
                </a:cubicBezTo>
                <a:cubicBezTo>
                  <a:pt x="292" y="341"/>
                  <a:pt x="288" y="336"/>
                  <a:pt x="288" y="330"/>
                </a:cubicBezTo>
                <a:cubicBezTo>
                  <a:pt x="288" y="324"/>
                  <a:pt x="292" y="320"/>
                  <a:pt x="298" y="320"/>
                </a:cubicBezTo>
                <a:cubicBezTo>
                  <a:pt x="304" y="320"/>
                  <a:pt x="309" y="324"/>
                  <a:pt x="309" y="330"/>
                </a:cubicBezTo>
                <a:close/>
                <a:moveTo>
                  <a:pt x="213" y="330"/>
                </a:moveTo>
                <a:cubicBezTo>
                  <a:pt x="207" y="330"/>
                  <a:pt x="202" y="335"/>
                  <a:pt x="202" y="341"/>
                </a:cubicBezTo>
                <a:cubicBezTo>
                  <a:pt x="202" y="347"/>
                  <a:pt x="207" y="352"/>
                  <a:pt x="213" y="352"/>
                </a:cubicBezTo>
                <a:cubicBezTo>
                  <a:pt x="219" y="352"/>
                  <a:pt x="224" y="347"/>
                  <a:pt x="224" y="341"/>
                </a:cubicBezTo>
                <a:cubicBezTo>
                  <a:pt x="224" y="335"/>
                  <a:pt x="219" y="330"/>
                  <a:pt x="213" y="330"/>
                </a:cubicBezTo>
                <a:close/>
                <a:moveTo>
                  <a:pt x="298" y="132"/>
                </a:moveTo>
                <a:cubicBezTo>
                  <a:pt x="298" y="170"/>
                  <a:pt x="298" y="170"/>
                  <a:pt x="298" y="170"/>
                </a:cubicBezTo>
                <a:cubicBezTo>
                  <a:pt x="337" y="170"/>
                  <a:pt x="337" y="170"/>
                  <a:pt x="337" y="170"/>
                </a:cubicBezTo>
                <a:lnTo>
                  <a:pt x="298" y="132"/>
                </a:lnTo>
                <a:close/>
                <a:moveTo>
                  <a:pt x="288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277" y="117"/>
                  <a:pt x="277" y="117"/>
                  <a:pt x="277" y="117"/>
                </a:cubicBezTo>
                <a:cubicBezTo>
                  <a:pt x="277" y="181"/>
                  <a:pt x="277" y="181"/>
                  <a:pt x="277" y="181"/>
                </a:cubicBezTo>
                <a:cubicBezTo>
                  <a:pt x="277" y="187"/>
                  <a:pt x="282" y="192"/>
                  <a:pt x="288" y="192"/>
                </a:cubicBezTo>
                <a:close/>
                <a:moveTo>
                  <a:pt x="317" y="224"/>
                </a:moveTo>
                <a:cubicBezTo>
                  <a:pt x="232" y="245"/>
                  <a:pt x="232" y="245"/>
                  <a:pt x="232" y="245"/>
                </a:cubicBezTo>
                <a:cubicBezTo>
                  <a:pt x="227" y="247"/>
                  <a:pt x="224" y="251"/>
                  <a:pt x="224" y="256"/>
                </a:cubicBezTo>
                <a:cubicBezTo>
                  <a:pt x="224" y="311"/>
                  <a:pt x="224" y="311"/>
                  <a:pt x="224" y="311"/>
                </a:cubicBezTo>
                <a:cubicBezTo>
                  <a:pt x="220" y="310"/>
                  <a:pt x="217" y="309"/>
                  <a:pt x="213" y="309"/>
                </a:cubicBezTo>
                <a:cubicBezTo>
                  <a:pt x="195" y="309"/>
                  <a:pt x="181" y="323"/>
                  <a:pt x="181" y="341"/>
                </a:cubicBezTo>
                <a:cubicBezTo>
                  <a:pt x="181" y="359"/>
                  <a:pt x="195" y="373"/>
                  <a:pt x="213" y="373"/>
                </a:cubicBezTo>
                <a:cubicBezTo>
                  <a:pt x="231" y="373"/>
                  <a:pt x="245" y="359"/>
                  <a:pt x="245" y="341"/>
                </a:cubicBezTo>
                <a:cubicBezTo>
                  <a:pt x="245" y="264"/>
                  <a:pt x="245" y="264"/>
                  <a:pt x="245" y="264"/>
                </a:cubicBezTo>
                <a:cubicBezTo>
                  <a:pt x="309" y="248"/>
                  <a:pt x="309" y="248"/>
                  <a:pt x="309" y="248"/>
                </a:cubicBezTo>
                <a:cubicBezTo>
                  <a:pt x="309" y="300"/>
                  <a:pt x="309" y="300"/>
                  <a:pt x="309" y="300"/>
                </a:cubicBezTo>
                <a:cubicBezTo>
                  <a:pt x="306" y="299"/>
                  <a:pt x="302" y="298"/>
                  <a:pt x="298" y="298"/>
                </a:cubicBezTo>
                <a:cubicBezTo>
                  <a:pt x="281" y="298"/>
                  <a:pt x="266" y="313"/>
                  <a:pt x="266" y="330"/>
                </a:cubicBezTo>
                <a:cubicBezTo>
                  <a:pt x="266" y="348"/>
                  <a:pt x="281" y="362"/>
                  <a:pt x="298" y="362"/>
                </a:cubicBezTo>
                <a:cubicBezTo>
                  <a:pt x="316" y="362"/>
                  <a:pt x="330" y="348"/>
                  <a:pt x="330" y="330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0" y="233"/>
                  <a:pt x="330" y="233"/>
                  <a:pt x="330" y="232"/>
                </a:cubicBezTo>
                <a:cubicBezTo>
                  <a:pt x="329" y="226"/>
                  <a:pt x="323" y="223"/>
                  <a:pt x="317" y="22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81"/>
                </a:moveTo>
                <a:cubicBezTo>
                  <a:pt x="373" y="180"/>
                  <a:pt x="373" y="178"/>
                  <a:pt x="372" y="177"/>
                </a:cubicBezTo>
                <a:cubicBezTo>
                  <a:pt x="372" y="176"/>
                  <a:pt x="371" y="174"/>
                  <a:pt x="370" y="173"/>
                </a:cubicBezTo>
                <a:cubicBezTo>
                  <a:pt x="295" y="99"/>
                  <a:pt x="295" y="99"/>
                  <a:pt x="295" y="99"/>
                </a:cubicBezTo>
                <a:cubicBezTo>
                  <a:pt x="294" y="98"/>
                  <a:pt x="293" y="97"/>
                  <a:pt x="292" y="96"/>
                </a:cubicBezTo>
                <a:cubicBezTo>
                  <a:pt x="290" y="96"/>
                  <a:pt x="289" y="96"/>
                  <a:pt x="288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8" y="100"/>
                  <a:pt x="138" y="10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1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24" name="Group 644"/>
          <p:cNvGrpSpPr>
            <a:grpSpLocks noChangeAspect="1"/>
          </p:cNvGrpSpPr>
          <p:nvPr/>
        </p:nvGrpSpPr>
        <p:grpSpPr bwMode="auto">
          <a:xfrm>
            <a:off x="8891456" y="3743937"/>
            <a:ext cx="367631" cy="368713"/>
            <a:chOff x="5834" y="2368"/>
            <a:chExt cx="340" cy="341"/>
          </a:xfrm>
          <a:solidFill>
            <a:schemeClr val="accent1"/>
          </a:solidFill>
        </p:grpSpPr>
        <p:sp>
          <p:nvSpPr>
            <p:cNvPr id="825" name="Freeform 645"/>
            <p:cNvSpPr>
              <a:spLocks noEditPoints="1"/>
            </p:cNvSpPr>
            <p:nvPr/>
          </p:nvSpPr>
          <p:spPr bwMode="auto">
            <a:xfrm>
              <a:off x="5926" y="2432"/>
              <a:ext cx="156" cy="213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14 w 235"/>
                <a:gd name="T35" fmla="*/ 298 h 320"/>
                <a:gd name="T36" fmla="*/ 22 w 235"/>
                <a:gd name="T37" fmla="*/ 298 h 320"/>
                <a:gd name="T38" fmla="*/ 22 w 235"/>
                <a:gd name="T39" fmla="*/ 21 h 320"/>
                <a:gd name="T40" fmla="*/ 139 w 235"/>
                <a:gd name="T41" fmla="*/ 21 h 320"/>
                <a:gd name="T42" fmla="*/ 139 w 235"/>
                <a:gd name="T43" fmla="*/ 85 h 320"/>
                <a:gd name="T44" fmla="*/ 150 w 235"/>
                <a:gd name="T45" fmla="*/ 96 h 320"/>
                <a:gd name="T46" fmla="*/ 214 w 235"/>
                <a:gd name="T47" fmla="*/ 96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6" name="Freeform 646"/>
            <p:cNvSpPr>
              <a:spLocks noEditPoints="1"/>
            </p:cNvSpPr>
            <p:nvPr/>
          </p:nvSpPr>
          <p:spPr bwMode="auto">
            <a:xfrm>
              <a:off x="5954" y="2517"/>
              <a:ext cx="99" cy="99"/>
            </a:xfrm>
            <a:custGeom>
              <a:avLst/>
              <a:gdLst>
                <a:gd name="T0" fmla="*/ 43 w 149"/>
                <a:gd name="T1" fmla="*/ 33 h 150"/>
                <a:gd name="T2" fmla="*/ 43 w 149"/>
                <a:gd name="T3" fmla="*/ 88 h 150"/>
                <a:gd name="T4" fmla="*/ 32 w 149"/>
                <a:gd name="T5" fmla="*/ 86 h 150"/>
                <a:gd name="T6" fmla="*/ 0 w 149"/>
                <a:gd name="T7" fmla="*/ 118 h 150"/>
                <a:gd name="T8" fmla="*/ 32 w 149"/>
                <a:gd name="T9" fmla="*/ 150 h 150"/>
                <a:gd name="T10" fmla="*/ 64 w 149"/>
                <a:gd name="T11" fmla="*/ 118 h 150"/>
                <a:gd name="T12" fmla="*/ 64 w 149"/>
                <a:gd name="T13" fmla="*/ 41 h 150"/>
                <a:gd name="T14" fmla="*/ 128 w 149"/>
                <a:gd name="T15" fmla="*/ 25 h 150"/>
                <a:gd name="T16" fmla="*/ 128 w 149"/>
                <a:gd name="T17" fmla="*/ 77 h 150"/>
                <a:gd name="T18" fmla="*/ 117 w 149"/>
                <a:gd name="T19" fmla="*/ 75 h 150"/>
                <a:gd name="T20" fmla="*/ 85 w 149"/>
                <a:gd name="T21" fmla="*/ 107 h 150"/>
                <a:gd name="T22" fmla="*/ 117 w 149"/>
                <a:gd name="T23" fmla="*/ 139 h 150"/>
                <a:gd name="T24" fmla="*/ 149 w 149"/>
                <a:gd name="T25" fmla="*/ 107 h 150"/>
                <a:gd name="T26" fmla="*/ 149 w 149"/>
                <a:gd name="T27" fmla="*/ 11 h 150"/>
                <a:gd name="T28" fmla="*/ 149 w 149"/>
                <a:gd name="T29" fmla="*/ 9 h 150"/>
                <a:gd name="T30" fmla="*/ 136 w 149"/>
                <a:gd name="T31" fmla="*/ 1 h 150"/>
                <a:gd name="T32" fmla="*/ 51 w 149"/>
                <a:gd name="T33" fmla="*/ 22 h 150"/>
                <a:gd name="T34" fmla="*/ 43 w 149"/>
                <a:gd name="T35" fmla="*/ 33 h 150"/>
                <a:gd name="T36" fmla="*/ 32 w 149"/>
                <a:gd name="T37" fmla="*/ 129 h 150"/>
                <a:gd name="T38" fmla="*/ 21 w 149"/>
                <a:gd name="T39" fmla="*/ 118 h 150"/>
                <a:gd name="T40" fmla="*/ 32 w 149"/>
                <a:gd name="T41" fmla="*/ 107 h 150"/>
                <a:gd name="T42" fmla="*/ 43 w 149"/>
                <a:gd name="T43" fmla="*/ 118 h 150"/>
                <a:gd name="T44" fmla="*/ 32 w 149"/>
                <a:gd name="T45" fmla="*/ 129 h 150"/>
                <a:gd name="T46" fmla="*/ 117 w 149"/>
                <a:gd name="T47" fmla="*/ 118 h 150"/>
                <a:gd name="T48" fmla="*/ 107 w 149"/>
                <a:gd name="T49" fmla="*/ 107 h 150"/>
                <a:gd name="T50" fmla="*/ 117 w 149"/>
                <a:gd name="T51" fmla="*/ 97 h 150"/>
                <a:gd name="T52" fmla="*/ 128 w 149"/>
                <a:gd name="T53" fmla="*/ 107 h 150"/>
                <a:gd name="T54" fmla="*/ 117 w 149"/>
                <a:gd name="T55" fmla="*/ 11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9" h="150">
                  <a:moveTo>
                    <a:pt x="43" y="33"/>
                  </a:moveTo>
                  <a:cubicBezTo>
                    <a:pt x="43" y="88"/>
                    <a:pt x="43" y="88"/>
                    <a:pt x="43" y="88"/>
                  </a:cubicBezTo>
                  <a:cubicBezTo>
                    <a:pt x="39" y="87"/>
                    <a:pt x="36" y="86"/>
                    <a:pt x="32" y="86"/>
                  </a:cubicBezTo>
                  <a:cubicBezTo>
                    <a:pt x="14" y="86"/>
                    <a:pt x="0" y="100"/>
                    <a:pt x="0" y="118"/>
                  </a:cubicBezTo>
                  <a:cubicBezTo>
                    <a:pt x="0" y="136"/>
                    <a:pt x="14" y="150"/>
                    <a:pt x="32" y="150"/>
                  </a:cubicBezTo>
                  <a:cubicBezTo>
                    <a:pt x="50" y="150"/>
                    <a:pt x="64" y="136"/>
                    <a:pt x="64" y="118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5" y="76"/>
                    <a:pt x="121" y="75"/>
                    <a:pt x="117" y="75"/>
                  </a:cubicBezTo>
                  <a:cubicBezTo>
                    <a:pt x="100" y="75"/>
                    <a:pt x="85" y="90"/>
                    <a:pt x="85" y="107"/>
                  </a:cubicBezTo>
                  <a:cubicBezTo>
                    <a:pt x="85" y="125"/>
                    <a:pt x="100" y="139"/>
                    <a:pt x="117" y="139"/>
                  </a:cubicBezTo>
                  <a:cubicBezTo>
                    <a:pt x="135" y="139"/>
                    <a:pt x="149" y="125"/>
                    <a:pt x="149" y="107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0"/>
                    <a:pt x="149" y="10"/>
                    <a:pt x="149" y="9"/>
                  </a:cubicBezTo>
                  <a:cubicBezTo>
                    <a:pt x="148" y="3"/>
                    <a:pt x="142" y="0"/>
                    <a:pt x="136" y="1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46" y="24"/>
                    <a:pt x="43" y="28"/>
                    <a:pt x="43" y="33"/>
                  </a:cubicBezTo>
                  <a:close/>
                  <a:moveTo>
                    <a:pt x="32" y="129"/>
                  </a:moveTo>
                  <a:cubicBezTo>
                    <a:pt x="26" y="129"/>
                    <a:pt x="21" y="124"/>
                    <a:pt x="21" y="118"/>
                  </a:cubicBezTo>
                  <a:cubicBezTo>
                    <a:pt x="21" y="112"/>
                    <a:pt x="26" y="107"/>
                    <a:pt x="32" y="107"/>
                  </a:cubicBezTo>
                  <a:cubicBezTo>
                    <a:pt x="38" y="107"/>
                    <a:pt x="43" y="112"/>
                    <a:pt x="43" y="118"/>
                  </a:cubicBezTo>
                  <a:cubicBezTo>
                    <a:pt x="43" y="124"/>
                    <a:pt x="38" y="129"/>
                    <a:pt x="32" y="129"/>
                  </a:cubicBezTo>
                  <a:close/>
                  <a:moveTo>
                    <a:pt x="117" y="118"/>
                  </a:moveTo>
                  <a:cubicBezTo>
                    <a:pt x="111" y="118"/>
                    <a:pt x="107" y="113"/>
                    <a:pt x="107" y="107"/>
                  </a:cubicBezTo>
                  <a:cubicBezTo>
                    <a:pt x="107" y="101"/>
                    <a:pt x="111" y="97"/>
                    <a:pt x="117" y="97"/>
                  </a:cubicBezTo>
                  <a:cubicBezTo>
                    <a:pt x="123" y="97"/>
                    <a:pt x="128" y="101"/>
                    <a:pt x="128" y="107"/>
                  </a:cubicBezTo>
                  <a:cubicBezTo>
                    <a:pt x="128" y="113"/>
                    <a:pt x="123" y="118"/>
                    <a:pt x="117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7" name="Freeform 647"/>
            <p:cNvSpPr>
              <a:spLocks noEditPoints="1"/>
            </p:cNvSpPr>
            <p:nvPr/>
          </p:nvSpPr>
          <p:spPr bwMode="auto">
            <a:xfrm>
              <a:off x="5834" y="236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28" name="Group 650"/>
          <p:cNvGrpSpPr>
            <a:grpSpLocks noChangeAspect="1"/>
          </p:cNvGrpSpPr>
          <p:nvPr/>
        </p:nvGrpSpPr>
        <p:grpSpPr bwMode="auto">
          <a:xfrm>
            <a:off x="9388552" y="3743938"/>
            <a:ext cx="367631" cy="367631"/>
            <a:chOff x="6224" y="2372"/>
            <a:chExt cx="340" cy="340"/>
          </a:xfrm>
          <a:solidFill>
            <a:schemeClr val="accent1"/>
          </a:solidFill>
        </p:grpSpPr>
        <p:sp>
          <p:nvSpPr>
            <p:cNvPr id="829" name="Freeform 651"/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0" name="Freeform 652"/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1" name="Freeform 653"/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32" name="Group 656"/>
          <p:cNvGrpSpPr>
            <a:grpSpLocks noChangeAspect="1"/>
          </p:cNvGrpSpPr>
          <p:nvPr/>
        </p:nvGrpSpPr>
        <p:grpSpPr bwMode="auto">
          <a:xfrm>
            <a:off x="9885641" y="3743933"/>
            <a:ext cx="368712" cy="368713"/>
            <a:chOff x="6597" y="2396"/>
            <a:chExt cx="341" cy="341"/>
          </a:xfrm>
          <a:solidFill>
            <a:schemeClr val="accent1"/>
          </a:solidFill>
        </p:grpSpPr>
        <p:sp>
          <p:nvSpPr>
            <p:cNvPr id="833" name="Freeform 657"/>
            <p:cNvSpPr>
              <a:spLocks noEditPoints="1"/>
            </p:cNvSpPr>
            <p:nvPr/>
          </p:nvSpPr>
          <p:spPr bwMode="auto">
            <a:xfrm>
              <a:off x="6689" y="2460"/>
              <a:ext cx="156" cy="213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7 w 235"/>
                <a:gd name="T7" fmla="*/ 2 h 320"/>
                <a:gd name="T8" fmla="*/ 157 w 235"/>
                <a:gd name="T9" fmla="*/ 2 h 320"/>
                <a:gd name="T10" fmla="*/ 157 w 235"/>
                <a:gd name="T11" fmla="*/ 2 h 320"/>
                <a:gd name="T12" fmla="*/ 150 w 235"/>
                <a:gd name="T13" fmla="*/ 0 h 320"/>
                <a:gd name="T14" fmla="*/ 11 w 235"/>
                <a:gd name="T15" fmla="*/ 0 h 320"/>
                <a:gd name="T16" fmla="*/ 0 w 235"/>
                <a:gd name="T17" fmla="*/ 10 h 320"/>
                <a:gd name="T18" fmla="*/ 0 w 235"/>
                <a:gd name="T19" fmla="*/ 309 h 320"/>
                <a:gd name="T20" fmla="*/ 11 w 235"/>
                <a:gd name="T21" fmla="*/ 320 h 320"/>
                <a:gd name="T22" fmla="*/ 224 w 235"/>
                <a:gd name="T23" fmla="*/ 320 h 320"/>
                <a:gd name="T24" fmla="*/ 235 w 235"/>
                <a:gd name="T25" fmla="*/ 309 h 320"/>
                <a:gd name="T26" fmla="*/ 235 w 235"/>
                <a:gd name="T27" fmla="*/ 85 h 320"/>
                <a:gd name="T28" fmla="*/ 235 w 235"/>
                <a:gd name="T29" fmla="*/ 85 h 320"/>
                <a:gd name="T30" fmla="*/ 234 w 235"/>
                <a:gd name="T31" fmla="*/ 81 h 320"/>
                <a:gd name="T32" fmla="*/ 160 w 235"/>
                <a:gd name="T33" fmla="*/ 36 h 320"/>
                <a:gd name="T34" fmla="*/ 199 w 235"/>
                <a:gd name="T35" fmla="*/ 74 h 320"/>
                <a:gd name="T36" fmla="*/ 160 w 235"/>
                <a:gd name="T37" fmla="*/ 74 h 320"/>
                <a:gd name="T38" fmla="*/ 160 w 235"/>
                <a:gd name="T39" fmla="*/ 36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21 h 320"/>
                <a:gd name="T46" fmla="*/ 139 w 235"/>
                <a:gd name="T47" fmla="*/ 21 h 320"/>
                <a:gd name="T48" fmla="*/ 139 w 235"/>
                <a:gd name="T49" fmla="*/ 85 h 320"/>
                <a:gd name="T50" fmla="*/ 150 w 235"/>
                <a:gd name="T51" fmla="*/ 96 h 320"/>
                <a:gd name="T52" fmla="*/ 214 w 235"/>
                <a:gd name="T53" fmla="*/ 96 h 320"/>
                <a:gd name="T54" fmla="*/ 214 w 235"/>
                <a:gd name="T55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5" y="1"/>
                    <a:pt x="152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lnTo>
                    <a:pt x="214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4" name="Freeform 658"/>
            <p:cNvSpPr>
              <a:spLocks/>
            </p:cNvSpPr>
            <p:nvPr/>
          </p:nvSpPr>
          <p:spPr bwMode="auto">
            <a:xfrm>
              <a:off x="6738" y="2544"/>
              <a:ext cx="59" cy="79"/>
            </a:xfrm>
            <a:custGeom>
              <a:avLst/>
              <a:gdLst>
                <a:gd name="T0" fmla="*/ 3 w 88"/>
                <a:gd name="T1" fmla="*/ 102 h 119"/>
                <a:gd name="T2" fmla="*/ 6 w 88"/>
                <a:gd name="T3" fmla="*/ 117 h 119"/>
                <a:gd name="T4" fmla="*/ 12 w 88"/>
                <a:gd name="T5" fmla="*/ 119 h 119"/>
                <a:gd name="T6" fmla="*/ 21 w 88"/>
                <a:gd name="T7" fmla="*/ 114 h 119"/>
                <a:gd name="T8" fmla="*/ 85 w 88"/>
                <a:gd name="T9" fmla="*/ 18 h 119"/>
                <a:gd name="T10" fmla="*/ 82 w 88"/>
                <a:gd name="T11" fmla="*/ 3 h 119"/>
                <a:gd name="T12" fmla="*/ 67 w 88"/>
                <a:gd name="T13" fmla="*/ 6 h 119"/>
                <a:gd name="T14" fmla="*/ 3 w 88"/>
                <a:gd name="T15" fmla="*/ 10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119">
                  <a:moveTo>
                    <a:pt x="3" y="102"/>
                  </a:moveTo>
                  <a:cubicBezTo>
                    <a:pt x="0" y="107"/>
                    <a:pt x="1" y="114"/>
                    <a:pt x="6" y="117"/>
                  </a:cubicBezTo>
                  <a:cubicBezTo>
                    <a:pt x="8" y="118"/>
                    <a:pt x="10" y="119"/>
                    <a:pt x="12" y="119"/>
                  </a:cubicBezTo>
                  <a:cubicBezTo>
                    <a:pt x="15" y="119"/>
                    <a:pt x="18" y="117"/>
                    <a:pt x="21" y="114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8" y="13"/>
                    <a:pt x="86" y="7"/>
                    <a:pt x="82" y="3"/>
                  </a:cubicBezTo>
                  <a:cubicBezTo>
                    <a:pt x="77" y="0"/>
                    <a:pt x="70" y="2"/>
                    <a:pt x="67" y="6"/>
                  </a:cubicBezTo>
                  <a:lnTo>
                    <a:pt x="3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5" name="Freeform 659"/>
            <p:cNvSpPr>
              <a:spLocks/>
            </p:cNvSpPr>
            <p:nvPr/>
          </p:nvSpPr>
          <p:spPr bwMode="auto">
            <a:xfrm>
              <a:off x="6718" y="2537"/>
              <a:ext cx="36" cy="43"/>
            </a:xfrm>
            <a:custGeom>
              <a:avLst/>
              <a:gdLst>
                <a:gd name="T0" fmla="*/ 43 w 55"/>
                <a:gd name="T1" fmla="*/ 65 h 65"/>
                <a:gd name="T2" fmla="*/ 52 w 55"/>
                <a:gd name="T3" fmla="*/ 60 h 65"/>
                <a:gd name="T4" fmla="*/ 49 w 55"/>
                <a:gd name="T5" fmla="*/ 45 h 65"/>
                <a:gd name="T6" fmla="*/ 30 w 55"/>
                <a:gd name="T7" fmla="*/ 33 h 65"/>
                <a:gd name="T8" fmla="*/ 49 w 55"/>
                <a:gd name="T9" fmla="*/ 21 h 65"/>
                <a:gd name="T10" fmla="*/ 52 w 55"/>
                <a:gd name="T11" fmla="*/ 6 h 65"/>
                <a:gd name="T12" fmla="*/ 37 w 55"/>
                <a:gd name="T13" fmla="*/ 3 h 65"/>
                <a:gd name="T14" fmla="*/ 5 w 55"/>
                <a:gd name="T15" fmla="*/ 24 h 65"/>
                <a:gd name="T16" fmla="*/ 0 w 55"/>
                <a:gd name="T17" fmla="*/ 33 h 65"/>
                <a:gd name="T18" fmla="*/ 5 w 55"/>
                <a:gd name="T19" fmla="*/ 42 h 65"/>
                <a:gd name="T20" fmla="*/ 37 w 55"/>
                <a:gd name="T21" fmla="*/ 63 h 65"/>
                <a:gd name="T22" fmla="*/ 43 w 55"/>
                <a:gd name="T2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65">
                  <a:moveTo>
                    <a:pt x="43" y="65"/>
                  </a:moveTo>
                  <a:cubicBezTo>
                    <a:pt x="46" y="65"/>
                    <a:pt x="49" y="63"/>
                    <a:pt x="52" y="60"/>
                  </a:cubicBezTo>
                  <a:cubicBezTo>
                    <a:pt x="55" y="55"/>
                    <a:pt x="53" y="49"/>
                    <a:pt x="49" y="4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3" y="17"/>
                    <a:pt x="55" y="11"/>
                    <a:pt x="52" y="6"/>
                  </a:cubicBezTo>
                  <a:cubicBezTo>
                    <a:pt x="48" y="1"/>
                    <a:pt x="42" y="0"/>
                    <a:pt x="37" y="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6"/>
                    <a:pt x="0" y="29"/>
                    <a:pt x="0" y="33"/>
                  </a:cubicBezTo>
                  <a:cubicBezTo>
                    <a:pt x="0" y="37"/>
                    <a:pt x="2" y="40"/>
                    <a:pt x="5" y="42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9" y="64"/>
                    <a:pt x="41" y="65"/>
                    <a:pt x="43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6" name="Freeform 660"/>
            <p:cNvSpPr>
              <a:spLocks/>
            </p:cNvSpPr>
            <p:nvPr/>
          </p:nvSpPr>
          <p:spPr bwMode="auto">
            <a:xfrm>
              <a:off x="6781" y="2586"/>
              <a:ext cx="36" cy="44"/>
            </a:xfrm>
            <a:custGeom>
              <a:avLst/>
              <a:gdLst>
                <a:gd name="T0" fmla="*/ 3 w 54"/>
                <a:gd name="T1" fmla="*/ 6 h 66"/>
                <a:gd name="T2" fmla="*/ 6 w 54"/>
                <a:gd name="T3" fmla="*/ 21 h 66"/>
                <a:gd name="T4" fmla="*/ 24 w 54"/>
                <a:gd name="T5" fmla="*/ 34 h 66"/>
                <a:gd name="T6" fmla="*/ 6 w 54"/>
                <a:gd name="T7" fmla="*/ 46 h 66"/>
                <a:gd name="T8" fmla="*/ 3 w 54"/>
                <a:gd name="T9" fmla="*/ 61 h 66"/>
                <a:gd name="T10" fmla="*/ 12 w 54"/>
                <a:gd name="T11" fmla="*/ 66 h 66"/>
                <a:gd name="T12" fmla="*/ 18 w 54"/>
                <a:gd name="T13" fmla="*/ 64 h 66"/>
                <a:gd name="T14" fmla="*/ 50 w 54"/>
                <a:gd name="T15" fmla="*/ 43 h 66"/>
                <a:gd name="T16" fmla="*/ 54 w 54"/>
                <a:gd name="T17" fmla="*/ 34 h 66"/>
                <a:gd name="T18" fmla="*/ 50 w 54"/>
                <a:gd name="T19" fmla="*/ 25 h 66"/>
                <a:gd name="T20" fmla="*/ 18 w 54"/>
                <a:gd name="T21" fmla="*/ 3 h 66"/>
                <a:gd name="T22" fmla="*/ 3 w 54"/>
                <a:gd name="T23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66">
                  <a:moveTo>
                    <a:pt x="3" y="6"/>
                  </a:moveTo>
                  <a:cubicBezTo>
                    <a:pt x="0" y="11"/>
                    <a:pt x="1" y="18"/>
                    <a:pt x="6" y="21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1" y="49"/>
                    <a:pt x="0" y="56"/>
                    <a:pt x="3" y="61"/>
                  </a:cubicBezTo>
                  <a:cubicBezTo>
                    <a:pt x="5" y="64"/>
                    <a:pt x="8" y="66"/>
                    <a:pt x="12" y="66"/>
                  </a:cubicBezTo>
                  <a:cubicBezTo>
                    <a:pt x="14" y="66"/>
                    <a:pt x="16" y="65"/>
                    <a:pt x="18" y="64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3" y="41"/>
                    <a:pt x="54" y="37"/>
                    <a:pt x="54" y="34"/>
                  </a:cubicBezTo>
                  <a:cubicBezTo>
                    <a:pt x="54" y="30"/>
                    <a:pt x="53" y="27"/>
                    <a:pt x="50" y="2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3" y="0"/>
                    <a:pt x="6" y="2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7" name="Freeform 661"/>
            <p:cNvSpPr>
              <a:spLocks noEditPoints="1"/>
            </p:cNvSpPr>
            <p:nvPr/>
          </p:nvSpPr>
          <p:spPr bwMode="auto">
            <a:xfrm>
              <a:off x="6597" y="2396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38" name="Group 664"/>
          <p:cNvGrpSpPr>
            <a:grpSpLocks noChangeAspect="1"/>
          </p:cNvGrpSpPr>
          <p:nvPr/>
        </p:nvGrpSpPr>
        <p:grpSpPr bwMode="auto">
          <a:xfrm>
            <a:off x="7400168" y="3743938"/>
            <a:ext cx="367631" cy="367631"/>
            <a:chOff x="6958" y="2381"/>
            <a:chExt cx="340" cy="340"/>
          </a:xfrm>
          <a:solidFill>
            <a:schemeClr val="accent1"/>
          </a:solidFill>
        </p:grpSpPr>
        <p:sp>
          <p:nvSpPr>
            <p:cNvPr id="839" name="Freeform 665"/>
            <p:cNvSpPr>
              <a:spLocks/>
            </p:cNvSpPr>
            <p:nvPr/>
          </p:nvSpPr>
          <p:spPr bwMode="auto">
            <a:xfrm>
              <a:off x="7117" y="2559"/>
              <a:ext cx="26" cy="33"/>
            </a:xfrm>
            <a:custGeom>
              <a:avLst/>
              <a:gdLst>
                <a:gd name="T0" fmla="*/ 19 w 38"/>
                <a:gd name="T1" fmla="*/ 50 h 50"/>
                <a:gd name="T2" fmla="*/ 38 w 38"/>
                <a:gd name="T3" fmla="*/ 25 h 50"/>
                <a:gd name="T4" fmla="*/ 19 w 38"/>
                <a:gd name="T5" fmla="*/ 0 h 50"/>
                <a:gd name="T6" fmla="*/ 4 w 38"/>
                <a:gd name="T7" fmla="*/ 6 h 50"/>
                <a:gd name="T8" fmla="*/ 0 w 38"/>
                <a:gd name="T9" fmla="*/ 25 h 50"/>
                <a:gd name="T10" fmla="*/ 4 w 38"/>
                <a:gd name="T11" fmla="*/ 44 h 50"/>
                <a:gd name="T12" fmla="*/ 19 w 38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50">
                  <a:moveTo>
                    <a:pt x="19" y="50"/>
                  </a:moveTo>
                  <a:cubicBezTo>
                    <a:pt x="31" y="50"/>
                    <a:pt x="38" y="42"/>
                    <a:pt x="38" y="25"/>
                  </a:cubicBezTo>
                  <a:cubicBezTo>
                    <a:pt x="38" y="8"/>
                    <a:pt x="31" y="0"/>
                    <a:pt x="19" y="0"/>
                  </a:cubicBezTo>
                  <a:cubicBezTo>
                    <a:pt x="12" y="0"/>
                    <a:pt x="8" y="2"/>
                    <a:pt x="4" y="6"/>
                  </a:cubicBezTo>
                  <a:cubicBezTo>
                    <a:pt x="1" y="10"/>
                    <a:pt x="0" y="17"/>
                    <a:pt x="0" y="25"/>
                  </a:cubicBezTo>
                  <a:cubicBezTo>
                    <a:pt x="0" y="33"/>
                    <a:pt x="1" y="40"/>
                    <a:pt x="4" y="44"/>
                  </a:cubicBezTo>
                  <a:cubicBezTo>
                    <a:pt x="8" y="48"/>
                    <a:pt x="12" y="50"/>
                    <a:pt x="19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0" name="Rectangle 666"/>
            <p:cNvSpPr>
              <a:spLocks noChangeArrowheads="1"/>
            </p:cNvSpPr>
            <p:nvPr/>
          </p:nvSpPr>
          <p:spPr bwMode="auto">
            <a:xfrm>
              <a:off x="7064" y="2629"/>
              <a:ext cx="128" cy="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1" name="Freeform 667"/>
            <p:cNvSpPr>
              <a:spLocks/>
            </p:cNvSpPr>
            <p:nvPr/>
          </p:nvSpPr>
          <p:spPr bwMode="auto">
            <a:xfrm>
              <a:off x="7064" y="2459"/>
              <a:ext cx="128" cy="63"/>
            </a:xfrm>
            <a:custGeom>
              <a:avLst/>
              <a:gdLst>
                <a:gd name="T0" fmla="*/ 192 w 192"/>
                <a:gd name="T1" fmla="*/ 75 h 96"/>
                <a:gd name="T2" fmla="*/ 128 w 192"/>
                <a:gd name="T3" fmla="*/ 75 h 96"/>
                <a:gd name="T4" fmla="*/ 117 w 192"/>
                <a:gd name="T5" fmla="*/ 64 h 96"/>
                <a:gd name="T6" fmla="*/ 117 w 192"/>
                <a:gd name="T7" fmla="*/ 0 h 96"/>
                <a:gd name="T8" fmla="*/ 0 w 192"/>
                <a:gd name="T9" fmla="*/ 0 h 96"/>
                <a:gd name="T10" fmla="*/ 0 w 192"/>
                <a:gd name="T11" fmla="*/ 96 h 96"/>
                <a:gd name="T12" fmla="*/ 192 w 192"/>
                <a:gd name="T13" fmla="*/ 96 h 96"/>
                <a:gd name="T14" fmla="*/ 192 w 192"/>
                <a:gd name="T15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96">
                  <a:moveTo>
                    <a:pt x="192" y="75"/>
                  </a:move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92" y="96"/>
                    <a:pt x="192" y="96"/>
                    <a:pt x="192" y="96"/>
                  </a:cubicBezTo>
                  <a:lnTo>
                    <a:pt x="19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2" name="Freeform 668"/>
            <p:cNvSpPr>
              <a:spLocks/>
            </p:cNvSpPr>
            <p:nvPr/>
          </p:nvSpPr>
          <p:spPr bwMode="auto">
            <a:xfrm>
              <a:off x="7156" y="2469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3" name="Freeform 669"/>
            <p:cNvSpPr>
              <a:spLocks noEditPoints="1"/>
            </p:cNvSpPr>
            <p:nvPr/>
          </p:nvSpPr>
          <p:spPr bwMode="auto">
            <a:xfrm>
              <a:off x="6958" y="238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362 h 512"/>
                <a:gd name="T12" fmla="*/ 394 w 512"/>
                <a:gd name="T13" fmla="*/ 373 h 512"/>
                <a:gd name="T14" fmla="*/ 373 w 512"/>
                <a:gd name="T15" fmla="*/ 373 h 512"/>
                <a:gd name="T16" fmla="*/ 373 w 512"/>
                <a:gd name="T17" fmla="*/ 405 h 512"/>
                <a:gd name="T18" fmla="*/ 362 w 512"/>
                <a:gd name="T19" fmla="*/ 416 h 512"/>
                <a:gd name="T20" fmla="*/ 149 w 512"/>
                <a:gd name="T21" fmla="*/ 416 h 512"/>
                <a:gd name="T22" fmla="*/ 138 w 512"/>
                <a:gd name="T23" fmla="*/ 405 h 512"/>
                <a:gd name="T24" fmla="*/ 138 w 512"/>
                <a:gd name="T25" fmla="*/ 373 h 512"/>
                <a:gd name="T26" fmla="*/ 117 w 512"/>
                <a:gd name="T27" fmla="*/ 373 h 512"/>
                <a:gd name="T28" fmla="*/ 106 w 512"/>
                <a:gd name="T29" fmla="*/ 362 h 512"/>
                <a:gd name="T30" fmla="*/ 106 w 512"/>
                <a:gd name="T31" fmla="*/ 224 h 512"/>
                <a:gd name="T32" fmla="*/ 117 w 512"/>
                <a:gd name="T33" fmla="*/ 213 h 512"/>
                <a:gd name="T34" fmla="*/ 138 w 512"/>
                <a:gd name="T35" fmla="*/ 213 h 512"/>
                <a:gd name="T36" fmla="*/ 138 w 512"/>
                <a:gd name="T37" fmla="*/ 106 h 512"/>
                <a:gd name="T38" fmla="*/ 149 w 512"/>
                <a:gd name="T39" fmla="*/ 96 h 512"/>
                <a:gd name="T40" fmla="*/ 288 w 512"/>
                <a:gd name="T41" fmla="*/ 96 h 512"/>
                <a:gd name="T42" fmla="*/ 292 w 512"/>
                <a:gd name="T43" fmla="*/ 96 h 512"/>
                <a:gd name="T44" fmla="*/ 295 w 512"/>
                <a:gd name="T45" fmla="*/ 99 h 512"/>
                <a:gd name="T46" fmla="*/ 370 w 512"/>
                <a:gd name="T47" fmla="*/ 173 h 512"/>
                <a:gd name="T48" fmla="*/ 372 w 512"/>
                <a:gd name="T49" fmla="*/ 177 h 512"/>
                <a:gd name="T50" fmla="*/ 373 w 512"/>
                <a:gd name="T51" fmla="*/ 181 h 512"/>
                <a:gd name="T52" fmla="*/ 373 w 512"/>
                <a:gd name="T53" fmla="*/ 213 h 512"/>
                <a:gd name="T54" fmla="*/ 394 w 512"/>
                <a:gd name="T55" fmla="*/ 213 h 512"/>
                <a:gd name="T56" fmla="*/ 405 w 512"/>
                <a:gd name="T57" fmla="*/ 224 h 512"/>
                <a:gd name="T58" fmla="*/ 405 w 512"/>
                <a:gd name="T59" fmla="*/ 3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362"/>
                  </a:moveTo>
                  <a:cubicBezTo>
                    <a:pt x="405" y="368"/>
                    <a:pt x="400" y="373"/>
                    <a:pt x="394" y="373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73"/>
                    <a:pt x="138" y="373"/>
                    <a:pt x="138" y="373"/>
                  </a:cubicBezTo>
                  <a:cubicBezTo>
                    <a:pt x="117" y="373"/>
                    <a:pt x="117" y="373"/>
                    <a:pt x="117" y="373"/>
                  </a:cubicBezTo>
                  <a:cubicBezTo>
                    <a:pt x="111" y="373"/>
                    <a:pt x="106" y="368"/>
                    <a:pt x="106" y="362"/>
                  </a:cubicBezTo>
                  <a:cubicBezTo>
                    <a:pt x="106" y="224"/>
                    <a:pt x="106" y="224"/>
                    <a:pt x="106" y="224"/>
                  </a:cubicBezTo>
                  <a:cubicBezTo>
                    <a:pt x="106" y="218"/>
                    <a:pt x="111" y="213"/>
                    <a:pt x="117" y="213"/>
                  </a:cubicBezTo>
                  <a:cubicBezTo>
                    <a:pt x="138" y="213"/>
                    <a:pt x="138" y="213"/>
                    <a:pt x="138" y="213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9" y="96"/>
                    <a:pt x="290" y="96"/>
                    <a:pt x="292" y="96"/>
                  </a:cubicBezTo>
                  <a:cubicBezTo>
                    <a:pt x="293" y="97"/>
                    <a:pt x="294" y="98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213"/>
                    <a:pt x="373" y="213"/>
                    <a:pt x="373" y="213"/>
                  </a:cubicBezTo>
                  <a:cubicBezTo>
                    <a:pt x="394" y="213"/>
                    <a:pt x="394" y="213"/>
                    <a:pt x="394" y="213"/>
                  </a:cubicBezTo>
                  <a:cubicBezTo>
                    <a:pt x="400" y="213"/>
                    <a:pt x="405" y="218"/>
                    <a:pt x="405" y="224"/>
                  </a:cubicBezTo>
                  <a:lnTo>
                    <a:pt x="405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4" name="Freeform 670"/>
            <p:cNvSpPr>
              <a:spLocks noEditPoints="1"/>
            </p:cNvSpPr>
            <p:nvPr/>
          </p:nvSpPr>
          <p:spPr bwMode="auto">
            <a:xfrm>
              <a:off x="7043" y="2536"/>
              <a:ext cx="170" cy="79"/>
            </a:xfrm>
            <a:custGeom>
              <a:avLst/>
              <a:gdLst>
                <a:gd name="T0" fmla="*/ 0 w 256"/>
                <a:gd name="T1" fmla="*/ 118 h 118"/>
                <a:gd name="T2" fmla="*/ 256 w 256"/>
                <a:gd name="T3" fmla="*/ 118 h 118"/>
                <a:gd name="T4" fmla="*/ 256 w 256"/>
                <a:gd name="T5" fmla="*/ 0 h 118"/>
                <a:gd name="T6" fmla="*/ 0 w 256"/>
                <a:gd name="T7" fmla="*/ 0 h 118"/>
                <a:gd name="T8" fmla="*/ 0 w 256"/>
                <a:gd name="T9" fmla="*/ 118 h 118"/>
                <a:gd name="T10" fmla="*/ 183 w 256"/>
                <a:gd name="T11" fmla="*/ 39 h 118"/>
                <a:gd name="T12" fmla="*/ 195 w 256"/>
                <a:gd name="T13" fmla="*/ 25 h 118"/>
                <a:gd name="T14" fmla="*/ 213 w 256"/>
                <a:gd name="T15" fmla="*/ 21 h 118"/>
                <a:gd name="T16" fmla="*/ 235 w 256"/>
                <a:gd name="T17" fmla="*/ 26 h 118"/>
                <a:gd name="T18" fmla="*/ 230 w 256"/>
                <a:gd name="T19" fmla="*/ 39 h 118"/>
                <a:gd name="T20" fmla="*/ 222 w 256"/>
                <a:gd name="T21" fmla="*/ 35 h 118"/>
                <a:gd name="T22" fmla="*/ 213 w 256"/>
                <a:gd name="T23" fmla="*/ 34 h 118"/>
                <a:gd name="T24" fmla="*/ 199 w 256"/>
                <a:gd name="T25" fmla="*/ 41 h 118"/>
                <a:gd name="T26" fmla="*/ 195 w 256"/>
                <a:gd name="T27" fmla="*/ 59 h 118"/>
                <a:gd name="T28" fmla="*/ 213 w 256"/>
                <a:gd name="T29" fmla="*/ 84 h 118"/>
                <a:gd name="T30" fmla="*/ 232 w 256"/>
                <a:gd name="T31" fmla="*/ 80 h 118"/>
                <a:gd name="T32" fmla="*/ 232 w 256"/>
                <a:gd name="T33" fmla="*/ 94 h 118"/>
                <a:gd name="T34" fmla="*/ 212 w 256"/>
                <a:gd name="T35" fmla="*/ 97 h 118"/>
                <a:gd name="T36" fmla="*/ 187 w 256"/>
                <a:gd name="T37" fmla="*/ 87 h 118"/>
                <a:gd name="T38" fmla="*/ 178 w 256"/>
                <a:gd name="T39" fmla="*/ 59 h 118"/>
                <a:gd name="T40" fmla="*/ 183 w 256"/>
                <a:gd name="T41" fmla="*/ 39 h 118"/>
                <a:gd name="T42" fmla="*/ 104 w 256"/>
                <a:gd name="T43" fmla="*/ 30 h 118"/>
                <a:gd name="T44" fmla="*/ 131 w 256"/>
                <a:gd name="T45" fmla="*/ 21 h 118"/>
                <a:gd name="T46" fmla="*/ 157 w 256"/>
                <a:gd name="T47" fmla="*/ 30 h 118"/>
                <a:gd name="T48" fmla="*/ 166 w 256"/>
                <a:gd name="T49" fmla="*/ 59 h 118"/>
                <a:gd name="T50" fmla="*/ 157 w 256"/>
                <a:gd name="T51" fmla="*/ 87 h 118"/>
                <a:gd name="T52" fmla="*/ 131 w 256"/>
                <a:gd name="T53" fmla="*/ 97 h 118"/>
                <a:gd name="T54" fmla="*/ 104 w 256"/>
                <a:gd name="T55" fmla="*/ 87 h 118"/>
                <a:gd name="T56" fmla="*/ 95 w 256"/>
                <a:gd name="T57" fmla="*/ 59 h 118"/>
                <a:gd name="T58" fmla="*/ 104 w 256"/>
                <a:gd name="T59" fmla="*/ 30 h 118"/>
                <a:gd name="T60" fmla="*/ 21 w 256"/>
                <a:gd name="T61" fmla="*/ 22 h 118"/>
                <a:gd name="T62" fmla="*/ 44 w 256"/>
                <a:gd name="T63" fmla="*/ 22 h 118"/>
                <a:gd name="T64" fmla="*/ 73 w 256"/>
                <a:gd name="T65" fmla="*/ 31 h 118"/>
                <a:gd name="T66" fmla="*/ 83 w 256"/>
                <a:gd name="T67" fmla="*/ 58 h 118"/>
                <a:gd name="T68" fmla="*/ 72 w 256"/>
                <a:gd name="T69" fmla="*/ 87 h 118"/>
                <a:gd name="T70" fmla="*/ 42 w 256"/>
                <a:gd name="T71" fmla="*/ 96 h 118"/>
                <a:gd name="T72" fmla="*/ 21 w 256"/>
                <a:gd name="T73" fmla="*/ 96 h 118"/>
                <a:gd name="T74" fmla="*/ 21 w 256"/>
                <a:gd name="T75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6" h="118">
                  <a:moveTo>
                    <a:pt x="0" y="118"/>
                  </a:moveTo>
                  <a:cubicBezTo>
                    <a:pt x="256" y="118"/>
                    <a:pt x="256" y="118"/>
                    <a:pt x="256" y="11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8"/>
                  </a:lnTo>
                  <a:close/>
                  <a:moveTo>
                    <a:pt x="183" y="39"/>
                  </a:moveTo>
                  <a:cubicBezTo>
                    <a:pt x="185" y="33"/>
                    <a:pt x="189" y="28"/>
                    <a:pt x="195" y="25"/>
                  </a:cubicBezTo>
                  <a:cubicBezTo>
                    <a:pt x="200" y="22"/>
                    <a:pt x="206" y="21"/>
                    <a:pt x="213" y="21"/>
                  </a:cubicBezTo>
                  <a:cubicBezTo>
                    <a:pt x="221" y="21"/>
                    <a:pt x="228" y="22"/>
                    <a:pt x="235" y="26"/>
                  </a:cubicBezTo>
                  <a:cubicBezTo>
                    <a:pt x="230" y="39"/>
                    <a:pt x="230" y="39"/>
                    <a:pt x="230" y="39"/>
                  </a:cubicBezTo>
                  <a:cubicBezTo>
                    <a:pt x="227" y="37"/>
                    <a:pt x="224" y="36"/>
                    <a:pt x="222" y="35"/>
                  </a:cubicBezTo>
                  <a:cubicBezTo>
                    <a:pt x="219" y="34"/>
                    <a:pt x="216" y="34"/>
                    <a:pt x="213" y="34"/>
                  </a:cubicBezTo>
                  <a:cubicBezTo>
                    <a:pt x="207" y="34"/>
                    <a:pt x="203" y="36"/>
                    <a:pt x="199" y="41"/>
                  </a:cubicBezTo>
                  <a:cubicBezTo>
                    <a:pt x="196" y="45"/>
                    <a:pt x="195" y="51"/>
                    <a:pt x="195" y="59"/>
                  </a:cubicBezTo>
                  <a:cubicBezTo>
                    <a:pt x="195" y="76"/>
                    <a:pt x="201" y="84"/>
                    <a:pt x="213" y="84"/>
                  </a:cubicBezTo>
                  <a:cubicBezTo>
                    <a:pt x="219" y="84"/>
                    <a:pt x="225" y="83"/>
                    <a:pt x="232" y="80"/>
                  </a:cubicBezTo>
                  <a:cubicBezTo>
                    <a:pt x="232" y="94"/>
                    <a:pt x="232" y="94"/>
                    <a:pt x="232" y="94"/>
                  </a:cubicBezTo>
                  <a:cubicBezTo>
                    <a:pt x="226" y="96"/>
                    <a:pt x="219" y="97"/>
                    <a:pt x="212" y="97"/>
                  </a:cubicBezTo>
                  <a:cubicBezTo>
                    <a:pt x="201" y="97"/>
                    <a:pt x="193" y="94"/>
                    <a:pt x="187" y="87"/>
                  </a:cubicBezTo>
                  <a:cubicBezTo>
                    <a:pt x="181" y="81"/>
                    <a:pt x="178" y="71"/>
                    <a:pt x="178" y="59"/>
                  </a:cubicBezTo>
                  <a:cubicBezTo>
                    <a:pt x="178" y="51"/>
                    <a:pt x="180" y="45"/>
                    <a:pt x="183" y="39"/>
                  </a:cubicBezTo>
                  <a:close/>
                  <a:moveTo>
                    <a:pt x="104" y="30"/>
                  </a:moveTo>
                  <a:cubicBezTo>
                    <a:pt x="110" y="24"/>
                    <a:pt x="119" y="21"/>
                    <a:pt x="131" y="21"/>
                  </a:cubicBezTo>
                  <a:cubicBezTo>
                    <a:pt x="142" y="21"/>
                    <a:pt x="151" y="24"/>
                    <a:pt x="157" y="30"/>
                  </a:cubicBezTo>
                  <a:cubicBezTo>
                    <a:pt x="163" y="37"/>
                    <a:pt x="166" y="47"/>
                    <a:pt x="166" y="59"/>
                  </a:cubicBezTo>
                  <a:cubicBezTo>
                    <a:pt x="166" y="71"/>
                    <a:pt x="163" y="81"/>
                    <a:pt x="157" y="87"/>
                  </a:cubicBezTo>
                  <a:cubicBezTo>
                    <a:pt x="151" y="94"/>
                    <a:pt x="142" y="97"/>
                    <a:pt x="131" y="97"/>
                  </a:cubicBezTo>
                  <a:cubicBezTo>
                    <a:pt x="119" y="97"/>
                    <a:pt x="110" y="94"/>
                    <a:pt x="104" y="87"/>
                  </a:cubicBezTo>
                  <a:cubicBezTo>
                    <a:pt x="98" y="81"/>
                    <a:pt x="95" y="71"/>
                    <a:pt x="95" y="59"/>
                  </a:cubicBezTo>
                  <a:cubicBezTo>
                    <a:pt x="95" y="46"/>
                    <a:pt x="98" y="37"/>
                    <a:pt x="104" y="30"/>
                  </a:cubicBezTo>
                  <a:close/>
                  <a:moveTo>
                    <a:pt x="21" y="22"/>
                  </a:moveTo>
                  <a:cubicBezTo>
                    <a:pt x="44" y="22"/>
                    <a:pt x="44" y="22"/>
                    <a:pt x="44" y="22"/>
                  </a:cubicBezTo>
                  <a:cubicBezTo>
                    <a:pt x="57" y="22"/>
                    <a:pt x="66" y="25"/>
                    <a:pt x="73" y="31"/>
                  </a:cubicBezTo>
                  <a:cubicBezTo>
                    <a:pt x="80" y="38"/>
                    <a:pt x="83" y="47"/>
                    <a:pt x="83" y="58"/>
                  </a:cubicBezTo>
                  <a:cubicBezTo>
                    <a:pt x="83" y="71"/>
                    <a:pt x="79" y="80"/>
                    <a:pt x="72" y="87"/>
                  </a:cubicBezTo>
                  <a:cubicBezTo>
                    <a:pt x="65" y="93"/>
                    <a:pt x="55" y="96"/>
                    <a:pt x="42" y="96"/>
                  </a:cubicBezTo>
                  <a:cubicBezTo>
                    <a:pt x="21" y="96"/>
                    <a:pt x="21" y="96"/>
                    <a:pt x="21" y="96"/>
                  </a:cubicBezTo>
                  <a:lnTo>
                    <a:pt x="21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5" name="Freeform 671"/>
            <p:cNvSpPr>
              <a:spLocks/>
            </p:cNvSpPr>
            <p:nvPr/>
          </p:nvSpPr>
          <p:spPr bwMode="auto">
            <a:xfrm>
              <a:off x="7068" y="2560"/>
              <a:ext cx="19" cy="32"/>
            </a:xfrm>
            <a:custGeom>
              <a:avLst/>
              <a:gdLst>
                <a:gd name="T0" fmla="*/ 29 w 29"/>
                <a:gd name="T1" fmla="*/ 24 h 48"/>
                <a:gd name="T2" fmla="*/ 8 w 29"/>
                <a:gd name="T3" fmla="*/ 0 h 48"/>
                <a:gd name="T4" fmla="*/ 0 w 29"/>
                <a:gd name="T5" fmla="*/ 0 h 48"/>
                <a:gd name="T6" fmla="*/ 0 w 29"/>
                <a:gd name="T7" fmla="*/ 48 h 48"/>
                <a:gd name="T8" fmla="*/ 7 w 29"/>
                <a:gd name="T9" fmla="*/ 48 h 48"/>
                <a:gd name="T10" fmla="*/ 29 w 29"/>
                <a:gd name="T11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8">
                  <a:moveTo>
                    <a:pt x="29" y="24"/>
                  </a:moveTo>
                  <a:cubicBezTo>
                    <a:pt x="29" y="8"/>
                    <a:pt x="22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22" y="48"/>
                    <a:pt x="29" y="40"/>
                    <a:pt x="29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46" name="Group 674"/>
          <p:cNvGrpSpPr>
            <a:grpSpLocks noChangeAspect="1"/>
          </p:cNvGrpSpPr>
          <p:nvPr/>
        </p:nvGrpSpPr>
        <p:grpSpPr bwMode="auto">
          <a:xfrm>
            <a:off x="7897264" y="3743938"/>
            <a:ext cx="367631" cy="367631"/>
            <a:chOff x="6082" y="3636"/>
            <a:chExt cx="340" cy="340"/>
          </a:xfrm>
          <a:solidFill>
            <a:schemeClr val="accent1"/>
          </a:solidFill>
        </p:grpSpPr>
        <p:sp>
          <p:nvSpPr>
            <p:cNvPr id="847" name="Freeform 675"/>
            <p:cNvSpPr>
              <a:spLocks noEditPoints="1"/>
            </p:cNvSpPr>
            <p:nvPr/>
          </p:nvSpPr>
          <p:spPr bwMode="auto">
            <a:xfrm>
              <a:off x="6082" y="363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8" name="Freeform 676"/>
            <p:cNvSpPr>
              <a:spLocks noEditPoints="1"/>
            </p:cNvSpPr>
            <p:nvPr/>
          </p:nvSpPr>
          <p:spPr bwMode="auto">
            <a:xfrm>
              <a:off x="6152" y="3700"/>
              <a:ext cx="199" cy="212"/>
            </a:xfrm>
            <a:custGeom>
              <a:avLst/>
              <a:gdLst>
                <a:gd name="T0" fmla="*/ 267 w 299"/>
                <a:gd name="T1" fmla="*/ 117 h 320"/>
                <a:gd name="T2" fmla="*/ 266 w 299"/>
                <a:gd name="T3" fmla="*/ 81 h 320"/>
                <a:gd name="T4" fmla="*/ 189 w 299"/>
                <a:gd name="T5" fmla="*/ 3 h 320"/>
                <a:gd name="T6" fmla="*/ 182 w 299"/>
                <a:gd name="T7" fmla="*/ 0 h 320"/>
                <a:gd name="T8" fmla="*/ 32 w 299"/>
                <a:gd name="T9" fmla="*/ 10 h 320"/>
                <a:gd name="T10" fmla="*/ 11 w 299"/>
                <a:gd name="T11" fmla="*/ 117 h 320"/>
                <a:gd name="T12" fmla="*/ 0 w 299"/>
                <a:gd name="T13" fmla="*/ 266 h 320"/>
                <a:gd name="T14" fmla="*/ 32 w 299"/>
                <a:gd name="T15" fmla="*/ 277 h 320"/>
                <a:gd name="T16" fmla="*/ 43 w 299"/>
                <a:gd name="T17" fmla="*/ 320 h 320"/>
                <a:gd name="T18" fmla="*/ 267 w 299"/>
                <a:gd name="T19" fmla="*/ 309 h 320"/>
                <a:gd name="T20" fmla="*/ 288 w 299"/>
                <a:gd name="T21" fmla="*/ 277 h 320"/>
                <a:gd name="T22" fmla="*/ 299 w 299"/>
                <a:gd name="T23" fmla="*/ 128 h 320"/>
                <a:gd name="T24" fmla="*/ 192 w 299"/>
                <a:gd name="T25" fmla="*/ 36 h 320"/>
                <a:gd name="T26" fmla="*/ 192 w 299"/>
                <a:gd name="T27" fmla="*/ 74 h 320"/>
                <a:gd name="T28" fmla="*/ 54 w 299"/>
                <a:gd name="T29" fmla="*/ 21 h 320"/>
                <a:gd name="T30" fmla="*/ 171 w 299"/>
                <a:gd name="T31" fmla="*/ 85 h 320"/>
                <a:gd name="T32" fmla="*/ 246 w 299"/>
                <a:gd name="T33" fmla="*/ 96 h 320"/>
                <a:gd name="T34" fmla="*/ 54 w 299"/>
                <a:gd name="T35" fmla="*/ 117 h 320"/>
                <a:gd name="T36" fmla="*/ 246 w 299"/>
                <a:gd name="T37" fmla="*/ 298 h 320"/>
                <a:gd name="T38" fmla="*/ 54 w 299"/>
                <a:gd name="T39" fmla="*/ 277 h 320"/>
                <a:gd name="T40" fmla="*/ 246 w 299"/>
                <a:gd name="T41" fmla="*/ 298 h 320"/>
                <a:gd name="T42" fmla="*/ 22 w 299"/>
                <a:gd name="T43" fmla="*/ 256 h 320"/>
                <a:gd name="T44" fmla="*/ 278 w 299"/>
                <a:gd name="T45" fmla="*/ 138 h 320"/>
                <a:gd name="T46" fmla="*/ 209 w 299"/>
                <a:gd name="T47" fmla="*/ 225 h 320"/>
                <a:gd name="T48" fmla="*/ 205 w 299"/>
                <a:gd name="T49" fmla="*/ 177 h 320"/>
                <a:gd name="T50" fmla="*/ 235 w 299"/>
                <a:gd name="T51" fmla="*/ 159 h 320"/>
                <a:gd name="T52" fmla="*/ 252 w 299"/>
                <a:gd name="T53" fmla="*/ 177 h 320"/>
                <a:gd name="T54" fmla="*/ 235 w 299"/>
                <a:gd name="T55" fmla="*/ 172 h 320"/>
                <a:gd name="T56" fmla="*/ 217 w 299"/>
                <a:gd name="T57" fmla="*/ 197 h 320"/>
                <a:gd name="T58" fmla="*/ 254 w 299"/>
                <a:gd name="T59" fmla="*/ 218 h 320"/>
                <a:gd name="T60" fmla="*/ 234 w 299"/>
                <a:gd name="T61" fmla="*/ 235 h 320"/>
                <a:gd name="T62" fmla="*/ 153 w 299"/>
                <a:gd name="T63" fmla="*/ 235 h 320"/>
                <a:gd name="T64" fmla="*/ 188 w 299"/>
                <a:gd name="T65" fmla="*/ 197 h 320"/>
                <a:gd name="T66" fmla="*/ 153 w 299"/>
                <a:gd name="T67" fmla="*/ 159 h 320"/>
                <a:gd name="T68" fmla="*/ 117 w 299"/>
                <a:gd name="T69" fmla="*/ 197 h 320"/>
                <a:gd name="T70" fmla="*/ 153 w 299"/>
                <a:gd name="T71" fmla="*/ 235 h 320"/>
                <a:gd name="T72" fmla="*/ 153 w 299"/>
                <a:gd name="T73" fmla="*/ 172 h 320"/>
                <a:gd name="T74" fmla="*/ 153 w 299"/>
                <a:gd name="T75" fmla="*/ 222 h 320"/>
                <a:gd name="T76" fmla="*/ 134 w 299"/>
                <a:gd name="T77" fmla="*/ 197 h 320"/>
                <a:gd name="T78" fmla="*/ 94 w 299"/>
                <a:gd name="T79" fmla="*/ 225 h 320"/>
                <a:gd name="T80" fmla="*/ 95 w 299"/>
                <a:gd name="T81" fmla="*/ 169 h 320"/>
                <a:gd name="T82" fmla="*/ 43 w 299"/>
                <a:gd name="T83" fmla="*/ 160 h 320"/>
                <a:gd name="T84" fmla="*/ 64 w 299"/>
                <a:gd name="T85" fmla="*/ 234 h 320"/>
                <a:gd name="T86" fmla="*/ 59 w 299"/>
                <a:gd name="T87" fmla="*/ 173 h 320"/>
                <a:gd name="T88" fmla="*/ 88 w 299"/>
                <a:gd name="T89" fmla="*/ 197 h 320"/>
                <a:gd name="T90" fmla="*/ 59 w 299"/>
                <a:gd name="T91" fmla="*/ 2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9" h="320">
                  <a:moveTo>
                    <a:pt x="288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67" y="84"/>
                    <a:pt x="267" y="82"/>
                    <a:pt x="266" y="81"/>
                  </a:cubicBezTo>
                  <a:cubicBezTo>
                    <a:pt x="266" y="80"/>
                    <a:pt x="265" y="78"/>
                    <a:pt x="264" y="77"/>
                  </a:cubicBezTo>
                  <a:cubicBezTo>
                    <a:pt x="189" y="3"/>
                    <a:pt x="189" y="3"/>
                    <a:pt x="189" y="3"/>
                  </a:cubicBezTo>
                  <a:cubicBezTo>
                    <a:pt x="188" y="2"/>
                    <a:pt x="187" y="1"/>
                    <a:pt x="186" y="0"/>
                  </a:cubicBezTo>
                  <a:cubicBezTo>
                    <a:pt x="184" y="0"/>
                    <a:pt x="183" y="0"/>
                    <a:pt x="18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7" y="0"/>
                    <a:pt x="32" y="4"/>
                    <a:pt x="32" y="1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2" y="309"/>
                    <a:pt x="32" y="309"/>
                    <a:pt x="32" y="309"/>
                  </a:cubicBezTo>
                  <a:cubicBezTo>
                    <a:pt x="32" y="315"/>
                    <a:pt x="37" y="320"/>
                    <a:pt x="43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62" y="320"/>
                    <a:pt x="267" y="315"/>
                    <a:pt x="267" y="309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9" y="272"/>
                    <a:pt x="299" y="266"/>
                  </a:cubicBezTo>
                  <a:cubicBezTo>
                    <a:pt x="299" y="128"/>
                    <a:pt x="299" y="128"/>
                    <a:pt x="299" y="128"/>
                  </a:cubicBezTo>
                  <a:cubicBezTo>
                    <a:pt x="299" y="122"/>
                    <a:pt x="294" y="117"/>
                    <a:pt x="288" y="117"/>
                  </a:cubicBezTo>
                  <a:close/>
                  <a:moveTo>
                    <a:pt x="192" y="36"/>
                  </a:moveTo>
                  <a:cubicBezTo>
                    <a:pt x="231" y="74"/>
                    <a:pt x="231" y="74"/>
                    <a:pt x="231" y="74"/>
                  </a:cubicBezTo>
                  <a:cubicBezTo>
                    <a:pt x="192" y="74"/>
                    <a:pt x="192" y="74"/>
                    <a:pt x="192" y="74"/>
                  </a:cubicBezTo>
                  <a:lnTo>
                    <a:pt x="192" y="36"/>
                  </a:lnTo>
                  <a:close/>
                  <a:moveTo>
                    <a:pt x="54" y="21"/>
                  </a:moveTo>
                  <a:cubicBezTo>
                    <a:pt x="171" y="21"/>
                    <a:pt x="171" y="21"/>
                    <a:pt x="171" y="21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91"/>
                    <a:pt x="176" y="96"/>
                    <a:pt x="182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7"/>
                    <a:pt x="246" y="117"/>
                    <a:pt x="246" y="117"/>
                  </a:cubicBezTo>
                  <a:cubicBezTo>
                    <a:pt x="54" y="117"/>
                    <a:pt x="54" y="117"/>
                    <a:pt x="54" y="117"/>
                  </a:cubicBezTo>
                  <a:lnTo>
                    <a:pt x="54" y="21"/>
                  </a:lnTo>
                  <a:close/>
                  <a:moveTo>
                    <a:pt x="246" y="298"/>
                  </a:moveTo>
                  <a:cubicBezTo>
                    <a:pt x="54" y="298"/>
                    <a:pt x="54" y="298"/>
                    <a:pt x="54" y="298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246" y="277"/>
                    <a:pt x="246" y="277"/>
                    <a:pt x="246" y="277"/>
                  </a:cubicBezTo>
                  <a:lnTo>
                    <a:pt x="246" y="298"/>
                  </a:lnTo>
                  <a:close/>
                  <a:moveTo>
                    <a:pt x="278" y="256"/>
                  </a:moveTo>
                  <a:cubicBezTo>
                    <a:pt x="22" y="256"/>
                    <a:pt x="22" y="256"/>
                    <a:pt x="22" y="256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78" y="138"/>
                    <a:pt x="278" y="138"/>
                    <a:pt x="278" y="138"/>
                  </a:cubicBezTo>
                  <a:lnTo>
                    <a:pt x="278" y="256"/>
                  </a:lnTo>
                  <a:close/>
                  <a:moveTo>
                    <a:pt x="209" y="225"/>
                  </a:moveTo>
                  <a:cubicBezTo>
                    <a:pt x="203" y="219"/>
                    <a:pt x="200" y="209"/>
                    <a:pt x="200" y="197"/>
                  </a:cubicBezTo>
                  <a:cubicBezTo>
                    <a:pt x="200" y="189"/>
                    <a:pt x="202" y="183"/>
                    <a:pt x="205" y="177"/>
                  </a:cubicBezTo>
                  <a:cubicBezTo>
                    <a:pt x="207" y="171"/>
                    <a:pt x="211" y="166"/>
                    <a:pt x="217" y="163"/>
                  </a:cubicBezTo>
                  <a:cubicBezTo>
                    <a:pt x="222" y="160"/>
                    <a:pt x="228" y="159"/>
                    <a:pt x="235" y="159"/>
                  </a:cubicBezTo>
                  <a:cubicBezTo>
                    <a:pt x="243" y="159"/>
                    <a:pt x="250" y="160"/>
                    <a:pt x="257" y="164"/>
                  </a:cubicBezTo>
                  <a:cubicBezTo>
                    <a:pt x="252" y="177"/>
                    <a:pt x="252" y="177"/>
                    <a:pt x="252" y="177"/>
                  </a:cubicBezTo>
                  <a:cubicBezTo>
                    <a:pt x="249" y="175"/>
                    <a:pt x="246" y="174"/>
                    <a:pt x="244" y="173"/>
                  </a:cubicBezTo>
                  <a:cubicBezTo>
                    <a:pt x="241" y="172"/>
                    <a:pt x="238" y="172"/>
                    <a:pt x="235" y="172"/>
                  </a:cubicBezTo>
                  <a:cubicBezTo>
                    <a:pt x="229" y="172"/>
                    <a:pt x="225" y="174"/>
                    <a:pt x="221" y="179"/>
                  </a:cubicBezTo>
                  <a:cubicBezTo>
                    <a:pt x="218" y="183"/>
                    <a:pt x="217" y="189"/>
                    <a:pt x="217" y="197"/>
                  </a:cubicBezTo>
                  <a:cubicBezTo>
                    <a:pt x="217" y="214"/>
                    <a:pt x="223" y="222"/>
                    <a:pt x="235" y="222"/>
                  </a:cubicBezTo>
                  <a:cubicBezTo>
                    <a:pt x="241" y="222"/>
                    <a:pt x="247" y="221"/>
                    <a:pt x="254" y="218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48" y="234"/>
                    <a:pt x="241" y="235"/>
                    <a:pt x="234" y="235"/>
                  </a:cubicBezTo>
                  <a:cubicBezTo>
                    <a:pt x="223" y="235"/>
                    <a:pt x="215" y="232"/>
                    <a:pt x="209" y="225"/>
                  </a:cubicBezTo>
                  <a:close/>
                  <a:moveTo>
                    <a:pt x="153" y="235"/>
                  </a:moveTo>
                  <a:cubicBezTo>
                    <a:pt x="164" y="235"/>
                    <a:pt x="173" y="232"/>
                    <a:pt x="179" y="225"/>
                  </a:cubicBezTo>
                  <a:cubicBezTo>
                    <a:pt x="185" y="219"/>
                    <a:pt x="188" y="209"/>
                    <a:pt x="188" y="197"/>
                  </a:cubicBezTo>
                  <a:cubicBezTo>
                    <a:pt x="188" y="185"/>
                    <a:pt x="185" y="175"/>
                    <a:pt x="179" y="168"/>
                  </a:cubicBezTo>
                  <a:cubicBezTo>
                    <a:pt x="173" y="162"/>
                    <a:pt x="164" y="159"/>
                    <a:pt x="153" y="159"/>
                  </a:cubicBezTo>
                  <a:cubicBezTo>
                    <a:pt x="141" y="159"/>
                    <a:pt x="132" y="162"/>
                    <a:pt x="126" y="168"/>
                  </a:cubicBezTo>
                  <a:cubicBezTo>
                    <a:pt x="120" y="175"/>
                    <a:pt x="117" y="184"/>
                    <a:pt x="117" y="197"/>
                  </a:cubicBezTo>
                  <a:cubicBezTo>
                    <a:pt x="117" y="209"/>
                    <a:pt x="120" y="219"/>
                    <a:pt x="126" y="225"/>
                  </a:cubicBezTo>
                  <a:cubicBezTo>
                    <a:pt x="132" y="232"/>
                    <a:pt x="141" y="235"/>
                    <a:pt x="153" y="235"/>
                  </a:cubicBezTo>
                  <a:close/>
                  <a:moveTo>
                    <a:pt x="138" y="178"/>
                  </a:moveTo>
                  <a:cubicBezTo>
                    <a:pt x="142" y="174"/>
                    <a:pt x="146" y="172"/>
                    <a:pt x="153" y="172"/>
                  </a:cubicBezTo>
                  <a:cubicBezTo>
                    <a:pt x="165" y="172"/>
                    <a:pt x="172" y="180"/>
                    <a:pt x="172" y="197"/>
                  </a:cubicBezTo>
                  <a:cubicBezTo>
                    <a:pt x="172" y="214"/>
                    <a:pt x="165" y="222"/>
                    <a:pt x="153" y="222"/>
                  </a:cubicBezTo>
                  <a:cubicBezTo>
                    <a:pt x="146" y="222"/>
                    <a:pt x="142" y="220"/>
                    <a:pt x="138" y="216"/>
                  </a:cubicBezTo>
                  <a:cubicBezTo>
                    <a:pt x="135" y="212"/>
                    <a:pt x="134" y="205"/>
                    <a:pt x="134" y="197"/>
                  </a:cubicBezTo>
                  <a:cubicBezTo>
                    <a:pt x="134" y="189"/>
                    <a:pt x="135" y="182"/>
                    <a:pt x="138" y="178"/>
                  </a:cubicBezTo>
                  <a:close/>
                  <a:moveTo>
                    <a:pt x="94" y="225"/>
                  </a:moveTo>
                  <a:cubicBezTo>
                    <a:pt x="101" y="218"/>
                    <a:pt x="105" y="209"/>
                    <a:pt x="105" y="196"/>
                  </a:cubicBezTo>
                  <a:cubicBezTo>
                    <a:pt x="105" y="185"/>
                    <a:pt x="102" y="176"/>
                    <a:pt x="95" y="169"/>
                  </a:cubicBezTo>
                  <a:cubicBezTo>
                    <a:pt x="88" y="163"/>
                    <a:pt x="79" y="160"/>
                    <a:pt x="66" y="16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7" y="234"/>
                    <a:pt x="87" y="231"/>
                    <a:pt x="94" y="225"/>
                  </a:cubicBezTo>
                  <a:close/>
                  <a:moveTo>
                    <a:pt x="59" y="173"/>
                  </a:moveTo>
                  <a:cubicBezTo>
                    <a:pt x="67" y="173"/>
                    <a:pt x="67" y="173"/>
                    <a:pt x="67" y="173"/>
                  </a:cubicBezTo>
                  <a:cubicBezTo>
                    <a:pt x="81" y="173"/>
                    <a:pt x="88" y="181"/>
                    <a:pt x="88" y="197"/>
                  </a:cubicBezTo>
                  <a:cubicBezTo>
                    <a:pt x="88" y="213"/>
                    <a:pt x="81" y="221"/>
                    <a:pt x="66" y="221"/>
                  </a:cubicBezTo>
                  <a:cubicBezTo>
                    <a:pt x="59" y="221"/>
                    <a:pt x="59" y="221"/>
                    <a:pt x="59" y="221"/>
                  </a:cubicBezTo>
                  <a:lnTo>
                    <a:pt x="59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49" name="TextBox 848"/>
          <p:cNvSpPr txBox="1"/>
          <p:nvPr/>
        </p:nvSpPr>
        <p:spPr>
          <a:xfrm>
            <a:off x="1486188" y="336275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uffering 1</a:t>
            </a:r>
          </a:p>
        </p:txBody>
      </p:sp>
      <p:sp>
        <p:nvSpPr>
          <p:cNvPr id="850" name="TextBox 849"/>
          <p:cNvSpPr txBox="1"/>
          <p:nvPr/>
        </p:nvSpPr>
        <p:spPr>
          <a:xfrm>
            <a:off x="2472860" y="336275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uffering 21</a:t>
            </a:r>
          </a:p>
        </p:txBody>
      </p:sp>
      <p:sp>
        <p:nvSpPr>
          <p:cNvPr id="851" name="Freeform 696"/>
          <p:cNvSpPr>
            <a:spLocks noChangeAspect="1" noEditPoints="1"/>
          </p:cNvSpPr>
          <p:nvPr/>
        </p:nvSpPr>
        <p:spPr bwMode="auto">
          <a:xfrm>
            <a:off x="1425967" y="2905074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01 w 512"/>
              <a:gd name="T11" fmla="*/ 195 h 512"/>
              <a:gd name="T12" fmla="*/ 355 w 512"/>
              <a:gd name="T13" fmla="*/ 141 h 512"/>
              <a:gd name="T14" fmla="*/ 370 w 512"/>
              <a:gd name="T15" fmla="*/ 141 h 512"/>
              <a:gd name="T16" fmla="*/ 370 w 512"/>
              <a:gd name="T17" fmla="*/ 157 h 512"/>
              <a:gd name="T18" fmla="*/ 317 w 512"/>
              <a:gd name="T19" fmla="*/ 210 h 512"/>
              <a:gd name="T20" fmla="*/ 309 w 512"/>
              <a:gd name="T21" fmla="*/ 213 h 512"/>
              <a:gd name="T22" fmla="*/ 301 w 512"/>
              <a:gd name="T23" fmla="*/ 210 h 512"/>
              <a:gd name="T24" fmla="*/ 301 w 512"/>
              <a:gd name="T25" fmla="*/ 195 h 512"/>
              <a:gd name="T26" fmla="*/ 96 w 512"/>
              <a:gd name="T27" fmla="*/ 256 h 512"/>
              <a:gd name="T28" fmla="*/ 106 w 512"/>
              <a:gd name="T29" fmla="*/ 245 h 512"/>
              <a:gd name="T30" fmla="*/ 181 w 512"/>
              <a:gd name="T31" fmla="*/ 245 h 512"/>
              <a:gd name="T32" fmla="*/ 192 w 512"/>
              <a:gd name="T33" fmla="*/ 256 h 512"/>
              <a:gd name="T34" fmla="*/ 181 w 512"/>
              <a:gd name="T35" fmla="*/ 266 h 512"/>
              <a:gd name="T36" fmla="*/ 106 w 512"/>
              <a:gd name="T37" fmla="*/ 266 h 512"/>
              <a:gd name="T38" fmla="*/ 96 w 512"/>
              <a:gd name="T39" fmla="*/ 256 h 512"/>
              <a:gd name="T40" fmla="*/ 210 w 512"/>
              <a:gd name="T41" fmla="*/ 317 h 512"/>
              <a:gd name="T42" fmla="*/ 157 w 512"/>
              <a:gd name="T43" fmla="*/ 370 h 512"/>
              <a:gd name="T44" fmla="*/ 149 w 512"/>
              <a:gd name="T45" fmla="*/ 373 h 512"/>
              <a:gd name="T46" fmla="*/ 141 w 512"/>
              <a:gd name="T47" fmla="*/ 370 h 512"/>
              <a:gd name="T48" fmla="*/ 141 w 512"/>
              <a:gd name="T49" fmla="*/ 355 h 512"/>
              <a:gd name="T50" fmla="*/ 195 w 512"/>
              <a:gd name="T51" fmla="*/ 301 h 512"/>
              <a:gd name="T52" fmla="*/ 210 w 512"/>
              <a:gd name="T53" fmla="*/ 301 h 512"/>
              <a:gd name="T54" fmla="*/ 210 w 512"/>
              <a:gd name="T55" fmla="*/ 317 h 512"/>
              <a:gd name="T56" fmla="*/ 266 w 512"/>
              <a:gd name="T57" fmla="*/ 405 h 512"/>
              <a:gd name="T58" fmla="*/ 256 w 512"/>
              <a:gd name="T59" fmla="*/ 416 h 512"/>
              <a:gd name="T60" fmla="*/ 245 w 512"/>
              <a:gd name="T61" fmla="*/ 405 h 512"/>
              <a:gd name="T62" fmla="*/ 245 w 512"/>
              <a:gd name="T63" fmla="*/ 330 h 512"/>
              <a:gd name="T64" fmla="*/ 256 w 512"/>
              <a:gd name="T65" fmla="*/ 320 h 512"/>
              <a:gd name="T66" fmla="*/ 266 w 512"/>
              <a:gd name="T67" fmla="*/ 330 h 512"/>
              <a:gd name="T68" fmla="*/ 266 w 512"/>
              <a:gd name="T69" fmla="*/ 405 h 512"/>
              <a:gd name="T70" fmla="*/ 266 w 512"/>
              <a:gd name="T71" fmla="*/ 181 h 512"/>
              <a:gd name="T72" fmla="*/ 256 w 512"/>
              <a:gd name="T73" fmla="*/ 192 h 512"/>
              <a:gd name="T74" fmla="*/ 245 w 512"/>
              <a:gd name="T75" fmla="*/ 181 h 512"/>
              <a:gd name="T76" fmla="*/ 245 w 512"/>
              <a:gd name="T77" fmla="*/ 106 h 512"/>
              <a:gd name="T78" fmla="*/ 256 w 512"/>
              <a:gd name="T79" fmla="*/ 96 h 512"/>
              <a:gd name="T80" fmla="*/ 266 w 512"/>
              <a:gd name="T81" fmla="*/ 106 h 512"/>
              <a:gd name="T82" fmla="*/ 266 w 512"/>
              <a:gd name="T83" fmla="*/ 181 h 512"/>
              <a:gd name="T84" fmla="*/ 370 w 512"/>
              <a:gd name="T85" fmla="*/ 370 h 512"/>
              <a:gd name="T86" fmla="*/ 362 w 512"/>
              <a:gd name="T87" fmla="*/ 373 h 512"/>
              <a:gd name="T88" fmla="*/ 355 w 512"/>
              <a:gd name="T89" fmla="*/ 370 h 512"/>
              <a:gd name="T90" fmla="*/ 301 w 512"/>
              <a:gd name="T91" fmla="*/ 317 h 512"/>
              <a:gd name="T92" fmla="*/ 301 w 512"/>
              <a:gd name="T93" fmla="*/ 301 h 512"/>
              <a:gd name="T94" fmla="*/ 317 w 512"/>
              <a:gd name="T95" fmla="*/ 301 h 512"/>
              <a:gd name="T96" fmla="*/ 370 w 512"/>
              <a:gd name="T97" fmla="*/ 355 h 512"/>
              <a:gd name="T98" fmla="*/ 370 w 512"/>
              <a:gd name="T99" fmla="*/ 370 h 512"/>
              <a:gd name="T100" fmla="*/ 405 w 512"/>
              <a:gd name="T101" fmla="*/ 266 h 512"/>
              <a:gd name="T102" fmla="*/ 330 w 512"/>
              <a:gd name="T103" fmla="*/ 266 h 512"/>
              <a:gd name="T104" fmla="*/ 320 w 512"/>
              <a:gd name="T105" fmla="*/ 256 h 512"/>
              <a:gd name="T106" fmla="*/ 330 w 512"/>
              <a:gd name="T107" fmla="*/ 245 h 512"/>
              <a:gd name="T108" fmla="*/ 405 w 512"/>
              <a:gd name="T109" fmla="*/ 245 h 512"/>
              <a:gd name="T110" fmla="*/ 416 w 512"/>
              <a:gd name="T111" fmla="*/ 256 h 512"/>
              <a:gd name="T112" fmla="*/ 405 w 512"/>
              <a:gd name="T11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1" y="195"/>
                </a:moveTo>
                <a:cubicBezTo>
                  <a:pt x="355" y="141"/>
                  <a:pt x="355" y="141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374" y="146"/>
                  <a:pt x="374" y="152"/>
                  <a:pt x="370" y="157"/>
                </a:cubicBezTo>
                <a:cubicBezTo>
                  <a:pt x="317" y="210"/>
                  <a:pt x="317" y="210"/>
                  <a:pt x="317" y="210"/>
                </a:cubicBezTo>
                <a:cubicBezTo>
                  <a:pt x="314" y="212"/>
                  <a:pt x="312" y="213"/>
                  <a:pt x="309" y="213"/>
                </a:cubicBezTo>
                <a:cubicBezTo>
                  <a:pt x="306" y="213"/>
                  <a:pt x="304" y="212"/>
                  <a:pt x="301" y="210"/>
                </a:cubicBezTo>
                <a:cubicBezTo>
                  <a:pt x="297" y="206"/>
                  <a:pt x="297" y="199"/>
                  <a:pt x="301" y="195"/>
                </a:cubicBezTo>
                <a:close/>
                <a:moveTo>
                  <a:pt x="96" y="256"/>
                </a:moveTo>
                <a:cubicBezTo>
                  <a:pt x="96" y="250"/>
                  <a:pt x="100" y="245"/>
                  <a:pt x="10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87" y="245"/>
                  <a:pt x="192" y="250"/>
                  <a:pt x="192" y="256"/>
                </a:cubicBezTo>
                <a:cubicBezTo>
                  <a:pt x="192" y="262"/>
                  <a:pt x="187" y="266"/>
                  <a:pt x="181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lose/>
                <a:moveTo>
                  <a:pt x="210" y="317"/>
                </a:moveTo>
                <a:cubicBezTo>
                  <a:pt x="157" y="370"/>
                  <a:pt x="157" y="370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137" y="366"/>
                  <a:pt x="137" y="359"/>
                  <a:pt x="141" y="355"/>
                </a:cubicBezTo>
                <a:cubicBezTo>
                  <a:pt x="195" y="301"/>
                  <a:pt x="195" y="301"/>
                  <a:pt x="195" y="301"/>
                </a:cubicBezTo>
                <a:cubicBezTo>
                  <a:pt x="199" y="297"/>
                  <a:pt x="206" y="297"/>
                  <a:pt x="210" y="301"/>
                </a:cubicBezTo>
                <a:cubicBezTo>
                  <a:pt x="214" y="306"/>
                  <a:pt x="214" y="312"/>
                  <a:pt x="210" y="317"/>
                </a:cubicBezTo>
                <a:close/>
                <a:moveTo>
                  <a:pt x="266" y="405"/>
                </a:moveTo>
                <a:cubicBezTo>
                  <a:pt x="266" y="411"/>
                  <a:pt x="262" y="416"/>
                  <a:pt x="256" y="416"/>
                </a:cubicBezTo>
                <a:cubicBezTo>
                  <a:pt x="250" y="416"/>
                  <a:pt x="245" y="411"/>
                  <a:pt x="245" y="405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24"/>
                  <a:pt x="250" y="320"/>
                  <a:pt x="256" y="320"/>
                </a:cubicBezTo>
                <a:cubicBezTo>
                  <a:pt x="262" y="320"/>
                  <a:pt x="266" y="324"/>
                  <a:pt x="266" y="330"/>
                </a:cubicBezTo>
                <a:lnTo>
                  <a:pt x="266" y="405"/>
                </a:lnTo>
                <a:close/>
                <a:moveTo>
                  <a:pt x="266" y="181"/>
                </a:moveTo>
                <a:cubicBezTo>
                  <a:pt x="266" y="187"/>
                  <a:pt x="262" y="192"/>
                  <a:pt x="256" y="192"/>
                </a:cubicBezTo>
                <a:cubicBezTo>
                  <a:pt x="250" y="192"/>
                  <a:pt x="245" y="187"/>
                  <a:pt x="245" y="181"/>
                </a:cubicBezTo>
                <a:cubicBezTo>
                  <a:pt x="245" y="106"/>
                  <a:pt x="245" y="106"/>
                  <a:pt x="245" y="106"/>
                </a:cubicBezTo>
                <a:cubicBezTo>
                  <a:pt x="245" y="100"/>
                  <a:pt x="250" y="96"/>
                  <a:pt x="256" y="96"/>
                </a:cubicBezTo>
                <a:cubicBezTo>
                  <a:pt x="262" y="96"/>
                  <a:pt x="266" y="100"/>
                  <a:pt x="266" y="106"/>
                </a:cubicBezTo>
                <a:lnTo>
                  <a:pt x="266" y="181"/>
                </a:lnTo>
                <a:close/>
                <a:moveTo>
                  <a:pt x="370" y="370"/>
                </a:moveTo>
                <a:cubicBezTo>
                  <a:pt x="368" y="372"/>
                  <a:pt x="365" y="373"/>
                  <a:pt x="362" y="373"/>
                </a:cubicBezTo>
                <a:cubicBezTo>
                  <a:pt x="360" y="373"/>
                  <a:pt x="357" y="372"/>
                  <a:pt x="355" y="370"/>
                </a:cubicBezTo>
                <a:cubicBezTo>
                  <a:pt x="301" y="317"/>
                  <a:pt x="301" y="317"/>
                  <a:pt x="301" y="317"/>
                </a:cubicBezTo>
                <a:cubicBezTo>
                  <a:pt x="297" y="312"/>
                  <a:pt x="297" y="306"/>
                  <a:pt x="301" y="301"/>
                </a:cubicBezTo>
                <a:cubicBezTo>
                  <a:pt x="306" y="297"/>
                  <a:pt x="312" y="297"/>
                  <a:pt x="317" y="301"/>
                </a:cubicBezTo>
                <a:cubicBezTo>
                  <a:pt x="370" y="355"/>
                  <a:pt x="370" y="355"/>
                  <a:pt x="370" y="355"/>
                </a:cubicBezTo>
                <a:cubicBezTo>
                  <a:pt x="374" y="359"/>
                  <a:pt x="374" y="366"/>
                  <a:pt x="370" y="370"/>
                </a:cubicBezTo>
                <a:close/>
                <a:moveTo>
                  <a:pt x="405" y="266"/>
                </a:moveTo>
                <a:cubicBezTo>
                  <a:pt x="330" y="266"/>
                  <a:pt x="330" y="266"/>
                  <a:pt x="330" y="266"/>
                </a:cubicBezTo>
                <a:cubicBezTo>
                  <a:pt x="324" y="266"/>
                  <a:pt x="320" y="262"/>
                  <a:pt x="320" y="256"/>
                </a:cubicBezTo>
                <a:cubicBezTo>
                  <a:pt x="320" y="250"/>
                  <a:pt x="324" y="245"/>
                  <a:pt x="330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52" name="Group 699"/>
          <p:cNvGrpSpPr>
            <a:grpSpLocks noChangeAspect="1"/>
          </p:cNvGrpSpPr>
          <p:nvPr/>
        </p:nvGrpSpPr>
        <p:grpSpPr bwMode="auto">
          <a:xfrm>
            <a:off x="1922674" y="2905074"/>
            <a:ext cx="367982" cy="367982"/>
            <a:chOff x="4147" y="2931"/>
            <a:chExt cx="340" cy="340"/>
          </a:xfrm>
          <a:solidFill>
            <a:schemeClr val="accent2"/>
          </a:solidFill>
        </p:grpSpPr>
        <p:sp>
          <p:nvSpPr>
            <p:cNvPr id="853" name="Freeform 852"/>
            <p:cNvSpPr>
              <a:spLocks noEditPoints="1"/>
            </p:cNvSpPr>
            <p:nvPr/>
          </p:nvSpPr>
          <p:spPr bwMode="auto">
            <a:xfrm>
              <a:off x="4147" y="293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4" name="Freeform 853"/>
            <p:cNvSpPr>
              <a:spLocks noEditPoints="1"/>
            </p:cNvSpPr>
            <p:nvPr/>
          </p:nvSpPr>
          <p:spPr bwMode="auto">
            <a:xfrm>
              <a:off x="4211" y="2995"/>
              <a:ext cx="212" cy="212"/>
            </a:xfrm>
            <a:custGeom>
              <a:avLst/>
              <a:gdLst>
                <a:gd name="T0" fmla="*/ 170 w 320"/>
                <a:gd name="T1" fmla="*/ 10 h 320"/>
                <a:gd name="T2" fmla="*/ 170 w 320"/>
                <a:gd name="T3" fmla="*/ 85 h 320"/>
                <a:gd name="T4" fmla="*/ 160 w 320"/>
                <a:gd name="T5" fmla="*/ 96 h 320"/>
                <a:gd name="T6" fmla="*/ 149 w 320"/>
                <a:gd name="T7" fmla="*/ 85 h 320"/>
                <a:gd name="T8" fmla="*/ 149 w 320"/>
                <a:gd name="T9" fmla="*/ 10 h 320"/>
                <a:gd name="T10" fmla="*/ 160 w 320"/>
                <a:gd name="T11" fmla="*/ 0 h 320"/>
                <a:gd name="T12" fmla="*/ 170 w 320"/>
                <a:gd name="T13" fmla="*/ 10 h 320"/>
                <a:gd name="T14" fmla="*/ 213 w 320"/>
                <a:gd name="T15" fmla="*/ 117 h 320"/>
                <a:gd name="T16" fmla="*/ 221 w 320"/>
                <a:gd name="T17" fmla="*/ 114 h 320"/>
                <a:gd name="T18" fmla="*/ 274 w 320"/>
                <a:gd name="T19" fmla="*/ 61 h 320"/>
                <a:gd name="T20" fmla="*/ 274 w 320"/>
                <a:gd name="T21" fmla="*/ 45 h 320"/>
                <a:gd name="T22" fmla="*/ 259 w 320"/>
                <a:gd name="T23" fmla="*/ 45 h 320"/>
                <a:gd name="T24" fmla="*/ 205 w 320"/>
                <a:gd name="T25" fmla="*/ 99 h 320"/>
                <a:gd name="T26" fmla="*/ 205 w 320"/>
                <a:gd name="T27" fmla="*/ 114 h 320"/>
                <a:gd name="T28" fmla="*/ 213 w 320"/>
                <a:gd name="T29" fmla="*/ 117 h 320"/>
                <a:gd name="T30" fmla="*/ 309 w 320"/>
                <a:gd name="T31" fmla="*/ 149 h 320"/>
                <a:gd name="T32" fmla="*/ 234 w 320"/>
                <a:gd name="T33" fmla="*/ 149 h 320"/>
                <a:gd name="T34" fmla="*/ 224 w 320"/>
                <a:gd name="T35" fmla="*/ 160 h 320"/>
                <a:gd name="T36" fmla="*/ 234 w 320"/>
                <a:gd name="T37" fmla="*/ 170 h 320"/>
                <a:gd name="T38" fmla="*/ 309 w 320"/>
                <a:gd name="T39" fmla="*/ 170 h 320"/>
                <a:gd name="T40" fmla="*/ 320 w 320"/>
                <a:gd name="T41" fmla="*/ 160 h 320"/>
                <a:gd name="T42" fmla="*/ 309 w 320"/>
                <a:gd name="T43" fmla="*/ 149 h 320"/>
                <a:gd name="T44" fmla="*/ 221 w 320"/>
                <a:gd name="T45" fmla="*/ 205 h 320"/>
                <a:gd name="T46" fmla="*/ 205 w 320"/>
                <a:gd name="T47" fmla="*/ 205 h 320"/>
                <a:gd name="T48" fmla="*/ 205 w 320"/>
                <a:gd name="T49" fmla="*/ 221 h 320"/>
                <a:gd name="T50" fmla="*/ 259 w 320"/>
                <a:gd name="T51" fmla="*/ 274 h 320"/>
                <a:gd name="T52" fmla="*/ 266 w 320"/>
                <a:gd name="T53" fmla="*/ 277 h 320"/>
                <a:gd name="T54" fmla="*/ 274 w 320"/>
                <a:gd name="T55" fmla="*/ 274 h 320"/>
                <a:gd name="T56" fmla="*/ 274 w 320"/>
                <a:gd name="T57" fmla="*/ 259 h 320"/>
                <a:gd name="T58" fmla="*/ 221 w 320"/>
                <a:gd name="T59" fmla="*/ 205 h 320"/>
                <a:gd name="T60" fmla="*/ 160 w 320"/>
                <a:gd name="T61" fmla="*/ 224 h 320"/>
                <a:gd name="T62" fmla="*/ 149 w 320"/>
                <a:gd name="T63" fmla="*/ 234 h 320"/>
                <a:gd name="T64" fmla="*/ 149 w 320"/>
                <a:gd name="T65" fmla="*/ 309 h 320"/>
                <a:gd name="T66" fmla="*/ 160 w 320"/>
                <a:gd name="T67" fmla="*/ 320 h 320"/>
                <a:gd name="T68" fmla="*/ 170 w 320"/>
                <a:gd name="T69" fmla="*/ 309 h 320"/>
                <a:gd name="T70" fmla="*/ 170 w 320"/>
                <a:gd name="T71" fmla="*/ 234 h 320"/>
                <a:gd name="T72" fmla="*/ 160 w 320"/>
                <a:gd name="T73" fmla="*/ 224 h 320"/>
                <a:gd name="T74" fmla="*/ 99 w 320"/>
                <a:gd name="T75" fmla="*/ 205 h 320"/>
                <a:gd name="T76" fmla="*/ 45 w 320"/>
                <a:gd name="T77" fmla="*/ 259 h 320"/>
                <a:gd name="T78" fmla="*/ 45 w 320"/>
                <a:gd name="T79" fmla="*/ 274 h 320"/>
                <a:gd name="T80" fmla="*/ 53 w 320"/>
                <a:gd name="T81" fmla="*/ 277 h 320"/>
                <a:gd name="T82" fmla="*/ 61 w 320"/>
                <a:gd name="T83" fmla="*/ 274 h 320"/>
                <a:gd name="T84" fmla="*/ 114 w 320"/>
                <a:gd name="T85" fmla="*/ 221 h 320"/>
                <a:gd name="T86" fmla="*/ 114 w 320"/>
                <a:gd name="T87" fmla="*/ 205 h 320"/>
                <a:gd name="T88" fmla="*/ 99 w 320"/>
                <a:gd name="T89" fmla="*/ 205 h 320"/>
                <a:gd name="T90" fmla="*/ 96 w 320"/>
                <a:gd name="T91" fmla="*/ 160 h 320"/>
                <a:gd name="T92" fmla="*/ 85 w 320"/>
                <a:gd name="T93" fmla="*/ 149 h 320"/>
                <a:gd name="T94" fmla="*/ 10 w 320"/>
                <a:gd name="T95" fmla="*/ 149 h 320"/>
                <a:gd name="T96" fmla="*/ 0 w 320"/>
                <a:gd name="T97" fmla="*/ 160 h 320"/>
                <a:gd name="T98" fmla="*/ 10 w 320"/>
                <a:gd name="T99" fmla="*/ 170 h 320"/>
                <a:gd name="T100" fmla="*/ 85 w 320"/>
                <a:gd name="T101" fmla="*/ 170 h 320"/>
                <a:gd name="T102" fmla="*/ 96 w 320"/>
                <a:gd name="T103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0" h="320">
                  <a:moveTo>
                    <a:pt x="170" y="10"/>
                  </a:moveTo>
                  <a:cubicBezTo>
                    <a:pt x="170" y="85"/>
                    <a:pt x="170" y="85"/>
                    <a:pt x="170" y="85"/>
                  </a:cubicBezTo>
                  <a:cubicBezTo>
                    <a:pt x="170" y="91"/>
                    <a:pt x="166" y="96"/>
                    <a:pt x="160" y="96"/>
                  </a:cubicBezTo>
                  <a:cubicBezTo>
                    <a:pt x="154" y="96"/>
                    <a:pt x="149" y="91"/>
                    <a:pt x="149" y="85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54" y="0"/>
                    <a:pt x="160" y="0"/>
                  </a:cubicBezTo>
                  <a:cubicBezTo>
                    <a:pt x="166" y="0"/>
                    <a:pt x="170" y="4"/>
                    <a:pt x="170" y="10"/>
                  </a:cubicBezTo>
                  <a:close/>
                  <a:moveTo>
                    <a:pt x="213" y="117"/>
                  </a:moveTo>
                  <a:cubicBezTo>
                    <a:pt x="216" y="117"/>
                    <a:pt x="218" y="116"/>
                    <a:pt x="221" y="114"/>
                  </a:cubicBezTo>
                  <a:cubicBezTo>
                    <a:pt x="274" y="61"/>
                    <a:pt x="274" y="61"/>
                    <a:pt x="274" y="61"/>
                  </a:cubicBezTo>
                  <a:cubicBezTo>
                    <a:pt x="278" y="56"/>
                    <a:pt x="278" y="50"/>
                    <a:pt x="274" y="45"/>
                  </a:cubicBezTo>
                  <a:cubicBezTo>
                    <a:pt x="270" y="41"/>
                    <a:pt x="263" y="41"/>
                    <a:pt x="259" y="45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1" y="103"/>
                    <a:pt x="201" y="110"/>
                    <a:pt x="205" y="114"/>
                  </a:cubicBezTo>
                  <a:cubicBezTo>
                    <a:pt x="208" y="116"/>
                    <a:pt x="210" y="117"/>
                    <a:pt x="213" y="117"/>
                  </a:cubicBezTo>
                  <a:close/>
                  <a:moveTo>
                    <a:pt x="309" y="149"/>
                  </a:moveTo>
                  <a:cubicBezTo>
                    <a:pt x="234" y="149"/>
                    <a:pt x="234" y="149"/>
                    <a:pt x="234" y="149"/>
                  </a:cubicBezTo>
                  <a:cubicBezTo>
                    <a:pt x="228" y="149"/>
                    <a:pt x="224" y="154"/>
                    <a:pt x="224" y="160"/>
                  </a:cubicBezTo>
                  <a:cubicBezTo>
                    <a:pt x="224" y="166"/>
                    <a:pt x="228" y="170"/>
                    <a:pt x="234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21" y="205"/>
                  </a:moveTo>
                  <a:cubicBezTo>
                    <a:pt x="216" y="201"/>
                    <a:pt x="210" y="201"/>
                    <a:pt x="205" y="205"/>
                  </a:cubicBezTo>
                  <a:cubicBezTo>
                    <a:pt x="201" y="210"/>
                    <a:pt x="201" y="216"/>
                    <a:pt x="205" y="221"/>
                  </a:cubicBezTo>
                  <a:cubicBezTo>
                    <a:pt x="259" y="274"/>
                    <a:pt x="259" y="274"/>
                    <a:pt x="259" y="274"/>
                  </a:cubicBezTo>
                  <a:cubicBezTo>
                    <a:pt x="261" y="276"/>
                    <a:pt x="264" y="277"/>
                    <a:pt x="266" y="277"/>
                  </a:cubicBezTo>
                  <a:cubicBezTo>
                    <a:pt x="269" y="277"/>
                    <a:pt x="272" y="276"/>
                    <a:pt x="274" y="274"/>
                  </a:cubicBezTo>
                  <a:cubicBezTo>
                    <a:pt x="278" y="270"/>
                    <a:pt x="278" y="263"/>
                    <a:pt x="274" y="259"/>
                  </a:cubicBezTo>
                  <a:lnTo>
                    <a:pt x="221" y="205"/>
                  </a:lnTo>
                  <a:close/>
                  <a:moveTo>
                    <a:pt x="160" y="224"/>
                  </a:moveTo>
                  <a:cubicBezTo>
                    <a:pt x="154" y="224"/>
                    <a:pt x="149" y="228"/>
                    <a:pt x="149" y="234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34"/>
                    <a:pt x="170" y="234"/>
                    <a:pt x="170" y="234"/>
                  </a:cubicBezTo>
                  <a:cubicBezTo>
                    <a:pt x="170" y="228"/>
                    <a:pt x="166" y="224"/>
                    <a:pt x="160" y="224"/>
                  </a:cubicBezTo>
                  <a:close/>
                  <a:moveTo>
                    <a:pt x="99" y="205"/>
                  </a:moveTo>
                  <a:cubicBezTo>
                    <a:pt x="45" y="259"/>
                    <a:pt x="45" y="259"/>
                    <a:pt x="45" y="259"/>
                  </a:cubicBezTo>
                  <a:cubicBezTo>
                    <a:pt x="41" y="263"/>
                    <a:pt x="41" y="270"/>
                    <a:pt x="45" y="274"/>
                  </a:cubicBezTo>
                  <a:cubicBezTo>
                    <a:pt x="48" y="276"/>
                    <a:pt x="50" y="277"/>
                    <a:pt x="53" y="277"/>
                  </a:cubicBezTo>
                  <a:cubicBezTo>
                    <a:pt x="56" y="277"/>
                    <a:pt x="58" y="276"/>
                    <a:pt x="61" y="274"/>
                  </a:cubicBezTo>
                  <a:cubicBezTo>
                    <a:pt x="114" y="221"/>
                    <a:pt x="114" y="221"/>
                    <a:pt x="114" y="221"/>
                  </a:cubicBezTo>
                  <a:cubicBezTo>
                    <a:pt x="118" y="216"/>
                    <a:pt x="118" y="210"/>
                    <a:pt x="114" y="205"/>
                  </a:cubicBezTo>
                  <a:cubicBezTo>
                    <a:pt x="110" y="201"/>
                    <a:pt x="103" y="201"/>
                    <a:pt x="99" y="205"/>
                  </a:cubicBezTo>
                  <a:close/>
                  <a:moveTo>
                    <a:pt x="96" y="160"/>
                  </a:moveTo>
                  <a:cubicBezTo>
                    <a:pt x="96" y="154"/>
                    <a:pt x="91" y="149"/>
                    <a:pt x="85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91" y="170"/>
                    <a:pt x="96" y="166"/>
                    <a:pt x="96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55" name="Freeform 705"/>
          <p:cNvSpPr>
            <a:spLocks noChangeAspect="1" noEditPoints="1"/>
          </p:cNvSpPr>
          <p:nvPr/>
        </p:nvSpPr>
        <p:spPr bwMode="auto">
          <a:xfrm>
            <a:off x="2419381" y="2905074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14 w 512"/>
              <a:gd name="T11" fmla="*/ 128 h 512"/>
              <a:gd name="T12" fmla="*/ 216 w 512"/>
              <a:gd name="T13" fmla="*/ 124 h 512"/>
              <a:gd name="T14" fmla="*/ 228 w 512"/>
              <a:gd name="T15" fmla="*/ 122 h 512"/>
              <a:gd name="T16" fmla="*/ 231 w 512"/>
              <a:gd name="T17" fmla="*/ 124 h 512"/>
              <a:gd name="T18" fmla="*/ 233 w 512"/>
              <a:gd name="T19" fmla="*/ 128 h 512"/>
              <a:gd name="T20" fmla="*/ 234 w 512"/>
              <a:gd name="T21" fmla="*/ 132 h 512"/>
              <a:gd name="T22" fmla="*/ 231 w 512"/>
              <a:gd name="T23" fmla="*/ 139 h 512"/>
              <a:gd name="T24" fmla="*/ 224 w 512"/>
              <a:gd name="T25" fmla="*/ 142 h 512"/>
              <a:gd name="T26" fmla="*/ 216 w 512"/>
              <a:gd name="T27" fmla="*/ 139 h 512"/>
              <a:gd name="T28" fmla="*/ 213 w 512"/>
              <a:gd name="T29" fmla="*/ 132 h 512"/>
              <a:gd name="T30" fmla="*/ 214 w 512"/>
              <a:gd name="T31" fmla="*/ 128 h 512"/>
              <a:gd name="T32" fmla="*/ 187 w 512"/>
              <a:gd name="T33" fmla="*/ 135 h 512"/>
              <a:gd name="T34" fmla="*/ 201 w 512"/>
              <a:gd name="T35" fmla="*/ 139 h 512"/>
              <a:gd name="T36" fmla="*/ 197 w 512"/>
              <a:gd name="T37" fmla="*/ 154 h 512"/>
              <a:gd name="T38" fmla="*/ 192 w 512"/>
              <a:gd name="T39" fmla="*/ 155 h 512"/>
              <a:gd name="T40" fmla="*/ 183 w 512"/>
              <a:gd name="T41" fmla="*/ 150 h 512"/>
              <a:gd name="T42" fmla="*/ 187 w 512"/>
              <a:gd name="T43" fmla="*/ 135 h 512"/>
              <a:gd name="T44" fmla="*/ 158 w 512"/>
              <a:gd name="T45" fmla="*/ 158 h 512"/>
              <a:gd name="T46" fmla="*/ 173 w 512"/>
              <a:gd name="T47" fmla="*/ 158 h 512"/>
              <a:gd name="T48" fmla="*/ 173 w 512"/>
              <a:gd name="T49" fmla="*/ 173 h 512"/>
              <a:gd name="T50" fmla="*/ 165 w 512"/>
              <a:gd name="T51" fmla="*/ 176 h 512"/>
              <a:gd name="T52" fmla="*/ 158 w 512"/>
              <a:gd name="T53" fmla="*/ 173 h 512"/>
              <a:gd name="T54" fmla="*/ 158 w 512"/>
              <a:gd name="T55" fmla="*/ 158 h 512"/>
              <a:gd name="T56" fmla="*/ 135 w 512"/>
              <a:gd name="T57" fmla="*/ 187 h 512"/>
              <a:gd name="T58" fmla="*/ 150 w 512"/>
              <a:gd name="T59" fmla="*/ 183 h 512"/>
              <a:gd name="T60" fmla="*/ 154 w 512"/>
              <a:gd name="T61" fmla="*/ 197 h 512"/>
              <a:gd name="T62" fmla="*/ 145 w 512"/>
              <a:gd name="T63" fmla="*/ 203 h 512"/>
              <a:gd name="T64" fmla="*/ 139 w 512"/>
              <a:gd name="T65" fmla="*/ 201 h 512"/>
              <a:gd name="T66" fmla="*/ 135 w 512"/>
              <a:gd name="T67" fmla="*/ 187 h 512"/>
              <a:gd name="T68" fmla="*/ 122 w 512"/>
              <a:gd name="T69" fmla="*/ 220 h 512"/>
              <a:gd name="T70" fmla="*/ 124 w 512"/>
              <a:gd name="T71" fmla="*/ 216 h 512"/>
              <a:gd name="T72" fmla="*/ 139 w 512"/>
              <a:gd name="T73" fmla="*/ 216 h 512"/>
              <a:gd name="T74" fmla="*/ 142 w 512"/>
              <a:gd name="T75" fmla="*/ 224 h 512"/>
              <a:gd name="T76" fmla="*/ 142 w 512"/>
              <a:gd name="T77" fmla="*/ 228 h 512"/>
              <a:gd name="T78" fmla="*/ 139 w 512"/>
              <a:gd name="T79" fmla="*/ 231 h 512"/>
              <a:gd name="T80" fmla="*/ 136 w 512"/>
              <a:gd name="T81" fmla="*/ 233 h 512"/>
              <a:gd name="T82" fmla="*/ 132 w 512"/>
              <a:gd name="T83" fmla="*/ 234 h 512"/>
              <a:gd name="T84" fmla="*/ 124 w 512"/>
              <a:gd name="T85" fmla="*/ 231 h 512"/>
              <a:gd name="T86" fmla="*/ 122 w 512"/>
              <a:gd name="T87" fmla="*/ 228 h 512"/>
              <a:gd name="T88" fmla="*/ 121 w 512"/>
              <a:gd name="T89" fmla="*/ 224 h 512"/>
              <a:gd name="T90" fmla="*/ 122 w 512"/>
              <a:gd name="T91" fmla="*/ 220 h 512"/>
              <a:gd name="T92" fmla="*/ 256 w 512"/>
              <a:gd name="T93" fmla="*/ 394 h 512"/>
              <a:gd name="T94" fmla="*/ 117 w 512"/>
              <a:gd name="T95" fmla="*/ 256 h 512"/>
              <a:gd name="T96" fmla="*/ 128 w 512"/>
              <a:gd name="T97" fmla="*/ 245 h 512"/>
              <a:gd name="T98" fmla="*/ 138 w 512"/>
              <a:gd name="T99" fmla="*/ 256 h 512"/>
              <a:gd name="T100" fmla="*/ 256 w 512"/>
              <a:gd name="T101" fmla="*/ 373 h 512"/>
              <a:gd name="T102" fmla="*/ 373 w 512"/>
              <a:gd name="T103" fmla="*/ 256 h 512"/>
              <a:gd name="T104" fmla="*/ 256 w 512"/>
              <a:gd name="T105" fmla="*/ 138 h 512"/>
              <a:gd name="T106" fmla="*/ 245 w 512"/>
              <a:gd name="T107" fmla="*/ 128 h 512"/>
              <a:gd name="T108" fmla="*/ 256 w 512"/>
              <a:gd name="T109" fmla="*/ 117 h 512"/>
              <a:gd name="T110" fmla="*/ 394 w 512"/>
              <a:gd name="T111" fmla="*/ 256 h 512"/>
              <a:gd name="T112" fmla="*/ 256 w 512"/>
              <a:gd name="T11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14" y="128"/>
                </a:moveTo>
                <a:cubicBezTo>
                  <a:pt x="214" y="126"/>
                  <a:pt x="215" y="125"/>
                  <a:pt x="216" y="124"/>
                </a:cubicBezTo>
                <a:cubicBezTo>
                  <a:pt x="219" y="121"/>
                  <a:pt x="224" y="120"/>
                  <a:pt x="228" y="122"/>
                </a:cubicBezTo>
                <a:cubicBezTo>
                  <a:pt x="229" y="122"/>
                  <a:pt x="230" y="123"/>
                  <a:pt x="231" y="124"/>
                </a:cubicBezTo>
                <a:cubicBezTo>
                  <a:pt x="232" y="125"/>
                  <a:pt x="233" y="126"/>
                  <a:pt x="233" y="128"/>
                </a:cubicBezTo>
                <a:cubicBezTo>
                  <a:pt x="234" y="129"/>
                  <a:pt x="234" y="130"/>
                  <a:pt x="234" y="132"/>
                </a:cubicBezTo>
                <a:cubicBezTo>
                  <a:pt x="234" y="135"/>
                  <a:pt x="233" y="137"/>
                  <a:pt x="231" y="139"/>
                </a:cubicBezTo>
                <a:cubicBezTo>
                  <a:pt x="229" y="141"/>
                  <a:pt x="227" y="142"/>
                  <a:pt x="224" y="142"/>
                </a:cubicBezTo>
                <a:cubicBezTo>
                  <a:pt x="221" y="142"/>
                  <a:pt x="218" y="141"/>
                  <a:pt x="216" y="139"/>
                </a:cubicBezTo>
                <a:cubicBezTo>
                  <a:pt x="214" y="137"/>
                  <a:pt x="213" y="135"/>
                  <a:pt x="213" y="132"/>
                </a:cubicBezTo>
                <a:cubicBezTo>
                  <a:pt x="213" y="130"/>
                  <a:pt x="213" y="129"/>
                  <a:pt x="214" y="128"/>
                </a:cubicBezTo>
                <a:close/>
                <a:moveTo>
                  <a:pt x="187" y="135"/>
                </a:moveTo>
                <a:cubicBezTo>
                  <a:pt x="192" y="132"/>
                  <a:pt x="198" y="134"/>
                  <a:pt x="201" y="139"/>
                </a:cubicBezTo>
                <a:cubicBezTo>
                  <a:pt x="204" y="144"/>
                  <a:pt x="203" y="151"/>
                  <a:pt x="197" y="154"/>
                </a:cubicBezTo>
                <a:cubicBezTo>
                  <a:pt x="196" y="155"/>
                  <a:pt x="194" y="155"/>
                  <a:pt x="192" y="155"/>
                </a:cubicBezTo>
                <a:cubicBezTo>
                  <a:pt x="188" y="155"/>
                  <a:pt x="185" y="153"/>
                  <a:pt x="183" y="150"/>
                </a:cubicBezTo>
                <a:cubicBezTo>
                  <a:pt x="180" y="145"/>
                  <a:pt x="182" y="138"/>
                  <a:pt x="187" y="135"/>
                </a:cubicBezTo>
                <a:close/>
                <a:moveTo>
                  <a:pt x="158" y="158"/>
                </a:moveTo>
                <a:cubicBezTo>
                  <a:pt x="162" y="153"/>
                  <a:pt x="169" y="153"/>
                  <a:pt x="173" y="158"/>
                </a:cubicBezTo>
                <a:cubicBezTo>
                  <a:pt x="177" y="162"/>
                  <a:pt x="177" y="169"/>
                  <a:pt x="173" y="173"/>
                </a:cubicBezTo>
                <a:cubicBezTo>
                  <a:pt x="171" y="175"/>
                  <a:pt x="168" y="176"/>
                  <a:pt x="165" y="176"/>
                </a:cubicBezTo>
                <a:cubicBezTo>
                  <a:pt x="162" y="176"/>
                  <a:pt x="160" y="175"/>
                  <a:pt x="158" y="173"/>
                </a:cubicBezTo>
                <a:cubicBezTo>
                  <a:pt x="153" y="169"/>
                  <a:pt x="153" y="162"/>
                  <a:pt x="158" y="158"/>
                </a:cubicBezTo>
                <a:close/>
                <a:moveTo>
                  <a:pt x="135" y="187"/>
                </a:moveTo>
                <a:cubicBezTo>
                  <a:pt x="138" y="182"/>
                  <a:pt x="145" y="180"/>
                  <a:pt x="150" y="183"/>
                </a:cubicBezTo>
                <a:cubicBezTo>
                  <a:pt x="155" y="186"/>
                  <a:pt x="157" y="192"/>
                  <a:pt x="154" y="197"/>
                </a:cubicBezTo>
                <a:cubicBezTo>
                  <a:pt x="152" y="201"/>
                  <a:pt x="148" y="203"/>
                  <a:pt x="145" y="203"/>
                </a:cubicBezTo>
                <a:cubicBezTo>
                  <a:pt x="143" y="203"/>
                  <a:pt x="141" y="202"/>
                  <a:pt x="139" y="201"/>
                </a:cubicBezTo>
                <a:cubicBezTo>
                  <a:pt x="134" y="198"/>
                  <a:pt x="132" y="192"/>
                  <a:pt x="135" y="187"/>
                </a:cubicBezTo>
                <a:close/>
                <a:moveTo>
                  <a:pt x="122" y="220"/>
                </a:moveTo>
                <a:cubicBezTo>
                  <a:pt x="122" y="218"/>
                  <a:pt x="123" y="217"/>
                  <a:pt x="124" y="216"/>
                </a:cubicBezTo>
                <a:cubicBezTo>
                  <a:pt x="128" y="212"/>
                  <a:pt x="135" y="212"/>
                  <a:pt x="139" y="216"/>
                </a:cubicBezTo>
                <a:cubicBezTo>
                  <a:pt x="141" y="218"/>
                  <a:pt x="142" y="221"/>
                  <a:pt x="142" y="224"/>
                </a:cubicBezTo>
                <a:cubicBezTo>
                  <a:pt x="142" y="225"/>
                  <a:pt x="142" y="226"/>
                  <a:pt x="142" y="228"/>
                </a:cubicBezTo>
                <a:cubicBezTo>
                  <a:pt x="141" y="229"/>
                  <a:pt x="140" y="230"/>
                  <a:pt x="139" y="231"/>
                </a:cubicBezTo>
                <a:cubicBezTo>
                  <a:pt x="138" y="232"/>
                  <a:pt x="137" y="233"/>
                  <a:pt x="136" y="233"/>
                </a:cubicBezTo>
                <a:cubicBezTo>
                  <a:pt x="134" y="234"/>
                  <a:pt x="133" y="234"/>
                  <a:pt x="132" y="234"/>
                </a:cubicBezTo>
                <a:cubicBezTo>
                  <a:pt x="129" y="234"/>
                  <a:pt x="126" y="233"/>
                  <a:pt x="124" y="231"/>
                </a:cubicBezTo>
                <a:cubicBezTo>
                  <a:pt x="123" y="230"/>
                  <a:pt x="122" y="229"/>
                  <a:pt x="122" y="228"/>
                </a:cubicBezTo>
                <a:cubicBezTo>
                  <a:pt x="121" y="226"/>
                  <a:pt x="121" y="225"/>
                  <a:pt x="121" y="224"/>
                </a:cubicBezTo>
                <a:cubicBezTo>
                  <a:pt x="121" y="222"/>
                  <a:pt x="121" y="221"/>
                  <a:pt x="122" y="220"/>
                </a:cubicBezTo>
                <a:close/>
                <a:moveTo>
                  <a:pt x="256" y="394"/>
                </a:moveTo>
                <a:cubicBezTo>
                  <a:pt x="179" y="394"/>
                  <a:pt x="117" y="332"/>
                  <a:pt x="117" y="256"/>
                </a:cubicBezTo>
                <a:cubicBezTo>
                  <a:pt x="117" y="250"/>
                  <a:pt x="122" y="245"/>
                  <a:pt x="128" y="245"/>
                </a:cubicBezTo>
                <a:cubicBezTo>
                  <a:pt x="134" y="245"/>
                  <a:pt x="138" y="250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191"/>
                  <a:pt x="320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ubicBezTo>
                  <a:pt x="245" y="122"/>
                  <a:pt x="250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332"/>
                  <a:pt x="332" y="394"/>
                  <a:pt x="256" y="39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56" name="Group 708"/>
          <p:cNvGrpSpPr>
            <a:grpSpLocks noChangeAspect="1"/>
          </p:cNvGrpSpPr>
          <p:nvPr/>
        </p:nvGrpSpPr>
        <p:grpSpPr bwMode="auto">
          <a:xfrm>
            <a:off x="2916088" y="2905074"/>
            <a:ext cx="367982" cy="367982"/>
            <a:chOff x="4601" y="3177"/>
            <a:chExt cx="340" cy="340"/>
          </a:xfrm>
          <a:solidFill>
            <a:schemeClr val="accent2"/>
          </a:solidFill>
        </p:grpSpPr>
        <p:sp>
          <p:nvSpPr>
            <p:cNvPr id="857" name="Freeform 709"/>
            <p:cNvSpPr>
              <a:spLocks noEditPoints="1"/>
            </p:cNvSpPr>
            <p:nvPr/>
          </p:nvSpPr>
          <p:spPr bwMode="auto">
            <a:xfrm>
              <a:off x="4601" y="31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8" name="Freeform 710"/>
            <p:cNvSpPr>
              <a:spLocks noEditPoints="1"/>
            </p:cNvSpPr>
            <p:nvPr/>
          </p:nvSpPr>
          <p:spPr bwMode="auto">
            <a:xfrm>
              <a:off x="4679" y="3255"/>
              <a:ext cx="184" cy="184"/>
            </a:xfrm>
            <a:custGeom>
              <a:avLst/>
              <a:gdLst>
                <a:gd name="T0" fmla="*/ 277 w 277"/>
                <a:gd name="T1" fmla="*/ 139 h 277"/>
                <a:gd name="T2" fmla="*/ 139 w 277"/>
                <a:gd name="T3" fmla="*/ 277 h 277"/>
                <a:gd name="T4" fmla="*/ 0 w 277"/>
                <a:gd name="T5" fmla="*/ 139 h 277"/>
                <a:gd name="T6" fmla="*/ 11 w 277"/>
                <a:gd name="T7" fmla="*/ 128 h 277"/>
                <a:gd name="T8" fmla="*/ 21 w 277"/>
                <a:gd name="T9" fmla="*/ 139 h 277"/>
                <a:gd name="T10" fmla="*/ 139 w 277"/>
                <a:gd name="T11" fmla="*/ 256 h 277"/>
                <a:gd name="T12" fmla="*/ 256 w 277"/>
                <a:gd name="T13" fmla="*/ 139 h 277"/>
                <a:gd name="T14" fmla="*/ 139 w 277"/>
                <a:gd name="T15" fmla="*/ 21 h 277"/>
                <a:gd name="T16" fmla="*/ 128 w 277"/>
                <a:gd name="T17" fmla="*/ 11 h 277"/>
                <a:gd name="T18" fmla="*/ 139 w 277"/>
                <a:gd name="T19" fmla="*/ 0 h 277"/>
                <a:gd name="T20" fmla="*/ 277 w 277"/>
                <a:gd name="T21" fmla="*/ 139 h 277"/>
                <a:gd name="T22" fmla="*/ 7 w 277"/>
                <a:gd name="T23" fmla="*/ 114 h 277"/>
                <a:gd name="T24" fmla="*/ 15 w 277"/>
                <a:gd name="T25" fmla="*/ 117 h 277"/>
                <a:gd name="T26" fmla="*/ 19 w 277"/>
                <a:gd name="T27" fmla="*/ 116 h 277"/>
                <a:gd name="T28" fmla="*/ 22 w 277"/>
                <a:gd name="T29" fmla="*/ 114 h 277"/>
                <a:gd name="T30" fmla="*/ 25 w 277"/>
                <a:gd name="T31" fmla="*/ 111 h 277"/>
                <a:gd name="T32" fmla="*/ 25 w 277"/>
                <a:gd name="T33" fmla="*/ 107 h 277"/>
                <a:gd name="T34" fmla="*/ 22 w 277"/>
                <a:gd name="T35" fmla="*/ 99 h 277"/>
                <a:gd name="T36" fmla="*/ 7 w 277"/>
                <a:gd name="T37" fmla="*/ 99 h 277"/>
                <a:gd name="T38" fmla="*/ 5 w 277"/>
                <a:gd name="T39" fmla="*/ 103 h 277"/>
                <a:gd name="T40" fmla="*/ 4 w 277"/>
                <a:gd name="T41" fmla="*/ 107 h 277"/>
                <a:gd name="T42" fmla="*/ 5 w 277"/>
                <a:gd name="T43" fmla="*/ 111 h 277"/>
                <a:gd name="T44" fmla="*/ 7 w 277"/>
                <a:gd name="T45" fmla="*/ 114 h 277"/>
                <a:gd name="T46" fmla="*/ 75 w 277"/>
                <a:gd name="T47" fmla="*/ 38 h 277"/>
                <a:gd name="T48" fmla="*/ 80 w 277"/>
                <a:gd name="T49" fmla="*/ 37 h 277"/>
                <a:gd name="T50" fmla="*/ 84 w 277"/>
                <a:gd name="T51" fmla="*/ 22 h 277"/>
                <a:gd name="T52" fmla="*/ 70 w 277"/>
                <a:gd name="T53" fmla="*/ 18 h 277"/>
                <a:gd name="T54" fmla="*/ 66 w 277"/>
                <a:gd name="T55" fmla="*/ 33 h 277"/>
                <a:gd name="T56" fmla="*/ 75 w 277"/>
                <a:gd name="T57" fmla="*/ 38 h 277"/>
                <a:gd name="T58" fmla="*/ 22 w 277"/>
                <a:gd name="T59" fmla="*/ 84 h 277"/>
                <a:gd name="T60" fmla="*/ 28 w 277"/>
                <a:gd name="T61" fmla="*/ 86 h 277"/>
                <a:gd name="T62" fmla="*/ 37 w 277"/>
                <a:gd name="T63" fmla="*/ 80 h 277"/>
                <a:gd name="T64" fmla="*/ 33 w 277"/>
                <a:gd name="T65" fmla="*/ 66 h 277"/>
                <a:gd name="T66" fmla="*/ 18 w 277"/>
                <a:gd name="T67" fmla="*/ 70 h 277"/>
                <a:gd name="T68" fmla="*/ 22 w 277"/>
                <a:gd name="T69" fmla="*/ 84 h 277"/>
                <a:gd name="T70" fmla="*/ 48 w 277"/>
                <a:gd name="T71" fmla="*/ 59 h 277"/>
                <a:gd name="T72" fmla="*/ 56 w 277"/>
                <a:gd name="T73" fmla="*/ 56 h 277"/>
                <a:gd name="T74" fmla="*/ 56 w 277"/>
                <a:gd name="T75" fmla="*/ 41 h 277"/>
                <a:gd name="T76" fmla="*/ 41 w 277"/>
                <a:gd name="T77" fmla="*/ 41 h 277"/>
                <a:gd name="T78" fmla="*/ 41 w 277"/>
                <a:gd name="T79" fmla="*/ 56 h 277"/>
                <a:gd name="T80" fmla="*/ 48 w 277"/>
                <a:gd name="T81" fmla="*/ 59 h 277"/>
                <a:gd name="T82" fmla="*/ 107 w 277"/>
                <a:gd name="T83" fmla="*/ 25 h 277"/>
                <a:gd name="T84" fmla="*/ 114 w 277"/>
                <a:gd name="T85" fmla="*/ 22 h 277"/>
                <a:gd name="T86" fmla="*/ 117 w 277"/>
                <a:gd name="T87" fmla="*/ 15 h 277"/>
                <a:gd name="T88" fmla="*/ 116 w 277"/>
                <a:gd name="T89" fmla="*/ 11 h 277"/>
                <a:gd name="T90" fmla="*/ 114 w 277"/>
                <a:gd name="T91" fmla="*/ 7 h 277"/>
                <a:gd name="T92" fmla="*/ 111 w 277"/>
                <a:gd name="T93" fmla="*/ 5 h 277"/>
                <a:gd name="T94" fmla="*/ 99 w 277"/>
                <a:gd name="T95" fmla="*/ 7 h 277"/>
                <a:gd name="T96" fmla="*/ 97 w 277"/>
                <a:gd name="T97" fmla="*/ 11 h 277"/>
                <a:gd name="T98" fmla="*/ 96 w 277"/>
                <a:gd name="T99" fmla="*/ 15 h 277"/>
                <a:gd name="T100" fmla="*/ 99 w 277"/>
                <a:gd name="T101" fmla="*/ 22 h 277"/>
                <a:gd name="T102" fmla="*/ 107 w 277"/>
                <a:gd name="T103" fmla="*/ 2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7" h="277">
                  <a:moveTo>
                    <a:pt x="277" y="139"/>
                  </a:moveTo>
                  <a:cubicBezTo>
                    <a:pt x="277" y="215"/>
                    <a:pt x="215" y="277"/>
                    <a:pt x="139" y="277"/>
                  </a:cubicBezTo>
                  <a:cubicBezTo>
                    <a:pt x="62" y="277"/>
                    <a:pt x="0" y="215"/>
                    <a:pt x="0" y="139"/>
                  </a:cubicBezTo>
                  <a:cubicBezTo>
                    <a:pt x="0" y="133"/>
                    <a:pt x="5" y="128"/>
                    <a:pt x="11" y="128"/>
                  </a:cubicBezTo>
                  <a:cubicBezTo>
                    <a:pt x="17" y="128"/>
                    <a:pt x="21" y="133"/>
                    <a:pt x="21" y="139"/>
                  </a:cubicBezTo>
                  <a:cubicBezTo>
                    <a:pt x="21" y="203"/>
                    <a:pt x="74" y="256"/>
                    <a:pt x="139" y="256"/>
                  </a:cubicBezTo>
                  <a:cubicBezTo>
                    <a:pt x="203" y="256"/>
                    <a:pt x="256" y="203"/>
                    <a:pt x="256" y="139"/>
                  </a:cubicBezTo>
                  <a:cubicBezTo>
                    <a:pt x="256" y="74"/>
                    <a:pt x="203" y="21"/>
                    <a:pt x="139" y="21"/>
                  </a:cubicBezTo>
                  <a:cubicBezTo>
                    <a:pt x="133" y="21"/>
                    <a:pt x="128" y="17"/>
                    <a:pt x="128" y="11"/>
                  </a:cubicBezTo>
                  <a:cubicBezTo>
                    <a:pt x="128" y="5"/>
                    <a:pt x="133" y="0"/>
                    <a:pt x="139" y="0"/>
                  </a:cubicBezTo>
                  <a:cubicBezTo>
                    <a:pt x="215" y="0"/>
                    <a:pt x="277" y="62"/>
                    <a:pt x="277" y="139"/>
                  </a:cubicBezTo>
                  <a:close/>
                  <a:moveTo>
                    <a:pt x="7" y="114"/>
                  </a:moveTo>
                  <a:cubicBezTo>
                    <a:pt x="9" y="116"/>
                    <a:pt x="12" y="117"/>
                    <a:pt x="15" y="117"/>
                  </a:cubicBezTo>
                  <a:cubicBezTo>
                    <a:pt x="16" y="117"/>
                    <a:pt x="17" y="117"/>
                    <a:pt x="19" y="116"/>
                  </a:cubicBezTo>
                  <a:cubicBezTo>
                    <a:pt x="20" y="116"/>
                    <a:pt x="21" y="115"/>
                    <a:pt x="22" y="114"/>
                  </a:cubicBezTo>
                  <a:cubicBezTo>
                    <a:pt x="23" y="113"/>
                    <a:pt x="24" y="112"/>
                    <a:pt x="25" y="111"/>
                  </a:cubicBezTo>
                  <a:cubicBezTo>
                    <a:pt x="25" y="109"/>
                    <a:pt x="25" y="108"/>
                    <a:pt x="25" y="107"/>
                  </a:cubicBezTo>
                  <a:cubicBezTo>
                    <a:pt x="25" y="104"/>
                    <a:pt x="24" y="101"/>
                    <a:pt x="22" y="99"/>
                  </a:cubicBezTo>
                  <a:cubicBezTo>
                    <a:pt x="18" y="95"/>
                    <a:pt x="11" y="95"/>
                    <a:pt x="7" y="99"/>
                  </a:cubicBezTo>
                  <a:cubicBezTo>
                    <a:pt x="6" y="100"/>
                    <a:pt x="5" y="101"/>
                    <a:pt x="5" y="103"/>
                  </a:cubicBezTo>
                  <a:cubicBezTo>
                    <a:pt x="4" y="104"/>
                    <a:pt x="4" y="105"/>
                    <a:pt x="4" y="107"/>
                  </a:cubicBezTo>
                  <a:cubicBezTo>
                    <a:pt x="4" y="108"/>
                    <a:pt x="4" y="109"/>
                    <a:pt x="5" y="111"/>
                  </a:cubicBezTo>
                  <a:cubicBezTo>
                    <a:pt x="5" y="112"/>
                    <a:pt x="6" y="113"/>
                    <a:pt x="7" y="114"/>
                  </a:cubicBezTo>
                  <a:close/>
                  <a:moveTo>
                    <a:pt x="75" y="38"/>
                  </a:moveTo>
                  <a:cubicBezTo>
                    <a:pt x="77" y="38"/>
                    <a:pt x="79" y="38"/>
                    <a:pt x="80" y="37"/>
                  </a:cubicBezTo>
                  <a:cubicBezTo>
                    <a:pt x="86" y="34"/>
                    <a:pt x="87" y="27"/>
                    <a:pt x="84" y="22"/>
                  </a:cubicBezTo>
                  <a:cubicBezTo>
                    <a:pt x="81" y="17"/>
                    <a:pt x="75" y="15"/>
                    <a:pt x="70" y="18"/>
                  </a:cubicBezTo>
                  <a:cubicBezTo>
                    <a:pt x="65" y="21"/>
                    <a:pt x="63" y="28"/>
                    <a:pt x="66" y="33"/>
                  </a:cubicBezTo>
                  <a:cubicBezTo>
                    <a:pt x="68" y="36"/>
                    <a:pt x="71" y="38"/>
                    <a:pt x="75" y="38"/>
                  </a:cubicBezTo>
                  <a:close/>
                  <a:moveTo>
                    <a:pt x="22" y="84"/>
                  </a:moveTo>
                  <a:cubicBezTo>
                    <a:pt x="24" y="85"/>
                    <a:pt x="26" y="86"/>
                    <a:pt x="28" y="86"/>
                  </a:cubicBezTo>
                  <a:cubicBezTo>
                    <a:pt x="31" y="86"/>
                    <a:pt x="35" y="84"/>
                    <a:pt x="37" y="80"/>
                  </a:cubicBezTo>
                  <a:cubicBezTo>
                    <a:pt x="40" y="75"/>
                    <a:pt x="38" y="69"/>
                    <a:pt x="33" y="66"/>
                  </a:cubicBezTo>
                  <a:cubicBezTo>
                    <a:pt x="28" y="63"/>
                    <a:pt x="21" y="65"/>
                    <a:pt x="18" y="70"/>
                  </a:cubicBezTo>
                  <a:cubicBezTo>
                    <a:pt x="15" y="75"/>
                    <a:pt x="17" y="81"/>
                    <a:pt x="22" y="84"/>
                  </a:cubicBezTo>
                  <a:close/>
                  <a:moveTo>
                    <a:pt x="48" y="59"/>
                  </a:moveTo>
                  <a:cubicBezTo>
                    <a:pt x="51" y="59"/>
                    <a:pt x="54" y="58"/>
                    <a:pt x="56" y="56"/>
                  </a:cubicBezTo>
                  <a:cubicBezTo>
                    <a:pt x="60" y="52"/>
                    <a:pt x="60" y="45"/>
                    <a:pt x="56" y="41"/>
                  </a:cubicBezTo>
                  <a:cubicBezTo>
                    <a:pt x="52" y="36"/>
                    <a:pt x="45" y="36"/>
                    <a:pt x="41" y="41"/>
                  </a:cubicBezTo>
                  <a:cubicBezTo>
                    <a:pt x="36" y="45"/>
                    <a:pt x="36" y="52"/>
                    <a:pt x="41" y="56"/>
                  </a:cubicBezTo>
                  <a:cubicBezTo>
                    <a:pt x="43" y="58"/>
                    <a:pt x="45" y="59"/>
                    <a:pt x="48" y="59"/>
                  </a:cubicBezTo>
                  <a:close/>
                  <a:moveTo>
                    <a:pt x="107" y="25"/>
                  </a:moveTo>
                  <a:cubicBezTo>
                    <a:pt x="110" y="25"/>
                    <a:pt x="112" y="24"/>
                    <a:pt x="114" y="22"/>
                  </a:cubicBezTo>
                  <a:cubicBezTo>
                    <a:pt x="116" y="20"/>
                    <a:pt x="117" y="18"/>
                    <a:pt x="117" y="15"/>
                  </a:cubicBezTo>
                  <a:cubicBezTo>
                    <a:pt x="117" y="13"/>
                    <a:pt x="117" y="12"/>
                    <a:pt x="116" y="11"/>
                  </a:cubicBezTo>
                  <a:cubicBezTo>
                    <a:pt x="116" y="9"/>
                    <a:pt x="115" y="8"/>
                    <a:pt x="114" y="7"/>
                  </a:cubicBezTo>
                  <a:cubicBezTo>
                    <a:pt x="113" y="6"/>
                    <a:pt x="112" y="5"/>
                    <a:pt x="111" y="5"/>
                  </a:cubicBezTo>
                  <a:cubicBezTo>
                    <a:pt x="107" y="3"/>
                    <a:pt x="102" y="4"/>
                    <a:pt x="99" y="7"/>
                  </a:cubicBezTo>
                  <a:cubicBezTo>
                    <a:pt x="98" y="8"/>
                    <a:pt x="97" y="9"/>
                    <a:pt x="97" y="11"/>
                  </a:cubicBezTo>
                  <a:cubicBezTo>
                    <a:pt x="96" y="12"/>
                    <a:pt x="96" y="13"/>
                    <a:pt x="96" y="15"/>
                  </a:cubicBezTo>
                  <a:cubicBezTo>
                    <a:pt x="96" y="18"/>
                    <a:pt x="97" y="20"/>
                    <a:pt x="99" y="22"/>
                  </a:cubicBezTo>
                  <a:cubicBezTo>
                    <a:pt x="101" y="24"/>
                    <a:pt x="104" y="25"/>
                    <a:pt x="10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59" name="TextBox 858"/>
          <p:cNvSpPr txBox="1"/>
          <p:nvPr/>
        </p:nvSpPr>
        <p:spPr>
          <a:xfrm>
            <a:off x="6442780" y="659433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shtag</a:t>
            </a:r>
          </a:p>
        </p:txBody>
      </p:sp>
      <p:sp>
        <p:nvSpPr>
          <p:cNvPr id="860" name="Freeform 198"/>
          <p:cNvSpPr>
            <a:spLocks noChangeAspect="1" noEditPoints="1"/>
          </p:cNvSpPr>
          <p:nvPr/>
        </p:nvSpPr>
        <p:spPr bwMode="auto">
          <a:xfrm>
            <a:off x="6407784" y="6194138"/>
            <a:ext cx="367041" cy="368121"/>
          </a:xfrm>
          <a:custGeom>
            <a:avLst/>
            <a:gdLst>
              <a:gd name="T0" fmla="*/ 213 w 512"/>
              <a:gd name="T1" fmla="*/ 206 h 512"/>
              <a:gd name="T2" fmla="*/ 312 w 512"/>
              <a:gd name="T3" fmla="*/ 206 h 512"/>
              <a:gd name="T4" fmla="*/ 299 w 512"/>
              <a:gd name="T5" fmla="*/ 305 h 512"/>
              <a:gd name="T6" fmla="*/ 199 w 512"/>
              <a:gd name="T7" fmla="*/ 305 h 512"/>
              <a:gd name="T8" fmla="*/ 213 w 512"/>
              <a:gd name="T9" fmla="*/ 206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410 w 512"/>
              <a:gd name="T21" fmla="*/ 195 h 512"/>
              <a:gd name="T22" fmla="*/ 400 w 512"/>
              <a:gd name="T23" fmla="*/ 185 h 512"/>
              <a:gd name="T24" fmla="*/ 336 w 512"/>
              <a:gd name="T25" fmla="*/ 185 h 512"/>
              <a:gd name="T26" fmla="*/ 345 w 512"/>
              <a:gd name="T27" fmla="*/ 121 h 512"/>
              <a:gd name="T28" fmla="*/ 335 w 512"/>
              <a:gd name="T29" fmla="*/ 109 h 512"/>
              <a:gd name="T30" fmla="*/ 323 w 512"/>
              <a:gd name="T31" fmla="*/ 118 h 512"/>
              <a:gd name="T32" fmla="*/ 315 w 512"/>
              <a:gd name="T33" fmla="*/ 185 h 512"/>
              <a:gd name="T34" fmla="*/ 215 w 512"/>
              <a:gd name="T35" fmla="*/ 185 h 512"/>
              <a:gd name="T36" fmla="*/ 224 w 512"/>
              <a:gd name="T37" fmla="*/ 121 h 512"/>
              <a:gd name="T38" fmla="*/ 215 w 512"/>
              <a:gd name="T39" fmla="*/ 109 h 512"/>
              <a:gd name="T40" fmla="*/ 203 w 512"/>
              <a:gd name="T41" fmla="*/ 118 h 512"/>
              <a:gd name="T42" fmla="*/ 194 w 512"/>
              <a:gd name="T43" fmla="*/ 185 h 512"/>
              <a:gd name="T44" fmla="*/ 128 w 512"/>
              <a:gd name="T45" fmla="*/ 185 h 512"/>
              <a:gd name="T46" fmla="*/ 117 w 512"/>
              <a:gd name="T47" fmla="*/ 195 h 512"/>
              <a:gd name="T48" fmla="*/ 128 w 512"/>
              <a:gd name="T49" fmla="*/ 206 h 512"/>
              <a:gd name="T50" fmla="*/ 191 w 512"/>
              <a:gd name="T51" fmla="*/ 206 h 512"/>
              <a:gd name="T52" fmla="*/ 178 w 512"/>
              <a:gd name="T53" fmla="*/ 305 h 512"/>
              <a:gd name="T54" fmla="*/ 112 w 512"/>
              <a:gd name="T55" fmla="*/ 305 h 512"/>
              <a:gd name="T56" fmla="*/ 101 w 512"/>
              <a:gd name="T57" fmla="*/ 316 h 512"/>
              <a:gd name="T58" fmla="*/ 112 w 512"/>
              <a:gd name="T59" fmla="*/ 327 h 512"/>
              <a:gd name="T60" fmla="*/ 175 w 512"/>
              <a:gd name="T61" fmla="*/ 327 h 512"/>
              <a:gd name="T62" fmla="*/ 167 w 512"/>
              <a:gd name="T63" fmla="*/ 390 h 512"/>
              <a:gd name="T64" fmla="*/ 176 w 512"/>
              <a:gd name="T65" fmla="*/ 402 h 512"/>
              <a:gd name="T66" fmla="*/ 177 w 512"/>
              <a:gd name="T67" fmla="*/ 402 h 512"/>
              <a:gd name="T68" fmla="*/ 188 w 512"/>
              <a:gd name="T69" fmla="*/ 393 h 512"/>
              <a:gd name="T70" fmla="*/ 197 w 512"/>
              <a:gd name="T71" fmla="*/ 327 h 512"/>
              <a:gd name="T72" fmla="*/ 296 w 512"/>
              <a:gd name="T73" fmla="*/ 327 h 512"/>
              <a:gd name="T74" fmla="*/ 288 w 512"/>
              <a:gd name="T75" fmla="*/ 390 h 512"/>
              <a:gd name="T76" fmla="*/ 297 w 512"/>
              <a:gd name="T77" fmla="*/ 402 h 512"/>
              <a:gd name="T78" fmla="*/ 298 w 512"/>
              <a:gd name="T79" fmla="*/ 402 h 512"/>
              <a:gd name="T80" fmla="*/ 309 w 512"/>
              <a:gd name="T81" fmla="*/ 393 h 512"/>
              <a:gd name="T82" fmla="*/ 318 w 512"/>
              <a:gd name="T83" fmla="*/ 327 h 512"/>
              <a:gd name="T84" fmla="*/ 384 w 512"/>
              <a:gd name="T85" fmla="*/ 327 h 512"/>
              <a:gd name="T86" fmla="*/ 394 w 512"/>
              <a:gd name="T87" fmla="*/ 316 h 512"/>
              <a:gd name="T88" fmla="*/ 384 w 512"/>
              <a:gd name="T89" fmla="*/ 305 h 512"/>
              <a:gd name="T90" fmla="*/ 320 w 512"/>
              <a:gd name="T91" fmla="*/ 305 h 512"/>
              <a:gd name="T92" fmla="*/ 333 w 512"/>
              <a:gd name="T93" fmla="*/ 206 h 512"/>
              <a:gd name="T94" fmla="*/ 400 w 512"/>
              <a:gd name="T95" fmla="*/ 206 h 512"/>
              <a:gd name="T96" fmla="*/ 410 w 512"/>
              <a:gd name="T97" fmla="*/ 19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13" y="206"/>
                </a:moveTo>
                <a:cubicBezTo>
                  <a:pt x="312" y="206"/>
                  <a:pt x="312" y="206"/>
                  <a:pt x="312" y="206"/>
                </a:cubicBezTo>
                <a:cubicBezTo>
                  <a:pt x="299" y="305"/>
                  <a:pt x="299" y="305"/>
                  <a:pt x="299" y="305"/>
                </a:cubicBezTo>
                <a:cubicBezTo>
                  <a:pt x="199" y="305"/>
                  <a:pt x="199" y="305"/>
                  <a:pt x="199" y="305"/>
                </a:cubicBezTo>
                <a:lnTo>
                  <a:pt x="213" y="20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0" y="195"/>
                </a:moveTo>
                <a:cubicBezTo>
                  <a:pt x="410" y="189"/>
                  <a:pt x="406" y="185"/>
                  <a:pt x="400" y="185"/>
                </a:cubicBezTo>
                <a:cubicBezTo>
                  <a:pt x="336" y="185"/>
                  <a:pt x="336" y="185"/>
                  <a:pt x="336" y="185"/>
                </a:cubicBezTo>
                <a:cubicBezTo>
                  <a:pt x="345" y="121"/>
                  <a:pt x="345" y="121"/>
                  <a:pt x="345" y="121"/>
                </a:cubicBezTo>
                <a:cubicBezTo>
                  <a:pt x="345" y="115"/>
                  <a:pt x="341" y="110"/>
                  <a:pt x="335" y="109"/>
                </a:cubicBezTo>
                <a:cubicBezTo>
                  <a:pt x="330" y="108"/>
                  <a:pt x="324" y="112"/>
                  <a:pt x="323" y="118"/>
                </a:cubicBezTo>
                <a:cubicBezTo>
                  <a:pt x="315" y="185"/>
                  <a:pt x="315" y="185"/>
                  <a:pt x="315" y="185"/>
                </a:cubicBezTo>
                <a:cubicBezTo>
                  <a:pt x="215" y="185"/>
                  <a:pt x="215" y="185"/>
                  <a:pt x="215" y="185"/>
                </a:cubicBezTo>
                <a:cubicBezTo>
                  <a:pt x="224" y="121"/>
                  <a:pt x="224" y="121"/>
                  <a:pt x="224" y="121"/>
                </a:cubicBezTo>
                <a:cubicBezTo>
                  <a:pt x="224" y="115"/>
                  <a:pt x="220" y="110"/>
                  <a:pt x="215" y="109"/>
                </a:cubicBezTo>
                <a:cubicBezTo>
                  <a:pt x="209" y="108"/>
                  <a:pt x="203" y="112"/>
                  <a:pt x="203" y="118"/>
                </a:cubicBezTo>
                <a:cubicBezTo>
                  <a:pt x="194" y="185"/>
                  <a:pt x="194" y="185"/>
                  <a:pt x="194" y="185"/>
                </a:cubicBezTo>
                <a:cubicBezTo>
                  <a:pt x="128" y="185"/>
                  <a:pt x="128" y="185"/>
                  <a:pt x="128" y="185"/>
                </a:cubicBezTo>
                <a:cubicBezTo>
                  <a:pt x="122" y="185"/>
                  <a:pt x="117" y="189"/>
                  <a:pt x="117" y="195"/>
                </a:cubicBezTo>
                <a:cubicBezTo>
                  <a:pt x="117" y="201"/>
                  <a:pt x="122" y="206"/>
                  <a:pt x="128" y="206"/>
                </a:cubicBezTo>
                <a:cubicBezTo>
                  <a:pt x="191" y="206"/>
                  <a:pt x="191" y="206"/>
                  <a:pt x="191" y="206"/>
                </a:cubicBezTo>
                <a:cubicBezTo>
                  <a:pt x="178" y="305"/>
                  <a:pt x="178" y="305"/>
                  <a:pt x="178" y="305"/>
                </a:cubicBezTo>
                <a:cubicBezTo>
                  <a:pt x="112" y="305"/>
                  <a:pt x="112" y="305"/>
                  <a:pt x="112" y="305"/>
                </a:cubicBezTo>
                <a:cubicBezTo>
                  <a:pt x="106" y="305"/>
                  <a:pt x="101" y="310"/>
                  <a:pt x="101" y="316"/>
                </a:cubicBezTo>
                <a:cubicBezTo>
                  <a:pt x="101" y="322"/>
                  <a:pt x="106" y="327"/>
                  <a:pt x="112" y="327"/>
                </a:cubicBezTo>
                <a:cubicBezTo>
                  <a:pt x="175" y="327"/>
                  <a:pt x="175" y="327"/>
                  <a:pt x="175" y="327"/>
                </a:cubicBezTo>
                <a:cubicBezTo>
                  <a:pt x="167" y="390"/>
                  <a:pt x="167" y="390"/>
                  <a:pt x="167" y="390"/>
                </a:cubicBezTo>
                <a:cubicBezTo>
                  <a:pt x="166" y="396"/>
                  <a:pt x="170" y="402"/>
                  <a:pt x="176" y="402"/>
                </a:cubicBezTo>
                <a:cubicBezTo>
                  <a:pt x="177" y="402"/>
                  <a:pt x="177" y="402"/>
                  <a:pt x="177" y="402"/>
                </a:cubicBezTo>
                <a:cubicBezTo>
                  <a:pt x="183" y="402"/>
                  <a:pt x="187" y="398"/>
                  <a:pt x="188" y="393"/>
                </a:cubicBezTo>
                <a:cubicBezTo>
                  <a:pt x="197" y="327"/>
                  <a:pt x="197" y="327"/>
                  <a:pt x="197" y="327"/>
                </a:cubicBezTo>
                <a:cubicBezTo>
                  <a:pt x="296" y="327"/>
                  <a:pt x="296" y="327"/>
                  <a:pt x="296" y="327"/>
                </a:cubicBezTo>
                <a:cubicBezTo>
                  <a:pt x="288" y="390"/>
                  <a:pt x="288" y="390"/>
                  <a:pt x="288" y="390"/>
                </a:cubicBezTo>
                <a:cubicBezTo>
                  <a:pt x="287" y="396"/>
                  <a:pt x="291" y="402"/>
                  <a:pt x="297" y="402"/>
                </a:cubicBezTo>
                <a:cubicBezTo>
                  <a:pt x="298" y="402"/>
                  <a:pt x="298" y="402"/>
                  <a:pt x="298" y="402"/>
                </a:cubicBezTo>
                <a:cubicBezTo>
                  <a:pt x="304" y="402"/>
                  <a:pt x="308" y="398"/>
                  <a:pt x="309" y="393"/>
                </a:cubicBezTo>
                <a:cubicBezTo>
                  <a:pt x="318" y="327"/>
                  <a:pt x="318" y="327"/>
                  <a:pt x="318" y="327"/>
                </a:cubicBezTo>
                <a:cubicBezTo>
                  <a:pt x="384" y="327"/>
                  <a:pt x="384" y="327"/>
                  <a:pt x="384" y="327"/>
                </a:cubicBezTo>
                <a:cubicBezTo>
                  <a:pt x="390" y="327"/>
                  <a:pt x="394" y="322"/>
                  <a:pt x="394" y="316"/>
                </a:cubicBezTo>
                <a:cubicBezTo>
                  <a:pt x="394" y="310"/>
                  <a:pt x="390" y="305"/>
                  <a:pt x="384" y="305"/>
                </a:cubicBezTo>
                <a:cubicBezTo>
                  <a:pt x="320" y="305"/>
                  <a:pt x="320" y="305"/>
                  <a:pt x="320" y="305"/>
                </a:cubicBezTo>
                <a:cubicBezTo>
                  <a:pt x="333" y="206"/>
                  <a:pt x="333" y="206"/>
                  <a:pt x="333" y="206"/>
                </a:cubicBezTo>
                <a:cubicBezTo>
                  <a:pt x="400" y="206"/>
                  <a:pt x="400" y="206"/>
                  <a:pt x="400" y="206"/>
                </a:cubicBezTo>
                <a:cubicBezTo>
                  <a:pt x="406" y="206"/>
                  <a:pt x="410" y="201"/>
                  <a:pt x="410" y="19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61" name="Group 201"/>
          <p:cNvGrpSpPr>
            <a:grpSpLocks noChangeAspect="1"/>
          </p:cNvGrpSpPr>
          <p:nvPr/>
        </p:nvGrpSpPr>
        <p:grpSpPr bwMode="auto">
          <a:xfrm>
            <a:off x="6903591" y="6194138"/>
            <a:ext cx="367041" cy="367041"/>
            <a:chOff x="1152" y="749"/>
            <a:chExt cx="340" cy="340"/>
          </a:xfrm>
          <a:solidFill>
            <a:schemeClr val="accent3"/>
          </a:solidFill>
        </p:grpSpPr>
        <p:sp>
          <p:nvSpPr>
            <p:cNvPr id="862" name="Freeform 202"/>
            <p:cNvSpPr>
              <a:spLocks noEditPoints="1"/>
            </p:cNvSpPr>
            <p:nvPr/>
          </p:nvSpPr>
          <p:spPr bwMode="auto">
            <a:xfrm>
              <a:off x="1152" y="74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3" name="Freeform 203"/>
            <p:cNvSpPr>
              <a:spLocks noEditPoints="1"/>
            </p:cNvSpPr>
            <p:nvPr/>
          </p:nvSpPr>
          <p:spPr bwMode="auto">
            <a:xfrm>
              <a:off x="1219" y="821"/>
              <a:ext cx="205" cy="195"/>
            </a:xfrm>
            <a:custGeom>
              <a:avLst/>
              <a:gdLst>
                <a:gd name="T0" fmla="*/ 299 w 309"/>
                <a:gd name="T1" fmla="*/ 77 h 294"/>
                <a:gd name="T2" fmla="*/ 235 w 309"/>
                <a:gd name="T3" fmla="*/ 77 h 294"/>
                <a:gd name="T4" fmla="*/ 244 w 309"/>
                <a:gd name="T5" fmla="*/ 13 h 294"/>
                <a:gd name="T6" fmla="*/ 234 w 309"/>
                <a:gd name="T7" fmla="*/ 1 h 294"/>
                <a:gd name="T8" fmla="*/ 222 w 309"/>
                <a:gd name="T9" fmla="*/ 10 h 294"/>
                <a:gd name="T10" fmla="*/ 214 w 309"/>
                <a:gd name="T11" fmla="*/ 77 h 294"/>
                <a:gd name="T12" fmla="*/ 114 w 309"/>
                <a:gd name="T13" fmla="*/ 77 h 294"/>
                <a:gd name="T14" fmla="*/ 123 w 309"/>
                <a:gd name="T15" fmla="*/ 13 h 294"/>
                <a:gd name="T16" fmla="*/ 114 w 309"/>
                <a:gd name="T17" fmla="*/ 1 h 294"/>
                <a:gd name="T18" fmla="*/ 102 w 309"/>
                <a:gd name="T19" fmla="*/ 10 h 294"/>
                <a:gd name="T20" fmla="*/ 93 w 309"/>
                <a:gd name="T21" fmla="*/ 77 h 294"/>
                <a:gd name="T22" fmla="*/ 27 w 309"/>
                <a:gd name="T23" fmla="*/ 77 h 294"/>
                <a:gd name="T24" fmla="*/ 16 w 309"/>
                <a:gd name="T25" fmla="*/ 87 h 294"/>
                <a:gd name="T26" fmla="*/ 27 w 309"/>
                <a:gd name="T27" fmla="*/ 98 h 294"/>
                <a:gd name="T28" fmla="*/ 90 w 309"/>
                <a:gd name="T29" fmla="*/ 98 h 294"/>
                <a:gd name="T30" fmla="*/ 77 w 309"/>
                <a:gd name="T31" fmla="*/ 197 h 294"/>
                <a:gd name="T32" fmla="*/ 11 w 309"/>
                <a:gd name="T33" fmla="*/ 197 h 294"/>
                <a:gd name="T34" fmla="*/ 0 w 309"/>
                <a:gd name="T35" fmla="*/ 208 h 294"/>
                <a:gd name="T36" fmla="*/ 11 w 309"/>
                <a:gd name="T37" fmla="*/ 219 h 294"/>
                <a:gd name="T38" fmla="*/ 74 w 309"/>
                <a:gd name="T39" fmla="*/ 219 h 294"/>
                <a:gd name="T40" fmla="*/ 66 w 309"/>
                <a:gd name="T41" fmla="*/ 282 h 294"/>
                <a:gd name="T42" fmla="*/ 75 w 309"/>
                <a:gd name="T43" fmla="*/ 294 h 294"/>
                <a:gd name="T44" fmla="*/ 76 w 309"/>
                <a:gd name="T45" fmla="*/ 294 h 294"/>
                <a:gd name="T46" fmla="*/ 87 w 309"/>
                <a:gd name="T47" fmla="*/ 285 h 294"/>
                <a:gd name="T48" fmla="*/ 96 w 309"/>
                <a:gd name="T49" fmla="*/ 219 h 294"/>
                <a:gd name="T50" fmla="*/ 195 w 309"/>
                <a:gd name="T51" fmla="*/ 219 h 294"/>
                <a:gd name="T52" fmla="*/ 187 w 309"/>
                <a:gd name="T53" fmla="*/ 282 h 294"/>
                <a:gd name="T54" fmla="*/ 196 w 309"/>
                <a:gd name="T55" fmla="*/ 294 h 294"/>
                <a:gd name="T56" fmla="*/ 197 w 309"/>
                <a:gd name="T57" fmla="*/ 294 h 294"/>
                <a:gd name="T58" fmla="*/ 208 w 309"/>
                <a:gd name="T59" fmla="*/ 285 h 294"/>
                <a:gd name="T60" fmla="*/ 217 w 309"/>
                <a:gd name="T61" fmla="*/ 219 h 294"/>
                <a:gd name="T62" fmla="*/ 283 w 309"/>
                <a:gd name="T63" fmla="*/ 219 h 294"/>
                <a:gd name="T64" fmla="*/ 293 w 309"/>
                <a:gd name="T65" fmla="*/ 208 h 294"/>
                <a:gd name="T66" fmla="*/ 283 w 309"/>
                <a:gd name="T67" fmla="*/ 197 h 294"/>
                <a:gd name="T68" fmla="*/ 219 w 309"/>
                <a:gd name="T69" fmla="*/ 197 h 294"/>
                <a:gd name="T70" fmla="*/ 232 w 309"/>
                <a:gd name="T71" fmla="*/ 98 h 294"/>
                <a:gd name="T72" fmla="*/ 299 w 309"/>
                <a:gd name="T73" fmla="*/ 98 h 294"/>
                <a:gd name="T74" fmla="*/ 309 w 309"/>
                <a:gd name="T75" fmla="*/ 87 h 294"/>
                <a:gd name="T76" fmla="*/ 299 w 309"/>
                <a:gd name="T77" fmla="*/ 77 h 294"/>
                <a:gd name="T78" fmla="*/ 198 w 309"/>
                <a:gd name="T79" fmla="*/ 197 h 294"/>
                <a:gd name="T80" fmla="*/ 98 w 309"/>
                <a:gd name="T81" fmla="*/ 197 h 294"/>
                <a:gd name="T82" fmla="*/ 112 w 309"/>
                <a:gd name="T83" fmla="*/ 98 h 294"/>
                <a:gd name="T84" fmla="*/ 211 w 309"/>
                <a:gd name="T85" fmla="*/ 98 h 294"/>
                <a:gd name="T86" fmla="*/ 198 w 309"/>
                <a:gd name="T87" fmla="*/ 197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9" h="294">
                  <a:moveTo>
                    <a:pt x="299" y="77"/>
                  </a:moveTo>
                  <a:cubicBezTo>
                    <a:pt x="235" y="77"/>
                    <a:pt x="235" y="77"/>
                    <a:pt x="235" y="77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7"/>
                    <a:pt x="240" y="2"/>
                    <a:pt x="234" y="1"/>
                  </a:cubicBezTo>
                  <a:cubicBezTo>
                    <a:pt x="229" y="0"/>
                    <a:pt x="223" y="4"/>
                    <a:pt x="222" y="10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23" y="7"/>
                    <a:pt x="119" y="2"/>
                    <a:pt x="114" y="1"/>
                  </a:cubicBezTo>
                  <a:cubicBezTo>
                    <a:pt x="108" y="0"/>
                    <a:pt x="102" y="4"/>
                    <a:pt x="102" y="1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1" y="77"/>
                    <a:pt x="16" y="81"/>
                    <a:pt x="16" y="87"/>
                  </a:cubicBezTo>
                  <a:cubicBezTo>
                    <a:pt x="16" y="93"/>
                    <a:pt x="21" y="98"/>
                    <a:pt x="27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5" y="197"/>
                    <a:pt x="0" y="202"/>
                    <a:pt x="0" y="208"/>
                  </a:cubicBezTo>
                  <a:cubicBezTo>
                    <a:pt x="0" y="214"/>
                    <a:pt x="5" y="219"/>
                    <a:pt x="11" y="219"/>
                  </a:cubicBezTo>
                  <a:cubicBezTo>
                    <a:pt x="74" y="219"/>
                    <a:pt x="74" y="219"/>
                    <a:pt x="74" y="219"/>
                  </a:cubicBezTo>
                  <a:cubicBezTo>
                    <a:pt x="66" y="282"/>
                    <a:pt x="66" y="282"/>
                    <a:pt x="66" y="282"/>
                  </a:cubicBezTo>
                  <a:cubicBezTo>
                    <a:pt x="65" y="288"/>
                    <a:pt x="69" y="294"/>
                    <a:pt x="75" y="294"/>
                  </a:cubicBezTo>
                  <a:cubicBezTo>
                    <a:pt x="76" y="294"/>
                    <a:pt x="76" y="294"/>
                    <a:pt x="76" y="294"/>
                  </a:cubicBezTo>
                  <a:cubicBezTo>
                    <a:pt x="82" y="294"/>
                    <a:pt x="86" y="290"/>
                    <a:pt x="87" y="285"/>
                  </a:cubicBezTo>
                  <a:cubicBezTo>
                    <a:pt x="96" y="219"/>
                    <a:pt x="96" y="219"/>
                    <a:pt x="96" y="219"/>
                  </a:cubicBezTo>
                  <a:cubicBezTo>
                    <a:pt x="195" y="219"/>
                    <a:pt x="195" y="219"/>
                    <a:pt x="195" y="219"/>
                  </a:cubicBezTo>
                  <a:cubicBezTo>
                    <a:pt x="187" y="282"/>
                    <a:pt x="187" y="282"/>
                    <a:pt x="187" y="282"/>
                  </a:cubicBezTo>
                  <a:cubicBezTo>
                    <a:pt x="186" y="288"/>
                    <a:pt x="190" y="294"/>
                    <a:pt x="196" y="294"/>
                  </a:cubicBezTo>
                  <a:cubicBezTo>
                    <a:pt x="197" y="294"/>
                    <a:pt x="197" y="294"/>
                    <a:pt x="197" y="294"/>
                  </a:cubicBezTo>
                  <a:cubicBezTo>
                    <a:pt x="203" y="294"/>
                    <a:pt x="207" y="290"/>
                    <a:pt x="208" y="285"/>
                  </a:cubicBezTo>
                  <a:cubicBezTo>
                    <a:pt x="217" y="219"/>
                    <a:pt x="217" y="219"/>
                    <a:pt x="217" y="219"/>
                  </a:cubicBezTo>
                  <a:cubicBezTo>
                    <a:pt x="283" y="219"/>
                    <a:pt x="283" y="219"/>
                    <a:pt x="283" y="219"/>
                  </a:cubicBezTo>
                  <a:cubicBezTo>
                    <a:pt x="289" y="219"/>
                    <a:pt x="293" y="214"/>
                    <a:pt x="293" y="208"/>
                  </a:cubicBezTo>
                  <a:cubicBezTo>
                    <a:pt x="293" y="202"/>
                    <a:pt x="289" y="197"/>
                    <a:pt x="283" y="197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32" y="98"/>
                    <a:pt x="232" y="98"/>
                    <a:pt x="232" y="98"/>
                  </a:cubicBezTo>
                  <a:cubicBezTo>
                    <a:pt x="299" y="98"/>
                    <a:pt x="299" y="98"/>
                    <a:pt x="299" y="98"/>
                  </a:cubicBezTo>
                  <a:cubicBezTo>
                    <a:pt x="305" y="98"/>
                    <a:pt x="309" y="93"/>
                    <a:pt x="309" y="87"/>
                  </a:cubicBezTo>
                  <a:cubicBezTo>
                    <a:pt x="309" y="81"/>
                    <a:pt x="305" y="77"/>
                    <a:pt x="299" y="77"/>
                  </a:cubicBezTo>
                  <a:close/>
                  <a:moveTo>
                    <a:pt x="198" y="197"/>
                  </a:moveTo>
                  <a:cubicBezTo>
                    <a:pt x="98" y="197"/>
                    <a:pt x="98" y="197"/>
                    <a:pt x="98" y="1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211" y="98"/>
                    <a:pt x="211" y="98"/>
                    <a:pt x="211" y="98"/>
                  </a:cubicBezTo>
                  <a:lnTo>
                    <a:pt x="198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64" name="TextBox 863"/>
          <p:cNvSpPr txBox="1"/>
          <p:nvPr/>
        </p:nvSpPr>
        <p:spPr>
          <a:xfrm>
            <a:off x="7433326" y="6594338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@</a:t>
            </a:r>
          </a:p>
        </p:txBody>
      </p:sp>
      <p:sp>
        <p:nvSpPr>
          <p:cNvPr id="865" name="Freeform 15"/>
          <p:cNvSpPr>
            <a:spLocks noChangeAspect="1" noEditPoints="1"/>
          </p:cNvSpPr>
          <p:nvPr/>
        </p:nvSpPr>
        <p:spPr bwMode="auto">
          <a:xfrm>
            <a:off x="7399398" y="6194135"/>
            <a:ext cx="368152" cy="368152"/>
          </a:xfrm>
          <a:custGeom>
            <a:avLst/>
            <a:gdLst>
              <a:gd name="T0" fmla="*/ 259 w 512"/>
              <a:gd name="T1" fmla="*/ 192 h 512"/>
              <a:gd name="T2" fmla="*/ 300 w 512"/>
              <a:gd name="T3" fmla="*/ 205 h 512"/>
              <a:gd name="T4" fmla="*/ 290 w 512"/>
              <a:gd name="T5" fmla="*/ 265 h 512"/>
              <a:gd name="T6" fmla="*/ 222 w 512"/>
              <a:gd name="T7" fmla="*/ 317 h 512"/>
              <a:gd name="T8" fmla="*/ 199 w 512"/>
              <a:gd name="T9" fmla="*/ 291 h 512"/>
              <a:gd name="T10" fmla="*/ 218 w 512"/>
              <a:gd name="T11" fmla="*/ 211 h 512"/>
              <a:gd name="T12" fmla="*/ 259 w 512"/>
              <a:gd name="T13" fmla="*/ 192 h 512"/>
              <a:gd name="T14" fmla="*/ 512 w 512"/>
              <a:gd name="T15" fmla="*/ 256 h 512"/>
              <a:gd name="T16" fmla="*/ 256 w 512"/>
              <a:gd name="T17" fmla="*/ 512 h 512"/>
              <a:gd name="T18" fmla="*/ 0 w 512"/>
              <a:gd name="T19" fmla="*/ 256 h 512"/>
              <a:gd name="T20" fmla="*/ 256 w 512"/>
              <a:gd name="T21" fmla="*/ 0 h 512"/>
              <a:gd name="T22" fmla="*/ 512 w 512"/>
              <a:gd name="T23" fmla="*/ 256 h 512"/>
              <a:gd name="T24" fmla="*/ 416 w 512"/>
              <a:gd name="T25" fmla="*/ 256 h 512"/>
              <a:gd name="T26" fmla="*/ 256 w 512"/>
              <a:gd name="T27" fmla="*/ 96 h 512"/>
              <a:gd name="T28" fmla="*/ 96 w 512"/>
              <a:gd name="T29" fmla="*/ 256 h 512"/>
              <a:gd name="T30" fmla="*/ 256 w 512"/>
              <a:gd name="T31" fmla="*/ 416 h 512"/>
              <a:gd name="T32" fmla="*/ 328 w 512"/>
              <a:gd name="T33" fmla="*/ 398 h 512"/>
              <a:gd name="T34" fmla="*/ 333 w 512"/>
              <a:gd name="T35" fmla="*/ 384 h 512"/>
              <a:gd name="T36" fmla="*/ 319 w 512"/>
              <a:gd name="T37" fmla="*/ 379 h 512"/>
              <a:gd name="T38" fmla="*/ 256 w 512"/>
              <a:gd name="T39" fmla="*/ 394 h 512"/>
              <a:gd name="T40" fmla="*/ 117 w 512"/>
              <a:gd name="T41" fmla="*/ 256 h 512"/>
              <a:gd name="T42" fmla="*/ 256 w 512"/>
              <a:gd name="T43" fmla="*/ 117 h 512"/>
              <a:gd name="T44" fmla="*/ 394 w 512"/>
              <a:gd name="T45" fmla="*/ 256 h 512"/>
              <a:gd name="T46" fmla="*/ 384 w 512"/>
              <a:gd name="T47" fmla="*/ 307 h 512"/>
              <a:gd name="T48" fmla="*/ 338 w 512"/>
              <a:gd name="T49" fmla="*/ 338 h 512"/>
              <a:gd name="T50" fmla="*/ 309 w 512"/>
              <a:gd name="T51" fmla="*/ 286 h 512"/>
              <a:gd name="T52" fmla="*/ 323 w 512"/>
              <a:gd name="T53" fmla="*/ 201 h 512"/>
              <a:gd name="T54" fmla="*/ 318 w 512"/>
              <a:gd name="T55" fmla="*/ 190 h 512"/>
              <a:gd name="T56" fmla="*/ 202 w 512"/>
              <a:gd name="T57" fmla="*/ 197 h 512"/>
              <a:gd name="T58" fmla="*/ 179 w 512"/>
              <a:gd name="T59" fmla="*/ 297 h 512"/>
              <a:gd name="T60" fmla="*/ 216 w 512"/>
              <a:gd name="T61" fmla="*/ 337 h 512"/>
              <a:gd name="T62" fmla="*/ 288 w 512"/>
              <a:gd name="T63" fmla="*/ 305 h 512"/>
              <a:gd name="T64" fmla="*/ 332 w 512"/>
              <a:gd name="T65" fmla="*/ 359 h 512"/>
              <a:gd name="T66" fmla="*/ 404 w 512"/>
              <a:gd name="T67" fmla="*/ 316 h 512"/>
              <a:gd name="T68" fmla="*/ 416 w 512"/>
              <a:gd name="T6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9" y="192"/>
                </a:moveTo>
                <a:cubicBezTo>
                  <a:pt x="275" y="192"/>
                  <a:pt x="291" y="199"/>
                  <a:pt x="300" y="205"/>
                </a:cubicBezTo>
                <a:cubicBezTo>
                  <a:pt x="290" y="265"/>
                  <a:pt x="290" y="265"/>
                  <a:pt x="290" y="265"/>
                </a:cubicBezTo>
                <a:cubicBezTo>
                  <a:pt x="280" y="283"/>
                  <a:pt x="249" y="325"/>
                  <a:pt x="222" y="317"/>
                </a:cubicBezTo>
                <a:cubicBezTo>
                  <a:pt x="208" y="313"/>
                  <a:pt x="202" y="300"/>
                  <a:pt x="199" y="291"/>
                </a:cubicBezTo>
                <a:cubicBezTo>
                  <a:pt x="192" y="265"/>
                  <a:pt x="200" y="232"/>
                  <a:pt x="218" y="211"/>
                </a:cubicBezTo>
                <a:cubicBezTo>
                  <a:pt x="231" y="197"/>
                  <a:pt x="245" y="192"/>
                  <a:pt x="259" y="19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8"/>
                  <a:pt x="344" y="96"/>
                  <a:pt x="256" y="96"/>
                </a:cubicBezTo>
                <a:cubicBezTo>
                  <a:pt x="168" y="96"/>
                  <a:pt x="96" y="168"/>
                  <a:pt x="96" y="256"/>
                </a:cubicBezTo>
                <a:cubicBezTo>
                  <a:pt x="96" y="344"/>
                  <a:pt x="168" y="416"/>
                  <a:pt x="256" y="416"/>
                </a:cubicBezTo>
                <a:cubicBezTo>
                  <a:pt x="281" y="416"/>
                  <a:pt x="306" y="410"/>
                  <a:pt x="328" y="398"/>
                </a:cubicBezTo>
                <a:cubicBezTo>
                  <a:pt x="333" y="395"/>
                  <a:pt x="336" y="389"/>
                  <a:pt x="333" y="384"/>
                </a:cubicBezTo>
                <a:cubicBezTo>
                  <a:pt x="330" y="379"/>
                  <a:pt x="324" y="376"/>
                  <a:pt x="319" y="379"/>
                </a:cubicBezTo>
                <a:cubicBezTo>
                  <a:pt x="299" y="389"/>
                  <a:pt x="278" y="394"/>
                  <a:pt x="256" y="394"/>
                </a:cubicBezTo>
                <a:cubicBezTo>
                  <a:pt x="179" y="394"/>
                  <a:pt x="117" y="332"/>
                  <a:pt x="117" y="256"/>
                </a:cubicBezTo>
                <a:cubicBezTo>
                  <a:pt x="117" y="179"/>
                  <a:pt x="179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274"/>
                  <a:pt x="391" y="291"/>
                  <a:pt x="384" y="307"/>
                </a:cubicBezTo>
                <a:cubicBezTo>
                  <a:pt x="384" y="308"/>
                  <a:pt x="365" y="346"/>
                  <a:pt x="338" y="338"/>
                </a:cubicBezTo>
                <a:cubicBezTo>
                  <a:pt x="303" y="329"/>
                  <a:pt x="308" y="287"/>
                  <a:pt x="309" y="286"/>
                </a:cubicBezTo>
                <a:cubicBezTo>
                  <a:pt x="323" y="201"/>
                  <a:pt x="323" y="201"/>
                  <a:pt x="323" y="201"/>
                </a:cubicBezTo>
                <a:cubicBezTo>
                  <a:pt x="323" y="197"/>
                  <a:pt x="322" y="193"/>
                  <a:pt x="318" y="190"/>
                </a:cubicBezTo>
                <a:cubicBezTo>
                  <a:pt x="284" y="168"/>
                  <a:pt x="236" y="158"/>
                  <a:pt x="202" y="197"/>
                </a:cubicBezTo>
                <a:cubicBezTo>
                  <a:pt x="179" y="223"/>
                  <a:pt x="169" y="264"/>
                  <a:pt x="179" y="297"/>
                </a:cubicBezTo>
                <a:cubicBezTo>
                  <a:pt x="185" y="318"/>
                  <a:pt x="198" y="332"/>
                  <a:pt x="216" y="337"/>
                </a:cubicBezTo>
                <a:cubicBezTo>
                  <a:pt x="245" y="345"/>
                  <a:pt x="270" y="325"/>
                  <a:pt x="288" y="305"/>
                </a:cubicBezTo>
                <a:cubicBezTo>
                  <a:pt x="291" y="326"/>
                  <a:pt x="302" y="350"/>
                  <a:pt x="332" y="359"/>
                </a:cubicBezTo>
                <a:cubicBezTo>
                  <a:pt x="376" y="371"/>
                  <a:pt x="402" y="319"/>
                  <a:pt x="404" y="316"/>
                </a:cubicBezTo>
                <a:cubicBezTo>
                  <a:pt x="412" y="297"/>
                  <a:pt x="416" y="276"/>
                  <a:pt x="416" y="2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66" name="Group 22"/>
          <p:cNvGrpSpPr>
            <a:grpSpLocks noChangeAspect="1"/>
          </p:cNvGrpSpPr>
          <p:nvPr/>
        </p:nvGrpSpPr>
        <p:grpSpPr bwMode="auto">
          <a:xfrm>
            <a:off x="7896319" y="6194131"/>
            <a:ext cx="368051" cy="368152"/>
            <a:chOff x="299" y="531"/>
            <a:chExt cx="3635" cy="3636"/>
          </a:xfrm>
          <a:solidFill>
            <a:schemeClr val="accent1"/>
          </a:solidFill>
        </p:grpSpPr>
        <p:sp>
          <p:nvSpPr>
            <p:cNvPr id="867" name="Freeform 23"/>
            <p:cNvSpPr>
              <a:spLocks noEditPoints="1"/>
            </p:cNvSpPr>
            <p:nvPr/>
          </p:nvSpPr>
          <p:spPr bwMode="auto">
            <a:xfrm>
              <a:off x="299" y="531"/>
              <a:ext cx="3635" cy="3636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8" name="Freeform 24"/>
            <p:cNvSpPr>
              <a:spLocks noEditPoints="1"/>
            </p:cNvSpPr>
            <p:nvPr/>
          </p:nvSpPr>
          <p:spPr bwMode="auto">
            <a:xfrm>
              <a:off x="980" y="1213"/>
              <a:ext cx="2272" cy="2272"/>
            </a:xfrm>
            <a:custGeom>
              <a:avLst/>
              <a:gdLst>
                <a:gd name="T0" fmla="*/ 160 w 320"/>
                <a:gd name="T1" fmla="*/ 320 h 320"/>
                <a:gd name="T2" fmla="*/ 0 w 320"/>
                <a:gd name="T3" fmla="*/ 160 h 320"/>
                <a:gd name="T4" fmla="*/ 160 w 320"/>
                <a:gd name="T5" fmla="*/ 0 h 320"/>
                <a:gd name="T6" fmla="*/ 320 w 320"/>
                <a:gd name="T7" fmla="*/ 160 h 320"/>
                <a:gd name="T8" fmla="*/ 308 w 320"/>
                <a:gd name="T9" fmla="*/ 220 h 320"/>
                <a:gd name="T10" fmla="*/ 236 w 320"/>
                <a:gd name="T11" fmla="*/ 263 h 320"/>
                <a:gd name="T12" fmla="*/ 192 w 320"/>
                <a:gd name="T13" fmla="*/ 209 h 320"/>
                <a:gd name="T14" fmla="*/ 120 w 320"/>
                <a:gd name="T15" fmla="*/ 241 h 320"/>
                <a:gd name="T16" fmla="*/ 83 w 320"/>
                <a:gd name="T17" fmla="*/ 201 h 320"/>
                <a:gd name="T18" fmla="*/ 106 w 320"/>
                <a:gd name="T19" fmla="*/ 101 h 320"/>
                <a:gd name="T20" fmla="*/ 222 w 320"/>
                <a:gd name="T21" fmla="*/ 94 h 320"/>
                <a:gd name="T22" fmla="*/ 227 w 320"/>
                <a:gd name="T23" fmla="*/ 105 h 320"/>
                <a:gd name="T24" fmla="*/ 213 w 320"/>
                <a:gd name="T25" fmla="*/ 190 h 320"/>
                <a:gd name="T26" fmla="*/ 242 w 320"/>
                <a:gd name="T27" fmla="*/ 242 h 320"/>
                <a:gd name="T28" fmla="*/ 288 w 320"/>
                <a:gd name="T29" fmla="*/ 211 h 320"/>
                <a:gd name="T30" fmla="*/ 298 w 320"/>
                <a:gd name="T31" fmla="*/ 160 h 320"/>
                <a:gd name="T32" fmla="*/ 160 w 320"/>
                <a:gd name="T33" fmla="*/ 21 h 320"/>
                <a:gd name="T34" fmla="*/ 21 w 320"/>
                <a:gd name="T35" fmla="*/ 160 h 320"/>
                <a:gd name="T36" fmla="*/ 160 w 320"/>
                <a:gd name="T37" fmla="*/ 298 h 320"/>
                <a:gd name="T38" fmla="*/ 223 w 320"/>
                <a:gd name="T39" fmla="*/ 283 h 320"/>
                <a:gd name="T40" fmla="*/ 237 w 320"/>
                <a:gd name="T41" fmla="*/ 288 h 320"/>
                <a:gd name="T42" fmla="*/ 232 w 320"/>
                <a:gd name="T43" fmla="*/ 302 h 320"/>
                <a:gd name="T44" fmla="*/ 160 w 320"/>
                <a:gd name="T45" fmla="*/ 320 h 320"/>
                <a:gd name="T46" fmla="*/ 163 w 320"/>
                <a:gd name="T47" fmla="*/ 96 h 320"/>
                <a:gd name="T48" fmla="*/ 122 w 320"/>
                <a:gd name="T49" fmla="*/ 115 h 320"/>
                <a:gd name="T50" fmla="*/ 103 w 320"/>
                <a:gd name="T51" fmla="*/ 195 h 320"/>
                <a:gd name="T52" fmla="*/ 126 w 320"/>
                <a:gd name="T53" fmla="*/ 221 h 320"/>
                <a:gd name="T54" fmla="*/ 194 w 320"/>
                <a:gd name="T55" fmla="*/ 169 h 320"/>
                <a:gd name="T56" fmla="*/ 204 w 320"/>
                <a:gd name="T57" fmla="*/ 109 h 320"/>
                <a:gd name="T58" fmla="*/ 163 w 320"/>
                <a:gd name="T59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0" h="320">
                  <a:moveTo>
                    <a:pt x="160" y="320"/>
                  </a:moveTo>
                  <a:cubicBezTo>
                    <a:pt x="72" y="320"/>
                    <a:pt x="0" y="248"/>
                    <a:pt x="0" y="160"/>
                  </a:cubicBezTo>
                  <a:cubicBezTo>
                    <a:pt x="0" y="72"/>
                    <a:pt x="72" y="0"/>
                    <a:pt x="160" y="0"/>
                  </a:cubicBezTo>
                  <a:cubicBezTo>
                    <a:pt x="248" y="0"/>
                    <a:pt x="320" y="72"/>
                    <a:pt x="320" y="160"/>
                  </a:cubicBezTo>
                  <a:cubicBezTo>
                    <a:pt x="320" y="180"/>
                    <a:pt x="316" y="201"/>
                    <a:pt x="308" y="220"/>
                  </a:cubicBezTo>
                  <a:cubicBezTo>
                    <a:pt x="306" y="223"/>
                    <a:pt x="280" y="275"/>
                    <a:pt x="236" y="263"/>
                  </a:cubicBezTo>
                  <a:cubicBezTo>
                    <a:pt x="206" y="254"/>
                    <a:pt x="195" y="230"/>
                    <a:pt x="192" y="209"/>
                  </a:cubicBezTo>
                  <a:cubicBezTo>
                    <a:pt x="174" y="229"/>
                    <a:pt x="149" y="249"/>
                    <a:pt x="120" y="241"/>
                  </a:cubicBezTo>
                  <a:cubicBezTo>
                    <a:pt x="102" y="236"/>
                    <a:pt x="89" y="222"/>
                    <a:pt x="83" y="201"/>
                  </a:cubicBezTo>
                  <a:cubicBezTo>
                    <a:pt x="73" y="168"/>
                    <a:pt x="83" y="127"/>
                    <a:pt x="106" y="101"/>
                  </a:cubicBezTo>
                  <a:cubicBezTo>
                    <a:pt x="140" y="62"/>
                    <a:pt x="188" y="72"/>
                    <a:pt x="222" y="94"/>
                  </a:cubicBezTo>
                  <a:cubicBezTo>
                    <a:pt x="226" y="97"/>
                    <a:pt x="227" y="101"/>
                    <a:pt x="227" y="105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12" y="191"/>
                    <a:pt x="207" y="233"/>
                    <a:pt x="242" y="242"/>
                  </a:cubicBezTo>
                  <a:cubicBezTo>
                    <a:pt x="269" y="250"/>
                    <a:pt x="288" y="212"/>
                    <a:pt x="288" y="211"/>
                  </a:cubicBezTo>
                  <a:cubicBezTo>
                    <a:pt x="295" y="195"/>
                    <a:pt x="298" y="178"/>
                    <a:pt x="298" y="160"/>
                  </a:cubicBezTo>
                  <a:cubicBezTo>
                    <a:pt x="298" y="83"/>
                    <a:pt x="236" y="21"/>
                    <a:pt x="160" y="21"/>
                  </a:cubicBezTo>
                  <a:cubicBezTo>
                    <a:pt x="83" y="21"/>
                    <a:pt x="21" y="83"/>
                    <a:pt x="21" y="160"/>
                  </a:cubicBezTo>
                  <a:cubicBezTo>
                    <a:pt x="21" y="236"/>
                    <a:pt x="83" y="298"/>
                    <a:pt x="160" y="298"/>
                  </a:cubicBezTo>
                  <a:cubicBezTo>
                    <a:pt x="182" y="298"/>
                    <a:pt x="203" y="293"/>
                    <a:pt x="223" y="283"/>
                  </a:cubicBezTo>
                  <a:cubicBezTo>
                    <a:pt x="228" y="280"/>
                    <a:pt x="234" y="283"/>
                    <a:pt x="237" y="288"/>
                  </a:cubicBezTo>
                  <a:cubicBezTo>
                    <a:pt x="240" y="293"/>
                    <a:pt x="237" y="299"/>
                    <a:pt x="232" y="302"/>
                  </a:cubicBezTo>
                  <a:cubicBezTo>
                    <a:pt x="210" y="314"/>
                    <a:pt x="185" y="320"/>
                    <a:pt x="160" y="320"/>
                  </a:cubicBezTo>
                  <a:close/>
                  <a:moveTo>
                    <a:pt x="163" y="96"/>
                  </a:moveTo>
                  <a:cubicBezTo>
                    <a:pt x="149" y="96"/>
                    <a:pt x="135" y="101"/>
                    <a:pt x="122" y="115"/>
                  </a:cubicBezTo>
                  <a:cubicBezTo>
                    <a:pt x="104" y="136"/>
                    <a:pt x="96" y="169"/>
                    <a:pt x="103" y="195"/>
                  </a:cubicBezTo>
                  <a:cubicBezTo>
                    <a:pt x="106" y="204"/>
                    <a:pt x="112" y="217"/>
                    <a:pt x="126" y="221"/>
                  </a:cubicBezTo>
                  <a:cubicBezTo>
                    <a:pt x="153" y="229"/>
                    <a:pt x="184" y="187"/>
                    <a:pt x="194" y="169"/>
                  </a:cubicBezTo>
                  <a:cubicBezTo>
                    <a:pt x="204" y="109"/>
                    <a:pt x="204" y="109"/>
                    <a:pt x="204" y="109"/>
                  </a:cubicBezTo>
                  <a:cubicBezTo>
                    <a:pt x="195" y="103"/>
                    <a:pt x="179" y="96"/>
                    <a:pt x="163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69" name="TextBox 868"/>
          <p:cNvSpPr txBox="1"/>
          <p:nvPr/>
        </p:nvSpPr>
        <p:spPr>
          <a:xfrm>
            <a:off x="9484341" y="4982199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edit</a:t>
            </a:r>
          </a:p>
        </p:txBody>
      </p:sp>
      <p:sp>
        <p:nvSpPr>
          <p:cNvPr id="870" name="Freeform 680"/>
          <p:cNvSpPr>
            <a:spLocks noChangeAspect="1" noEditPoints="1"/>
          </p:cNvSpPr>
          <p:nvPr/>
        </p:nvSpPr>
        <p:spPr bwMode="auto">
          <a:xfrm>
            <a:off x="9390137" y="4579667"/>
            <a:ext cx="367632" cy="367631"/>
          </a:xfrm>
          <a:custGeom>
            <a:avLst/>
            <a:gdLst>
              <a:gd name="T0" fmla="*/ 337 w 512"/>
              <a:gd name="T1" fmla="*/ 202 h 512"/>
              <a:gd name="T2" fmla="*/ 309 w 512"/>
              <a:gd name="T3" fmla="*/ 175 h 512"/>
              <a:gd name="T4" fmla="*/ 215 w 512"/>
              <a:gd name="T5" fmla="*/ 312 h 512"/>
              <a:gd name="T6" fmla="*/ 226 w 512"/>
              <a:gd name="T7" fmla="*/ 300 h 512"/>
              <a:gd name="T8" fmla="*/ 138 w 512"/>
              <a:gd name="T9" fmla="*/ 207 h 512"/>
              <a:gd name="T10" fmla="*/ 197 w 512"/>
              <a:gd name="T11" fmla="*/ 299 h 512"/>
              <a:gd name="T12" fmla="*/ 512 w 512"/>
              <a:gd name="T13" fmla="*/ 256 h 512"/>
              <a:gd name="T14" fmla="*/ 0 w 512"/>
              <a:gd name="T15" fmla="*/ 256 h 512"/>
              <a:gd name="T16" fmla="*/ 512 w 512"/>
              <a:gd name="T17" fmla="*/ 256 h 512"/>
              <a:gd name="T18" fmla="*/ 195 w 512"/>
              <a:gd name="T19" fmla="*/ 327 h 512"/>
              <a:gd name="T20" fmla="*/ 242 w 512"/>
              <a:gd name="T21" fmla="*/ 341 h 512"/>
              <a:gd name="T22" fmla="*/ 253 w 512"/>
              <a:gd name="T23" fmla="*/ 338 h 512"/>
              <a:gd name="T24" fmla="*/ 245 w 512"/>
              <a:gd name="T25" fmla="*/ 285 h 512"/>
              <a:gd name="T26" fmla="*/ 146 w 512"/>
              <a:gd name="T27" fmla="*/ 184 h 512"/>
              <a:gd name="T28" fmla="*/ 99 w 512"/>
              <a:gd name="T29" fmla="*/ 216 h 512"/>
              <a:gd name="T30" fmla="*/ 373 w 512"/>
              <a:gd name="T31" fmla="*/ 213 h 512"/>
              <a:gd name="T32" fmla="*/ 372 w 512"/>
              <a:gd name="T33" fmla="*/ 209 h 512"/>
              <a:gd name="T34" fmla="*/ 306 w 512"/>
              <a:gd name="T35" fmla="*/ 141 h 512"/>
              <a:gd name="T36" fmla="*/ 298 w 512"/>
              <a:gd name="T37" fmla="*/ 138 h 512"/>
              <a:gd name="T38" fmla="*/ 170 w 512"/>
              <a:gd name="T39" fmla="*/ 149 h 512"/>
              <a:gd name="T40" fmla="*/ 181 w 512"/>
              <a:gd name="T41" fmla="*/ 192 h 512"/>
              <a:gd name="T42" fmla="*/ 192 w 512"/>
              <a:gd name="T43" fmla="*/ 160 h 512"/>
              <a:gd name="T44" fmla="*/ 288 w 512"/>
              <a:gd name="T45" fmla="*/ 213 h 512"/>
              <a:gd name="T46" fmla="*/ 352 w 512"/>
              <a:gd name="T47" fmla="*/ 224 h 512"/>
              <a:gd name="T48" fmla="*/ 192 w 512"/>
              <a:gd name="T49" fmla="*/ 394 h 512"/>
              <a:gd name="T50" fmla="*/ 181 w 512"/>
              <a:gd name="T51" fmla="*/ 341 h 512"/>
              <a:gd name="T52" fmla="*/ 170 w 512"/>
              <a:gd name="T53" fmla="*/ 405 h 512"/>
              <a:gd name="T54" fmla="*/ 362 w 512"/>
              <a:gd name="T55" fmla="*/ 416 h 512"/>
              <a:gd name="T56" fmla="*/ 373 w 512"/>
              <a:gd name="T57" fmla="*/ 213 h 512"/>
              <a:gd name="T58" fmla="*/ 320 w 512"/>
              <a:gd name="T59" fmla="*/ 277 h 512"/>
              <a:gd name="T60" fmla="*/ 266 w 512"/>
              <a:gd name="T61" fmla="*/ 288 h 512"/>
              <a:gd name="T62" fmla="*/ 320 w 512"/>
              <a:gd name="T63" fmla="*/ 298 h 512"/>
              <a:gd name="T64" fmla="*/ 320 w 512"/>
              <a:gd name="T65" fmla="*/ 320 h 512"/>
              <a:gd name="T66" fmla="*/ 277 w 512"/>
              <a:gd name="T67" fmla="*/ 330 h 512"/>
              <a:gd name="T68" fmla="*/ 320 w 512"/>
              <a:gd name="T69" fmla="*/ 341 h 512"/>
              <a:gd name="T70" fmla="*/ 320 w 512"/>
              <a:gd name="T71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309" y="175"/>
                </a:moveTo>
                <a:cubicBezTo>
                  <a:pt x="337" y="202"/>
                  <a:pt x="337" y="202"/>
                  <a:pt x="337" y="202"/>
                </a:cubicBezTo>
                <a:cubicBezTo>
                  <a:pt x="309" y="202"/>
                  <a:pt x="309" y="202"/>
                  <a:pt x="309" y="202"/>
                </a:cubicBezTo>
                <a:lnTo>
                  <a:pt x="309" y="175"/>
                </a:lnTo>
                <a:close/>
                <a:moveTo>
                  <a:pt x="226" y="300"/>
                </a:moveTo>
                <a:cubicBezTo>
                  <a:pt x="215" y="312"/>
                  <a:pt x="215" y="312"/>
                  <a:pt x="215" y="312"/>
                </a:cubicBezTo>
                <a:cubicBezTo>
                  <a:pt x="230" y="316"/>
                  <a:pt x="230" y="316"/>
                  <a:pt x="230" y="316"/>
                </a:cubicBezTo>
                <a:lnTo>
                  <a:pt x="226" y="300"/>
                </a:lnTo>
                <a:close/>
                <a:moveTo>
                  <a:pt x="214" y="282"/>
                </a:moveTo>
                <a:cubicBezTo>
                  <a:pt x="138" y="207"/>
                  <a:pt x="138" y="207"/>
                  <a:pt x="138" y="207"/>
                </a:cubicBezTo>
                <a:cubicBezTo>
                  <a:pt x="121" y="224"/>
                  <a:pt x="121" y="224"/>
                  <a:pt x="121" y="224"/>
                </a:cubicBezTo>
                <a:cubicBezTo>
                  <a:pt x="197" y="299"/>
                  <a:pt x="197" y="299"/>
                  <a:pt x="197" y="299"/>
                </a:cubicBezTo>
                <a:lnTo>
                  <a:pt x="214" y="28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99" y="231"/>
                </a:moveTo>
                <a:cubicBezTo>
                  <a:pt x="195" y="327"/>
                  <a:pt x="195" y="327"/>
                  <a:pt x="195" y="327"/>
                </a:cubicBezTo>
                <a:cubicBezTo>
                  <a:pt x="196" y="329"/>
                  <a:pt x="198" y="330"/>
                  <a:pt x="200" y="330"/>
                </a:cubicBezTo>
                <a:cubicBezTo>
                  <a:pt x="242" y="341"/>
                  <a:pt x="242" y="341"/>
                  <a:pt x="242" y="341"/>
                </a:cubicBezTo>
                <a:cubicBezTo>
                  <a:pt x="243" y="341"/>
                  <a:pt x="244" y="341"/>
                  <a:pt x="245" y="341"/>
                </a:cubicBezTo>
                <a:cubicBezTo>
                  <a:pt x="248" y="341"/>
                  <a:pt x="251" y="340"/>
                  <a:pt x="253" y="338"/>
                </a:cubicBezTo>
                <a:cubicBezTo>
                  <a:pt x="255" y="335"/>
                  <a:pt x="256" y="331"/>
                  <a:pt x="255" y="328"/>
                </a:cubicBezTo>
                <a:cubicBezTo>
                  <a:pt x="245" y="285"/>
                  <a:pt x="245" y="285"/>
                  <a:pt x="245" y="285"/>
                </a:cubicBezTo>
                <a:cubicBezTo>
                  <a:pt x="244" y="283"/>
                  <a:pt x="243" y="281"/>
                  <a:pt x="242" y="280"/>
                </a:cubicBezTo>
                <a:cubicBezTo>
                  <a:pt x="146" y="184"/>
                  <a:pt x="146" y="184"/>
                  <a:pt x="146" y="184"/>
                </a:cubicBezTo>
                <a:cubicBezTo>
                  <a:pt x="142" y="180"/>
                  <a:pt x="135" y="180"/>
                  <a:pt x="131" y="184"/>
                </a:cubicBezTo>
                <a:cubicBezTo>
                  <a:pt x="99" y="216"/>
                  <a:pt x="99" y="216"/>
                  <a:pt x="99" y="216"/>
                </a:cubicBezTo>
                <a:cubicBezTo>
                  <a:pt x="95" y="220"/>
                  <a:pt x="95" y="227"/>
                  <a:pt x="99" y="231"/>
                </a:cubicBezTo>
                <a:close/>
                <a:moveTo>
                  <a:pt x="373" y="213"/>
                </a:moveTo>
                <a:cubicBezTo>
                  <a:pt x="373" y="213"/>
                  <a:pt x="373" y="213"/>
                  <a:pt x="373" y="213"/>
                </a:cubicBezTo>
                <a:cubicBezTo>
                  <a:pt x="373" y="211"/>
                  <a:pt x="373" y="210"/>
                  <a:pt x="372" y="209"/>
                </a:cubicBezTo>
                <a:cubicBezTo>
                  <a:pt x="372" y="208"/>
                  <a:pt x="371" y="206"/>
                  <a:pt x="370" y="205"/>
                </a:cubicBezTo>
                <a:cubicBezTo>
                  <a:pt x="306" y="141"/>
                  <a:pt x="306" y="141"/>
                  <a:pt x="306" y="141"/>
                </a:cubicBezTo>
                <a:cubicBezTo>
                  <a:pt x="305" y="140"/>
                  <a:pt x="304" y="140"/>
                  <a:pt x="302" y="139"/>
                </a:cubicBezTo>
                <a:cubicBezTo>
                  <a:pt x="301" y="139"/>
                  <a:pt x="300" y="138"/>
                  <a:pt x="298" y="138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175" y="138"/>
                  <a:pt x="170" y="143"/>
                  <a:pt x="170" y="149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70" y="187"/>
                  <a:pt x="175" y="192"/>
                  <a:pt x="181" y="192"/>
                </a:cubicBezTo>
                <a:cubicBezTo>
                  <a:pt x="187" y="192"/>
                  <a:pt x="192" y="187"/>
                  <a:pt x="192" y="181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288" y="160"/>
                  <a:pt x="288" y="160"/>
                  <a:pt x="288" y="160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92" y="346"/>
                  <a:pt x="187" y="341"/>
                  <a:pt x="181" y="341"/>
                </a:cubicBezTo>
                <a:cubicBezTo>
                  <a:pt x="175" y="341"/>
                  <a:pt x="170" y="346"/>
                  <a:pt x="170" y="352"/>
                </a:cubicBezTo>
                <a:cubicBezTo>
                  <a:pt x="170" y="405"/>
                  <a:pt x="170" y="405"/>
                  <a:pt x="170" y="405"/>
                </a:cubicBezTo>
                <a:cubicBezTo>
                  <a:pt x="170" y="411"/>
                  <a:pt x="175" y="416"/>
                  <a:pt x="181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213"/>
                </a:lnTo>
                <a:close/>
                <a:moveTo>
                  <a:pt x="330" y="288"/>
                </a:moveTo>
                <a:cubicBezTo>
                  <a:pt x="330" y="282"/>
                  <a:pt x="326" y="277"/>
                  <a:pt x="320" y="277"/>
                </a:cubicBezTo>
                <a:cubicBezTo>
                  <a:pt x="277" y="277"/>
                  <a:pt x="277" y="277"/>
                  <a:pt x="277" y="277"/>
                </a:cubicBezTo>
                <a:cubicBezTo>
                  <a:pt x="271" y="277"/>
                  <a:pt x="266" y="282"/>
                  <a:pt x="266" y="288"/>
                </a:cubicBezTo>
                <a:cubicBezTo>
                  <a:pt x="266" y="294"/>
                  <a:pt x="271" y="298"/>
                  <a:pt x="277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6" y="298"/>
                  <a:pt x="330" y="294"/>
                  <a:pt x="330" y="288"/>
                </a:cubicBezTo>
                <a:close/>
                <a:moveTo>
                  <a:pt x="320" y="320"/>
                </a:moveTo>
                <a:cubicBezTo>
                  <a:pt x="288" y="320"/>
                  <a:pt x="288" y="320"/>
                  <a:pt x="288" y="320"/>
                </a:cubicBezTo>
                <a:cubicBezTo>
                  <a:pt x="282" y="320"/>
                  <a:pt x="277" y="324"/>
                  <a:pt x="277" y="330"/>
                </a:cubicBezTo>
                <a:cubicBezTo>
                  <a:pt x="277" y="336"/>
                  <a:pt x="282" y="341"/>
                  <a:pt x="288" y="341"/>
                </a:cubicBezTo>
                <a:cubicBezTo>
                  <a:pt x="320" y="341"/>
                  <a:pt x="320" y="341"/>
                  <a:pt x="320" y="341"/>
                </a:cubicBezTo>
                <a:cubicBezTo>
                  <a:pt x="326" y="341"/>
                  <a:pt x="330" y="336"/>
                  <a:pt x="330" y="330"/>
                </a:cubicBezTo>
                <a:cubicBezTo>
                  <a:pt x="330" y="324"/>
                  <a:pt x="326" y="320"/>
                  <a:pt x="320" y="32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71" name="Group 683"/>
          <p:cNvGrpSpPr>
            <a:grpSpLocks noChangeAspect="1"/>
          </p:cNvGrpSpPr>
          <p:nvPr/>
        </p:nvGrpSpPr>
        <p:grpSpPr bwMode="auto">
          <a:xfrm>
            <a:off x="9886726" y="4579663"/>
            <a:ext cx="367631" cy="367631"/>
            <a:chOff x="377" y="2771"/>
            <a:chExt cx="340" cy="340"/>
          </a:xfrm>
          <a:solidFill>
            <a:schemeClr val="accent2"/>
          </a:solidFill>
        </p:grpSpPr>
        <p:sp>
          <p:nvSpPr>
            <p:cNvPr id="872" name="Freeform 684"/>
            <p:cNvSpPr>
              <a:spLocks noEditPoints="1"/>
            </p:cNvSpPr>
            <p:nvPr/>
          </p:nvSpPr>
          <p:spPr bwMode="auto">
            <a:xfrm>
              <a:off x="377" y="277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3" name="Freeform 685"/>
            <p:cNvSpPr>
              <a:spLocks noEditPoints="1"/>
            </p:cNvSpPr>
            <p:nvPr/>
          </p:nvSpPr>
          <p:spPr bwMode="auto">
            <a:xfrm>
              <a:off x="440" y="2863"/>
              <a:ext cx="185" cy="184"/>
            </a:xfrm>
            <a:custGeom>
              <a:avLst/>
              <a:gdLst>
                <a:gd name="T0" fmla="*/ 277 w 278"/>
                <a:gd name="T1" fmla="*/ 71 h 278"/>
                <a:gd name="T2" fmla="*/ 211 w 278"/>
                <a:gd name="T3" fmla="*/ 3 h 278"/>
                <a:gd name="T4" fmla="*/ 203 w 278"/>
                <a:gd name="T5" fmla="*/ 0 h 278"/>
                <a:gd name="T6" fmla="*/ 75 w 278"/>
                <a:gd name="T7" fmla="*/ 11 h 278"/>
                <a:gd name="T8" fmla="*/ 86 w 278"/>
                <a:gd name="T9" fmla="*/ 54 h 278"/>
                <a:gd name="T10" fmla="*/ 97 w 278"/>
                <a:gd name="T11" fmla="*/ 22 h 278"/>
                <a:gd name="T12" fmla="*/ 193 w 278"/>
                <a:gd name="T13" fmla="*/ 75 h 278"/>
                <a:gd name="T14" fmla="*/ 257 w 278"/>
                <a:gd name="T15" fmla="*/ 86 h 278"/>
                <a:gd name="T16" fmla="*/ 97 w 278"/>
                <a:gd name="T17" fmla="*/ 256 h 278"/>
                <a:gd name="T18" fmla="*/ 86 w 278"/>
                <a:gd name="T19" fmla="*/ 203 h 278"/>
                <a:gd name="T20" fmla="*/ 75 w 278"/>
                <a:gd name="T21" fmla="*/ 267 h 278"/>
                <a:gd name="T22" fmla="*/ 267 w 278"/>
                <a:gd name="T23" fmla="*/ 278 h 278"/>
                <a:gd name="T24" fmla="*/ 278 w 278"/>
                <a:gd name="T25" fmla="*/ 75 h 278"/>
                <a:gd name="T26" fmla="*/ 214 w 278"/>
                <a:gd name="T27" fmla="*/ 64 h 278"/>
                <a:gd name="T28" fmla="*/ 242 w 278"/>
                <a:gd name="T29" fmla="*/ 64 h 278"/>
                <a:gd name="T30" fmla="*/ 105 w 278"/>
                <a:gd name="T31" fmla="*/ 192 h 278"/>
                <a:gd name="T32" fmla="*/ 150 w 278"/>
                <a:gd name="T33" fmla="*/ 203 h 278"/>
                <a:gd name="T34" fmla="*/ 160 w 278"/>
                <a:gd name="T35" fmla="*/ 190 h 278"/>
                <a:gd name="T36" fmla="*/ 147 w 278"/>
                <a:gd name="T37" fmla="*/ 142 h 278"/>
                <a:gd name="T38" fmla="*/ 36 w 278"/>
                <a:gd name="T39" fmla="*/ 46 h 278"/>
                <a:gd name="T40" fmla="*/ 4 w 278"/>
                <a:gd name="T41" fmla="*/ 93 h 278"/>
                <a:gd name="T42" fmla="*/ 105 w 278"/>
                <a:gd name="T43" fmla="*/ 192 h 278"/>
                <a:gd name="T44" fmla="*/ 135 w 278"/>
                <a:gd name="T45" fmla="*/ 178 h 278"/>
                <a:gd name="T46" fmla="*/ 131 w 278"/>
                <a:gd name="T47" fmla="*/ 162 h 278"/>
                <a:gd name="T48" fmla="*/ 119 w 278"/>
                <a:gd name="T49" fmla="*/ 144 h 278"/>
                <a:gd name="T50" fmla="*/ 26 w 278"/>
                <a:gd name="T51" fmla="*/ 86 h 278"/>
                <a:gd name="T52" fmla="*/ 235 w 278"/>
                <a:gd name="T53" fmla="*/ 192 h 278"/>
                <a:gd name="T54" fmla="*/ 193 w 278"/>
                <a:gd name="T55" fmla="*/ 203 h 278"/>
                <a:gd name="T56" fmla="*/ 193 w 278"/>
                <a:gd name="T57" fmla="*/ 182 h 278"/>
                <a:gd name="T58" fmla="*/ 235 w 278"/>
                <a:gd name="T59" fmla="*/ 192 h 278"/>
                <a:gd name="T60" fmla="*/ 225 w 278"/>
                <a:gd name="T61" fmla="*/ 160 h 278"/>
                <a:gd name="T62" fmla="*/ 171 w 278"/>
                <a:gd name="T63" fmla="*/ 150 h 278"/>
                <a:gd name="T64" fmla="*/ 225 w 278"/>
                <a:gd name="T65" fmla="*/ 13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8" h="278">
                  <a:moveTo>
                    <a:pt x="278" y="75"/>
                  </a:moveTo>
                  <a:cubicBezTo>
                    <a:pt x="278" y="73"/>
                    <a:pt x="278" y="72"/>
                    <a:pt x="277" y="71"/>
                  </a:cubicBezTo>
                  <a:cubicBezTo>
                    <a:pt x="277" y="70"/>
                    <a:pt x="276" y="68"/>
                    <a:pt x="275" y="67"/>
                  </a:cubicBezTo>
                  <a:cubicBezTo>
                    <a:pt x="211" y="3"/>
                    <a:pt x="211" y="3"/>
                    <a:pt x="211" y="3"/>
                  </a:cubicBezTo>
                  <a:cubicBezTo>
                    <a:pt x="210" y="2"/>
                    <a:pt x="209" y="2"/>
                    <a:pt x="207" y="1"/>
                  </a:cubicBezTo>
                  <a:cubicBezTo>
                    <a:pt x="206" y="1"/>
                    <a:pt x="205" y="0"/>
                    <a:pt x="20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0" y="0"/>
                    <a:pt x="75" y="5"/>
                    <a:pt x="75" y="1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9"/>
                    <a:pt x="80" y="54"/>
                    <a:pt x="86" y="54"/>
                  </a:cubicBezTo>
                  <a:cubicBezTo>
                    <a:pt x="92" y="54"/>
                    <a:pt x="97" y="49"/>
                    <a:pt x="97" y="43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75"/>
                    <a:pt x="193" y="75"/>
                    <a:pt x="193" y="75"/>
                  </a:cubicBezTo>
                  <a:cubicBezTo>
                    <a:pt x="193" y="81"/>
                    <a:pt x="197" y="86"/>
                    <a:pt x="203" y="86"/>
                  </a:cubicBezTo>
                  <a:cubicBezTo>
                    <a:pt x="257" y="86"/>
                    <a:pt x="257" y="86"/>
                    <a:pt x="257" y="86"/>
                  </a:cubicBezTo>
                  <a:cubicBezTo>
                    <a:pt x="257" y="256"/>
                    <a:pt x="257" y="256"/>
                    <a:pt x="257" y="256"/>
                  </a:cubicBezTo>
                  <a:cubicBezTo>
                    <a:pt x="97" y="256"/>
                    <a:pt x="97" y="256"/>
                    <a:pt x="97" y="256"/>
                  </a:cubicBezTo>
                  <a:cubicBezTo>
                    <a:pt x="97" y="214"/>
                    <a:pt x="97" y="214"/>
                    <a:pt x="97" y="214"/>
                  </a:cubicBezTo>
                  <a:cubicBezTo>
                    <a:pt x="97" y="208"/>
                    <a:pt x="92" y="203"/>
                    <a:pt x="86" y="203"/>
                  </a:cubicBezTo>
                  <a:cubicBezTo>
                    <a:pt x="80" y="203"/>
                    <a:pt x="75" y="208"/>
                    <a:pt x="75" y="214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75" y="273"/>
                    <a:pt x="80" y="278"/>
                    <a:pt x="86" y="278"/>
                  </a:cubicBezTo>
                  <a:cubicBezTo>
                    <a:pt x="267" y="278"/>
                    <a:pt x="267" y="278"/>
                    <a:pt x="267" y="278"/>
                  </a:cubicBezTo>
                  <a:cubicBezTo>
                    <a:pt x="273" y="278"/>
                    <a:pt x="278" y="273"/>
                    <a:pt x="278" y="267"/>
                  </a:cubicBezTo>
                  <a:cubicBezTo>
                    <a:pt x="278" y="75"/>
                    <a:pt x="278" y="75"/>
                    <a:pt x="278" y="75"/>
                  </a:cubicBezTo>
                  <a:cubicBezTo>
                    <a:pt x="278" y="75"/>
                    <a:pt x="278" y="75"/>
                    <a:pt x="278" y="75"/>
                  </a:cubicBezTo>
                  <a:close/>
                  <a:moveTo>
                    <a:pt x="214" y="64"/>
                  </a:moveTo>
                  <a:cubicBezTo>
                    <a:pt x="214" y="37"/>
                    <a:pt x="214" y="37"/>
                    <a:pt x="214" y="37"/>
                  </a:cubicBezTo>
                  <a:cubicBezTo>
                    <a:pt x="242" y="64"/>
                    <a:pt x="242" y="64"/>
                    <a:pt x="242" y="64"/>
                  </a:cubicBezTo>
                  <a:lnTo>
                    <a:pt x="214" y="64"/>
                  </a:lnTo>
                  <a:close/>
                  <a:moveTo>
                    <a:pt x="105" y="192"/>
                  </a:moveTo>
                  <a:cubicBezTo>
                    <a:pt x="147" y="203"/>
                    <a:pt x="147" y="203"/>
                    <a:pt x="147" y="203"/>
                  </a:cubicBezTo>
                  <a:cubicBezTo>
                    <a:pt x="148" y="203"/>
                    <a:pt x="149" y="203"/>
                    <a:pt x="150" y="203"/>
                  </a:cubicBezTo>
                  <a:cubicBezTo>
                    <a:pt x="153" y="203"/>
                    <a:pt x="156" y="202"/>
                    <a:pt x="158" y="200"/>
                  </a:cubicBezTo>
                  <a:cubicBezTo>
                    <a:pt x="160" y="197"/>
                    <a:pt x="161" y="193"/>
                    <a:pt x="160" y="190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9" y="145"/>
                    <a:pt x="148" y="143"/>
                    <a:pt x="147" y="142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47" y="42"/>
                    <a:pt x="40" y="42"/>
                    <a:pt x="36" y="46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0" y="82"/>
                    <a:pt x="0" y="89"/>
                    <a:pt x="4" y="93"/>
                  </a:cubicBezTo>
                  <a:cubicBezTo>
                    <a:pt x="100" y="189"/>
                    <a:pt x="100" y="189"/>
                    <a:pt x="100" y="189"/>
                  </a:cubicBezTo>
                  <a:cubicBezTo>
                    <a:pt x="101" y="191"/>
                    <a:pt x="103" y="192"/>
                    <a:pt x="105" y="192"/>
                  </a:cubicBezTo>
                  <a:close/>
                  <a:moveTo>
                    <a:pt x="131" y="162"/>
                  </a:moveTo>
                  <a:cubicBezTo>
                    <a:pt x="135" y="178"/>
                    <a:pt x="135" y="178"/>
                    <a:pt x="135" y="178"/>
                  </a:cubicBezTo>
                  <a:cubicBezTo>
                    <a:pt x="120" y="174"/>
                    <a:pt x="120" y="174"/>
                    <a:pt x="120" y="174"/>
                  </a:cubicBezTo>
                  <a:lnTo>
                    <a:pt x="131" y="162"/>
                  </a:lnTo>
                  <a:close/>
                  <a:moveTo>
                    <a:pt x="43" y="69"/>
                  </a:moveTo>
                  <a:cubicBezTo>
                    <a:pt x="119" y="144"/>
                    <a:pt x="119" y="144"/>
                    <a:pt x="119" y="144"/>
                  </a:cubicBezTo>
                  <a:cubicBezTo>
                    <a:pt x="102" y="161"/>
                    <a:pt x="102" y="161"/>
                    <a:pt x="102" y="161"/>
                  </a:cubicBezTo>
                  <a:cubicBezTo>
                    <a:pt x="26" y="86"/>
                    <a:pt x="26" y="86"/>
                    <a:pt x="26" y="86"/>
                  </a:cubicBezTo>
                  <a:lnTo>
                    <a:pt x="43" y="69"/>
                  </a:lnTo>
                  <a:close/>
                  <a:moveTo>
                    <a:pt x="235" y="192"/>
                  </a:moveTo>
                  <a:cubicBezTo>
                    <a:pt x="235" y="198"/>
                    <a:pt x="231" y="203"/>
                    <a:pt x="225" y="203"/>
                  </a:cubicBezTo>
                  <a:cubicBezTo>
                    <a:pt x="193" y="203"/>
                    <a:pt x="193" y="203"/>
                    <a:pt x="193" y="203"/>
                  </a:cubicBezTo>
                  <a:cubicBezTo>
                    <a:pt x="187" y="203"/>
                    <a:pt x="182" y="198"/>
                    <a:pt x="182" y="192"/>
                  </a:cubicBezTo>
                  <a:cubicBezTo>
                    <a:pt x="182" y="186"/>
                    <a:pt x="187" y="182"/>
                    <a:pt x="193" y="182"/>
                  </a:cubicBezTo>
                  <a:cubicBezTo>
                    <a:pt x="225" y="182"/>
                    <a:pt x="225" y="182"/>
                    <a:pt x="225" y="182"/>
                  </a:cubicBezTo>
                  <a:cubicBezTo>
                    <a:pt x="231" y="182"/>
                    <a:pt x="235" y="186"/>
                    <a:pt x="235" y="192"/>
                  </a:cubicBezTo>
                  <a:close/>
                  <a:moveTo>
                    <a:pt x="235" y="150"/>
                  </a:moveTo>
                  <a:cubicBezTo>
                    <a:pt x="235" y="156"/>
                    <a:pt x="231" y="160"/>
                    <a:pt x="225" y="160"/>
                  </a:cubicBezTo>
                  <a:cubicBezTo>
                    <a:pt x="182" y="160"/>
                    <a:pt x="182" y="160"/>
                    <a:pt x="182" y="160"/>
                  </a:cubicBezTo>
                  <a:cubicBezTo>
                    <a:pt x="176" y="160"/>
                    <a:pt x="171" y="156"/>
                    <a:pt x="171" y="150"/>
                  </a:cubicBezTo>
                  <a:cubicBezTo>
                    <a:pt x="171" y="144"/>
                    <a:pt x="176" y="139"/>
                    <a:pt x="182" y="139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31" y="139"/>
                    <a:pt x="235" y="144"/>
                    <a:pt x="235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94332517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Media/technolog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874" name="TextBox 873"/>
          <p:cNvSpPr txBox="1"/>
          <p:nvPr/>
        </p:nvSpPr>
        <p:spPr>
          <a:xfrm>
            <a:off x="43937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earch</a:t>
            </a:r>
          </a:p>
        </p:txBody>
      </p:sp>
      <p:sp>
        <p:nvSpPr>
          <p:cNvPr id="875" name="TextBox 874"/>
          <p:cNvSpPr txBox="1"/>
          <p:nvPr/>
        </p:nvSpPr>
        <p:spPr>
          <a:xfrm>
            <a:off x="143883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Zoom in</a:t>
            </a:r>
          </a:p>
        </p:txBody>
      </p:sp>
      <p:sp>
        <p:nvSpPr>
          <p:cNvPr id="876" name="TextBox 875"/>
          <p:cNvSpPr txBox="1"/>
          <p:nvPr/>
        </p:nvSpPr>
        <p:spPr>
          <a:xfrm>
            <a:off x="243829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Zoom out</a:t>
            </a:r>
          </a:p>
        </p:txBody>
      </p:sp>
      <p:sp>
        <p:nvSpPr>
          <p:cNvPr id="877" name="TextBox 876"/>
          <p:cNvSpPr txBox="1"/>
          <p:nvPr/>
        </p:nvSpPr>
        <p:spPr>
          <a:xfrm>
            <a:off x="3437752" y="246440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ettings (Cog)</a:t>
            </a:r>
          </a:p>
        </p:txBody>
      </p:sp>
      <p:grpSp>
        <p:nvGrpSpPr>
          <p:cNvPr id="878" name="Group 892"/>
          <p:cNvGrpSpPr>
            <a:grpSpLocks noChangeAspect="1"/>
          </p:cNvGrpSpPr>
          <p:nvPr/>
        </p:nvGrpSpPr>
        <p:grpSpPr bwMode="auto">
          <a:xfrm>
            <a:off x="936293" y="2051051"/>
            <a:ext cx="369021" cy="370106"/>
            <a:chOff x="4270" y="3457"/>
            <a:chExt cx="340" cy="341"/>
          </a:xfrm>
          <a:solidFill>
            <a:schemeClr val="accent4"/>
          </a:solidFill>
        </p:grpSpPr>
        <p:sp>
          <p:nvSpPr>
            <p:cNvPr id="879" name="Freeform 893"/>
            <p:cNvSpPr>
              <a:spLocks noEditPoints="1"/>
            </p:cNvSpPr>
            <p:nvPr/>
          </p:nvSpPr>
          <p:spPr bwMode="auto">
            <a:xfrm>
              <a:off x="4334" y="3521"/>
              <a:ext cx="192" cy="192"/>
            </a:xfrm>
            <a:custGeom>
              <a:avLst/>
              <a:gdLst>
                <a:gd name="T0" fmla="*/ 285 w 289"/>
                <a:gd name="T1" fmla="*/ 269 h 288"/>
                <a:gd name="T2" fmla="*/ 189 w 289"/>
                <a:gd name="T3" fmla="*/ 174 h 288"/>
                <a:gd name="T4" fmla="*/ 213 w 289"/>
                <a:gd name="T5" fmla="*/ 106 h 288"/>
                <a:gd name="T6" fmla="*/ 106 w 289"/>
                <a:gd name="T7" fmla="*/ 0 h 288"/>
                <a:gd name="T8" fmla="*/ 0 w 289"/>
                <a:gd name="T9" fmla="*/ 106 h 288"/>
                <a:gd name="T10" fmla="*/ 106 w 289"/>
                <a:gd name="T11" fmla="*/ 213 h 288"/>
                <a:gd name="T12" fmla="*/ 174 w 289"/>
                <a:gd name="T13" fmla="*/ 189 h 288"/>
                <a:gd name="T14" fmla="*/ 269 w 289"/>
                <a:gd name="T15" fmla="*/ 285 h 288"/>
                <a:gd name="T16" fmla="*/ 277 w 289"/>
                <a:gd name="T17" fmla="*/ 288 h 288"/>
                <a:gd name="T18" fmla="*/ 285 w 289"/>
                <a:gd name="T19" fmla="*/ 285 h 288"/>
                <a:gd name="T20" fmla="*/ 285 w 289"/>
                <a:gd name="T21" fmla="*/ 269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285" y="269"/>
                  </a:moveTo>
                  <a:cubicBezTo>
                    <a:pt x="189" y="174"/>
                    <a:pt x="189" y="174"/>
                    <a:pt x="189" y="174"/>
                  </a:cubicBez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0" name="Freeform 894"/>
            <p:cNvSpPr>
              <a:spLocks noEditPoints="1"/>
            </p:cNvSpPr>
            <p:nvPr/>
          </p:nvSpPr>
          <p:spPr bwMode="auto">
            <a:xfrm>
              <a:off x="4270" y="34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81" name="Group 897"/>
          <p:cNvGrpSpPr>
            <a:grpSpLocks noChangeAspect="1"/>
          </p:cNvGrpSpPr>
          <p:nvPr/>
        </p:nvGrpSpPr>
        <p:grpSpPr bwMode="auto">
          <a:xfrm>
            <a:off x="438020" y="2051050"/>
            <a:ext cx="369021" cy="369021"/>
            <a:chOff x="3891" y="3455"/>
            <a:chExt cx="340" cy="340"/>
          </a:xfrm>
          <a:solidFill>
            <a:schemeClr val="accent4"/>
          </a:solidFill>
        </p:grpSpPr>
        <p:sp>
          <p:nvSpPr>
            <p:cNvPr id="882" name="Freeform 898"/>
            <p:cNvSpPr>
              <a:spLocks noEditPoints="1"/>
            </p:cNvSpPr>
            <p:nvPr/>
          </p:nvSpPr>
          <p:spPr bwMode="auto">
            <a:xfrm>
              <a:off x="3891" y="345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81 w 512"/>
                <a:gd name="T11" fmla="*/ 381 h 512"/>
                <a:gd name="T12" fmla="*/ 373 w 512"/>
                <a:gd name="T13" fmla="*/ 384 h 512"/>
                <a:gd name="T14" fmla="*/ 365 w 512"/>
                <a:gd name="T15" fmla="*/ 381 h 512"/>
                <a:gd name="T16" fmla="*/ 270 w 512"/>
                <a:gd name="T17" fmla="*/ 285 h 512"/>
                <a:gd name="T18" fmla="*/ 202 w 512"/>
                <a:gd name="T19" fmla="*/ 309 h 512"/>
                <a:gd name="T20" fmla="*/ 96 w 512"/>
                <a:gd name="T21" fmla="*/ 202 h 512"/>
                <a:gd name="T22" fmla="*/ 202 w 512"/>
                <a:gd name="T23" fmla="*/ 96 h 512"/>
                <a:gd name="T24" fmla="*/ 309 w 512"/>
                <a:gd name="T25" fmla="*/ 202 h 512"/>
                <a:gd name="T26" fmla="*/ 285 w 512"/>
                <a:gd name="T27" fmla="*/ 270 h 512"/>
                <a:gd name="T28" fmla="*/ 381 w 512"/>
                <a:gd name="T29" fmla="*/ 365 h 512"/>
                <a:gd name="T30" fmla="*/ 381 w 512"/>
                <a:gd name="T31" fmla="*/ 3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381"/>
                  </a:moveTo>
                  <a:cubicBezTo>
                    <a:pt x="378" y="383"/>
                    <a:pt x="376" y="384"/>
                    <a:pt x="373" y="384"/>
                  </a:cubicBezTo>
                  <a:cubicBezTo>
                    <a:pt x="370" y="384"/>
                    <a:pt x="368" y="383"/>
                    <a:pt x="365" y="381"/>
                  </a:cubicBezTo>
                  <a:cubicBezTo>
                    <a:pt x="270" y="285"/>
                    <a:pt x="270" y="285"/>
                    <a:pt x="270" y="285"/>
                  </a:cubicBezTo>
                  <a:cubicBezTo>
                    <a:pt x="251" y="300"/>
                    <a:pt x="228" y="309"/>
                    <a:pt x="202" y="309"/>
                  </a:cubicBezTo>
                  <a:cubicBezTo>
                    <a:pt x="144" y="309"/>
                    <a:pt x="96" y="261"/>
                    <a:pt x="96" y="202"/>
                  </a:cubicBezTo>
                  <a:cubicBezTo>
                    <a:pt x="96" y="144"/>
                    <a:pt x="144" y="96"/>
                    <a:pt x="202" y="96"/>
                  </a:cubicBezTo>
                  <a:cubicBezTo>
                    <a:pt x="261" y="96"/>
                    <a:pt x="309" y="144"/>
                    <a:pt x="309" y="202"/>
                  </a:cubicBezTo>
                  <a:cubicBezTo>
                    <a:pt x="309" y="228"/>
                    <a:pt x="300" y="251"/>
                    <a:pt x="285" y="270"/>
                  </a:cubicBezTo>
                  <a:cubicBezTo>
                    <a:pt x="381" y="365"/>
                    <a:pt x="381" y="365"/>
                    <a:pt x="381" y="365"/>
                  </a:cubicBezTo>
                  <a:cubicBezTo>
                    <a:pt x="385" y="370"/>
                    <a:pt x="385" y="376"/>
                    <a:pt x="381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3" name="Oval 899"/>
            <p:cNvSpPr>
              <a:spLocks noChangeArrowheads="1"/>
            </p:cNvSpPr>
            <p:nvPr/>
          </p:nvSpPr>
          <p:spPr bwMode="auto">
            <a:xfrm>
              <a:off x="3969" y="3533"/>
              <a:ext cx="113" cy="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84" name="Group 925"/>
          <p:cNvGrpSpPr>
            <a:grpSpLocks noChangeAspect="1"/>
          </p:cNvGrpSpPr>
          <p:nvPr/>
        </p:nvGrpSpPr>
        <p:grpSpPr bwMode="auto">
          <a:xfrm>
            <a:off x="1934581" y="2051050"/>
            <a:ext cx="378373" cy="356628"/>
            <a:chOff x="1152" y="3440"/>
            <a:chExt cx="348" cy="328"/>
          </a:xfrm>
          <a:solidFill>
            <a:schemeClr val="accent4"/>
          </a:solidFill>
        </p:grpSpPr>
        <p:sp>
          <p:nvSpPr>
            <p:cNvPr id="885" name="Freeform 926"/>
            <p:cNvSpPr>
              <a:spLocks/>
            </p:cNvSpPr>
            <p:nvPr/>
          </p:nvSpPr>
          <p:spPr bwMode="auto">
            <a:xfrm>
              <a:off x="1259" y="3539"/>
              <a:ext cx="71" cy="71"/>
            </a:xfrm>
            <a:custGeom>
              <a:avLst/>
              <a:gdLst>
                <a:gd name="T0" fmla="*/ 96 w 107"/>
                <a:gd name="T1" fmla="*/ 43 h 107"/>
                <a:gd name="T2" fmla="*/ 64 w 107"/>
                <a:gd name="T3" fmla="*/ 43 h 107"/>
                <a:gd name="T4" fmla="*/ 64 w 107"/>
                <a:gd name="T5" fmla="*/ 11 h 107"/>
                <a:gd name="T6" fmla="*/ 53 w 107"/>
                <a:gd name="T7" fmla="*/ 0 h 107"/>
                <a:gd name="T8" fmla="*/ 43 w 107"/>
                <a:gd name="T9" fmla="*/ 11 h 107"/>
                <a:gd name="T10" fmla="*/ 43 w 107"/>
                <a:gd name="T11" fmla="*/ 43 h 107"/>
                <a:gd name="T12" fmla="*/ 11 w 107"/>
                <a:gd name="T13" fmla="*/ 43 h 107"/>
                <a:gd name="T14" fmla="*/ 0 w 107"/>
                <a:gd name="T15" fmla="*/ 53 h 107"/>
                <a:gd name="T16" fmla="*/ 11 w 107"/>
                <a:gd name="T17" fmla="*/ 64 h 107"/>
                <a:gd name="T18" fmla="*/ 43 w 107"/>
                <a:gd name="T19" fmla="*/ 64 h 107"/>
                <a:gd name="T20" fmla="*/ 43 w 107"/>
                <a:gd name="T21" fmla="*/ 96 h 107"/>
                <a:gd name="T22" fmla="*/ 53 w 107"/>
                <a:gd name="T23" fmla="*/ 107 h 107"/>
                <a:gd name="T24" fmla="*/ 64 w 107"/>
                <a:gd name="T25" fmla="*/ 96 h 107"/>
                <a:gd name="T26" fmla="*/ 64 w 107"/>
                <a:gd name="T27" fmla="*/ 64 h 107"/>
                <a:gd name="T28" fmla="*/ 96 w 107"/>
                <a:gd name="T29" fmla="*/ 64 h 107"/>
                <a:gd name="T30" fmla="*/ 107 w 107"/>
                <a:gd name="T31" fmla="*/ 53 h 107"/>
                <a:gd name="T32" fmla="*/ 96 w 107"/>
                <a:gd name="T33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07">
                  <a:moveTo>
                    <a:pt x="96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47" y="0"/>
                    <a:pt x="43" y="5"/>
                    <a:pt x="43" y="1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47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7" y="107"/>
                    <a:pt x="53" y="107"/>
                  </a:cubicBezTo>
                  <a:cubicBezTo>
                    <a:pt x="59" y="107"/>
                    <a:pt x="64" y="102"/>
                    <a:pt x="64" y="9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102" y="64"/>
                    <a:pt x="107" y="59"/>
                    <a:pt x="107" y="53"/>
                  </a:cubicBezTo>
                  <a:cubicBezTo>
                    <a:pt x="107" y="47"/>
                    <a:pt x="102" y="43"/>
                    <a:pt x="96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6" name="Freeform 927"/>
            <p:cNvSpPr>
              <a:spLocks noEditPoints="1"/>
            </p:cNvSpPr>
            <p:nvPr/>
          </p:nvSpPr>
          <p:spPr bwMode="auto">
            <a:xfrm>
              <a:off x="1224" y="3504"/>
              <a:ext cx="192" cy="191"/>
            </a:xfrm>
            <a:custGeom>
              <a:avLst/>
              <a:gdLst>
                <a:gd name="T0" fmla="*/ 189 w 289"/>
                <a:gd name="T1" fmla="*/ 174 h 288"/>
                <a:gd name="T2" fmla="*/ 213 w 289"/>
                <a:gd name="T3" fmla="*/ 106 h 288"/>
                <a:gd name="T4" fmla="*/ 106 w 289"/>
                <a:gd name="T5" fmla="*/ 0 h 288"/>
                <a:gd name="T6" fmla="*/ 0 w 289"/>
                <a:gd name="T7" fmla="*/ 106 h 288"/>
                <a:gd name="T8" fmla="*/ 106 w 289"/>
                <a:gd name="T9" fmla="*/ 213 h 288"/>
                <a:gd name="T10" fmla="*/ 174 w 289"/>
                <a:gd name="T11" fmla="*/ 189 h 288"/>
                <a:gd name="T12" fmla="*/ 269 w 289"/>
                <a:gd name="T13" fmla="*/ 285 h 288"/>
                <a:gd name="T14" fmla="*/ 277 w 289"/>
                <a:gd name="T15" fmla="*/ 288 h 288"/>
                <a:gd name="T16" fmla="*/ 285 w 289"/>
                <a:gd name="T17" fmla="*/ 285 h 288"/>
                <a:gd name="T18" fmla="*/ 285 w 289"/>
                <a:gd name="T19" fmla="*/ 269 h 288"/>
                <a:gd name="T20" fmla="*/ 189 w 289"/>
                <a:gd name="T21" fmla="*/ 174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189" y="174"/>
                  </a:move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lnTo>
                    <a:pt x="189" y="174"/>
                  </a:ln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7" name="Freeform 928"/>
            <p:cNvSpPr>
              <a:spLocks noEditPoints="1"/>
            </p:cNvSpPr>
            <p:nvPr/>
          </p:nvSpPr>
          <p:spPr bwMode="auto">
            <a:xfrm>
              <a:off x="1152" y="3440"/>
              <a:ext cx="348" cy="328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88" name="Freeform 932"/>
          <p:cNvSpPr>
            <a:spLocks noChangeAspect="1" noEditPoints="1"/>
          </p:cNvSpPr>
          <p:nvPr/>
        </p:nvSpPr>
        <p:spPr bwMode="auto">
          <a:xfrm>
            <a:off x="1434566" y="2051051"/>
            <a:ext cx="370763" cy="369676"/>
          </a:xfrm>
          <a:custGeom>
            <a:avLst/>
            <a:gdLst>
              <a:gd name="T0" fmla="*/ 202 w 512"/>
              <a:gd name="T1" fmla="*/ 117 h 512"/>
              <a:gd name="T2" fmla="*/ 117 w 512"/>
              <a:gd name="T3" fmla="*/ 202 h 512"/>
              <a:gd name="T4" fmla="*/ 202 w 512"/>
              <a:gd name="T5" fmla="*/ 288 h 512"/>
              <a:gd name="T6" fmla="*/ 288 w 512"/>
              <a:gd name="T7" fmla="*/ 202 h 512"/>
              <a:gd name="T8" fmla="*/ 202 w 512"/>
              <a:gd name="T9" fmla="*/ 117 h 512"/>
              <a:gd name="T10" fmla="*/ 245 w 512"/>
              <a:gd name="T11" fmla="*/ 213 h 512"/>
              <a:gd name="T12" fmla="*/ 213 w 512"/>
              <a:gd name="T13" fmla="*/ 213 h 512"/>
              <a:gd name="T14" fmla="*/ 213 w 512"/>
              <a:gd name="T15" fmla="*/ 245 h 512"/>
              <a:gd name="T16" fmla="*/ 202 w 512"/>
              <a:gd name="T17" fmla="*/ 256 h 512"/>
              <a:gd name="T18" fmla="*/ 192 w 512"/>
              <a:gd name="T19" fmla="*/ 245 h 512"/>
              <a:gd name="T20" fmla="*/ 192 w 512"/>
              <a:gd name="T21" fmla="*/ 213 h 512"/>
              <a:gd name="T22" fmla="*/ 160 w 512"/>
              <a:gd name="T23" fmla="*/ 213 h 512"/>
              <a:gd name="T24" fmla="*/ 149 w 512"/>
              <a:gd name="T25" fmla="*/ 202 h 512"/>
              <a:gd name="T26" fmla="*/ 160 w 512"/>
              <a:gd name="T27" fmla="*/ 192 h 512"/>
              <a:gd name="T28" fmla="*/ 192 w 512"/>
              <a:gd name="T29" fmla="*/ 192 h 512"/>
              <a:gd name="T30" fmla="*/ 192 w 512"/>
              <a:gd name="T31" fmla="*/ 160 h 512"/>
              <a:gd name="T32" fmla="*/ 202 w 512"/>
              <a:gd name="T33" fmla="*/ 149 h 512"/>
              <a:gd name="T34" fmla="*/ 213 w 512"/>
              <a:gd name="T35" fmla="*/ 160 h 512"/>
              <a:gd name="T36" fmla="*/ 213 w 512"/>
              <a:gd name="T37" fmla="*/ 192 h 512"/>
              <a:gd name="T38" fmla="*/ 245 w 512"/>
              <a:gd name="T39" fmla="*/ 192 h 512"/>
              <a:gd name="T40" fmla="*/ 256 w 512"/>
              <a:gd name="T41" fmla="*/ 202 h 512"/>
              <a:gd name="T42" fmla="*/ 245 w 512"/>
              <a:gd name="T43" fmla="*/ 213 h 512"/>
              <a:gd name="T44" fmla="*/ 256 w 512"/>
              <a:gd name="T45" fmla="*/ 0 h 512"/>
              <a:gd name="T46" fmla="*/ 0 w 512"/>
              <a:gd name="T47" fmla="*/ 256 h 512"/>
              <a:gd name="T48" fmla="*/ 256 w 512"/>
              <a:gd name="T49" fmla="*/ 512 h 512"/>
              <a:gd name="T50" fmla="*/ 512 w 512"/>
              <a:gd name="T51" fmla="*/ 256 h 512"/>
              <a:gd name="T52" fmla="*/ 256 w 512"/>
              <a:gd name="T53" fmla="*/ 0 h 512"/>
              <a:gd name="T54" fmla="*/ 381 w 512"/>
              <a:gd name="T55" fmla="*/ 381 h 512"/>
              <a:gd name="T56" fmla="*/ 373 w 512"/>
              <a:gd name="T57" fmla="*/ 384 h 512"/>
              <a:gd name="T58" fmla="*/ 365 w 512"/>
              <a:gd name="T59" fmla="*/ 381 h 512"/>
              <a:gd name="T60" fmla="*/ 270 w 512"/>
              <a:gd name="T61" fmla="*/ 285 h 512"/>
              <a:gd name="T62" fmla="*/ 202 w 512"/>
              <a:gd name="T63" fmla="*/ 309 h 512"/>
              <a:gd name="T64" fmla="*/ 96 w 512"/>
              <a:gd name="T65" fmla="*/ 202 h 512"/>
              <a:gd name="T66" fmla="*/ 202 w 512"/>
              <a:gd name="T67" fmla="*/ 96 h 512"/>
              <a:gd name="T68" fmla="*/ 309 w 512"/>
              <a:gd name="T69" fmla="*/ 202 h 512"/>
              <a:gd name="T70" fmla="*/ 285 w 512"/>
              <a:gd name="T71" fmla="*/ 270 h 512"/>
              <a:gd name="T72" fmla="*/ 381 w 512"/>
              <a:gd name="T73" fmla="*/ 365 h 512"/>
              <a:gd name="T74" fmla="*/ 381 w 512"/>
              <a:gd name="T75" fmla="*/ 3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02" y="117"/>
                </a:moveTo>
                <a:cubicBezTo>
                  <a:pt x="155" y="117"/>
                  <a:pt x="117" y="155"/>
                  <a:pt x="117" y="202"/>
                </a:cubicBezTo>
                <a:cubicBezTo>
                  <a:pt x="117" y="249"/>
                  <a:pt x="155" y="288"/>
                  <a:pt x="202" y="288"/>
                </a:cubicBezTo>
                <a:cubicBezTo>
                  <a:pt x="249" y="288"/>
                  <a:pt x="288" y="249"/>
                  <a:pt x="288" y="202"/>
                </a:cubicBezTo>
                <a:cubicBezTo>
                  <a:pt x="288" y="155"/>
                  <a:pt x="249" y="117"/>
                  <a:pt x="202" y="117"/>
                </a:cubicBezTo>
                <a:close/>
                <a:moveTo>
                  <a:pt x="245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3" y="251"/>
                  <a:pt x="208" y="256"/>
                  <a:pt x="202" y="256"/>
                </a:cubicBezTo>
                <a:cubicBezTo>
                  <a:pt x="196" y="256"/>
                  <a:pt x="192" y="251"/>
                  <a:pt x="192" y="245"/>
                </a:cubicBezTo>
                <a:cubicBezTo>
                  <a:pt x="192" y="213"/>
                  <a:pt x="192" y="213"/>
                  <a:pt x="192" y="213"/>
                </a:cubicBezTo>
                <a:cubicBezTo>
                  <a:pt x="160" y="213"/>
                  <a:pt x="160" y="213"/>
                  <a:pt x="160" y="213"/>
                </a:cubicBezTo>
                <a:cubicBezTo>
                  <a:pt x="154" y="213"/>
                  <a:pt x="149" y="208"/>
                  <a:pt x="149" y="202"/>
                </a:cubicBezTo>
                <a:cubicBezTo>
                  <a:pt x="149" y="196"/>
                  <a:pt x="154" y="192"/>
                  <a:pt x="160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192" y="154"/>
                  <a:pt x="196" y="149"/>
                  <a:pt x="202" y="149"/>
                </a:cubicBezTo>
                <a:cubicBezTo>
                  <a:pt x="208" y="149"/>
                  <a:pt x="213" y="154"/>
                  <a:pt x="213" y="160"/>
                </a:cubicBezTo>
                <a:cubicBezTo>
                  <a:pt x="213" y="192"/>
                  <a:pt x="213" y="192"/>
                  <a:pt x="213" y="192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51" y="192"/>
                  <a:pt x="256" y="196"/>
                  <a:pt x="256" y="202"/>
                </a:cubicBezTo>
                <a:cubicBezTo>
                  <a:pt x="256" y="208"/>
                  <a:pt x="251" y="213"/>
                  <a:pt x="245" y="21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381"/>
                </a:moveTo>
                <a:cubicBezTo>
                  <a:pt x="378" y="383"/>
                  <a:pt x="376" y="384"/>
                  <a:pt x="373" y="384"/>
                </a:cubicBezTo>
                <a:cubicBezTo>
                  <a:pt x="370" y="384"/>
                  <a:pt x="368" y="383"/>
                  <a:pt x="365" y="381"/>
                </a:cubicBezTo>
                <a:cubicBezTo>
                  <a:pt x="270" y="285"/>
                  <a:pt x="270" y="285"/>
                  <a:pt x="270" y="285"/>
                </a:cubicBezTo>
                <a:cubicBezTo>
                  <a:pt x="251" y="300"/>
                  <a:pt x="228" y="309"/>
                  <a:pt x="202" y="309"/>
                </a:cubicBezTo>
                <a:cubicBezTo>
                  <a:pt x="144" y="309"/>
                  <a:pt x="96" y="261"/>
                  <a:pt x="96" y="202"/>
                </a:cubicBezTo>
                <a:cubicBezTo>
                  <a:pt x="96" y="144"/>
                  <a:pt x="144" y="96"/>
                  <a:pt x="202" y="96"/>
                </a:cubicBezTo>
                <a:cubicBezTo>
                  <a:pt x="261" y="96"/>
                  <a:pt x="309" y="144"/>
                  <a:pt x="309" y="202"/>
                </a:cubicBezTo>
                <a:cubicBezTo>
                  <a:pt x="309" y="228"/>
                  <a:pt x="300" y="251"/>
                  <a:pt x="285" y="270"/>
                </a:cubicBezTo>
                <a:cubicBezTo>
                  <a:pt x="381" y="365"/>
                  <a:pt x="381" y="365"/>
                  <a:pt x="381" y="365"/>
                </a:cubicBezTo>
                <a:cubicBezTo>
                  <a:pt x="385" y="370"/>
                  <a:pt x="385" y="376"/>
                  <a:pt x="381" y="38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89" name="Group 915"/>
          <p:cNvGrpSpPr>
            <a:grpSpLocks noChangeAspect="1"/>
          </p:cNvGrpSpPr>
          <p:nvPr/>
        </p:nvGrpSpPr>
        <p:grpSpPr bwMode="auto">
          <a:xfrm>
            <a:off x="2941134" y="2051051"/>
            <a:ext cx="369676" cy="369676"/>
            <a:chOff x="1926" y="3440"/>
            <a:chExt cx="340" cy="340"/>
          </a:xfrm>
          <a:solidFill>
            <a:schemeClr val="accent4"/>
          </a:solidFill>
        </p:grpSpPr>
        <p:sp>
          <p:nvSpPr>
            <p:cNvPr id="890" name="Freeform 916"/>
            <p:cNvSpPr>
              <a:spLocks noEditPoints="1"/>
            </p:cNvSpPr>
            <p:nvPr/>
          </p:nvSpPr>
          <p:spPr bwMode="auto">
            <a:xfrm>
              <a:off x="1990" y="3504"/>
              <a:ext cx="192" cy="191"/>
            </a:xfrm>
            <a:custGeom>
              <a:avLst/>
              <a:gdLst>
                <a:gd name="T0" fmla="*/ 189 w 289"/>
                <a:gd name="T1" fmla="*/ 174 h 288"/>
                <a:gd name="T2" fmla="*/ 213 w 289"/>
                <a:gd name="T3" fmla="*/ 106 h 288"/>
                <a:gd name="T4" fmla="*/ 106 w 289"/>
                <a:gd name="T5" fmla="*/ 0 h 288"/>
                <a:gd name="T6" fmla="*/ 0 w 289"/>
                <a:gd name="T7" fmla="*/ 106 h 288"/>
                <a:gd name="T8" fmla="*/ 106 w 289"/>
                <a:gd name="T9" fmla="*/ 213 h 288"/>
                <a:gd name="T10" fmla="*/ 174 w 289"/>
                <a:gd name="T11" fmla="*/ 189 h 288"/>
                <a:gd name="T12" fmla="*/ 269 w 289"/>
                <a:gd name="T13" fmla="*/ 285 h 288"/>
                <a:gd name="T14" fmla="*/ 277 w 289"/>
                <a:gd name="T15" fmla="*/ 288 h 288"/>
                <a:gd name="T16" fmla="*/ 285 w 289"/>
                <a:gd name="T17" fmla="*/ 285 h 288"/>
                <a:gd name="T18" fmla="*/ 285 w 289"/>
                <a:gd name="T19" fmla="*/ 269 h 288"/>
                <a:gd name="T20" fmla="*/ 189 w 289"/>
                <a:gd name="T21" fmla="*/ 174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189" y="174"/>
                  </a:move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lnTo>
                    <a:pt x="189" y="174"/>
                  </a:ln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1" name="Freeform 917"/>
            <p:cNvSpPr>
              <a:spLocks/>
            </p:cNvSpPr>
            <p:nvPr/>
          </p:nvSpPr>
          <p:spPr bwMode="auto">
            <a:xfrm>
              <a:off x="2025" y="3567"/>
              <a:ext cx="71" cy="14"/>
            </a:xfrm>
            <a:custGeom>
              <a:avLst/>
              <a:gdLst>
                <a:gd name="T0" fmla="*/ 96 w 107"/>
                <a:gd name="T1" fmla="*/ 0 h 21"/>
                <a:gd name="T2" fmla="*/ 11 w 107"/>
                <a:gd name="T3" fmla="*/ 0 h 21"/>
                <a:gd name="T4" fmla="*/ 0 w 107"/>
                <a:gd name="T5" fmla="*/ 10 h 21"/>
                <a:gd name="T6" fmla="*/ 11 w 107"/>
                <a:gd name="T7" fmla="*/ 21 h 21"/>
                <a:gd name="T8" fmla="*/ 96 w 107"/>
                <a:gd name="T9" fmla="*/ 21 h 21"/>
                <a:gd name="T10" fmla="*/ 107 w 107"/>
                <a:gd name="T11" fmla="*/ 10 h 21"/>
                <a:gd name="T12" fmla="*/ 96 w 10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">
                  <a:moveTo>
                    <a:pt x="96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102" y="21"/>
                    <a:pt x="107" y="16"/>
                    <a:pt x="107" y="10"/>
                  </a:cubicBezTo>
                  <a:cubicBezTo>
                    <a:pt x="107" y="4"/>
                    <a:pt x="102" y="0"/>
                    <a:pt x="9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2" name="Freeform 918"/>
            <p:cNvSpPr>
              <a:spLocks noEditPoints="1"/>
            </p:cNvSpPr>
            <p:nvPr/>
          </p:nvSpPr>
          <p:spPr bwMode="auto">
            <a:xfrm>
              <a:off x="1926" y="344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3" name="Freeform 922"/>
          <p:cNvSpPr>
            <a:spLocks noChangeAspect="1" noEditPoints="1"/>
          </p:cNvSpPr>
          <p:nvPr/>
        </p:nvSpPr>
        <p:spPr bwMode="auto">
          <a:xfrm>
            <a:off x="2442206" y="2051051"/>
            <a:ext cx="369676" cy="369676"/>
          </a:xfrm>
          <a:custGeom>
            <a:avLst/>
            <a:gdLst>
              <a:gd name="T0" fmla="*/ 202 w 512"/>
              <a:gd name="T1" fmla="*/ 117 h 512"/>
              <a:gd name="T2" fmla="*/ 117 w 512"/>
              <a:gd name="T3" fmla="*/ 202 h 512"/>
              <a:gd name="T4" fmla="*/ 202 w 512"/>
              <a:gd name="T5" fmla="*/ 288 h 512"/>
              <a:gd name="T6" fmla="*/ 288 w 512"/>
              <a:gd name="T7" fmla="*/ 202 h 512"/>
              <a:gd name="T8" fmla="*/ 202 w 512"/>
              <a:gd name="T9" fmla="*/ 117 h 512"/>
              <a:gd name="T10" fmla="*/ 245 w 512"/>
              <a:gd name="T11" fmla="*/ 213 h 512"/>
              <a:gd name="T12" fmla="*/ 160 w 512"/>
              <a:gd name="T13" fmla="*/ 213 h 512"/>
              <a:gd name="T14" fmla="*/ 149 w 512"/>
              <a:gd name="T15" fmla="*/ 202 h 512"/>
              <a:gd name="T16" fmla="*/ 160 w 512"/>
              <a:gd name="T17" fmla="*/ 192 h 512"/>
              <a:gd name="T18" fmla="*/ 245 w 512"/>
              <a:gd name="T19" fmla="*/ 192 h 512"/>
              <a:gd name="T20" fmla="*/ 256 w 512"/>
              <a:gd name="T21" fmla="*/ 202 h 512"/>
              <a:gd name="T22" fmla="*/ 245 w 512"/>
              <a:gd name="T23" fmla="*/ 213 h 512"/>
              <a:gd name="T24" fmla="*/ 256 w 512"/>
              <a:gd name="T25" fmla="*/ 0 h 512"/>
              <a:gd name="T26" fmla="*/ 0 w 512"/>
              <a:gd name="T27" fmla="*/ 256 h 512"/>
              <a:gd name="T28" fmla="*/ 256 w 512"/>
              <a:gd name="T29" fmla="*/ 512 h 512"/>
              <a:gd name="T30" fmla="*/ 512 w 512"/>
              <a:gd name="T31" fmla="*/ 256 h 512"/>
              <a:gd name="T32" fmla="*/ 256 w 512"/>
              <a:gd name="T33" fmla="*/ 0 h 512"/>
              <a:gd name="T34" fmla="*/ 381 w 512"/>
              <a:gd name="T35" fmla="*/ 381 h 512"/>
              <a:gd name="T36" fmla="*/ 373 w 512"/>
              <a:gd name="T37" fmla="*/ 384 h 512"/>
              <a:gd name="T38" fmla="*/ 365 w 512"/>
              <a:gd name="T39" fmla="*/ 381 h 512"/>
              <a:gd name="T40" fmla="*/ 270 w 512"/>
              <a:gd name="T41" fmla="*/ 285 h 512"/>
              <a:gd name="T42" fmla="*/ 202 w 512"/>
              <a:gd name="T43" fmla="*/ 309 h 512"/>
              <a:gd name="T44" fmla="*/ 96 w 512"/>
              <a:gd name="T45" fmla="*/ 202 h 512"/>
              <a:gd name="T46" fmla="*/ 202 w 512"/>
              <a:gd name="T47" fmla="*/ 96 h 512"/>
              <a:gd name="T48" fmla="*/ 309 w 512"/>
              <a:gd name="T49" fmla="*/ 202 h 512"/>
              <a:gd name="T50" fmla="*/ 285 w 512"/>
              <a:gd name="T51" fmla="*/ 270 h 512"/>
              <a:gd name="T52" fmla="*/ 381 w 512"/>
              <a:gd name="T53" fmla="*/ 365 h 512"/>
              <a:gd name="T54" fmla="*/ 381 w 512"/>
              <a:gd name="T55" fmla="*/ 3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12" h="512">
                <a:moveTo>
                  <a:pt x="202" y="117"/>
                </a:moveTo>
                <a:cubicBezTo>
                  <a:pt x="155" y="117"/>
                  <a:pt x="117" y="155"/>
                  <a:pt x="117" y="202"/>
                </a:cubicBezTo>
                <a:cubicBezTo>
                  <a:pt x="117" y="249"/>
                  <a:pt x="155" y="288"/>
                  <a:pt x="202" y="288"/>
                </a:cubicBezTo>
                <a:cubicBezTo>
                  <a:pt x="249" y="288"/>
                  <a:pt x="288" y="249"/>
                  <a:pt x="288" y="202"/>
                </a:cubicBezTo>
                <a:cubicBezTo>
                  <a:pt x="288" y="155"/>
                  <a:pt x="249" y="117"/>
                  <a:pt x="202" y="117"/>
                </a:cubicBezTo>
                <a:close/>
                <a:moveTo>
                  <a:pt x="245" y="213"/>
                </a:moveTo>
                <a:cubicBezTo>
                  <a:pt x="160" y="213"/>
                  <a:pt x="160" y="213"/>
                  <a:pt x="160" y="213"/>
                </a:cubicBezTo>
                <a:cubicBezTo>
                  <a:pt x="154" y="213"/>
                  <a:pt x="149" y="208"/>
                  <a:pt x="149" y="202"/>
                </a:cubicBezTo>
                <a:cubicBezTo>
                  <a:pt x="149" y="196"/>
                  <a:pt x="154" y="192"/>
                  <a:pt x="160" y="192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51" y="192"/>
                  <a:pt x="256" y="196"/>
                  <a:pt x="256" y="202"/>
                </a:cubicBezTo>
                <a:cubicBezTo>
                  <a:pt x="256" y="208"/>
                  <a:pt x="251" y="213"/>
                  <a:pt x="245" y="21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381"/>
                </a:moveTo>
                <a:cubicBezTo>
                  <a:pt x="378" y="383"/>
                  <a:pt x="376" y="384"/>
                  <a:pt x="373" y="384"/>
                </a:cubicBezTo>
                <a:cubicBezTo>
                  <a:pt x="370" y="384"/>
                  <a:pt x="368" y="383"/>
                  <a:pt x="365" y="381"/>
                </a:cubicBezTo>
                <a:cubicBezTo>
                  <a:pt x="270" y="285"/>
                  <a:pt x="270" y="285"/>
                  <a:pt x="270" y="285"/>
                </a:cubicBezTo>
                <a:cubicBezTo>
                  <a:pt x="251" y="300"/>
                  <a:pt x="228" y="309"/>
                  <a:pt x="202" y="309"/>
                </a:cubicBezTo>
                <a:cubicBezTo>
                  <a:pt x="144" y="309"/>
                  <a:pt x="96" y="261"/>
                  <a:pt x="96" y="202"/>
                </a:cubicBezTo>
                <a:cubicBezTo>
                  <a:pt x="96" y="144"/>
                  <a:pt x="144" y="96"/>
                  <a:pt x="202" y="96"/>
                </a:cubicBezTo>
                <a:cubicBezTo>
                  <a:pt x="261" y="96"/>
                  <a:pt x="309" y="144"/>
                  <a:pt x="309" y="202"/>
                </a:cubicBezTo>
                <a:cubicBezTo>
                  <a:pt x="309" y="228"/>
                  <a:pt x="300" y="251"/>
                  <a:pt x="285" y="270"/>
                </a:cubicBezTo>
                <a:cubicBezTo>
                  <a:pt x="381" y="365"/>
                  <a:pt x="381" y="365"/>
                  <a:pt x="381" y="365"/>
                </a:cubicBezTo>
                <a:cubicBezTo>
                  <a:pt x="385" y="370"/>
                  <a:pt x="385" y="376"/>
                  <a:pt x="381" y="38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94" name="Freeform 26"/>
          <p:cNvSpPr>
            <a:spLocks noChangeAspect="1" noEditPoints="1"/>
          </p:cNvSpPr>
          <p:nvPr/>
        </p:nvSpPr>
        <p:spPr bwMode="auto">
          <a:xfrm>
            <a:off x="3440062" y="2051054"/>
            <a:ext cx="367631" cy="367631"/>
          </a:xfrm>
          <a:custGeom>
            <a:avLst/>
            <a:gdLst>
              <a:gd name="T0" fmla="*/ 358 w 512"/>
              <a:gd name="T1" fmla="*/ 227 h 512"/>
              <a:gd name="T2" fmla="*/ 367 w 512"/>
              <a:gd name="T3" fmla="*/ 174 h 512"/>
              <a:gd name="T4" fmla="*/ 366 w 512"/>
              <a:gd name="T5" fmla="*/ 172 h 512"/>
              <a:gd name="T6" fmla="*/ 338 w 512"/>
              <a:gd name="T7" fmla="*/ 145 h 512"/>
              <a:gd name="T8" fmla="*/ 308 w 512"/>
              <a:gd name="T9" fmla="*/ 163 h 512"/>
              <a:gd name="T10" fmla="*/ 277 w 512"/>
              <a:gd name="T11" fmla="*/ 119 h 512"/>
              <a:gd name="T12" fmla="*/ 234 w 512"/>
              <a:gd name="T13" fmla="*/ 119 h 512"/>
              <a:gd name="T14" fmla="*/ 204 w 512"/>
              <a:gd name="T15" fmla="*/ 163 h 512"/>
              <a:gd name="T16" fmla="*/ 173 w 512"/>
              <a:gd name="T17" fmla="*/ 145 h 512"/>
              <a:gd name="T18" fmla="*/ 161 w 512"/>
              <a:gd name="T19" fmla="*/ 191 h 512"/>
              <a:gd name="T20" fmla="*/ 143 w 512"/>
              <a:gd name="T21" fmla="*/ 234 h 512"/>
              <a:gd name="T22" fmla="*/ 117 w 512"/>
              <a:gd name="T23" fmla="*/ 256 h 512"/>
              <a:gd name="T24" fmla="*/ 143 w 512"/>
              <a:gd name="T25" fmla="*/ 277 h 512"/>
              <a:gd name="T26" fmla="*/ 161 w 512"/>
              <a:gd name="T27" fmla="*/ 320 h 512"/>
              <a:gd name="T28" fmla="*/ 145 w 512"/>
              <a:gd name="T29" fmla="*/ 339 h 512"/>
              <a:gd name="T30" fmla="*/ 172 w 512"/>
              <a:gd name="T31" fmla="*/ 366 h 512"/>
              <a:gd name="T32" fmla="*/ 191 w 512"/>
              <a:gd name="T33" fmla="*/ 351 h 512"/>
              <a:gd name="T34" fmla="*/ 234 w 512"/>
              <a:gd name="T35" fmla="*/ 368 h 512"/>
              <a:gd name="T36" fmla="*/ 245 w 512"/>
              <a:gd name="T37" fmla="*/ 394 h 512"/>
              <a:gd name="T38" fmla="*/ 267 w 512"/>
              <a:gd name="T39" fmla="*/ 394 h 512"/>
              <a:gd name="T40" fmla="*/ 285 w 512"/>
              <a:gd name="T41" fmla="*/ 358 h 512"/>
              <a:gd name="T42" fmla="*/ 337 w 512"/>
              <a:gd name="T43" fmla="*/ 368 h 512"/>
              <a:gd name="T44" fmla="*/ 368 w 512"/>
              <a:gd name="T45" fmla="*/ 337 h 512"/>
              <a:gd name="T46" fmla="*/ 358 w 512"/>
              <a:gd name="T47" fmla="*/ 285 h 512"/>
              <a:gd name="T48" fmla="*/ 394 w 512"/>
              <a:gd name="T49" fmla="*/ 267 h 512"/>
              <a:gd name="T50" fmla="*/ 393 w 512"/>
              <a:gd name="T51" fmla="*/ 234 h 512"/>
              <a:gd name="T52" fmla="*/ 256 w 512"/>
              <a:gd name="T53" fmla="*/ 192 h 512"/>
              <a:gd name="T54" fmla="*/ 298 w 512"/>
              <a:gd name="T55" fmla="*/ 256 h 512"/>
              <a:gd name="T56" fmla="*/ 256 w 512"/>
              <a:gd name="T57" fmla="*/ 213 h 512"/>
              <a:gd name="T58" fmla="*/ 0 w 512"/>
              <a:gd name="T59" fmla="*/ 256 h 512"/>
              <a:gd name="T60" fmla="*/ 256 w 512"/>
              <a:gd name="T61" fmla="*/ 0 h 512"/>
              <a:gd name="T62" fmla="*/ 401 w 512"/>
              <a:gd name="T63" fmla="*/ 298 h 512"/>
              <a:gd name="T64" fmla="*/ 389 w 512"/>
              <a:gd name="T65" fmla="*/ 329 h 512"/>
              <a:gd name="T66" fmla="*/ 351 w 512"/>
              <a:gd name="T67" fmla="*/ 384 h 512"/>
              <a:gd name="T68" fmla="*/ 311 w 512"/>
              <a:gd name="T69" fmla="*/ 371 h 512"/>
              <a:gd name="T70" fmla="*/ 290 w 512"/>
              <a:gd name="T71" fmla="*/ 412 h 512"/>
              <a:gd name="T72" fmla="*/ 268 w 512"/>
              <a:gd name="T73" fmla="*/ 416 h 512"/>
              <a:gd name="T74" fmla="*/ 256 w 512"/>
              <a:gd name="T75" fmla="*/ 416 h 512"/>
              <a:gd name="T76" fmla="*/ 249 w 512"/>
              <a:gd name="T77" fmla="*/ 416 h 512"/>
              <a:gd name="T78" fmla="*/ 243 w 512"/>
              <a:gd name="T79" fmla="*/ 416 h 512"/>
              <a:gd name="T80" fmla="*/ 213 w 512"/>
              <a:gd name="T81" fmla="*/ 401 h 512"/>
              <a:gd name="T82" fmla="*/ 183 w 512"/>
              <a:gd name="T83" fmla="*/ 389 h 512"/>
              <a:gd name="T84" fmla="*/ 160 w 512"/>
              <a:gd name="T85" fmla="*/ 384 h 512"/>
              <a:gd name="T86" fmla="*/ 128 w 512"/>
              <a:gd name="T87" fmla="*/ 351 h 512"/>
              <a:gd name="T88" fmla="*/ 121 w 512"/>
              <a:gd name="T89" fmla="*/ 342 h 512"/>
              <a:gd name="T90" fmla="*/ 135 w 512"/>
              <a:gd name="T91" fmla="*/ 298 h 512"/>
              <a:gd name="T92" fmla="*/ 96 w 512"/>
              <a:gd name="T93" fmla="*/ 268 h 512"/>
              <a:gd name="T94" fmla="*/ 96 w 512"/>
              <a:gd name="T95" fmla="*/ 256 h 512"/>
              <a:gd name="T96" fmla="*/ 96 w 512"/>
              <a:gd name="T97" fmla="*/ 243 h 512"/>
              <a:gd name="T98" fmla="*/ 96 w 512"/>
              <a:gd name="T99" fmla="*/ 243 h 512"/>
              <a:gd name="T100" fmla="*/ 135 w 512"/>
              <a:gd name="T101" fmla="*/ 213 h 512"/>
              <a:gd name="T102" fmla="*/ 121 w 512"/>
              <a:gd name="T103" fmla="*/ 169 h 512"/>
              <a:gd name="T104" fmla="*/ 169 w 512"/>
              <a:gd name="T105" fmla="*/ 121 h 512"/>
              <a:gd name="T106" fmla="*/ 213 w 512"/>
              <a:gd name="T107" fmla="*/ 135 h 512"/>
              <a:gd name="T108" fmla="*/ 243 w 512"/>
              <a:gd name="T109" fmla="*/ 96 h 512"/>
              <a:gd name="T110" fmla="*/ 298 w 512"/>
              <a:gd name="T111" fmla="*/ 110 h 512"/>
              <a:gd name="T112" fmla="*/ 329 w 512"/>
              <a:gd name="T113" fmla="*/ 122 h 512"/>
              <a:gd name="T114" fmla="*/ 351 w 512"/>
              <a:gd name="T115" fmla="*/ 128 h 512"/>
              <a:gd name="T116" fmla="*/ 384 w 512"/>
              <a:gd name="T117" fmla="*/ 160 h 512"/>
              <a:gd name="T118" fmla="*/ 390 w 512"/>
              <a:gd name="T119" fmla="*/ 169 h 512"/>
              <a:gd name="T120" fmla="*/ 376 w 512"/>
              <a:gd name="T121" fmla="*/ 213 h 512"/>
              <a:gd name="T122" fmla="*/ 416 w 512"/>
              <a:gd name="T123" fmla="*/ 243 h 512"/>
              <a:gd name="T124" fmla="*/ 415 w 512"/>
              <a:gd name="T125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93" y="234"/>
                </a:moveTo>
                <a:cubicBezTo>
                  <a:pt x="368" y="234"/>
                  <a:pt x="368" y="234"/>
                  <a:pt x="368" y="234"/>
                </a:cubicBezTo>
                <a:cubicBezTo>
                  <a:pt x="364" y="234"/>
                  <a:pt x="359" y="231"/>
                  <a:pt x="358" y="227"/>
                </a:cubicBezTo>
                <a:cubicBezTo>
                  <a:pt x="356" y="219"/>
                  <a:pt x="353" y="211"/>
                  <a:pt x="349" y="204"/>
                </a:cubicBezTo>
                <a:cubicBezTo>
                  <a:pt x="346" y="200"/>
                  <a:pt x="347" y="194"/>
                  <a:pt x="351" y="191"/>
                </a:cubicBezTo>
                <a:cubicBezTo>
                  <a:pt x="367" y="174"/>
                  <a:pt x="367" y="174"/>
                  <a:pt x="367" y="174"/>
                </a:cubicBezTo>
                <a:cubicBezTo>
                  <a:pt x="366" y="173"/>
                  <a:pt x="366" y="173"/>
                  <a:pt x="366" y="173"/>
                </a:cubicBezTo>
                <a:cubicBezTo>
                  <a:pt x="366" y="173"/>
                  <a:pt x="366" y="172"/>
                  <a:pt x="366" y="172"/>
                </a:cubicBezTo>
                <a:cubicBezTo>
                  <a:pt x="366" y="172"/>
                  <a:pt x="366" y="172"/>
                  <a:pt x="366" y="172"/>
                </a:cubicBezTo>
                <a:cubicBezTo>
                  <a:pt x="358" y="162"/>
                  <a:pt x="349" y="153"/>
                  <a:pt x="340" y="146"/>
                </a:cubicBezTo>
                <a:cubicBezTo>
                  <a:pt x="340" y="146"/>
                  <a:pt x="340" y="146"/>
                  <a:pt x="339" y="145"/>
                </a:cubicBezTo>
                <a:cubicBezTo>
                  <a:pt x="339" y="145"/>
                  <a:pt x="339" y="145"/>
                  <a:pt x="338" y="145"/>
                </a:cubicBezTo>
                <a:cubicBezTo>
                  <a:pt x="337" y="144"/>
                  <a:pt x="337" y="144"/>
                  <a:pt x="337" y="14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17" y="164"/>
                  <a:pt x="312" y="165"/>
                  <a:pt x="308" y="163"/>
                </a:cubicBezTo>
                <a:cubicBezTo>
                  <a:pt x="300" y="159"/>
                  <a:pt x="293" y="155"/>
                  <a:pt x="285" y="153"/>
                </a:cubicBezTo>
                <a:cubicBezTo>
                  <a:pt x="280" y="152"/>
                  <a:pt x="277" y="148"/>
                  <a:pt x="277" y="143"/>
                </a:cubicBezTo>
                <a:cubicBezTo>
                  <a:pt x="277" y="119"/>
                  <a:pt x="277" y="119"/>
                  <a:pt x="277" y="119"/>
                </a:cubicBezTo>
                <a:cubicBezTo>
                  <a:pt x="274" y="118"/>
                  <a:pt x="270" y="118"/>
                  <a:pt x="267" y="118"/>
                </a:cubicBezTo>
                <a:cubicBezTo>
                  <a:pt x="259" y="117"/>
                  <a:pt x="252" y="117"/>
                  <a:pt x="245" y="118"/>
                </a:cubicBezTo>
                <a:cubicBezTo>
                  <a:pt x="241" y="118"/>
                  <a:pt x="238" y="118"/>
                  <a:pt x="234" y="119"/>
                </a:cubicBezTo>
                <a:cubicBezTo>
                  <a:pt x="234" y="143"/>
                  <a:pt x="234" y="143"/>
                  <a:pt x="234" y="143"/>
                </a:cubicBezTo>
                <a:cubicBezTo>
                  <a:pt x="234" y="148"/>
                  <a:pt x="231" y="152"/>
                  <a:pt x="227" y="153"/>
                </a:cubicBezTo>
                <a:cubicBezTo>
                  <a:pt x="219" y="155"/>
                  <a:pt x="211" y="159"/>
                  <a:pt x="204" y="163"/>
                </a:cubicBezTo>
                <a:cubicBezTo>
                  <a:pt x="200" y="165"/>
                  <a:pt x="194" y="164"/>
                  <a:pt x="191" y="161"/>
                </a:cubicBezTo>
                <a:cubicBezTo>
                  <a:pt x="174" y="144"/>
                  <a:pt x="174" y="144"/>
                  <a:pt x="174" y="144"/>
                </a:cubicBezTo>
                <a:cubicBezTo>
                  <a:pt x="174" y="144"/>
                  <a:pt x="173" y="144"/>
                  <a:pt x="173" y="145"/>
                </a:cubicBezTo>
                <a:cubicBezTo>
                  <a:pt x="162" y="153"/>
                  <a:pt x="153" y="162"/>
                  <a:pt x="145" y="173"/>
                </a:cubicBezTo>
                <a:cubicBezTo>
                  <a:pt x="144" y="173"/>
                  <a:pt x="144" y="174"/>
                  <a:pt x="144" y="174"/>
                </a:cubicBezTo>
                <a:cubicBezTo>
                  <a:pt x="161" y="191"/>
                  <a:pt x="161" y="191"/>
                  <a:pt x="161" y="191"/>
                </a:cubicBezTo>
                <a:cubicBezTo>
                  <a:pt x="164" y="194"/>
                  <a:pt x="165" y="200"/>
                  <a:pt x="163" y="204"/>
                </a:cubicBezTo>
                <a:cubicBezTo>
                  <a:pt x="159" y="211"/>
                  <a:pt x="155" y="219"/>
                  <a:pt x="153" y="227"/>
                </a:cubicBezTo>
                <a:cubicBezTo>
                  <a:pt x="152" y="231"/>
                  <a:pt x="148" y="234"/>
                  <a:pt x="143" y="234"/>
                </a:cubicBezTo>
                <a:cubicBezTo>
                  <a:pt x="119" y="234"/>
                  <a:pt x="119" y="234"/>
                  <a:pt x="119" y="234"/>
                </a:cubicBezTo>
                <a:cubicBezTo>
                  <a:pt x="118" y="238"/>
                  <a:pt x="118" y="241"/>
                  <a:pt x="118" y="245"/>
                </a:cubicBezTo>
                <a:cubicBezTo>
                  <a:pt x="117" y="248"/>
                  <a:pt x="117" y="252"/>
                  <a:pt x="117" y="256"/>
                </a:cubicBezTo>
                <a:cubicBezTo>
                  <a:pt x="117" y="259"/>
                  <a:pt x="117" y="263"/>
                  <a:pt x="118" y="267"/>
                </a:cubicBezTo>
                <a:cubicBezTo>
                  <a:pt x="118" y="270"/>
                  <a:pt x="118" y="274"/>
                  <a:pt x="119" y="277"/>
                </a:cubicBezTo>
                <a:cubicBezTo>
                  <a:pt x="143" y="277"/>
                  <a:pt x="143" y="277"/>
                  <a:pt x="143" y="277"/>
                </a:cubicBezTo>
                <a:cubicBezTo>
                  <a:pt x="148" y="277"/>
                  <a:pt x="152" y="280"/>
                  <a:pt x="153" y="285"/>
                </a:cubicBezTo>
                <a:cubicBezTo>
                  <a:pt x="155" y="293"/>
                  <a:pt x="159" y="300"/>
                  <a:pt x="163" y="308"/>
                </a:cubicBezTo>
                <a:cubicBezTo>
                  <a:pt x="165" y="312"/>
                  <a:pt x="164" y="317"/>
                  <a:pt x="161" y="320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45" y="338"/>
                  <a:pt x="145" y="338"/>
                  <a:pt x="145" y="338"/>
                </a:cubicBezTo>
                <a:cubicBezTo>
                  <a:pt x="145" y="339"/>
                  <a:pt x="145" y="339"/>
                  <a:pt x="145" y="339"/>
                </a:cubicBezTo>
                <a:cubicBezTo>
                  <a:pt x="145" y="339"/>
                  <a:pt x="146" y="340"/>
                  <a:pt x="146" y="340"/>
                </a:cubicBezTo>
                <a:cubicBezTo>
                  <a:pt x="153" y="349"/>
                  <a:pt x="162" y="358"/>
                  <a:pt x="172" y="366"/>
                </a:cubicBezTo>
                <a:cubicBezTo>
                  <a:pt x="172" y="366"/>
                  <a:pt x="172" y="366"/>
                  <a:pt x="172" y="366"/>
                </a:cubicBezTo>
                <a:cubicBezTo>
                  <a:pt x="172" y="366"/>
                  <a:pt x="173" y="366"/>
                  <a:pt x="173" y="367"/>
                </a:cubicBezTo>
                <a:cubicBezTo>
                  <a:pt x="174" y="367"/>
                  <a:pt x="174" y="367"/>
                  <a:pt x="174" y="367"/>
                </a:cubicBezTo>
                <a:cubicBezTo>
                  <a:pt x="191" y="351"/>
                  <a:pt x="191" y="351"/>
                  <a:pt x="191" y="351"/>
                </a:cubicBezTo>
                <a:cubicBezTo>
                  <a:pt x="194" y="347"/>
                  <a:pt x="200" y="346"/>
                  <a:pt x="204" y="349"/>
                </a:cubicBezTo>
                <a:cubicBezTo>
                  <a:pt x="211" y="353"/>
                  <a:pt x="219" y="356"/>
                  <a:pt x="227" y="358"/>
                </a:cubicBezTo>
                <a:cubicBezTo>
                  <a:pt x="231" y="359"/>
                  <a:pt x="234" y="364"/>
                  <a:pt x="234" y="368"/>
                </a:cubicBezTo>
                <a:cubicBezTo>
                  <a:pt x="234" y="393"/>
                  <a:pt x="234" y="393"/>
                  <a:pt x="234" y="393"/>
                </a:cubicBezTo>
                <a:cubicBezTo>
                  <a:pt x="238" y="393"/>
                  <a:pt x="241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52" y="394"/>
                  <a:pt x="259" y="395"/>
                  <a:pt x="267" y="394"/>
                </a:cubicBezTo>
                <a:cubicBezTo>
                  <a:pt x="270" y="394"/>
                  <a:pt x="274" y="393"/>
                  <a:pt x="277" y="393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4"/>
                  <a:pt x="280" y="359"/>
                  <a:pt x="285" y="358"/>
                </a:cubicBezTo>
                <a:cubicBezTo>
                  <a:pt x="293" y="356"/>
                  <a:pt x="300" y="353"/>
                  <a:pt x="308" y="349"/>
                </a:cubicBezTo>
                <a:cubicBezTo>
                  <a:pt x="312" y="346"/>
                  <a:pt x="317" y="347"/>
                  <a:pt x="320" y="351"/>
                </a:cubicBezTo>
                <a:cubicBezTo>
                  <a:pt x="337" y="368"/>
                  <a:pt x="337" y="368"/>
                  <a:pt x="337" y="368"/>
                </a:cubicBezTo>
                <a:cubicBezTo>
                  <a:pt x="338" y="367"/>
                  <a:pt x="338" y="367"/>
                  <a:pt x="339" y="367"/>
                </a:cubicBezTo>
                <a:cubicBezTo>
                  <a:pt x="349" y="359"/>
                  <a:pt x="359" y="349"/>
                  <a:pt x="367" y="339"/>
                </a:cubicBezTo>
                <a:cubicBezTo>
                  <a:pt x="367" y="338"/>
                  <a:pt x="367" y="338"/>
                  <a:pt x="368" y="337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47" y="317"/>
                  <a:pt x="346" y="312"/>
                  <a:pt x="349" y="308"/>
                </a:cubicBezTo>
                <a:cubicBezTo>
                  <a:pt x="353" y="300"/>
                  <a:pt x="356" y="293"/>
                  <a:pt x="358" y="285"/>
                </a:cubicBezTo>
                <a:cubicBezTo>
                  <a:pt x="359" y="280"/>
                  <a:pt x="364" y="277"/>
                  <a:pt x="368" y="277"/>
                </a:cubicBezTo>
                <a:cubicBezTo>
                  <a:pt x="393" y="277"/>
                  <a:pt x="393" y="277"/>
                  <a:pt x="393" y="277"/>
                </a:cubicBezTo>
                <a:cubicBezTo>
                  <a:pt x="393" y="274"/>
                  <a:pt x="393" y="270"/>
                  <a:pt x="394" y="267"/>
                </a:cubicBezTo>
                <a:cubicBezTo>
                  <a:pt x="394" y="263"/>
                  <a:pt x="394" y="259"/>
                  <a:pt x="394" y="256"/>
                </a:cubicBezTo>
                <a:cubicBezTo>
                  <a:pt x="394" y="252"/>
                  <a:pt x="394" y="248"/>
                  <a:pt x="394" y="245"/>
                </a:cubicBezTo>
                <a:cubicBezTo>
                  <a:pt x="393" y="241"/>
                  <a:pt x="393" y="238"/>
                  <a:pt x="393" y="234"/>
                </a:cubicBezTo>
                <a:close/>
                <a:moveTo>
                  <a:pt x="256" y="320"/>
                </a:moveTo>
                <a:cubicBezTo>
                  <a:pt x="220" y="320"/>
                  <a:pt x="192" y="291"/>
                  <a:pt x="192" y="256"/>
                </a:cubicBezTo>
                <a:cubicBezTo>
                  <a:pt x="192" y="220"/>
                  <a:pt x="220" y="192"/>
                  <a:pt x="256" y="192"/>
                </a:cubicBezTo>
                <a:cubicBezTo>
                  <a:pt x="291" y="192"/>
                  <a:pt x="320" y="220"/>
                  <a:pt x="320" y="256"/>
                </a:cubicBezTo>
                <a:cubicBezTo>
                  <a:pt x="320" y="291"/>
                  <a:pt x="291" y="320"/>
                  <a:pt x="256" y="320"/>
                </a:cubicBezTo>
                <a:close/>
                <a:moveTo>
                  <a:pt x="298" y="256"/>
                </a:moveTo>
                <a:cubicBezTo>
                  <a:pt x="298" y="279"/>
                  <a:pt x="279" y="298"/>
                  <a:pt x="256" y="298"/>
                </a:cubicBezTo>
                <a:cubicBezTo>
                  <a:pt x="232" y="298"/>
                  <a:pt x="213" y="279"/>
                  <a:pt x="213" y="256"/>
                </a:cubicBezTo>
                <a:cubicBezTo>
                  <a:pt x="213" y="232"/>
                  <a:pt x="232" y="213"/>
                  <a:pt x="256" y="213"/>
                </a:cubicBezTo>
                <a:cubicBezTo>
                  <a:pt x="279" y="213"/>
                  <a:pt x="298" y="232"/>
                  <a:pt x="298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68"/>
                </a:moveTo>
                <a:cubicBezTo>
                  <a:pt x="414" y="276"/>
                  <a:pt x="413" y="283"/>
                  <a:pt x="412" y="290"/>
                </a:cubicBezTo>
                <a:cubicBezTo>
                  <a:pt x="411" y="295"/>
                  <a:pt x="406" y="298"/>
                  <a:pt x="401" y="298"/>
                </a:cubicBezTo>
                <a:cubicBezTo>
                  <a:pt x="376" y="298"/>
                  <a:pt x="376" y="298"/>
                  <a:pt x="376" y="298"/>
                </a:cubicBezTo>
                <a:cubicBezTo>
                  <a:pt x="375" y="303"/>
                  <a:pt x="373" y="307"/>
                  <a:pt x="371" y="311"/>
                </a:cubicBezTo>
                <a:cubicBezTo>
                  <a:pt x="389" y="329"/>
                  <a:pt x="389" y="329"/>
                  <a:pt x="389" y="329"/>
                </a:cubicBezTo>
                <a:cubicBezTo>
                  <a:pt x="392" y="332"/>
                  <a:pt x="393" y="338"/>
                  <a:pt x="390" y="342"/>
                </a:cubicBezTo>
                <a:cubicBezTo>
                  <a:pt x="388" y="345"/>
                  <a:pt x="386" y="348"/>
                  <a:pt x="384" y="351"/>
                </a:cubicBezTo>
                <a:cubicBezTo>
                  <a:pt x="375" y="364"/>
                  <a:pt x="364" y="375"/>
                  <a:pt x="351" y="384"/>
                </a:cubicBezTo>
                <a:cubicBezTo>
                  <a:pt x="348" y="386"/>
                  <a:pt x="345" y="388"/>
                  <a:pt x="342" y="390"/>
                </a:cubicBezTo>
                <a:cubicBezTo>
                  <a:pt x="338" y="393"/>
                  <a:pt x="332" y="392"/>
                  <a:pt x="329" y="389"/>
                </a:cubicBezTo>
                <a:cubicBezTo>
                  <a:pt x="311" y="371"/>
                  <a:pt x="311" y="371"/>
                  <a:pt x="311" y="371"/>
                </a:cubicBezTo>
                <a:cubicBezTo>
                  <a:pt x="307" y="373"/>
                  <a:pt x="303" y="375"/>
                  <a:pt x="298" y="376"/>
                </a:cubicBezTo>
                <a:cubicBezTo>
                  <a:pt x="298" y="401"/>
                  <a:pt x="298" y="401"/>
                  <a:pt x="298" y="401"/>
                </a:cubicBezTo>
                <a:cubicBezTo>
                  <a:pt x="298" y="407"/>
                  <a:pt x="295" y="411"/>
                  <a:pt x="290" y="412"/>
                </a:cubicBezTo>
                <a:cubicBezTo>
                  <a:pt x="283" y="414"/>
                  <a:pt x="276" y="415"/>
                  <a:pt x="269" y="415"/>
                </a:cubicBezTo>
                <a:cubicBezTo>
                  <a:pt x="269" y="415"/>
                  <a:pt x="269" y="416"/>
                  <a:pt x="269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8" y="416"/>
                  <a:pt x="268" y="416"/>
                  <a:pt x="268" y="416"/>
                </a:cubicBezTo>
                <a:cubicBezTo>
                  <a:pt x="267" y="416"/>
                  <a:pt x="265" y="415"/>
                  <a:pt x="264" y="416"/>
                </a:cubicBezTo>
                <a:cubicBezTo>
                  <a:pt x="261" y="416"/>
                  <a:pt x="258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3" y="416"/>
                  <a:pt x="251" y="416"/>
                  <a:pt x="249" y="416"/>
                </a:cubicBezTo>
                <a:cubicBezTo>
                  <a:pt x="247" y="416"/>
                  <a:pt x="245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43" y="416"/>
                  <a:pt x="243" y="416"/>
                  <a:pt x="243" y="416"/>
                </a:cubicBezTo>
                <a:cubicBezTo>
                  <a:pt x="235" y="416"/>
                  <a:pt x="228" y="414"/>
                  <a:pt x="221" y="412"/>
                </a:cubicBezTo>
                <a:cubicBezTo>
                  <a:pt x="216" y="411"/>
                  <a:pt x="213" y="407"/>
                  <a:pt x="213" y="401"/>
                </a:cubicBezTo>
                <a:cubicBezTo>
                  <a:pt x="213" y="376"/>
                  <a:pt x="213" y="376"/>
                  <a:pt x="213" y="376"/>
                </a:cubicBezTo>
                <a:cubicBezTo>
                  <a:pt x="209" y="375"/>
                  <a:pt x="205" y="373"/>
                  <a:pt x="201" y="371"/>
                </a:cubicBezTo>
                <a:cubicBezTo>
                  <a:pt x="183" y="389"/>
                  <a:pt x="183" y="389"/>
                  <a:pt x="183" y="389"/>
                </a:cubicBezTo>
                <a:cubicBezTo>
                  <a:pt x="179" y="392"/>
                  <a:pt x="174" y="393"/>
                  <a:pt x="169" y="390"/>
                </a:cubicBezTo>
                <a:cubicBezTo>
                  <a:pt x="167" y="389"/>
                  <a:pt x="164" y="387"/>
                  <a:pt x="161" y="385"/>
                </a:cubicBezTo>
                <a:cubicBezTo>
                  <a:pt x="161" y="384"/>
                  <a:pt x="160" y="384"/>
                  <a:pt x="160" y="384"/>
                </a:cubicBezTo>
                <a:cubicBezTo>
                  <a:pt x="160" y="383"/>
                  <a:pt x="159" y="383"/>
                  <a:pt x="158" y="382"/>
                </a:cubicBezTo>
                <a:cubicBezTo>
                  <a:pt x="147" y="374"/>
                  <a:pt x="137" y="364"/>
                  <a:pt x="129" y="353"/>
                </a:cubicBezTo>
                <a:cubicBezTo>
                  <a:pt x="128" y="352"/>
                  <a:pt x="128" y="352"/>
                  <a:pt x="128" y="351"/>
                </a:cubicBezTo>
                <a:cubicBezTo>
                  <a:pt x="127" y="351"/>
                  <a:pt x="127" y="350"/>
                  <a:pt x="127" y="350"/>
                </a:cubicBezTo>
                <a:cubicBezTo>
                  <a:pt x="127" y="350"/>
                  <a:pt x="127" y="350"/>
                  <a:pt x="127" y="350"/>
                </a:cubicBezTo>
                <a:cubicBezTo>
                  <a:pt x="125" y="347"/>
                  <a:pt x="123" y="345"/>
                  <a:pt x="121" y="342"/>
                </a:cubicBezTo>
                <a:cubicBezTo>
                  <a:pt x="118" y="338"/>
                  <a:pt x="119" y="332"/>
                  <a:pt x="122" y="329"/>
                </a:cubicBezTo>
                <a:cubicBezTo>
                  <a:pt x="140" y="311"/>
                  <a:pt x="140" y="311"/>
                  <a:pt x="140" y="311"/>
                </a:cubicBezTo>
                <a:cubicBezTo>
                  <a:pt x="138" y="307"/>
                  <a:pt x="137" y="303"/>
                  <a:pt x="135" y="298"/>
                </a:cubicBezTo>
                <a:cubicBezTo>
                  <a:pt x="110" y="298"/>
                  <a:pt x="110" y="298"/>
                  <a:pt x="110" y="298"/>
                </a:cubicBezTo>
                <a:cubicBezTo>
                  <a:pt x="105" y="298"/>
                  <a:pt x="100" y="295"/>
                  <a:pt x="99" y="290"/>
                </a:cubicBezTo>
                <a:cubicBezTo>
                  <a:pt x="98" y="283"/>
                  <a:pt x="97" y="276"/>
                  <a:pt x="96" y="268"/>
                </a:cubicBezTo>
                <a:cubicBezTo>
                  <a:pt x="96" y="265"/>
                  <a:pt x="96" y="262"/>
                  <a:pt x="96" y="259"/>
                </a:cubicBezTo>
                <a:cubicBezTo>
                  <a:pt x="96" y="258"/>
                  <a:pt x="96" y="257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54"/>
                  <a:pt x="96" y="253"/>
                  <a:pt x="96" y="252"/>
                </a:cubicBezTo>
                <a:cubicBezTo>
                  <a:pt x="96" y="249"/>
                  <a:pt x="96" y="246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6" y="243"/>
                  <a:pt x="96" y="243"/>
                  <a:pt x="96" y="243"/>
                </a:cubicBezTo>
                <a:cubicBezTo>
                  <a:pt x="97" y="235"/>
                  <a:pt x="98" y="228"/>
                  <a:pt x="99" y="221"/>
                </a:cubicBezTo>
                <a:cubicBezTo>
                  <a:pt x="100" y="216"/>
                  <a:pt x="105" y="213"/>
                  <a:pt x="110" y="213"/>
                </a:cubicBezTo>
                <a:cubicBezTo>
                  <a:pt x="135" y="213"/>
                  <a:pt x="135" y="213"/>
                  <a:pt x="135" y="213"/>
                </a:cubicBezTo>
                <a:cubicBezTo>
                  <a:pt x="137" y="209"/>
                  <a:pt x="138" y="205"/>
                  <a:pt x="140" y="201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19" y="179"/>
                  <a:pt x="118" y="174"/>
                  <a:pt x="121" y="169"/>
                </a:cubicBezTo>
                <a:cubicBezTo>
                  <a:pt x="123" y="166"/>
                  <a:pt x="125" y="163"/>
                  <a:pt x="128" y="160"/>
                </a:cubicBezTo>
                <a:cubicBezTo>
                  <a:pt x="137" y="148"/>
                  <a:pt x="148" y="137"/>
                  <a:pt x="160" y="128"/>
                </a:cubicBezTo>
                <a:cubicBezTo>
                  <a:pt x="163" y="125"/>
                  <a:pt x="166" y="123"/>
                  <a:pt x="169" y="121"/>
                </a:cubicBezTo>
                <a:cubicBezTo>
                  <a:pt x="174" y="118"/>
                  <a:pt x="179" y="119"/>
                  <a:pt x="183" y="122"/>
                </a:cubicBezTo>
                <a:cubicBezTo>
                  <a:pt x="201" y="140"/>
                  <a:pt x="201" y="140"/>
                  <a:pt x="201" y="140"/>
                </a:cubicBezTo>
                <a:cubicBezTo>
                  <a:pt x="205" y="138"/>
                  <a:pt x="209" y="137"/>
                  <a:pt x="213" y="135"/>
                </a:cubicBezTo>
                <a:cubicBezTo>
                  <a:pt x="213" y="110"/>
                  <a:pt x="213" y="110"/>
                  <a:pt x="213" y="110"/>
                </a:cubicBezTo>
                <a:cubicBezTo>
                  <a:pt x="213" y="105"/>
                  <a:pt x="216" y="100"/>
                  <a:pt x="221" y="99"/>
                </a:cubicBezTo>
                <a:cubicBezTo>
                  <a:pt x="228" y="98"/>
                  <a:pt x="236" y="97"/>
                  <a:pt x="243" y="96"/>
                </a:cubicBezTo>
                <a:cubicBezTo>
                  <a:pt x="251" y="96"/>
                  <a:pt x="260" y="96"/>
                  <a:pt x="268" y="96"/>
                </a:cubicBezTo>
                <a:cubicBezTo>
                  <a:pt x="276" y="97"/>
                  <a:pt x="283" y="98"/>
                  <a:pt x="290" y="99"/>
                </a:cubicBezTo>
                <a:cubicBezTo>
                  <a:pt x="295" y="100"/>
                  <a:pt x="298" y="105"/>
                  <a:pt x="298" y="110"/>
                </a:cubicBezTo>
                <a:cubicBezTo>
                  <a:pt x="298" y="135"/>
                  <a:pt x="298" y="135"/>
                  <a:pt x="298" y="135"/>
                </a:cubicBezTo>
                <a:cubicBezTo>
                  <a:pt x="303" y="137"/>
                  <a:pt x="307" y="138"/>
                  <a:pt x="311" y="140"/>
                </a:cubicBezTo>
                <a:cubicBezTo>
                  <a:pt x="329" y="122"/>
                  <a:pt x="329" y="122"/>
                  <a:pt x="329" y="122"/>
                </a:cubicBezTo>
                <a:cubicBezTo>
                  <a:pt x="332" y="119"/>
                  <a:pt x="338" y="118"/>
                  <a:pt x="342" y="121"/>
                </a:cubicBezTo>
                <a:cubicBezTo>
                  <a:pt x="345" y="123"/>
                  <a:pt x="347" y="125"/>
                  <a:pt x="350" y="127"/>
                </a:cubicBezTo>
                <a:cubicBezTo>
                  <a:pt x="350" y="127"/>
                  <a:pt x="351" y="127"/>
                  <a:pt x="351" y="128"/>
                </a:cubicBezTo>
                <a:cubicBezTo>
                  <a:pt x="352" y="128"/>
                  <a:pt x="353" y="129"/>
                  <a:pt x="353" y="129"/>
                </a:cubicBezTo>
                <a:cubicBezTo>
                  <a:pt x="364" y="137"/>
                  <a:pt x="374" y="147"/>
                  <a:pt x="383" y="159"/>
                </a:cubicBezTo>
                <a:cubicBezTo>
                  <a:pt x="383" y="159"/>
                  <a:pt x="383" y="159"/>
                  <a:pt x="384" y="160"/>
                </a:cubicBezTo>
                <a:cubicBezTo>
                  <a:pt x="384" y="160"/>
                  <a:pt x="384" y="161"/>
                  <a:pt x="385" y="161"/>
                </a:cubicBezTo>
                <a:cubicBezTo>
                  <a:pt x="385" y="162"/>
                  <a:pt x="385" y="162"/>
                  <a:pt x="385" y="162"/>
                </a:cubicBezTo>
                <a:cubicBezTo>
                  <a:pt x="387" y="164"/>
                  <a:pt x="389" y="167"/>
                  <a:pt x="390" y="169"/>
                </a:cubicBezTo>
                <a:cubicBezTo>
                  <a:pt x="393" y="174"/>
                  <a:pt x="392" y="179"/>
                  <a:pt x="389" y="183"/>
                </a:cubicBezTo>
                <a:cubicBezTo>
                  <a:pt x="371" y="201"/>
                  <a:pt x="371" y="201"/>
                  <a:pt x="371" y="201"/>
                </a:cubicBezTo>
                <a:cubicBezTo>
                  <a:pt x="373" y="205"/>
                  <a:pt x="375" y="209"/>
                  <a:pt x="376" y="213"/>
                </a:cubicBezTo>
                <a:cubicBezTo>
                  <a:pt x="401" y="213"/>
                  <a:pt x="401" y="213"/>
                  <a:pt x="401" y="213"/>
                </a:cubicBezTo>
                <a:cubicBezTo>
                  <a:pt x="406" y="213"/>
                  <a:pt x="411" y="216"/>
                  <a:pt x="412" y="221"/>
                </a:cubicBezTo>
                <a:cubicBezTo>
                  <a:pt x="414" y="228"/>
                  <a:pt x="414" y="235"/>
                  <a:pt x="416" y="243"/>
                </a:cubicBezTo>
                <a:cubicBezTo>
                  <a:pt x="416" y="243"/>
                  <a:pt x="416" y="243"/>
                  <a:pt x="416" y="243"/>
                </a:cubicBezTo>
                <a:cubicBezTo>
                  <a:pt x="416" y="247"/>
                  <a:pt x="416" y="251"/>
                  <a:pt x="416" y="256"/>
                </a:cubicBezTo>
                <a:cubicBezTo>
                  <a:pt x="416" y="260"/>
                  <a:pt x="415" y="264"/>
                  <a:pt x="415" y="2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95" name="Group 29"/>
          <p:cNvGrpSpPr>
            <a:grpSpLocks noChangeAspect="1"/>
          </p:cNvGrpSpPr>
          <p:nvPr/>
        </p:nvGrpSpPr>
        <p:grpSpPr bwMode="auto">
          <a:xfrm>
            <a:off x="3936945" y="2051054"/>
            <a:ext cx="367631" cy="367631"/>
            <a:chOff x="2899" y="653"/>
            <a:chExt cx="340" cy="340"/>
          </a:xfrm>
          <a:solidFill>
            <a:schemeClr val="accent1"/>
          </a:solidFill>
        </p:grpSpPr>
        <p:sp>
          <p:nvSpPr>
            <p:cNvPr id="896" name="Freeform 30"/>
            <p:cNvSpPr>
              <a:spLocks noEditPoints="1"/>
            </p:cNvSpPr>
            <p:nvPr/>
          </p:nvSpPr>
          <p:spPr bwMode="auto">
            <a:xfrm>
              <a:off x="2963" y="717"/>
              <a:ext cx="212" cy="213"/>
            </a:xfrm>
            <a:custGeom>
              <a:avLst/>
              <a:gdLst>
                <a:gd name="T0" fmla="*/ 316 w 320"/>
                <a:gd name="T1" fmla="*/ 126 h 321"/>
                <a:gd name="T2" fmla="*/ 275 w 320"/>
                <a:gd name="T3" fmla="*/ 105 h 321"/>
                <a:gd name="T4" fmla="*/ 289 w 320"/>
                <a:gd name="T5" fmla="*/ 66 h 321"/>
                <a:gd name="T6" fmla="*/ 287 w 320"/>
                <a:gd name="T7" fmla="*/ 63 h 321"/>
                <a:gd name="T8" fmla="*/ 254 w 320"/>
                <a:gd name="T9" fmla="*/ 31 h 321"/>
                <a:gd name="T10" fmla="*/ 215 w 320"/>
                <a:gd name="T11" fmla="*/ 45 h 321"/>
                <a:gd name="T12" fmla="*/ 194 w 320"/>
                <a:gd name="T13" fmla="*/ 4 h 321"/>
                <a:gd name="T14" fmla="*/ 125 w 320"/>
                <a:gd name="T15" fmla="*/ 4 h 321"/>
                <a:gd name="T16" fmla="*/ 105 w 320"/>
                <a:gd name="T17" fmla="*/ 45 h 321"/>
                <a:gd name="T18" fmla="*/ 64 w 320"/>
                <a:gd name="T19" fmla="*/ 32 h 321"/>
                <a:gd name="T20" fmla="*/ 26 w 320"/>
                <a:gd name="T21" fmla="*/ 87 h 321"/>
                <a:gd name="T22" fmla="*/ 14 w 320"/>
                <a:gd name="T23" fmla="*/ 118 h 321"/>
                <a:gd name="T24" fmla="*/ 0 w 320"/>
                <a:gd name="T25" fmla="*/ 147 h 321"/>
                <a:gd name="T26" fmla="*/ 0 w 320"/>
                <a:gd name="T27" fmla="*/ 156 h 321"/>
                <a:gd name="T28" fmla="*/ 0 w 320"/>
                <a:gd name="T29" fmla="*/ 160 h 321"/>
                <a:gd name="T30" fmla="*/ 3 w 320"/>
                <a:gd name="T31" fmla="*/ 195 h 321"/>
                <a:gd name="T32" fmla="*/ 44 w 320"/>
                <a:gd name="T33" fmla="*/ 215 h 321"/>
                <a:gd name="T34" fmla="*/ 31 w 320"/>
                <a:gd name="T35" fmla="*/ 254 h 321"/>
                <a:gd name="T36" fmla="*/ 33 w 320"/>
                <a:gd name="T37" fmla="*/ 257 h 321"/>
                <a:gd name="T38" fmla="*/ 65 w 320"/>
                <a:gd name="T39" fmla="*/ 289 h 321"/>
                <a:gd name="T40" fmla="*/ 105 w 320"/>
                <a:gd name="T41" fmla="*/ 275 h 321"/>
                <a:gd name="T42" fmla="*/ 125 w 320"/>
                <a:gd name="T43" fmla="*/ 317 h 321"/>
                <a:gd name="T44" fmla="*/ 147 w 320"/>
                <a:gd name="T45" fmla="*/ 321 h 321"/>
                <a:gd name="T46" fmla="*/ 160 w 320"/>
                <a:gd name="T47" fmla="*/ 321 h 321"/>
                <a:gd name="T48" fmla="*/ 168 w 320"/>
                <a:gd name="T49" fmla="*/ 321 h 321"/>
                <a:gd name="T50" fmla="*/ 173 w 320"/>
                <a:gd name="T51" fmla="*/ 321 h 321"/>
                <a:gd name="T52" fmla="*/ 202 w 320"/>
                <a:gd name="T53" fmla="*/ 306 h 321"/>
                <a:gd name="T54" fmla="*/ 233 w 320"/>
                <a:gd name="T55" fmla="*/ 293 h 321"/>
                <a:gd name="T56" fmla="*/ 288 w 320"/>
                <a:gd name="T57" fmla="*/ 256 h 321"/>
                <a:gd name="T58" fmla="*/ 275 w 320"/>
                <a:gd name="T59" fmla="*/ 215 h 321"/>
                <a:gd name="T60" fmla="*/ 316 w 320"/>
                <a:gd name="T61" fmla="*/ 195 h 321"/>
                <a:gd name="T62" fmla="*/ 320 w 320"/>
                <a:gd name="T63" fmla="*/ 147 h 321"/>
                <a:gd name="T64" fmla="*/ 272 w 320"/>
                <a:gd name="T65" fmla="*/ 182 h 321"/>
                <a:gd name="T66" fmla="*/ 255 w 320"/>
                <a:gd name="T67" fmla="*/ 225 h 321"/>
                <a:gd name="T68" fmla="*/ 243 w 320"/>
                <a:gd name="T69" fmla="*/ 271 h 321"/>
                <a:gd name="T70" fmla="*/ 212 w 320"/>
                <a:gd name="T71" fmla="*/ 253 h 321"/>
                <a:gd name="T72" fmla="*/ 181 w 320"/>
                <a:gd name="T73" fmla="*/ 297 h 321"/>
                <a:gd name="T74" fmla="*/ 149 w 320"/>
                <a:gd name="T75" fmla="*/ 299 h 321"/>
                <a:gd name="T76" fmla="*/ 138 w 320"/>
                <a:gd name="T77" fmla="*/ 297 h 321"/>
                <a:gd name="T78" fmla="*/ 108 w 320"/>
                <a:gd name="T79" fmla="*/ 253 h 321"/>
                <a:gd name="T80" fmla="*/ 77 w 320"/>
                <a:gd name="T81" fmla="*/ 271 h 321"/>
                <a:gd name="T82" fmla="*/ 50 w 320"/>
                <a:gd name="T83" fmla="*/ 244 h 321"/>
                <a:gd name="T84" fmla="*/ 48 w 320"/>
                <a:gd name="T85" fmla="*/ 242 h 321"/>
                <a:gd name="T86" fmla="*/ 57 w 320"/>
                <a:gd name="T87" fmla="*/ 189 h 321"/>
                <a:gd name="T88" fmla="*/ 22 w 320"/>
                <a:gd name="T89" fmla="*/ 171 h 321"/>
                <a:gd name="T90" fmla="*/ 23 w 320"/>
                <a:gd name="T91" fmla="*/ 139 h 321"/>
                <a:gd name="T92" fmla="*/ 67 w 320"/>
                <a:gd name="T93" fmla="*/ 108 h 321"/>
                <a:gd name="T94" fmla="*/ 49 w 320"/>
                <a:gd name="T95" fmla="*/ 77 h 321"/>
                <a:gd name="T96" fmla="*/ 95 w 320"/>
                <a:gd name="T97" fmla="*/ 65 h 321"/>
                <a:gd name="T98" fmla="*/ 138 w 320"/>
                <a:gd name="T99" fmla="*/ 47 h 321"/>
                <a:gd name="T100" fmla="*/ 171 w 320"/>
                <a:gd name="T101" fmla="*/ 22 h 321"/>
                <a:gd name="T102" fmla="*/ 189 w 320"/>
                <a:gd name="T103" fmla="*/ 58 h 321"/>
                <a:gd name="T104" fmla="*/ 241 w 320"/>
                <a:gd name="T105" fmla="*/ 48 h 321"/>
                <a:gd name="T106" fmla="*/ 244 w 320"/>
                <a:gd name="T107" fmla="*/ 50 h 321"/>
                <a:gd name="T108" fmla="*/ 270 w 320"/>
                <a:gd name="T109" fmla="*/ 77 h 321"/>
                <a:gd name="T110" fmla="*/ 253 w 320"/>
                <a:gd name="T111" fmla="*/ 108 h 321"/>
                <a:gd name="T112" fmla="*/ 297 w 320"/>
                <a:gd name="T113" fmla="*/ 139 h 321"/>
                <a:gd name="T114" fmla="*/ 298 w 320"/>
                <a:gd name="T115" fmla="*/ 17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21">
                  <a:moveTo>
                    <a:pt x="320" y="147"/>
                  </a:moveTo>
                  <a:cubicBezTo>
                    <a:pt x="320" y="147"/>
                    <a:pt x="320" y="147"/>
                    <a:pt x="320" y="147"/>
                  </a:cubicBezTo>
                  <a:cubicBezTo>
                    <a:pt x="318" y="140"/>
                    <a:pt x="318" y="133"/>
                    <a:pt x="316" y="126"/>
                  </a:cubicBezTo>
                  <a:cubicBezTo>
                    <a:pt x="315" y="121"/>
                    <a:pt x="310" y="118"/>
                    <a:pt x="305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9" y="113"/>
                    <a:pt x="277" y="109"/>
                    <a:pt x="275" y="105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6" y="84"/>
                    <a:pt x="297" y="78"/>
                    <a:pt x="294" y="74"/>
                  </a:cubicBezTo>
                  <a:cubicBezTo>
                    <a:pt x="293" y="71"/>
                    <a:pt x="291" y="68"/>
                    <a:pt x="289" y="66"/>
                  </a:cubicBezTo>
                  <a:cubicBezTo>
                    <a:pt x="289" y="66"/>
                    <a:pt x="289" y="66"/>
                    <a:pt x="289" y="66"/>
                  </a:cubicBezTo>
                  <a:cubicBezTo>
                    <a:pt x="288" y="65"/>
                    <a:pt x="288" y="65"/>
                    <a:pt x="288" y="64"/>
                  </a:cubicBezTo>
                  <a:cubicBezTo>
                    <a:pt x="287" y="64"/>
                    <a:pt x="287" y="63"/>
                    <a:pt x="287" y="63"/>
                  </a:cubicBezTo>
                  <a:cubicBezTo>
                    <a:pt x="278" y="52"/>
                    <a:pt x="268" y="42"/>
                    <a:pt x="257" y="33"/>
                  </a:cubicBezTo>
                  <a:cubicBezTo>
                    <a:pt x="257" y="33"/>
                    <a:pt x="256" y="32"/>
                    <a:pt x="255" y="32"/>
                  </a:cubicBezTo>
                  <a:cubicBezTo>
                    <a:pt x="255" y="32"/>
                    <a:pt x="254" y="31"/>
                    <a:pt x="254" y="31"/>
                  </a:cubicBezTo>
                  <a:cubicBezTo>
                    <a:pt x="251" y="29"/>
                    <a:pt x="249" y="27"/>
                    <a:pt x="246" y="25"/>
                  </a:cubicBezTo>
                  <a:cubicBezTo>
                    <a:pt x="242" y="23"/>
                    <a:pt x="236" y="23"/>
                    <a:pt x="233" y="27"/>
                  </a:cubicBezTo>
                  <a:cubicBezTo>
                    <a:pt x="215" y="45"/>
                    <a:pt x="215" y="45"/>
                    <a:pt x="215" y="45"/>
                  </a:cubicBezTo>
                  <a:cubicBezTo>
                    <a:pt x="211" y="43"/>
                    <a:pt x="207" y="41"/>
                    <a:pt x="202" y="39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9"/>
                    <a:pt x="199" y="5"/>
                    <a:pt x="194" y="4"/>
                  </a:cubicBezTo>
                  <a:cubicBezTo>
                    <a:pt x="187" y="2"/>
                    <a:pt x="180" y="1"/>
                    <a:pt x="172" y="1"/>
                  </a:cubicBezTo>
                  <a:cubicBezTo>
                    <a:pt x="164" y="0"/>
                    <a:pt x="155" y="0"/>
                    <a:pt x="147" y="1"/>
                  </a:cubicBezTo>
                  <a:cubicBezTo>
                    <a:pt x="140" y="1"/>
                    <a:pt x="132" y="2"/>
                    <a:pt x="125" y="4"/>
                  </a:cubicBezTo>
                  <a:cubicBezTo>
                    <a:pt x="120" y="5"/>
                    <a:pt x="117" y="9"/>
                    <a:pt x="117" y="14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3" y="41"/>
                    <a:pt x="109" y="43"/>
                    <a:pt x="105" y="45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3" y="23"/>
                    <a:pt x="78" y="23"/>
                    <a:pt x="73" y="25"/>
                  </a:cubicBezTo>
                  <a:cubicBezTo>
                    <a:pt x="70" y="27"/>
                    <a:pt x="67" y="30"/>
                    <a:pt x="64" y="32"/>
                  </a:cubicBezTo>
                  <a:cubicBezTo>
                    <a:pt x="52" y="41"/>
                    <a:pt x="41" y="52"/>
                    <a:pt x="32" y="64"/>
                  </a:cubicBezTo>
                  <a:cubicBezTo>
                    <a:pt x="29" y="67"/>
                    <a:pt x="27" y="71"/>
                    <a:pt x="25" y="74"/>
                  </a:cubicBezTo>
                  <a:cubicBezTo>
                    <a:pt x="22" y="78"/>
                    <a:pt x="23" y="84"/>
                    <a:pt x="26" y="87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2" y="109"/>
                    <a:pt x="41" y="113"/>
                    <a:pt x="39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9" y="118"/>
                    <a:pt x="4" y="121"/>
                    <a:pt x="3" y="126"/>
                  </a:cubicBezTo>
                  <a:cubicBezTo>
                    <a:pt x="2" y="133"/>
                    <a:pt x="1" y="140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0"/>
                    <a:pt x="0" y="153"/>
                    <a:pt x="0" y="156"/>
                  </a:cubicBezTo>
                  <a:cubicBezTo>
                    <a:pt x="0" y="157"/>
                    <a:pt x="0" y="159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1"/>
                    <a:pt x="0" y="163"/>
                    <a:pt x="0" y="164"/>
                  </a:cubicBezTo>
                  <a:cubicBezTo>
                    <a:pt x="0" y="167"/>
                    <a:pt x="0" y="170"/>
                    <a:pt x="0" y="173"/>
                  </a:cubicBezTo>
                  <a:cubicBezTo>
                    <a:pt x="1" y="180"/>
                    <a:pt x="2" y="188"/>
                    <a:pt x="3" y="195"/>
                  </a:cubicBezTo>
                  <a:cubicBezTo>
                    <a:pt x="4" y="200"/>
                    <a:pt x="9" y="203"/>
                    <a:pt x="14" y="203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41" y="207"/>
                    <a:pt x="42" y="211"/>
                    <a:pt x="44" y="215"/>
                  </a:cubicBezTo>
                  <a:cubicBezTo>
                    <a:pt x="26" y="233"/>
                    <a:pt x="26" y="233"/>
                    <a:pt x="26" y="233"/>
                  </a:cubicBezTo>
                  <a:cubicBezTo>
                    <a:pt x="23" y="237"/>
                    <a:pt x="22" y="242"/>
                    <a:pt x="25" y="246"/>
                  </a:cubicBezTo>
                  <a:cubicBezTo>
                    <a:pt x="27" y="249"/>
                    <a:pt x="29" y="252"/>
                    <a:pt x="31" y="254"/>
                  </a:cubicBezTo>
                  <a:cubicBezTo>
                    <a:pt x="31" y="254"/>
                    <a:pt x="31" y="254"/>
                    <a:pt x="31" y="254"/>
                  </a:cubicBezTo>
                  <a:cubicBezTo>
                    <a:pt x="31" y="255"/>
                    <a:pt x="31" y="255"/>
                    <a:pt x="32" y="256"/>
                  </a:cubicBezTo>
                  <a:cubicBezTo>
                    <a:pt x="32" y="256"/>
                    <a:pt x="32" y="257"/>
                    <a:pt x="33" y="257"/>
                  </a:cubicBezTo>
                  <a:cubicBezTo>
                    <a:pt x="41" y="268"/>
                    <a:pt x="51" y="278"/>
                    <a:pt x="62" y="287"/>
                  </a:cubicBezTo>
                  <a:cubicBezTo>
                    <a:pt x="63" y="287"/>
                    <a:pt x="64" y="288"/>
                    <a:pt x="64" y="288"/>
                  </a:cubicBezTo>
                  <a:cubicBezTo>
                    <a:pt x="64" y="288"/>
                    <a:pt x="65" y="289"/>
                    <a:pt x="65" y="289"/>
                  </a:cubicBezTo>
                  <a:cubicBezTo>
                    <a:pt x="68" y="291"/>
                    <a:pt x="71" y="293"/>
                    <a:pt x="73" y="295"/>
                  </a:cubicBezTo>
                  <a:cubicBezTo>
                    <a:pt x="78" y="297"/>
                    <a:pt x="83" y="297"/>
                    <a:pt x="87" y="293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09" y="277"/>
                    <a:pt x="113" y="279"/>
                    <a:pt x="117" y="281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7" y="311"/>
                    <a:pt x="120" y="316"/>
                    <a:pt x="125" y="317"/>
                  </a:cubicBezTo>
                  <a:cubicBezTo>
                    <a:pt x="132" y="318"/>
                    <a:pt x="139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9" y="321"/>
                    <a:pt x="151" y="321"/>
                    <a:pt x="153" y="321"/>
                  </a:cubicBezTo>
                  <a:cubicBezTo>
                    <a:pt x="155" y="321"/>
                    <a:pt x="157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2" y="321"/>
                    <a:pt x="165" y="321"/>
                    <a:pt x="168" y="321"/>
                  </a:cubicBezTo>
                  <a:cubicBezTo>
                    <a:pt x="169" y="320"/>
                    <a:pt x="171" y="321"/>
                    <a:pt x="172" y="321"/>
                  </a:cubicBezTo>
                  <a:cubicBezTo>
                    <a:pt x="172" y="321"/>
                    <a:pt x="172" y="321"/>
                    <a:pt x="172" y="321"/>
                  </a:cubicBezTo>
                  <a:cubicBezTo>
                    <a:pt x="172" y="321"/>
                    <a:pt x="172" y="321"/>
                    <a:pt x="173" y="321"/>
                  </a:cubicBezTo>
                  <a:cubicBezTo>
                    <a:pt x="173" y="321"/>
                    <a:pt x="173" y="320"/>
                    <a:pt x="173" y="320"/>
                  </a:cubicBezTo>
                  <a:cubicBezTo>
                    <a:pt x="180" y="319"/>
                    <a:pt x="187" y="318"/>
                    <a:pt x="194" y="317"/>
                  </a:cubicBezTo>
                  <a:cubicBezTo>
                    <a:pt x="199" y="315"/>
                    <a:pt x="202" y="311"/>
                    <a:pt x="202" y="306"/>
                  </a:cubicBezTo>
                  <a:cubicBezTo>
                    <a:pt x="202" y="281"/>
                    <a:pt x="202" y="281"/>
                    <a:pt x="202" y="281"/>
                  </a:cubicBezTo>
                  <a:cubicBezTo>
                    <a:pt x="207" y="279"/>
                    <a:pt x="211" y="277"/>
                    <a:pt x="215" y="275"/>
                  </a:cubicBezTo>
                  <a:cubicBezTo>
                    <a:pt x="233" y="293"/>
                    <a:pt x="233" y="293"/>
                    <a:pt x="233" y="293"/>
                  </a:cubicBezTo>
                  <a:cubicBezTo>
                    <a:pt x="236" y="297"/>
                    <a:pt x="242" y="297"/>
                    <a:pt x="246" y="295"/>
                  </a:cubicBezTo>
                  <a:cubicBezTo>
                    <a:pt x="249" y="293"/>
                    <a:pt x="252" y="290"/>
                    <a:pt x="255" y="288"/>
                  </a:cubicBezTo>
                  <a:cubicBezTo>
                    <a:pt x="268" y="279"/>
                    <a:pt x="279" y="268"/>
                    <a:pt x="288" y="256"/>
                  </a:cubicBezTo>
                  <a:cubicBezTo>
                    <a:pt x="290" y="253"/>
                    <a:pt x="292" y="249"/>
                    <a:pt x="294" y="246"/>
                  </a:cubicBezTo>
                  <a:cubicBezTo>
                    <a:pt x="297" y="242"/>
                    <a:pt x="296" y="236"/>
                    <a:pt x="293" y="233"/>
                  </a:cubicBezTo>
                  <a:cubicBezTo>
                    <a:pt x="275" y="215"/>
                    <a:pt x="275" y="215"/>
                    <a:pt x="275" y="215"/>
                  </a:cubicBezTo>
                  <a:cubicBezTo>
                    <a:pt x="277" y="211"/>
                    <a:pt x="279" y="207"/>
                    <a:pt x="280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10" y="203"/>
                    <a:pt x="315" y="200"/>
                    <a:pt x="316" y="195"/>
                  </a:cubicBezTo>
                  <a:cubicBezTo>
                    <a:pt x="317" y="188"/>
                    <a:pt x="318" y="180"/>
                    <a:pt x="319" y="173"/>
                  </a:cubicBezTo>
                  <a:cubicBezTo>
                    <a:pt x="319" y="169"/>
                    <a:pt x="320" y="164"/>
                    <a:pt x="320" y="160"/>
                  </a:cubicBezTo>
                  <a:cubicBezTo>
                    <a:pt x="320" y="156"/>
                    <a:pt x="320" y="152"/>
                    <a:pt x="320" y="147"/>
                  </a:cubicBezTo>
                  <a:close/>
                  <a:moveTo>
                    <a:pt x="298" y="171"/>
                  </a:moveTo>
                  <a:cubicBezTo>
                    <a:pt x="297" y="175"/>
                    <a:pt x="297" y="178"/>
                    <a:pt x="297" y="182"/>
                  </a:cubicBezTo>
                  <a:cubicBezTo>
                    <a:pt x="272" y="182"/>
                    <a:pt x="272" y="182"/>
                    <a:pt x="272" y="182"/>
                  </a:cubicBezTo>
                  <a:cubicBezTo>
                    <a:pt x="268" y="182"/>
                    <a:pt x="263" y="185"/>
                    <a:pt x="262" y="189"/>
                  </a:cubicBezTo>
                  <a:cubicBezTo>
                    <a:pt x="260" y="197"/>
                    <a:pt x="257" y="205"/>
                    <a:pt x="253" y="212"/>
                  </a:cubicBezTo>
                  <a:cubicBezTo>
                    <a:pt x="250" y="216"/>
                    <a:pt x="251" y="221"/>
                    <a:pt x="255" y="225"/>
                  </a:cubicBezTo>
                  <a:cubicBezTo>
                    <a:pt x="272" y="242"/>
                    <a:pt x="272" y="242"/>
                    <a:pt x="272" y="242"/>
                  </a:cubicBezTo>
                  <a:cubicBezTo>
                    <a:pt x="271" y="242"/>
                    <a:pt x="271" y="243"/>
                    <a:pt x="271" y="243"/>
                  </a:cubicBezTo>
                  <a:cubicBezTo>
                    <a:pt x="263" y="254"/>
                    <a:pt x="253" y="263"/>
                    <a:pt x="243" y="271"/>
                  </a:cubicBezTo>
                  <a:cubicBezTo>
                    <a:pt x="242" y="271"/>
                    <a:pt x="242" y="272"/>
                    <a:pt x="241" y="272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1" y="251"/>
                    <a:pt x="216" y="251"/>
                    <a:pt x="212" y="253"/>
                  </a:cubicBezTo>
                  <a:cubicBezTo>
                    <a:pt x="204" y="257"/>
                    <a:pt x="197" y="260"/>
                    <a:pt x="189" y="262"/>
                  </a:cubicBezTo>
                  <a:cubicBezTo>
                    <a:pt x="184" y="264"/>
                    <a:pt x="181" y="268"/>
                    <a:pt x="181" y="273"/>
                  </a:cubicBezTo>
                  <a:cubicBezTo>
                    <a:pt x="181" y="297"/>
                    <a:pt x="181" y="297"/>
                    <a:pt x="181" y="297"/>
                  </a:cubicBezTo>
                  <a:cubicBezTo>
                    <a:pt x="178" y="297"/>
                    <a:pt x="174" y="298"/>
                    <a:pt x="171" y="299"/>
                  </a:cubicBezTo>
                  <a:cubicBezTo>
                    <a:pt x="163" y="299"/>
                    <a:pt x="156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5" y="299"/>
                    <a:pt x="142" y="297"/>
                    <a:pt x="138" y="297"/>
                  </a:cubicBezTo>
                  <a:cubicBezTo>
                    <a:pt x="138" y="273"/>
                    <a:pt x="138" y="273"/>
                    <a:pt x="138" y="273"/>
                  </a:cubicBezTo>
                  <a:cubicBezTo>
                    <a:pt x="138" y="268"/>
                    <a:pt x="135" y="264"/>
                    <a:pt x="131" y="262"/>
                  </a:cubicBezTo>
                  <a:cubicBezTo>
                    <a:pt x="123" y="260"/>
                    <a:pt x="115" y="257"/>
                    <a:pt x="108" y="253"/>
                  </a:cubicBezTo>
                  <a:cubicBezTo>
                    <a:pt x="104" y="251"/>
                    <a:pt x="98" y="251"/>
                    <a:pt x="95" y="255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77" y="271"/>
                    <a:pt x="77" y="271"/>
                    <a:pt x="77" y="271"/>
                  </a:cubicBezTo>
                  <a:cubicBezTo>
                    <a:pt x="77" y="271"/>
                    <a:pt x="76" y="270"/>
                    <a:pt x="76" y="270"/>
                  </a:cubicBezTo>
                  <a:cubicBezTo>
                    <a:pt x="76" y="270"/>
                    <a:pt x="76" y="270"/>
                    <a:pt x="76" y="270"/>
                  </a:cubicBezTo>
                  <a:cubicBezTo>
                    <a:pt x="66" y="262"/>
                    <a:pt x="57" y="254"/>
                    <a:pt x="50" y="244"/>
                  </a:cubicBezTo>
                  <a:cubicBezTo>
                    <a:pt x="50" y="244"/>
                    <a:pt x="49" y="244"/>
                    <a:pt x="49" y="244"/>
                  </a:cubicBezTo>
                  <a:cubicBezTo>
                    <a:pt x="49" y="243"/>
                    <a:pt x="49" y="243"/>
                    <a:pt x="49" y="243"/>
                  </a:cubicBezTo>
                  <a:cubicBezTo>
                    <a:pt x="48" y="242"/>
                    <a:pt x="48" y="242"/>
                    <a:pt x="48" y="242"/>
                  </a:cubicBezTo>
                  <a:cubicBezTo>
                    <a:pt x="65" y="225"/>
                    <a:pt x="65" y="225"/>
                    <a:pt x="65" y="225"/>
                  </a:cubicBezTo>
                  <a:cubicBezTo>
                    <a:pt x="68" y="221"/>
                    <a:pt x="69" y="216"/>
                    <a:pt x="67" y="212"/>
                  </a:cubicBezTo>
                  <a:cubicBezTo>
                    <a:pt x="63" y="205"/>
                    <a:pt x="59" y="197"/>
                    <a:pt x="57" y="189"/>
                  </a:cubicBezTo>
                  <a:cubicBezTo>
                    <a:pt x="56" y="185"/>
                    <a:pt x="52" y="182"/>
                    <a:pt x="47" y="182"/>
                  </a:cubicBezTo>
                  <a:cubicBezTo>
                    <a:pt x="23" y="182"/>
                    <a:pt x="23" y="182"/>
                    <a:pt x="23" y="182"/>
                  </a:cubicBezTo>
                  <a:cubicBezTo>
                    <a:pt x="22" y="178"/>
                    <a:pt x="22" y="175"/>
                    <a:pt x="22" y="171"/>
                  </a:cubicBezTo>
                  <a:cubicBezTo>
                    <a:pt x="21" y="168"/>
                    <a:pt x="21" y="164"/>
                    <a:pt x="21" y="160"/>
                  </a:cubicBezTo>
                  <a:cubicBezTo>
                    <a:pt x="21" y="156"/>
                    <a:pt x="21" y="153"/>
                    <a:pt x="22" y="149"/>
                  </a:cubicBezTo>
                  <a:cubicBezTo>
                    <a:pt x="22" y="146"/>
                    <a:pt x="22" y="142"/>
                    <a:pt x="23" y="139"/>
                  </a:cubicBezTo>
                  <a:cubicBezTo>
                    <a:pt x="47" y="139"/>
                    <a:pt x="47" y="139"/>
                    <a:pt x="47" y="139"/>
                  </a:cubicBezTo>
                  <a:cubicBezTo>
                    <a:pt x="52" y="139"/>
                    <a:pt x="56" y="136"/>
                    <a:pt x="57" y="131"/>
                  </a:cubicBezTo>
                  <a:cubicBezTo>
                    <a:pt x="59" y="123"/>
                    <a:pt x="63" y="115"/>
                    <a:pt x="67" y="108"/>
                  </a:cubicBezTo>
                  <a:cubicBezTo>
                    <a:pt x="69" y="104"/>
                    <a:pt x="68" y="99"/>
                    <a:pt x="65" y="95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9" y="77"/>
                  </a:cubicBezTo>
                  <a:cubicBezTo>
                    <a:pt x="57" y="66"/>
                    <a:pt x="66" y="57"/>
                    <a:pt x="77" y="49"/>
                  </a:cubicBezTo>
                  <a:cubicBezTo>
                    <a:pt x="77" y="49"/>
                    <a:pt x="78" y="48"/>
                    <a:pt x="78" y="4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8" y="69"/>
                    <a:pt x="104" y="69"/>
                    <a:pt x="108" y="67"/>
                  </a:cubicBezTo>
                  <a:cubicBezTo>
                    <a:pt x="115" y="63"/>
                    <a:pt x="123" y="60"/>
                    <a:pt x="131" y="58"/>
                  </a:cubicBezTo>
                  <a:cubicBezTo>
                    <a:pt x="135" y="56"/>
                    <a:pt x="138" y="52"/>
                    <a:pt x="138" y="47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42" y="23"/>
                    <a:pt x="145" y="22"/>
                    <a:pt x="149" y="22"/>
                  </a:cubicBezTo>
                  <a:cubicBezTo>
                    <a:pt x="156" y="21"/>
                    <a:pt x="163" y="21"/>
                    <a:pt x="171" y="22"/>
                  </a:cubicBezTo>
                  <a:cubicBezTo>
                    <a:pt x="174" y="22"/>
                    <a:pt x="178" y="23"/>
                    <a:pt x="181" y="23"/>
                  </a:cubicBezTo>
                  <a:cubicBezTo>
                    <a:pt x="181" y="47"/>
                    <a:pt x="181" y="47"/>
                    <a:pt x="181" y="47"/>
                  </a:cubicBezTo>
                  <a:cubicBezTo>
                    <a:pt x="181" y="52"/>
                    <a:pt x="184" y="56"/>
                    <a:pt x="189" y="58"/>
                  </a:cubicBezTo>
                  <a:cubicBezTo>
                    <a:pt x="197" y="60"/>
                    <a:pt x="204" y="63"/>
                    <a:pt x="212" y="67"/>
                  </a:cubicBezTo>
                  <a:cubicBezTo>
                    <a:pt x="216" y="69"/>
                    <a:pt x="221" y="69"/>
                    <a:pt x="224" y="65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2" y="49"/>
                    <a:pt x="242" y="49"/>
                    <a:pt x="242" y="49"/>
                  </a:cubicBezTo>
                  <a:cubicBezTo>
                    <a:pt x="243" y="49"/>
                    <a:pt x="243" y="50"/>
                    <a:pt x="243" y="50"/>
                  </a:cubicBezTo>
                  <a:cubicBezTo>
                    <a:pt x="244" y="50"/>
                    <a:pt x="244" y="50"/>
                    <a:pt x="244" y="50"/>
                  </a:cubicBezTo>
                  <a:cubicBezTo>
                    <a:pt x="253" y="58"/>
                    <a:pt x="262" y="66"/>
                    <a:pt x="270" y="76"/>
                  </a:cubicBezTo>
                  <a:cubicBezTo>
                    <a:pt x="270" y="76"/>
                    <a:pt x="270" y="76"/>
                    <a:pt x="270" y="76"/>
                  </a:cubicBezTo>
                  <a:cubicBezTo>
                    <a:pt x="270" y="77"/>
                    <a:pt x="270" y="77"/>
                    <a:pt x="270" y="77"/>
                  </a:cubicBezTo>
                  <a:cubicBezTo>
                    <a:pt x="271" y="78"/>
                    <a:pt x="271" y="78"/>
                    <a:pt x="271" y="78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1" y="99"/>
                    <a:pt x="250" y="104"/>
                    <a:pt x="253" y="108"/>
                  </a:cubicBezTo>
                  <a:cubicBezTo>
                    <a:pt x="257" y="115"/>
                    <a:pt x="260" y="123"/>
                    <a:pt x="262" y="131"/>
                  </a:cubicBezTo>
                  <a:cubicBezTo>
                    <a:pt x="263" y="136"/>
                    <a:pt x="268" y="139"/>
                    <a:pt x="272" y="139"/>
                  </a:cubicBezTo>
                  <a:cubicBezTo>
                    <a:pt x="297" y="139"/>
                    <a:pt x="297" y="139"/>
                    <a:pt x="297" y="139"/>
                  </a:cubicBezTo>
                  <a:cubicBezTo>
                    <a:pt x="297" y="142"/>
                    <a:pt x="297" y="146"/>
                    <a:pt x="298" y="149"/>
                  </a:cubicBezTo>
                  <a:cubicBezTo>
                    <a:pt x="298" y="153"/>
                    <a:pt x="298" y="157"/>
                    <a:pt x="298" y="160"/>
                  </a:cubicBezTo>
                  <a:cubicBezTo>
                    <a:pt x="298" y="164"/>
                    <a:pt x="298" y="168"/>
                    <a:pt x="298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7" name="Freeform 31"/>
            <p:cNvSpPr>
              <a:spLocks noEditPoints="1"/>
            </p:cNvSpPr>
            <p:nvPr/>
          </p:nvSpPr>
          <p:spPr bwMode="auto">
            <a:xfrm>
              <a:off x="3026" y="781"/>
              <a:ext cx="85" cy="85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07 h 128"/>
                <a:gd name="T12" fmla="*/ 21 w 128"/>
                <a:gd name="T13" fmla="*/ 64 h 128"/>
                <a:gd name="T14" fmla="*/ 64 w 128"/>
                <a:gd name="T15" fmla="*/ 21 h 128"/>
                <a:gd name="T16" fmla="*/ 106 w 128"/>
                <a:gd name="T17" fmla="*/ 64 h 128"/>
                <a:gd name="T18" fmla="*/ 64 w 128"/>
                <a:gd name="T19" fmla="*/ 10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07"/>
                  </a:moveTo>
                  <a:cubicBezTo>
                    <a:pt x="40" y="107"/>
                    <a:pt x="21" y="88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8"/>
                    <a:pt x="87" y="107"/>
                    <a:pt x="6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8" name="Freeform 32"/>
            <p:cNvSpPr>
              <a:spLocks noEditPoints="1"/>
            </p:cNvSpPr>
            <p:nvPr/>
          </p:nvSpPr>
          <p:spPr bwMode="auto">
            <a:xfrm>
              <a:off x="2899" y="6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4" name="TextBox 373"/>
          <p:cNvSpPr txBox="1"/>
          <p:nvPr/>
        </p:nvSpPr>
        <p:spPr>
          <a:xfrm>
            <a:off x="443721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rop</a:t>
            </a:r>
          </a:p>
        </p:txBody>
      </p:sp>
      <p:sp>
        <p:nvSpPr>
          <p:cNvPr id="375" name="TextBox 374"/>
          <p:cNvSpPr txBox="1"/>
          <p:nvPr/>
        </p:nvSpPr>
        <p:spPr>
          <a:xfrm>
            <a:off x="543667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xternal link</a:t>
            </a:r>
          </a:p>
        </p:txBody>
      </p:sp>
      <p:sp>
        <p:nvSpPr>
          <p:cNvPr id="376" name="TextBox 375"/>
          <p:cNvSpPr txBox="1"/>
          <p:nvPr/>
        </p:nvSpPr>
        <p:spPr>
          <a:xfrm>
            <a:off x="643613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ursor</a:t>
            </a:r>
          </a:p>
        </p:txBody>
      </p:sp>
      <p:sp>
        <p:nvSpPr>
          <p:cNvPr id="377" name="Freeform 537"/>
          <p:cNvSpPr>
            <a:spLocks noChangeAspect="1" noEditPoints="1"/>
          </p:cNvSpPr>
          <p:nvPr/>
        </p:nvSpPr>
        <p:spPr bwMode="auto">
          <a:xfrm>
            <a:off x="5427594" y="205105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94 w 512"/>
              <a:gd name="T11" fmla="*/ 384 h 512"/>
              <a:gd name="T12" fmla="*/ 384 w 512"/>
              <a:gd name="T13" fmla="*/ 394 h 512"/>
              <a:gd name="T14" fmla="*/ 128 w 512"/>
              <a:gd name="T15" fmla="*/ 394 h 512"/>
              <a:gd name="T16" fmla="*/ 117 w 512"/>
              <a:gd name="T17" fmla="*/ 384 h 512"/>
              <a:gd name="T18" fmla="*/ 117 w 512"/>
              <a:gd name="T19" fmla="*/ 128 h 512"/>
              <a:gd name="T20" fmla="*/ 128 w 512"/>
              <a:gd name="T21" fmla="*/ 117 h 512"/>
              <a:gd name="T22" fmla="*/ 245 w 512"/>
              <a:gd name="T23" fmla="*/ 117 h 512"/>
              <a:gd name="T24" fmla="*/ 256 w 512"/>
              <a:gd name="T25" fmla="*/ 128 h 512"/>
              <a:gd name="T26" fmla="*/ 245 w 512"/>
              <a:gd name="T27" fmla="*/ 138 h 512"/>
              <a:gd name="T28" fmla="*/ 138 w 512"/>
              <a:gd name="T29" fmla="*/ 138 h 512"/>
              <a:gd name="T30" fmla="*/ 138 w 512"/>
              <a:gd name="T31" fmla="*/ 373 h 512"/>
              <a:gd name="T32" fmla="*/ 373 w 512"/>
              <a:gd name="T33" fmla="*/ 373 h 512"/>
              <a:gd name="T34" fmla="*/ 373 w 512"/>
              <a:gd name="T35" fmla="*/ 266 h 512"/>
              <a:gd name="T36" fmla="*/ 384 w 512"/>
              <a:gd name="T37" fmla="*/ 256 h 512"/>
              <a:gd name="T38" fmla="*/ 394 w 512"/>
              <a:gd name="T39" fmla="*/ 266 h 512"/>
              <a:gd name="T40" fmla="*/ 394 w 512"/>
              <a:gd name="T41" fmla="*/ 384 h 512"/>
              <a:gd name="T42" fmla="*/ 394 w 512"/>
              <a:gd name="T43" fmla="*/ 213 h 512"/>
              <a:gd name="T44" fmla="*/ 384 w 512"/>
              <a:gd name="T45" fmla="*/ 224 h 512"/>
              <a:gd name="T46" fmla="*/ 373 w 512"/>
              <a:gd name="T47" fmla="*/ 213 h 512"/>
              <a:gd name="T48" fmla="*/ 373 w 512"/>
              <a:gd name="T49" fmla="*/ 153 h 512"/>
              <a:gd name="T50" fmla="*/ 263 w 512"/>
              <a:gd name="T51" fmla="*/ 263 h 512"/>
              <a:gd name="T52" fmla="*/ 256 w 512"/>
              <a:gd name="T53" fmla="*/ 266 h 512"/>
              <a:gd name="T54" fmla="*/ 248 w 512"/>
              <a:gd name="T55" fmla="*/ 263 h 512"/>
              <a:gd name="T56" fmla="*/ 248 w 512"/>
              <a:gd name="T57" fmla="*/ 248 h 512"/>
              <a:gd name="T58" fmla="*/ 358 w 512"/>
              <a:gd name="T59" fmla="*/ 138 h 512"/>
              <a:gd name="T60" fmla="*/ 298 w 512"/>
              <a:gd name="T61" fmla="*/ 138 h 512"/>
              <a:gd name="T62" fmla="*/ 288 w 512"/>
              <a:gd name="T63" fmla="*/ 128 h 512"/>
              <a:gd name="T64" fmla="*/ 298 w 512"/>
              <a:gd name="T65" fmla="*/ 117 h 512"/>
              <a:gd name="T66" fmla="*/ 384 w 512"/>
              <a:gd name="T67" fmla="*/ 117 h 512"/>
              <a:gd name="T68" fmla="*/ 388 w 512"/>
              <a:gd name="T69" fmla="*/ 118 h 512"/>
              <a:gd name="T70" fmla="*/ 394 w 512"/>
              <a:gd name="T71" fmla="*/ 124 h 512"/>
              <a:gd name="T72" fmla="*/ 394 w 512"/>
              <a:gd name="T73" fmla="*/ 128 h 512"/>
              <a:gd name="T74" fmla="*/ 394 w 512"/>
              <a:gd name="T7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4" y="384"/>
                </a:move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22"/>
                  <a:pt x="122" y="117"/>
                  <a:pt x="128" y="117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251" y="117"/>
                  <a:pt x="256" y="122"/>
                  <a:pt x="256" y="128"/>
                </a:cubicBezTo>
                <a:cubicBezTo>
                  <a:pt x="256" y="134"/>
                  <a:pt x="251" y="138"/>
                  <a:pt x="245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373"/>
                  <a:pt x="138" y="373"/>
                  <a:pt x="138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373" y="260"/>
                  <a:pt x="378" y="256"/>
                  <a:pt x="384" y="256"/>
                </a:cubicBezTo>
                <a:cubicBezTo>
                  <a:pt x="390" y="256"/>
                  <a:pt x="394" y="260"/>
                  <a:pt x="394" y="266"/>
                </a:cubicBezTo>
                <a:lnTo>
                  <a:pt x="394" y="384"/>
                </a:lnTo>
                <a:close/>
                <a:moveTo>
                  <a:pt x="394" y="213"/>
                </a:moveTo>
                <a:cubicBezTo>
                  <a:pt x="394" y="219"/>
                  <a:pt x="390" y="224"/>
                  <a:pt x="384" y="224"/>
                </a:cubicBezTo>
                <a:cubicBezTo>
                  <a:pt x="378" y="224"/>
                  <a:pt x="373" y="219"/>
                  <a:pt x="373" y="213"/>
                </a:cubicBezTo>
                <a:cubicBezTo>
                  <a:pt x="373" y="153"/>
                  <a:pt x="373" y="153"/>
                  <a:pt x="373" y="153"/>
                </a:cubicBezTo>
                <a:cubicBezTo>
                  <a:pt x="263" y="263"/>
                  <a:pt x="263" y="263"/>
                  <a:pt x="263" y="263"/>
                </a:cubicBezTo>
                <a:cubicBezTo>
                  <a:pt x="261" y="265"/>
                  <a:pt x="258" y="266"/>
                  <a:pt x="256" y="266"/>
                </a:cubicBezTo>
                <a:cubicBezTo>
                  <a:pt x="253" y="266"/>
                  <a:pt x="250" y="265"/>
                  <a:pt x="248" y="263"/>
                </a:cubicBezTo>
                <a:cubicBezTo>
                  <a:pt x="244" y="259"/>
                  <a:pt x="244" y="252"/>
                  <a:pt x="248" y="248"/>
                </a:cubicBezTo>
                <a:cubicBezTo>
                  <a:pt x="358" y="138"/>
                  <a:pt x="358" y="138"/>
                  <a:pt x="358" y="138"/>
                </a:cubicBezTo>
                <a:cubicBezTo>
                  <a:pt x="298" y="138"/>
                  <a:pt x="298" y="138"/>
                  <a:pt x="298" y="138"/>
                </a:cubicBezTo>
                <a:cubicBezTo>
                  <a:pt x="292" y="138"/>
                  <a:pt x="288" y="134"/>
                  <a:pt x="288" y="128"/>
                </a:cubicBezTo>
                <a:cubicBezTo>
                  <a:pt x="288" y="122"/>
                  <a:pt x="292" y="117"/>
                  <a:pt x="298" y="117"/>
                </a:cubicBezTo>
                <a:cubicBezTo>
                  <a:pt x="384" y="117"/>
                  <a:pt x="384" y="117"/>
                  <a:pt x="384" y="117"/>
                </a:cubicBezTo>
                <a:cubicBezTo>
                  <a:pt x="385" y="117"/>
                  <a:pt x="386" y="117"/>
                  <a:pt x="388" y="118"/>
                </a:cubicBezTo>
                <a:cubicBezTo>
                  <a:pt x="390" y="119"/>
                  <a:pt x="392" y="121"/>
                  <a:pt x="394" y="124"/>
                </a:cubicBezTo>
                <a:cubicBezTo>
                  <a:pt x="394" y="125"/>
                  <a:pt x="394" y="126"/>
                  <a:pt x="394" y="128"/>
                </a:cubicBezTo>
                <a:lnTo>
                  <a:pt x="394" y="21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8" name="Group 540"/>
          <p:cNvGrpSpPr>
            <a:grpSpLocks noChangeAspect="1"/>
          </p:cNvGrpSpPr>
          <p:nvPr/>
        </p:nvGrpSpPr>
        <p:grpSpPr bwMode="auto">
          <a:xfrm>
            <a:off x="5924477" y="2051054"/>
            <a:ext cx="367631" cy="367631"/>
            <a:chOff x="4969" y="2016"/>
            <a:chExt cx="340" cy="340"/>
          </a:xfrm>
          <a:solidFill>
            <a:schemeClr val="accent6"/>
          </a:solidFill>
        </p:grpSpPr>
        <p:sp>
          <p:nvSpPr>
            <p:cNvPr id="379" name="Freeform 541"/>
            <p:cNvSpPr>
              <a:spLocks/>
            </p:cNvSpPr>
            <p:nvPr/>
          </p:nvSpPr>
          <p:spPr bwMode="auto">
            <a:xfrm>
              <a:off x="5047" y="2094"/>
              <a:ext cx="184" cy="184"/>
            </a:xfrm>
            <a:custGeom>
              <a:avLst/>
              <a:gdLst>
                <a:gd name="T0" fmla="*/ 267 w 277"/>
                <a:gd name="T1" fmla="*/ 139 h 277"/>
                <a:gd name="T2" fmla="*/ 256 w 277"/>
                <a:gd name="T3" fmla="*/ 149 h 277"/>
                <a:gd name="T4" fmla="*/ 256 w 277"/>
                <a:gd name="T5" fmla="*/ 256 h 277"/>
                <a:gd name="T6" fmla="*/ 21 w 277"/>
                <a:gd name="T7" fmla="*/ 256 h 277"/>
                <a:gd name="T8" fmla="*/ 21 w 277"/>
                <a:gd name="T9" fmla="*/ 21 h 277"/>
                <a:gd name="T10" fmla="*/ 128 w 277"/>
                <a:gd name="T11" fmla="*/ 21 h 277"/>
                <a:gd name="T12" fmla="*/ 139 w 277"/>
                <a:gd name="T13" fmla="*/ 11 h 277"/>
                <a:gd name="T14" fmla="*/ 128 w 277"/>
                <a:gd name="T15" fmla="*/ 0 h 277"/>
                <a:gd name="T16" fmla="*/ 11 w 277"/>
                <a:gd name="T17" fmla="*/ 0 h 277"/>
                <a:gd name="T18" fmla="*/ 0 w 277"/>
                <a:gd name="T19" fmla="*/ 11 h 277"/>
                <a:gd name="T20" fmla="*/ 0 w 277"/>
                <a:gd name="T21" fmla="*/ 267 h 277"/>
                <a:gd name="T22" fmla="*/ 11 w 277"/>
                <a:gd name="T23" fmla="*/ 277 h 277"/>
                <a:gd name="T24" fmla="*/ 267 w 277"/>
                <a:gd name="T25" fmla="*/ 277 h 277"/>
                <a:gd name="T26" fmla="*/ 277 w 277"/>
                <a:gd name="T27" fmla="*/ 267 h 277"/>
                <a:gd name="T28" fmla="*/ 277 w 277"/>
                <a:gd name="T29" fmla="*/ 149 h 277"/>
                <a:gd name="T30" fmla="*/ 267 w 277"/>
                <a:gd name="T31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7" h="277">
                  <a:moveTo>
                    <a:pt x="267" y="139"/>
                  </a:moveTo>
                  <a:cubicBezTo>
                    <a:pt x="261" y="139"/>
                    <a:pt x="256" y="143"/>
                    <a:pt x="256" y="149"/>
                  </a:cubicBezTo>
                  <a:cubicBezTo>
                    <a:pt x="256" y="256"/>
                    <a:pt x="256" y="256"/>
                    <a:pt x="256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34" y="21"/>
                    <a:pt x="139" y="17"/>
                    <a:pt x="139" y="11"/>
                  </a:cubicBezTo>
                  <a:cubicBezTo>
                    <a:pt x="139" y="5"/>
                    <a:pt x="134" y="0"/>
                    <a:pt x="12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143"/>
                    <a:pt x="273" y="139"/>
                    <a:pt x="267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Freeform 542"/>
            <p:cNvSpPr>
              <a:spLocks/>
            </p:cNvSpPr>
            <p:nvPr/>
          </p:nvSpPr>
          <p:spPr bwMode="auto">
            <a:xfrm>
              <a:off x="5131" y="2094"/>
              <a:ext cx="100" cy="99"/>
            </a:xfrm>
            <a:custGeom>
              <a:avLst/>
              <a:gdLst>
                <a:gd name="T0" fmla="*/ 150 w 150"/>
                <a:gd name="T1" fmla="*/ 7 h 149"/>
                <a:gd name="T2" fmla="*/ 144 w 150"/>
                <a:gd name="T3" fmla="*/ 1 h 149"/>
                <a:gd name="T4" fmla="*/ 140 w 150"/>
                <a:gd name="T5" fmla="*/ 0 h 149"/>
                <a:gd name="T6" fmla="*/ 54 w 150"/>
                <a:gd name="T7" fmla="*/ 0 h 149"/>
                <a:gd name="T8" fmla="*/ 44 w 150"/>
                <a:gd name="T9" fmla="*/ 11 h 149"/>
                <a:gd name="T10" fmla="*/ 54 w 150"/>
                <a:gd name="T11" fmla="*/ 21 h 149"/>
                <a:gd name="T12" fmla="*/ 114 w 150"/>
                <a:gd name="T13" fmla="*/ 21 h 149"/>
                <a:gd name="T14" fmla="*/ 4 w 150"/>
                <a:gd name="T15" fmla="*/ 131 h 149"/>
                <a:gd name="T16" fmla="*/ 4 w 150"/>
                <a:gd name="T17" fmla="*/ 146 h 149"/>
                <a:gd name="T18" fmla="*/ 12 w 150"/>
                <a:gd name="T19" fmla="*/ 149 h 149"/>
                <a:gd name="T20" fmla="*/ 19 w 150"/>
                <a:gd name="T21" fmla="*/ 146 h 149"/>
                <a:gd name="T22" fmla="*/ 129 w 150"/>
                <a:gd name="T23" fmla="*/ 36 h 149"/>
                <a:gd name="T24" fmla="*/ 129 w 150"/>
                <a:gd name="T25" fmla="*/ 96 h 149"/>
                <a:gd name="T26" fmla="*/ 140 w 150"/>
                <a:gd name="T27" fmla="*/ 107 h 149"/>
                <a:gd name="T28" fmla="*/ 150 w 150"/>
                <a:gd name="T29" fmla="*/ 96 h 149"/>
                <a:gd name="T30" fmla="*/ 150 w 150"/>
                <a:gd name="T31" fmla="*/ 11 h 149"/>
                <a:gd name="T32" fmla="*/ 150 w 150"/>
                <a:gd name="T33" fmla="*/ 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0" h="149">
                  <a:moveTo>
                    <a:pt x="150" y="7"/>
                  </a:moveTo>
                  <a:cubicBezTo>
                    <a:pt x="148" y="4"/>
                    <a:pt x="146" y="2"/>
                    <a:pt x="144" y="1"/>
                  </a:cubicBezTo>
                  <a:cubicBezTo>
                    <a:pt x="142" y="0"/>
                    <a:pt x="141" y="0"/>
                    <a:pt x="14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8" y="0"/>
                    <a:pt x="44" y="5"/>
                    <a:pt x="44" y="11"/>
                  </a:cubicBezTo>
                  <a:cubicBezTo>
                    <a:pt x="44" y="17"/>
                    <a:pt x="48" y="21"/>
                    <a:pt x="5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0" y="135"/>
                    <a:pt x="0" y="142"/>
                    <a:pt x="4" y="146"/>
                  </a:cubicBezTo>
                  <a:cubicBezTo>
                    <a:pt x="6" y="148"/>
                    <a:pt x="9" y="149"/>
                    <a:pt x="12" y="149"/>
                  </a:cubicBezTo>
                  <a:cubicBezTo>
                    <a:pt x="14" y="149"/>
                    <a:pt x="17" y="148"/>
                    <a:pt x="19" y="14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96"/>
                    <a:pt x="129" y="96"/>
                    <a:pt x="129" y="96"/>
                  </a:cubicBezTo>
                  <a:cubicBezTo>
                    <a:pt x="129" y="102"/>
                    <a:pt x="134" y="107"/>
                    <a:pt x="140" y="107"/>
                  </a:cubicBezTo>
                  <a:cubicBezTo>
                    <a:pt x="146" y="107"/>
                    <a:pt x="150" y="102"/>
                    <a:pt x="150" y="96"/>
                  </a:cubicBezTo>
                  <a:cubicBezTo>
                    <a:pt x="150" y="11"/>
                    <a:pt x="150" y="11"/>
                    <a:pt x="150" y="11"/>
                  </a:cubicBezTo>
                  <a:cubicBezTo>
                    <a:pt x="150" y="9"/>
                    <a:pt x="150" y="8"/>
                    <a:pt x="15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1" name="Freeform 543"/>
            <p:cNvSpPr>
              <a:spLocks noEditPoints="1"/>
            </p:cNvSpPr>
            <p:nvPr/>
          </p:nvSpPr>
          <p:spPr bwMode="auto">
            <a:xfrm>
              <a:off x="4969" y="201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2" name="Freeform 123"/>
          <p:cNvSpPr>
            <a:spLocks noChangeAspect="1" noEditPoints="1"/>
          </p:cNvSpPr>
          <p:nvPr/>
        </p:nvSpPr>
        <p:spPr bwMode="auto">
          <a:xfrm>
            <a:off x="4433828" y="2051054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02 w 512"/>
              <a:gd name="T11" fmla="*/ 149 h 512"/>
              <a:gd name="T12" fmla="*/ 352 w 512"/>
              <a:gd name="T13" fmla="*/ 149 h 512"/>
              <a:gd name="T14" fmla="*/ 362 w 512"/>
              <a:gd name="T15" fmla="*/ 160 h 512"/>
              <a:gd name="T16" fmla="*/ 362 w 512"/>
              <a:gd name="T17" fmla="*/ 309 h 512"/>
              <a:gd name="T18" fmla="*/ 352 w 512"/>
              <a:gd name="T19" fmla="*/ 320 h 512"/>
              <a:gd name="T20" fmla="*/ 341 w 512"/>
              <a:gd name="T21" fmla="*/ 309 h 512"/>
              <a:gd name="T22" fmla="*/ 341 w 512"/>
              <a:gd name="T23" fmla="*/ 170 h 512"/>
              <a:gd name="T24" fmla="*/ 202 w 512"/>
              <a:gd name="T25" fmla="*/ 170 h 512"/>
              <a:gd name="T26" fmla="*/ 192 w 512"/>
              <a:gd name="T27" fmla="*/ 160 h 512"/>
              <a:gd name="T28" fmla="*/ 202 w 512"/>
              <a:gd name="T29" fmla="*/ 149 h 512"/>
              <a:gd name="T30" fmla="*/ 405 w 512"/>
              <a:gd name="T31" fmla="*/ 362 h 512"/>
              <a:gd name="T32" fmla="*/ 362 w 512"/>
              <a:gd name="T33" fmla="*/ 362 h 512"/>
              <a:gd name="T34" fmla="*/ 362 w 512"/>
              <a:gd name="T35" fmla="*/ 405 h 512"/>
              <a:gd name="T36" fmla="*/ 352 w 512"/>
              <a:gd name="T37" fmla="*/ 416 h 512"/>
              <a:gd name="T38" fmla="*/ 341 w 512"/>
              <a:gd name="T39" fmla="*/ 405 h 512"/>
              <a:gd name="T40" fmla="*/ 341 w 512"/>
              <a:gd name="T41" fmla="*/ 362 h 512"/>
              <a:gd name="T42" fmla="*/ 160 w 512"/>
              <a:gd name="T43" fmla="*/ 362 h 512"/>
              <a:gd name="T44" fmla="*/ 149 w 512"/>
              <a:gd name="T45" fmla="*/ 352 h 512"/>
              <a:gd name="T46" fmla="*/ 149 w 512"/>
              <a:gd name="T47" fmla="*/ 170 h 512"/>
              <a:gd name="T48" fmla="*/ 106 w 512"/>
              <a:gd name="T49" fmla="*/ 170 h 512"/>
              <a:gd name="T50" fmla="*/ 96 w 512"/>
              <a:gd name="T51" fmla="*/ 160 h 512"/>
              <a:gd name="T52" fmla="*/ 106 w 512"/>
              <a:gd name="T53" fmla="*/ 149 h 512"/>
              <a:gd name="T54" fmla="*/ 149 w 512"/>
              <a:gd name="T55" fmla="*/ 149 h 512"/>
              <a:gd name="T56" fmla="*/ 149 w 512"/>
              <a:gd name="T57" fmla="*/ 106 h 512"/>
              <a:gd name="T58" fmla="*/ 160 w 512"/>
              <a:gd name="T59" fmla="*/ 96 h 512"/>
              <a:gd name="T60" fmla="*/ 170 w 512"/>
              <a:gd name="T61" fmla="*/ 106 h 512"/>
              <a:gd name="T62" fmla="*/ 170 w 512"/>
              <a:gd name="T63" fmla="*/ 341 h 512"/>
              <a:gd name="T64" fmla="*/ 405 w 512"/>
              <a:gd name="T65" fmla="*/ 341 h 512"/>
              <a:gd name="T66" fmla="*/ 416 w 512"/>
              <a:gd name="T67" fmla="*/ 352 h 512"/>
              <a:gd name="T68" fmla="*/ 405 w 512"/>
              <a:gd name="T69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02" y="149"/>
                </a:moveTo>
                <a:cubicBezTo>
                  <a:pt x="352" y="149"/>
                  <a:pt x="352" y="149"/>
                  <a:pt x="352" y="149"/>
                </a:cubicBezTo>
                <a:cubicBezTo>
                  <a:pt x="358" y="149"/>
                  <a:pt x="362" y="154"/>
                  <a:pt x="362" y="160"/>
                </a:cubicBezTo>
                <a:cubicBezTo>
                  <a:pt x="362" y="309"/>
                  <a:pt x="362" y="309"/>
                  <a:pt x="362" y="309"/>
                </a:cubicBezTo>
                <a:cubicBezTo>
                  <a:pt x="362" y="315"/>
                  <a:pt x="358" y="320"/>
                  <a:pt x="352" y="320"/>
                </a:cubicBezTo>
                <a:cubicBezTo>
                  <a:pt x="346" y="320"/>
                  <a:pt x="341" y="315"/>
                  <a:pt x="341" y="309"/>
                </a:cubicBezTo>
                <a:cubicBezTo>
                  <a:pt x="341" y="170"/>
                  <a:pt x="341" y="170"/>
                  <a:pt x="341" y="170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6" y="170"/>
                  <a:pt x="192" y="166"/>
                  <a:pt x="192" y="160"/>
                </a:cubicBezTo>
                <a:cubicBezTo>
                  <a:pt x="192" y="154"/>
                  <a:pt x="196" y="149"/>
                  <a:pt x="202" y="149"/>
                </a:cubicBezTo>
                <a:close/>
                <a:moveTo>
                  <a:pt x="405" y="362"/>
                </a:moveTo>
                <a:cubicBezTo>
                  <a:pt x="362" y="362"/>
                  <a:pt x="362" y="362"/>
                  <a:pt x="362" y="362"/>
                </a:cubicBezTo>
                <a:cubicBezTo>
                  <a:pt x="362" y="405"/>
                  <a:pt x="362" y="405"/>
                  <a:pt x="362" y="405"/>
                </a:cubicBezTo>
                <a:cubicBezTo>
                  <a:pt x="362" y="411"/>
                  <a:pt x="358" y="416"/>
                  <a:pt x="352" y="416"/>
                </a:cubicBezTo>
                <a:cubicBezTo>
                  <a:pt x="346" y="416"/>
                  <a:pt x="341" y="411"/>
                  <a:pt x="341" y="405"/>
                </a:cubicBezTo>
                <a:cubicBezTo>
                  <a:pt x="341" y="362"/>
                  <a:pt x="341" y="362"/>
                  <a:pt x="341" y="362"/>
                </a:cubicBezTo>
                <a:cubicBezTo>
                  <a:pt x="160" y="362"/>
                  <a:pt x="160" y="362"/>
                  <a:pt x="160" y="362"/>
                </a:cubicBezTo>
                <a:cubicBezTo>
                  <a:pt x="154" y="362"/>
                  <a:pt x="149" y="358"/>
                  <a:pt x="149" y="352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49" y="106"/>
                  <a:pt x="149" y="106"/>
                  <a:pt x="149" y="106"/>
                </a:cubicBezTo>
                <a:cubicBezTo>
                  <a:pt x="149" y="100"/>
                  <a:pt x="154" y="96"/>
                  <a:pt x="160" y="96"/>
                </a:cubicBezTo>
                <a:cubicBezTo>
                  <a:pt x="166" y="96"/>
                  <a:pt x="170" y="100"/>
                  <a:pt x="170" y="106"/>
                </a:cubicBezTo>
                <a:cubicBezTo>
                  <a:pt x="170" y="341"/>
                  <a:pt x="170" y="341"/>
                  <a:pt x="170" y="341"/>
                </a:cubicBezTo>
                <a:cubicBezTo>
                  <a:pt x="405" y="341"/>
                  <a:pt x="405" y="341"/>
                  <a:pt x="405" y="341"/>
                </a:cubicBezTo>
                <a:cubicBezTo>
                  <a:pt x="411" y="341"/>
                  <a:pt x="416" y="346"/>
                  <a:pt x="416" y="352"/>
                </a:cubicBezTo>
                <a:cubicBezTo>
                  <a:pt x="416" y="358"/>
                  <a:pt x="411" y="362"/>
                  <a:pt x="405" y="36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3" name="Group 126"/>
          <p:cNvGrpSpPr>
            <a:grpSpLocks noChangeAspect="1"/>
          </p:cNvGrpSpPr>
          <p:nvPr/>
        </p:nvGrpSpPr>
        <p:grpSpPr bwMode="auto">
          <a:xfrm>
            <a:off x="4930711" y="2051054"/>
            <a:ext cx="367631" cy="367631"/>
            <a:chOff x="3018" y="929"/>
            <a:chExt cx="340" cy="340"/>
          </a:xfrm>
          <a:solidFill>
            <a:schemeClr val="accent2"/>
          </a:solidFill>
        </p:grpSpPr>
        <p:sp>
          <p:nvSpPr>
            <p:cNvPr id="384" name="Freeform 127"/>
            <p:cNvSpPr>
              <a:spLocks noEditPoints="1"/>
            </p:cNvSpPr>
            <p:nvPr/>
          </p:nvSpPr>
          <p:spPr bwMode="auto">
            <a:xfrm>
              <a:off x="3018" y="9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5" name="Freeform 128"/>
            <p:cNvSpPr>
              <a:spLocks noEditPoints="1"/>
            </p:cNvSpPr>
            <p:nvPr/>
          </p:nvSpPr>
          <p:spPr bwMode="auto">
            <a:xfrm>
              <a:off x="3082" y="993"/>
              <a:ext cx="212" cy="212"/>
            </a:xfrm>
            <a:custGeom>
              <a:avLst/>
              <a:gdLst>
                <a:gd name="T0" fmla="*/ 96 w 320"/>
                <a:gd name="T1" fmla="*/ 64 h 320"/>
                <a:gd name="T2" fmla="*/ 106 w 320"/>
                <a:gd name="T3" fmla="*/ 53 h 320"/>
                <a:gd name="T4" fmla="*/ 256 w 320"/>
                <a:gd name="T5" fmla="*/ 53 h 320"/>
                <a:gd name="T6" fmla="*/ 266 w 320"/>
                <a:gd name="T7" fmla="*/ 64 h 320"/>
                <a:gd name="T8" fmla="*/ 266 w 320"/>
                <a:gd name="T9" fmla="*/ 213 h 320"/>
                <a:gd name="T10" fmla="*/ 256 w 320"/>
                <a:gd name="T11" fmla="*/ 224 h 320"/>
                <a:gd name="T12" fmla="*/ 245 w 320"/>
                <a:gd name="T13" fmla="*/ 213 h 320"/>
                <a:gd name="T14" fmla="*/ 245 w 320"/>
                <a:gd name="T15" fmla="*/ 74 h 320"/>
                <a:gd name="T16" fmla="*/ 106 w 320"/>
                <a:gd name="T17" fmla="*/ 74 h 320"/>
                <a:gd name="T18" fmla="*/ 96 w 320"/>
                <a:gd name="T19" fmla="*/ 64 h 320"/>
                <a:gd name="T20" fmla="*/ 309 w 320"/>
                <a:gd name="T21" fmla="*/ 245 h 320"/>
                <a:gd name="T22" fmla="*/ 74 w 320"/>
                <a:gd name="T23" fmla="*/ 245 h 320"/>
                <a:gd name="T24" fmla="*/ 74 w 320"/>
                <a:gd name="T25" fmla="*/ 10 h 320"/>
                <a:gd name="T26" fmla="*/ 64 w 320"/>
                <a:gd name="T27" fmla="*/ 0 h 320"/>
                <a:gd name="T28" fmla="*/ 53 w 320"/>
                <a:gd name="T29" fmla="*/ 10 h 320"/>
                <a:gd name="T30" fmla="*/ 53 w 320"/>
                <a:gd name="T31" fmla="*/ 53 h 320"/>
                <a:gd name="T32" fmla="*/ 10 w 320"/>
                <a:gd name="T33" fmla="*/ 53 h 320"/>
                <a:gd name="T34" fmla="*/ 0 w 320"/>
                <a:gd name="T35" fmla="*/ 64 h 320"/>
                <a:gd name="T36" fmla="*/ 10 w 320"/>
                <a:gd name="T37" fmla="*/ 74 h 320"/>
                <a:gd name="T38" fmla="*/ 53 w 320"/>
                <a:gd name="T39" fmla="*/ 74 h 320"/>
                <a:gd name="T40" fmla="*/ 53 w 320"/>
                <a:gd name="T41" fmla="*/ 256 h 320"/>
                <a:gd name="T42" fmla="*/ 64 w 320"/>
                <a:gd name="T43" fmla="*/ 266 h 320"/>
                <a:gd name="T44" fmla="*/ 245 w 320"/>
                <a:gd name="T45" fmla="*/ 266 h 320"/>
                <a:gd name="T46" fmla="*/ 245 w 320"/>
                <a:gd name="T47" fmla="*/ 309 h 320"/>
                <a:gd name="T48" fmla="*/ 256 w 320"/>
                <a:gd name="T49" fmla="*/ 320 h 320"/>
                <a:gd name="T50" fmla="*/ 266 w 320"/>
                <a:gd name="T51" fmla="*/ 309 h 320"/>
                <a:gd name="T52" fmla="*/ 266 w 320"/>
                <a:gd name="T53" fmla="*/ 266 h 320"/>
                <a:gd name="T54" fmla="*/ 309 w 320"/>
                <a:gd name="T55" fmla="*/ 266 h 320"/>
                <a:gd name="T56" fmla="*/ 320 w 320"/>
                <a:gd name="T57" fmla="*/ 256 h 320"/>
                <a:gd name="T58" fmla="*/ 309 w 320"/>
                <a:gd name="T59" fmla="*/ 24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0" h="320">
                  <a:moveTo>
                    <a:pt x="96" y="64"/>
                  </a:moveTo>
                  <a:cubicBezTo>
                    <a:pt x="96" y="58"/>
                    <a:pt x="100" y="53"/>
                    <a:pt x="106" y="53"/>
                  </a:cubicBezTo>
                  <a:cubicBezTo>
                    <a:pt x="256" y="53"/>
                    <a:pt x="256" y="53"/>
                    <a:pt x="256" y="53"/>
                  </a:cubicBezTo>
                  <a:cubicBezTo>
                    <a:pt x="262" y="53"/>
                    <a:pt x="266" y="58"/>
                    <a:pt x="266" y="64"/>
                  </a:cubicBezTo>
                  <a:cubicBezTo>
                    <a:pt x="266" y="213"/>
                    <a:pt x="266" y="213"/>
                    <a:pt x="266" y="213"/>
                  </a:cubicBezTo>
                  <a:cubicBezTo>
                    <a:pt x="266" y="219"/>
                    <a:pt x="262" y="224"/>
                    <a:pt x="256" y="224"/>
                  </a:cubicBezTo>
                  <a:cubicBezTo>
                    <a:pt x="250" y="224"/>
                    <a:pt x="245" y="219"/>
                    <a:pt x="245" y="213"/>
                  </a:cubicBezTo>
                  <a:cubicBezTo>
                    <a:pt x="245" y="74"/>
                    <a:pt x="245" y="74"/>
                    <a:pt x="245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0" y="74"/>
                    <a:pt x="96" y="70"/>
                    <a:pt x="96" y="64"/>
                  </a:cubicBezTo>
                  <a:close/>
                  <a:moveTo>
                    <a:pt x="309" y="245"/>
                  </a:moveTo>
                  <a:cubicBezTo>
                    <a:pt x="74" y="245"/>
                    <a:pt x="74" y="245"/>
                    <a:pt x="74" y="245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4"/>
                    <a:pt x="70" y="0"/>
                    <a:pt x="64" y="0"/>
                  </a:cubicBezTo>
                  <a:cubicBezTo>
                    <a:pt x="58" y="0"/>
                    <a:pt x="53" y="4"/>
                    <a:pt x="53" y="10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4" y="53"/>
                    <a:pt x="0" y="58"/>
                    <a:pt x="0" y="64"/>
                  </a:cubicBezTo>
                  <a:cubicBezTo>
                    <a:pt x="0" y="70"/>
                    <a:pt x="4" y="74"/>
                    <a:pt x="10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256"/>
                    <a:pt x="53" y="256"/>
                    <a:pt x="53" y="256"/>
                  </a:cubicBezTo>
                  <a:cubicBezTo>
                    <a:pt x="53" y="262"/>
                    <a:pt x="58" y="266"/>
                    <a:pt x="64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09"/>
                    <a:pt x="245" y="309"/>
                    <a:pt x="245" y="309"/>
                  </a:cubicBezTo>
                  <a:cubicBezTo>
                    <a:pt x="245" y="315"/>
                    <a:pt x="250" y="320"/>
                    <a:pt x="256" y="320"/>
                  </a:cubicBezTo>
                  <a:cubicBezTo>
                    <a:pt x="262" y="320"/>
                    <a:pt x="266" y="315"/>
                    <a:pt x="266" y="309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09" y="266"/>
                    <a:pt x="309" y="266"/>
                    <a:pt x="309" y="266"/>
                  </a:cubicBezTo>
                  <a:cubicBezTo>
                    <a:pt x="315" y="266"/>
                    <a:pt x="320" y="262"/>
                    <a:pt x="320" y="256"/>
                  </a:cubicBezTo>
                  <a:cubicBezTo>
                    <a:pt x="320" y="250"/>
                    <a:pt x="315" y="245"/>
                    <a:pt x="309" y="2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6" name="Freeform 150"/>
          <p:cNvSpPr>
            <a:spLocks noChangeAspect="1" noEditPoints="1"/>
          </p:cNvSpPr>
          <p:nvPr/>
        </p:nvSpPr>
        <p:spPr bwMode="auto">
          <a:xfrm>
            <a:off x="6421360" y="2051054"/>
            <a:ext cx="367631" cy="367631"/>
          </a:xfrm>
          <a:custGeom>
            <a:avLst/>
            <a:gdLst>
              <a:gd name="T0" fmla="*/ 203 w 512"/>
              <a:gd name="T1" fmla="*/ 137 h 512"/>
              <a:gd name="T2" fmla="*/ 364 w 512"/>
              <a:gd name="T3" fmla="*/ 297 h 512"/>
              <a:gd name="T4" fmla="*/ 297 w 512"/>
              <a:gd name="T5" fmla="*/ 299 h 512"/>
              <a:gd name="T6" fmla="*/ 289 w 512"/>
              <a:gd name="T7" fmla="*/ 304 h 512"/>
              <a:gd name="T8" fmla="*/ 288 w 512"/>
              <a:gd name="T9" fmla="*/ 314 h 512"/>
              <a:gd name="T10" fmla="*/ 316 w 512"/>
              <a:gd name="T11" fmla="*/ 383 h 512"/>
              <a:gd name="T12" fmla="*/ 297 w 512"/>
              <a:gd name="T13" fmla="*/ 391 h 512"/>
              <a:gd name="T14" fmla="*/ 268 w 512"/>
              <a:gd name="T15" fmla="*/ 322 h 512"/>
              <a:gd name="T16" fmla="*/ 260 w 512"/>
              <a:gd name="T17" fmla="*/ 316 h 512"/>
              <a:gd name="T18" fmla="*/ 258 w 512"/>
              <a:gd name="T19" fmla="*/ 316 h 512"/>
              <a:gd name="T20" fmla="*/ 251 w 512"/>
              <a:gd name="T21" fmla="*/ 318 h 512"/>
              <a:gd name="T22" fmla="*/ 202 w 512"/>
              <a:gd name="T23" fmla="*/ 364 h 512"/>
              <a:gd name="T24" fmla="*/ 203 w 512"/>
              <a:gd name="T25" fmla="*/ 137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396 w 512"/>
              <a:gd name="T37" fmla="*/ 299 h 512"/>
              <a:gd name="T38" fmla="*/ 199 w 512"/>
              <a:gd name="T39" fmla="*/ 104 h 512"/>
              <a:gd name="T40" fmla="*/ 188 w 512"/>
              <a:gd name="T41" fmla="*/ 101 h 512"/>
              <a:gd name="T42" fmla="*/ 181 w 512"/>
              <a:gd name="T43" fmla="*/ 111 h 512"/>
              <a:gd name="T44" fmla="*/ 181 w 512"/>
              <a:gd name="T45" fmla="*/ 388 h 512"/>
              <a:gd name="T46" fmla="*/ 187 w 512"/>
              <a:gd name="T47" fmla="*/ 398 h 512"/>
              <a:gd name="T48" fmla="*/ 199 w 512"/>
              <a:gd name="T49" fmla="*/ 396 h 512"/>
              <a:gd name="T50" fmla="*/ 254 w 512"/>
              <a:gd name="T51" fmla="*/ 345 h 512"/>
              <a:gd name="T52" fmla="*/ 281 w 512"/>
              <a:gd name="T53" fmla="*/ 409 h 512"/>
              <a:gd name="T54" fmla="*/ 291 w 512"/>
              <a:gd name="T55" fmla="*/ 416 h 512"/>
              <a:gd name="T56" fmla="*/ 295 w 512"/>
              <a:gd name="T57" fmla="*/ 415 h 512"/>
              <a:gd name="T58" fmla="*/ 334 w 512"/>
              <a:gd name="T59" fmla="*/ 398 h 512"/>
              <a:gd name="T60" fmla="*/ 340 w 512"/>
              <a:gd name="T61" fmla="*/ 393 h 512"/>
              <a:gd name="T62" fmla="*/ 340 w 512"/>
              <a:gd name="T63" fmla="*/ 385 h 512"/>
              <a:gd name="T64" fmla="*/ 313 w 512"/>
              <a:gd name="T65" fmla="*/ 320 h 512"/>
              <a:gd name="T66" fmla="*/ 389 w 512"/>
              <a:gd name="T67" fmla="*/ 317 h 512"/>
              <a:gd name="T68" fmla="*/ 399 w 512"/>
              <a:gd name="T69" fmla="*/ 311 h 512"/>
              <a:gd name="T70" fmla="*/ 396 w 512"/>
              <a:gd name="T71" fmla="*/ 29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03" y="137"/>
                </a:moveTo>
                <a:cubicBezTo>
                  <a:pt x="364" y="297"/>
                  <a:pt x="364" y="297"/>
                  <a:pt x="364" y="297"/>
                </a:cubicBezTo>
                <a:cubicBezTo>
                  <a:pt x="297" y="299"/>
                  <a:pt x="297" y="299"/>
                  <a:pt x="297" y="299"/>
                </a:cubicBezTo>
                <a:cubicBezTo>
                  <a:pt x="294" y="299"/>
                  <a:pt x="291" y="301"/>
                  <a:pt x="289" y="304"/>
                </a:cubicBezTo>
                <a:cubicBezTo>
                  <a:pt x="287" y="307"/>
                  <a:pt x="286" y="311"/>
                  <a:pt x="288" y="314"/>
                </a:cubicBezTo>
                <a:cubicBezTo>
                  <a:pt x="316" y="383"/>
                  <a:pt x="316" y="383"/>
                  <a:pt x="316" y="383"/>
                </a:cubicBezTo>
                <a:cubicBezTo>
                  <a:pt x="297" y="391"/>
                  <a:pt x="297" y="391"/>
                  <a:pt x="297" y="391"/>
                </a:cubicBezTo>
                <a:cubicBezTo>
                  <a:pt x="268" y="322"/>
                  <a:pt x="268" y="322"/>
                  <a:pt x="268" y="322"/>
                </a:cubicBezTo>
                <a:cubicBezTo>
                  <a:pt x="267" y="319"/>
                  <a:pt x="264" y="317"/>
                  <a:pt x="260" y="316"/>
                </a:cubicBezTo>
                <a:cubicBezTo>
                  <a:pt x="260" y="316"/>
                  <a:pt x="259" y="316"/>
                  <a:pt x="258" y="316"/>
                </a:cubicBezTo>
                <a:cubicBezTo>
                  <a:pt x="256" y="316"/>
                  <a:pt x="253" y="317"/>
                  <a:pt x="251" y="318"/>
                </a:cubicBezTo>
                <a:cubicBezTo>
                  <a:pt x="202" y="364"/>
                  <a:pt x="202" y="364"/>
                  <a:pt x="202" y="364"/>
                </a:cubicBezTo>
                <a:lnTo>
                  <a:pt x="203" y="13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6" y="299"/>
                </a:moveTo>
                <a:cubicBezTo>
                  <a:pt x="199" y="104"/>
                  <a:pt x="199" y="104"/>
                  <a:pt x="199" y="104"/>
                </a:cubicBezTo>
                <a:cubicBezTo>
                  <a:pt x="196" y="101"/>
                  <a:pt x="192" y="100"/>
                  <a:pt x="188" y="101"/>
                </a:cubicBezTo>
                <a:cubicBezTo>
                  <a:pt x="184" y="103"/>
                  <a:pt x="181" y="107"/>
                  <a:pt x="181" y="111"/>
                </a:cubicBezTo>
                <a:cubicBezTo>
                  <a:pt x="181" y="388"/>
                  <a:pt x="181" y="388"/>
                  <a:pt x="181" y="388"/>
                </a:cubicBezTo>
                <a:cubicBezTo>
                  <a:pt x="181" y="393"/>
                  <a:pt x="184" y="397"/>
                  <a:pt x="187" y="398"/>
                </a:cubicBezTo>
                <a:cubicBezTo>
                  <a:pt x="191" y="400"/>
                  <a:pt x="196" y="399"/>
                  <a:pt x="199" y="396"/>
                </a:cubicBezTo>
                <a:cubicBezTo>
                  <a:pt x="254" y="345"/>
                  <a:pt x="254" y="345"/>
                  <a:pt x="254" y="345"/>
                </a:cubicBezTo>
                <a:cubicBezTo>
                  <a:pt x="281" y="409"/>
                  <a:pt x="281" y="409"/>
                  <a:pt x="281" y="409"/>
                </a:cubicBezTo>
                <a:cubicBezTo>
                  <a:pt x="283" y="413"/>
                  <a:pt x="287" y="416"/>
                  <a:pt x="291" y="416"/>
                </a:cubicBezTo>
                <a:cubicBezTo>
                  <a:pt x="292" y="416"/>
                  <a:pt x="294" y="415"/>
                  <a:pt x="295" y="415"/>
                </a:cubicBezTo>
                <a:cubicBezTo>
                  <a:pt x="334" y="398"/>
                  <a:pt x="334" y="398"/>
                  <a:pt x="334" y="398"/>
                </a:cubicBezTo>
                <a:cubicBezTo>
                  <a:pt x="337" y="397"/>
                  <a:pt x="339" y="395"/>
                  <a:pt x="340" y="393"/>
                </a:cubicBezTo>
                <a:cubicBezTo>
                  <a:pt x="341" y="390"/>
                  <a:pt x="341" y="387"/>
                  <a:pt x="340" y="385"/>
                </a:cubicBezTo>
                <a:cubicBezTo>
                  <a:pt x="313" y="320"/>
                  <a:pt x="313" y="320"/>
                  <a:pt x="313" y="320"/>
                </a:cubicBezTo>
                <a:cubicBezTo>
                  <a:pt x="389" y="317"/>
                  <a:pt x="389" y="317"/>
                  <a:pt x="389" y="317"/>
                </a:cubicBezTo>
                <a:cubicBezTo>
                  <a:pt x="393" y="317"/>
                  <a:pt x="397" y="315"/>
                  <a:pt x="399" y="311"/>
                </a:cubicBezTo>
                <a:cubicBezTo>
                  <a:pt x="400" y="307"/>
                  <a:pt x="399" y="302"/>
                  <a:pt x="396" y="2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7" name="Group 153"/>
          <p:cNvGrpSpPr>
            <a:grpSpLocks noChangeAspect="1"/>
          </p:cNvGrpSpPr>
          <p:nvPr/>
        </p:nvGrpSpPr>
        <p:grpSpPr bwMode="auto">
          <a:xfrm>
            <a:off x="6918243" y="2051054"/>
            <a:ext cx="368712" cy="367631"/>
            <a:chOff x="3641" y="1708"/>
            <a:chExt cx="341" cy="340"/>
          </a:xfrm>
          <a:solidFill>
            <a:schemeClr val="accent2"/>
          </a:solidFill>
        </p:grpSpPr>
        <p:sp>
          <p:nvSpPr>
            <p:cNvPr id="388" name="Freeform 154"/>
            <p:cNvSpPr>
              <a:spLocks noEditPoints="1"/>
            </p:cNvSpPr>
            <p:nvPr/>
          </p:nvSpPr>
          <p:spPr bwMode="auto">
            <a:xfrm>
              <a:off x="3641" y="170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155"/>
            <p:cNvSpPr>
              <a:spLocks noEditPoints="1"/>
            </p:cNvSpPr>
            <p:nvPr/>
          </p:nvSpPr>
          <p:spPr bwMode="auto">
            <a:xfrm>
              <a:off x="3762" y="1774"/>
              <a:ext cx="145" cy="210"/>
            </a:xfrm>
            <a:custGeom>
              <a:avLst/>
              <a:gdLst>
                <a:gd name="T0" fmla="*/ 110 w 219"/>
                <a:gd name="T1" fmla="*/ 316 h 316"/>
                <a:gd name="T2" fmla="*/ 100 w 219"/>
                <a:gd name="T3" fmla="*/ 309 h 316"/>
                <a:gd name="T4" fmla="*/ 73 w 219"/>
                <a:gd name="T5" fmla="*/ 245 h 316"/>
                <a:gd name="T6" fmla="*/ 18 w 219"/>
                <a:gd name="T7" fmla="*/ 296 h 316"/>
                <a:gd name="T8" fmla="*/ 6 w 219"/>
                <a:gd name="T9" fmla="*/ 298 h 316"/>
                <a:gd name="T10" fmla="*/ 0 w 219"/>
                <a:gd name="T11" fmla="*/ 288 h 316"/>
                <a:gd name="T12" fmla="*/ 0 w 219"/>
                <a:gd name="T13" fmla="*/ 11 h 316"/>
                <a:gd name="T14" fmla="*/ 7 w 219"/>
                <a:gd name="T15" fmla="*/ 1 h 316"/>
                <a:gd name="T16" fmla="*/ 18 w 219"/>
                <a:gd name="T17" fmla="*/ 4 h 316"/>
                <a:gd name="T18" fmla="*/ 215 w 219"/>
                <a:gd name="T19" fmla="*/ 199 h 316"/>
                <a:gd name="T20" fmla="*/ 218 w 219"/>
                <a:gd name="T21" fmla="*/ 211 h 316"/>
                <a:gd name="T22" fmla="*/ 208 w 219"/>
                <a:gd name="T23" fmla="*/ 217 h 316"/>
                <a:gd name="T24" fmla="*/ 132 w 219"/>
                <a:gd name="T25" fmla="*/ 220 h 316"/>
                <a:gd name="T26" fmla="*/ 159 w 219"/>
                <a:gd name="T27" fmla="*/ 285 h 316"/>
                <a:gd name="T28" fmla="*/ 159 w 219"/>
                <a:gd name="T29" fmla="*/ 293 h 316"/>
                <a:gd name="T30" fmla="*/ 153 w 219"/>
                <a:gd name="T31" fmla="*/ 298 h 316"/>
                <a:gd name="T32" fmla="*/ 114 w 219"/>
                <a:gd name="T33" fmla="*/ 315 h 316"/>
                <a:gd name="T34" fmla="*/ 110 w 219"/>
                <a:gd name="T35" fmla="*/ 316 h 316"/>
                <a:gd name="T36" fmla="*/ 77 w 219"/>
                <a:gd name="T37" fmla="*/ 216 h 316"/>
                <a:gd name="T38" fmla="*/ 79 w 219"/>
                <a:gd name="T39" fmla="*/ 216 h 316"/>
                <a:gd name="T40" fmla="*/ 87 w 219"/>
                <a:gd name="T41" fmla="*/ 222 h 316"/>
                <a:gd name="T42" fmla="*/ 116 w 219"/>
                <a:gd name="T43" fmla="*/ 291 h 316"/>
                <a:gd name="T44" fmla="*/ 135 w 219"/>
                <a:gd name="T45" fmla="*/ 283 h 316"/>
                <a:gd name="T46" fmla="*/ 107 w 219"/>
                <a:gd name="T47" fmla="*/ 214 h 316"/>
                <a:gd name="T48" fmla="*/ 108 w 219"/>
                <a:gd name="T49" fmla="*/ 204 h 316"/>
                <a:gd name="T50" fmla="*/ 116 w 219"/>
                <a:gd name="T51" fmla="*/ 199 h 316"/>
                <a:gd name="T52" fmla="*/ 183 w 219"/>
                <a:gd name="T53" fmla="*/ 197 h 316"/>
                <a:gd name="T54" fmla="*/ 22 w 219"/>
                <a:gd name="T55" fmla="*/ 37 h 316"/>
                <a:gd name="T56" fmla="*/ 21 w 219"/>
                <a:gd name="T57" fmla="*/ 264 h 316"/>
                <a:gd name="T58" fmla="*/ 70 w 219"/>
                <a:gd name="T59" fmla="*/ 218 h 316"/>
                <a:gd name="T60" fmla="*/ 77 w 219"/>
                <a:gd name="T61" fmla="*/ 2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9" h="316">
                  <a:moveTo>
                    <a:pt x="110" y="316"/>
                  </a:moveTo>
                  <a:cubicBezTo>
                    <a:pt x="106" y="316"/>
                    <a:pt x="102" y="313"/>
                    <a:pt x="100" y="309"/>
                  </a:cubicBezTo>
                  <a:cubicBezTo>
                    <a:pt x="73" y="245"/>
                    <a:pt x="73" y="245"/>
                    <a:pt x="73" y="245"/>
                  </a:cubicBezTo>
                  <a:cubicBezTo>
                    <a:pt x="18" y="296"/>
                    <a:pt x="18" y="296"/>
                    <a:pt x="18" y="296"/>
                  </a:cubicBezTo>
                  <a:cubicBezTo>
                    <a:pt x="15" y="299"/>
                    <a:pt x="10" y="300"/>
                    <a:pt x="6" y="298"/>
                  </a:cubicBezTo>
                  <a:cubicBezTo>
                    <a:pt x="3" y="297"/>
                    <a:pt x="0" y="293"/>
                    <a:pt x="0" y="2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7"/>
                    <a:pt x="3" y="3"/>
                    <a:pt x="7" y="1"/>
                  </a:cubicBezTo>
                  <a:cubicBezTo>
                    <a:pt x="11" y="0"/>
                    <a:pt x="15" y="1"/>
                    <a:pt x="18" y="4"/>
                  </a:cubicBezTo>
                  <a:cubicBezTo>
                    <a:pt x="215" y="199"/>
                    <a:pt x="215" y="199"/>
                    <a:pt x="215" y="199"/>
                  </a:cubicBezTo>
                  <a:cubicBezTo>
                    <a:pt x="218" y="202"/>
                    <a:pt x="219" y="207"/>
                    <a:pt x="218" y="211"/>
                  </a:cubicBezTo>
                  <a:cubicBezTo>
                    <a:pt x="216" y="215"/>
                    <a:pt x="212" y="217"/>
                    <a:pt x="208" y="217"/>
                  </a:cubicBezTo>
                  <a:cubicBezTo>
                    <a:pt x="132" y="220"/>
                    <a:pt x="132" y="220"/>
                    <a:pt x="132" y="220"/>
                  </a:cubicBezTo>
                  <a:cubicBezTo>
                    <a:pt x="159" y="285"/>
                    <a:pt x="159" y="285"/>
                    <a:pt x="159" y="285"/>
                  </a:cubicBezTo>
                  <a:cubicBezTo>
                    <a:pt x="160" y="287"/>
                    <a:pt x="160" y="290"/>
                    <a:pt x="159" y="293"/>
                  </a:cubicBezTo>
                  <a:cubicBezTo>
                    <a:pt x="158" y="295"/>
                    <a:pt x="156" y="297"/>
                    <a:pt x="153" y="298"/>
                  </a:cubicBezTo>
                  <a:cubicBezTo>
                    <a:pt x="114" y="315"/>
                    <a:pt x="114" y="315"/>
                    <a:pt x="114" y="315"/>
                  </a:cubicBezTo>
                  <a:cubicBezTo>
                    <a:pt x="113" y="315"/>
                    <a:pt x="111" y="316"/>
                    <a:pt x="110" y="316"/>
                  </a:cubicBezTo>
                  <a:close/>
                  <a:moveTo>
                    <a:pt x="77" y="216"/>
                  </a:moveTo>
                  <a:cubicBezTo>
                    <a:pt x="78" y="216"/>
                    <a:pt x="79" y="216"/>
                    <a:pt x="79" y="216"/>
                  </a:cubicBezTo>
                  <a:cubicBezTo>
                    <a:pt x="83" y="217"/>
                    <a:pt x="86" y="219"/>
                    <a:pt x="87" y="222"/>
                  </a:cubicBezTo>
                  <a:cubicBezTo>
                    <a:pt x="116" y="291"/>
                    <a:pt x="116" y="291"/>
                    <a:pt x="116" y="291"/>
                  </a:cubicBezTo>
                  <a:cubicBezTo>
                    <a:pt x="135" y="283"/>
                    <a:pt x="135" y="283"/>
                    <a:pt x="135" y="283"/>
                  </a:cubicBezTo>
                  <a:cubicBezTo>
                    <a:pt x="107" y="214"/>
                    <a:pt x="107" y="214"/>
                    <a:pt x="107" y="214"/>
                  </a:cubicBezTo>
                  <a:cubicBezTo>
                    <a:pt x="105" y="211"/>
                    <a:pt x="106" y="207"/>
                    <a:pt x="108" y="204"/>
                  </a:cubicBezTo>
                  <a:cubicBezTo>
                    <a:pt x="110" y="201"/>
                    <a:pt x="113" y="199"/>
                    <a:pt x="116" y="199"/>
                  </a:cubicBezTo>
                  <a:cubicBezTo>
                    <a:pt x="183" y="197"/>
                    <a:pt x="183" y="197"/>
                    <a:pt x="183" y="19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264"/>
                    <a:pt x="21" y="264"/>
                    <a:pt x="21" y="264"/>
                  </a:cubicBezTo>
                  <a:cubicBezTo>
                    <a:pt x="70" y="218"/>
                    <a:pt x="70" y="218"/>
                    <a:pt x="70" y="218"/>
                  </a:cubicBezTo>
                  <a:cubicBezTo>
                    <a:pt x="72" y="217"/>
                    <a:pt x="75" y="216"/>
                    <a:pt x="77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8435052" y="2464405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ckup complet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9422871" y="2464402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ackup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49955" y="334616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wnload</a:t>
            </a:r>
          </a:p>
        </p:txBody>
      </p:sp>
      <p:sp>
        <p:nvSpPr>
          <p:cNvPr id="48" name="Freeform 338"/>
          <p:cNvSpPr>
            <a:spLocks noChangeAspect="1" noEditPoints="1"/>
          </p:cNvSpPr>
          <p:nvPr/>
        </p:nvSpPr>
        <p:spPr bwMode="auto">
          <a:xfrm>
            <a:off x="8413838" y="2051050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384 h 512"/>
              <a:gd name="T12" fmla="*/ 341 w 512"/>
              <a:gd name="T13" fmla="*/ 394 h 512"/>
              <a:gd name="T14" fmla="*/ 330 w 512"/>
              <a:gd name="T15" fmla="*/ 384 h 512"/>
              <a:gd name="T16" fmla="*/ 330 w 512"/>
              <a:gd name="T17" fmla="*/ 359 h 512"/>
              <a:gd name="T18" fmla="*/ 256 w 512"/>
              <a:gd name="T19" fmla="*/ 384 h 512"/>
              <a:gd name="T20" fmla="*/ 128 w 512"/>
              <a:gd name="T21" fmla="*/ 256 h 512"/>
              <a:gd name="T22" fmla="*/ 138 w 512"/>
              <a:gd name="T23" fmla="*/ 245 h 512"/>
              <a:gd name="T24" fmla="*/ 149 w 512"/>
              <a:gd name="T25" fmla="*/ 256 h 512"/>
              <a:gd name="T26" fmla="*/ 256 w 512"/>
              <a:gd name="T27" fmla="*/ 362 h 512"/>
              <a:gd name="T28" fmla="*/ 320 w 512"/>
              <a:gd name="T29" fmla="*/ 341 h 512"/>
              <a:gd name="T30" fmla="*/ 288 w 512"/>
              <a:gd name="T31" fmla="*/ 341 h 512"/>
              <a:gd name="T32" fmla="*/ 277 w 512"/>
              <a:gd name="T33" fmla="*/ 330 h 512"/>
              <a:gd name="T34" fmla="*/ 288 w 512"/>
              <a:gd name="T35" fmla="*/ 320 h 512"/>
              <a:gd name="T36" fmla="*/ 341 w 512"/>
              <a:gd name="T37" fmla="*/ 320 h 512"/>
              <a:gd name="T38" fmla="*/ 352 w 512"/>
              <a:gd name="T39" fmla="*/ 330 h 512"/>
              <a:gd name="T40" fmla="*/ 352 w 512"/>
              <a:gd name="T41" fmla="*/ 384 h 512"/>
              <a:gd name="T42" fmla="*/ 205 w 512"/>
              <a:gd name="T43" fmla="*/ 248 h 512"/>
              <a:gd name="T44" fmla="*/ 221 w 512"/>
              <a:gd name="T45" fmla="*/ 248 h 512"/>
              <a:gd name="T46" fmla="*/ 245 w 512"/>
              <a:gd name="T47" fmla="*/ 273 h 512"/>
              <a:gd name="T48" fmla="*/ 301 w 512"/>
              <a:gd name="T49" fmla="*/ 216 h 512"/>
              <a:gd name="T50" fmla="*/ 317 w 512"/>
              <a:gd name="T51" fmla="*/ 216 h 512"/>
              <a:gd name="T52" fmla="*/ 317 w 512"/>
              <a:gd name="T53" fmla="*/ 231 h 512"/>
              <a:gd name="T54" fmla="*/ 253 w 512"/>
              <a:gd name="T55" fmla="*/ 295 h 512"/>
              <a:gd name="T56" fmla="*/ 245 w 512"/>
              <a:gd name="T57" fmla="*/ 298 h 512"/>
              <a:gd name="T58" fmla="*/ 237 w 512"/>
              <a:gd name="T59" fmla="*/ 295 h 512"/>
              <a:gd name="T60" fmla="*/ 205 w 512"/>
              <a:gd name="T61" fmla="*/ 263 h 512"/>
              <a:gd name="T62" fmla="*/ 205 w 512"/>
              <a:gd name="T63" fmla="*/ 248 h 512"/>
              <a:gd name="T64" fmla="*/ 373 w 512"/>
              <a:gd name="T65" fmla="*/ 266 h 512"/>
              <a:gd name="T66" fmla="*/ 362 w 512"/>
              <a:gd name="T67" fmla="*/ 256 h 512"/>
              <a:gd name="T68" fmla="*/ 256 w 512"/>
              <a:gd name="T69" fmla="*/ 149 h 512"/>
              <a:gd name="T70" fmla="*/ 192 w 512"/>
              <a:gd name="T71" fmla="*/ 170 h 512"/>
              <a:gd name="T72" fmla="*/ 224 w 512"/>
              <a:gd name="T73" fmla="*/ 170 h 512"/>
              <a:gd name="T74" fmla="*/ 234 w 512"/>
              <a:gd name="T75" fmla="*/ 181 h 512"/>
              <a:gd name="T76" fmla="*/ 224 w 512"/>
              <a:gd name="T77" fmla="*/ 192 h 512"/>
              <a:gd name="T78" fmla="*/ 170 w 512"/>
              <a:gd name="T79" fmla="*/ 192 h 512"/>
              <a:gd name="T80" fmla="*/ 160 w 512"/>
              <a:gd name="T81" fmla="*/ 181 h 512"/>
              <a:gd name="T82" fmla="*/ 160 w 512"/>
              <a:gd name="T83" fmla="*/ 128 h 512"/>
              <a:gd name="T84" fmla="*/ 170 w 512"/>
              <a:gd name="T85" fmla="*/ 117 h 512"/>
              <a:gd name="T86" fmla="*/ 181 w 512"/>
              <a:gd name="T87" fmla="*/ 128 h 512"/>
              <a:gd name="T88" fmla="*/ 181 w 512"/>
              <a:gd name="T89" fmla="*/ 152 h 512"/>
              <a:gd name="T90" fmla="*/ 256 w 512"/>
              <a:gd name="T91" fmla="*/ 128 h 512"/>
              <a:gd name="T92" fmla="*/ 384 w 512"/>
              <a:gd name="T93" fmla="*/ 256 h 512"/>
              <a:gd name="T94" fmla="*/ 373 w 512"/>
              <a:gd name="T95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384"/>
                </a:moveTo>
                <a:cubicBezTo>
                  <a:pt x="352" y="390"/>
                  <a:pt x="347" y="394"/>
                  <a:pt x="341" y="394"/>
                </a:cubicBezTo>
                <a:cubicBezTo>
                  <a:pt x="335" y="394"/>
                  <a:pt x="330" y="390"/>
                  <a:pt x="330" y="384"/>
                </a:cubicBezTo>
                <a:cubicBezTo>
                  <a:pt x="330" y="359"/>
                  <a:pt x="330" y="359"/>
                  <a:pt x="330" y="359"/>
                </a:cubicBezTo>
                <a:cubicBezTo>
                  <a:pt x="309" y="375"/>
                  <a:pt x="283" y="384"/>
                  <a:pt x="256" y="384"/>
                </a:cubicBezTo>
                <a:cubicBezTo>
                  <a:pt x="185" y="384"/>
                  <a:pt x="128" y="326"/>
                  <a:pt x="128" y="256"/>
                </a:cubicBezTo>
                <a:cubicBezTo>
                  <a:pt x="128" y="250"/>
                  <a:pt x="132" y="245"/>
                  <a:pt x="138" y="245"/>
                </a:cubicBezTo>
                <a:cubicBezTo>
                  <a:pt x="144" y="245"/>
                  <a:pt x="149" y="250"/>
                  <a:pt x="149" y="256"/>
                </a:cubicBezTo>
                <a:cubicBezTo>
                  <a:pt x="149" y="314"/>
                  <a:pt x="197" y="362"/>
                  <a:pt x="256" y="362"/>
                </a:cubicBezTo>
                <a:cubicBezTo>
                  <a:pt x="279" y="362"/>
                  <a:pt x="301" y="355"/>
                  <a:pt x="320" y="341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2" y="341"/>
                  <a:pt x="277" y="336"/>
                  <a:pt x="277" y="330"/>
                </a:cubicBezTo>
                <a:cubicBezTo>
                  <a:pt x="277" y="324"/>
                  <a:pt x="282" y="320"/>
                  <a:pt x="288" y="320"/>
                </a:cubicBezTo>
                <a:cubicBezTo>
                  <a:pt x="341" y="320"/>
                  <a:pt x="341" y="320"/>
                  <a:pt x="341" y="320"/>
                </a:cubicBezTo>
                <a:cubicBezTo>
                  <a:pt x="347" y="320"/>
                  <a:pt x="352" y="324"/>
                  <a:pt x="352" y="330"/>
                </a:cubicBezTo>
                <a:lnTo>
                  <a:pt x="352" y="384"/>
                </a:lnTo>
                <a:close/>
                <a:moveTo>
                  <a:pt x="205" y="248"/>
                </a:moveTo>
                <a:cubicBezTo>
                  <a:pt x="210" y="244"/>
                  <a:pt x="216" y="244"/>
                  <a:pt x="221" y="248"/>
                </a:cubicBezTo>
                <a:cubicBezTo>
                  <a:pt x="245" y="273"/>
                  <a:pt x="245" y="273"/>
                  <a:pt x="245" y="273"/>
                </a:cubicBezTo>
                <a:cubicBezTo>
                  <a:pt x="301" y="216"/>
                  <a:pt x="301" y="216"/>
                  <a:pt x="301" y="216"/>
                </a:cubicBezTo>
                <a:cubicBezTo>
                  <a:pt x="306" y="212"/>
                  <a:pt x="312" y="212"/>
                  <a:pt x="317" y="216"/>
                </a:cubicBezTo>
                <a:cubicBezTo>
                  <a:pt x="321" y="220"/>
                  <a:pt x="321" y="227"/>
                  <a:pt x="317" y="231"/>
                </a:cubicBezTo>
                <a:cubicBezTo>
                  <a:pt x="253" y="295"/>
                  <a:pt x="253" y="295"/>
                  <a:pt x="253" y="295"/>
                </a:cubicBezTo>
                <a:cubicBezTo>
                  <a:pt x="250" y="297"/>
                  <a:pt x="248" y="298"/>
                  <a:pt x="245" y="298"/>
                </a:cubicBezTo>
                <a:cubicBezTo>
                  <a:pt x="242" y="298"/>
                  <a:pt x="240" y="297"/>
                  <a:pt x="237" y="295"/>
                </a:cubicBezTo>
                <a:cubicBezTo>
                  <a:pt x="205" y="263"/>
                  <a:pt x="205" y="263"/>
                  <a:pt x="205" y="263"/>
                </a:cubicBezTo>
                <a:cubicBezTo>
                  <a:pt x="201" y="259"/>
                  <a:pt x="201" y="252"/>
                  <a:pt x="205" y="248"/>
                </a:cubicBezTo>
                <a:close/>
                <a:moveTo>
                  <a:pt x="373" y="266"/>
                </a:moveTo>
                <a:cubicBezTo>
                  <a:pt x="367" y="266"/>
                  <a:pt x="362" y="262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232" y="149"/>
                  <a:pt x="210" y="157"/>
                  <a:pt x="192" y="170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30" y="170"/>
                  <a:pt x="234" y="175"/>
                  <a:pt x="234" y="181"/>
                </a:cubicBezTo>
                <a:cubicBezTo>
                  <a:pt x="234" y="187"/>
                  <a:pt x="230" y="192"/>
                  <a:pt x="224" y="192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64" y="192"/>
                  <a:pt x="160" y="187"/>
                  <a:pt x="160" y="181"/>
                </a:cubicBezTo>
                <a:cubicBezTo>
                  <a:pt x="160" y="128"/>
                  <a:pt x="160" y="128"/>
                  <a:pt x="160" y="128"/>
                </a:cubicBezTo>
                <a:cubicBezTo>
                  <a:pt x="160" y="122"/>
                  <a:pt x="164" y="117"/>
                  <a:pt x="170" y="117"/>
                </a:cubicBezTo>
                <a:cubicBezTo>
                  <a:pt x="176" y="117"/>
                  <a:pt x="181" y="122"/>
                  <a:pt x="181" y="128"/>
                </a:cubicBezTo>
                <a:cubicBezTo>
                  <a:pt x="181" y="152"/>
                  <a:pt x="181" y="152"/>
                  <a:pt x="181" y="152"/>
                </a:cubicBezTo>
                <a:cubicBezTo>
                  <a:pt x="203" y="136"/>
                  <a:pt x="229" y="128"/>
                  <a:pt x="256" y="128"/>
                </a:cubicBezTo>
                <a:cubicBezTo>
                  <a:pt x="326" y="128"/>
                  <a:pt x="384" y="185"/>
                  <a:pt x="384" y="256"/>
                </a:cubicBezTo>
                <a:cubicBezTo>
                  <a:pt x="384" y="262"/>
                  <a:pt x="379" y="266"/>
                  <a:pt x="373" y="26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9" name="Group 48"/>
          <p:cNvGrpSpPr>
            <a:grpSpLocks noChangeAspect="1"/>
          </p:cNvGrpSpPr>
          <p:nvPr/>
        </p:nvGrpSpPr>
        <p:grpSpPr bwMode="auto">
          <a:xfrm>
            <a:off x="8911072" y="2051050"/>
            <a:ext cx="369064" cy="367982"/>
            <a:chOff x="3100" y="2384"/>
            <a:chExt cx="341" cy="340"/>
          </a:xfrm>
          <a:solidFill>
            <a:schemeClr val="accent4"/>
          </a:solidFill>
        </p:grpSpPr>
        <p:sp>
          <p:nvSpPr>
            <p:cNvPr id="50" name="Freeform 342"/>
            <p:cNvSpPr>
              <a:spLocks noEditPoints="1"/>
            </p:cNvSpPr>
            <p:nvPr/>
          </p:nvSpPr>
          <p:spPr bwMode="auto">
            <a:xfrm>
              <a:off x="3100" y="238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343"/>
            <p:cNvSpPr>
              <a:spLocks noEditPoints="1"/>
            </p:cNvSpPr>
            <p:nvPr/>
          </p:nvSpPr>
          <p:spPr bwMode="auto">
            <a:xfrm>
              <a:off x="3185" y="2462"/>
              <a:ext cx="171" cy="184"/>
            </a:xfrm>
            <a:custGeom>
              <a:avLst/>
              <a:gdLst>
                <a:gd name="T0" fmla="*/ 224 w 256"/>
                <a:gd name="T1" fmla="*/ 213 h 277"/>
                <a:gd name="T2" fmla="*/ 224 w 256"/>
                <a:gd name="T3" fmla="*/ 267 h 277"/>
                <a:gd name="T4" fmla="*/ 213 w 256"/>
                <a:gd name="T5" fmla="*/ 277 h 277"/>
                <a:gd name="T6" fmla="*/ 202 w 256"/>
                <a:gd name="T7" fmla="*/ 267 h 277"/>
                <a:gd name="T8" fmla="*/ 202 w 256"/>
                <a:gd name="T9" fmla="*/ 242 h 277"/>
                <a:gd name="T10" fmla="*/ 128 w 256"/>
                <a:gd name="T11" fmla="*/ 267 h 277"/>
                <a:gd name="T12" fmla="*/ 0 w 256"/>
                <a:gd name="T13" fmla="*/ 139 h 277"/>
                <a:gd name="T14" fmla="*/ 10 w 256"/>
                <a:gd name="T15" fmla="*/ 128 h 277"/>
                <a:gd name="T16" fmla="*/ 21 w 256"/>
                <a:gd name="T17" fmla="*/ 139 h 277"/>
                <a:gd name="T18" fmla="*/ 128 w 256"/>
                <a:gd name="T19" fmla="*/ 245 h 277"/>
                <a:gd name="T20" fmla="*/ 192 w 256"/>
                <a:gd name="T21" fmla="*/ 224 h 277"/>
                <a:gd name="T22" fmla="*/ 160 w 256"/>
                <a:gd name="T23" fmla="*/ 224 h 277"/>
                <a:gd name="T24" fmla="*/ 149 w 256"/>
                <a:gd name="T25" fmla="*/ 213 h 277"/>
                <a:gd name="T26" fmla="*/ 160 w 256"/>
                <a:gd name="T27" fmla="*/ 203 h 277"/>
                <a:gd name="T28" fmla="*/ 213 w 256"/>
                <a:gd name="T29" fmla="*/ 203 h 277"/>
                <a:gd name="T30" fmla="*/ 224 w 256"/>
                <a:gd name="T31" fmla="*/ 213 h 277"/>
                <a:gd name="T32" fmla="*/ 128 w 256"/>
                <a:gd name="T33" fmla="*/ 11 h 277"/>
                <a:gd name="T34" fmla="*/ 53 w 256"/>
                <a:gd name="T35" fmla="*/ 35 h 277"/>
                <a:gd name="T36" fmla="*/ 53 w 256"/>
                <a:gd name="T37" fmla="*/ 11 h 277"/>
                <a:gd name="T38" fmla="*/ 42 w 256"/>
                <a:gd name="T39" fmla="*/ 0 h 277"/>
                <a:gd name="T40" fmla="*/ 32 w 256"/>
                <a:gd name="T41" fmla="*/ 11 h 277"/>
                <a:gd name="T42" fmla="*/ 32 w 256"/>
                <a:gd name="T43" fmla="*/ 64 h 277"/>
                <a:gd name="T44" fmla="*/ 42 w 256"/>
                <a:gd name="T45" fmla="*/ 75 h 277"/>
                <a:gd name="T46" fmla="*/ 96 w 256"/>
                <a:gd name="T47" fmla="*/ 75 h 277"/>
                <a:gd name="T48" fmla="*/ 106 w 256"/>
                <a:gd name="T49" fmla="*/ 64 h 277"/>
                <a:gd name="T50" fmla="*/ 96 w 256"/>
                <a:gd name="T51" fmla="*/ 53 h 277"/>
                <a:gd name="T52" fmla="*/ 64 w 256"/>
                <a:gd name="T53" fmla="*/ 53 h 277"/>
                <a:gd name="T54" fmla="*/ 128 w 256"/>
                <a:gd name="T55" fmla="*/ 32 h 277"/>
                <a:gd name="T56" fmla="*/ 234 w 256"/>
                <a:gd name="T57" fmla="*/ 139 h 277"/>
                <a:gd name="T58" fmla="*/ 245 w 256"/>
                <a:gd name="T59" fmla="*/ 149 h 277"/>
                <a:gd name="T60" fmla="*/ 256 w 256"/>
                <a:gd name="T61" fmla="*/ 139 h 277"/>
                <a:gd name="T62" fmla="*/ 128 w 256"/>
                <a:gd name="T63" fmla="*/ 11 h 277"/>
                <a:gd name="T64" fmla="*/ 117 w 256"/>
                <a:gd name="T65" fmla="*/ 181 h 277"/>
                <a:gd name="T66" fmla="*/ 125 w 256"/>
                <a:gd name="T67" fmla="*/ 178 h 277"/>
                <a:gd name="T68" fmla="*/ 189 w 256"/>
                <a:gd name="T69" fmla="*/ 114 h 277"/>
                <a:gd name="T70" fmla="*/ 189 w 256"/>
                <a:gd name="T71" fmla="*/ 99 h 277"/>
                <a:gd name="T72" fmla="*/ 173 w 256"/>
                <a:gd name="T73" fmla="*/ 99 h 277"/>
                <a:gd name="T74" fmla="*/ 117 w 256"/>
                <a:gd name="T75" fmla="*/ 156 h 277"/>
                <a:gd name="T76" fmla="*/ 93 w 256"/>
                <a:gd name="T77" fmla="*/ 131 h 277"/>
                <a:gd name="T78" fmla="*/ 77 w 256"/>
                <a:gd name="T79" fmla="*/ 131 h 277"/>
                <a:gd name="T80" fmla="*/ 77 w 256"/>
                <a:gd name="T81" fmla="*/ 146 h 277"/>
                <a:gd name="T82" fmla="*/ 109 w 256"/>
                <a:gd name="T83" fmla="*/ 178 h 277"/>
                <a:gd name="T84" fmla="*/ 117 w 256"/>
                <a:gd name="T85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6" h="277">
                  <a:moveTo>
                    <a:pt x="224" y="213"/>
                  </a:moveTo>
                  <a:cubicBezTo>
                    <a:pt x="224" y="267"/>
                    <a:pt x="224" y="267"/>
                    <a:pt x="224" y="267"/>
                  </a:cubicBezTo>
                  <a:cubicBezTo>
                    <a:pt x="224" y="273"/>
                    <a:pt x="219" y="277"/>
                    <a:pt x="213" y="277"/>
                  </a:cubicBezTo>
                  <a:cubicBezTo>
                    <a:pt x="207" y="277"/>
                    <a:pt x="202" y="273"/>
                    <a:pt x="202" y="267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181" y="258"/>
                    <a:pt x="155" y="267"/>
                    <a:pt x="128" y="267"/>
                  </a:cubicBezTo>
                  <a:cubicBezTo>
                    <a:pt x="57" y="267"/>
                    <a:pt x="0" y="209"/>
                    <a:pt x="0" y="139"/>
                  </a:cubicBezTo>
                  <a:cubicBezTo>
                    <a:pt x="0" y="133"/>
                    <a:pt x="4" y="128"/>
                    <a:pt x="10" y="128"/>
                  </a:cubicBezTo>
                  <a:cubicBezTo>
                    <a:pt x="16" y="128"/>
                    <a:pt x="21" y="133"/>
                    <a:pt x="21" y="139"/>
                  </a:cubicBezTo>
                  <a:cubicBezTo>
                    <a:pt x="21" y="197"/>
                    <a:pt x="69" y="245"/>
                    <a:pt x="128" y="245"/>
                  </a:cubicBezTo>
                  <a:cubicBezTo>
                    <a:pt x="151" y="245"/>
                    <a:pt x="173" y="238"/>
                    <a:pt x="192" y="224"/>
                  </a:cubicBezTo>
                  <a:cubicBezTo>
                    <a:pt x="160" y="224"/>
                    <a:pt x="160" y="224"/>
                    <a:pt x="160" y="224"/>
                  </a:cubicBezTo>
                  <a:cubicBezTo>
                    <a:pt x="154" y="224"/>
                    <a:pt x="149" y="219"/>
                    <a:pt x="149" y="213"/>
                  </a:cubicBezTo>
                  <a:cubicBezTo>
                    <a:pt x="149" y="207"/>
                    <a:pt x="154" y="203"/>
                    <a:pt x="160" y="203"/>
                  </a:cubicBezTo>
                  <a:cubicBezTo>
                    <a:pt x="213" y="203"/>
                    <a:pt x="213" y="203"/>
                    <a:pt x="213" y="203"/>
                  </a:cubicBezTo>
                  <a:cubicBezTo>
                    <a:pt x="219" y="203"/>
                    <a:pt x="224" y="207"/>
                    <a:pt x="224" y="213"/>
                  </a:cubicBezTo>
                  <a:close/>
                  <a:moveTo>
                    <a:pt x="128" y="11"/>
                  </a:moveTo>
                  <a:cubicBezTo>
                    <a:pt x="101" y="11"/>
                    <a:pt x="75" y="19"/>
                    <a:pt x="53" y="35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5"/>
                    <a:pt x="48" y="0"/>
                    <a:pt x="42" y="0"/>
                  </a:cubicBezTo>
                  <a:cubicBezTo>
                    <a:pt x="36" y="0"/>
                    <a:pt x="32" y="5"/>
                    <a:pt x="32" y="11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70"/>
                    <a:pt x="36" y="75"/>
                    <a:pt x="42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102" y="75"/>
                    <a:pt x="106" y="70"/>
                    <a:pt x="106" y="64"/>
                  </a:cubicBezTo>
                  <a:cubicBezTo>
                    <a:pt x="106" y="58"/>
                    <a:pt x="102" y="53"/>
                    <a:pt x="96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82" y="40"/>
                    <a:pt x="104" y="32"/>
                    <a:pt x="128" y="32"/>
                  </a:cubicBezTo>
                  <a:cubicBezTo>
                    <a:pt x="186" y="32"/>
                    <a:pt x="234" y="80"/>
                    <a:pt x="234" y="139"/>
                  </a:cubicBezTo>
                  <a:cubicBezTo>
                    <a:pt x="234" y="145"/>
                    <a:pt x="239" y="149"/>
                    <a:pt x="245" y="149"/>
                  </a:cubicBezTo>
                  <a:cubicBezTo>
                    <a:pt x="251" y="149"/>
                    <a:pt x="256" y="145"/>
                    <a:pt x="256" y="139"/>
                  </a:cubicBezTo>
                  <a:cubicBezTo>
                    <a:pt x="256" y="68"/>
                    <a:pt x="198" y="11"/>
                    <a:pt x="128" y="11"/>
                  </a:cubicBezTo>
                  <a:close/>
                  <a:moveTo>
                    <a:pt x="117" y="181"/>
                  </a:moveTo>
                  <a:cubicBezTo>
                    <a:pt x="120" y="181"/>
                    <a:pt x="122" y="180"/>
                    <a:pt x="125" y="178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93" y="110"/>
                    <a:pt x="193" y="103"/>
                    <a:pt x="189" y="99"/>
                  </a:cubicBezTo>
                  <a:cubicBezTo>
                    <a:pt x="184" y="95"/>
                    <a:pt x="178" y="95"/>
                    <a:pt x="173" y="99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88" y="127"/>
                    <a:pt x="82" y="127"/>
                    <a:pt x="77" y="131"/>
                  </a:cubicBezTo>
                  <a:cubicBezTo>
                    <a:pt x="73" y="135"/>
                    <a:pt x="73" y="142"/>
                    <a:pt x="77" y="146"/>
                  </a:cubicBezTo>
                  <a:cubicBezTo>
                    <a:pt x="109" y="178"/>
                    <a:pt x="109" y="178"/>
                    <a:pt x="109" y="178"/>
                  </a:cubicBezTo>
                  <a:cubicBezTo>
                    <a:pt x="112" y="180"/>
                    <a:pt x="114" y="181"/>
                    <a:pt x="117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2" name="Freeform 51"/>
          <p:cNvSpPr>
            <a:spLocks noChangeAspect="1" noEditPoints="1"/>
          </p:cNvSpPr>
          <p:nvPr/>
        </p:nvSpPr>
        <p:spPr bwMode="auto">
          <a:xfrm>
            <a:off x="9409388" y="2051050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7 w 512"/>
              <a:gd name="T11" fmla="*/ 208 h 512"/>
              <a:gd name="T12" fmla="*/ 213 w 512"/>
              <a:gd name="T13" fmla="*/ 208 h 512"/>
              <a:gd name="T14" fmla="*/ 256 w 512"/>
              <a:gd name="T15" fmla="*/ 252 h 512"/>
              <a:gd name="T16" fmla="*/ 280 w 512"/>
              <a:gd name="T17" fmla="*/ 227 h 512"/>
              <a:gd name="T18" fmla="*/ 295 w 512"/>
              <a:gd name="T19" fmla="*/ 227 h 512"/>
              <a:gd name="T20" fmla="*/ 295 w 512"/>
              <a:gd name="T21" fmla="*/ 242 h 512"/>
              <a:gd name="T22" fmla="*/ 263 w 512"/>
              <a:gd name="T23" fmla="*/ 274 h 512"/>
              <a:gd name="T24" fmla="*/ 256 w 512"/>
              <a:gd name="T25" fmla="*/ 277 h 512"/>
              <a:gd name="T26" fmla="*/ 248 w 512"/>
              <a:gd name="T27" fmla="*/ 274 h 512"/>
              <a:gd name="T28" fmla="*/ 197 w 512"/>
              <a:gd name="T29" fmla="*/ 224 h 512"/>
              <a:gd name="T30" fmla="*/ 197 w 512"/>
              <a:gd name="T31" fmla="*/ 208 h 512"/>
              <a:gd name="T32" fmla="*/ 256 w 512"/>
              <a:gd name="T33" fmla="*/ 384 h 512"/>
              <a:gd name="T34" fmla="*/ 245 w 512"/>
              <a:gd name="T35" fmla="*/ 373 h 512"/>
              <a:gd name="T36" fmla="*/ 256 w 512"/>
              <a:gd name="T37" fmla="*/ 363 h 512"/>
              <a:gd name="T38" fmla="*/ 362 w 512"/>
              <a:gd name="T39" fmla="*/ 256 h 512"/>
              <a:gd name="T40" fmla="*/ 256 w 512"/>
              <a:gd name="T41" fmla="*/ 149 h 512"/>
              <a:gd name="T42" fmla="*/ 149 w 512"/>
              <a:gd name="T43" fmla="*/ 256 h 512"/>
              <a:gd name="T44" fmla="*/ 170 w 512"/>
              <a:gd name="T45" fmla="*/ 320 h 512"/>
              <a:gd name="T46" fmla="*/ 170 w 512"/>
              <a:gd name="T47" fmla="*/ 288 h 512"/>
              <a:gd name="T48" fmla="*/ 180 w 512"/>
              <a:gd name="T49" fmla="*/ 277 h 512"/>
              <a:gd name="T50" fmla="*/ 191 w 512"/>
              <a:gd name="T51" fmla="*/ 288 h 512"/>
              <a:gd name="T52" fmla="*/ 191 w 512"/>
              <a:gd name="T53" fmla="*/ 341 h 512"/>
              <a:gd name="T54" fmla="*/ 181 w 512"/>
              <a:gd name="T55" fmla="*/ 353 h 512"/>
              <a:gd name="T56" fmla="*/ 128 w 512"/>
              <a:gd name="T57" fmla="*/ 353 h 512"/>
              <a:gd name="T58" fmla="*/ 117 w 512"/>
              <a:gd name="T59" fmla="*/ 342 h 512"/>
              <a:gd name="T60" fmla="*/ 128 w 512"/>
              <a:gd name="T61" fmla="*/ 331 h 512"/>
              <a:gd name="T62" fmla="*/ 152 w 512"/>
              <a:gd name="T63" fmla="*/ 331 h 512"/>
              <a:gd name="T64" fmla="*/ 128 w 512"/>
              <a:gd name="T65" fmla="*/ 256 h 512"/>
              <a:gd name="T66" fmla="*/ 256 w 512"/>
              <a:gd name="T67" fmla="*/ 128 h 512"/>
              <a:gd name="T68" fmla="*/ 384 w 512"/>
              <a:gd name="T69" fmla="*/ 256 h 512"/>
              <a:gd name="T70" fmla="*/ 256 w 512"/>
              <a:gd name="T71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197" y="208"/>
                </a:moveTo>
                <a:cubicBezTo>
                  <a:pt x="202" y="204"/>
                  <a:pt x="208" y="204"/>
                  <a:pt x="213" y="208"/>
                </a:cubicBezTo>
                <a:cubicBezTo>
                  <a:pt x="256" y="252"/>
                  <a:pt x="256" y="252"/>
                  <a:pt x="256" y="252"/>
                </a:cubicBezTo>
                <a:cubicBezTo>
                  <a:pt x="280" y="227"/>
                  <a:pt x="280" y="227"/>
                  <a:pt x="280" y="227"/>
                </a:cubicBezTo>
                <a:cubicBezTo>
                  <a:pt x="284" y="223"/>
                  <a:pt x="291" y="223"/>
                  <a:pt x="295" y="227"/>
                </a:cubicBezTo>
                <a:cubicBezTo>
                  <a:pt x="299" y="231"/>
                  <a:pt x="299" y="238"/>
                  <a:pt x="295" y="242"/>
                </a:cubicBezTo>
                <a:cubicBezTo>
                  <a:pt x="263" y="274"/>
                  <a:pt x="263" y="274"/>
                  <a:pt x="263" y="274"/>
                </a:cubicBezTo>
                <a:cubicBezTo>
                  <a:pt x="261" y="276"/>
                  <a:pt x="258" y="277"/>
                  <a:pt x="256" y="277"/>
                </a:cubicBezTo>
                <a:cubicBezTo>
                  <a:pt x="253" y="277"/>
                  <a:pt x="250" y="276"/>
                  <a:pt x="248" y="274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193" y="219"/>
                  <a:pt x="193" y="213"/>
                  <a:pt x="197" y="208"/>
                </a:cubicBezTo>
                <a:close/>
                <a:moveTo>
                  <a:pt x="256" y="384"/>
                </a:moveTo>
                <a:cubicBezTo>
                  <a:pt x="250" y="384"/>
                  <a:pt x="245" y="379"/>
                  <a:pt x="245" y="373"/>
                </a:cubicBezTo>
                <a:cubicBezTo>
                  <a:pt x="245" y="367"/>
                  <a:pt x="250" y="363"/>
                  <a:pt x="256" y="363"/>
                </a:cubicBezTo>
                <a:cubicBezTo>
                  <a:pt x="314" y="363"/>
                  <a:pt x="362" y="315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279"/>
                  <a:pt x="156" y="302"/>
                  <a:pt x="170" y="320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0" y="282"/>
                  <a:pt x="174" y="277"/>
                  <a:pt x="180" y="277"/>
                </a:cubicBezTo>
                <a:cubicBezTo>
                  <a:pt x="186" y="277"/>
                  <a:pt x="191" y="282"/>
                  <a:pt x="191" y="288"/>
                </a:cubicBezTo>
                <a:cubicBezTo>
                  <a:pt x="191" y="341"/>
                  <a:pt x="191" y="341"/>
                  <a:pt x="191" y="341"/>
                </a:cubicBezTo>
                <a:cubicBezTo>
                  <a:pt x="191" y="347"/>
                  <a:pt x="187" y="353"/>
                  <a:pt x="181" y="353"/>
                </a:cubicBezTo>
                <a:cubicBezTo>
                  <a:pt x="128" y="353"/>
                  <a:pt x="128" y="353"/>
                  <a:pt x="128" y="353"/>
                </a:cubicBezTo>
                <a:cubicBezTo>
                  <a:pt x="122" y="353"/>
                  <a:pt x="117" y="348"/>
                  <a:pt x="117" y="342"/>
                </a:cubicBezTo>
                <a:cubicBezTo>
                  <a:pt x="117" y="336"/>
                  <a:pt x="122" y="331"/>
                  <a:pt x="128" y="331"/>
                </a:cubicBezTo>
                <a:cubicBezTo>
                  <a:pt x="152" y="331"/>
                  <a:pt x="152" y="331"/>
                  <a:pt x="152" y="331"/>
                </a:cubicBezTo>
                <a:cubicBezTo>
                  <a:pt x="136" y="309"/>
                  <a:pt x="128" y="283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326" y="128"/>
                  <a:pt x="384" y="186"/>
                  <a:pt x="384" y="256"/>
                </a:cubicBezTo>
                <a:cubicBezTo>
                  <a:pt x="384" y="327"/>
                  <a:pt x="326" y="384"/>
                  <a:pt x="256" y="38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3" name="Freeform 351"/>
          <p:cNvSpPr>
            <a:spLocks noChangeAspect="1" noEditPoints="1"/>
          </p:cNvSpPr>
          <p:nvPr/>
        </p:nvSpPr>
        <p:spPr bwMode="auto">
          <a:xfrm>
            <a:off x="9906623" y="2051050"/>
            <a:ext cx="367982" cy="367982"/>
          </a:xfrm>
          <a:custGeom>
            <a:avLst/>
            <a:gdLst>
              <a:gd name="T0" fmla="*/ 128 w 512"/>
              <a:gd name="T1" fmla="*/ 331 h 512"/>
              <a:gd name="T2" fmla="*/ 152 w 512"/>
              <a:gd name="T3" fmla="*/ 331 h 512"/>
              <a:gd name="T4" fmla="*/ 128 w 512"/>
              <a:gd name="T5" fmla="*/ 256 h 512"/>
              <a:gd name="T6" fmla="*/ 256 w 512"/>
              <a:gd name="T7" fmla="*/ 128 h 512"/>
              <a:gd name="T8" fmla="*/ 384 w 512"/>
              <a:gd name="T9" fmla="*/ 256 h 512"/>
              <a:gd name="T10" fmla="*/ 256 w 512"/>
              <a:gd name="T11" fmla="*/ 384 h 512"/>
              <a:gd name="T12" fmla="*/ 245 w 512"/>
              <a:gd name="T13" fmla="*/ 373 h 512"/>
              <a:gd name="T14" fmla="*/ 256 w 512"/>
              <a:gd name="T15" fmla="*/ 363 h 512"/>
              <a:gd name="T16" fmla="*/ 362 w 512"/>
              <a:gd name="T17" fmla="*/ 256 h 512"/>
              <a:gd name="T18" fmla="*/ 256 w 512"/>
              <a:gd name="T19" fmla="*/ 149 h 512"/>
              <a:gd name="T20" fmla="*/ 149 w 512"/>
              <a:gd name="T21" fmla="*/ 256 h 512"/>
              <a:gd name="T22" fmla="*/ 170 w 512"/>
              <a:gd name="T23" fmla="*/ 320 h 512"/>
              <a:gd name="T24" fmla="*/ 170 w 512"/>
              <a:gd name="T25" fmla="*/ 288 h 512"/>
              <a:gd name="T26" fmla="*/ 180 w 512"/>
              <a:gd name="T27" fmla="*/ 277 h 512"/>
              <a:gd name="T28" fmla="*/ 191 w 512"/>
              <a:gd name="T29" fmla="*/ 288 h 512"/>
              <a:gd name="T30" fmla="*/ 191 w 512"/>
              <a:gd name="T31" fmla="*/ 341 h 512"/>
              <a:gd name="T32" fmla="*/ 181 w 512"/>
              <a:gd name="T33" fmla="*/ 353 h 512"/>
              <a:gd name="T34" fmla="*/ 128 w 512"/>
              <a:gd name="T35" fmla="*/ 353 h 512"/>
              <a:gd name="T36" fmla="*/ 117 w 512"/>
              <a:gd name="T37" fmla="*/ 342 h 512"/>
              <a:gd name="T38" fmla="*/ 128 w 512"/>
              <a:gd name="T39" fmla="*/ 331 h 512"/>
              <a:gd name="T40" fmla="*/ 280 w 512"/>
              <a:gd name="T41" fmla="*/ 227 h 512"/>
              <a:gd name="T42" fmla="*/ 256 w 512"/>
              <a:gd name="T43" fmla="*/ 252 h 512"/>
              <a:gd name="T44" fmla="*/ 213 w 512"/>
              <a:gd name="T45" fmla="*/ 208 h 512"/>
              <a:gd name="T46" fmla="*/ 197 w 512"/>
              <a:gd name="T47" fmla="*/ 208 h 512"/>
              <a:gd name="T48" fmla="*/ 197 w 512"/>
              <a:gd name="T49" fmla="*/ 224 h 512"/>
              <a:gd name="T50" fmla="*/ 248 w 512"/>
              <a:gd name="T51" fmla="*/ 274 h 512"/>
              <a:gd name="T52" fmla="*/ 256 w 512"/>
              <a:gd name="T53" fmla="*/ 277 h 512"/>
              <a:gd name="T54" fmla="*/ 263 w 512"/>
              <a:gd name="T55" fmla="*/ 274 h 512"/>
              <a:gd name="T56" fmla="*/ 295 w 512"/>
              <a:gd name="T57" fmla="*/ 242 h 512"/>
              <a:gd name="T58" fmla="*/ 295 w 512"/>
              <a:gd name="T59" fmla="*/ 227 h 512"/>
              <a:gd name="T60" fmla="*/ 280 w 512"/>
              <a:gd name="T61" fmla="*/ 227 h 512"/>
              <a:gd name="T62" fmla="*/ 256 w 512"/>
              <a:gd name="T63" fmla="*/ 21 h 512"/>
              <a:gd name="T64" fmla="*/ 490 w 512"/>
              <a:gd name="T65" fmla="*/ 256 h 512"/>
              <a:gd name="T66" fmla="*/ 256 w 512"/>
              <a:gd name="T67" fmla="*/ 491 h 512"/>
              <a:gd name="T68" fmla="*/ 21 w 512"/>
              <a:gd name="T69" fmla="*/ 256 h 512"/>
              <a:gd name="T70" fmla="*/ 256 w 512"/>
              <a:gd name="T71" fmla="*/ 21 h 512"/>
              <a:gd name="T72" fmla="*/ 256 w 512"/>
              <a:gd name="T73" fmla="*/ 0 h 512"/>
              <a:gd name="T74" fmla="*/ 0 w 512"/>
              <a:gd name="T75" fmla="*/ 256 h 512"/>
              <a:gd name="T76" fmla="*/ 256 w 512"/>
              <a:gd name="T77" fmla="*/ 512 h 512"/>
              <a:gd name="T78" fmla="*/ 512 w 512"/>
              <a:gd name="T79" fmla="*/ 256 h 512"/>
              <a:gd name="T80" fmla="*/ 256 w 512"/>
              <a:gd name="T81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128" y="331"/>
                </a:moveTo>
                <a:cubicBezTo>
                  <a:pt x="152" y="331"/>
                  <a:pt x="152" y="331"/>
                  <a:pt x="152" y="331"/>
                </a:cubicBezTo>
                <a:cubicBezTo>
                  <a:pt x="136" y="310"/>
                  <a:pt x="128" y="283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326" y="128"/>
                  <a:pt x="384" y="186"/>
                  <a:pt x="384" y="256"/>
                </a:cubicBezTo>
                <a:cubicBezTo>
                  <a:pt x="384" y="327"/>
                  <a:pt x="326" y="384"/>
                  <a:pt x="256" y="384"/>
                </a:cubicBezTo>
                <a:cubicBezTo>
                  <a:pt x="250" y="384"/>
                  <a:pt x="245" y="379"/>
                  <a:pt x="245" y="373"/>
                </a:cubicBezTo>
                <a:cubicBezTo>
                  <a:pt x="245" y="367"/>
                  <a:pt x="250" y="363"/>
                  <a:pt x="256" y="363"/>
                </a:cubicBezTo>
                <a:cubicBezTo>
                  <a:pt x="314" y="363"/>
                  <a:pt x="362" y="315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279"/>
                  <a:pt x="156" y="302"/>
                  <a:pt x="170" y="320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0" y="282"/>
                  <a:pt x="174" y="277"/>
                  <a:pt x="180" y="277"/>
                </a:cubicBezTo>
                <a:cubicBezTo>
                  <a:pt x="186" y="277"/>
                  <a:pt x="191" y="282"/>
                  <a:pt x="191" y="288"/>
                </a:cubicBezTo>
                <a:cubicBezTo>
                  <a:pt x="191" y="341"/>
                  <a:pt x="191" y="341"/>
                  <a:pt x="191" y="341"/>
                </a:cubicBezTo>
                <a:cubicBezTo>
                  <a:pt x="191" y="347"/>
                  <a:pt x="187" y="353"/>
                  <a:pt x="181" y="353"/>
                </a:cubicBezTo>
                <a:cubicBezTo>
                  <a:pt x="128" y="353"/>
                  <a:pt x="128" y="353"/>
                  <a:pt x="128" y="353"/>
                </a:cubicBezTo>
                <a:cubicBezTo>
                  <a:pt x="122" y="353"/>
                  <a:pt x="117" y="348"/>
                  <a:pt x="117" y="342"/>
                </a:cubicBezTo>
                <a:cubicBezTo>
                  <a:pt x="117" y="336"/>
                  <a:pt x="122" y="331"/>
                  <a:pt x="128" y="331"/>
                </a:cubicBezTo>
                <a:close/>
                <a:moveTo>
                  <a:pt x="280" y="227"/>
                </a:moveTo>
                <a:cubicBezTo>
                  <a:pt x="256" y="252"/>
                  <a:pt x="256" y="252"/>
                  <a:pt x="256" y="252"/>
                </a:cubicBezTo>
                <a:cubicBezTo>
                  <a:pt x="213" y="208"/>
                  <a:pt x="213" y="208"/>
                  <a:pt x="213" y="208"/>
                </a:cubicBezTo>
                <a:cubicBezTo>
                  <a:pt x="208" y="204"/>
                  <a:pt x="202" y="204"/>
                  <a:pt x="197" y="208"/>
                </a:cubicBezTo>
                <a:cubicBezTo>
                  <a:pt x="193" y="213"/>
                  <a:pt x="193" y="219"/>
                  <a:pt x="197" y="224"/>
                </a:cubicBezTo>
                <a:cubicBezTo>
                  <a:pt x="248" y="274"/>
                  <a:pt x="248" y="274"/>
                  <a:pt x="248" y="274"/>
                </a:cubicBezTo>
                <a:cubicBezTo>
                  <a:pt x="250" y="276"/>
                  <a:pt x="253" y="277"/>
                  <a:pt x="256" y="277"/>
                </a:cubicBezTo>
                <a:cubicBezTo>
                  <a:pt x="258" y="277"/>
                  <a:pt x="261" y="276"/>
                  <a:pt x="263" y="274"/>
                </a:cubicBezTo>
                <a:cubicBezTo>
                  <a:pt x="295" y="242"/>
                  <a:pt x="295" y="242"/>
                  <a:pt x="295" y="242"/>
                </a:cubicBezTo>
                <a:cubicBezTo>
                  <a:pt x="299" y="238"/>
                  <a:pt x="299" y="231"/>
                  <a:pt x="295" y="227"/>
                </a:cubicBezTo>
                <a:cubicBezTo>
                  <a:pt x="291" y="223"/>
                  <a:pt x="284" y="223"/>
                  <a:pt x="280" y="227"/>
                </a:cubicBezTo>
                <a:close/>
                <a:moveTo>
                  <a:pt x="256" y="21"/>
                </a:moveTo>
                <a:cubicBezTo>
                  <a:pt x="385" y="21"/>
                  <a:pt x="490" y="127"/>
                  <a:pt x="490" y="256"/>
                </a:cubicBezTo>
                <a:cubicBezTo>
                  <a:pt x="490" y="385"/>
                  <a:pt x="385" y="491"/>
                  <a:pt x="256" y="491"/>
                </a:cubicBezTo>
                <a:cubicBezTo>
                  <a:pt x="126" y="491"/>
                  <a:pt x="21" y="385"/>
                  <a:pt x="21" y="256"/>
                </a:cubicBezTo>
                <a:cubicBezTo>
                  <a:pt x="21" y="127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4" name="Group 412"/>
          <p:cNvGrpSpPr>
            <a:grpSpLocks noChangeAspect="1"/>
          </p:cNvGrpSpPr>
          <p:nvPr/>
        </p:nvGrpSpPr>
        <p:grpSpPr bwMode="auto">
          <a:xfrm>
            <a:off x="443576" y="2923365"/>
            <a:ext cx="367631" cy="367631"/>
            <a:chOff x="2297" y="1592"/>
            <a:chExt cx="340" cy="340"/>
          </a:xfrm>
          <a:solidFill>
            <a:schemeClr val="accent5"/>
          </a:solidFill>
        </p:grpSpPr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7" name="Group 417"/>
          <p:cNvGrpSpPr>
            <a:grpSpLocks noChangeAspect="1"/>
          </p:cNvGrpSpPr>
          <p:nvPr/>
        </p:nvGrpSpPr>
        <p:grpSpPr bwMode="auto">
          <a:xfrm>
            <a:off x="939385" y="2923364"/>
            <a:ext cx="367631" cy="368712"/>
            <a:chOff x="2725" y="1609"/>
            <a:chExt cx="340" cy="341"/>
          </a:xfrm>
          <a:solidFill>
            <a:schemeClr val="accent5"/>
          </a:solidFill>
        </p:grpSpPr>
        <p:sp>
          <p:nvSpPr>
            <p:cNvPr id="58" name="Freeform 418"/>
            <p:cNvSpPr>
              <a:spLocks noEditPoints="1"/>
            </p:cNvSpPr>
            <p:nvPr/>
          </p:nvSpPr>
          <p:spPr bwMode="auto">
            <a:xfrm>
              <a:off x="2725" y="160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19"/>
            <p:cNvSpPr>
              <a:spLocks noEditPoints="1"/>
            </p:cNvSpPr>
            <p:nvPr/>
          </p:nvSpPr>
          <p:spPr bwMode="auto">
            <a:xfrm>
              <a:off x="2817" y="1673"/>
              <a:ext cx="156" cy="213"/>
            </a:xfrm>
            <a:custGeom>
              <a:avLst/>
              <a:gdLst>
                <a:gd name="T0" fmla="*/ 25 w 235"/>
                <a:gd name="T1" fmla="*/ 189 h 320"/>
                <a:gd name="T2" fmla="*/ 25 w 235"/>
                <a:gd name="T3" fmla="*/ 173 h 320"/>
                <a:gd name="T4" fmla="*/ 40 w 235"/>
                <a:gd name="T5" fmla="*/ 173 h 320"/>
                <a:gd name="T6" fmla="*/ 107 w 235"/>
                <a:gd name="T7" fmla="*/ 241 h 320"/>
                <a:gd name="T8" fmla="*/ 107 w 235"/>
                <a:gd name="T9" fmla="*/ 10 h 320"/>
                <a:gd name="T10" fmla="*/ 118 w 235"/>
                <a:gd name="T11" fmla="*/ 0 h 320"/>
                <a:gd name="T12" fmla="*/ 128 w 235"/>
                <a:gd name="T13" fmla="*/ 10 h 320"/>
                <a:gd name="T14" fmla="*/ 128 w 235"/>
                <a:gd name="T15" fmla="*/ 241 h 320"/>
                <a:gd name="T16" fmla="*/ 195 w 235"/>
                <a:gd name="T17" fmla="*/ 173 h 320"/>
                <a:gd name="T18" fmla="*/ 211 w 235"/>
                <a:gd name="T19" fmla="*/ 173 h 320"/>
                <a:gd name="T20" fmla="*/ 211 w 235"/>
                <a:gd name="T21" fmla="*/ 189 h 320"/>
                <a:gd name="T22" fmla="*/ 125 w 235"/>
                <a:gd name="T23" fmla="*/ 274 h 320"/>
                <a:gd name="T24" fmla="*/ 122 w 235"/>
                <a:gd name="T25" fmla="*/ 276 h 320"/>
                <a:gd name="T26" fmla="*/ 118 w 235"/>
                <a:gd name="T27" fmla="*/ 277 h 320"/>
                <a:gd name="T28" fmla="*/ 114 w 235"/>
                <a:gd name="T29" fmla="*/ 276 h 320"/>
                <a:gd name="T30" fmla="*/ 110 w 235"/>
                <a:gd name="T31" fmla="*/ 274 h 320"/>
                <a:gd name="T32" fmla="*/ 25 w 235"/>
                <a:gd name="T33" fmla="*/ 189 h 320"/>
                <a:gd name="T34" fmla="*/ 224 w 235"/>
                <a:gd name="T35" fmla="*/ 256 h 320"/>
                <a:gd name="T36" fmla="*/ 214 w 235"/>
                <a:gd name="T37" fmla="*/ 266 h 320"/>
                <a:gd name="T38" fmla="*/ 214 w 235"/>
                <a:gd name="T39" fmla="*/ 298 h 320"/>
                <a:gd name="T40" fmla="*/ 22 w 235"/>
                <a:gd name="T41" fmla="*/ 298 h 320"/>
                <a:gd name="T42" fmla="*/ 22 w 235"/>
                <a:gd name="T43" fmla="*/ 266 h 320"/>
                <a:gd name="T44" fmla="*/ 11 w 235"/>
                <a:gd name="T45" fmla="*/ 256 h 320"/>
                <a:gd name="T46" fmla="*/ 0 w 235"/>
                <a:gd name="T47" fmla="*/ 266 h 320"/>
                <a:gd name="T48" fmla="*/ 0 w 235"/>
                <a:gd name="T49" fmla="*/ 309 h 320"/>
                <a:gd name="T50" fmla="*/ 11 w 235"/>
                <a:gd name="T51" fmla="*/ 320 h 320"/>
                <a:gd name="T52" fmla="*/ 224 w 235"/>
                <a:gd name="T53" fmla="*/ 320 h 320"/>
                <a:gd name="T54" fmla="*/ 235 w 235"/>
                <a:gd name="T55" fmla="*/ 309 h 320"/>
                <a:gd name="T56" fmla="*/ 235 w 235"/>
                <a:gd name="T57" fmla="*/ 266 h 320"/>
                <a:gd name="T58" fmla="*/ 224 w 235"/>
                <a:gd name="T59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5" h="320">
                  <a:moveTo>
                    <a:pt x="25" y="189"/>
                  </a:moveTo>
                  <a:cubicBezTo>
                    <a:pt x="21" y="184"/>
                    <a:pt x="21" y="178"/>
                    <a:pt x="25" y="173"/>
                  </a:cubicBezTo>
                  <a:cubicBezTo>
                    <a:pt x="29" y="169"/>
                    <a:pt x="36" y="169"/>
                    <a:pt x="40" y="173"/>
                  </a:cubicBezTo>
                  <a:cubicBezTo>
                    <a:pt x="107" y="241"/>
                    <a:pt x="107" y="241"/>
                    <a:pt x="107" y="241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12" y="0"/>
                    <a:pt x="118" y="0"/>
                  </a:cubicBezTo>
                  <a:cubicBezTo>
                    <a:pt x="124" y="0"/>
                    <a:pt x="128" y="4"/>
                    <a:pt x="128" y="10"/>
                  </a:cubicBezTo>
                  <a:cubicBezTo>
                    <a:pt x="128" y="241"/>
                    <a:pt x="128" y="241"/>
                    <a:pt x="128" y="241"/>
                  </a:cubicBezTo>
                  <a:cubicBezTo>
                    <a:pt x="195" y="173"/>
                    <a:pt x="195" y="173"/>
                    <a:pt x="195" y="173"/>
                  </a:cubicBezTo>
                  <a:cubicBezTo>
                    <a:pt x="200" y="169"/>
                    <a:pt x="206" y="169"/>
                    <a:pt x="211" y="173"/>
                  </a:cubicBezTo>
                  <a:cubicBezTo>
                    <a:pt x="215" y="178"/>
                    <a:pt x="215" y="184"/>
                    <a:pt x="211" y="189"/>
                  </a:cubicBezTo>
                  <a:cubicBezTo>
                    <a:pt x="125" y="274"/>
                    <a:pt x="125" y="274"/>
                    <a:pt x="125" y="274"/>
                  </a:cubicBezTo>
                  <a:cubicBezTo>
                    <a:pt x="124" y="275"/>
                    <a:pt x="123" y="276"/>
                    <a:pt x="122" y="276"/>
                  </a:cubicBezTo>
                  <a:cubicBezTo>
                    <a:pt x="120" y="277"/>
                    <a:pt x="119" y="277"/>
                    <a:pt x="118" y="277"/>
                  </a:cubicBezTo>
                  <a:cubicBezTo>
                    <a:pt x="116" y="277"/>
                    <a:pt x="115" y="277"/>
                    <a:pt x="114" y="276"/>
                  </a:cubicBezTo>
                  <a:cubicBezTo>
                    <a:pt x="112" y="276"/>
                    <a:pt x="111" y="275"/>
                    <a:pt x="110" y="274"/>
                  </a:cubicBezTo>
                  <a:lnTo>
                    <a:pt x="25" y="189"/>
                  </a:lnTo>
                  <a:close/>
                  <a:moveTo>
                    <a:pt x="224" y="256"/>
                  </a:moveTo>
                  <a:cubicBezTo>
                    <a:pt x="218" y="256"/>
                    <a:pt x="214" y="260"/>
                    <a:pt x="214" y="266"/>
                  </a:cubicBezTo>
                  <a:cubicBezTo>
                    <a:pt x="214" y="298"/>
                    <a:pt x="214" y="298"/>
                    <a:pt x="214" y="298"/>
                  </a:cubicBezTo>
                  <a:cubicBezTo>
                    <a:pt x="22" y="298"/>
                    <a:pt x="22" y="298"/>
                    <a:pt x="22" y="29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22" y="260"/>
                    <a:pt x="17" y="256"/>
                    <a:pt x="11" y="256"/>
                  </a:cubicBezTo>
                  <a:cubicBezTo>
                    <a:pt x="5" y="256"/>
                    <a:pt x="0" y="260"/>
                    <a:pt x="0" y="26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266"/>
                    <a:pt x="235" y="266"/>
                    <a:pt x="235" y="266"/>
                  </a:cubicBezTo>
                  <a:cubicBezTo>
                    <a:pt x="235" y="260"/>
                    <a:pt x="230" y="256"/>
                    <a:pt x="224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1455931" y="336366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fresh</a:t>
            </a:r>
          </a:p>
        </p:txBody>
      </p:sp>
      <p:grpSp>
        <p:nvGrpSpPr>
          <p:cNvPr id="61" name="Group 577"/>
          <p:cNvGrpSpPr>
            <a:grpSpLocks noChangeAspect="1"/>
          </p:cNvGrpSpPr>
          <p:nvPr/>
        </p:nvGrpSpPr>
        <p:grpSpPr bwMode="auto">
          <a:xfrm>
            <a:off x="1932393" y="2923369"/>
            <a:ext cx="369021" cy="369021"/>
            <a:chOff x="7356" y="2314"/>
            <a:chExt cx="340" cy="340"/>
          </a:xfrm>
          <a:solidFill>
            <a:schemeClr val="accent1"/>
          </a:solidFill>
        </p:grpSpPr>
        <p:sp>
          <p:nvSpPr>
            <p:cNvPr id="62" name="Freeform 578"/>
            <p:cNvSpPr>
              <a:spLocks/>
            </p:cNvSpPr>
            <p:nvPr/>
          </p:nvSpPr>
          <p:spPr bwMode="auto">
            <a:xfrm>
              <a:off x="7441" y="2399"/>
              <a:ext cx="177" cy="170"/>
            </a:xfrm>
            <a:custGeom>
              <a:avLst/>
              <a:gdLst>
                <a:gd name="T0" fmla="*/ 266 w 266"/>
                <a:gd name="T1" fmla="*/ 213 h 256"/>
                <a:gd name="T2" fmla="*/ 256 w 266"/>
                <a:gd name="T3" fmla="*/ 224 h 256"/>
                <a:gd name="T4" fmla="*/ 202 w 266"/>
                <a:gd name="T5" fmla="*/ 224 h 256"/>
                <a:gd name="T6" fmla="*/ 192 w 266"/>
                <a:gd name="T7" fmla="*/ 213 h 256"/>
                <a:gd name="T8" fmla="*/ 192 w 266"/>
                <a:gd name="T9" fmla="*/ 160 h 256"/>
                <a:gd name="T10" fmla="*/ 202 w 266"/>
                <a:gd name="T11" fmla="*/ 149 h 256"/>
                <a:gd name="T12" fmla="*/ 213 w 266"/>
                <a:gd name="T13" fmla="*/ 160 h 256"/>
                <a:gd name="T14" fmla="*/ 213 w 266"/>
                <a:gd name="T15" fmla="*/ 192 h 256"/>
                <a:gd name="T16" fmla="*/ 234 w 266"/>
                <a:gd name="T17" fmla="*/ 128 h 256"/>
                <a:gd name="T18" fmla="*/ 128 w 266"/>
                <a:gd name="T19" fmla="*/ 21 h 256"/>
                <a:gd name="T20" fmla="*/ 21 w 266"/>
                <a:gd name="T21" fmla="*/ 128 h 256"/>
                <a:gd name="T22" fmla="*/ 128 w 266"/>
                <a:gd name="T23" fmla="*/ 234 h 256"/>
                <a:gd name="T24" fmla="*/ 138 w 266"/>
                <a:gd name="T25" fmla="*/ 245 h 256"/>
                <a:gd name="T26" fmla="*/ 128 w 266"/>
                <a:gd name="T27" fmla="*/ 256 h 256"/>
                <a:gd name="T28" fmla="*/ 0 w 266"/>
                <a:gd name="T29" fmla="*/ 128 h 256"/>
                <a:gd name="T30" fmla="*/ 128 w 266"/>
                <a:gd name="T31" fmla="*/ 0 h 256"/>
                <a:gd name="T32" fmla="*/ 256 w 266"/>
                <a:gd name="T33" fmla="*/ 128 h 256"/>
                <a:gd name="T34" fmla="*/ 231 w 266"/>
                <a:gd name="T35" fmla="*/ 202 h 256"/>
                <a:gd name="T36" fmla="*/ 256 w 266"/>
                <a:gd name="T37" fmla="*/ 202 h 256"/>
                <a:gd name="T38" fmla="*/ 266 w 266"/>
                <a:gd name="T39" fmla="*/ 21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6" h="256">
                  <a:moveTo>
                    <a:pt x="266" y="213"/>
                  </a:moveTo>
                  <a:cubicBezTo>
                    <a:pt x="266" y="219"/>
                    <a:pt x="262" y="224"/>
                    <a:pt x="256" y="224"/>
                  </a:cubicBezTo>
                  <a:cubicBezTo>
                    <a:pt x="202" y="224"/>
                    <a:pt x="202" y="224"/>
                    <a:pt x="202" y="224"/>
                  </a:cubicBezTo>
                  <a:cubicBezTo>
                    <a:pt x="196" y="224"/>
                    <a:pt x="192" y="219"/>
                    <a:pt x="192" y="213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2" y="154"/>
                    <a:pt x="196" y="149"/>
                    <a:pt x="202" y="149"/>
                  </a:cubicBezTo>
                  <a:cubicBezTo>
                    <a:pt x="208" y="149"/>
                    <a:pt x="213" y="154"/>
                    <a:pt x="213" y="160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27" y="173"/>
                    <a:pt x="234" y="151"/>
                    <a:pt x="234" y="128"/>
                  </a:cubicBezTo>
                  <a:cubicBezTo>
                    <a:pt x="234" y="69"/>
                    <a:pt x="186" y="21"/>
                    <a:pt x="128" y="21"/>
                  </a:cubicBezTo>
                  <a:cubicBezTo>
                    <a:pt x="69" y="21"/>
                    <a:pt x="21" y="69"/>
                    <a:pt x="21" y="128"/>
                  </a:cubicBezTo>
                  <a:cubicBezTo>
                    <a:pt x="21" y="186"/>
                    <a:pt x="69" y="234"/>
                    <a:pt x="128" y="234"/>
                  </a:cubicBezTo>
                  <a:cubicBezTo>
                    <a:pt x="134" y="234"/>
                    <a:pt x="138" y="239"/>
                    <a:pt x="138" y="245"/>
                  </a:cubicBezTo>
                  <a:cubicBezTo>
                    <a:pt x="138" y="251"/>
                    <a:pt x="134" y="256"/>
                    <a:pt x="128" y="256"/>
                  </a:cubicBezTo>
                  <a:cubicBezTo>
                    <a:pt x="57" y="256"/>
                    <a:pt x="0" y="198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8" y="0"/>
                    <a:pt x="256" y="57"/>
                    <a:pt x="256" y="128"/>
                  </a:cubicBezTo>
                  <a:cubicBezTo>
                    <a:pt x="256" y="155"/>
                    <a:pt x="247" y="181"/>
                    <a:pt x="231" y="202"/>
                  </a:cubicBezTo>
                  <a:cubicBezTo>
                    <a:pt x="256" y="202"/>
                    <a:pt x="256" y="202"/>
                    <a:pt x="256" y="202"/>
                  </a:cubicBezTo>
                  <a:cubicBezTo>
                    <a:pt x="262" y="202"/>
                    <a:pt x="266" y="207"/>
                    <a:pt x="266" y="2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79"/>
            <p:cNvSpPr>
              <a:spLocks noEditPoints="1"/>
            </p:cNvSpPr>
            <p:nvPr/>
          </p:nvSpPr>
          <p:spPr bwMode="auto">
            <a:xfrm>
              <a:off x="7356" y="231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4" name="Freeform 583"/>
          <p:cNvSpPr>
            <a:spLocks noChangeAspect="1" noEditPoints="1"/>
          </p:cNvSpPr>
          <p:nvPr/>
        </p:nvSpPr>
        <p:spPr bwMode="auto">
          <a:xfrm>
            <a:off x="1435194" y="2923369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52 h 512"/>
              <a:gd name="T12" fmla="*/ 330 w 512"/>
              <a:gd name="T13" fmla="*/ 352 h 512"/>
              <a:gd name="T14" fmla="*/ 320 w 512"/>
              <a:gd name="T15" fmla="*/ 341 h 512"/>
              <a:gd name="T16" fmla="*/ 320 w 512"/>
              <a:gd name="T17" fmla="*/ 288 h 512"/>
              <a:gd name="T18" fmla="*/ 330 w 512"/>
              <a:gd name="T19" fmla="*/ 277 h 512"/>
              <a:gd name="T20" fmla="*/ 341 w 512"/>
              <a:gd name="T21" fmla="*/ 288 h 512"/>
              <a:gd name="T22" fmla="*/ 341 w 512"/>
              <a:gd name="T23" fmla="*/ 320 h 512"/>
              <a:gd name="T24" fmla="*/ 362 w 512"/>
              <a:gd name="T25" fmla="*/ 256 h 512"/>
              <a:gd name="T26" fmla="*/ 256 w 512"/>
              <a:gd name="T27" fmla="*/ 149 h 512"/>
              <a:gd name="T28" fmla="*/ 149 w 512"/>
              <a:gd name="T29" fmla="*/ 256 h 512"/>
              <a:gd name="T30" fmla="*/ 256 w 512"/>
              <a:gd name="T31" fmla="*/ 362 h 512"/>
              <a:gd name="T32" fmla="*/ 266 w 512"/>
              <a:gd name="T33" fmla="*/ 373 h 512"/>
              <a:gd name="T34" fmla="*/ 256 w 512"/>
              <a:gd name="T35" fmla="*/ 384 h 512"/>
              <a:gd name="T36" fmla="*/ 128 w 512"/>
              <a:gd name="T37" fmla="*/ 256 h 512"/>
              <a:gd name="T38" fmla="*/ 256 w 512"/>
              <a:gd name="T39" fmla="*/ 128 h 512"/>
              <a:gd name="T40" fmla="*/ 384 w 512"/>
              <a:gd name="T41" fmla="*/ 256 h 512"/>
              <a:gd name="T42" fmla="*/ 359 w 512"/>
              <a:gd name="T43" fmla="*/ 330 h 512"/>
              <a:gd name="T44" fmla="*/ 384 w 512"/>
              <a:gd name="T45" fmla="*/ 330 h 512"/>
              <a:gd name="T46" fmla="*/ 394 w 512"/>
              <a:gd name="T47" fmla="*/ 341 h 512"/>
              <a:gd name="T48" fmla="*/ 384 w 512"/>
              <a:gd name="T49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52"/>
                </a:moveTo>
                <a:cubicBezTo>
                  <a:pt x="330" y="352"/>
                  <a:pt x="330" y="352"/>
                  <a:pt x="330" y="352"/>
                </a:cubicBezTo>
                <a:cubicBezTo>
                  <a:pt x="324" y="352"/>
                  <a:pt x="320" y="347"/>
                  <a:pt x="320" y="341"/>
                </a:cubicBezTo>
                <a:cubicBezTo>
                  <a:pt x="320" y="288"/>
                  <a:pt x="320" y="288"/>
                  <a:pt x="320" y="288"/>
                </a:cubicBezTo>
                <a:cubicBezTo>
                  <a:pt x="320" y="282"/>
                  <a:pt x="324" y="277"/>
                  <a:pt x="330" y="277"/>
                </a:cubicBezTo>
                <a:cubicBezTo>
                  <a:pt x="336" y="277"/>
                  <a:pt x="341" y="282"/>
                  <a:pt x="341" y="288"/>
                </a:cubicBezTo>
                <a:cubicBezTo>
                  <a:pt x="341" y="320"/>
                  <a:pt x="341" y="320"/>
                  <a:pt x="341" y="320"/>
                </a:cubicBezTo>
                <a:cubicBezTo>
                  <a:pt x="355" y="301"/>
                  <a:pt x="362" y="279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314"/>
                  <a:pt x="197" y="362"/>
                  <a:pt x="256" y="362"/>
                </a:cubicBezTo>
                <a:cubicBezTo>
                  <a:pt x="262" y="362"/>
                  <a:pt x="266" y="367"/>
                  <a:pt x="266" y="373"/>
                </a:cubicBezTo>
                <a:cubicBezTo>
                  <a:pt x="266" y="379"/>
                  <a:pt x="262" y="384"/>
                  <a:pt x="256" y="384"/>
                </a:cubicBezTo>
                <a:cubicBezTo>
                  <a:pt x="185" y="384"/>
                  <a:pt x="128" y="326"/>
                  <a:pt x="128" y="256"/>
                </a:cubicBezTo>
                <a:cubicBezTo>
                  <a:pt x="128" y="185"/>
                  <a:pt x="185" y="128"/>
                  <a:pt x="256" y="128"/>
                </a:cubicBezTo>
                <a:cubicBezTo>
                  <a:pt x="326" y="128"/>
                  <a:pt x="384" y="185"/>
                  <a:pt x="384" y="256"/>
                </a:cubicBezTo>
                <a:cubicBezTo>
                  <a:pt x="384" y="283"/>
                  <a:pt x="375" y="309"/>
                  <a:pt x="359" y="330"/>
                </a:cubicBezTo>
                <a:cubicBezTo>
                  <a:pt x="384" y="330"/>
                  <a:pt x="384" y="330"/>
                  <a:pt x="384" y="330"/>
                </a:cubicBezTo>
                <a:cubicBezTo>
                  <a:pt x="390" y="330"/>
                  <a:pt x="394" y="335"/>
                  <a:pt x="394" y="341"/>
                </a:cubicBezTo>
                <a:cubicBezTo>
                  <a:pt x="394" y="347"/>
                  <a:pt x="390" y="352"/>
                  <a:pt x="384" y="3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" name="TextBox 64"/>
          <p:cNvSpPr txBox="1"/>
          <p:nvPr/>
        </p:nvSpPr>
        <p:spPr>
          <a:xfrm>
            <a:off x="7435592" y="246440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uffle</a:t>
            </a:r>
          </a:p>
        </p:txBody>
      </p:sp>
      <p:grpSp>
        <p:nvGrpSpPr>
          <p:cNvPr id="66" name="Group 977"/>
          <p:cNvGrpSpPr>
            <a:grpSpLocks noChangeAspect="1"/>
          </p:cNvGrpSpPr>
          <p:nvPr/>
        </p:nvGrpSpPr>
        <p:grpSpPr bwMode="auto">
          <a:xfrm>
            <a:off x="7915565" y="2051051"/>
            <a:ext cx="369021" cy="370106"/>
            <a:chOff x="5095" y="4001"/>
            <a:chExt cx="340" cy="341"/>
          </a:xfrm>
          <a:solidFill>
            <a:schemeClr val="accent5"/>
          </a:solidFill>
        </p:grpSpPr>
        <p:sp>
          <p:nvSpPr>
            <p:cNvPr id="67" name="Freeform 978"/>
            <p:cNvSpPr>
              <a:spLocks/>
            </p:cNvSpPr>
            <p:nvPr/>
          </p:nvSpPr>
          <p:spPr bwMode="auto">
            <a:xfrm>
              <a:off x="5159" y="4086"/>
              <a:ext cx="212" cy="171"/>
            </a:xfrm>
            <a:custGeom>
              <a:avLst/>
              <a:gdLst>
                <a:gd name="T0" fmla="*/ 259 w 320"/>
                <a:gd name="T1" fmla="*/ 90 h 257"/>
                <a:gd name="T2" fmla="*/ 284 w 320"/>
                <a:gd name="T3" fmla="*/ 65 h 257"/>
                <a:gd name="T4" fmla="*/ 256 w 320"/>
                <a:gd name="T5" fmla="*/ 65 h 257"/>
                <a:gd name="T6" fmla="*/ 191 w 320"/>
                <a:gd name="T7" fmla="*/ 110 h 257"/>
                <a:gd name="T8" fmla="*/ 179 w 320"/>
                <a:gd name="T9" fmla="*/ 124 h 257"/>
                <a:gd name="T10" fmla="*/ 174 w 320"/>
                <a:gd name="T11" fmla="*/ 129 h 257"/>
                <a:gd name="T12" fmla="*/ 179 w 320"/>
                <a:gd name="T13" fmla="*/ 135 h 257"/>
                <a:gd name="T14" fmla="*/ 191 w 320"/>
                <a:gd name="T15" fmla="*/ 149 h 257"/>
                <a:gd name="T16" fmla="*/ 256 w 320"/>
                <a:gd name="T17" fmla="*/ 193 h 257"/>
                <a:gd name="T18" fmla="*/ 284 w 320"/>
                <a:gd name="T19" fmla="*/ 193 h 257"/>
                <a:gd name="T20" fmla="*/ 259 w 320"/>
                <a:gd name="T21" fmla="*/ 169 h 257"/>
                <a:gd name="T22" fmla="*/ 259 w 320"/>
                <a:gd name="T23" fmla="*/ 154 h 257"/>
                <a:gd name="T24" fmla="*/ 274 w 320"/>
                <a:gd name="T25" fmla="*/ 154 h 257"/>
                <a:gd name="T26" fmla="*/ 317 w 320"/>
                <a:gd name="T27" fmla="*/ 196 h 257"/>
                <a:gd name="T28" fmla="*/ 319 w 320"/>
                <a:gd name="T29" fmla="*/ 200 h 257"/>
                <a:gd name="T30" fmla="*/ 319 w 320"/>
                <a:gd name="T31" fmla="*/ 208 h 257"/>
                <a:gd name="T32" fmla="*/ 317 w 320"/>
                <a:gd name="T33" fmla="*/ 212 h 257"/>
                <a:gd name="T34" fmla="*/ 274 w 320"/>
                <a:gd name="T35" fmla="*/ 254 h 257"/>
                <a:gd name="T36" fmla="*/ 267 w 320"/>
                <a:gd name="T37" fmla="*/ 257 h 257"/>
                <a:gd name="T38" fmla="*/ 259 w 320"/>
                <a:gd name="T39" fmla="*/ 254 h 257"/>
                <a:gd name="T40" fmla="*/ 259 w 320"/>
                <a:gd name="T41" fmla="*/ 239 h 257"/>
                <a:gd name="T42" fmla="*/ 284 w 320"/>
                <a:gd name="T43" fmla="*/ 215 h 257"/>
                <a:gd name="T44" fmla="*/ 256 w 320"/>
                <a:gd name="T45" fmla="*/ 215 h 257"/>
                <a:gd name="T46" fmla="*/ 174 w 320"/>
                <a:gd name="T47" fmla="*/ 162 h 257"/>
                <a:gd name="T48" fmla="*/ 163 w 320"/>
                <a:gd name="T49" fmla="*/ 149 h 257"/>
                <a:gd name="T50" fmla="*/ 160 w 320"/>
                <a:gd name="T51" fmla="*/ 146 h 257"/>
                <a:gd name="T52" fmla="*/ 157 w 320"/>
                <a:gd name="T53" fmla="*/ 149 h 257"/>
                <a:gd name="T54" fmla="*/ 146 w 320"/>
                <a:gd name="T55" fmla="*/ 162 h 257"/>
                <a:gd name="T56" fmla="*/ 64 w 320"/>
                <a:gd name="T57" fmla="*/ 215 h 257"/>
                <a:gd name="T58" fmla="*/ 11 w 320"/>
                <a:gd name="T59" fmla="*/ 215 h 257"/>
                <a:gd name="T60" fmla="*/ 0 w 320"/>
                <a:gd name="T61" fmla="*/ 204 h 257"/>
                <a:gd name="T62" fmla="*/ 11 w 320"/>
                <a:gd name="T63" fmla="*/ 193 h 257"/>
                <a:gd name="T64" fmla="*/ 64 w 320"/>
                <a:gd name="T65" fmla="*/ 193 h 257"/>
                <a:gd name="T66" fmla="*/ 129 w 320"/>
                <a:gd name="T67" fmla="*/ 149 h 257"/>
                <a:gd name="T68" fmla="*/ 141 w 320"/>
                <a:gd name="T69" fmla="*/ 134 h 257"/>
                <a:gd name="T70" fmla="*/ 146 w 320"/>
                <a:gd name="T71" fmla="*/ 129 h 257"/>
                <a:gd name="T72" fmla="*/ 141 w 320"/>
                <a:gd name="T73" fmla="*/ 124 h 257"/>
                <a:gd name="T74" fmla="*/ 129 w 320"/>
                <a:gd name="T75" fmla="*/ 110 h 257"/>
                <a:gd name="T76" fmla="*/ 64 w 320"/>
                <a:gd name="T77" fmla="*/ 65 h 257"/>
                <a:gd name="T78" fmla="*/ 11 w 320"/>
                <a:gd name="T79" fmla="*/ 65 h 257"/>
                <a:gd name="T80" fmla="*/ 0 w 320"/>
                <a:gd name="T81" fmla="*/ 55 h 257"/>
                <a:gd name="T82" fmla="*/ 11 w 320"/>
                <a:gd name="T83" fmla="*/ 44 h 257"/>
                <a:gd name="T84" fmla="*/ 64 w 320"/>
                <a:gd name="T85" fmla="*/ 44 h 257"/>
                <a:gd name="T86" fmla="*/ 146 w 320"/>
                <a:gd name="T87" fmla="*/ 96 h 257"/>
                <a:gd name="T88" fmla="*/ 157 w 320"/>
                <a:gd name="T89" fmla="*/ 110 h 257"/>
                <a:gd name="T90" fmla="*/ 160 w 320"/>
                <a:gd name="T91" fmla="*/ 113 h 257"/>
                <a:gd name="T92" fmla="*/ 163 w 320"/>
                <a:gd name="T93" fmla="*/ 110 h 257"/>
                <a:gd name="T94" fmla="*/ 174 w 320"/>
                <a:gd name="T95" fmla="*/ 96 h 257"/>
                <a:gd name="T96" fmla="*/ 256 w 320"/>
                <a:gd name="T97" fmla="*/ 44 h 257"/>
                <a:gd name="T98" fmla="*/ 284 w 320"/>
                <a:gd name="T99" fmla="*/ 44 h 257"/>
                <a:gd name="T100" fmla="*/ 259 w 320"/>
                <a:gd name="T101" fmla="*/ 20 h 257"/>
                <a:gd name="T102" fmla="*/ 259 w 320"/>
                <a:gd name="T103" fmla="*/ 4 h 257"/>
                <a:gd name="T104" fmla="*/ 274 w 320"/>
                <a:gd name="T105" fmla="*/ 4 h 257"/>
                <a:gd name="T106" fmla="*/ 317 w 320"/>
                <a:gd name="T107" fmla="*/ 47 h 257"/>
                <a:gd name="T108" fmla="*/ 319 w 320"/>
                <a:gd name="T109" fmla="*/ 51 h 257"/>
                <a:gd name="T110" fmla="*/ 319 w 320"/>
                <a:gd name="T111" fmla="*/ 59 h 257"/>
                <a:gd name="T112" fmla="*/ 317 w 320"/>
                <a:gd name="T113" fmla="*/ 62 h 257"/>
                <a:gd name="T114" fmla="*/ 274 w 320"/>
                <a:gd name="T115" fmla="*/ 105 h 257"/>
                <a:gd name="T116" fmla="*/ 267 w 320"/>
                <a:gd name="T117" fmla="*/ 108 h 257"/>
                <a:gd name="T118" fmla="*/ 259 w 320"/>
                <a:gd name="T119" fmla="*/ 105 h 257"/>
                <a:gd name="T120" fmla="*/ 259 w 320"/>
                <a:gd name="T121" fmla="*/ 9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0" h="257">
                  <a:moveTo>
                    <a:pt x="259" y="90"/>
                  </a:moveTo>
                  <a:cubicBezTo>
                    <a:pt x="284" y="65"/>
                    <a:pt x="284" y="65"/>
                    <a:pt x="284" y="65"/>
                  </a:cubicBezTo>
                  <a:cubicBezTo>
                    <a:pt x="256" y="65"/>
                    <a:pt x="256" y="65"/>
                    <a:pt x="256" y="65"/>
                  </a:cubicBezTo>
                  <a:cubicBezTo>
                    <a:pt x="225" y="65"/>
                    <a:pt x="207" y="89"/>
                    <a:pt x="191" y="110"/>
                  </a:cubicBezTo>
                  <a:cubicBezTo>
                    <a:pt x="186" y="115"/>
                    <a:pt x="182" y="120"/>
                    <a:pt x="179" y="124"/>
                  </a:cubicBezTo>
                  <a:cubicBezTo>
                    <a:pt x="174" y="129"/>
                    <a:pt x="174" y="129"/>
                    <a:pt x="174" y="129"/>
                  </a:cubicBezTo>
                  <a:cubicBezTo>
                    <a:pt x="179" y="135"/>
                    <a:pt x="179" y="135"/>
                    <a:pt x="179" y="135"/>
                  </a:cubicBezTo>
                  <a:cubicBezTo>
                    <a:pt x="182" y="139"/>
                    <a:pt x="186" y="144"/>
                    <a:pt x="191" y="149"/>
                  </a:cubicBezTo>
                  <a:cubicBezTo>
                    <a:pt x="207" y="170"/>
                    <a:pt x="225" y="193"/>
                    <a:pt x="256" y="193"/>
                  </a:cubicBezTo>
                  <a:cubicBezTo>
                    <a:pt x="284" y="193"/>
                    <a:pt x="284" y="193"/>
                    <a:pt x="284" y="193"/>
                  </a:cubicBezTo>
                  <a:cubicBezTo>
                    <a:pt x="259" y="169"/>
                    <a:pt x="259" y="169"/>
                    <a:pt x="259" y="169"/>
                  </a:cubicBezTo>
                  <a:cubicBezTo>
                    <a:pt x="255" y="165"/>
                    <a:pt x="255" y="158"/>
                    <a:pt x="259" y="154"/>
                  </a:cubicBezTo>
                  <a:cubicBezTo>
                    <a:pt x="263" y="150"/>
                    <a:pt x="270" y="150"/>
                    <a:pt x="274" y="154"/>
                  </a:cubicBezTo>
                  <a:cubicBezTo>
                    <a:pt x="317" y="196"/>
                    <a:pt x="317" y="196"/>
                    <a:pt x="317" y="196"/>
                  </a:cubicBezTo>
                  <a:cubicBezTo>
                    <a:pt x="318" y="197"/>
                    <a:pt x="319" y="199"/>
                    <a:pt x="319" y="200"/>
                  </a:cubicBezTo>
                  <a:cubicBezTo>
                    <a:pt x="320" y="203"/>
                    <a:pt x="320" y="205"/>
                    <a:pt x="319" y="208"/>
                  </a:cubicBezTo>
                  <a:cubicBezTo>
                    <a:pt x="319" y="209"/>
                    <a:pt x="318" y="211"/>
                    <a:pt x="317" y="212"/>
                  </a:cubicBezTo>
                  <a:cubicBezTo>
                    <a:pt x="274" y="254"/>
                    <a:pt x="274" y="254"/>
                    <a:pt x="274" y="254"/>
                  </a:cubicBezTo>
                  <a:cubicBezTo>
                    <a:pt x="272" y="256"/>
                    <a:pt x="269" y="257"/>
                    <a:pt x="267" y="257"/>
                  </a:cubicBezTo>
                  <a:cubicBezTo>
                    <a:pt x="264" y="257"/>
                    <a:pt x="261" y="256"/>
                    <a:pt x="259" y="254"/>
                  </a:cubicBezTo>
                  <a:cubicBezTo>
                    <a:pt x="255" y="250"/>
                    <a:pt x="255" y="243"/>
                    <a:pt x="259" y="239"/>
                  </a:cubicBezTo>
                  <a:cubicBezTo>
                    <a:pt x="284" y="215"/>
                    <a:pt x="284" y="215"/>
                    <a:pt x="284" y="215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15" y="215"/>
                    <a:pt x="191" y="184"/>
                    <a:pt x="174" y="162"/>
                  </a:cubicBezTo>
                  <a:cubicBezTo>
                    <a:pt x="170" y="157"/>
                    <a:pt x="166" y="153"/>
                    <a:pt x="163" y="149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4" y="153"/>
                    <a:pt x="150" y="157"/>
                    <a:pt x="146" y="162"/>
                  </a:cubicBezTo>
                  <a:cubicBezTo>
                    <a:pt x="129" y="184"/>
                    <a:pt x="105" y="215"/>
                    <a:pt x="64" y="215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5" y="215"/>
                    <a:pt x="0" y="210"/>
                    <a:pt x="0" y="204"/>
                  </a:cubicBezTo>
                  <a:cubicBezTo>
                    <a:pt x="0" y="198"/>
                    <a:pt x="5" y="193"/>
                    <a:pt x="11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95" y="193"/>
                    <a:pt x="113" y="170"/>
                    <a:pt x="129" y="149"/>
                  </a:cubicBezTo>
                  <a:cubicBezTo>
                    <a:pt x="134" y="144"/>
                    <a:pt x="138" y="139"/>
                    <a:pt x="141" y="134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1" y="124"/>
                    <a:pt x="141" y="124"/>
                    <a:pt x="141" y="124"/>
                  </a:cubicBezTo>
                  <a:cubicBezTo>
                    <a:pt x="138" y="120"/>
                    <a:pt x="134" y="115"/>
                    <a:pt x="129" y="110"/>
                  </a:cubicBezTo>
                  <a:cubicBezTo>
                    <a:pt x="113" y="89"/>
                    <a:pt x="95" y="65"/>
                    <a:pt x="64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5" y="65"/>
                    <a:pt x="0" y="61"/>
                    <a:pt x="0" y="55"/>
                  </a:cubicBezTo>
                  <a:cubicBezTo>
                    <a:pt x="0" y="49"/>
                    <a:pt x="5" y="44"/>
                    <a:pt x="11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105" y="44"/>
                    <a:pt x="129" y="74"/>
                    <a:pt x="146" y="96"/>
                  </a:cubicBezTo>
                  <a:cubicBezTo>
                    <a:pt x="150" y="101"/>
                    <a:pt x="154" y="106"/>
                    <a:pt x="157" y="110"/>
                  </a:cubicBezTo>
                  <a:cubicBezTo>
                    <a:pt x="160" y="113"/>
                    <a:pt x="160" y="113"/>
                    <a:pt x="160" y="113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6" y="106"/>
                    <a:pt x="170" y="101"/>
                    <a:pt x="174" y="96"/>
                  </a:cubicBezTo>
                  <a:cubicBezTo>
                    <a:pt x="191" y="74"/>
                    <a:pt x="215" y="44"/>
                    <a:pt x="256" y="44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59" y="20"/>
                    <a:pt x="259" y="20"/>
                    <a:pt x="259" y="20"/>
                  </a:cubicBezTo>
                  <a:cubicBezTo>
                    <a:pt x="255" y="15"/>
                    <a:pt x="255" y="9"/>
                    <a:pt x="259" y="4"/>
                  </a:cubicBezTo>
                  <a:cubicBezTo>
                    <a:pt x="263" y="0"/>
                    <a:pt x="270" y="0"/>
                    <a:pt x="274" y="4"/>
                  </a:cubicBezTo>
                  <a:cubicBezTo>
                    <a:pt x="317" y="47"/>
                    <a:pt x="317" y="47"/>
                    <a:pt x="317" y="47"/>
                  </a:cubicBezTo>
                  <a:cubicBezTo>
                    <a:pt x="318" y="48"/>
                    <a:pt x="319" y="49"/>
                    <a:pt x="319" y="51"/>
                  </a:cubicBezTo>
                  <a:cubicBezTo>
                    <a:pt x="320" y="53"/>
                    <a:pt x="320" y="56"/>
                    <a:pt x="319" y="59"/>
                  </a:cubicBezTo>
                  <a:cubicBezTo>
                    <a:pt x="319" y="60"/>
                    <a:pt x="318" y="61"/>
                    <a:pt x="317" y="62"/>
                  </a:cubicBezTo>
                  <a:cubicBezTo>
                    <a:pt x="274" y="105"/>
                    <a:pt x="274" y="105"/>
                    <a:pt x="274" y="105"/>
                  </a:cubicBezTo>
                  <a:cubicBezTo>
                    <a:pt x="272" y="107"/>
                    <a:pt x="269" y="108"/>
                    <a:pt x="267" y="108"/>
                  </a:cubicBezTo>
                  <a:cubicBezTo>
                    <a:pt x="264" y="108"/>
                    <a:pt x="261" y="107"/>
                    <a:pt x="259" y="105"/>
                  </a:cubicBezTo>
                  <a:cubicBezTo>
                    <a:pt x="255" y="101"/>
                    <a:pt x="255" y="94"/>
                    <a:pt x="259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979"/>
            <p:cNvSpPr>
              <a:spLocks noEditPoints="1"/>
            </p:cNvSpPr>
            <p:nvPr/>
          </p:nvSpPr>
          <p:spPr bwMode="auto">
            <a:xfrm>
              <a:off x="5095" y="4001"/>
              <a:ext cx="340" cy="34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1 h 512"/>
                <a:gd name="T12" fmla="*/ 21 w 512"/>
                <a:gd name="T13" fmla="*/ 256 h 512"/>
                <a:gd name="T14" fmla="*/ 256 w 512"/>
                <a:gd name="T15" fmla="*/ 22 h 512"/>
                <a:gd name="T16" fmla="*/ 491 w 512"/>
                <a:gd name="T17" fmla="*/ 256 h 512"/>
                <a:gd name="T18" fmla="*/ 256 w 512"/>
                <a:gd name="T19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256" y="491"/>
                  </a:move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9" name="Freeform 983"/>
          <p:cNvSpPr>
            <a:spLocks noChangeAspect="1" noEditPoints="1"/>
          </p:cNvSpPr>
          <p:nvPr/>
        </p:nvSpPr>
        <p:spPr bwMode="auto">
          <a:xfrm>
            <a:off x="7416207" y="2051054"/>
            <a:ext cx="370106" cy="36902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52 w 512"/>
              <a:gd name="T5" fmla="*/ 192 h 512"/>
              <a:gd name="T6" fmla="*/ 275 w 512"/>
              <a:gd name="T7" fmla="*/ 251 h 512"/>
              <a:gd name="T8" fmla="*/ 275 w 512"/>
              <a:gd name="T9" fmla="*/ 262 h 512"/>
              <a:gd name="T10" fmla="*/ 352 w 512"/>
              <a:gd name="T11" fmla="*/ 320 h 512"/>
              <a:gd name="T12" fmla="*/ 355 w 512"/>
              <a:gd name="T13" fmla="*/ 296 h 512"/>
              <a:gd name="T14" fmla="*/ 370 w 512"/>
              <a:gd name="T15" fmla="*/ 281 h 512"/>
              <a:gd name="T16" fmla="*/ 415 w 512"/>
              <a:gd name="T17" fmla="*/ 327 h 512"/>
              <a:gd name="T18" fmla="*/ 413 w 512"/>
              <a:gd name="T19" fmla="*/ 339 h 512"/>
              <a:gd name="T20" fmla="*/ 363 w 512"/>
              <a:gd name="T21" fmla="*/ 384 h 512"/>
              <a:gd name="T22" fmla="*/ 355 w 512"/>
              <a:gd name="T23" fmla="*/ 366 h 512"/>
              <a:gd name="T24" fmla="*/ 352 w 512"/>
              <a:gd name="T25" fmla="*/ 342 h 512"/>
              <a:gd name="T26" fmla="*/ 259 w 512"/>
              <a:gd name="T27" fmla="*/ 276 h 512"/>
              <a:gd name="T28" fmla="*/ 253 w 512"/>
              <a:gd name="T29" fmla="*/ 276 h 512"/>
              <a:gd name="T30" fmla="*/ 160 w 512"/>
              <a:gd name="T31" fmla="*/ 342 h 512"/>
              <a:gd name="T32" fmla="*/ 96 w 512"/>
              <a:gd name="T33" fmla="*/ 331 h 512"/>
              <a:gd name="T34" fmla="*/ 160 w 512"/>
              <a:gd name="T35" fmla="*/ 320 h 512"/>
              <a:gd name="T36" fmla="*/ 237 w 512"/>
              <a:gd name="T37" fmla="*/ 261 h 512"/>
              <a:gd name="T38" fmla="*/ 237 w 512"/>
              <a:gd name="T39" fmla="*/ 251 h 512"/>
              <a:gd name="T40" fmla="*/ 160 w 512"/>
              <a:gd name="T41" fmla="*/ 192 h 512"/>
              <a:gd name="T42" fmla="*/ 96 w 512"/>
              <a:gd name="T43" fmla="*/ 182 h 512"/>
              <a:gd name="T44" fmla="*/ 160 w 512"/>
              <a:gd name="T45" fmla="*/ 171 h 512"/>
              <a:gd name="T46" fmla="*/ 253 w 512"/>
              <a:gd name="T47" fmla="*/ 237 h 512"/>
              <a:gd name="T48" fmla="*/ 259 w 512"/>
              <a:gd name="T49" fmla="*/ 237 h 512"/>
              <a:gd name="T50" fmla="*/ 352 w 512"/>
              <a:gd name="T51" fmla="*/ 171 h 512"/>
              <a:gd name="T52" fmla="*/ 355 w 512"/>
              <a:gd name="T53" fmla="*/ 147 h 512"/>
              <a:gd name="T54" fmla="*/ 370 w 512"/>
              <a:gd name="T55" fmla="*/ 131 h 512"/>
              <a:gd name="T56" fmla="*/ 415 w 512"/>
              <a:gd name="T57" fmla="*/ 178 h 512"/>
              <a:gd name="T58" fmla="*/ 413 w 512"/>
              <a:gd name="T59" fmla="*/ 189 h 512"/>
              <a:gd name="T60" fmla="*/ 363 w 512"/>
              <a:gd name="T61" fmla="*/ 235 h 512"/>
              <a:gd name="T62" fmla="*/ 355 w 512"/>
              <a:gd name="T63" fmla="*/ 217 h 512"/>
              <a:gd name="T64" fmla="*/ 352 w 512"/>
              <a:gd name="T65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  <a:moveTo>
                  <a:pt x="352" y="192"/>
                </a:moveTo>
                <a:cubicBezTo>
                  <a:pt x="321" y="192"/>
                  <a:pt x="303" y="216"/>
                  <a:pt x="287" y="237"/>
                </a:cubicBezTo>
                <a:cubicBezTo>
                  <a:pt x="282" y="242"/>
                  <a:pt x="278" y="247"/>
                  <a:pt x="275" y="251"/>
                </a:cubicBezTo>
                <a:cubicBezTo>
                  <a:pt x="270" y="256"/>
                  <a:pt x="270" y="256"/>
                  <a:pt x="270" y="256"/>
                </a:cubicBezTo>
                <a:cubicBezTo>
                  <a:pt x="275" y="262"/>
                  <a:pt x="275" y="262"/>
                  <a:pt x="275" y="262"/>
                </a:cubicBezTo>
                <a:cubicBezTo>
                  <a:pt x="278" y="266"/>
                  <a:pt x="282" y="271"/>
                  <a:pt x="287" y="276"/>
                </a:cubicBezTo>
                <a:cubicBezTo>
                  <a:pt x="303" y="297"/>
                  <a:pt x="321" y="320"/>
                  <a:pt x="352" y="320"/>
                </a:cubicBezTo>
                <a:cubicBezTo>
                  <a:pt x="380" y="320"/>
                  <a:pt x="380" y="320"/>
                  <a:pt x="380" y="320"/>
                </a:cubicBezTo>
                <a:cubicBezTo>
                  <a:pt x="355" y="296"/>
                  <a:pt x="355" y="296"/>
                  <a:pt x="355" y="296"/>
                </a:cubicBezTo>
                <a:cubicBezTo>
                  <a:pt x="351" y="292"/>
                  <a:pt x="351" y="285"/>
                  <a:pt x="355" y="281"/>
                </a:cubicBezTo>
                <a:cubicBezTo>
                  <a:pt x="359" y="277"/>
                  <a:pt x="366" y="277"/>
                  <a:pt x="370" y="281"/>
                </a:cubicBezTo>
                <a:cubicBezTo>
                  <a:pt x="413" y="323"/>
                  <a:pt x="413" y="323"/>
                  <a:pt x="413" y="323"/>
                </a:cubicBezTo>
                <a:cubicBezTo>
                  <a:pt x="414" y="324"/>
                  <a:pt x="415" y="326"/>
                  <a:pt x="415" y="327"/>
                </a:cubicBezTo>
                <a:cubicBezTo>
                  <a:pt x="416" y="330"/>
                  <a:pt x="416" y="332"/>
                  <a:pt x="415" y="335"/>
                </a:cubicBezTo>
                <a:cubicBezTo>
                  <a:pt x="415" y="336"/>
                  <a:pt x="414" y="338"/>
                  <a:pt x="413" y="339"/>
                </a:cubicBezTo>
                <a:cubicBezTo>
                  <a:pt x="370" y="381"/>
                  <a:pt x="370" y="381"/>
                  <a:pt x="370" y="381"/>
                </a:cubicBezTo>
                <a:cubicBezTo>
                  <a:pt x="368" y="383"/>
                  <a:pt x="365" y="384"/>
                  <a:pt x="363" y="384"/>
                </a:cubicBezTo>
                <a:cubicBezTo>
                  <a:pt x="360" y="384"/>
                  <a:pt x="357" y="383"/>
                  <a:pt x="355" y="381"/>
                </a:cubicBezTo>
                <a:cubicBezTo>
                  <a:pt x="351" y="377"/>
                  <a:pt x="351" y="370"/>
                  <a:pt x="355" y="366"/>
                </a:cubicBezTo>
                <a:cubicBezTo>
                  <a:pt x="380" y="342"/>
                  <a:pt x="380" y="342"/>
                  <a:pt x="380" y="342"/>
                </a:cubicBezTo>
                <a:cubicBezTo>
                  <a:pt x="352" y="342"/>
                  <a:pt x="352" y="342"/>
                  <a:pt x="352" y="342"/>
                </a:cubicBezTo>
                <a:cubicBezTo>
                  <a:pt x="311" y="342"/>
                  <a:pt x="287" y="311"/>
                  <a:pt x="270" y="289"/>
                </a:cubicBezTo>
                <a:cubicBezTo>
                  <a:pt x="266" y="284"/>
                  <a:pt x="262" y="280"/>
                  <a:pt x="259" y="276"/>
                </a:cubicBezTo>
                <a:cubicBezTo>
                  <a:pt x="256" y="273"/>
                  <a:pt x="256" y="273"/>
                  <a:pt x="256" y="273"/>
                </a:cubicBezTo>
                <a:cubicBezTo>
                  <a:pt x="253" y="276"/>
                  <a:pt x="253" y="276"/>
                  <a:pt x="253" y="276"/>
                </a:cubicBezTo>
                <a:cubicBezTo>
                  <a:pt x="250" y="280"/>
                  <a:pt x="246" y="284"/>
                  <a:pt x="242" y="289"/>
                </a:cubicBezTo>
                <a:cubicBezTo>
                  <a:pt x="225" y="311"/>
                  <a:pt x="201" y="342"/>
                  <a:pt x="160" y="342"/>
                </a:cubicBezTo>
                <a:cubicBezTo>
                  <a:pt x="107" y="342"/>
                  <a:pt x="107" y="342"/>
                  <a:pt x="107" y="342"/>
                </a:cubicBezTo>
                <a:cubicBezTo>
                  <a:pt x="101" y="342"/>
                  <a:pt x="96" y="337"/>
                  <a:pt x="96" y="331"/>
                </a:cubicBezTo>
                <a:cubicBezTo>
                  <a:pt x="96" y="325"/>
                  <a:pt x="101" y="320"/>
                  <a:pt x="107" y="320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91" y="320"/>
                  <a:pt x="209" y="297"/>
                  <a:pt x="225" y="276"/>
                </a:cubicBezTo>
                <a:cubicBezTo>
                  <a:pt x="230" y="271"/>
                  <a:pt x="234" y="266"/>
                  <a:pt x="237" y="261"/>
                </a:cubicBezTo>
                <a:cubicBezTo>
                  <a:pt x="242" y="256"/>
                  <a:pt x="242" y="256"/>
                  <a:pt x="242" y="256"/>
                </a:cubicBezTo>
                <a:cubicBezTo>
                  <a:pt x="237" y="251"/>
                  <a:pt x="237" y="251"/>
                  <a:pt x="237" y="251"/>
                </a:cubicBezTo>
                <a:cubicBezTo>
                  <a:pt x="234" y="247"/>
                  <a:pt x="230" y="242"/>
                  <a:pt x="225" y="237"/>
                </a:cubicBezTo>
                <a:cubicBezTo>
                  <a:pt x="209" y="216"/>
                  <a:pt x="191" y="192"/>
                  <a:pt x="160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1" y="192"/>
                  <a:pt x="96" y="188"/>
                  <a:pt x="96" y="182"/>
                </a:cubicBezTo>
                <a:cubicBezTo>
                  <a:pt x="96" y="176"/>
                  <a:pt x="101" y="171"/>
                  <a:pt x="107" y="171"/>
                </a:cubicBezTo>
                <a:cubicBezTo>
                  <a:pt x="160" y="171"/>
                  <a:pt x="160" y="171"/>
                  <a:pt x="160" y="171"/>
                </a:cubicBezTo>
                <a:cubicBezTo>
                  <a:pt x="201" y="171"/>
                  <a:pt x="225" y="201"/>
                  <a:pt x="242" y="223"/>
                </a:cubicBezTo>
                <a:cubicBezTo>
                  <a:pt x="246" y="228"/>
                  <a:pt x="250" y="233"/>
                  <a:pt x="253" y="237"/>
                </a:cubicBezTo>
                <a:cubicBezTo>
                  <a:pt x="256" y="240"/>
                  <a:pt x="256" y="240"/>
                  <a:pt x="256" y="240"/>
                </a:cubicBezTo>
                <a:cubicBezTo>
                  <a:pt x="259" y="237"/>
                  <a:pt x="259" y="237"/>
                  <a:pt x="259" y="237"/>
                </a:cubicBezTo>
                <a:cubicBezTo>
                  <a:pt x="262" y="233"/>
                  <a:pt x="266" y="228"/>
                  <a:pt x="270" y="223"/>
                </a:cubicBezTo>
                <a:cubicBezTo>
                  <a:pt x="287" y="201"/>
                  <a:pt x="311" y="171"/>
                  <a:pt x="352" y="171"/>
                </a:cubicBezTo>
                <a:cubicBezTo>
                  <a:pt x="380" y="171"/>
                  <a:pt x="380" y="171"/>
                  <a:pt x="380" y="171"/>
                </a:cubicBezTo>
                <a:cubicBezTo>
                  <a:pt x="355" y="147"/>
                  <a:pt x="355" y="147"/>
                  <a:pt x="355" y="147"/>
                </a:cubicBezTo>
                <a:cubicBezTo>
                  <a:pt x="351" y="142"/>
                  <a:pt x="351" y="136"/>
                  <a:pt x="355" y="131"/>
                </a:cubicBezTo>
                <a:cubicBezTo>
                  <a:pt x="359" y="127"/>
                  <a:pt x="366" y="127"/>
                  <a:pt x="370" y="131"/>
                </a:cubicBezTo>
                <a:cubicBezTo>
                  <a:pt x="413" y="174"/>
                  <a:pt x="413" y="174"/>
                  <a:pt x="413" y="174"/>
                </a:cubicBezTo>
                <a:cubicBezTo>
                  <a:pt x="414" y="175"/>
                  <a:pt x="415" y="176"/>
                  <a:pt x="415" y="178"/>
                </a:cubicBezTo>
                <a:cubicBezTo>
                  <a:pt x="416" y="180"/>
                  <a:pt x="416" y="183"/>
                  <a:pt x="415" y="186"/>
                </a:cubicBezTo>
                <a:cubicBezTo>
                  <a:pt x="415" y="187"/>
                  <a:pt x="414" y="188"/>
                  <a:pt x="413" y="189"/>
                </a:cubicBezTo>
                <a:cubicBezTo>
                  <a:pt x="370" y="232"/>
                  <a:pt x="370" y="232"/>
                  <a:pt x="370" y="232"/>
                </a:cubicBezTo>
                <a:cubicBezTo>
                  <a:pt x="368" y="234"/>
                  <a:pt x="365" y="235"/>
                  <a:pt x="363" y="235"/>
                </a:cubicBezTo>
                <a:cubicBezTo>
                  <a:pt x="360" y="235"/>
                  <a:pt x="357" y="234"/>
                  <a:pt x="355" y="232"/>
                </a:cubicBezTo>
                <a:cubicBezTo>
                  <a:pt x="351" y="228"/>
                  <a:pt x="351" y="221"/>
                  <a:pt x="355" y="217"/>
                </a:cubicBezTo>
                <a:cubicBezTo>
                  <a:pt x="380" y="192"/>
                  <a:pt x="380" y="192"/>
                  <a:pt x="380" y="192"/>
                </a:cubicBezTo>
                <a:lnTo>
                  <a:pt x="352" y="19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" name="TextBox 79"/>
          <p:cNvSpPr txBox="1"/>
          <p:nvPr/>
        </p:nvSpPr>
        <p:spPr>
          <a:xfrm>
            <a:off x="3467883" y="338059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le code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461907" y="336366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aker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473859" y="3360609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log</a:t>
            </a:r>
          </a:p>
        </p:txBody>
      </p:sp>
      <p:sp>
        <p:nvSpPr>
          <p:cNvPr id="73" name="Freeform 552"/>
          <p:cNvSpPr>
            <a:spLocks noChangeAspect="1" noEditPoints="1"/>
          </p:cNvSpPr>
          <p:nvPr/>
        </p:nvSpPr>
        <p:spPr bwMode="auto">
          <a:xfrm>
            <a:off x="4433415" y="2923364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373 h 512"/>
              <a:gd name="T12" fmla="*/ 138 w 512"/>
              <a:gd name="T13" fmla="*/ 320 h 512"/>
              <a:gd name="T14" fmla="*/ 138 w 512"/>
              <a:gd name="T15" fmla="*/ 213 h 512"/>
              <a:gd name="T16" fmla="*/ 149 w 512"/>
              <a:gd name="T17" fmla="*/ 202 h 512"/>
              <a:gd name="T18" fmla="*/ 160 w 512"/>
              <a:gd name="T19" fmla="*/ 213 h 512"/>
              <a:gd name="T20" fmla="*/ 160 w 512"/>
              <a:gd name="T21" fmla="*/ 320 h 512"/>
              <a:gd name="T22" fmla="*/ 192 w 512"/>
              <a:gd name="T23" fmla="*/ 352 h 512"/>
              <a:gd name="T24" fmla="*/ 224 w 512"/>
              <a:gd name="T25" fmla="*/ 320 h 512"/>
              <a:gd name="T26" fmla="*/ 192 w 512"/>
              <a:gd name="T27" fmla="*/ 288 h 512"/>
              <a:gd name="T28" fmla="*/ 181 w 512"/>
              <a:gd name="T29" fmla="*/ 277 h 512"/>
              <a:gd name="T30" fmla="*/ 192 w 512"/>
              <a:gd name="T31" fmla="*/ 266 h 512"/>
              <a:gd name="T32" fmla="*/ 245 w 512"/>
              <a:gd name="T33" fmla="*/ 320 h 512"/>
              <a:gd name="T34" fmla="*/ 192 w 512"/>
              <a:gd name="T35" fmla="*/ 373 h 512"/>
              <a:gd name="T36" fmla="*/ 298 w 512"/>
              <a:gd name="T37" fmla="*/ 330 h 512"/>
              <a:gd name="T38" fmla="*/ 288 w 512"/>
              <a:gd name="T39" fmla="*/ 320 h 512"/>
              <a:gd name="T40" fmla="*/ 192 w 512"/>
              <a:gd name="T41" fmla="*/ 224 h 512"/>
              <a:gd name="T42" fmla="*/ 181 w 512"/>
              <a:gd name="T43" fmla="*/ 213 h 512"/>
              <a:gd name="T44" fmla="*/ 192 w 512"/>
              <a:gd name="T45" fmla="*/ 202 h 512"/>
              <a:gd name="T46" fmla="*/ 309 w 512"/>
              <a:gd name="T47" fmla="*/ 320 h 512"/>
              <a:gd name="T48" fmla="*/ 298 w 512"/>
              <a:gd name="T49" fmla="*/ 330 h 512"/>
              <a:gd name="T50" fmla="*/ 373 w 512"/>
              <a:gd name="T51" fmla="*/ 330 h 512"/>
              <a:gd name="T52" fmla="*/ 362 w 512"/>
              <a:gd name="T53" fmla="*/ 320 h 512"/>
              <a:gd name="T54" fmla="*/ 192 w 512"/>
              <a:gd name="T55" fmla="*/ 149 h 512"/>
              <a:gd name="T56" fmla="*/ 181 w 512"/>
              <a:gd name="T57" fmla="*/ 138 h 512"/>
              <a:gd name="T58" fmla="*/ 192 w 512"/>
              <a:gd name="T59" fmla="*/ 128 h 512"/>
              <a:gd name="T60" fmla="*/ 384 w 512"/>
              <a:gd name="T61" fmla="*/ 320 h 512"/>
              <a:gd name="T62" fmla="*/ 373 w 512"/>
              <a:gd name="T63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373"/>
                </a:moveTo>
                <a:cubicBezTo>
                  <a:pt x="162" y="373"/>
                  <a:pt x="138" y="349"/>
                  <a:pt x="138" y="320"/>
                </a:cubicBezTo>
                <a:cubicBezTo>
                  <a:pt x="138" y="213"/>
                  <a:pt x="138" y="213"/>
                  <a:pt x="138" y="213"/>
                </a:cubicBezTo>
                <a:cubicBezTo>
                  <a:pt x="138" y="207"/>
                  <a:pt x="143" y="202"/>
                  <a:pt x="149" y="202"/>
                </a:cubicBezTo>
                <a:cubicBezTo>
                  <a:pt x="155" y="202"/>
                  <a:pt x="160" y="207"/>
                  <a:pt x="160" y="213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37"/>
                  <a:pt x="174" y="352"/>
                  <a:pt x="192" y="352"/>
                </a:cubicBezTo>
                <a:cubicBezTo>
                  <a:pt x="209" y="352"/>
                  <a:pt x="224" y="337"/>
                  <a:pt x="224" y="320"/>
                </a:cubicBezTo>
                <a:cubicBezTo>
                  <a:pt x="224" y="302"/>
                  <a:pt x="209" y="288"/>
                  <a:pt x="192" y="288"/>
                </a:cubicBezTo>
                <a:cubicBezTo>
                  <a:pt x="186" y="288"/>
                  <a:pt x="181" y="283"/>
                  <a:pt x="181" y="277"/>
                </a:cubicBezTo>
                <a:cubicBezTo>
                  <a:pt x="181" y="271"/>
                  <a:pt x="186" y="266"/>
                  <a:pt x="192" y="266"/>
                </a:cubicBezTo>
                <a:cubicBezTo>
                  <a:pt x="221" y="266"/>
                  <a:pt x="245" y="290"/>
                  <a:pt x="245" y="320"/>
                </a:cubicBezTo>
                <a:cubicBezTo>
                  <a:pt x="245" y="349"/>
                  <a:pt x="221" y="373"/>
                  <a:pt x="192" y="373"/>
                </a:cubicBezTo>
                <a:close/>
                <a:moveTo>
                  <a:pt x="298" y="330"/>
                </a:moveTo>
                <a:cubicBezTo>
                  <a:pt x="292" y="330"/>
                  <a:pt x="288" y="326"/>
                  <a:pt x="288" y="320"/>
                </a:cubicBezTo>
                <a:cubicBezTo>
                  <a:pt x="288" y="267"/>
                  <a:pt x="245" y="224"/>
                  <a:pt x="192" y="224"/>
                </a:cubicBezTo>
                <a:cubicBezTo>
                  <a:pt x="186" y="224"/>
                  <a:pt x="181" y="219"/>
                  <a:pt x="181" y="213"/>
                </a:cubicBezTo>
                <a:cubicBezTo>
                  <a:pt x="181" y="207"/>
                  <a:pt x="186" y="202"/>
                  <a:pt x="192" y="202"/>
                </a:cubicBezTo>
                <a:cubicBezTo>
                  <a:pt x="256" y="202"/>
                  <a:pt x="309" y="255"/>
                  <a:pt x="309" y="320"/>
                </a:cubicBezTo>
                <a:cubicBezTo>
                  <a:pt x="309" y="326"/>
                  <a:pt x="304" y="330"/>
                  <a:pt x="298" y="330"/>
                </a:cubicBezTo>
                <a:close/>
                <a:moveTo>
                  <a:pt x="373" y="330"/>
                </a:moveTo>
                <a:cubicBezTo>
                  <a:pt x="367" y="330"/>
                  <a:pt x="362" y="326"/>
                  <a:pt x="362" y="320"/>
                </a:cubicBezTo>
                <a:cubicBezTo>
                  <a:pt x="362" y="226"/>
                  <a:pt x="286" y="149"/>
                  <a:pt x="192" y="149"/>
                </a:cubicBezTo>
                <a:cubicBezTo>
                  <a:pt x="186" y="149"/>
                  <a:pt x="181" y="144"/>
                  <a:pt x="181" y="138"/>
                </a:cubicBezTo>
                <a:cubicBezTo>
                  <a:pt x="181" y="132"/>
                  <a:pt x="186" y="128"/>
                  <a:pt x="192" y="128"/>
                </a:cubicBezTo>
                <a:cubicBezTo>
                  <a:pt x="298" y="128"/>
                  <a:pt x="384" y="214"/>
                  <a:pt x="384" y="320"/>
                </a:cubicBezTo>
                <a:cubicBezTo>
                  <a:pt x="384" y="326"/>
                  <a:pt x="379" y="330"/>
                  <a:pt x="373" y="33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4" name="Group 555"/>
          <p:cNvGrpSpPr>
            <a:grpSpLocks noChangeAspect="1"/>
          </p:cNvGrpSpPr>
          <p:nvPr/>
        </p:nvGrpSpPr>
        <p:grpSpPr bwMode="auto">
          <a:xfrm>
            <a:off x="4929571" y="2907812"/>
            <a:ext cx="367982" cy="367982"/>
            <a:chOff x="4144" y="3013"/>
            <a:chExt cx="340" cy="340"/>
          </a:xfrm>
          <a:solidFill>
            <a:schemeClr val="accent6"/>
          </a:solidFill>
        </p:grpSpPr>
        <p:sp>
          <p:nvSpPr>
            <p:cNvPr id="75" name="Freeform 556"/>
            <p:cNvSpPr>
              <a:spLocks noEditPoints="1"/>
            </p:cNvSpPr>
            <p:nvPr/>
          </p:nvSpPr>
          <p:spPr bwMode="auto">
            <a:xfrm>
              <a:off x="4144" y="30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557"/>
            <p:cNvSpPr>
              <a:spLocks noEditPoints="1"/>
            </p:cNvSpPr>
            <p:nvPr/>
          </p:nvSpPr>
          <p:spPr bwMode="auto">
            <a:xfrm>
              <a:off x="4236" y="3098"/>
              <a:ext cx="163" cy="163"/>
            </a:xfrm>
            <a:custGeom>
              <a:avLst/>
              <a:gdLst>
                <a:gd name="T0" fmla="*/ 54 w 246"/>
                <a:gd name="T1" fmla="*/ 245 h 245"/>
                <a:gd name="T2" fmla="*/ 0 w 246"/>
                <a:gd name="T3" fmla="*/ 192 h 245"/>
                <a:gd name="T4" fmla="*/ 0 w 246"/>
                <a:gd name="T5" fmla="*/ 85 h 245"/>
                <a:gd name="T6" fmla="*/ 11 w 246"/>
                <a:gd name="T7" fmla="*/ 74 h 245"/>
                <a:gd name="T8" fmla="*/ 22 w 246"/>
                <a:gd name="T9" fmla="*/ 85 h 245"/>
                <a:gd name="T10" fmla="*/ 22 w 246"/>
                <a:gd name="T11" fmla="*/ 192 h 245"/>
                <a:gd name="T12" fmla="*/ 54 w 246"/>
                <a:gd name="T13" fmla="*/ 224 h 245"/>
                <a:gd name="T14" fmla="*/ 86 w 246"/>
                <a:gd name="T15" fmla="*/ 192 h 245"/>
                <a:gd name="T16" fmla="*/ 54 w 246"/>
                <a:gd name="T17" fmla="*/ 160 h 245"/>
                <a:gd name="T18" fmla="*/ 43 w 246"/>
                <a:gd name="T19" fmla="*/ 149 h 245"/>
                <a:gd name="T20" fmla="*/ 54 w 246"/>
                <a:gd name="T21" fmla="*/ 138 h 245"/>
                <a:gd name="T22" fmla="*/ 107 w 246"/>
                <a:gd name="T23" fmla="*/ 192 h 245"/>
                <a:gd name="T24" fmla="*/ 54 w 246"/>
                <a:gd name="T25" fmla="*/ 245 h 245"/>
                <a:gd name="T26" fmla="*/ 171 w 246"/>
                <a:gd name="T27" fmla="*/ 192 h 245"/>
                <a:gd name="T28" fmla="*/ 54 w 246"/>
                <a:gd name="T29" fmla="*/ 74 h 245"/>
                <a:gd name="T30" fmla="*/ 43 w 246"/>
                <a:gd name="T31" fmla="*/ 85 h 245"/>
                <a:gd name="T32" fmla="*/ 54 w 246"/>
                <a:gd name="T33" fmla="*/ 96 h 245"/>
                <a:gd name="T34" fmla="*/ 150 w 246"/>
                <a:gd name="T35" fmla="*/ 192 h 245"/>
                <a:gd name="T36" fmla="*/ 160 w 246"/>
                <a:gd name="T37" fmla="*/ 202 h 245"/>
                <a:gd name="T38" fmla="*/ 171 w 246"/>
                <a:gd name="T39" fmla="*/ 192 h 245"/>
                <a:gd name="T40" fmla="*/ 246 w 246"/>
                <a:gd name="T41" fmla="*/ 192 h 245"/>
                <a:gd name="T42" fmla="*/ 54 w 246"/>
                <a:gd name="T43" fmla="*/ 0 h 245"/>
                <a:gd name="T44" fmla="*/ 43 w 246"/>
                <a:gd name="T45" fmla="*/ 10 h 245"/>
                <a:gd name="T46" fmla="*/ 54 w 246"/>
                <a:gd name="T47" fmla="*/ 21 h 245"/>
                <a:gd name="T48" fmla="*/ 224 w 246"/>
                <a:gd name="T49" fmla="*/ 192 h 245"/>
                <a:gd name="T50" fmla="*/ 235 w 246"/>
                <a:gd name="T51" fmla="*/ 202 h 245"/>
                <a:gd name="T52" fmla="*/ 246 w 246"/>
                <a:gd name="T53" fmla="*/ 19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6" h="245">
                  <a:moveTo>
                    <a:pt x="54" y="245"/>
                  </a:moveTo>
                  <a:cubicBezTo>
                    <a:pt x="24" y="245"/>
                    <a:pt x="0" y="221"/>
                    <a:pt x="0" y="19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9"/>
                    <a:pt x="5" y="74"/>
                    <a:pt x="11" y="74"/>
                  </a:cubicBezTo>
                  <a:cubicBezTo>
                    <a:pt x="17" y="74"/>
                    <a:pt x="22" y="79"/>
                    <a:pt x="22" y="85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22" y="209"/>
                    <a:pt x="36" y="224"/>
                    <a:pt x="54" y="224"/>
                  </a:cubicBezTo>
                  <a:cubicBezTo>
                    <a:pt x="71" y="224"/>
                    <a:pt x="86" y="209"/>
                    <a:pt x="86" y="192"/>
                  </a:cubicBezTo>
                  <a:cubicBezTo>
                    <a:pt x="86" y="174"/>
                    <a:pt x="71" y="160"/>
                    <a:pt x="54" y="160"/>
                  </a:cubicBezTo>
                  <a:cubicBezTo>
                    <a:pt x="48" y="160"/>
                    <a:pt x="43" y="155"/>
                    <a:pt x="43" y="149"/>
                  </a:cubicBezTo>
                  <a:cubicBezTo>
                    <a:pt x="43" y="143"/>
                    <a:pt x="48" y="138"/>
                    <a:pt x="54" y="138"/>
                  </a:cubicBezTo>
                  <a:cubicBezTo>
                    <a:pt x="83" y="138"/>
                    <a:pt x="107" y="162"/>
                    <a:pt x="107" y="192"/>
                  </a:cubicBezTo>
                  <a:cubicBezTo>
                    <a:pt x="107" y="221"/>
                    <a:pt x="83" y="245"/>
                    <a:pt x="54" y="245"/>
                  </a:cubicBezTo>
                  <a:close/>
                  <a:moveTo>
                    <a:pt x="171" y="192"/>
                  </a:moveTo>
                  <a:cubicBezTo>
                    <a:pt x="171" y="127"/>
                    <a:pt x="118" y="74"/>
                    <a:pt x="54" y="74"/>
                  </a:cubicBezTo>
                  <a:cubicBezTo>
                    <a:pt x="48" y="74"/>
                    <a:pt x="43" y="79"/>
                    <a:pt x="43" y="85"/>
                  </a:cubicBezTo>
                  <a:cubicBezTo>
                    <a:pt x="43" y="91"/>
                    <a:pt x="48" y="96"/>
                    <a:pt x="54" y="96"/>
                  </a:cubicBezTo>
                  <a:cubicBezTo>
                    <a:pt x="107" y="96"/>
                    <a:pt x="150" y="139"/>
                    <a:pt x="150" y="192"/>
                  </a:cubicBezTo>
                  <a:cubicBezTo>
                    <a:pt x="150" y="198"/>
                    <a:pt x="154" y="202"/>
                    <a:pt x="160" y="202"/>
                  </a:cubicBezTo>
                  <a:cubicBezTo>
                    <a:pt x="166" y="202"/>
                    <a:pt x="171" y="198"/>
                    <a:pt x="171" y="192"/>
                  </a:cubicBezTo>
                  <a:close/>
                  <a:moveTo>
                    <a:pt x="246" y="192"/>
                  </a:moveTo>
                  <a:cubicBezTo>
                    <a:pt x="246" y="86"/>
                    <a:pt x="160" y="0"/>
                    <a:pt x="54" y="0"/>
                  </a:cubicBezTo>
                  <a:cubicBezTo>
                    <a:pt x="48" y="0"/>
                    <a:pt x="43" y="4"/>
                    <a:pt x="43" y="10"/>
                  </a:cubicBezTo>
                  <a:cubicBezTo>
                    <a:pt x="43" y="16"/>
                    <a:pt x="48" y="21"/>
                    <a:pt x="54" y="21"/>
                  </a:cubicBezTo>
                  <a:cubicBezTo>
                    <a:pt x="148" y="21"/>
                    <a:pt x="224" y="98"/>
                    <a:pt x="224" y="192"/>
                  </a:cubicBezTo>
                  <a:cubicBezTo>
                    <a:pt x="224" y="198"/>
                    <a:pt x="229" y="202"/>
                    <a:pt x="235" y="202"/>
                  </a:cubicBezTo>
                  <a:cubicBezTo>
                    <a:pt x="241" y="202"/>
                    <a:pt x="246" y="198"/>
                    <a:pt x="24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3932372" y="2923364"/>
            <a:ext cx="372865" cy="370800"/>
            <a:chOff x="5157788" y="2657475"/>
            <a:chExt cx="3159125" cy="3141663"/>
          </a:xfrm>
          <a:solidFill>
            <a:schemeClr val="accent2"/>
          </a:solidFill>
        </p:grpSpPr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6013451" y="3246438"/>
              <a:ext cx="1447800" cy="1963738"/>
            </a:xfrm>
            <a:custGeom>
              <a:avLst/>
              <a:gdLst>
                <a:gd name="T0" fmla="*/ 175 w 176"/>
                <a:gd name="T1" fmla="*/ 61 h 240"/>
                <a:gd name="T2" fmla="*/ 173 w 176"/>
                <a:gd name="T3" fmla="*/ 58 h 240"/>
                <a:gd name="T4" fmla="*/ 117 w 176"/>
                <a:gd name="T5" fmla="*/ 2 h 240"/>
                <a:gd name="T6" fmla="*/ 117 w 176"/>
                <a:gd name="T7" fmla="*/ 2 h 240"/>
                <a:gd name="T8" fmla="*/ 117 w 176"/>
                <a:gd name="T9" fmla="*/ 2 h 240"/>
                <a:gd name="T10" fmla="*/ 117 w 176"/>
                <a:gd name="T11" fmla="*/ 2 h 240"/>
                <a:gd name="T12" fmla="*/ 112 w 176"/>
                <a:gd name="T13" fmla="*/ 0 h 240"/>
                <a:gd name="T14" fmla="*/ 8 w 176"/>
                <a:gd name="T15" fmla="*/ 0 h 240"/>
                <a:gd name="T16" fmla="*/ 0 w 176"/>
                <a:gd name="T17" fmla="*/ 8 h 240"/>
                <a:gd name="T18" fmla="*/ 0 w 176"/>
                <a:gd name="T19" fmla="*/ 232 h 240"/>
                <a:gd name="T20" fmla="*/ 8 w 176"/>
                <a:gd name="T21" fmla="*/ 240 h 240"/>
                <a:gd name="T22" fmla="*/ 168 w 176"/>
                <a:gd name="T23" fmla="*/ 240 h 240"/>
                <a:gd name="T24" fmla="*/ 176 w 176"/>
                <a:gd name="T25" fmla="*/ 232 h 240"/>
                <a:gd name="T26" fmla="*/ 176 w 176"/>
                <a:gd name="T27" fmla="*/ 64 h 240"/>
                <a:gd name="T28" fmla="*/ 176 w 176"/>
                <a:gd name="T29" fmla="*/ 64 h 240"/>
                <a:gd name="T30" fmla="*/ 175 w 176"/>
                <a:gd name="T31" fmla="*/ 61 h 240"/>
                <a:gd name="T32" fmla="*/ 120 w 176"/>
                <a:gd name="T33" fmla="*/ 27 h 240"/>
                <a:gd name="T34" fmla="*/ 148 w 176"/>
                <a:gd name="T35" fmla="*/ 56 h 240"/>
                <a:gd name="T36" fmla="*/ 120 w 176"/>
                <a:gd name="T37" fmla="*/ 56 h 240"/>
                <a:gd name="T38" fmla="*/ 120 w 176"/>
                <a:gd name="T39" fmla="*/ 27 h 240"/>
                <a:gd name="T40" fmla="*/ 160 w 176"/>
                <a:gd name="T41" fmla="*/ 224 h 240"/>
                <a:gd name="T42" fmla="*/ 16 w 176"/>
                <a:gd name="T43" fmla="*/ 224 h 240"/>
                <a:gd name="T44" fmla="*/ 16 w 176"/>
                <a:gd name="T45" fmla="*/ 16 h 240"/>
                <a:gd name="T46" fmla="*/ 104 w 176"/>
                <a:gd name="T47" fmla="*/ 16 h 240"/>
                <a:gd name="T48" fmla="*/ 104 w 176"/>
                <a:gd name="T49" fmla="*/ 64 h 240"/>
                <a:gd name="T50" fmla="*/ 112 w 176"/>
                <a:gd name="T51" fmla="*/ 72 h 240"/>
                <a:gd name="T52" fmla="*/ 160 w 176"/>
                <a:gd name="T53" fmla="*/ 72 h 240"/>
                <a:gd name="T54" fmla="*/ 160 w 176"/>
                <a:gd name="T55" fmla="*/ 22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6" h="240">
                  <a:moveTo>
                    <a:pt x="175" y="61"/>
                  </a:moveTo>
                  <a:cubicBezTo>
                    <a:pt x="175" y="60"/>
                    <a:pt x="174" y="59"/>
                    <a:pt x="173" y="58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6" y="0"/>
                    <a:pt x="114" y="0"/>
                    <a:pt x="1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6"/>
                    <a:pt x="3" y="240"/>
                    <a:pt x="8" y="240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72" y="240"/>
                    <a:pt x="176" y="236"/>
                    <a:pt x="176" y="232"/>
                  </a:cubicBezTo>
                  <a:cubicBezTo>
                    <a:pt x="176" y="64"/>
                    <a:pt x="176" y="64"/>
                    <a:pt x="176" y="64"/>
                  </a:cubicBezTo>
                  <a:cubicBezTo>
                    <a:pt x="176" y="64"/>
                    <a:pt x="176" y="64"/>
                    <a:pt x="176" y="64"/>
                  </a:cubicBezTo>
                  <a:cubicBezTo>
                    <a:pt x="176" y="63"/>
                    <a:pt x="175" y="62"/>
                    <a:pt x="175" y="61"/>
                  </a:cubicBezTo>
                  <a:close/>
                  <a:moveTo>
                    <a:pt x="120" y="27"/>
                  </a:moveTo>
                  <a:cubicBezTo>
                    <a:pt x="148" y="56"/>
                    <a:pt x="148" y="56"/>
                    <a:pt x="148" y="56"/>
                  </a:cubicBezTo>
                  <a:cubicBezTo>
                    <a:pt x="120" y="56"/>
                    <a:pt x="120" y="56"/>
                    <a:pt x="120" y="56"/>
                  </a:cubicBezTo>
                  <a:lnTo>
                    <a:pt x="120" y="27"/>
                  </a:lnTo>
                  <a:close/>
                  <a:moveTo>
                    <a:pt x="160" y="224"/>
                  </a:moveTo>
                  <a:cubicBezTo>
                    <a:pt x="16" y="224"/>
                    <a:pt x="16" y="224"/>
                    <a:pt x="16" y="224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8"/>
                    <a:pt x="107" y="72"/>
                    <a:pt x="112" y="72"/>
                  </a:cubicBezTo>
                  <a:cubicBezTo>
                    <a:pt x="160" y="72"/>
                    <a:pt x="160" y="72"/>
                    <a:pt x="160" y="72"/>
                  </a:cubicBezTo>
                  <a:lnTo>
                    <a:pt x="160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465888" y="4024313"/>
              <a:ext cx="542925" cy="727075"/>
            </a:xfrm>
            <a:custGeom>
              <a:avLst/>
              <a:gdLst>
                <a:gd name="T0" fmla="*/ 2 w 66"/>
                <a:gd name="T1" fmla="*/ 76 h 89"/>
                <a:gd name="T2" fmla="*/ 4 w 66"/>
                <a:gd name="T3" fmla="*/ 87 h 89"/>
                <a:gd name="T4" fmla="*/ 9 w 66"/>
                <a:gd name="T5" fmla="*/ 89 h 89"/>
                <a:gd name="T6" fmla="*/ 15 w 66"/>
                <a:gd name="T7" fmla="*/ 85 h 89"/>
                <a:gd name="T8" fmla="*/ 63 w 66"/>
                <a:gd name="T9" fmla="*/ 13 h 89"/>
                <a:gd name="T10" fmla="*/ 61 w 66"/>
                <a:gd name="T11" fmla="*/ 2 h 89"/>
                <a:gd name="T12" fmla="*/ 50 w 66"/>
                <a:gd name="T13" fmla="*/ 4 h 89"/>
                <a:gd name="T14" fmla="*/ 2 w 66"/>
                <a:gd name="T15" fmla="*/ 7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89">
                  <a:moveTo>
                    <a:pt x="2" y="76"/>
                  </a:moveTo>
                  <a:cubicBezTo>
                    <a:pt x="0" y="80"/>
                    <a:pt x="1" y="85"/>
                    <a:pt x="4" y="87"/>
                  </a:cubicBezTo>
                  <a:cubicBezTo>
                    <a:pt x="6" y="88"/>
                    <a:pt x="7" y="89"/>
                    <a:pt x="9" y="89"/>
                  </a:cubicBezTo>
                  <a:cubicBezTo>
                    <a:pt x="11" y="89"/>
                    <a:pt x="14" y="87"/>
                    <a:pt x="15" y="85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6" y="9"/>
                    <a:pt x="65" y="4"/>
                    <a:pt x="61" y="2"/>
                  </a:cubicBezTo>
                  <a:cubicBezTo>
                    <a:pt x="57" y="0"/>
                    <a:pt x="52" y="1"/>
                    <a:pt x="50" y="4"/>
                  </a:cubicBezTo>
                  <a:lnTo>
                    <a:pt x="2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6276976" y="3957638"/>
              <a:ext cx="336550" cy="401638"/>
            </a:xfrm>
            <a:custGeom>
              <a:avLst/>
              <a:gdLst>
                <a:gd name="T0" fmla="*/ 32 w 41"/>
                <a:gd name="T1" fmla="*/ 49 h 49"/>
                <a:gd name="T2" fmla="*/ 38 w 41"/>
                <a:gd name="T3" fmla="*/ 45 h 49"/>
                <a:gd name="T4" fmla="*/ 36 w 41"/>
                <a:gd name="T5" fmla="*/ 34 h 49"/>
                <a:gd name="T6" fmla="*/ 22 w 41"/>
                <a:gd name="T7" fmla="*/ 25 h 49"/>
                <a:gd name="T8" fmla="*/ 36 w 41"/>
                <a:gd name="T9" fmla="*/ 15 h 49"/>
                <a:gd name="T10" fmla="*/ 38 w 41"/>
                <a:gd name="T11" fmla="*/ 4 h 49"/>
                <a:gd name="T12" fmla="*/ 27 w 41"/>
                <a:gd name="T13" fmla="*/ 2 h 49"/>
                <a:gd name="T14" fmla="*/ 3 w 41"/>
                <a:gd name="T15" fmla="*/ 18 h 49"/>
                <a:gd name="T16" fmla="*/ 0 w 41"/>
                <a:gd name="T17" fmla="*/ 25 h 49"/>
                <a:gd name="T18" fmla="*/ 3 w 41"/>
                <a:gd name="T19" fmla="*/ 31 h 49"/>
                <a:gd name="T20" fmla="*/ 27 w 41"/>
                <a:gd name="T21" fmla="*/ 47 h 49"/>
                <a:gd name="T22" fmla="*/ 32 w 41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9">
                  <a:moveTo>
                    <a:pt x="32" y="49"/>
                  </a:moveTo>
                  <a:cubicBezTo>
                    <a:pt x="34" y="49"/>
                    <a:pt x="37" y="47"/>
                    <a:pt x="38" y="45"/>
                  </a:cubicBezTo>
                  <a:cubicBezTo>
                    <a:pt x="41" y="41"/>
                    <a:pt x="40" y="36"/>
                    <a:pt x="36" y="34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40" y="13"/>
                    <a:pt x="41" y="8"/>
                    <a:pt x="38" y="4"/>
                  </a:cubicBezTo>
                  <a:cubicBezTo>
                    <a:pt x="36" y="1"/>
                    <a:pt x="31" y="0"/>
                    <a:pt x="27" y="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9"/>
                    <a:pt x="0" y="22"/>
                    <a:pt x="0" y="25"/>
                  </a:cubicBezTo>
                  <a:cubicBezTo>
                    <a:pt x="0" y="27"/>
                    <a:pt x="1" y="30"/>
                    <a:pt x="3" y="31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9" y="48"/>
                    <a:pt x="30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6861176" y="4416425"/>
              <a:ext cx="336550" cy="401638"/>
            </a:xfrm>
            <a:custGeom>
              <a:avLst/>
              <a:gdLst>
                <a:gd name="T0" fmla="*/ 2 w 41"/>
                <a:gd name="T1" fmla="*/ 4 h 49"/>
                <a:gd name="T2" fmla="*/ 4 w 41"/>
                <a:gd name="T3" fmla="*/ 15 h 49"/>
                <a:gd name="T4" fmla="*/ 18 w 41"/>
                <a:gd name="T5" fmla="*/ 25 h 49"/>
                <a:gd name="T6" fmla="*/ 4 w 41"/>
                <a:gd name="T7" fmla="*/ 34 h 49"/>
                <a:gd name="T8" fmla="*/ 2 w 41"/>
                <a:gd name="T9" fmla="*/ 45 h 49"/>
                <a:gd name="T10" fmla="*/ 9 w 41"/>
                <a:gd name="T11" fmla="*/ 49 h 49"/>
                <a:gd name="T12" fmla="*/ 13 w 41"/>
                <a:gd name="T13" fmla="*/ 47 h 49"/>
                <a:gd name="T14" fmla="*/ 37 w 41"/>
                <a:gd name="T15" fmla="*/ 31 h 49"/>
                <a:gd name="T16" fmla="*/ 41 w 41"/>
                <a:gd name="T17" fmla="*/ 25 h 49"/>
                <a:gd name="T18" fmla="*/ 37 w 41"/>
                <a:gd name="T19" fmla="*/ 18 h 49"/>
                <a:gd name="T20" fmla="*/ 13 w 41"/>
                <a:gd name="T21" fmla="*/ 2 h 49"/>
                <a:gd name="T22" fmla="*/ 2 w 41"/>
                <a:gd name="T23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9">
                  <a:moveTo>
                    <a:pt x="2" y="4"/>
                  </a:moveTo>
                  <a:cubicBezTo>
                    <a:pt x="0" y="8"/>
                    <a:pt x="1" y="13"/>
                    <a:pt x="4" y="1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36"/>
                    <a:pt x="0" y="41"/>
                    <a:pt x="2" y="45"/>
                  </a:cubicBezTo>
                  <a:cubicBezTo>
                    <a:pt x="4" y="47"/>
                    <a:pt x="6" y="49"/>
                    <a:pt x="9" y="49"/>
                  </a:cubicBezTo>
                  <a:cubicBezTo>
                    <a:pt x="10" y="49"/>
                    <a:pt x="12" y="48"/>
                    <a:pt x="13" y="47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9" y="30"/>
                    <a:pt x="41" y="27"/>
                    <a:pt x="41" y="25"/>
                  </a:cubicBezTo>
                  <a:cubicBezTo>
                    <a:pt x="41" y="22"/>
                    <a:pt x="39" y="19"/>
                    <a:pt x="37" y="18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9" y="0"/>
                    <a:pt x="4" y="1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5157788" y="2657475"/>
              <a:ext cx="3159125" cy="3141663"/>
            </a:xfrm>
            <a:custGeom>
              <a:avLst/>
              <a:gdLst>
                <a:gd name="T0" fmla="*/ 192 w 384"/>
                <a:gd name="T1" fmla="*/ 16 h 384"/>
                <a:gd name="T2" fmla="*/ 368 w 384"/>
                <a:gd name="T3" fmla="*/ 192 h 384"/>
                <a:gd name="T4" fmla="*/ 192 w 384"/>
                <a:gd name="T5" fmla="*/ 368 h 384"/>
                <a:gd name="T6" fmla="*/ 16 w 384"/>
                <a:gd name="T7" fmla="*/ 192 h 384"/>
                <a:gd name="T8" fmla="*/ 192 w 384"/>
                <a:gd name="T9" fmla="*/ 16 h 384"/>
                <a:gd name="T10" fmla="*/ 192 w 384"/>
                <a:gd name="T11" fmla="*/ 0 h 384"/>
                <a:gd name="T12" fmla="*/ 0 w 384"/>
                <a:gd name="T13" fmla="*/ 192 h 384"/>
                <a:gd name="T14" fmla="*/ 192 w 384"/>
                <a:gd name="T15" fmla="*/ 384 h 384"/>
                <a:gd name="T16" fmla="*/ 384 w 384"/>
                <a:gd name="T17" fmla="*/ 192 h 384"/>
                <a:gd name="T18" fmla="*/ 192 w 384"/>
                <a:gd name="T19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16"/>
                  </a:moveTo>
                  <a:cubicBezTo>
                    <a:pt x="289" y="16"/>
                    <a:pt x="368" y="95"/>
                    <a:pt x="368" y="192"/>
                  </a:cubicBezTo>
                  <a:cubicBezTo>
                    <a:pt x="368" y="289"/>
                    <a:pt x="289" y="368"/>
                    <a:pt x="192" y="368"/>
                  </a:cubicBezTo>
                  <a:cubicBezTo>
                    <a:pt x="95" y="368"/>
                    <a:pt x="16" y="289"/>
                    <a:pt x="16" y="192"/>
                  </a:cubicBezTo>
                  <a:cubicBezTo>
                    <a:pt x="16" y="95"/>
                    <a:pt x="95" y="16"/>
                    <a:pt x="192" y="16"/>
                  </a:cubicBezTo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/>
          <p:cNvGrpSpPr>
            <a:grpSpLocks noChangeAspect="1"/>
          </p:cNvGrpSpPr>
          <p:nvPr/>
        </p:nvGrpSpPr>
        <p:grpSpPr>
          <a:xfrm>
            <a:off x="3431521" y="2923364"/>
            <a:ext cx="372673" cy="370800"/>
            <a:chOff x="3148013" y="3436938"/>
            <a:chExt cx="3159125" cy="3143250"/>
          </a:xfrm>
          <a:solidFill>
            <a:schemeClr val="accent2"/>
          </a:solidFill>
        </p:grpSpPr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4991101" y="4246563"/>
              <a:ext cx="230188" cy="238125"/>
            </a:xfrm>
            <a:custGeom>
              <a:avLst/>
              <a:gdLst>
                <a:gd name="T0" fmla="*/ 0 w 145"/>
                <a:gd name="T1" fmla="*/ 0 h 150"/>
                <a:gd name="T2" fmla="*/ 0 w 145"/>
                <a:gd name="T3" fmla="*/ 150 h 150"/>
                <a:gd name="T4" fmla="*/ 145 w 145"/>
                <a:gd name="T5" fmla="*/ 150 h 150"/>
                <a:gd name="T6" fmla="*/ 0 w 145"/>
                <a:gd name="T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" h="150">
                  <a:moveTo>
                    <a:pt x="0" y="0"/>
                  </a:moveTo>
                  <a:lnTo>
                    <a:pt x="0" y="150"/>
                  </a:lnTo>
                  <a:lnTo>
                    <a:pt x="145" y="15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/>
            <p:cNvSpPr>
              <a:spLocks noEditPoints="1"/>
            </p:cNvSpPr>
            <p:nvPr/>
          </p:nvSpPr>
          <p:spPr bwMode="auto">
            <a:xfrm>
              <a:off x="4135438" y="4157663"/>
              <a:ext cx="1184275" cy="1701800"/>
            </a:xfrm>
            <a:custGeom>
              <a:avLst/>
              <a:gdLst>
                <a:gd name="T0" fmla="*/ 88 w 144"/>
                <a:gd name="T1" fmla="*/ 48 h 208"/>
                <a:gd name="T2" fmla="*/ 88 w 144"/>
                <a:gd name="T3" fmla="*/ 0 h 208"/>
                <a:gd name="T4" fmla="*/ 0 w 144"/>
                <a:gd name="T5" fmla="*/ 0 h 208"/>
                <a:gd name="T6" fmla="*/ 0 w 144"/>
                <a:gd name="T7" fmla="*/ 208 h 208"/>
                <a:gd name="T8" fmla="*/ 144 w 144"/>
                <a:gd name="T9" fmla="*/ 208 h 208"/>
                <a:gd name="T10" fmla="*/ 144 w 144"/>
                <a:gd name="T11" fmla="*/ 56 h 208"/>
                <a:gd name="T12" fmla="*/ 96 w 144"/>
                <a:gd name="T13" fmla="*/ 56 h 208"/>
                <a:gd name="T14" fmla="*/ 88 w 144"/>
                <a:gd name="T15" fmla="*/ 48 h 208"/>
                <a:gd name="T16" fmla="*/ 16 w 144"/>
                <a:gd name="T17" fmla="*/ 96 h 208"/>
                <a:gd name="T18" fmla="*/ 19 w 144"/>
                <a:gd name="T19" fmla="*/ 89 h 208"/>
                <a:gd name="T20" fmla="*/ 43 w 144"/>
                <a:gd name="T21" fmla="*/ 73 h 208"/>
                <a:gd name="T22" fmla="*/ 54 w 144"/>
                <a:gd name="T23" fmla="*/ 75 h 208"/>
                <a:gd name="T24" fmla="*/ 52 w 144"/>
                <a:gd name="T25" fmla="*/ 86 h 208"/>
                <a:gd name="T26" fmla="*/ 38 w 144"/>
                <a:gd name="T27" fmla="*/ 96 h 208"/>
                <a:gd name="T28" fmla="*/ 52 w 144"/>
                <a:gd name="T29" fmla="*/ 105 h 208"/>
                <a:gd name="T30" fmla="*/ 54 w 144"/>
                <a:gd name="T31" fmla="*/ 116 h 208"/>
                <a:gd name="T32" fmla="*/ 48 w 144"/>
                <a:gd name="T33" fmla="*/ 120 h 208"/>
                <a:gd name="T34" fmla="*/ 43 w 144"/>
                <a:gd name="T35" fmla="*/ 118 h 208"/>
                <a:gd name="T36" fmla="*/ 19 w 144"/>
                <a:gd name="T37" fmla="*/ 102 h 208"/>
                <a:gd name="T38" fmla="*/ 16 w 144"/>
                <a:gd name="T39" fmla="*/ 96 h 208"/>
                <a:gd name="T40" fmla="*/ 128 w 144"/>
                <a:gd name="T41" fmla="*/ 152 h 208"/>
                <a:gd name="T42" fmla="*/ 124 w 144"/>
                <a:gd name="T43" fmla="*/ 158 h 208"/>
                <a:gd name="T44" fmla="*/ 100 w 144"/>
                <a:gd name="T45" fmla="*/ 174 h 208"/>
                <a:gd name="T46" fmla="*/ 96 w 144"/>
                <a:gd name="T47" fmla="*/ 176 h 208"/>
                <a:gd name="T48" fmla="*/ 89 w 144"/>
                <a:gd name="T49" fmla="*/ 172 h 208"/>
                <a:gd name="T50" fmla="*/ 91 w 144"/>
                <a:gd name="T51" fmla="*/ 161 h 208"/>
                <a:gd name="T52" fmla="*/ 105 w 144"/>
                <a:gd name="T53" fmla="*/ 152 h 208"/>
                <a:gd name="T54" fmla="*/ 91 w 144"/>
                <a:gd name="T55" fmla="*/ 142 h 208"/>
                <a:gd name="T56" fmla="*/ 89 w 144"/>
                <a:gd name="T57" fmla="*/ 131 h 208"/>
                <a:gd name="T58" fmla="*/ 100 w 144"/>
                <a:gd name="T59" fmla="*/ 129 h 208"/>
                <a:gd name="T60" fmla="*/ 124 w 144"/>
                <a:gd name="T61" fmla="*/ 145 h 208"/>
                <a:gd name="T62" fmla="*/ 128 w 144"/>
                <a:gd name="T63" fmla="*/ 152 h 208"/>
                <a:gd name="T64" fmla="*/ 100 w 144"/>
                <a:gd name="T65" fmla="*/ 81 h 208"/>
                <a:gd name="T66" fmla="*/ 102 w 144"/>
                <a:gd name="T67" fmla="*/ 92 h 208"/>
                <a:gd name="T68" fmla="*/ 54 w 144"/>
                <a:gd name="T69" fmla="*/ 164 h 208"/>
                <a:gd name="T70" fmla="*/ 48 w 144"/>
                <a:gd name="T71" fmla="*/ 168 h 208"/>
                <a:gd name="T72" fmla="*/ 43 w 144"/>
                <a:gd name="T73" fmla="*/ 166 h 208"/>
                <a:gd name="T74" fmla="*/ 41 w 144"/>
                <a:gd name="T75" fmla="*/ 155 h 208"/>
                <a:gd name="T76" fmla="*/ 89 w 144"/>
                <a:gd name="T77" fmla="*/ 83 h 208"/>
                <a:gd name="T78" fmla="*/ 100 w 144"/>
                <a:gd name="T79" fmla="*/ 8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4" h="208">
                  <a:moveTo>
                    <a:pt x="88" y="48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144" y="208"/>
                    <a:pt x="144" y="208"/>
                    <a:pt x="144" y="208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1" y="56"/>
                    <a:pt x="88" y="52"/>
                    <a:pt x="88" y="48"/>
                  </a:cubicBezTo>
                  <a:close/>
                  <a:moveTo>
                    <a:pt x="16" y="96"/>
                  </a:moveTo>
                  <a:cubicBezTo>
                    <a:pt x="16" y="93"/>
                    <a:pt x="17" y="90"/>
                    <a:pt x="19" y="89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7" y="71"/>
                    <a:pt x="52" y="72"/>
                    <a:pt x="54" y="75"/>
                  </a:cubicBezTo>
                  <a:cubicBezTo>
                    <a:pt x="57" y="79"/>
                    <a:pt x="56" y="84"/>
                    <a:pt x="52" y="86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6" y="107"/>
                    <a:pt x="57" y="112"/>
                    <a:pt x="54" y="116"/>
                  </a:cubicBezTo>
                  <a:cubicBezTo>
                    <a:pt x="53" y="118"/>
                    <a:pt x="50" y="120"/>
                    <a:pt x="48" y="120"/>
                  </a:cubicBezTo>
                  <a:cubicBezTo>
                    <a:pt x="46" y="120"/>
                    <a:pt x="45" y="119"/>
                    <a:pt x="43" y="118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17" y="101"/>
                    <a:pt x="16" y="98"/>
                    <a:pt x="16" y="96"/>
                  </a:cubicBezTo>
                  <a:close/>
                  <a:moveTo>
                    <a:pt x="128" y="152"/>
                  </a:moveTo>
                  <a:cubicBezTo>
                    <a:pt x="128" y="154"/>
                    <a:pt x="126" y="157"/>
                    <a:pt x="124" y="158"/>
                  </a:cubicBezTo>
                  <a:cubicBezTo>
                    <a:pt x="100" y="174"/>
                    <a:pt x="100" y="174"/>
                    <a:pt x="100" y="174"/>
                  </a:cubicBezTo>
                  <a:cubicBezTo>
                    <a:pt x="99" y="175"/>
                    <a:pt x="97" y="176"/>
                    <a:pt x="96" y="176"/>
                  </a:cubicBezTo>
                  <a:cubicBezTo>
                    <a:pt x="93" y="176"/>
                    <a:pt x="91" y="174"/>
                    <a:pt x="89" y="172"/>
                  </a:cubicBezTo>
                  <a:cubicBezTo>
                    <a:pt x="87" y="168"/>
                    <a:pt x="88" y="163"/>
                    <a:pt x="91" y="161"/>
                  </a:cubicBezTo>
                  <a:cubicBezTo>
                    <a:pt x="105" y="152"/>
                    <a:pt x="105" y="152"/>
                    <a:pt x="105" y="152"/>
                  </a:cubicBezTo>
                  <a:cubicBezTo>
                    <a:pt x="91" y="142"/>
                    <a:pt x="91" y="142"/>
                    <a:pt x="91" y="142"/>
                  </a:cubicBezTo>
                  <a:cubicBezTo>
                    <a:pt x="88" y="140"/>
                    <a:pt x="87" y="135"/>
                    <a:pt x="89" y="131"/>
                  </a:cubicBezTo>
                  <a:cubicBezTo>
                    <a:pt x="91" y="128"/>
                    <a:pt x="96" y="127"/>
                    <a:pt x="100" y="129"/>
                  </a:cubicBezTo>
                  <a:cubicBezTo>
                    <a:pt x="124" y="145"/>
                    <a:pt x="124" y="145"/>
                    <a:pt x="124" y="145"/>
                  </a:cubicBezTo>
                  <a:cubicBezTo>
                    <a:pt x="126" y="146"/>
                    <a:pt x="128" y="149"/>
                    <a:pt x="128" y="152"/>
                  </a:cubicBezTo>
                  <a:close/>
                  <a:moveTo>
                    <a:pt x="100" y="81"/>
                  </a:moveTo>
                  <a:cubicBezTo>
                    <a:pt x="104" y="83"/>
                    <a:pt x="105" y="88"/>
                    <a:pt x="102" y="92"/>
                  </a:cubicBezTo>
                  <a:cubicBezTo>
                    <a:pt x="54" y="164"/>
                    <a:pt x="54" y="164"/>
                    <a:pt x="54" y="164"/>
                  </a:cubicBezTo>
                  <a:cubicBezTo>
                    <a:pt x="53" y="166"/>
                    <a:pt x="50" y="168"/>
                    <a:pt x="48" y="168"/>
                  </a:cubicBezTo>
                  <a:cubicBezTo>
                    <a:pt x="46" y="168"/>
                    <a:pt x="45" y="167"/>
                    <a:pt x="43" y="166"/>
                  </a:cubicBezTo>
                  <a:cubicBezTo>
                    <a:pt x="40" y="164"/>
                    <a:pt x="39" y="159"/>
                    <a:pt x="41" y="155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91" y="80"/>
                    <a:pt x="96" y="79"/>
                    <a:pt x="100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/>
            <p:cNvSpPr>
              <a:spLocks noEditPoints="1"/>
            </p:cNvSpPr>
            <p:nvPr/>
          </p:nvSpPr>
          <p:spPr bwMode="auto">
            <a:xfrm>
              <a:off x="3148013" y="3436938"/>
              <a:ext cx="3159125" cy="314325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280 w 384"/>
                <a:gd name="T11" fmla="*/ 136 h 384"/>
                <a:gd name="T12" fmla="*/ 280 w 384"/>
                <a:gd name="T13" fmla="*/ 304 h 384"/>
                <a:gd name="T14" fmla="*/ 272 w 384"/>
                <a:gd name="T15" fmla="*/ 312 h 384"/>
                <a:gd name="T16" fmla="*/ 112 w 384"/>
                <a:gd name="T17" fmla="*/ 312 h 384"/>
                <a:gd name="T18" fmla="*/ 104 w 384"/>
                <a:gd name="T19" fmla="*/ 304 h 384"/>
                <a:gd name="T20" fmla="*/ 104 w 384"/>
                <a:gd name="T21" fmla="*/ 80 h 384"/>
                <a:gd name="T22" fmla="*/ 112 w 384"/>
                <a:gd name="T23" fmla="*/ 72 h 384"/>
                <a:gd name="T24" fmla="*/ 216 w 384"/>
                <a:gd name="T25" fmla="*/ 72 h 384"/>
                <a:gd name="T26" fmla="*/ 221 w 384"/>
                <a:gd name="T27" fmla="*/ 74 h 384"/>
                <a:gd name="T28" fmla="*/ 221 w 384"/>
                <a:gd name="T29" fmla="*/ 74 h 384"/>
                <a:gd name="T30" fmla="*/ 221 w 384"/>
                <a:gd name="T31" fmla="*/ 74 h 384"/>
                <a:gd name="T32" fmla="*/ 221 w 384"/>
                <a:gd name="T33" fmla="*/ 74 h 384"/>
                <a:gd name="T34" fmla="*/ 277 w 384"/>
                <a:gd name="T35" fmla="*/ 130 h 384"/>
                <a:gd name="T36" fmla="*/ 279 w 384"/>
                <a:gd name="T37" fmla="*/ 133 h 384"/>
                <a:gd name="T38" fmla="*/ 280 w 384"/>
                <a:gd name="T39" fmla="*/ 136 h 384"/>
                <a:gd name="T40" fmla="*/ 280 w 384"/>
                <a:gd name="T41" fmla="*/ 13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280" y="136"/>
                  </a:moveTo>
                  <a:cubicBezTo>
                    <a:pt x="280" y="304"/>
                    <a:pt x="280" y="304"/>
                    <a:pt x="280" y="304"/>
                  </a:cubicBezTo>
                  <a:cubicBezTo>
                    <a:pt x="280" y="308"/>
                    <a:pt x="276" y="312"/>
                    <a:pt x="272" y="312"/>
                  </a:cubicBezTo>
                  <a:cubicBezTo>
                    <a:pt x="112" y="312"/>
                    <a:pt x="112" y="312"/>
                    <a:pt x="112" y="312"/>
                  </a:cubicBezTo>
                  <a:cubicBezTo>
                    <a:pt x="107" y="312"/>
                    <a:pt x="104" y="308"/>
                    <a:pt x="104" y="304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04" y="75"/>
                    <a:pt x="107" y="72"/>
                    <a:pt x="112" y="72"/>
                  </a:cubicBezTo>
                  <a:cubicBezTo>
                    <a:pt x="216" y="72"/>
                    <a:pt x="216" y="72"/>
                    <a:pt x="216" y="72"/>
                  </a:cubicBezTo>
                  <a:cubicBezTo>
                    <a:pt x="218" y="72"/>
                    <a:pt x="220" y="73"/>
                    <a:pt x="221" y="74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77" y="130"/>
                    <a:pt x="277" y="130"/>
                    <a:pt x="277" y="130"/>
                  </a:cubicBezTo>
                  <a:cubicBezTo>
                    <a:pt x="278" y="131"/>
                    <a:pt x="279" y="132"/>
                    <a:pt x="279" y="133"/>
                  </a:cubicBezTo>
                  <a:cubicBezTo>
                    <a:pt x="279" y="134"/>
                    <a:pt x="280" y="135"/>
                    <a:pt x="280" y="136"/>
                  </a:cubicBezTo>
                  <a:cubicBezTo>
                    <a:pt x="280" y="136"/>
                    <a:pt x="280" y="136"/>
                    <a:pt x="280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2" name="Group 901"/>
          <p:cNvGrpSpPr>
            <a:grpSpLocks noChangeAspect="1"/>
          </p:cNvGrpSpPr>
          <p:nvPr/>
        </p:nvGrpSpPr>
        <p:grpSpPr>
          <a:xfrm>
            <a:off x="2429592" y="2923364"/>
            <a:ext cx="372647" cy="370800"/>
            <a:chOff x="4870450" y="3725863"/>
            <a:chExt cx="1281113" cy="1274762"/>
          </a:xfrm>
          <a:solidFill>
            <a:schemeClr val="accent2"/>
          </a:solidFill>
        </p:grpSpPr>
        <p:sp>
          <p:nvSpPr>
            <p:cNvPr id="900" name="Freeform 28"/>
            <p:cNvSpPr>
              <a:spLocks noEditPoints="1"/>
            </p:cNvSpPr>
            <p:nvPr/>
          </p:nvSpPr>
          <p:spPr bwMode="auto">
            <a:xfrm>
              <a:off x="4870450" y="3725863"/>
              <a:ext cx="1281113" cy="1274762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249 w 384"/>
                <a:gd name="T11" fmla="*/ 312 h 384"/>
                <a:gd name="T12" fmla="*/ 134 w 384"/>
                <a:gd name="T13" fmla="*/ 312 h 384"/>
                <a:gd name="T14" fmla="*/ 104 w 384"/>
                <a:gd name="T15" fmla="*/ 281 h 384"/>
                <a:gd name="T16" fmla="*/ 104 w 384"/>
                <a:gd name="T17" fmla="*/ 102 h 384"/>
                <a:gd name="T18" fmla="*/ 134 w 384"/>
                <a:gd name="T19" fmla="*/ 72 h 384"/>
                <a:gd name="T20" fmla="*/ 249 w 384"/>
                <a:gd name="T21" fmla="*/ 72 h 384"/>
                <a:gd name="T22" fmla="*/ 280 w 384"/>
                <a:gd name="T23" fmla="*/ 102 h 384"/>
                <a:gd name="T24" fmla="*/ 280 w 384"/>
                <a:gd name="T25" fmla="*/ 281 h 384"/>
                <a:gd name="T26" fmla="*/ 249 w 384"/>
                <a:gd name="T27" fmla="*/ 312 h 384"/>
                <a:gd name="T28" fmla="*/ 134 w 384"/>
                <a:gd name="T29" fmla="*/ 88 h 384"/>
                <a:gd name="T30" fmla="*/ 120 w 384"/>
                <a:gd name="T31" fmla="*/ 102 h 384"/>
                <a:gd name="T32" fmla="*/ 120 w 384"/>
                <a:gd name="T33" fmla="*/ 281 h 384"/>
                <a:gd name="T34" fmla="*/ 134 w 384"/>
                <a:gd name="T35" fmla="*/ 296 h 384"/>
                <a:gd name="T36" fmla="*/ 249 w 384"/>
                <a:gd name="T37" fmla="*/ 296 h 384"/>
                <a:gd name="T38" fmla="*/ 264 w 384"/>
                <a:gd name="T39" fmla="*/ 281 h 384"/>
                <a:gd name="T40" fmla="*/ 264 w 384"/>
                <a:gd name="T41" fmla="*/ 102 h 384"/>
                <a:gd name="T42" fmla="*/ 249 w 384"/>
                <a:gd name="T43" fmla="*/ 88 h 384"/>
                <a:gd name="T44" fmla="*/ 134 w 384"/>
                <a:gd name="T45" fmla="*/ 88 h 384"/>
                <a:gd name="T46" fmla="*/ 192 w 384"/>
                <a:gd name="T47" fmla="*/ 280 h 384"/>
                <a:gd name="T48" fmla="*/ 136 w 384"/>
                <a:gd name="T49" fmla="*/ 224 h 384"/>
                <a:gd name="T50" fmla="*/ 192 w 384"/>
                <a:gd name="T51" fmla="*/ 168 h 384"/>
                <a:gd name="T52" fmla="*/ 248 w 384"/>
                <a:gd name="T53" fmla="*/ 224 h 384"/>
                <a:gd name="T54" fmla="*/ 192 w 384"/>
                <a:gd name="T55" fmla="*/ 280 h 384"/>
                <a:gd name="T56" fmla="*/ 192 w 384"/>
                <a:gd name="T57" fmla="*/ 184 h 384"/>
                <a:gd name="T58" fmla="*/ 152 w 384"/>
                <a:gd name="T59" fmla="*/ 224 h 384"/>
                <a:gd name="T60" fmla="*/ 192 w 384"/>
                <a:gd name="T61" fmla="*/ 264 h 384"/>
                <a:gd name="T62" fmla="*/ 232 w 384"/>
                <a:gd name="T63" fmla="*/ 224 h 384"/>
                <a:gd name="T64" fmla="*/ 192 w 384"/>
                <a:gd name="T65" fmla="*/ 184 h 384"/>
                <a:gd name="T66" fmla="*/ 192 w 384"/>
                <a:gd name="T67" fmla="*/ 152 h 384"/>
                <a:gd name="T68" fmla="*/ 168 w 384"/>
                <a:gd name="T69" fmla="*/ 128 h 384"/>
                <a:gd name="T70" fmla="*/ 192 w 384"/>
                <a:gd name="T71" fmla="*/ 104 h 384"/>
                <a:gd name="T72" fmla="*/ 216 w 384"/>
                <a:gd name="T73" fmla="*/ 128 h 384"/>
                <a:gd name="T74" fmla="*/ 192 w 384"/>
                <a:gd name="T75" fmla="*/ 152 h 384"/>
                <a:gd name="T76" fmla="*/ 192 w 384"/>
                <a:gd name="T77" fmla="*/ 120 h 384"/>
                <a:gd name="T78" fmla="*/ 184 w 384"/>
                <a:gd name="T79" fmla="*/ 128 h 384"/>
                <a:gd name="T80" fmla="*/ 192 w 384"/>
                <a:gd name="T81" fmla="*/ 136 h 384"/>
                <a:gd name="T82" fmla="*/ 200 w 384"/>
                <a:gd name="T83" fmla="*/ 128 h 384"/>
                <a:gd name="T84" fmla="*/ 192 w 384"/>
                <a:gd name="T85" fmla="*/ 120 h 384"/>
                <a:gd name="T86" fmla="*/ 200 w 384"/>
                <a:gd name="T87" fmla="*/ 224 h 384"/>
                <a:gd name="T88" fmla="*/ 192 w 384"/>
                <a:gd name="T89" fmla="*/ 216 h 384"/>
                <a:gd name="T90" fmla="*/ 192 w 384"/>
                <a:gd name="T91" fmla="*/ 216 h 384"/>
                <a:gd name="T92" fmla="*/ 184 w 384"/>
                <a:gd name="T93" fmla="*/ 224 h 384"/>
                <a:gd name="T94" fmla="*/ 192 w 384"/>
                <a:gd name="T95" fmla="*/ 232 h 384"/>
                <a:gd name="T96" fmla="*/ 200 w 384"/>
                <a:gd name="T97" fmla="*/ 22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249" y="312"/>
                  </a:moveTo>
                  <a:cubicBezTo>
                    <a:pt x="134" y="312"/>
                    <a:pt x="134" y="312"/>
                    <a:pt x="134" y="312"/>
                  </a:cubicBezTo>
                  <a:cubicBezTo>
                    <a:pt x="117" y="312"/>
                    <a:pt x="104" y="298"/>
                    <a:pt x="104" y="281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104" y="85"/>
                    <a:pt x="117" y="72"/>
                    <a:pt x="134" y="72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66" y="72"/>
                    <a:pt x="280" y="85"/>
                    <a:pt x="280" y="102"/>
                  </a:cubicBezTo>
                  <a:cubicBezTo>
                    <a:pt x="280" y="281"/>
                    <a:pt x="280" y="281"/>
                    <a:pt x="280" y="281"/>
                  </a:cubicBezTo>
                  <a:cubicBezTo>
                    <a:pt x="280" y="298"/>
                    <a:pt x="266" y="312"/>
                    <a:pt x="249" y="312"/>
                  </a:cubicBezTo>
                  <a:close/>
                  <a:moveTo>
                    <a:pt x="134" y="88"/>
                  </a:moveTo>
                  <a:cubicBezTo>
                    <a:pt x="126" y="88"/>
                    <a:pt x="120" y="94"/>
                    <a:pt x="120" y="102"/>
                  </a:cubicBezTo>
                  <a:cubicBezTo>
                    <a:pt x="120" y="281"/>
                    <a:pt x="120" y="281"/>
                    <a:pt x="120" y="281"/>
                  </a:cubicBezTo>
                  <a:cubicBezTo>
                    <a:pt x="120" y="289"/>
                    <a:pt x="126" y="296"/>
                    <a:pt x="134" y="296"/>
                  </a:cubicBezTo>
                  <a:cubicBezTo>
                    <a:pt x="249" y="296"/>
                    <a:pt x="249" y="296"/>
                    <a:pt x="249" y="296"/>
                  </a:cubicBezTo>
                  <a:cubicBezTo>
                    <a:pt x="257" y="296"/>
                    <a:pt x="264" y="289"/>
                    <a:pt x="264" y="281"/>
                  </a:cubicBezTo>
                  <a:cubicBezTo>
                    <a:pt x="264" y="102"/>
                    <a:pt x="264" y="102"/>
                    <a:pt x="264" y="102"/>
                  </a:cubicBezTo>
                  <a:cubicBezTo>
                    <a:pt x="264" y="94"/>
                    <a:pt x="257" y="88"/>
                    <a:pt x="249" y="88"/>
                  </a:cubicBezTo>
                  <a:lnTo>
                    <a:pt x="134" y="88"/>
                  </a:lnTo>
                  <a:close/>
                  <a:moveTo>
                    <a:pt x="192" y="280"/>
                  </a:moveTo>
                  <a:cubicBezTo>
                    <a:pt x="161" y="280"/>
                    <a:pt x="136" y="255"/>
                    <a:pt x="136" y="224"/>
                  </a:cubicBezTo>
                  <a:cubicBezTo>
                    <a:pt x="136" y="193"/>
                    <a:pt x="161" y="168"/>
                    <a:pt x="192" y="168"/>
                  </a:cubicBezTo>
                  <a:cubicBezTo>
                    <a:pt x="223" y="168"/>
                    <a:pt x="248" y="193"/>
                    <a:pt x="248" y="224"/>
                  </a:cubicBezTo>
                  <a:cubicBezTo>
                    <a:pt x="248" y="255"/>
                    <a:pt x="223" y="280"/>
                    <a:pt x="192" y="280"/>
                  </a:cubicBezTo>
                  <a:close/>
                  <a:moveTo>
                    <a:pt x="192" y="184"/>
                  </a:moveTo>
                  <a:cubicBezTo>
                    <a:pt x="170" y="184"/>
                    <a:pt x="152" y="202"/>
                    <a:pt x="152" y="224"/>
                  </a:cubicBezTo>
                  <a:cubicBezTo>
                    <a:pt x="152" y="246"/>
                    <a:pt x="170" y="264"/>
                    <a:pt x="192" y="264"/>
                  </a:cubicBezTo>
                  <a:cubicBezTo>
                    <a:pt x="214" y="264"/>
                    <a:pt x="232" y="246"/>
                    <a:pt x="232" y="224"/>
                  </a:cubicBezTo>
                  <a:cubicBezTo>
                    <a:pt x="232" y="202"/>
                    <a:pt x="214" y="184"/>
                    <a:pt x="192" y="184"/>
                  </a:cubicBezTo>
                  <a:close/>
                  <a:moveTo>
                    <a:pt x="192" y="152"/>
                  </a:moveTo>
                  <a:cubicBezTo>
                    <a:pt x="178" y="152"/>
                    <a:pt x="168" y="141"/>
                    <a:pt x="168" y="128"/>
                  </a:cubicBezTo>
                  <a:cubicBezTo>
                    <a:pt x="168" y="114"/>
                    <a:pt x="178" y="104"/>
                    <a:pt x="192" y="104"/>
                  </a:cubicBezTo>
                  <a:cubicBezTo>
                    <a:pt x="205" y="104"/>
                    <a:pt x="216" y="114"/>
                    <a:pt x="216" y="128"/>
                  </a:cubicBezTo>
                  <a:cubicBezTo>
                    <a:pt x="216" y="141"/>
                    <a:pt x="205" y="152"/>
                    <a:pt x="192" y="152"/>
                  </a:cubicBezTo>
                  <a:close/>
                  <a:moveTo>
                    <a:pt x="192" y="120"/>
                  </a:moveTo>
                  <a:cubicBezTo>
                    <a:pt x="187" y="120"/>
                    <a:pt x="184" y="123"/>
                    <a:pt x="184" y="128"/>
                  </a:cubicBezTo>
                  <a:cubicBezTo>
                    <a:pt x="184" y="132"/>
                    <a:pt x="187" y="136"/>
                    <a:pt x="192" y="136"/>
                  </a:cubicBezTo>
                  <a:cubicBezTo>
                    <a:pt x="196" y="136"/>
                    <a:pt x="200" y="132"/>
                    <a:pt x="200" y="128"/>
                  </a:cubicBezTo>
                  <a:cubicBezTo>
                    <a:pt x="200" y="123"/>
                    <a:pt x="196" y="120"/>
                    <a:pt x="192" y="120"/>
                  </a:cubicBezTo>
                  <a:close/>
                  <a:moveTo>
                    <a:pt x="200" y="224"/>
                  </a:moveTo>
                  <a:cubicBezTo>
                    <a:pt x="200" y="219"/>
                    <a:pt x="196" y="216"/>
                    <a:pt x="192" y="216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87" y="216"/>
                    <a:pt x="184" y="219"/>
                    <a:pt x="184" y="224"/>
                  </a:cubicBezTo>
                  <a:cubicBezTo>
                    <a:pt x="184" y="228"/>
                    <a:pt x="187" y="232"/>
                    <a:pt x="192" y="232"/>
                  </a:cubicBezTo>
                  <a:cubicBezTo>
                    <a:pt x="196" y="232"/>
                    <a:pt x="200" y="228"/>
                    <a:pt x="200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1" name="Freeform 29"/>
            <p:cNvSpPr>
              <a:spLocks/>
            </p:cNvSpPr>
            <p:nvPr/>
          </p:nvSpPr>
          <p:spPr bwMode="auto">
            <a:xfrm>
              <a:off x="5484813" y="4443413"/>
              <a:ext cx="52388" cy="52387"/>
            </a:xfrm>
            <a:custGeom>
              <a:avLst/>
              <a:gdLst>
                <a:gd name="T0" fmla="*/ 16 w 16"/>
                <a:gd name="T1" fmla="*/ 8 h 16"/>
                <a:gd name="T2" fmla="*/ 8 w 16"/>
                <a:gd name="T3" fmla="*/ 0 h 16"/>
                <a:gd name="T4" fmla="*/ 8 w 16"/>
                <a:gd name="T5" fmla="*/ 0 h 16"/>
                <a:gd name="T6" fmla="*/ 0 w 16"/>
                <a:gd name="T7" fmla="*/ 8 h 16"/>
                <a:gd name="T8" fmla="*/ 8 w 16"/>
                <a:gd name="T9" fmla="*/ 16 h 16"/>
                <a:gd name="T10" fmla="*/ 16 w 16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3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6" name="Freeform 33"/>
          <p:cNvSpPr>
            <a:spLocks noChangeAspect="1" noEditPoints="1"/>
          </p:cNvSpPr>
          <p:nvPr/>
        </p:nvSpPr>
        <p:spPr bwMode="auto">
          <a:xfrm>
            <a:off x="2930417" y="2923364"/>
            <a:ext cx="372926" cy="370800"/>
          </a:xfrm>
          <a:custGeom>
            <a:avLst/>
            <a:gdLst>
              <a:gd name="T0" fmla="*/ 192 w 384"/>
              <a:gd name="T1" fmla="*/ 16 h 384"/>
              <a:gd name="T2" fmla="*/ 368 w 384"/>
              <a:gd name="T3" fmla="*/ 192 h 384"/>
              <a:gd name="T4" fmla="*/ 192 w 384"/>
              <a:gd name="T5" fmla="*/ 368 h 384"/>
              <a:gd name="T6" fmla="*/ 16 w 384"/>
              <a:gd name="T7" fmla="*/ 192 h 384"/>
              <a:gd name="T8" fmla="*/ 192 w 384"/>
              <a:gd name="T9" fmla="*/ 16 h 384"/>
              <a:gd name="T10" fmla="*/ 192 w 384"/>
              <a:gd name="T11" fmla="*/ 0 h 384"/>
              <a:gd name="T12" fmla="*/ 0 w 384"/>
              <a:gd name="T13" fmla="*/ 192 h 384"/>
              <a:gd name="T14" fmla="*/ 192 w 384"/>
              <a:gd name="T15" fmla="*/ 384 h 384"/>
              <a:gd name="T16" fmla="*/ 384 w 384"/>
              <a:gd name="T17" fmla="*/ 192 h 384"/>
              <a:gd name="T18" fmla="*/ 192 w 384"/>
              <a:gd name="T19" fmla="*/ 0 h 384"/>
              <a:gd name="T20" fmla="*/ 249 w 384"/>
              <a:gd name="T21" fmla="*/ 312 h 384"/>
              <a:gd name="T22" fmla="*/ 134 w 384"/>
              <a:gd name="T23" fmla="*/ 312 h 384"/>
              <a:gd name="T24" fmla="*/ 104 w 384"/>
              <a:gd name="T25" fmla="*/ 281 h 384"/>
              <a:gd name="T26" fmla="*/ 104 w 384"/>
              <a:gd name="T27" fmla="*/ 102 h 384"/>
              <a:gd name="T28" fmla="*/ 134 w 384"/>
              <a:gd name="T29" fmla="*/ 72 h 384"/>
              <a:gd name="T30" fmla="*/ 249 w 384"/>
              <a:gd name="T31" fmla="*/ 72 h 384"/>
              <a:gd name="T32" fmla="*/ 280 w 384"/>
              <a:gd name="T33" fmla="*/ 102 h 384"/>
              <a:gd name="T34" fmla="*/ 280 w 384"/>
              <a:gd name="T35" fmla="*/ 281 h 384"/>
              <a:gd name="T36" fmla="*/ 249 w 384"/>
              <a:gd name="T37" fmla="*/ 312 h 384"/>
              <a:gd name="T38" fmla="*/ 134 w 384"/>
              <a:gd name="T39" fmla="*/ 88 h 384"/>
              <a:gd name="T40" fmla="*/ 120 w 384"/>
              <a:gd name="T41" fmla="*/ 102 h 384"/>
              <a:gd name="T42" fmla="*/ 120 w 384"/>
              <a:gd name="T43" fmla="*/ 281 h 384"/>
              <a:gd name="T44" fmla="*/ 134 w 384"/>
              <a:gd name="T45" fmla="*/ 296 h 384"/>
              <a:gd name="T46" fmla="*/ 249 w 384"/>
              <a:gd name="T47" fmla="*/ 296 h 384"/>
              <a:gd name="T48" fmla="*/ 264 w 384"/>
              <a:gd name="T49" fmla="*/ 281 h 384"/>
              <a:gd name="T50" fmla="*/ 264 w 384"/>
              <a:gd name="T51" fmla="*/ 102 h 384"/>
              <a:gd name="T52" fmla="*/ 249 w 384"/>
              <a:gd name="T53" fmla="*/ 88 h 384"/>
              <a:gd name="T54" fmla="*/ 134 w 384"/>
              <a:gd name="T55" fmla="*/ 88 h 384"/>
              <a:gd name="T56" fmla="*/ 192 w 384"/>
              <a:gd name="T57" fmla="*/ 280 h 384"/>
              <a:gd name="T58" fmla="*/ 136 w 384"/>
              <a:gd name="T59" fmla="*/ 224 h 384"/>
              <a:gd name="T60" fmla="*/ 192 w 384"/>
              <a:gd name="T61" fmla="*/ 168 h 384"/>
              <a:gd name="T62" fmla="*/ 248 w 384"/>
              <a:gd name="T63" fmla="*/ 224 h 384"/>
              <a:gd name="T64" fmla="*/ 192 w 384"/>
              <a:gd name="T65" fmla="*/ 280 h 384"/>
              <a:gd name="T66" fmla="*/ 192 w 384"/>
              <a:gd name="T67" fmla="*/ 184 h 384"/>
              <a:gd name="T68" fmla="*/ 152 w 384"/>
              <a:gd name="T69" fmla="*/ 224 h 384"/>
              <a:gd name="T70" fmla="*/ 192 w 384"/>
              <a:gd name="T71" fmla="*/ 264 h 384"/>
              <a:gd name="T72" fmla="*/ 232 w 384"/>
              <a:gd name="T73" fmla="*/ 224 h 384"/>
              <a:gd name="T74" fmla="*/ 192 w 384"/>
              <a:gd name="T75" fmla="*/ 184 h 384"/>
              <a:gd name="T76" fmla="*/ 192 w 384"/>
              <a:gd name="T77" fmla="*/ 152 h 384"/>
              <a:gd name="T78" fmla="*/ 168 w 384"/>
              <a:gd name="T79" fmla="*/ 128 h 384"/>
              <a:gd name="T80" fmla="*/ 192 w 384"/>
              <a:gd name="T81" fmla="*/ 104 h 384"/>
              <a:gd name="T82" fmla="*/ 216 w 384"/>
              <a:gd name="T83" fmla="*/ 128 h 384"/>
              <a:gd name="T84" fmla="*/ 192 w 384"/>
              <a:gd name="T85" fmla="*/ 152 h 384"/>
              <a:gd name="T86" fmla="*/ 192 w 384"/>
              <a:gd name="T87" fmla="*/ 120 h 384"/>
              <a:gd name="T88" fmla="*/ 184 w 384"/>
              <a:gd name="T89" fmla="*/ 128 h 384"/>
              <a:gd name="T90" fmla="*/ 192 w 384"/>
              <a:gd name="T91" fmla="*/ 136 h 384"/>
              <a:gd name="T92" fmla="*/ 200 w 384"/>
              <a:gd name="T93" fmla="*/ 128 h 384"/>
              <a:gd name="T94" fmla="*/ 192 w 384"/>
              <a:gd name="T95" fmla="*/ 120 h 384"/>
              <a:gd name="T96" fmla="*/ 200 w 384"/>
              <a:gd name="T97" fmla="*/ 224 h 384"/>
              <a:gd name="T98" fmla="*/ 192 w 384"/>
              <a:gd name="T99" fmla="*/ 216 h 384"/>
              <a:gd name="T100" fmla="*/ 192 w 384"/>
              <a:gd name="T101" fmla="*/ 216 h 384"/>
              <a:gd name="T102" fmla="*/ 184 w 384"/>
              <a:gd name="T103" fmla="*/ 224 h 384"/>
              <a:gd name="T104" fmla="*/ 192 w 384"/>
              <a:gd name="T105" fmla="*/ 232 h 384"/>
              <a:gd name="T106" fmla="*/ 200 w 384"/>
              <a:gd name="T107" fmla="*/ 224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84" h="384">
                <a:moveTo>
                  <a:pt x="192" y="16"/>
                </a:moveTo>
                <a:cubicBezTo>
                  <a:pt x="289" y="16"/>
                  <a:pt x="368" y="95"/>
                  <a:pt x="368" y="192"/>
                </a:cubicBezTo>
                <a:cubicBezTo>
                  <a:pt x="368" y="289"/>
                  <a:pt x="289" y="368"/>
                  <a:pt x="192" y="368"/>
                </a:cubicBezTo>
                <a:cubicBezTo>
                  <a:pt x="95" y="368"/>
                  <a:pt x="16" y="289"/>
                  <a:pt x="16" y="192"/>
                </a:cubicBezTo>
                <a:cubicBezTo>
                  <a:pt x="16" y="95"/>
                  <a:pt x="95" y="16"/>
                  <a:pt x="192" y="16"/>
                </a:cubicBezTo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249" y="312"/>
                </a:moveTo>
                <a:cubicBezTo>
                  <a:pt x="134" y="312"/>
                  <a:pt x="134" y="312"/>
                  <a:pt x="134" y="312"/>
                </a:cubicBezTo>
                <a:cubicBezTo>
                  <a:pt x="117" y="312"/>
                  <a:pt x="104" y="298"/>
                  <a:pt x="104" y="281"/>
                </a:cubicBezTo>
                <a:cubicBezTo>
                  <a:pt x="104" y="102"/>
                  <a:pt x="104" y="102"/>
                  <a:pt x="104" y="102"/>
                </a:cubicBezTo>
                <a:cubicBezTo>
                  <a:pt x="104" y="85"/>
                  <a:pt x="117" y="72"/>
                  <a:pt x="134" y="72"/>
                </a:cubicBezTo>
                <a:cubicBezTo>
                  <a:pt x="249" y="72"/>
                  <a:pt x="249" y="72"/>
                  <a:pt x="249" y="72"/>
                </a:cubicBezTo>
                <a:cubicBezTo>
                  <a:pt x="266" y="72"/>
                  <a:pt x="280" y="85"/>
                  <a:pt x="280" y="10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280" y="298"/>
                  <a:pt x="266" y="312"/>
                  <a:pt x="249" y="312"/>
                </a:cubicBezTo>
                <a:close/>
                <a:moveTo>
                  <a:pt x="134" y="88"/>
                </a:moveTo>
                <a:cubicBezTo>
                  <a:pt x="126" y="88"/>
                  <a:pt x="120" y="94"/>
                  <a:pt x="120" y="102"/>
                </a:cubicBezTo>
                <a:cubicBezTo>
                  <a:pt x="120" y="281"/>
                  <a:pt x="120" y="281"/>
                  <a:pt x="120" y="281"/>
                </a:cubicBezTo>
                <a:cubicBezTo>
                  <a:pt x="120" y="289"/>
                  <a:pt x="126" y="296"/>
                  <a:pt x="134" y="296"/>
                </a:cubicBezTo>
                <a:cubicBezTo>
                  <a:pt x="249" y="296"/>
                  <a:pt x="249" y="296"/>
                  <a:pt x="249" y="296"/>
                </a:cubicBezTo>
                <a:cubicBezTo>
                  <a:pt x="257" y="296"/>
                  <a:pt x="264" y="289"/>
                  <a:pt x="264" y="281"/>
                </a:cubicBezTo>
                <a:cubicBezTo>
                  <a:pt x="264" y="102"/>
                  <a:pt x="264" y="102"/>
                  <a:pt x="264" y="102"/>
                </a:cubicBezTo>
                <a:cubicBezTo>
                  <a:pt x="264" y="94"/>
                  <a:pt x="257" y="88"/>
                  <a:pt x="249" y="88"/>
                </a:cubicBezTo>
                <a:lnTo>
                  <a:pt x="134" y="88"/>
                </a:lnTo>
                <a:close/>
                <a:moveTo>
                  <a:pt x="192" y="280"/>
                </a:moveTo>
                <a:cubicBezTo>
                  <a:pt x="161" y="280"/>
                  <a:pt x="136" y="255"/>
                  <a:pt x="136" y="224"/>
                </a:cubicBezTo>
                <a:cubicBezTo>
                  <a:pt x="136" y="193"/>
                  <a:pt x="161" y="168"/>
                  <a:pt x="192" y="168"/>
                </a:cubicBezTo>
                <a:cubicBezTo>
                  <a:pt x="223" y="168"/>
                  <a:pt x="248" y="193"/>
                  <a:pt x="248" y="224"/>
                </a:cubicBezTo>
                <a:cubicBezTo>
                  <a:pt x="248" y="255"/>
                  <a:pt x="223" y="280"/>
                  <a:pt x="192" y="280"/>
                </a:cubicBezTo>
                <a:close/>
                <a:moveTo>
                  <a:pt x="192" y="184"/>
                </a:moveTo>
                <a:cubicBezTo>
                  <a:pt x="170" y="184"/>
                  <a:pt x="152" y="202"/>
                  <a:pt x="152" y="224"/>
                </a:cubicBezTo>
                <a:cubicBezTo>
                  <a:pt x="152" y="246"/>
                  <a:pt x="170" y="264"/>
                  <a:pt x="192" y="264"/>
                </a:cubicBezTo>
                <a:cubicBezTo>
                  <a:pt x="214" y="264"/>
                  <a:pt x="232" y="246"/>
                  <a:pt x="232" y="224"/>
                </a:cubicBezTo>
                <a:cubicBezTo>
                  <a:pt x="232" y="202"/>
                  <a:pt x="214" y="184"/>
                  <a:pt x="192" y="184"/>
                </a:cubicBezTo>
                <a:close/>
                <a:moveTo>
                  <a:pt x="192" y="152"/>
                </a:moveTo>
                <a:cubicBezTo>
                  <a:pt x="178" y="152"/>
                  <a:pt x="168" y="141"/>
                  <a:pt x="168" y="128"/>
                </a:cubicBezTo>
                <a:cubicBezTo>
                  <a:pt x="168" y="114"/>
                  <a:pt x="178" y="104"/>
                  <a:pt x="192" y="104"/>
                </a:cubicBezTo>
                <a:cubicBezTo>
                  <a:pt x="205" y="104"/>
                  <a:pt x="216" y="114"/>
                  <a:pt x="216" y="128"/>
                </a:cubicBezTo>
                <a:cubicBezTo>
                  <a:pt x="216" y="141"/>
                  <a:pt x="205" y="152"/>
                  <a:pt x="192" y="152"/>
                </a:cubicBezTo>
                <a:close/>
                <a:moveTo>
                  <a:pt x="192" y="120"/>
                </a:moveTo>
                <a:cubicBezTo>
                  <a:pt x="187" y="120"/>
                  <a:pt x="184" y="123"/>
                  <a:pt x="184" y="128"/>
                </a:cubicBezTo>
                <a:cubicBezTo>
                  <a:pt x="184" y="132"/>
                  <a:pt x="187" y="136"/>
                  <a:pt x="192" y="136"/>
                </a:cubicBezTo>
                <a:cubicBezTo>
                  <a:pt x="196" y="136"/>
                  <a:pt x="200" y="132"/>
                  <a:pt x="200" y="128"/>
                </a:cubicBezTo>
                <a:cubicBezTo>
                  <a:pt x="200" y="123"/>
                  <a:pt x="196" y="120"/>
                  <a:pt x="192" y="120"/>
                </a:cubicBezTo>
                <a:close/>
                <a:moveTo>
                  <a:pt x="200" y="224"/>
                </a:moveTo>
                <a:cubicBezTo>
                  <a:pt x="200" y="219"/>
                  <a:pt x="196" y="216"/>
                  <a:pt x="192" y="216"/>
                </a:cubicBezTo>
                <a:cubicBezTo>
                  <a:pt x="192" y="216"/>
                  <a:pt x="192" y="216"/>
                  <a:pt x="192" y="216"/>
                </a:cubicBezTo>
                <a:cubicBezTo>
                  <a:pt x="187" y="216"/>
                  <a:pt x="184" y="219"/>
                  <a:pt x="184" y="224"/>
                </a:cubicBezTo>
                <a:cubicBezTo>
                  <a:pt x="184" y="228"/>
                  <a:pt x="187" y="232"/>
                  <a:pt x="192" y="232"/>
                </a:cubicBezTo>
                <a:cubicBezTo>
                  <a:pt x="196" y="232"/>
                  <a:pt x="200" y="228"/>
                  <a:pt x="200" y="22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5061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Public Sector/Offi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7464500" y="2450632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oman, man, man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4465045" y="2450629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n, woman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1478290" y="245062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oman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6462565" y="2450631"/>
            <a:ext cx="8371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oman, woman, man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6437546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ie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69460" y="245062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emale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7434712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Users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3428402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Quote marks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2434196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eeting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1439990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cales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8448443" y="2450628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Like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8431878" y="3344875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lder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482705" y="245062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n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1463358" y="334487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ech bubble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2473875" y="245062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le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2460524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rg chart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4454856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lip chart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9432388" y="243831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slike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3457690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ye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5452022" y="334487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avel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5416814" y="417675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rchive box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9396816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cument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9432216" y="3344875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pen folder</a:t>
            </a:r>
          </a:p>
        </p:txBody>
      </p:sp>
      <p:sp>
        <p:nvSpPr>
          <p:cNvPr id="529" name="TextBox 528"/>
          <p:cNvSpPr txBox="1"/>
          <p:nvPr/>
        </p:nvSpPr>
        <p:spPr>
          <a:xfrm>
            <a:off x="8402607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esenting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7408401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w tie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6414195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odium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457426" y="4176750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tchel</a:t>
            </a:r>
          </a:p>
        </p:txBody>
      </p:sp>
      <p:sp>
        <p:nvSpPr>
          <p:cNvPr id="623" name="TextBox 622"/>
          <p:cNvSpPr txBox="1"/>
          <p:nvPr/>
        </p:nvSpPr>
        <p:spPr>
          <a:xfrm>
            <a:off x="5463805" y="2450632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n, man, woman</a:t>
            </a:r>
          </a:p>
        </p:txBody>
      </p:sp>
      <p:grpSp>
        <p:nvGrpSpPr>
          <p:cNvPr id="256" name="Group 795"/>
          <p:cNvGrpSpPr>
            <a:grpSpLocks noChangeAspect="1"/>
          </p:cNvGrpSpPr>
          <p:nvPr/>
        </p:nvGrpSpPr>
        <p:grpSpPr bwMode="auto">
          <a:xfrm>
            <a:off x="6913162" y="2051051"/>
            <a:ext cx="369676" cy="369676"/>
            <a:chOff x="7361" y="3009"/>
            <a:chExt cx="340" cy="340"/>
          </a:xfrm>
          <a:solidFill>
            <a:schemeClr val="accent6"/>
          </a:solidFill>
        </p:grpSpPr>
        <p:sp>
          <p:nvSpPr>
            <p:cNvPr id="257" name="Freeform 796"/>
            <p:cNvSpPr>
              <a:spLocks noEditPoints="1"/>
            </p:cNvSpPr>
            <p:nvPr/>
          </p:nvSpPr>
          <p:spPr bwMode="auto">
            <a:xfrm>
              <a:off x="7431" y="3129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797"/>
            <p:cNvSpPr>
              <a:spLocks noEditPoints="1"/>
            </p:cNvSpPr>
            <p:nvPr/>
          </p:nvSpPr>
          <p:spPr bwMode="auto">
            <a:xfrm>
              <a:off x="7439" y="3073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798"/>
            <p:cNvSpPr>
              <a:spLocks noEditPoints="1"/>
            </p:cNvSpPr>
            <p:nvPr/>
          </p:nvSpPr>
          <p:spPr bwMode="auto">
            <a:xfrm>
              <a:off x="7502" y="3129"/>
              <a:ext cx="58" cy="142"/>
            </a:xfrm>
            <a:custGeom>
              <a:avLst/>
              <a:gdLst>
                <a:gd name="T0" fmla="*/ 53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0 w 86"/>
                <a:gd name="T7" fmla="*/ 115 h 213"/>
                <a:gd name="T8" fmla="*/ 2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1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3 w 86"/>
                <a:gd name="T21" fmla="*/ 128 h 213"/>
                <a:gd name="T22" fmla="*/ 53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3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3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8"/>
                    <a:pt x="0" y="122"/>
                    <a:pt x="2" y="124"/>
                  </a:cubicBezTo>
                  <a:cubicBezTo>
                    <a:pt x="4" y="127"/>
                    <a:pt x="7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8" y="0"/>
                    <a:pt x="53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799"/>
            <p:cNvSpPr>
              <a:spLocks noEditPoints="1"/>
            </p:cNvSpPr>
            <p:nvPr/>
          </p:nvSpPr>
          <p:spPr bwMode="auto">
            <a:xfrm>
              <a:off x="7510" y="3073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800"/>
            <p:cNvSpPr>
              <a:spLocks noEditPoints="1"/>
            </p:cNvSpPr>
            <p:nvPr/>
          </p:nvSpPr>
          <p:spPr bwMode="auto">
            <a:xfrm>
              <a:off x="7573" y="3129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801"/>
            <p:cNvSpPr>
              <a:spLocks noEditPoints="1"/>
            </p:cNvSpPr>
            <p:nvPr/>
          </p:nvSpPr>
          <p:spPr bwMode="auto">
            <a:xfrm>
              <a:off x="7580" y="307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802"/>
            <p:cNvSpPr>
              <a:spLocks noEditPoints="1"/>
            </p:cNvSpPr>
            <p:nvPr/>
          </p:nvSpPr>
          <p:spPr bwMode="auto">
            <a:xfrm>
              <a:off x="7361" y="3009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806"/>
          <p:cNvSpPr>
            <a:spLocks noChangeAspect="1" noEditPoints="1"/>
          </p:cNvSpPr>
          <p:nvPr/>
        </p:nvSpPr>
        <p:spPr bwMode="auto">
          <a:xfrm>
            <a:off x="6415059" y="2051051"/>
            <a:ext cx="369676" cy="369676"/>
          </a:xfrm>
          <a:custGeom>
            <a:avLst/>
            <a:gdLst>
              <a:gd name="T0" fmla="*/ 275 w 512"/>
              <a:gd name="T1" fmla="*/ 288 h 512"/>
              <a:gd name="T2" fmla="*/ 254 w 512"/>
              <a:gd name="T3" fmla="*/ 202 h 512"/>
              <a:gd name="T4" fmla="*/ 256 w 512"/>
              <a:gd name="T5" fmla="*/ 138 h 512"/>
              <a:gd name="T6" fmla="*/ 256 w 512"/>
              <a:gd name="T7" fmla="*/ 117 h 512"/>
              <a:gd name="T8" fmla="*/ 256 w 512"/>
              <a:gd name="T9" fmla="*/ 138 h 512"/>
              <a:gd name="T10" fmla="*/ 160 w 512"/>
              <a:gd name="T11" fmla="*/ 128 h 512"/>
              <a:gd name="T12" fmla="*/ 138 w 512"/>
              <a:gd name="T13" fmla="*/ 128 h 512"/>
              <a:gd name="T14" fmla="*/ 147 w 512"/>
              <a:gd name="T15" fmla="*/ 202 h 512"/>
              <a:gd name="T16" fmla="*/ 168 w 512"/>
              <a:gd name="T17" fmla="*/ 288 h 512"/>
              <a:gd name="T18" fmla="*/ 147 w 512"/>
              <a:gd name="T19" fmla="*/ 202 h 512"/>
              <a:gd name="T20" fmla="*/ 384 w 512"/>
              <a:gd name="T21" fmla="*/ 266 h 512"/>
              <a:gd name="T22" fmla="*/ 341 w 512"/>
              <a:gd name="T23" fmla="*/ 202 h 512"/>
              <a:gd name="T24" fmla="*/ 362 w 512"/>
              <a:gd name="T25" fmla="*/ 138 h 512"/>
              <a:gd name="T26" fmla="*/ 362 w 512"/>
              <a:gd name="T27" fmla="*/ 117 h 512"/>
              <a:gd name="T28" fmla="*/ 362 w 512"/>
              <a:gd name="T29" fmla="*/ 138 h 512"/>
              <a:gd name="T30" fmla="*/ 256 w 512"/>
              <a:gd name="T31" fmla="*/ 512 h 512"/>
              <a:gd name="T32" fmla="*/ 256 w 512"/>
              <a:gd name="T33" fmla="*/ 0 h 512"/>
              <a:gd name="T34" fmla="*/ 330 w 512"/>
              <a:gd name="T35" fmla="*/ 128 h 512"/>
              <a:gd name="T36" fmla="*/ 394 w 512"/>
              <a:gd name="T37" fmla="*/ 128 h 512"/>
              <a:gd name="T38" fmla="*/ 330 w 512"/>
              <a:gd name="T39" fmla="*/ 128 h 512"/>
              <a:gd name="T40" fmla="*/ 256 w 512"/>
              <a:gd name="T41" fmla="*/ 160 h 512"/>
              <a:gd name="T42" fmla="*/ 256 w 512"/>
              <a:gd name="T43" fmla="*/ 96 h 512"/>
              <a:gd name="T44" fmla="*/ 117 w 512"/>
              <a:gd name="T45" fmla="*/ 128 h 512"/>
              <a:gd name="T46" fmla="*/ 181 w 512"/>
              <a:gd name="T47" fmla="*/ 128 h 512"/>
              <a:gd name="T48" fmla="*/ 117 w 512"/>
              <a:gd name="T49" fmla="*/ 128 h 512"/>
              <a:gd name="T50" fmla="*/ 170 w 512"/>
              <a:gd name="T51" fmla="*/ 190 h 512"/>
              <a:gd name="T52" fmla="*/ 138 w 512"/>
              <a:gd name="T53" fmla="*/ 181 h 512"/>
              <a:gd name="T54" fmla="*/ 107 w 512"/>
              <a:gd name="T55" fmla="*/ 296 h 512"/>
              <a:gd name="T56" fmla="*/ 117 w 512"/>
              <a:gd name="T57" fmla="*/ 309 h 512"/>
              <a:gd name="T58" fmla="*/ 128 w 512"/>
              <a:gd name="T59" fmla="*/ 394 h 512"/>
              <a:gd name="T60" fmla="*/ 138 w 512"/>
              <a:gd name="T61" fmla="*/ 309 h 512"/>
              <a:gd name="T62" fmla="*/ 160 w 512"/>
              <a:gd name="T63" fmla="*/ 384 h 512"/>
              <a:gd name="T64" fmla="*/ 181 w 512"/>
              <a:gd name="T65" fmla="*/ 384 h 512"/>
              <a:gd name="T66" fmla="*/ 189 w 512"/>
              <a:gd name="T67" fmla="*/ 305 h 512"/>
              <a:gd name="T68" fmla="*/ 298 w 512"/>
              <a:gd name="T69" fmla="*/ 296 h 512"/>
              <a:gd name="T70" fmla="*/ 266 w 512"/>
              <a:gd name="T71" fmla="*/ 181 h 512"/>
              <a:gd name="T72" fmla="*/ 235 w 512"/>
              <a:gd name="T73" fmla="*/ 190 h 512"/>
              <a:gd name="T74" fmla="*/ 215 w 512"/>
              <a:gd name="T75" fmla="*/ 305 h 512"/>
              <a:gd name="T76" fmla="*/ 224 w 512"/>
              <a:gd name="T77" fmla="*/ 384 h 512"/>
              <a:gd name="T78" fmla="*/ 245 w 512"/>
              <a:gd name="T79" fmla="*/ 384 h 512"/>
              <a:gd name="T80" fmla="*/ 266 w 512"/>
              <a:gd name="T81" fmla="*/ 309 h 512"/>
              <a:gd name="T82" fmla="*/ 277 w 512"/>
              <a:gd name="T83" fmla="*/ 394 h 512"/>
              <a:gd name="T84" fmla="*/ 288 w 512"/>
              <a:gd name="T85" fmla="*/ 309 h 512"/>
              <a:gd name="T86" fmla="*/ 298 w 512"/>
              <a:gd name="T87" fmla="*/ 296 h 512"/>
              <a:gd name="T88" fmla="*/ 394 w 512"/>
              <a:gd name="T89" fmla="*/ 181 h 512"/>
              <a:gd name="T90" fmla="*/ 320 w 512"/>
              <a:gd name="T91" fmla="*/ 192 h 512"/>
              <a:gd name="T92" fmla="*/ 330 w 512"/>
              <a:gd name="T93" fmla="*/ 288 h 512"/>
              <a:gd name="T94" fmla="*/ 341 w 512"/>
              <a:gd name="T95" fmla="*/ 394 h 512"/>
              <a:gd name="T96" fmla="*/ 352 w 512"/>
              <a:gd name="T97" fmla="*/ 288 h 512"/>
              <a:gd name="T98" fmla="*/ 373 w 512"/>
              <a:gd name="T99" fmla="*/ 384 h 512"/>
              <a:gd name="T100" fmla="*/ 394 w 512"/>
              <a:gd name="T101" fmla="*/ 384 h 512"/>
              <a:gd name="T102" fmla="*/ 405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58" y="202"/>
                </a:moveTo>
                <a:cubicBezTo>
                  <a:pt x="275" y="288"/>
                  <a:pt x="275" y="288"/>
                  <a:pt x="275" y="288"/>
                </a:cubicBezTo>
                <a:cubicBezTo>
                  <a:pt x="237" y="288"/>
                  <a:pt x="237" y="288"/>
                  <a:pt x="237" y="288"/>
                </a:cubicBezTo>
                <a:cubicBezTo>
                  <a:pt x="254" y="202"/>
                  <a:pt x="254" y="202"/>
                  <a:pt x="254" y="202"/>
                </a:cubicBezTo>
                <a:lnTo>
                  <a:pt x="258" y="202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  <a:moveTo>
                  <a:pt x="149" y="138"/>
                </a:moveTo>
                <a:cubicBezTo>
                  <a:pt x="155" y="138"/>
                  <a:pt x="160" y="134"/>
                  <a:pt x="160" y="128"/>
                </a:cubicBezTo>
                <a:cubicBezTo>
                  <a:pt x="160" y="122"/>
                  <a:pt x="155" y="117"/>
                  <a:pt x="149" y="117"/>
                </a:cubicBezTo>
                <a:cubicBezTo>
                  <a:pt x="143" y="117"/>
                  <a:pt x="138" y="122"/>
                  <a:pt x="138" y="128"/>
                </a:cubicBezTo>
                <a:cubicBezTo>
                  <a:pt x="138" y="134"/>
                  <a:pt x="143" y="138"/>
                  <a:pt x="149" y="138"/>
                </a:cubicBezTo>
                <a:close/>
                <a:moveTo>
                  <a:pt x="147" y="202"/>
                </a:moveTo>
                <a:cubicBezTo>
                  <a:pt x="130" y="288"/>
                  <a:pt x="130" y="288"/>
                  <a:pt x="130" y="288"/>
                </a:cubicBezTo>
                <a:cubicBezTo>
                  <a:pt x="168" y="288"/>
                  <a:pt x="168" y="288"/>
                  <a:pt x="168" y="288"/>
                </a:cubicBezTo>
                <a:cubicBezTo>
                  <a:pt x="151" y="202"/>
                  <a:pt x="151" y="202"/>
                  <a:pt x="151" y="202"/>
                </a:cubicBezTo>
                <a:lnTo>
                  <a:pt x="147" y="202"/>
                </a:lnTo>
                <a:close/>
                <a:moveTo>
                  <a:pt x="341" y="266"/>
                </a:moveTo>
                <a:cubicBezTo>
                  <a:pt x="384" y="266"/>
                  <a:pt x="384" y="266"/>
                  <a:pt x="384" y="266"/>
                </a:cubicBezTo>
                <a:cubicBezTo>
                  <a:pt x="384" y="202"/>
                  <a:pt x="384" y="202"/>
                  <a:pt x="384" y="202"/>
                </a:cubicBezTo>
                <a:cubicBezTo>
                  <a:pt x="341" y="202"/>
                  <a:pt x="341" y="202"/>
                  <a:pt x="341" y="202"/>
                </a:cubicBezTo>
                <a:lnTo>
                  <a:pt x="341" y="266"/>
                </a:lnTo>
                <a:close/>
                <a:moveTo>
                  <a:pt x="362" y="138"/>
                </a:moveTo>
                <a:cubicBezTo>
                  <a:pt x="368" y="138"/>
                  <a:pt x="373" y="134"/>
                  <a:pt x="373" y="128"/>
                </a:cubicBezTo>
                <a:cubicBezTo>
                  <a:pt x="373" y="122"/>
                  <a:pt x="368" y="117"/>
                  <a:pt x="362" y="117"/>
                </a:cubicBezTo>
                <a:cubicBezTo>
                  <a:pt x="356" y="117"/>
                  <a:pt x="352" y="122"/>
                  <a:pt x="352" y="128"/>
                </a:cubicBezTo>
                <a:cubicBezTo>
                  <a:pt x="352" y="134"/>
                  <a:pt x="356" y="138"/>
                  <a:pt x="362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28"/>
                </a:moveTo>
                <a:cubicBezTo>
                  <a:pt x="330" y="145"/>
                  <a:pt x="345" y="160"/>
                  <a:pt x="362" y="160"/>
                </a:cubicBezTo>
                <a:cubicBezTo>
                  <a:pt x="380" y="160"/>
                  <a:pt x="394" y="145"/>
                  <a:pt x="394" y="128"/>
                </a:cubicBezTo>
                <a:cubicBezTo>
                  <a:pt x="394" y="110"/>
                  <a:pt x="380" y="96"/>
                  <a:pt x="362" y="96"/>
                </a:cubicBezTo>
                <a:cubicBezTo>
                  <a:pt x="345" y="96"/>
                  <a:pt x="330" y="110"/>
                  <a:pt x="330" y="128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117" y="128"/>
                </a:moveTo>
                <a:cubicBezTo>
                  <a:pt x="117" y="145"/>
                  <a:pt x="131" y="160"/>
                  <a:pt x="149" y="160"/>
                </a:cubicBezTo>
                <a:cubicBezTo>
                  <a:pt x="167" y="160"/>
                  <a:pt x="181" y="145"/>
                  <a:pt x="181" y="128"/>
                </a:cubicBezTo>
                <a:cubicBezTo>
                  <a:pt x="181" y="110"/>
                  <a:pt x="167" y="96"/>
                  <a:pt x="149" y="96"/>
                </a:cubicBezTo>
                <a:cubicBezTo>
                  <a:pt x="131" y="96"/>
                  <a:pt x="117" y="110"/>
                  <a:pt x="117" y="128"/>
                </a:cubicBezTo>
                <a:close/>
                <a:moveTo>
                  <a:pt x="191" y="296"/>
                </a:moveTo>
                <a:cubicBezTo>
                  <a:pt x="170" y="190"/>
                  <a:pt x="170" y="190"/>
                  <a:pt x="170" y="190"/>
                </a:cubicBezTo>
                <a:cubicBezTo>
                  <a:pt x="169" y="185"/>
                  <a:pt x="165" y="181"/>
                  <a:pt x="160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3" y="181"/>
                  <a:pt x="129" y="185"/>
                  <a:pt x="128" y="190"/>
                </a:cubicBezTo>
                <a:cubicBezTo>
                  <a:pt x="107" y="296"/>
                  <a:pt x="107" y="296"/>
                  <a:pt x="107" y="296"/>
                </a:cubicBezTo>
                <a:cubicBezTo>
                  <a:pt x="106" y="299"/>
                  <a:pt x="107" y="303"/>
                  <a:pt x="109" y="305"/>
                </a:cubicBezTo>
                <a:cubicBezTo>
                  <a:pt x="111" y="308"/>
                  <a:pt x="114" y="309"/>
                  <a:pt x="117" y="309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134" y="394"/>
                  <a:pt x="138" y="390"/>
                  <a:pt x="138" y="384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60" y="309"/>
                  <a:pt x="160" y="309"/>
                  <a:pt x="160" y="309"/>
                </a:cubicBezTo>
                <a:cubicBezTo>
                  <a:pt x="160" y="384"/>
                  <a:pt x="160" y="384"/>
                  <a:pt x="160" y="384"/>
                </a:cubicBezTo>
                <a:cubicBezTo>
                  <a:pt x="160" y="390"/>
                  <a:pt x="164" y="394"/>
                  <a:pt x="170" y="394"/>
                </a:cubicBezTo>
                <a:cubicBezTo>
                  <a:pt x="176" y="394"/>
                  <a:pt x="181" y="390"/>
                  <a:pt x="181" y="384"/>
                </a:cubicBezTo>
                <a:cubicBezTo>
                  <a:pt x="181" y="309"/>
                  <a:pt x="181" y="309"/>
                  <a:pt x="181" y="309"/>
                </a:cubicBezTo>
                <a:cubicBezTo>
                  <a:pt x="184" y="309"/>
                  <a:pt x="187" y="308"/>
                  <a:pt x="189" y="305"/>
                </a:cubicBezTo>
                <a:cubicBezTo>
                  <a:pt x="191" y="303"/>
                  <a:pt x="192" y="299"/>
                  <a:pt x="191" y="296"/>
                </a:cubicBezTo>
                <a:close/>
                <a:moveTo>
                  <a:pt x="298" y="296"/>
                </a:moveTo>
                <a:cubicBezTo>
                  <a:pt x="277" y="190"/>
                  <a:pt x="277" y="190"/>
                  <a:pt x="277" y="190"/>
                </a:cubicBezTo>
                <a:cubicBezTo>
                  <a:pt x="276" y="185"/>
                  <a:pt x="271" y="181"/>
                  <a:pt x="266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0" y="181"/>
                  <a:pt x="236" y="185"/>
                  <a:pt x="235" y="190"/>
                </a:cubicBezTo>
                <a:cubicBezTo>
                  <a:pt x="213" y="296"/>
                  <a:pt x="213" y="296"/>
                  <a:pt x="213" y="296"/>
                </a:cubicBezTo>
                <a:cubicBezTo>
                  <a:pt x="213" y="299"/>
                  <a:pt x="213" y="303"/>
                  <a:pt x="215" y="305"/>
                </a:cubicBezTo>
                <a:cubicBezTo>
                  <a:pt x="217" y="308"/>
                  <a:pt x="220" y="309"/>
                  <a:pt x="224" y="309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24" y="390"/>
                  <a:pt x="228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283" y="394"/>
                  <a:pt x="288" y="390"/>
                  <a:pt x="288" y="384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91" y="309"/>
                  <a:pt x="294" y="308"/>
                  <a:pt x="296" y="305"/>
                </a:cubicBezTo>
                <a:cubicBezTo>
                  <a:pt x="298" y="303"/>
                  <a:pt x="299" y="299"/>
                  <a:pt x="298" y="296"/>
                </a:cubicBezTo>
                <a:close/>
                <a:moveTo>
                  <a:pt x="405" y="192"/>
                </a:moveTo>
                <a:cubicBezTo>
                  <a:pt x="405" y="186"/>
                  <a:pt x="400" y="181"/>
                  <a:pt x="394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24" y="181"/>
                  <a:pt x="320" y="186"/>
                  <a:pt x="320" y="192"/>
                </a:cubicBezTo>
                <a:cubicBezTo>
                  <a:pt x="320" y="277"/>
                  <a:pt x="320" y="277"/>
                  <a:pt x="320" y="277"/>
                </a:cubicBezTo>
                <a:cubicBezTo>
                  <a:pt x="320" y="283"/>
                  <a:pt x="324" y="288"/>
                  <a:pt x="330" y="288"/>
                </a:cubicBezTo>
                <a:cubicBezTo>
                  <a:pt x="330" y="384"/>
                  <a:pt x="330" y="384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373" y="384"/>
                  <a:pt x="373" y="384"/>
                  <a:pt x="373" y="384"/>
                </a:cubicBezTo>
                <a:cubicBezTo>
                  <a:pt x="373" y="390"/>
                  <a:pt x="378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288"/>
                  <a:pt x="394" y="288"/>
                  <a:pt x="394" y="288"/>
                </a:cubicBezTo>
                <a:cubicBezTo>
                  <a:pt x="400" y="288"/>
                  <a:pt x="405" y="283"/>
                  <a:pt x="405" y="277"/>
                </a:cubicBezTo>
                <a:lnTo>
                  <a:pt x="405" y="19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809"/>
          <p:cNvGrpSpPr>
            <a:grpSpLocks noChangeAspect="1"/>
          </p:cNvGrpSpPr>
          <p:nvPr/>
        </p:nvGrpSpPr>
        <p:grpSpPr bwMode="auto">
          <a:xfrm>
            <a:off x="3917094" y="2051051"/>
            <a:ext cx="369676" cy="369676"/>
            <a:chOff x="6589" y="3004"/>
            <a:chExt cx="340" cy="340"/>
          </a:xfrm>
          <a:solidFill>
            <a:schemeClr val="accent1"/>
          </a:solidFill>
        </p:grpSpPr>
        <p:sp>
          <p:nvSpPr>
            <p:cNvPr id="266" name="Freeform 810"/>
            <p:cNvSpPr>
              <a:spLocks noEditPoints="1"/>
            </p:cNvSpPr>
            <p:nvPr/>
          </p:nvSpPr>
          <p:spPr bwMode="auto">
            <a:xfrm>
              <a:off x="6589" y="30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811"/>
            <p:cNvSpPr>
              <a:spLocks noEditPoints="1"/>
            </p:cNvSpPr>
            <p:nvPr/>
          </p:nvSpPr>
          <p:spPr bwMode="auto">
            <a:xfrm>
              <a:off x="6666" y="3067"/>
              <a:ext cx="185" cy="186"/>
            </a:xfrm>
            <a:custGeom>
              <a:avLst/>
              <a:gdLst>
                <a:gd name="T0" fmla="*/ 227 w 279"/>
                <a:gd name="T1" fmla="*/ 247 h 280"/>
                <a:gd name="T2" fmla="*/ 191 w 279"/>
                <a:gd name="T3" fmla="*/ 225 h 280"/>
                <a:gd name="T4" fmla="*/ 267 w 279"/>
                <a:gd name="T5" fmla="*/ 218 h 280"/>
                <a:gd name="T6" fmla="*/ 236 w 279"/>
                <a:gd name="T7" fmla="*/ 97 h 280"/>
                <a:gd name="T8" fmla="*/ 170 w 279"/>
                <a:gd name="T9" fmla="*/ 5 h 280"/>
                <a:gd name="T10" fmla="*/ 140 w 279"/>
                <a:gd name="T11" fmla="*/ 1 h 280"/>
                <a:gd name="T12" fmla="*/ 106 w 279"/>
                <a:gd name="T13" fmla="*/ 6 h 280"/>
                <a:gd name="T14" fmla="*/ 44 w 279"/>
                <a:gd name="T15" fmla="*/ 97 h 280"/>
                <a:gd name="T16" fmla="*/ 12 w 279"/>
                <a:gd name="T17" fmla="*/ 218 h 280"/>
                <a:gd name="T18" fmla="*/ 88 w 279"/>
                <a:gd name="T19" fmla="*/ 225 h 280"/>
                <a:gd name="T20" fmla="*/ 53 w 279"/>
                <a:gd name="T21" fmla="*/ 247 h 280"/>
                <a:gd name="T22" fmla="*/ 3 w 279"/>
                <a:gd name="T23" fmla="*/ 273 h 280"/>
                <a:gd name="T24" fmla="*/ 55 w 279"/>
                <a:gd name="T25" fmla="*/ 268 h 280"/>
                <a:gd name="T26" fmla="*/ 112 w 279"/>
                <a:gd name="T27" fmla="*/ 220 h 280"/>
                <a:gd name="T28" fmla="*/ 85 w 279"/>
                <a:gd name="T29" fmla="*/ 122 h 280"/>
                <a:gd name="T30" fmla="*/ 140 w 279"/>
                <a:gd name="T31" fmla="*/ 53 h 280"/>
                <a:gd name="T32" fmla="*/ 194 w 279"/>
                <a:gd name="T33" fmla="*/ 122 h 280"/>
                <a:gd name="T34" fmla="*/ 167 w 279"/>
                <a:gd name="T35" fmla="*/ 220 h 280"/>
                <a:gd name="T36" fmla="*/ 224 w 279"/>
                <a:gd name="T37" fmla="*/ 268 h 280"/>
                <a:gd name="T38" fmla="*/ 267 w 279"/>
                <a:gd name="T39" fmla="*/ 278 h 280"/>
                <a:gd name="T40" fmla="*/ 273 w 279"/>
                <a:gd name="T41" fmla="*/ 258 h 280"/>
                <a:gd name="T42" fmla="*/ 93 w 279"/>
                <a:gd name="T43" fmla="*/ 203 h 280"/>
                <a:gd name="T44" fmla="*/ 64 w 279"/>
                <a:gd name="T45" fmla="*/ 126 h 280"/>
                <a:gd name="T46" fmla="*/ 93 w 279"/>
                <a:gd name="T47" fmla="*/ 194 h 280"/>
                <a:gd name="T48" fmla="*/ 93 w 279"/>
                <a:gd name="T49" fmla="*/ 40 h 280"/>
                <a:gd name="T50" fmla="*/ 128 w 279"/>
                <a:gd name="T51" fmla="*/ 23 h 280"/>
                <a:gd name="T52" fmla="*/ 151 w 279"/>
                <a:gd name="T53" fmla="*/ 23 h 280"/>
                <a:gd name="T54" fmla="*/ 186 w 279"/>
                <a:gd name="T55" fmla="*/ 40 h 280"/>
                <a:gd name="T56" fmla="*/ 151 w 279"/>
                <a:gd name="T57" fmla="*/ 23 h 280"/>
                <a:gd name="T58" fmla="*/ 215 w 279"/>
                <a:gd name="T59" fmla="*/ 127 h 280"/>
                <a:gd name="T60" fmla="*/ 237 w 279"/>
                <a:gd name="T61" fmla="*/ 203 h 280"/>
                <a:gd name="T62" fmla="*/ 186 w 279"/>
                <a:gd name="T63" fmla="*/ 19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9" h="280">
                  <a:moveTo>
                    <a:pt x="273" y="258"/>
                  </a:moveTo>
                  <a:cubicBezTo>
                    <a:pt x="259" y="250"/>
                    <a:pt x="242" y="249"/>
                    <a:pt x="227" y="247"/>
                  </a:cubicBezTo>
                  <a:cubicBezTo>
                    <a:pt x="217" y="246"/>
                    <a:pt x="207" y="245"/>
                    <a:pt x="203" y="243"/>
                  </a:cubicBezTo>
                  <a:cubicBezTo>
                    <a:pt x="198" y="240"/>
                    <a:pt x="194" y="233"/>
                    <a:pt x="191" y="225"/>
                  </a:cubicBezTo>
                  <a:cubicBezTo>
                    <a:pt x="257" y="225"/>
                    <a:pt x="257" y="225"/>
                    <a:pt x="257" y="225"/>
                  </a:cubicBezTo>
                  <a:cubicBezTo>
                    <a:pt x="261" y="225"/>
                    <a:pt x="265" y="222"/>
                    <a:pt x="267" y="218"/>
                  </a:cubicBezTo>
                  <a:cubicBezTo>
                    <a:pt x="269" y="214"/>
                    <a:pt x="267" y="209"/>
                    <a:pt x="264" y="206"/>
                  </a:cubicBezTo>
                  <a:cubicBezTo>
                    <a:pt x="264" y="206"/>
                    <a:pt x="236" y="177"/>
                    <a:pt x="236" y="97"/>
                  </a:cubicBezTo>
                  <a:cubicBezTo>
                    <a:pt x="236" y="68"/>
                    <a:pt x="227" y="44"/>
                    <a:pt x="210" y="28"/>
                  </a:cubicBezTo>
                  <a:cubicBezTo>
                    <a:pt x="197" y="15"/>
                    <a:pt x="182" y="9"/>
                    <a:pt x="170" y="5"/>
                  </a:cubicBezTo>
                  <a:cubicBezTo>
                    <a:pt x="154" y="0"/>
                    <a:pt x="141" y="1"/>
                    <a:pt x="140" y="1"/>
                  </a:cubicBezTo>
                  <a:cubicBezTo>
                    <a:pt x="140" y="1"/>
                    <a:pt x="140" y="1"/>
                    <a:pt x="140" y="1"/>
                  </a:cubicBezTo>
                  <a:cubicBezTo>
                    <a:pt x="139" y="1"/>
                    <a:pt x="139" y="1"/>
                    <a:pt x="138" y="1"/>
                  </a:cubicBezTo>
                  <a:cubicBezTo>
                    <a:pt x="136" y="1"/>
                    <a:pt x="122" y="0"/>
                    <a:pt x="106" y="6"/>
                  </a:cubicBezTo>
                  <a:cubicBezTo>
                    <a:pt x="94" y="10"/>
                    <a:pt x="81" y="16"/>
                    <a:pt x="70" y="28"/>
                  </a:cubicBezTo>
                  <a:cubicBezTo>
                    <a:pt x="52" y="44"/>
                    <a:pt x="44" y="68"/>
                    <a:pt x="44" y="97"/>
                  </a:cubicBezTo>
                  <a:cubicBezTo>
                    <a:pt x="44" y="177"/>
                    <a:pt x="15" y="206"/>
                    <a:pt x="15" y="206"/>
                  </a:cubicBezTo>
                  <a:cubicBezTo>
                    <a:pt x="12" y="209"/>
                    <a:pt x="11" y="214"/>
                    <a:pt x="12" y="218"/>
                  </a:cubicBezTo>
                  <a:cubicBezTo>
                    <a:pt x="14" y="222"/>
                    <a:pt x="18" y="225"/>
                    <a:pt x="22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85" y="233"/>
                    <a:pt x="81" y="240"/>
                    <a:pt x="77" y="243"/>
                  </a:cubicBezTo>
                  <a:cubicBezTo>
                    <a:pt x="72" y="245"/>
                    <a:pt x="62" y="246"/>
                    <a:pt x="53" y="247"/>
                  </a:cubicBezTo>
                  <a:cubicBezTo>
                    <a:pt x="37" y="249"/>
                    <a:pt x="20" y="250"/>
                    <a:pt x="7" y="258"/>
                  </a:cubicBezTo>
                  <a:cubicBezTo>
                    <a:pt x="2" y="261"/>
                    <a:pt x="0" y="267"/>
                    <a:pt x="3" y="273"/>
                  </a:cubicBezTo>
                  <a:cubicBezTo>
                    <a:pt x="5" y="278"/>
                    <a:pt x="12" y="280"/>
                    <a:pt x="17" y="277"/>
                  </a:cubicBezTo>
                  <a:cubicBezTo>
                    <a:pt x="27" y="271"/>
                    <a:pt x="42" y="270"/>
                    <a:pt x="55" y="268"/>
                  </a:cubicBezTo>
                  <a:cubicBezTo>
                    <a:pt x="67" y="267"/>
                    <a:pt x="78" y="266"/>
                    <a:pt x="86" y="262"/>
                  </a:cubicBezTo>
                  <a:cubicBezTo>
                    <a:pt x="102" y="253"/>
                    <a:pt x="109" y="230"/>
                    <a:pt x="112" y="220"/>
                  </a:cubicBezTo>
                  <a:cubicBezTo>
                    <a:pt x="114" y="211"/>
                    <a:pt x="117" y="193"/>
                    <a:pt x="111" y="183"/>
                  </a:cubicBezTo>
                  <a:cubicBezTo>
                    <a:pt x="100" y="167"/>
                    <a:pt x="89" y="142"/>
                    <a:pt x="85" y="122"/>
                  </a:cubicBezTo>
                  <a:cubicBezTo>
                    <a:pt x="82" y="112"/>
                    <a:pt x="81" y="103"/>
                    <a:pt x="80" y="95"/>
                  </a:cubicBezTo>
                  <a:cubicBezTo>
                    <a:pt x="106" y="91"/>
                    <a:pt x="127" y="75"/>
                    <a:pt x="140" y="53"/>
                  </a:cubicBezTo>
                  <a:cubicBezTo>
                    <a:pt x="152" y="74"/>
                    <a:pt x="173" y="90"/>
                    <a:pt x="199" y="95"/>
                  </a:cubicBezTo>
                  <a:cubicBezTo>
                    <a:pt x="198" y="103"/>
                    <a:pt x="197" y="112"/>
                    <a:pt x="194" y="122"/>
                  </a:cubicBezTo>
                  <a:cubicBezTo>
                    <a:pt x="190" y="142"/>
                    <a:pt x="179" y="167"/>
                    <a:pt x="168" y="183"/>
                  </a:cubicBezTo>
                  <a:cubicBezTo>
                    <a:pt x="162" y="193"/>
                    <a:pt x="165" y="210"/>
                    <a:pt x="167" y="220"/>
                  </a:cubicBezTo>
                  <a:cubicBezTo>
                    <a:pt x="170" y="230"/>
                    <a:pt x="177" y="253"/>
                    <a:pt x="193" y="262"/>
                  </a:cubicBezTo>
                  <a:cubicBezTo>
                    <a:pt x="201" y="266"/>
                    <a:pt x="212" y="267"/>
                    <a:pt x="224" y="268"/>
                  </a:cubicBezTo>
                  <a:cubicBezTo>
                    <a:pt x="237" y="270"/>
                    <a:pt x="252" y="271"/>
                    <a:pt x="262" y="277"/>
                  </a:cubicBezTo>
                  <a:cubicBezTo>
                    <a:pt x="264" y="278"/>
                    <a:pt x="266" y="278"/>
                    <a:pt x="267" y="278"/>
                  </a:cubicBezTo>
                  <a:cubicBezTo>
                    <a:pt x="271" y="278"/>
                    <a:pt x="275" y="276"/>
                    <a:pt x="277" y="273"/>
                  </a:cubicBezTo>
                  <a:cubicBezTo>
                    <a:pt x="279" y="267"/>
                    <a:pt x="278" y="261"/>
                    <a:pt x="273" y="258"/>
                  </a:cubicBezTo>
                  <a:close/>
                  <a:moveTo>
                    <a:pt x="93" y="194"/>
                  </a:moveTo>
                  <a:cubicBezTo>
                    <a:pt x="94" y="196"/>
                    <a:pt x="94" y="199"/>
                    <a:pt x="93" y="203"/>
                  </a:cubicBezTo>
                  <a:cubicBezTo>
                    <a:pt x="43" y="203"/>
                    <a:pt x="43" y="203"/>
                    <a:pt x="43" y="203"/>
                  </a:cubicBezTo>
                  <a:cubicBezTo>
                    <a:pt x="51" y="188"/>
                    <a:pt x="60" y="164"/>
                    <a:pt x="64" y="126"/>
                  </a:cubicBezTo>
                  <a:cubicBezTo>
                    <a:pt x="64" y="126"/>
                    <a:pt x="64" y="126"/>
                    <a:pt x="64" y="127"/>
                  </a:cubicBezTo>
                  <a:cubicBezTo>
                    <a:pt x="69" y="150"/>
                    <a:pt x="81" y="177"/>
                    <a:pt x="93" y="194"/>
                  </a:cubicBezTo>
                  <a:close/>
                  <a:moveTo>
                    <a:pt x="80" y="73"/>
                  </a:moveTo>
                  <a:cubicBezTo>
                    <a:pt x="82" y="60"/>
                    <a:pt x="86" y="49"/>
                    <a:pt x="93" y="40"/>
                  </a:cubicBezTo>
                  <a:cubicBezTo>
                    <a:pt x="99" y="33"/>
                    <a:pt x="107" y="29"/>
                    <a:pt x="114" y="26"/>
                  </a:cubicBezTo>
                  <a:cubicBezTo>
                    <a:pt x="119" y="25"/>
                    <a:pt x="124" y="24"/>
                    <a:pt x="128" y="23"/>
                  </a:cubicBezTo>
                  <a:cubicBezTo>
                    <a:pt x="123" y="48"/>
                    <a:pt x="104" y="67"/>
                    <a:pt x="80" y="73"/>
                  </a:cubicBezTo>
                  <a:close/>
                  <a:moveTo>
                    <a:pt x="151" y="23"/>
                  </a:moveTo>
                  <a:cubicBezTo>
                    <a:pt x="155" y="23"/>
                    <a:pt x="159" y="24"/>
                    <a:pt x="163" y="25"/>
                  </a:cubicBezTo>
                  <a:cubicBezTo>
                    <a:pt x="171" y="28"/>
                    <a:pt x="179" y="33"/>
                    <a:pt x="186" y="40"/>
                  </a:cubicBezTo>
                  <a:cubicBezTo>
                    <a:pt x="193" y="49"/>
                    <a:pt x="197" y="60"/>
                    <a:pt x="199" y="73"/>
                  </a:cubicBezTo>
                  <a:cubicBezTo>
                    <a:pt x="175" y="67"/>
                    <a:pt x="156" y="48"/>
                    <a:pt x="151" y="23"/>
                  </a:cubicBezTo>
                  <a:close/>
                  <a:moveTo>
                    <a:pt x="186" y="195"/>
                  </a:moveTo>
                  <a:cubicBezTo>
                    <a:pt x="198" y="177"/>
                    <a:pt x="210" y="150"/>
                    <a:pt x="215" y="127"/>
                  </a:cubicBezTo>
                  <a:cubicBezTo>
                    <a:pt x="215" y="126"/>
                    <a:pt x="215" y="125"/>
                    <a:pt x="216" y="125"/>
                  </a:cubicBezTo>
                  <a:cubicBezTo>
                    <a:pt x="219" y="163"/>
                    <a:pt x="228" y="188"/>
                    <a:pt x="237" y="203"/>
                  </a:cubicBezTo>
                  <a:cubicBezTo>
                    <a:pt x="186" y="203"/>
                    <a:pt x="186" y="203"/>
                    <a:pt x="186" y="203"/>
                  </a:cubicBezTo>
                  <a:cubicBezTo>
                    <a:pt x="185" y="200"/>
                    <a:pt x="185" y="196"/>
                    <a:pt x="186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815"/>
          <p:cNvSpPr>
            <a:spLocks noChangeAspect="1" noEditPoints="1"/>
          </p:cNvSpPr>
          <p:nvPr/>
        </p:nvSpPr>
        <p:spPr bwMode="auto">
          <a:xfrm>
            <a:off x="3418991" y="2051051"/>
            <a:ext cx="369676" cy="369676"/>
          </a:xfrm>
          <a:custGeom>
            <a:avLst/>
            <a:gdLst>
              <a:gd name="T0" fmla="*/ 244 w 512"/>
              <a:gd name="T1" fmla="*/ 118 h 512"/>
              <a:gd name="T2" fmla="*/ 209 w 512"/>
              <a:gd name="T3" fmla="*/ 135 h 512"/>
              <a:gd name="T4" fmla="*/ 180 w 512"/>
              <a:gd name="T5" fmla="*/ 221 h 512"/>
              <a:gd name="T6" fmla="*/ 209 w 512"/>
              <a:gd name="T7" fmla="*/ 298 h 512"/>
              <a:gd name="T8" fmla="*/ 180 w 512"/>
              <a:gd name="T9" fmla="*/ 222 h 512"/>
              <a:gd name="T10" fmla="*/ 279 w 512"/>
              <a:gd name="T11" fmla="*/ 120 h 512"/>
              <a:gd name="T12" fmla="*/ 315 w 512"/>
              <a:gd name="T13" fmla="*/ 168 h 512"/>
              <a:gd name="T14" fmla="*/ 279 w 512"/>
              <a:gd name="T15" fmla="*/ 120 h 512"/>
              <a:gd name="T16" fmla="*/ 331 w 512"/>
              <a:gd name="T17" fmla="*/ 222 h 512"/>
              <a:gd name="T18" fmla="*/ 302 w 512"/>
              <a:gd name="T19" fmla="*/ 298 h 512"/>
              <a:gd name="T20" fmla="*/ 332 w 512"/>
              <a:gd name="T21" fmla="*/ 220 h 512"/>
              <a:gd name="T22" fmla="*/ 256 w 512"/>
              <a:gd name="T23" fmla="*/ 512 h 512"/>
              <a:gd name="T24" fmla="*/ 256 w 512"/>
              <a:gd name="T25" fmla="*/ 0 h 512"/>
              <a:gd name="T26" fmla="*/ 389 w 512"/>
              <a:gd name="T27" fmla="*/ 353 h 512"/>
              <a:gd name="T28" fmla="*/ 319 w 512"/>
              <a:gd name="T29" fmla="*/ 338 h 512"/>
              <a:gd name="T30" fmla="*/ 373 w 512"/>
              <a:gd name="T31" fmla="*/ 320 h 512"/>
              <a:gd name="T32" fmla="*/ 380 w 512"/>
              <a:gd name="T33" fmla="*/ 301 h 512"/>
              <a:gd name="T34" fmla="*/ 326 w 512"/>
              <a:gd name="T35" fmla="*/ 123 h 512"/>
              <a:gd name="T36" fmla="*/ 256 w 512"/>
              <a:gd name="T37" fmla="*/ 96 h 512"/>
              <a:gd name="T38" fmla="*/ 254 w 512"/>
              <a:gd name="T39" fmla="*/ 96 h 512"/>
              <a:gd name="T40" fmla="*/ 186 w 512"/>
              <a:gd name="T41" fmla="*/ 123 h 512"/>
              <a:gd name="T42" fmla="*/ 131 w 512"/>
              <a:gd name="T43" fmla="*/ 301 h 512"/>
              <a:gd name="T44" fmla="*/ 138 w 512"/>
              <a:gd name="T45" fmla="*/ 320 h 512"/>
              <a:gd name="T46" fmla="*/ 193 w 512"/>
              <a:gd name="T47" fmla="*/ 338 h 512"/>
              <a:gd name="T48" fmla="*/ 123 w 512"/>
              <a:gd name="T49" fmla="*/ 353 h 512"/>
              <a:gd name="T50" fmla="*/ 133 w 512"/>
              <a:gd name="T51" fmla="*/ 372 h 512"/>
              <a:gd name="T52" fmla="*/ 202 w 512"/>
              <a:gd name="T53" fmla="*/ 357 h 512"/>
              <a:gd name="T54" fmla="*/ 227 w 512"/>
              <a:gd name="T55" fmla="*/ 278 h 512"/>
              <a:gd name="T56" fmla="*/ 196 w 512"/>
              <a:gd name="T57" fmla="*/ 190 h 512"/>
              <a:gd name="T58" fmla="*/ 315 w 512"/>
              <a:gd name="T59" fmla="*/ 190 h 512"/>
              <a:gd name="T60" fmla="*/ 284 w 512"/>
              <a:gd name="T61" fmla="*/ 278 h 512"/>
              <a:gd name="T62" fmla="*/ 309 w 512"/>
              <a:gd name="T63" fmla="*/ 357 h 512"/>
              <a:gd name="T64" fmla="*/ 378 w 512"/>
              <a:gd name="T65" fmla="*/ 372 h 512"/>
              <a:gd name="T66" fmla="*/ 393 w 512"/>
              <a:gd name="T67" fmla="*/ 3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30" y="121"/>
                </a:moveTo>
                <a:cubicBezTo>
                  <a:pt x="235" y="120"/>
                  <a:pt x="240" y="119"/>
                  <a:pt x="244" y="118"/>
                </a:cubicBezTo>
                <a:cubicBezTo>
                  <a:pt x="239" y="143"/>
                  <a:pt x="220" y="162"/>
                  <a:pt x="196" y="168"/>
                </a:cubicBezTo>
                <a:cubicBezTo>
                  <a:pt x="198" y="155"/>
                  <a:pt x="202" y="144"/>
                  <a:pt x="209" y="135"/>
                </a:cubicBezTo>
                <a:cubicBezTo>
                  <a:pt x="215" y="128"/>
                  <a:pt x="223" y="124"/>
                  <a:pt x="230" y="121"/>
                </a:cubicBezTo>
                <a:close/>
                <a:moveTo>
                  <a:pt x="180" y="221"/>
                </a:moveTo>
                <a:cubicBezTo>
                  <a:pt x="176" y="259"/>
                  <a:pt x="167" y="283"/>
                  <a:pt x="159" y="298"/>
                </a:cubicBezTo>
                <a:cubicBezTo>
                  <a:pt x="209" y="298"/>
                  <a:pt x="209" y="298"/>
                  <a:pt x="209" y="298"/>
                </a:cubicBezTo>
                <a:cubicBezTo>
                  <a:pt x="210" y="294"/>
                  <a:pt x="210" y="291"/>
                  <a:pt x="209" y="289"/>
                </a:cubicBezTo>
                <a:cubicBezTo>
                  <a:pt x="197" y="272"/>
                  <a:pt x="185" y="245"/>
                  <a:pt x="180" y="222"/>
                </a:cubicBezTo>
                <a:cubicBezTo>
                  <a:pt x="180" y="221"/>
                  <a:pt x="180" y="221"/>
                  <a:pt x="180" y="221"/>
                </a:cubicBezTo>
                <a:close/>
                <a:moveTo>
                  <a:pt x="279" y="120"/>
                </a:moveTo>
                <a:cubicBezTo>
                  <a:pt x="275" y="119"/>
                  <a:pt x="271" y="118"/>
                  <a:pt x="267" y="118"/>
                </a:cubicBezTo>
                <a:cubicBezTo>
                  <a:pt x="272" y="143"/>
                  <a:pt x="291" y="162"/>
                  <a:pt x="315" y="168"/>
                </a:cubicBezTo>
                <a:cubicBezTo>
                  <a:pt x="313" y="155"/>
                  <a:pt x="309" y="144"/>
                  <a:pt x="302" y="135"/>
                </a:cubicBezTo>
                <a:cubicBezTo>
                  <a:pt x="295" y="128"/>
                  <a:pt x="287" y="123"/>
                  <a:pt x="279" y="120"/>
                </a:cubicBezTo>
                <a:close/>
                <a:moveTo>
                  <a:pt x="332" y="220"/>
                </a:moveTo>
                <a:cubicBezTo>
                  <a:pt x="331" y="220"/>
                  <a:pt x="331" y="221"/>
                  <a:pt x="331" y="222"/>
                </a:cubicBezTo>
                <a:cubicBezTo>
                  <a:pt x="326" y="245"/>
                  <a:pt x="314" y="272"/>
                  <a:pt x="302" y="290"/>
                </a:cubicBezTo>
                <a:cubicBezTo>
                  <a:pt x="301" y="291"/>
                  <a:pt x="301" y="295"/>
                  <a:pt x="302" y="298"/>
                </a:cubicBezTo>
                <a:cubicBezTo>
                  <a:pt x="353" y="298"/>
                  <a:pt x="353" y="298"/>
                  <a:pt x="353" y="298"/>
                </a:cubicBezTo>
                <a:cubicBezTo>
                  <a:pt x="344" y="283"/>
                  <a:pt x="335" y="258"/>
                  <a:pt x="332" y="2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353"/>
                </a:moveTo>
                <a:cubicBezTo>
                  <a:pt x="375" y="345"/>
                  <a:pt x="358" y="344"/>
                  <a:pt x="343" y="342"/>
                </a:cubicBezTo>
                <a:cubicBezTo>
                  <a:pt x="333" y="341"/>
                  <a:pt x="323" y="340"/>
                  <a:pt x="319" y="338"/>
                </a:cubicBezTo>
                <a:cubicBezTo>
                  <a:pt x="314" y="335"/>
                  <a:pt x="310" y="328"/>
                  <a:pt x="307" y="320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7" y="320"/>
                  <a:pt x="381" y="317"/>
                  <a:pt x="383" y="313"/>
                </a:cubicBezTo>
                <a:cubicBezTo>
                  <a:pt x="385" y="309"/>
                  <a:pt x="383" y="304"/>
                  <a:pt x="380" y="301"/>
                </a:cubicBezTo>
                <a:cubicBezTo>
                  <a:pt x="380" y="301"/>
                  <a:pt x="352" y="272"/>
                  <a:pt x="352" y="192"/>
                </a:cubicBezTo>
                <a:cubicBezTo>
                  <a:pt x="352" y="163"/>
                  <a:pt x="343" y="139"/>
                  <a:pt x="326" y="123"/>
                </a:cubicBezTo>
                <a:cubicBezTo>
                  <a:pt x="313" y="110"/>
                  <a:pt x="298" y="104"/>
                  <a:pt x="286" y="100"/>
                </a:cubicBezTo>
                <a:cubicBezTo>
                  <a:pt x="270" y="95"/>
                  <a:pt x="257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5" y="96"/>
                  <a:pt x="255" y="96"/>
                  <a:pt x="254" y="96"/>
                </a:cubicBezTo>
                <a:cubicBezTo>
                  <a:pt x="252" y="96"/>
                  <a:pt x="238" y="95"/>
                  <a:pt x="222" y="101"/>
                </a:cubicBezTo>
                <a:cubicBezTo>
                  <a:pt x="210" y="105"/>
                  <a:pt x="197" y="111"/>
                  <a:pt x="186" y="123"/>
                </a:cubicBezTo>
                <a:cubicBezTo>
                  <a:pt x="168" y="139"/>
                  <a:pt x="160" y="163"/>
                  <a:pt x="160" y="192"/>
                </a:cubicBezTo>
                <a:cubicBezTo>
                  <a:pt x="160" y="272"/>
                  <a:pt x="131" y="301"/>
                  <a:pt x="131" y="301"/>
                </a:cubicBezTo>
                <a:cubicBezTo>
                  <a:pt x="128" y="304"/>
                  <a:pt x="127" y="309"/>
                  <a:pt x="128" y="313"/>
                </a:cubicBezTo>
                <a:cubicBezTo>
                  <a:pt x="130" y="317"/>
                  <a:pt x="134" y="320"/>
                  <a:pt x="138" y="320"/>
                </a:cubicBezTo>
                <a:cubicBezTo>
                  <a:pt x="204" y="320"/>
                  <a:pt x="204" y="320"/>
                  <a:pt x="204" y="320"/>
                </a:cubicBezTo>
                <a:cubicBezTo>
                  <a:pt x="201" y="328"/>
                  <a:pt x="197" y="335"/>
                  <a:pt x="193" y="338"/>
                </a:cubicBezTo>
                <a:cubicBezTo>
                  <a:pt x="188" y="340"/>
                  <a:pt x="178" y="341"/>
                  <a:pt x="169" y="342"/>
                </a:cubicBezTo>
                <a:cubicBezTo>
                  <a:pt x="153" y="344"/>
                  <a:pt x="136" y="345"/>
                  <a:pt x="123" y="353"/>
                </a:cubicBezTo>
                <a:cubicBezTo>
                  <a:pt x="118" y="356"/>
                  <a:pt x="116" y="362"/>
                  <a:pt x="119" y="368"/>
                </a:cubicBezTo>
                <a:cubicBezTo>
                  <a:pt x="121" y="373"/>
                  <a:pt x="128" y="375"/>
                  <a:pt x="133" y="372"/>
                </a:cubicBezTo>
                <a:cubicBezTo>
                  <a:pt x="143" y="366"/>
                  <a:pt x="158" y="365"/>
                  <a:pt x="171" y="363"/>
                </a:cubicBezTo>
                <a:cubicBezTo>
                  <a:pt x="183" y="362"/>
                  <a:pt x="194" y="361"/>
                  <a:pt x="202" y="357"/>
                </a:cubicBezTo>
                <a:cubicBezTo>
                  <a:pt x="218" y="348"/>
                  <a:pt x="225" y="325"/>
                  <a:pt x="228" y="315"/>
                </a:cubicBezTo>
                <a:cubicBezTo>
                  <a:pt x="230" y="306"/>
                  <a:pt x="233" y="288"/>
                  <a:pt x="227" y="278"/>
                </a:cubicBezTo>
                <a:cubicBezTo>
                  <a:pt x="216" y="262"/>
                  <a:pt x="205" y="237"/>
                  <a:pt x="201" y="217"/>
                </a:cubicBezTo>
                <a:cubicBezTo>
                  <a:pt x="198" y="207"/>
                  <a:pt x="197" y="198"/>
                  <a:pt x="196" y="190"/>
                </a:cubicBezTo>
                <a:cubicBezTo>
                  <a:pt x="222" y="186"/>
                  <a:pt x="243" y="170"/>
                  <a:pt x="256" y="148"/>
                </a:cubicBezTo>
                <a:cubicBezTo>
                  <a:pt x="268" y="169"/>
                  <a:pt x="289" y="185"/>
                  <a:pt x="315" y="190"/>
                </a:cubicBezTo>
                <a:cubicBezTo>
                  <a:pt x="314" y="198"/>
                  <a:pt x="313" y="207"/>
                  <a:pt x="310" y="217"/>
                </a:cubicBezTo>
                <a:cubicBezTo>
                  <a:pt x="306" y="237"/>
                  <a:pt x="295" y="262"/>
                  <a:pt x="284" y="278"/>
                </a:cubicBezTo>
                <a:cubicBezTo>
                  <a:pt x="278" y="288"/>
                  <a:pt x="281" y="305"/>
                  <a:pt x="283" y="315"/>
                </a:cubicBezTo>
                <a:cubicBezTo>
                  <a:pt x="286" y="325"/>
                  <a:pt x="293" y="348"/>
                  <a:pt x="309" y="357"/>
                </a:cubicBezTo>
                <a:cubicBezTo>
                  <a:pt x="317" y="361"/>
                  <a:pt x="328" y="362"/>
                  <a:pt x="340" y="363"/>
                </a:cubicBezTo>
                <a:cubicBezTo>
                  <a:pt x="353" y="365"/>
                  <a:pt x="368" y="366"/>
                  <a:pt x="378" y="372"/>
                </a:cubicBezTo>
                <a:cubicBezTo>
                  <a:pt x="380" y="373"/>
                  <a:pt x="382" y="373"/>
                  <a:pt x="383" y="373"/>
                </a:cubicBezTo>
                <a:cubicBezTo>
                  <a:pt x="387" y="373"/>
                  <a:pt x="391" y="371"/>
                  <a:pt x="393" y="368"/>
                </a:cubicBezTo>
                <a:cubicBezTo>
                  <a:pt x="395" y="362"/>
                  <a:pt x="394" y="356"/>
                  <a:pt x="389" y="3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818"/>
          <p:cNvGrpSpPr>
            <a:grpSpLocks noChangeAspect="1"/>
          </p:cNvGrpSpPr>
          <p:nvPr/>
        </p:nvGrpSpPr>
        <p:grpSpPr bwMode="auto">
          <a:xfrm>
            <a:off x="1929952" y="2051051"/>
            <a:ext cx="369676" cy="369676"/>
            <a:chOff x="5841" y="3004"/>
            <a:chExt cx="340" cy="340"/>
          </a:xfrm>
          <a:solidFill>
            <a:schemeClr val="accent3"/>
          </a:solidFill>
        </p:grpSpPr>
        <p:sp>
          <p:nvSpPr>
            <p:cNvPr id="270" name="Freeform 819"/>
            <p:cNvSpPr>
              <a:spLocks noEditPoints="1"/>
            </p:cNvSpPr>
            <p:nvPr/>
          </p:nvSpPr>
          <p:spPr bwMode="auto">
            <a:xfrm>
              <a:off x="5975" y="3124"/>
              <a:ext cx="71" cy="156"/>
            </a:xfrm>
            <a:custGeom>
              <a:avLst/>
              <a:gdLst>
                <a:gd name="T0" fmla="*/ 75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3 w 107"/>
                <a:gd name="T7" fmla="*/ 8 h 235"/>
                <a:gd name="T8" fmla="*/ 1 w 107"/>
                <a:gd name="T9" fmla="*/ 136 h 235"/>
                <a:gd name="T10" fmla="*/ 3 w 107"/>
                <a:gd name="T11" fmla="*/ 145 h 235"/>
                <a:gd name="T12" fmla="*/ 11 w 107"/>
                <a:gd name="T13" fmla="*/ 149 h 235"/>
                <a:gd name="T14" fmla="*/ 22 w 107"/>
                <a:gd name="T15" fmla="*/ 149 h 235"/>
                <a:gd name="T16" fmla="*/ 22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6 w 107"/>
                <a:gd name="T31" fmla="*/ 224 h 235"/>
                <a:gd name="T32" fmla="*/ 86 w 107"/>
                <a:gd name="T33" fmla="*/ 149 h 235"/>
                <a:gd name="T34" fmla="*/ 96 w 107"/>
                <a:gd name="T35" fmla="*/ 149 h 235"/>
                <a:gd name="T36" fmla="*/ 105 w 107"/>
                <a:gd name="T37" fmla="*/ 145 h 235"/>
                <a:gd name="T38" fmla="*/ 107 w 107"/>
                <a:gd name="T39" fmla="*/ 136 h 235"/>
                <a:gd name="T40" fmla="*/ 75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3 w 107"/>
                <a:gd name="T47" fmla="*/ 128 h 235"/>
                <a:gd name="T48" fmla="*/ 25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5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3" y="8"/>
                  </a:cubicBezTo>
                  <a:cubicBezTo>
                    <a:pt x="1" y="136"/>
                    <a:pt x="1" y="136"/>
                    <a:pt x="1" y="136"/>
                  </a:cubicBezTo>
                  <a:cubicBezTo>
                    <a:pt x="0" y="139"/>
                    <a:pt x="1" y="143"/>
                    <a:pt x="3" y="145"/>
                  </a:cubicBezTo>
                  <a:cubicBezTo>
                    <a:pt x="5" y="148"/>
                    <a:pt x="8" y="149"/>
                    <a:pt x="11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2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6" y="230"/>
                    <a:pt x="86" y="224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100" y="149"/>
                    <a:pt x="103" y="148"/>
                    <a:pt x="105" y="145"/>
                  </a:cubicBezTo>
                  <a:cubicBezTo>
                    <a:pt x="107" y="143"/>
                    <a:pt x="107" y="139"/>
                    <a:pt x="107" y="136"/>
                  </a:cubicBezTo>
                  <a:lnTo>
                    <a:pt x="75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25" y="128"/>
                    <a:pt x="25" y="128"/>
                    <a:pt x="25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820"/>
            <p:cNvSpPr>
              <a:spLocks noEditPoints="1"/>
            </p:cNvSpPr>
            <p:nvPr/>
          </p:nvSpPr>
          <p:spPr bwMode="auto">
            <a:xfrm>
              <a:off x="5990" y="3068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821"/>
            <p:cNvSpPr>
              <a:spLocks noEditPoints="1"/>
            </p:cNvSpPr>
            <p:nvPr/>
          </p:nvSpPr>
          <p:spPr bwMode="auto">
            <a:xfrm>
              <a:off x="5841" y="3004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3" name="Freeform 825"/>
          <p:cNvSpPr>
            <a:spLocks noChangeAspect="1" noEditPoints="1"/>
          </p:cNvSpPr>
          <p:nvPr/>
        </p:nvSpPr>
        <p:spPr bwMode="auto">
          <a:xfrm>
            <a:off x="1431849" y="2051051"/>
            <a:ext cx="369676" cy="369676"/>
          </a:xfrm>
          <a:custGeom>
            <a:avLst/>
            <a:gdLst>
              <a:gd name="T0" fmla="*/ 245 w 512"/>
              <a:gd name="T1" fmla="*/ 128 h 512"/>
              <a:gd name="T2" fmla="*/ 256 w 512"/>
              <a:gd name="T3" fmla="*/ 117 h 512"/>
              <a:gd name="T4" fmla="*/ 266 w 512"/>
              <a:gd name="T5" fmla="*/ 128 h 512"/>
              <a:gd name="T6" fmla="*/ 256 w 512"/>
              <a:gd name="T7" fmla="*/ 138 h 512"/>
              <a:gd name="T8" fmla="*/ 245 w 512"/>
              <a:gd name="T9" fmla="*/ 128 h 512"/>
              <a:gd name="T10" fmla="*/ 253 w 512"/>
              <a:gd name="T11" fmla="*/ 202 h 512"/>
              <a:gd name="T12" fmla="*/ 227 w 512"/>
              <a:gd name="T13" fmla="*/ 309 h 512"/>
              <a:gd name="T14" fmla="*/ 285 w 512"/>
              <a:gd name="T15" fmla="*/ 309 h 512"/>
              <a:gd name="T16" fmla="*/ 258 w 512"/>
              <a:gd name="T17" fmla="*/ 202 h 512"/>
              <a:gd name="T18" fmla="*/ 253 w 512"/>
              <a:gd name="T19" fmla="*/ 202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24 w 512"/>
              <a:gd name="T31" fmla="*/ 128 h 512"/>
              <a:gd name="T32" fmla="*/ 256 w 512"/>
              <a:gd name="T33" fmla="*/ 160 h 512"/>
              <a:gd name="T34" fmla="*/ 288 w 512"/>
              <a:gd name="T35" fmla="*/ 128 h 512"/>
              <a:gd name="T36" fmla="*/ 256 w 512"/>
              <a:gd name="T37" fmla="*/ 96 h 512"/>
              <a:gd name="T38" fmla="*/ 224 w 512"/>
              <a:gd name="T39" fmla="*/ 128 h 512"/>
              <a:gd name="T40" fmla="*/ 309 w 512"/>
              <a:gd name="T41" fmla="*/ 317 h 512"/>
              <a:gd name="T42" fmla="*/ 277 w 512"/>
              <a:gd name="T43" fmla="*/ 189 h 512"/>
              <a:gd name="T44" fmla="*/ 266 w 512"/>
              <a:gd name="T45" fmla="*/ 181 h 512"/>
              <a:gd name="T46" fmla="*/ 245 w 512"/>
              <a:gd name="T47" fmla="*/ 181 h 512"/>
              <a:gd name="T48" fmla="*/ 235 w 512"/>
              <a:gd name="T49" fmla="*/ 189 h 512"/>
              <a:gd name="T50" fmla="*/ 203 w 512"/>
              <a:gd name="T51" fmla="*/ 317 h 512"/>
              <a:gd name="T52" fmla="*/ 205 w 512"/>
              <a:gd name="T53" fmla="*/ 326 h 512"/>
              <a:gd name="T54" fmla="*/ 213 w 512"/>
              <a:gd name="T55" fmla="*/ 330 h 512"/>
              <a:gd name="T56" fmla="*/ 224 w 512"/>
              <a:gd name="T57" fmla="*/ 330 h 512"/>
              <a:gd name="T58" fmla="*/ 224 w 512"/>
              <a:gd name="T59" fmla="*/ 405 h 512"/>
              <a:gd name="T60" fmla="*/ 234 w 512"/>
              <a:gd name="T61" fmla="*/ 416 h 512"/>
              <a:gd name="T62" fmla="*/ 245 w 512"/>
              <a:gd name="T63" fmla="*/ 405 h 512"/>
              <a:gd name="T64" fmla="*/ 245 w 512"/>
              <a:gd name="T65" fmla="*/ 330 h 512"/>
              <a:gd name="T66" fmla="*/ 266 w 512"/>
              <a:gd name="T67" fmla="*/ 330 h 512"/>
              <a:gd name="T68" fmla="*/ 266 w 512"/>
              <a:gd name="T69" fmla="*/ 405 h 512"/>
              <a:gd name="T70" fmla="*/ 277 w 512"/>
              <a:gd name="T71" fmla="*/ 416 h 512"/>
              <a:gd name="T72" fmla="*/ 288 w 512"/>
              <a:gd name="T73" fmla="*/ 405 h 512"/>
              <a:gd name="T74" fmla="*/ 288 w 512"/>
              <a:gd name="T75" fmla="*/ 330 h 512"/>
              <a:gd name="T76" fmla="*/ 298 w 512"/>
              <a:gd name="T77" fmla="*/ 330 h 512"/>
              <a:gd name="T78" fmla="*/ 307 w 512"/>
              <a:gd name="T79" fmla="*/ 326 h 512"/>
              <a:gd name="T80" fmla="*/ 309 w 512"/>
              <a:gd name="T81" fmla="*/ 3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  <a:moveTo>
                  <a:pt x="253" y="202"/>
                </a:moveTo>
                <a:cubicBezTo>
                  <a:pt x="227" y="309"/>
                  <a:pt x="227" y="309"/>
                  <a:pt x="227" y="309"/>
                </a:cubicBezTo>
                <a:cubicBezTo>
                  <a:pt x="285" y="309"/>
                  <a:pt x="285" y="309"/>
                  <a:pt x="285" y="309"/>
                </a:cubicBezTo>
                <a:cubicBezTo>
                  <a:pt x="258" y="202"/>
                  <a:pt x="258" y="202"/>
                  <a:pt x="258" y="202"/>
                </a:cubicBezTo>
                <a:lnTo>
                  <a:pt x="253" y="20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309" y="317"/>
                </a:moveTo>
                <a:cubicBezTo>
                  <a:pt x="277" y="189"/>
                  <a:pt x="277" y="189"/>
                  <a:pt x="277" y="189"/>
                </a:cubicBezTo>
                <a:cubicBezTo>
                  <a:pt x="275" y="184"/>
                  <a:pt x="271" y="181"/>
                  <a:pt x="266" y="181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0" y="181"/>
                  <a:pt x="236" y="184"/>
                  <a:pt x="235" y="189"/>
                </a:cubicBezTo>
                <a:cubicBezTo>
                  <a:pt x="203" y="317"/>
                  <a:pt x="203" y="317"/>
                  <a:pt x="203" y="317"/>
                </a:cubicBezTo>
                <a:cubicBezTo>
                  <a:pt x="202" y="320"/>
                  <a:pt x="203" y="324"/>
                  <a:pt x="205" y="326"/>
                </a:cubicBezTo>
                <a:cubicBezTo>
                  <a:pt x="207" y="329"/>
                  <a:pt x="210" y="330"/>
                  <a:pt x="213" y="330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24" y="405"/>
                  <a:pt x="224" y="405"/>
                  <a:pt x="224" y="405"/>
                </a:cubicBezTo>
                <a:cubicBezTo>
                  <a:pt x="224" y="411"/>
                  <a:pt x="228" y="416"/>
                  <a:pt x="234" y="416"/>
                </a:cubicBezTo>
                <a:cubicBezTo>
                  <a:pt x="240" y="416"/>
                  <a:pt x="245" y="411"/>
                  <a:pt x="245" y="405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405"/>
                  <a:pt x="266" y="405"/>
                  <a:pt x="266" y="405"/>
                </a:cubicBezTo>
                <a:cubicBezTo>
                  <a:pt x="266" y="411"/>
                  <a:pt x="271" y="416"/>
                  <a:pt x="277" y="416"/>
                </a:cubicBezTo>
                <a:cubicBezTo>
                  <a:pt x="283" y="416"/>
                  <a:pt x="288" y="411"/>
                  <a:pt x="288" y="405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302" y="330"/>
                  <a:pt x="305" y="329"/>
                  <a:pt x="307" y="326"/>
                </a:cubicBezTo>
                <a:cubicBezTo>
                  <a:pt x="309" y="324"/>
                  <a:pt x="309" y="320"/>
                  <a:pt x="309" y="3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4" name="Group 828"/>
          <p:cNvGrpSpPr>
            <a:grpSpLocks noChangeAspect="1"/>
          </p:cNvGrpSpPr>
          <p:nvPr/>
        </p:nvGrpSpPr>
        <p:grpSpPr bwMode="auto">
          <a:xfrm>
            <a:off x="4913300" y="2051051"/>
            <a:ext cx="370763" cy="369676"/>
            <a:chOff x="5042" y="3019"/>
            <a:chExt cx="341" cy="340"/>
          </a:xfrm>
          <a:solidFill>
            <a:schemeClr val="accent3"/>
          </a:solidFill>
        </p:grpSpPr>
        <p:sp>
          <p:nvSpPr>
            <p:cNvPr id="275" name="Freeform 829"/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830"/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Freeform 831"/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832"/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833"/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0" name="Group 836"/>
          <p:cNvGrpSpPr>
            <a:grpSpLocks noChangeAspect="1"/>
          </p:cNvGrpSpPr>
          <p:nvPr/>
        </p:nvGrpSpPr>
        <p:grpSpPr bwMode="auto">
          <a:xfrm>
            <a:off x="4415197" y="2051051"/>
            <a:ext cx="369676" cy="369676"/>
            <a:chOff x="4676" y="3030"/>
            <a:chExt cx="340" cy="340"/>
          </a:xfrm>
          <a:solidFill>
            <a:schemeClr val="accent3"/>
          </a:solidFill>
        </p:grpSpPr>
        <p:sp>
          <p:nvSpPr>
            <p:cNvPr id="281" name="Oval 837"/>
            <p:cNvSpPr>
              <a:spLocks noChangeArrowheads="1"/>
            </p:cNvSpPr>
            <p:nvPr/>
          </p:nvSpPr>
          <p:spPr bwMode="auto">
            <a:xfrm>
              <a:off x="4888" y="3108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Oval 838"/>
            <p:cNvSpPr>
              <a:spLocks noChangeArrowheads="1"/>
            </p:cNvSpPr>
            <p:nvPr/>
          </p:nvSpPr>
          <p:spPr bwMode="auto">
            <a:xfrm>
              <a:off x="4789" y="3108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839"/>
            <p:cNvSpPr>
              <a:spLocks/>
            </p:cNvSpPr>
            <p:nvPr/>
          </p:nvSpPr>
          <p:spPr bwMode="auto">
            <a:xfrm>
              <a:off x="4876" y="3164"/>
              <a:ext cx="38" cy="71"/>
            </a:xfrm>
            <a:custGeom>
              <a:avLst/>
              <a:gdLst>
                <a:gd name="T0" fmla="*/ 18 w 38"/>
                <a:gd name="T1" fmla="*/ 0 h 71"/>
                <a:gd name="T2" fmla="*/ 0 w 38"/>
                <a:gd name="T3" fmla="*/ 71 h 71"/>
                <a:gd name="T4" fmla="*/ 38 w 38"/>
                <a:gd name="T5" fmla="*/ 71 h 71"/>
                <a:gd name="T6" fmla="*/ 21 w 38"/>
                <a:gd name="T7" fmla="*/ 0 h 71"/>
                <a:gd name="T8" fmla="*/ 18 w 38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1">
                  <a:moveTo>
                    <a:pt x="18" y="0"/>
                  </a:moveTo>
                  <a:lnTo>
                    <a:pt x="0" y="71"/>
                  </a:lnTo>
                  <a:lnTo>
                    <a:pt x="38" y="71"/>
                  </a:lnTo>
                  <a:lnTo>
                    <a:pt x="21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840"/>
            <p:cNvSpPr>
              <a:spLocks noEditPoints="1"/>
            </p:cNvSpPr>
            <p:nvPr/>
          </p:nvSpPr>
          <p:spPr bwMode="auto">
            <a:xfrm>
              <a:off x="4676" y="303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81 w 512"/>
                <a:gd name="T11" fmla="*/ 96 h 512"/>
                <a:gd name="T12" fmla="*/ 213 w 512"/>
                <a:gd name="T13" fmla="*/ 128 h 512"/>
                <a:gd name="T14" fmla="*/ 181 w 512"/>
                <a:gd name="T15" fmla="*/ 160 h 512"/>
                <a:gd name="T16" fmla="*/ 149 w 512"/>
                <a:gd name="T17" fmla="*/ 128 h 512"/>
                <a:gd name="T18" fmla="*/ 181 w 512"/>
                <a:gd name="T19" fmla="*/ 96 h 512"/>
                <a:gd name="T20" fmla="*/ 234 w 512"/>
                <a:gd name="T21" fmla="*/ 298 h 512"/>
                <a:gd name="T22" fmla="*/ 224 w 512"/>
                <a:gd name="T23" fmla="*/ 309 h 512"/>
                <a:gd name="T24" fmla="*/ 213 w 512"/>
                <a:gd name="T25" fmla="*/ 309 h 512"/>
                <a:gd name="T26" fmla="*/ 213 w 512"/>
                <a:gd name="T27" fmla="*/ 405 h 512"/>
                <a:gd name="T28" fmla="*/ 202 w 512"/>
                <a:gd name="T29" fmla="*/ 416 h 512"/>
                <a:gd name="T30" fmla="*/ 192 w 512"/>
                <a:gd name="T31" fmla="*/ 405 h 512"/>
                <a:gd name="T32" fmla="*/ 192 w 512"/>
                <a:gd name="T33" fmla="*/ 309 h 512"/>
                <a:gd name="T34" fmla="*/ 170 w 512"/>
                <a:gd name="T35" fmla="*/ 309 h 512"/>
                <a:gd name="T36" fmla="*/ 170 w 512"/>
                <a:gd name="T37" fmla="*/ 405 h 512"/>
                <a:gd name="T38" fmla="*/ 160 w 512"/>
                <a:gd name="T39" fmla="*/ 416 h 512"/>
                <a:gd name="T40" fmla="*/ 149 w 512"/>
                <a:gd name="T41" fmla="*/ 405 h 512"/>
                <a:gd name="T42" fmla="*/ 149 w 512"/>
                <a:gd name="T43" fmla="*/ 309 h 512"/>
                <a:gd name="T44" fmla="*/ 138 w 512"/>
                <a:gd name="T45" fmla="*/ 309 h 512"/>
                <a:gd name="T46" fmla="*/ 128 w 512"/>
                <a:gd name="T47" fmla="*/ 298 h 512"/>
                <a:gd name="T48" fmla="*/ 128 w 512"/>
                <a:gd name="T49" fmla="*/ 192 h 512"/>
                <a:gd name="T50" fmla="*/ 138 w 512"/>
                <a:gd name="T51" fmla="*/ 181 h 512"/>
                <a:gd name="T52" fmla="*/ 224 w 512"/>
                <a:gd name="T53" fmla="*/ 181 h 512"/>
                <a:gd name="T54" fmla="*/ 234 w 512"/>
                <a:gd name="T55" fmla="*/ 192 h 512"/>
                <a:gd name="T56" fmla="*/ 234 w 512"/>
                <a:gd name="T57" fmla="*/ 298 h 512"/>
                <a:gd name="T58" fmla="*/ 330 w 512"/>
                <a:gd name="T59" fmla="*/ 96 h 512"/>
                <a:gd name="T60" fmla="*/ 362 w 512"/>
                <a:gd name="T61" fmla="*/ 128 h 512"/>
                <a:gd name="T62" fmla="*/ 330 w 512"/>
                <a:gd name="T63" fmla="*/ 160 h 512"/>
                <a:gd name="T64" fmla="*/ 298 w 512"/>
                <a:gd name="T65" fmla="*/ 128 h 512"/>
                <a:gd name="T66" fmla="*/ 330 w 512"/>
                <a:gd name="T67" fmla="*/ 96 h 512"/>
                <a:gd name="T68" fmla="*/ 381 w 512"/>
                <a:gd name="T69" fmla="*/ 326 h 512"/>
                <a:gd name="T70" fmla="*/ 373 w 512"/>
                <a:gd name="T71" fmla="*/ 330 h 512"/>
                <a:gd name="T72" fmla="*/ 362 w 512"/>
                <a:gd name="T73" fmla="*/ 330 h 512"/>
                <a:gd name="T74" fmla="*/ 362 w 512"/>
                <a:gd name="T75" fmla="*/ 405 h 512"/>
                <a:gd name="T76" fmla="*/ 352 w 512"/>
                <a:gd name="T77" fmla="*/ 416 h 512"/>
                <a:gd name="T78" fmla="*/ 341 w 512"/>
                <a:gd name="T79" fmla="*/ 405 h 512"/>
                <a:gd name="T80" fmla="*/ 341 w 512"/>
                <a:gd name="T81" fmla="*/ 330 h 512"/>
                <a:gd name="T82" fmla="*/ 320 w 512"/>
                <a:gd name="T83" fmla="*/ 330 h 512"/>
                <a:gd name="T84" fmla="*/ 320 w 512"/>
                <a:gd name="T85" fmla="*/ 405 h 512"/>
                <a:gd name="T86" fmla="*/ 309 w 512"/>
                <a:gd name="T87" fmla="*/ 416 h 512"/>
                <a:gd name="T88" fmla="*/ 298 w 512"/>
                <a:gd name="T89" fmla="*/ 405 h 512"/>
                <a:gd name="T90" fmla="*/ 298 w 512"/>
                <a:gd name="T91" fmla="*/ 330 h 512"/>
                <a:gd name="T92" fmla="*/ 288 w 512"/>
                <a:gd name="T93" fmla="*/ 330 h 512"/>
                <a:gd name="T94" fmla="*/ 279 w 512"/>
                <a:gd name="T95" fmla="*/ 326 h 512"/>
                <a:gd name="T96" fmla="*/ 277 w 512"/>
                <a:gd name="T97" fmla="*/ 317 h 512"/>
                <a:gd name="T98" fmla="*/ 309 w 512"/>
                <a:gd name="T99" fmla="*/ 189 h 512"/>
                <a:gd name="T100" fmla="*/ 320 w 512"/>
                <a:gd name="T101" fmla="*/ 181 h 512"/>
                <a:gd name="T102" fmla="*/ 341 w 512"/>
                <a:gd name="T103" fmla="*/ 181 h 512"/>
                <a:gd name="T104" fmla="*/ 351 w 512"/>
                <a:gd name="T105" fmla="*/ 189 h 512"/>
                <a:gd name="T106" fmla="*/ 383 w 512"/>
                <a:gd name="T107" fmla="*/ 317 h 512"/>
                <a:gd name="T108" fmla="*/ 381 w 512"/>
                <a:gd name="T109" fmla="*/ 32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81" y="96"/>
                  </a:moveTo>
                  <a:cubicBezTo>
                    <a:pt x="199" y="96"/>
                    <a:pt x="213" y="110"/>
                    <a:pt x="213" y="128"/>
                  </a:cubicBezTo>
                  <a:cubicBezTo>
                    <a:pt x="213" y="145"/>
                    <a:pt x="199" y="160"/>
                    <a:pt x="181" y="160"/>
                  </a:cubicBezTo>
                  <a:cubicBezTo>
                    <a:pt x="163" y="160"/>
                    <a:pt x="149" y="145"/>
                    <a:pt x="149" y="128"/>
                  </a:cubicBezTo>
                  <a:cubicBezTo>
                    <a:pt x="149" y="110"/>
                    <a:pt x="163" y="96"/>
                    <a:pt x="181" y="96"/>
                  </a:cubicBezTo>
                  <a:close/>
                  <a:moveTo>
                    <a:pt x="234" y="298"/>
                  </a:moveTo>
                  <a:cubicBezTo>
                    <a:pt x="234" y="304"/>
                    <a:pt x="230" y="309"/>
                    <a:pt x="224" y="309"/>
                  </a:cubicBezTo>
                  <a:cubicBezTo>
                    <a:pt x="213" y="309"/>
                    <a:pt x="213" y="309"/>
                    <a:pt x="213" y="309"/>
                  </a:cubicBezTo>
                  <a:cubicBezTo>
                    <a:pt x="213" y="405"/>
                    <a:pt x="213" y="405"/>
                    <a:pt x="213" y="405"/>
                  </a:cubicBezTo>
                  <a:cubicBezTo>
                    <a:pt x="213" y="411"/>
                    <a:pt x="208" y="416"/>
                    <a:pt x="202" y="416"/>
                  </a:cubicBezTo>
                  <a:cubicBezTo>
                    <a:pt x="196" y="416"/>
                    <a:pt x="192" y="411"/>
                    <a:pt x="192" y="405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70" y="309"/>
                    <a:pt x="170" y="309"/>
                    <a:pt x="170" y="309"/>
                  </a:cubicBezTo>
                  <a:cubicBezTo>
                    <a:pt x="170" y="405"/>
                    <a:pt x="170" y="405"/>
                    <a:pt x="170" y="405"/>
                  </a:cubicBezTo>
                  <a:cubicBezTo>
                    <a:pt x="170" y="411"/>
                    <a:pt x="166" y="416"/>
                    <a:pt x="160" y="416"/>
                  </a:cubicBezTo>
                  <a:cubicBezTo>
                    <a:pt x="154" y="416"/>
                    <a:pt x="149" y="411"/>
                    <a:pt x="149" y="405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38" y="309"/>
                    <a:pt x="138" y="309"/>
                    <a:pt x="138" y="309"/>
                  </a:cubicBezTo>
                  <a:cubicBezTo>
                    <a:pt x="132" y="309"/>
                    <a:pt x="128" y="304"/>
                    <a:pt x="128" y="298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86"/>
                    <a:pt x="132" y="181"/>
                    <a:pt x="138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30" y="181"/>
                    <a:pt x="234" y="186"/>
                    <a:pt x="234" y="192"/>
                  </a:cubicBezTo>
                  <a:lnTo>
                    <a:pt x="234" y="298"/>
                  </a:lnTo>
                  <a:close/>
                  <a:moveTo>
                    <a:pt x="330" y="96"/>
                  </a:moveTo>
                  <a:cubicBezTo>
                    <a:pt x="348" y="96"/>
                    <a:pt x="362" y="110"/>
                    <a:pt x="362" y="128"/>
                  </a:cubicBezTo>
                  <a:cubicBezTo>
                    <a:pt x="362" y="145"/>
                    <a:pt x="348" y="160"/>
                    <a:pt x="330" y="160"/>
                  </a:cubicBezTo>
                  <a:cubicBezTo>
                    <a:pt x="313" y="160"/>
                    <a:pt x="298" y="145"/>
                    <a:pt x="298" y="128"/>
                  </a:cubicBezTo>
                  <a:cubicBezTo>
                    <a:pt x="298" y="110"/>
                    <a:pt x="313" y="96"/>
                    <a:pt x="330" y="96"/>
                  </a:cubicBezTo>
                  <a:close/>
                  <a:moveTo>
                    <a:pt x="381" y="326"/>
                  </a:moveTo>
                  <a:cubicBezTo>
                    <a:pt x="379" y="329"/>
                    <a:pt x="376" y="330"/>
                    <a:pt x="373" y="330"/>
                  </a:cubicBezTo>
                  <a:cubicBezTo>
                    <a:pt x="362" y="330"/>
                    <a:pt x="362" y="330"/>
                    <a:pt x="362" y="330"/>
                  </a:cubicBezTo>
                  <a:cubicBezTo>
                    <a:pt x="362" y="405"/>
                    <a:pt x="362" y="405"/>
                    <a:pt x="362" y="405"/>
                  </a:cubicBezTo>
                  <a:cubicBezTo>
                    <a:pt x="362" y="411"/>
                    <a:pt x="358" y="416"/>
                    <a:pt x="352" y="416"/>
                  </a:cubicBezTo>
                  <a:cubicBezTo>
                    <a:pt x="346" y="416"/>
                    <a:pt x="341" y="411"/>
                    <a:pt x="341" y="405"/>
                  </a:cubicBezTo>
                  <a:cubicBezTo>
                    <a:pt x="341" y="330"/>
                    <a:pt x="341" y="330"/>
                    <a:pt x="341" y="330"/>
                  </a:cubicBezTo>
                  <a:cubicBezTo>
                    <a:pt x="320" y="330"/>
                    <a:pt x="320" y="330"/>
                    <a:pt x="320" y="330"/>
                  </a:cubicBezTo>
                  <a:cubicBezTo>
                    <a:pt x="320" y="405"/>
                    <a:pt x="320" y="405"/>
                    <a:pt x="320" y="405"/>
                  </a:cubicBezTo>
                  <a:cubicBezTo>
                    <a:pt x="320" y="411"/>
                    <a:pt x="315" y="416"/>
                    <a:pt x="309" y="416"/>
                  </a:cubicBezTo>
                  <a:cubicBezTo>
                    <a:pt x="303" y="416"/>
                    <a:pt x="298" y="411"/>
                    <a:pt x="298" y="405"/>
                  </a:cubicBezTo>
                  <a:cubicBezTo>
                    <a:pt x="298" y="330"/>
                    <a:pt x="298" y="330"/>
                    <a:pt x="298" y="330"/>
                  </a:cubicBezTo>
                  <a:cubicBezTo>
                    <a:pt x="288" y="330"/>
                    <a:pt x="288" y="330"/>
                    <a:pt x="288" y="330"/>
                  </a:cubicBezTo>
                  <a:cubicBezTo>
                    <a:pt x="284" y="330"/>
                    <a:pt x="281" y="329"/>
                    <a:pt x="279" y="326"/>
                  </a:cubicBezTo>
                  <a:cubicBezTo>
                    <a:pt x="277" y="324"/>
                    <a:pt x="277" y="320"/>
                    <a:pt x="277" y="317"/>
                  </a:cubicBezTo>
                  <a:cubicBezTo>
                    <a:pt x="309" y="189"/>
                    <a:pt x="309" y="189"/>
                    <a:pt x="309" y="189"/>
                  </a:cubicBezTo>
                  <a:cubicBezTo>
                    <a:pt x="311" y="184"/>
                    <a:pt x="315" y="181"/>
                    <a:pt x="320" y="181"/>
                  </a:cubicBezTo>
                  <a:cubicBezTo>
                    <a:pt x="341" y="181"/>
                    <a:pt x="341" y="181"/>
                    <a:pt x="341" y="181"/>
                  </a:cubicBezTo>
                  <a:cubicBezTo>
                    <a:pt x="346" y="181"/>
                    <a:pt x="350" y="184"/>
                    <a:pt x="351" y="189"/>
                  </a:cubicBezTo>
                  <a:cubicBezTo>
                    <a:pt x="383" y="317"/>
                    <a:pt x="383" y="317"/>
                    <a:pt x="383" y="317"/>
                  </a:cubicBezTo>
                  <a:cubicBezTo>
                    <a:pt x="384" y="320"/>
                    <a:pt x="383" y="324"/>
                    <a:pt x="381" y="3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Rectangle 841"/>
            <p:cNvSpPr>
              <a:spLocks noChangeArrowheads="1"/>
            </p:cNvSpPr>
            <p:nvPr/>
          </p:nvSpPr>
          <p:spPr bwMode="auto">
            <a:xfrm>
              <a:off x="4775" y="3164"/>
              <a:ext cx="42" cy="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6" name="Group 844"/>
          <p:cNvGrpSpPr>
            <a:grpSpLocks noChangeAspect="1"/>
          </p:cNvGrpSpPr>
          <p:nvPr/>
        </p:nvGrpSpPr>
        <p:grpSpPr bwMode="auto">
          <a:xfrm>
            <a:off x="7909368" y="2051051"/>
            <a:ext cx="369676" cy="369676"/>
            <a:chOff x="4301" y="3046"/>
            <a:chExt cx="340" cy="340"/>
          </a:xfrm>
          <a:solidFill>
            <a:schemeClr val="accent3"/>
          </a:solidFill>
        </p:grpSpPr>
        <p:sp>
          <p:nvSpPr>
            <p:cNvPr id="287" name="Freeform 845"/>
            <p:cNvSpPr>
              <a:spLocks noEditPoints="1"/>
            </p:cNvSpPr>
            <p:nvPr/>
          </p:nvSpPr>
          <p:spPr bwMode="auto">
            <a:xfrm>
              <a:off x="4371" y="3166"/>
              <a:ext cx="57" cy="142"/>
            </a:xfrm>
            <a:custGeom>
              <a:avLst/>
              <a:gdLst>
                <a:gd name="T0" fmla="*/ 54 w 86"/>
                <a:gd name="T1" fmla="*/ 0 h 213"/>
                <a:gd name="T2" fmla="*/ 32 w 86"/>
                <a:gd name="T3" fmla="*/ 0 h 213"/>
                <a:gd name="T4" fmla="*/ 22 w 86"/>
                <a:gd name="T5" fmla="*/ 9 h 213"/>
                <a:gd name="T6" fmla="*/ 1 w 86"/>
                <a:gd name="T7" fmla="*/ 115 h 213"/>
                <a:gd name="T8" fmla="*/ 3 w 86"/>
                <a:gd name="T9" fmla="*/ 124 h 213"/>
                <a:gd name="T10" fmla="*/ 11 w 86"/>
                <a:gd name="T11" fmla="*/ 128 h 213"/>
                <a:gd name="T12" fmla="*/ 11 w 86"/>
                <a:gd name="T13" fmla="*/ 203 h 213"/>
                <a:gd name="T14" fmla="*/ 22 w 86"/>
                <a:gd name="T15" fmla="*/ 213 h 213"/>
                <a:gd name="T16" fmla="*/ 32 w 86"/>
                <a:gd name="T17" fmla="*/ 203 h 213"/>
                <a:gd name="T18" fmla="*/ 32 w 86"/>
                <a:gd name="T19" fmla="*/ 128 h 213"/>
                <a:gd name="T20" fmla="*/ 54 w 86"/>
                <a:gd name="T21" fmla="*/ 128 h 213"/>
                <a:gd name="T22" fmla="*/ 54 w 86"/>
                <a:gd name="T23" fmla="*/ 203 h 213"/>
                <a:gd name="T24" fmla="*/ 64 w 86"/>
                <a:gd name="T25" fmla="*/ 213 h 213"/>
                <a:gd name="T26" fmla="*/ 75 w 86"/>
                <a:gd name="T27" fmla="*/ 203 h 213"/>
                <a:gd name="T28" fmla="*/ 75 w 86"/>
                <a:gd name="T29" fmla="*/ 128 h 213"/>
                <a:gd name="T30" fmla="*/ 83 w 86"/>
                <a:gd name="T31" fmla="*/ 124 h 213"/>
                <a:gd name="T32" fmla="*/ 85 w 86"/>
                <a:gd name="T33" fmla="*/ 115 h 213"/>
                <a:gd name="T34" fmla="*/ 64 w 86"/>
                <a:gd name="T35" fmla="*/ 9 h 213"/>
                <a:gd name="T36" fmla="*/ 54 w 86"/>
                <a:gd name="T37" fmla="*/ 0 h 213"/>
                <a:gd name="T38" fmla="*/ 41 w 86"/>
                <a:gd name="T39" fmla="*/ 21 h 213"/>
                <a:gd name="T40" fmla="*/ 45 w 86"/>
                <a:gd name="T41" fmla="*/ 21 h 213"/>
                <a:gd name="T42" fmla="*/ 62 w 86"/>
                <a:gd name="T43" fmla="*/ 107 h 213"/>
                <a:gd name="T44" fmla="*/ 24 w 86"/>
                <a:gd name="T45" fmla="*/ 107 h 213"/>
                <a:gd name="T46" fmla="*/ 41 w 86"/>
                <a:gd name="T47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213">
                  <a:moveTo>
                    <a:pt x="54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27" y="0"/>
                    <a:pt x="23" y="4"/>
                    <a:pt x="22" y="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0" y="118"/>
                    <a:pt x="1" y="122"/>
                    <a:pt x="3" y="124"/>
                  </a:cubicBezTo>
                  <a:cubicBezTo>
                    <a:pt x="5" y="127"/>
                    <a:pt x="8" y="128"/>
                    <a:pt x="11" y="128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6" y="213"/>
                    <a:pt x="22" y="213"/>
                  </a:cubicBezTo>
                  <a:cubicBezTo>
                    <a:pt x="28" y="213"/>
                    <a:pt x="32" y="209"/>
                    <a:pt x="32" y="203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54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8"/>
                    <a:pt x="81" y="127"/>
                    <a:pt x="83" y="124"/>
                  </a:cubicBezTo>
                  <a:cubicBezTo>
                    <a:pt x="85" y="122"/>
                    <a:pt x="86" y="118"/>
                    <a:pt x="85" y="115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3" y="4"/>
                    <a:pt x="59" y="0"/>
                    <a:pt x="54" y="0"/>
                  </a:cubicBezTo>
                  <a:close/>
                  <a:moveTo>
                    <a:pt x="41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24" y="107"/>
                    <a:pt x="24" y="107"/>
                    <a:pt x="24" y="107"/>
                  </a:cubicBezTo>
                  <a:lnTo>
                    <a:pt x="4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846"/>
            <p:cNvSpPr>
              <a:spLocks noEditPoints="1"/>
            </p:cNvSpPr>
            <p:nvPr/>
          </p:nvSpPr>
          <p:spPr bwMode="auto">
            <a:xfrm>
              <a:off x="4379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847"/>
            <p:cNvSpPr>
              <a:spLocks noEditPoints="1"/>
            </p:cNvSpPr>
            <p:nvPr/>
          </p:nvSpPr>
          <p:spPr bwMode="auto">
            <a:xfrm>
              <a:off x="4513" y="3166"/>
              <a:ext cx="57" cy="142"/>
            </a:xfrm>
            <a:custGeom>
              <a:avLst/>
              <a:gdLst>
                <a:gd name="T0" fmla="*/ 74 w 85"/>
                <a:gd name="T1" fmla="*/ 0 h 213"/>
                <a:gd name="T2" fmla="*/ 10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0 w 85"/>
                <a:gd name="T9" fmla="*/ 107 h 213"/>
                <a:gd name="T10" fmla="*/ 10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4 w 85"/>
                <a:gd name="T25" fmla="*/ 203 h 213"/>
                <a:gd name="T26" fmla="*/ 74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4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4" y="209"/>
                    <a:pt x="74" y="203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80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0" y="0"/>
                    <a:pt x="74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848"/>
            <p:cNvSpPr>
              <a:spLocks noEditPoints="1"/>
            </p:cNvSpPr>
            <p:nvPr/>
          </p:nvSpPr>
          <p:spPr bwMode="auto">
            <a:xfrm>
              <a:off x="4520" y="3110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849"/>
            <p:cNvSpPr>
              <a:spLocks noEditPoints="1"/>
            </p:cNvSpPr>
            <p:nvPr/>
          </p:nvSpPr>
          <p:spPr bwMode="auto">
            <a:xfrm>
              <a:off x="4442" y="3166"/>
              <a:ext cx="57" cy="142"/>
            </a:xfrm>
            <a:custGeom>
              <a:avLst/>
              <a:gdLst>
                <a:gd name="T0" fmla="*/ 75 w 85"/>
                <a:gd name="T1" fmla="*/ 0 h 213"/>
                <a:gd name="T2" fmla="*/ 11 w 85"/>
                <a:gd name="T3" fmla="*/ 0 h 213"/>
                <a:gd name="T4" fmla="*/ 0 w 85"/>
                <a:gd name="T5" fmla="*/ 11 h 213"/>
                <a:gd name="T6" fmla="*/ 0 w 85"/>
                <a:gd name="T7" fmla="*/ 96 h 213"/>
                <a:gd name="T8" fmla="*/ 11 w 85"/>
                <a:gd name="T9" fmla="*/ 107 h 213"/>
                <a:gd name="T10" fmla="*/ 11 w 85"/>
                <a:gd name="T11" fmla="*/ 203 h 213"/>
                <a:gd name="T12" fmla="*/ 21 w 85"/>
                <a:gd name="T13" fmla="*/ 213 h 213"/>
                <a:gd name="T14" fmla="*/ 32 w 85"/>
                <a:gd name="T15" fmla="*/ 203 h 213"/>
                <a:gd name="T16" fmla="*/ 32 w 85"/>
                <a:gd name="T17" fmla="*/ 107 h 213"/>
                <a:gd name="T18" fmla="*/ 53 w 85"/>
                <a:gd name="T19" fmla="*/ 107 h 213"/>
                <a:gd name="T20" fmla="*/ 53 w 85"/>
                <a:gd name="T21" fmla="*/ 203 h 213"/>
                <a:gd name="T22" fmla="*/ 64 w 85"/>
                <a:gd name="T23" fmla="*/ 213 h 213"/>
                <a:gd name="T24" fmla="*/ 75 w 85"/>
                <a:gd name="T25" fmla="*/ 203 h 213"/>
                <a:gd name="T26" fmla="*/ 75 w 85"/>
                <a:gd name="T27" fmla="*/ 107 h 213"/>
                <a:gd name="T28" fmla="*/ 85 w 85"/>
                <a:gd name="T29" fmla="*/ 96 h 213"/>
                <a:gd name="T30" fmla="*/ 85 w 85"/>
                <a:gd name="T31" fmla="*/ 11 h 213"/>
                <a:gd name="T32" fmla="*/ 75 w 85"/>
                <a:gd name="T33" fmla="*/ 0 h 213"/>
                <a:gd name="T34" fmla="*/ 21 w 85"/>
                <a:gd name="T35" fmla="*/ 21 h 213"/>
                <a:gd name="T36" fmla="*/ 64 w 85"/>
                <a:gd name="T37" fmla="*/ 21 h 213"/>
                <a:gd name="T38" fmla="*/ 64 w 85"/>
                <a:gd name="T39" fmla="*/ 85 h 213"/>
                <a:gd name="T40" fmla="*/ 21 w 85"/>
                <a:gd name="T41" fmla="*/ 85 h 213"/>
                <a:gd name="T42" fmla="*/ 21 w 85"/>
                <a:gd name="T43" fmla="*/ 2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213">
                  <a:moveTo>
                    <a:pt x="7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9"/>
                    <a:pt x="15" y="213"/>
                    <a:pt x="21" y="213"/>
                  </a:cubicBezTo>
                  <a:cubicBezTo>
                    <a:pt x="27" y="213"/>
                    <a:pt x="32" y="209"/>
                    <a:pt x="32" y="2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209"/>
                    <a:pt x="58" y="213"/>
                    <a:pt x="64" y="213"/>
                  </a:cubicBezTo>
                  <a:cubicBezTo>
                    <a:pt x="70" y="213"/>
                    <a:pt x="75" y="209"/>
                    <a:pt x="75" y="203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81" y="107"/>
                    <a:pt x="85" y="102"/>
                    <a:pt x="85" y="9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5"/>
                    <a:pt x="81" y="0"/>
                    <a:pt x="75" y="0"/>
                  </a:cubicBezTo>
                  <a:close/>
                  <a:moveTo>
                    <a:pt x="21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21" y="85"/>
                    <a:pt x="21" y="85"/>
                    <a:pt x="21" y="85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850"/>
            <p:cNvSpPr>
              <a:spLocks noEditPoints="1"/>
            </p:cNvSpPr>
            <p:nvPr/>
          </p:nvSpPr>
          <p:spPr bwMode="auto">
            <a:xfrm>
              <a:off x="4450" y="3110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851"/>
            <p:cNvSpPr>
              <a:spLocks noEditPoints="1"/>
            </p:cNvSpPr>
            <p:nvPr/>
          </p:nvSpPr>
          <p:spPr bwMode="auto">
            <a:xfrm>
              <a:off x="4301" y="3046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4" name="Group 854"/>
          <p:cNvGrpSpPr>
            <a:grpSpLocks noChangeAspect="1"/>
          </p:cNvGrpSpPr>
          <p:nvPr/>
        </p:nvGrpSpPr>
        <p:grpSpPr bwMode="auto">
          <a:xfrm>
            <a:off x="7411265" y="2051051"/>
            <a:ext cx="369676" cy="369676"/>
            <a:chOff x="3903" y="3039"/>
            <a:chExt cx="340" cy="340"/>
          </a:xfrm>
          <a:solidFill>
            <a:schemeClr val="accent3"/>
          </a:solidFill>
        </p:grpSpPr>
        <p:sp>
          <p:nvSpPr>
            <p:cNvPr id="295" name="Oval 855"/>
            <p:cNvSpPr>
              <a:spLocks noChangeArrowheads="1"/>
            </p:cNvSpPr>
            <p:nvPr/>
          </p:nvSpPr>
          <p:spPr bwMode="auto">
            <a:xfrm>
              <a:off x="3995" y="3117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Rectangle 856"/>
            <p:cNvSpPr>
              <a:spLocks noChangeArrowheads="1"/>
            </p:cNvSpPr>
            <p:nvPr/>
          </p:nvSpPr>
          <p:spPr bwMode="auto">
            <a:xfrm>
              <a:off x="4058" y="3173"/>
              <a:ext cx="29" cy="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857"/>
            <p:cNvSpPr>
              <a:spLocks/>
            </p:cNvSpPr>
            <p:nvPr/>
          </p:nvSpPr>
          <p:spPr bwMode="auto">
            <a:xfrm>
              <a:off x="3989" y="3173"/>
              <a:ext cx="26" cy="57"/>
            </a:xfrm>
            <a:custGeom>
              <a:avLst/>
              <a:gdLst>
                <a:gd name="T0" fmla="*/ 12 w 26"/>
                <a:gd name="T1" fmla="*/ 0 h 57"/>
                <a:gd name="T2" fmla="*/ 0 w 26"/>
                <a:gd name="T3" fmla="*/ 57 h 57"/>
                <a:gd name="T4" fmla="*/ 26 w 26"/>
                <a:gd name="T5" fmla="*/ 57 h 57"/>
                <a:gd name="T6" fmla="*/ 14 w 26"/>
                <a:gd name="T7" fmla="*/ 0 h 57"/>
                <a:gd name="T8" fmla="*/ 12 w 26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57">
                  <a:moveTo>
                    <a:pt x="12" y="0"/>
                  </a:moveTo>
                  <a:lnTo>
                    <a:pt x="0" y="57"/>
                  </a:lnTo>
                  <a:lnTo>
                    <a:pt x="26" y="57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Oval 858"/>
            <p:cNvSpPr>
              <a:spLocks noChangeArrowheads="1"/>
            </p:cNvSpPr>
            <p:nvPr/>
          </p:nvSpPr>
          <p:spPr bwMode="auto">
            <a:xfrm>
              <a:off x="4066" y="3117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Oval 859"/>
            <p:cNvSpPr>
              <a:spLocks noChangeArrowheads="1"/>
            </p:cNvSpPr>
            <p:nvPr/>
          </p:nvSpPr>
          <p:spPr bwMode="auto">
            <a:xfrm>
              <a:off x="4137" y="3117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Rectangle 860"/>
            <p:cNvSpPr>
              <a:spLocks noChangeArrowheads="1"/>
            </p:cNvSpPr>
            <p:nvPr/>
          </p:nvSpPr>
          <p:spPr bwMode="auto">
            <a:xfrm>
              <a:off x="4129" y="3173"/>
              <a:ext cx="29" cy="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861"/>
            <p:cNvSpPr>
              <a:spLocks noEditPoints="1"/>
            </p:cNvSpPr>
            <p:nvPr/>
          </p:nvSpPr>
          <p:spPr bwMode="auto">
            <a:xfrm>
              <a:off x="3903" y="3039"/>
              <a:ext cx="340" cy="340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362 w 512"/>
                <a:gd name="T5" fmla="*/ 96 h 512"/>
                <a:gd name="T6" fmla="*/ 362 w 512"/>
                <a:gd name="T7" fmla="*/ 160 h 512"/>
                <a:gd name="T8" fmla="*/ 362 w 512"/>
                <a:gd name="T9" fmla="*/ 96 h 512"/>
                <a:gd name="T10" fmla="*/ 288 w 512"/>
                <a:gd name="T11" fmla="*/ 128 h 512"/>
                <a:gd name="T12" fmla="*/ 224 w 512"/>
                <a:gd name="T13" fmla="*/ 128 h 512"/>
                <a:gd name="T14" fmla="*/ 149 w 512"/>
                <a:gd name="T15" fmla="*/ 96 h 512"/>
                <a:gd name="T16" fmla="*/ 149 w 512"/>
                <a:gd name="T17" fmla="*/ 160 h 512"/>
                <a:gd name="T18" fmla="*/ 149 w 512"/>
                <a:gd name="T19" fmla="*/ 96 h 512"/>
                <a:gd name="T20" fmla="*/ 181 w 512"/>
                <a:gd name="T21" fmla="*/ 309 h 512"/>
                <a:gd name="T22" fmla="*/ 170 w 512"/>
                <a:gd name="T23" fmla="*/ 394 h 512"/>
                <a:gd name="T24" fmla="*/ 160 w 512"/>
                <a:gd name="T25" fmla="*/ 309 h 512"/>
                <a:gd name="T26" fmla="*/ 138 w 512"/>
                <a:gd name="T27" fmla="*/ 384 h 512"/>
                <a:gd name="T28" fmla="*/ 117 w 512"/>
                <a:gd name="T29" fmla="*/ 384 h 512"/>
                <a:gd name="T30" fmla="*/ 109 w 512"/>
                <a:gd name="T31" fmla="*/ 305 h 512"/>
                <a:gd name="T32" fmla="*/ 128 w 512"/>
                <a:gd name="T33" fmla="*/ 190 h 512"/>
                <a:gd name="T34" fmla="*/ 160 w 512"/>
                <a:gd name="T35" fmla="*/ 181 h 512"/>
                <a:gd name="T36" fmla="*/ 191 w 512"/>
                <a:gd name="T37" fmla="*/ 296 h 512"/>
                <a:gd name="T38" fmla="*/ 298 w 512"/>
                <a:gd name="T39" fmla="*/ 277 h 512"/>
                <a:gd name="T40" fmla="*/ 288 w 512"/>
                <a:gd name="T41" fmla="*/ 384 h 512"/>
                <a:gd name="T42" fmla="*/ 266 w 512"/>
                <a:gd name="T43" fmla="*/ 384 h 512"/>
                <a:gd name="T44" fmla="*/ 245 w 512"/>
                <a:gd name="T45" fmla="*/ 288 h 512"/>
                <a:gd name="T46" fmla="*/ 234 w 512"/>
                <a:gd name="T47" fmla="*/ 394 h 512"/>
                <a:gd name="T48" fmla="*/ 224 w 512"/>
                <a:gd name="T49" fmla="*/ 288 h 512"/>
                <a:gd name="T50" fmla="*/ 213 w 512"/>
                <a:gd name="T51" fmla="*/ 192 h 512"/>
                <a:gd name="T52" fmla="*/ 288 w 512"/>
                <a:gd name="T53" fmla="*/ 181 h 512"/>
                <a:gd name="T54" fmla="*/ 298 w 512"/>
                <a:gd name="T55" fmla="*/ 277 h 512"/>
                <a:gd name="T56" fmla="*/ 394 w 512"/>
                <a:gd name="T57" fmla="*/ 288 h 512"/>
                <a:gd name="T58" fmla="*/ 384 w 512"/>
                <a:gd name="T59" fmla="*/ 394 h 512"/>
                <a:gd name="T60" fmla="*/ 373 w 512"/>
                <a:gd name="T61" fmla="*/ 288 h 512"/>
                <a:gd name="T62" fmla="*/ 352 w 512"/>
                <a:gd name="T63" fmla="*/ 384 h 512"/>
                <a:gd name="T64" fmla="*/ 330 w 512"/>
                <a:gd name="T65" fmla="*/ 384 h 512"/>
                <a:gd name="T66" fmla="*/ 320 w 512"/>
                <a:gd name="T67" fmla="*/ 277 h 512"/>
                <a:gd name="T68" fmla="*/ 330 w 512"/>
                <a:gd name="T69" fmla="*/ 181 h 512"/>
                <a:gd name="T70" fmla="*/ 405 w 512"/>
                <a:gd name="T71" fmla="*/ 19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62" y="96"/>
                  </a:moveTo>
                  <a:cubicBezTo>
                    <a:pt x="380" y="96"/>
                    <a:pt x="394" y="110"/>
                    <a:pt x="394" y="128"/>
                  </a:cubicBezTo>
                  <a:cubicBezTo>
                    <a:pt x="394" y="145"/>
                    <a:pt x="380" y="160"/>
                    <a:pt x="362" y="160"/>
                  </a:cubicBezTo>
                  <a:cubicBezTo>
                    <a:pt x="345" y="160"/>
                    <a:pt x="330" y="145"/>
                    <a:pt x="330" y="128"/>
                  </a:cubicBezTo>
                  <a:cubicBezTo>
                    <a:pt x="330" y="110"/>
                    <a:pt x="345" y="96"/>
                    <a:pt x="362" y="96"/>
                  </a:cubicBezTo>
                  <a:close/>
                  <a:moveTo>
                    <a:pt x="256" y="96"/>
                  </a:moveTo>
                  <a:cubicBezTo>
                    <a:pt x="273" y="96"/>
                    <a:pt x="288" y="110"/>
                    <a:pt x="288" y="128"/>
                  </a:cubicBezTo>
                  <a:cubicBezTo>
                    <a:pt x="288" y="145"/>
                    <a:pt x="273" y="160"/>
                    <a:pt x="256" y="160"/>
                  </a:cubicBezTo>
                  <a:cubicBezTo>
                    <a:pt x="238" y="160"/>
                    <a:pt x="224" y="145"/>
                    <a:pt x="224" y="128"/>
                  </a:cubicBezTo>
                  <a:cubicBezTo>
                    <a:pt x="224" y="110"/>
                    <a:pt x="238" y="96"/>
                    <a:pt x="256" y="96"/>
                  </a:cubicBezTo>
                  <a:close/>
                  <a:moveTo>
                    <a:pt x="149" y="96"/>
                  </a:moveTo>
                  <a:cubicBezTo>
                    <a:pt x="167" y="96"/>
                    <a:pt x="181" y="110"/>
                    <a:pt x="181" y="128"/>
                  </a:cubicBezTo>
                  <a:cubicBezTo>
                    <a:pt x="181" y="145"/>
                    <a:pt x="167" y="160"/>
                    <a:pt x="149" y="160"/>
                  </a:cubicBezTo>
                  <a:cubicBezTo>
                    <a:pt x="131" y="160"/>
                    <a:pt x="117" y="145"/>
                    <a:pt x="117" y="128"/>
                  </a:cubicBezTo>
                  <a:cubicBezTo>
                    <a:pt x="117" y="110"/>
                    <a:pt x="131" y="96"/>
                    <a:pt x="149" y="96"/>
                  </a:cubicBezTo>
                  <a:close/>
                  <a:moveTo>
                    <a:pt x="189" y="305"/>
                  </a:moveTo>
                  <a:cubicBezTo>
                    <a:pt x="187" y="308"/>
                    <a:pt x="184" y="309"/>
                    <a:pt x="181" y="309"/>
                  </a:cubicBezTo>
                  <a:cubicBezTo>
                    <a:pt x="181" y="384"/>
                    <a:pt x="181" y="384"/>
                    <a:pt x="181" y="384"/>
                  </a:cubicBez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09"/>
                    <a:pt x="160" y="309"/>
                    <a:pt x="160" y="309"/>
                  </a:cubicBezTo>
                  <a:cubicBezTo>
                    <a:pt x="138" y="309"/>
                    <a:pt x="138" y="309"/>
                    <a:pt x="138" y="309"/>
                  </a:cubicBezTo>
                  <a:cubicBezTo>
                    <a:pt x="138" y="384"/>
                    <a:pt x="138" y="384"/>
                    <a:pt x="138" y="384"/>
                  </a:cubicBezTo>
                  <a:cubicBezTo>
                    <a:pt x="138" y="390"/>
                    <a:pt x="134" y="394"/>
                    <a:pt x="128" y="394"/>
                  </a:cubicBezTo>
                  <a:cubicBezTo>
                    <a:pt x="122" y="394"/>
                    <a:pt x="117" y="390"/>
                    <a:pt x="117" y="384"/>
                  </a:cubicBezTo>
                  <a:cubicBezTo>
                    <a:pt x="117" y="309"/>
                    <a:pt x="117" y="309"/>
                    <a:pt x="117" y="309"/>
                  </a:cubicBezTo>
                  <a:cubicBezTo>
                    <a:pt x="114" y="309"/>
                    <a:pt x="111" y="308"/>
                    <a:pt x="109" y="305"/>
                  </a:cubicBezTo>
                  <a:cubicBezTo>
                    <a:pt x="107" y="303"/>
                    <a:pt x="106" y="299"/>
                    <a:pt x="107" y="296"/>
                  </a:cubicBezTo>
                  <a:cubicBezTo>
                    <a:pt x="128" y="190"/>
                    <a:pt x="128" y="190"/>
                    <a:pt x="128" y="190"/>
                  </a:cubicBezTo>
                  <a:cubicBezTo>
                    <a:pt x="129" y="185"/>
                    <a:pt x="133" y="181"/>
                    <a:pt x="138" y="181"/>
                  </a:cubicBezTo>
                  <a:cubicBezTo>
                    <a:pt x="160" y="181"/>
                    <a:pt x="160" y="181"/>
                    <a:pt x="160" y="181"/>
                  </a:cubicBezTo>
                  <a:cubicBezTo>
                    <a:pt x="165" y="181"/>
                    <a:pt x="169" y="185"/>
                    <a:pt x="170" y="190"/>
                  </a:cubicBezTo>
                  <a:cubicBezTo>
                    <a:pt x="191" y="296"/>
                    <a:pt x="191" y="296"/>
                    <a:pt x="191" y="296"/>
                  </a:cubicBezTo>
                  <a:cubicBezTo>
                    <a:pt x="192" y="299"/>
                    <a:pt x="191" y="303"/>
                    <a:pt x="189" y="305"/>
                  </a:cubicBezTo>
                  <a:close/>
                  <a:moveTo>
                    <a:pt x="298" y="277"/>
                  </a:moveTo>
                  <a:cubicBezTo>
                    <a:pt x="298" y="283"/>
                    <a:pt x="294" y="288"/>
                    <a:pt x="288" y="288"/>
                  </a:cubicBezTo>
                  <a:cubicBezTo>
                    <a:pt x="288" y="384"/>
                    <a:pt x="288" y="384"/>
                    <a:pt x="288" y="384"/>
                  </a:cubicBezTo>
                  <a:cubicBezTo>
                    <a:pt x="288" y="390"/>
                    <a:pt x="283" y="394"/>
                    <a:pt x="277" y="394"/>
                  </a:cubicBezTo>
                  <a:cubicBezTo>
                    <a:pt x="271" y="394"/>
                    <a:pt x="266" y="390"/>
                    <a:pt x="266" y="384"/>
                  </a:cubicBezTo>
                  <a:cubicBezTo>
                    <a:pt x="266" y="288"/>
                    <a:pt x="266" y="288"/>
                    <a:pt x="266" y="288"/>
                  </a:cubicBezTo>
                  <a:cubicBezTo>
                    <a:pt x="245" y="288"/>
                    <a:pt x="245" y="288"/>
                    <a:pt x="245" y="288"/>
                  </a:cubicBezTo>
                  <a:cubicBezTo>
                    <a:pt x="245" y="384"/>
                    <a:pt x="245" y="384"/>
                    <a:pt x="245" y="384"/>
                  </a:cubicBezTo>
                  <a:cubicBezTo>
                    <a:pt x="245" y="390"/>
                    <a:pt x="240" y="394"/>
                    <a:pt x="234" y="394"/>
                  </a:cubicBezTo>
                  <a:cubicBezTo>
                    <a:pt x="228" y="394"/>
                    <a:pt x="224" y="390"/>
                    <a:pt x="224" y="384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18" y="288"/>
                    <a:pt x="213" y="283"/>
                    <a:pt x="213" y="277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13" y="186"/>
                    <a:pt x="218" y="181"/>
                    <a:pt x="224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94" y="181"/>
                    <a:pt x="298" y="186"/>
                    <a:pt x="298" y="192"/>
                  </a:cubicBezTo>
                  <a:lnTo>
                    <a:pt x="298" y="277"/>
                  </a:lnTo>
                  <a:close/>
                  <a:moveTo>
                    <a:pt x="405" y="277"/>
                  </a:moveTo>
                  <a:cubicBezTo>
                    <a:pt x="405" y="283"/>
                    <a:pt x="400" y="288"/>
                    <a:pt x="394" y="288"/>
                  </a:cubicBezTo>
                  <a:cubicBezTo>
                    <a:pt x="394" y="384"/>
                    <a:pt x="394" y="384"/>
                    <a:pt x="394" y="384"/>
                  </a:cubicBezTo>
                  <a:cubicBezTo>
                    <a:pt x="394" y="390"/>
                    <a:pt x="390" y="394"/>
                    <a:pt x="384" y="394"/>
                  </a:cubicBezTo>
                  <a:cubicBezTo>
                    <a:pt x="378" y="394"/>
                    <a:pt x="373" y="390"/>
                    <a:pt x="373" y="384"/>
                  </a:cubicBezTo>
                  <a:cubicBezTo>
                    <a:pt x="373" y="288"/>
                    <a:pt x="373" y="288"/>
                    <a:pt x="373" y="288"/>
                  </a:cubicBezTo>
                  <a:cubicBezTo>
                    <a:pt x="352" y="288"/>
                    <a:pt x="352" y="288"/>
                    <a:pt x="352" y="288"/>
                  </a:cubicBezTo>
                  <a:cubicBezTo>
                    <a:pt x="352" y="384"/>
                    <a:pt x="352" y="384"/>
                    <a:pt x="352" y="384"/>
                  </a:cubicBezTo>
                  <a:cubicBezTo>
                    <a:pt x="352" y="390"/>
                    <a:pt x="347" y="394"/>
                    <a:pt x="341" y="394"/>
                  </a:cubicBezTo>
                  <a:cubicBezTo>
                    <a:pt x="335" y="394"/>
                    <a:pt x="330" y="390"/>
                    <a:pt x="330" y="384"/>
                  </a:cubicBezTo>
                  <a:cubicBezTo>
                    <a:pt x="330" y="288"/>
                    <a:pt x="330" y="288"/>
                    <a:pt x="330" y="288"/>
                  </a:cubicBezTo>
                  <a:cubicBezTo>
                    <a:pt x="324" y="288"/>
                    <a:pt x="320" y="283"/>
                    <a:pt x="320" y="277"/>
                  </a:cubicBezTo>
                  <a:cubicBezTo>
                    <a:pt x="320" y="192"/>
                    <a:pt x="320" y="192"/>
                    <a:pt x="320" y="192"/>
                  </a:cubicBezTo>
                  <a:cubicBezTo>
                    <a:pt x="320" y="186"/>
                    <a:pt x="324" y="181"/>
                    <a:pt x="330" y="181"/>
                  </a:cubicBezTo>
                  <a:cubicBezTo>
                    <a:pt x="394" y="181"/>
                    <a:pt x="394" y="181"/>
                    <a:pt x="394" y="181"/>
                  </a:cubicBezTo>
                  <a:cubicBezTo>
                    <a:pt x="400" y="181"/>
                    <a:pt x="405" y="186"/>
                    <a:pt x="405" y="192"/>
                  </a:cubicBezTo>
                  <a:lnTo>
                    <a:pt x="405" y="2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2" name="Group 583"/>
          <p:cNvGrpSpPr>
            <a:grpSpLocks noChangeAspect="1"/>
          </p:cNvGrpSpPr>
          <p:nvPr/>
        </p:nvGrpSpPr>
        <p:grpSpPr bwMode="auto">
          <a:xfrm>
            <a:off x="6909814" y="2909484"/>
            <a:ext cx="370763" cy="369676"/>
            <a:chOff x="1138" y="1953"/>
            <a:chExt cx="341" cy="340"/>
          </a:xfrm>
          <a:solidFill>
            <a:schemeClr val="accent6"/>
          </a:solidFill>
        </p:grpSpPr>
        <p:sp>
          <p:nvSpPr>
            <p:cNvPr id="303" name="Freeform 584"/>
            <p:cNvSpPr>
              <a:spLocks noEditPoints="1"/>
            </p:cNvSpPr>
            <p:nvPr/>
          </p:nvSpPr>
          <p:spPr bwMode="auto">
            <a:xfrm>
              <a:off x="1138" y="195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585"/>
            <p:cNvSpPr>
              <a:spLocks noEditPoints="1"/>
            </p:cNvSpPr>
            <p:nvPr/>
          </p:nvSpPr>
          <p:spPr bwMode="auto">
            <a:xfrm>
              <a:off x="1273" y="2017"/>
              <a:ext cx="71" cy="212"/>
            </a:xfrm>
            <a:custGeom>
              <a:avLst/>
              <a:gdLst>
                <a:gd name="T0" fmla="*/ 86 w 107"/>
                <a:gd name="T1" fmla="*/ 54 h 320"/>
                <a:gd name="T2" fmla="*/ 96 w 107"/>
                <a:gd name="T3" fmla="*/ 13 h 320"/>
                <a:gd name="T4" fmla="*/ 94 w 107"/>
                <a:gd name="T5" fmla="*/ 4 h 320"/>
                <a:gd name="T6" fmla="*/ 86 w 107"/>
                <a:gd name="T7" fmla="*/ 0 h 320"/>
                <a:gd name="T8" fmla="*/ 22 w 107"/>
                <a:gd name="T9" fmla="*/ 0 h 320"/>
                <a:gd name="T10" fmla="*/ 13 w 107"/>
                <a:gd name="T11" fmla="*/ 4 h 320"/>
                <a:gd name="T12" fmla="*/ 11 w 107"/>
                <a:gd name="T13" fmla="*/ 13 h 320"/>
                <a:gd name="T14" fmla="*/ 22 w 107"/>
                <a:gd name="T15" fmla="*/ 54 h 320"/>
                <a:gd name="T16" fmla="*/ 0 w 107"/>
                <a:gd name="T17" fmla="*/ 255 h 320"/>
                <a:gd name="T18" fmla="*/ 3 w 107"/>
                <a:gd name="T19" fmla="*/ 262 h 320"/>
                <a:gd name="T20" fmla="*/ 45 w 107"/>
                <a:gd name="T21" fmla="*/ 316 h 320"/>
                <a:gd name="T22" fmla="*/ 54 w 107"/>
                <a:gd name="T23" fmla="*/ 320 h 320"/>
                <a:gd name="T24" fmla="*/ 62 w 107"/>
                <a:gd name="T25" fmla="*/ 316 h 320"/>
                <a:gd name="T26" fmla="*/ 105 w 107"/>
                <a:gd name="T27" fmla="*/ 262 h 320"/>
                <a:gd name="T28" fmla="*/ 107 w 107"/>
                <a:gd name="T29" fmla="*/ 255 h 320"/>
                <a:gd name="T30" fmla="*/ 86 w 107"/>
                <a:gd name="T31" fmla="*/ 54 h 320"/>
                <a:gd name="T32" fmla="*/ 72 w 107"/>
                <a:gd name="T33" fmla="*/ 21 h 320"/>
                <a:gd name="T34" fmla="*/ 67 w 107"/>
                <a:gd name="T35" fmla="*/ 42 h 320"/>
                <a:gd name="T36" fmla="*/ 41 w 107"/>
                <a:gd name="T37" fmla="*/ 42 h 320"/>
                <a:gd name="T38" fmla="*/ 35 w 107"/>
                <a:gd name="T39" fmla="*/ 21 h 320"/>
                <a:gd name="T40" fmla="*/ 72 w 107"/>
                <a:gd name="T41" fmla="*/ 21 h 320"/>
                <a:gd name="T42" fmla="*/ 54 w 107"/>
                <a:gd name="T43" fmla="*/ 292 h 320"/>
                <a:gd name="T44" fmla="*/ 22 w 107"/>
                <a:gd name="T45" fmla="*/ 252 h 320"/>
                <a:gd name="T46" fmla="*/ 42 w 107"/>
                <a:gd name="T47" fmla="*/ 64 h 320"/>
                <a:gd name="T48" fmla="*/ 65 w 107"/>
                <a:gd name="T49" fmla="*/ 64 h 320"/>
                <a:gd name="T50" fmla="*/ 85 w 107"/>
                <a:gd name="T51" fmla="*/ 252 h 320"/>
                <a:gd name="T52" fmla="*/ 54 w 107"/>
                <a:gd name="T53" fmla="*/ 2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320">
                  <a:moveTo>
                    <a:pt x="86" y="54"/>
                  </a:moveTo>
                  <a:cubicBezTo>
                    <a:pt x="96" y="13"/>
                    <a:pt x="96" y="13"/>
                    <a:pt x="96" y="13"/>
                  </a:cubicBezTo>
                  <a:cubicBezTo>
                    <a:pt x="97" y="10"/>
                    <a:pt x="96" y="6"/>
                    <a:pt x="94" y="4"/>
                  </a:cubicBezTo>
                  <a:cubicBezTo>
                    <a:pt x="92" y="1"/>
                    <a:pt x="89" y="0"/>
                    <a:pt x="8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8" y="0"/>
                    <a:pt x="15" y="1"/>
                    <a:pt x="13" y="4"/>
                  </a:cubicBezTo>
                  <a:cubicBezTo>
                    <a:pt x="11" y="6"/>
                    <a:pt x="11" y="10"/>
                    <a:pt x="11" y="1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57"/>
                    <a:pt x="1" y="260"/>
                    <a:pt x="3" y="262"/>
                  </a:cubicBezTo>
                  <a:cubicBezTo>
                    <a:pt x="45" y="316"/>
                    <a:pt x="45" y="316"/>
                    <a:pt x="45" y="316"/>
                  </a:cubicBezTo>
                  <a:cubicBezTo>
                    <a:pt x="47" y="318"/>
                    <a:pt x="50" y="320"/>
                    <a:pt x="54" y="320"/>
                  </a:cubicBezTo>
                  <a:cubicBezTo>
                    <a:pt x="57" y="320"/>
                    <a:pt x="60" y="318"/>
                    <a:pt x="62" y="316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6" y="260"/>
                    <a:pt x="107" y="257"/>
                    <a:pt x="107" y="255"/>
                  </a:cubicBezTo>
                  <a:lnTo>
                    <a:pt x="86" y="54"/>
                  </a:lnTo>
                  <a:close/>
                  <a:moveTo>
                    <a:pt x="72" y="21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35" y="21"/>
                    <a:pt x="35" y="21"/>
                    <a:pt x="35" y="21"/>
                  </a:cubicBezTo>
                  <a:lnTo>
                    <a:pt x="72" y="21"/>
                  </a:lnTo>
                  <a:close/>
                  <a:moveTo>
                    <a:pt x="54" y="292"/>
                  </a:moveTo>
                  <a:cubicBezTo>
                    <a:pt x="22" y="252"/>
                    <a:pt x="22" y="252"/>
                    <a:pt x="22" y="252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85" y="252"/>
                    <a:pt x="85" y="252"/>
                    <a:pt x="85" y="252"/>
                  </a:cubicBezTo>
                  <a:lnTo>
                    <a:pt x="54" y="2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589"/>
          <p:cNvSpPr>
            <a:spLocks noChangeAspect="1" noEditPoints="1"/>
          </p:cNvSpPr>
          <p:nvPr/>
        </p:nvSpPr>
        <p:spPr bwMode="auto">
          <a:xfrm>
            <a:off x="6410726" y="2909484"/>
            <a:ext cx="370763" cy="369676"/>
          </a:xfrm>
          <a:custGeom>
            <a:avLst/>
            <a:gdLst>
              <a:gd name="T0" fmla="*/ 267 w 512"/>
              <a:gd name="T1" fmla="*/ 160 h 512"/>
              <a:gd name="T2" fmla="*/ 287 w 512"/>
              <a:gd name="T3" fmla="*/ 348 h 512"/>
              <a:gd name="T4" fmla="*/ 256 w 512"/>
              <a:gd name="T5" fmla="*/ 388 h 512"/>
              <a:gd name="T6" fmla="*/ 224 w 512"/>
              <a:gd name="T7" fmla="*/ 348 h 512"/>
              <a:gd name="T8" fmla="*/ 244 w 512"/>
              <a:gd name="T9" fmla="*/ 160 h 512"/>
              <a:gd name="T10" fmla="*/ 267 w 512"/>
              <a:gd name="T11" fmla="*/ 160 h 512"/>
              <a:gd name="T12" fmla="*/ 269 w 512"/>
              <a:gd name="T13" fmla="*/ 138 h 512"/>
              <a:gd name="T14" fmla="*/ 274 w 512"/>
              <a:gd name="T15" fmla="*/ 117 h 512"/>
              <a:gd name="T16" fmla="*/ 237 w 512"/>
              <a:gd name="T17" fmla="*/ 117 h 512"/>
              <a:gd name="T18" fmla="*/ 243 w 512"/>
              <a:gd name="T19" fmla="*/ 138 h 512"/>
              <a:gd name="T20" fmla="*/ 269 w 512"/>
              <a:gd name="T21" fmla="*/ 138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09 w 512"/>
              <a:gd name="T33" fmla="*/ 351 h 512"/>
              <a:gd name="T34" fmla="*/ 288 w 512"/>
              <a:gd name="T35" fmla="*/ 150 h 512"/>
              <a:gd name="T36" fmla="*/ 298 w 512"/>
              <a:gd name="T37" fmla="*/ 109 h 512"/>
              <a:gd name="T38" fmla="*/ 296 w 512"/>
              <a:gd name="T39" fmla="*/ 100 h 512"/>
              <a:gd name="T40" fmla="*/ 288 w 512"/>
              <a:gd name="T41" fmla="*/ 96 h 512"/>
              <a:gd name="T42" fmla="*/ 224 w 512"/>
              <a:gd name="T43" fmla="*/ 96 h 512"/>
              <a:gd name="T44" fmla="*/ 215 w 512"/>
              <a:gd name="T45" fmla="*/ 100 h 512"/>
              <a:gd name="T46" fmla="*/ 213 w 512"/>
              <a:gd name="T47" fmla="*/ 109 h 512"/>
              <a:gd name="T48" fmla="*/ 224 w 512"/>
              <a:gd name="T49" fmla="*/ 150 h 512"/>
              <a:gd name="T50" fmla="*/ 202 w 512"/>
              <a:gd name="T51" fmla="*/ 351 h 512"/>
              <a:gd name="T52" fmla="*/ 205 w 512"/>
              <a:gd name="T53" fmla="*/ 358 h 512"/>
              <a:gd name="T54" fmla="*/ 247 w 512"/>
              <a:gd name="T55" fmla="*/ 412 h 512"/>
              <a:gd name="T56" fmla="*/ 256 w 512"/>
              <a:gd name="T57" fmla="*/ 416 h 512"/>
              <a:gd name="T58" fmla="*/ 264 w 512"/>
              <a:gd name="T59" fmla="*/ 412 h 512"/>
              <a:gd name="T60" fmla="*/ 307 w 512"/>
              <a:gd name="T61" fmla="*/ 358 h 512"/>
              <a:gd name="T62" fmla="*/ 309 w 512"/>
              <a:gd name="T63" fmla="*/ 35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67" y="160"/>
                </a:moveTo>
                <a:cubicBezTo>
                  <a:pt x="287" y="348"/>
                  <a:pt x="287" y="348"/>
                  <a:pt x="287" y="348"/>
                </a:cubicBezTo>
                <a:cubicBezTo>
                  <a:pt x="256" y="388"/>
                  <a:pt x="256" y="388"/>
                  <a:pt x="256" y="388"/>
                </a:cubicBezTo>
                <a:cubicBezTo>
                  <a:pt x="224" y="348"/>
                  <a:pt x="224" y="348"/>
                  <a:pt x="224" y="348"/>
                </a:cubicBezTo>
                <a:cubicBezTo>
                  <a:pt x="244" y="160"/>
                  <a:pt x="244" y="160"/>
                  <a:pt x="244" y="160"/>
                </a:cubicBezTo>
                <a:lnTo>
                  <a:pt x="267" y="160"/>
                </a:lnTo>
                <a:close/>
                <a:moveTo>
                  <a:pt x="269" y="138"/>
                </a:moveTo>
                <a:cubicBezTo>
                  <a:pt x="274" y="117"/>
                  <a:pt x="274" y="117"/>
                  <a:pt x="274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43" y="138"/>
                  <a:pt x="243" y="138"/>
                  <a:pt x="243" y="138"/>
                </a:cubicBezTo>
                <a:lnTo>
                  <a:pt x="269" y="13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09" y="351"/>
                </a:moveTo>
                <a:cubicBezTo>
                  <a:pt x="288" y="150"/>
                  <a:pt x="288" y="150"/>
                  <a:pt x="288" y="150"/>
                </a:cubicBezTo>
                <a:cubicBezTo>
                  <a:pt x="298" y="109"/>
                  <a:pt x="298" y="109"/>
                  <a:pt x="298" y="109"/>
                </a:cubicBezTo>
                <a:cubicBezTo>
                  <a:pt x="299" y="106"/>
                  <a:pt x="298" y="102"/>
                  <a:pt x="296" y="100"/>
                </a:cubicBezTo>
                <a:cubicBezTo>
                  <a:pt x="294" y="97"/>
                  <a:pt x="291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0" y="96"/>
                  <a:pt x="217" y="97"/>
                  <a:pt x="215" y="100"/>
                </a:cubicBezTo>
                <a:cubicBezTo>
                  <a:pt x="213" y="102"/>
                  <a:pt x="213" y="106"/>
                  <a:pt x="213" y="109"/>
                </a:cubicBezTo>
                <a:cubicBezTo>
                  <a:pt x="224" y="150"/>
                  <a:pt x="224" y="150"/>
                  <a:pt x="224" y="150"/>
                </a:cubicBezTo>
                <a:cubicBezTo>
                  <a:pt x="202" y="351"/>
                  <a:pt x="202" y="351"/>
                  <a:pt x="202" y="351"/>
                </a:cubicBezTo>
                <a:cubicBezTo>
                  <a:pt x="202" y="353"/>
                  <a:pt x="203" y="356"/>
                  <a:pt x="205" y="358"/>
                </a:cubicBezTo>
                <a:cubicBezTo>
                  <a:pt x="247" y="412"/>
                  <a:pt x="247" y="412"/>
                  <a:pt x="247" y="412"/>
                </a:cubicBezTo>
                <a:cubicBezTo>
                  <a:pt x="249" y="414"/>
                  <a:pt x="252" y="416"/>
                  <a:pt x="256" y="416"/>
                </a:cubicBezTo>
                <a:cubicBezTo>
                  <a:pt x="259" y="416"/>
                  <a:pt x="262" y="414"/>
                  <a:pt x="264" y="412"/>
                </a:cubicBezTo>
                <a:cubicBezTo>
                  <a:pt x="307" y="358"/>
                  <a:pt x="307" y="358"/>
                  <a:pt x="307" y="358"/>
                </a:cubicBezTo>
                <a:cubicBezTo>
                  <a:pt x="308" y="356"/>
                  <a:pt x="309" y="353"/>
                  <a:pt x="309" y="35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6" name="Group 749"/>
          <p:cNvGrpSpPr>
            <a:grpSpLocks noChangeAspect="1"/>
          </p:cNvGrpSpPr>
          <p:nvPr/>
        </p:nvGrpSpPr>
        <p:grpSpPr bwMode="auto">
          <a:xfrm>
            <a:off x="7906903" y="2909484"/>
            <a:ext cx="369676" cy="369676"/>
            <a:chOff x="3520" y="2686"/>
            <a:chExt cx="340" cy="340"/>
          </a:xfrm>
          <a:solidFill>
            <a:schemeClr val="accent2"/>
          </a:solidFill>
        </p:grpSpPr>
        <p:sp>
          <p:nvSpPr>
            <p:cNvPr id="307" name="Freeform 750"/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751"/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752"/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0" name="Freeform 756"/>
          <p:cNvSpPr>
            <a:spLocks noChangeAspect="1" noEditPoints="1"/>
          </p:cNvSpPr>
          <p:nvPr/>
        </p:nvSpPr>
        <p:spPr bwMode="auto">
          <a:xfrm>
            <a:off x="7408902" y="2909484"/>
            <a:ext cx="369676" cy="36967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308 w 512"/>
              <a:gd name="T5" fmla="*/ 356 h 512"/>
              <a:gd name="T6" fmla="*/ 294 w 512"/>
              <a:gd name="T7" fmla="*/ 361 h 512"/>
              <a:gd name="T8" fmla="*/ 240 w 512"/>
              <a:gd name="T9" fmla="*/ 350 h 512"/>
              <a:gd name="T10" fmla="*/ 221 w 512"/>
              <a:gd name="T11" fmla="*/ 290 h 512"/>
              <a:gd name="T12" fmla="*/ 235 w 512"/>
              <a:gd name="T13" fmla="*/ 191 h 512"/>
              <a:gd name="T14" fmla="*/ 202 w 512"/>
              <a:gd name="T15" fmla="*/ 176 h 512"/>
              <a:gd name="T16" fmla="*/ 170 w 512"/>
              <a:gd name="T17" fmla="*/ 191 h 512"/>
              <a:gd name="T18" fmla="*/ 184 w 512"/>
              <a:gd name="T19" fmla="*/ 290 h 512"/>
              <a:gd name="T20" fmla="*/ 165 w 512"/>
              <a:gd name="T21" fmla="*/ 350 h 512"/>
              <a:gd name="T22" fmla="*/ 111 w 512"/>
              <a:gd name="T23" fmla="*/ 361 h 512"/>
              <a:gd name="T24" fmla="*/ 97 w 512"/>
              <a:gd name="T25" fmla="*/ 356 h 512"/>
              <a:gd name="T26" fmla="*/ 139 w 512"/>
              <a:gd name="T27" fmla="*/ 334 h 512"/>
              <a:gd name="T28" fmla="*/ 166 w 512"/>
              <a:gd name="T29" fmla="*/ 302 h 512"/>
              <a:gd name="T30" fmla="*/ 153 w 512"/>
              <a:gd name="T31" fmla="*/ 177 h 512"/>
              <a:gd name="T32" fmla="*/ 251 w 512"/>
              <a:gd name="T33" fmla="*/ 177 h 512"/>
              <a:gd name="T34" fmla="*/ 239 w 512"/>
              <a:gd name="T35" fmla="*/ 302 h 512"/>
              <a:gd name="T36" fmla="*/ 265 w 512"/>
              <a:gd name="T37" fmla="*/ 334 h 512"/>
              <a:gd name="T38" fmla="*/ 308 w 512"/>
              <a:gd name="T39" fmla="*/ 356 h 512"/>
              <a:gd name="T40" fmla="*/ 405 w 512"/>
              <a:gd name="T41" fmla="*/ 342 h 512"/>
              <a:gd name="T42" fmla="*/ 380 w 512"/>
              <a:gd name="T43" fmla="*/ 335 h 512"/>
              <a:gd name="T44" fmla="*/ 356 w 512"/>
              <a:gd name="T45" fmla="*/ 328 h 512"/>
              <a:gd name="T46" fmla="*/ 360 w 512"/>
              <a:gd name="T47" fmla="*/ 248 h 512"/>
              <a:gd name="T48" fmla="*/ 330 w 512"/>
              <a:gd name="T49" fmla="*/ 197 h 512"/>
              <a:gd name="T50" fmla="*/ 301 w 512"/>
              <a:gd name="T51" fmla="*/ 248 h 512"/>
              <a:gd name="T52" fmla="*/ 305 w 512"/>
              <a:gd name="T53" fmla="*/ 328 h 512"/>
              <a:gd name="T54" fmla="*/ 290 w 512"/>
              <a:gd name="T55" fmla="*/ 326 h 512"/>
              <a:gd name="T56" fmla="*/ 298 w 512"/>
              <a:gd name="T57" fmla="*/ 293 h 512"/>
              <a:gd name="T58" fmla="*/ 288 w 512"/>
              <a:gd name="T59" fmla="*/ 195 h 512"/>
              <a:gd name="T60" fmla="*/ 373 w 512"/>
              <a:gd name="T61" fmla="*/ 195 h 512"/>
              <a:gd name="T62" fmla="*/ 363 w 512"/>
              <a:gd name="T63" fmla="*/ 293 h 512"/>
              <a:gd name="T64" fmla="*/ 383 w 512"/>
              <a:gd name="T65" fmla="*/ 314 h 512"/>
              <a:gd name="T66" fmla="*/ 414 w 512"/>
              <a:gd name="T67" fmla="*/ 33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8" y="356"/>
                </a:moveTo>
                <a:cubicBezTo>
                  <a:pt x="306" y="360"/>
                  <a:pt x="302" y="362"/>
                  <a:pt x="298" y="362"/>
                </a:cubicBezTo>
                <a:cubicBezTo>
                  <a:pt x="297" y="362"/>
                  <a:pt x="295" y="362"/>
                  <a:pt x="294" y="361"/>
                </a:cubicBezTo>
                <a:cubicBezTo>
                  <a:pt x="283" y="356"/>
                  <a:pt x="273" y="356"/>
                  <a:pt x="264" y="355"/>
                </a:cubicBezTo>
                <a:cubicBezTo>
                  <a:pt x="256" y="355"/>
                  <a:pt x="248" y="355"/>
                  <a:pt x="240" y="350"/>
                </a:cubicBezTo>
                <a:cubicBezTo>
                  <a:pt x="226" y="343"/>
                  <a:pt x="220" y="323"/>
                  <a:pt x="219" y="317"/>
                </a:cubicBezTo>
                <a:cubicBezTo>
                  <a:pt x="217" y="308"/>
                  <a:pt x="216" y="297"/>
                  <a:pt x="221" y="290"/>
                </a:cubicBezTo>
                <a:cubicBezTo>
                  <a:pt x="228" y="280"/>
                  <a:pt x="236" y="261"/>
                  <a:pt x="240" y="246"/>
                </a:cubicBezTo>
                <a:cubicBezTo>
                  <a:pt x="246" y="221"/>
                  <a:pt x="244" y="202"/>
                  <a:pt x="235" y="191"/>
                </a:cubicBezTo>
                <a:cubicBezTo>
                  <a:pt x="223" y="176"/>
                  <a:pt x="203" y="177"/>
                  <a:pt x="203" y="177"/>
                </a:cubicBezTo>
                <a:cubicBezTo>
                  <a:pt x="202" y="177"/>
                  <a:pt x="202" y="176"/>
                  <a:pt x="202" y="176"/>
                </a:cubicBezTo>
                <a:cubicBezTo>
                  <a:pt x="202" y="176"/>
                  <a:pt x="202" y="177"/>
                  <a:pt x="202" y="177"/>
                </a:cubicBezTo>
                <a:cubicBezTo>
                  <a:pt x="202" y="177"/>
                  <a:pt x="181" y="176"/>
                  <a:pt x="170" y="191"/>
                </a:cubicBezTo>
                <a:cubicBezTo>
                  <a:pt x="160" y="202"/>
                  <a:pt x="159" y="221"/>
                  <a:pt x="165" y="246"/>
                </a:cubicBezTo>
                <a:cubicBezTo>
                  <a:pt x="168" y="261"/>
                  <a:pt x="176" y="280"/>
                  <a:pt x="184" y="290"/>
                </a:cubicBezTo>
                <a:cubicBezTo>
                  <a:pt x="189" y="297"/>
                  <a:pt x="187" y="308"/>
                  <a:pt x="185" y="317"/>
                </a:cubicBezTo>
                <a:cubicBezTo>
                  <a:pt x="184" y="323"/>
                  <a:pt x="179" y="343"/>
                  <a:pt x="165" y="350"/>
                </a:cubicBezTo>
                <a:cubicBezTo>
                  <a:pt x="157" y="355"/>
                  <a:pt x="149" y="355"/>
                  <a:pt x="140" y="355"/>
                </a:cubicBezTo>
                <a:cubicBezTo>
                  <a:pt x="131" y="356"/>
                  <a:pt x="122" y="356"/>
                  <a:pt x="111" y="361"/>
                </a:cubicBezTo>
                <a:cubicBezTo>
                  <a:pt x="109" y="362"/>
                  <a:pt x="108" y="362"/>
                  <a:pt x="106" y="362"/>
                </a:cubicBezTo>
                <a:cubicBezTo>
                  <a:pt x="102" y="362"/>
                  <a:pt x="98" y="360"/>
                  <a:pt x="97" y="356"/>
                </a:cubicBezTo>
                <a:cubicBezTo>
                  <a:pt x="94" y="351"/>
                  <a:pt x="96" y="344"/>
                  <a:pt x="102" y="342"/>
                </a:cubicBezTo>
                <a:cubicBezTo>
                  <a:pt x="116" y="335"/>
                  <a:pt x="129" y="335"/>
                  <a:pt x="139" y="334"/>
                </a:cubicBezTo>
                <a:cubicBezTo>
                  <a:pt x="146" y="334"/>
                  <a:pt x="151" y="334"/>
                  <a:pt x="155" y="332"/>
                </a:cubicBezTo>
                <a:cubicBezTo>
                  <a:pt x="161" y="328"/>
                  <a:pt x="167" y="308"/>
                  <a:pt x="166" y="302"/>
                </a:cubicBezTo>
                <a:cubicBezTo>
                  <a:pt x="157" y="289"/>
                  <a:pt x="148" y="269"/>
                  <a:pt x="144" y="251"/>
                </a:cubicBezTo>
                <a:cubicBezTo>
                  <a:pt x="136" y="219"/>
                  <a:pt x="139" y="194"/>
                  <a:pt x="153" y="177"/>
                </a:cubicBezTo>
                <a:cubicBezTo>
                  <a:pt x="171" y="155"/>
                  <a:pt x="200" y="155"/>
                  <a:pt x="202" y="155"/>
                </a:cubicBezTo>
                <a:cubicBezTo>
                  <a:pt x="205" y="155"/>
                  <a:pt x="233" y="155"/>
                  <a:pt x="251" y="177"/>
                </a:cubicBezTo>
                <a:cubicBezTo>
                  <a:pt x="265" y="194"/>
                  <a:pt x="268" y="219"/>
                  <a:pt x="261" y="251"/>
                </a:cubicBezTo>
                <a:cubicBezTo>
                  <a:pt x="256" y="269"/>
                  <a:pt x="247" y="289"/>
                  <a:pt x="239" y="302"/>
                </a:cubicBezTo>
                <a:cubicBezTo>
                  <a:pt x="237" y="308"/>
                  <a:pt x="243" y="328"/>
                  <a:pt x="250" y="332"/>
                </a:cubicBezTo>
                <a:cubicBezTo>
                  <a:pt x="253" y="334"/>
                  <a:pt x="259" y="334"/>
                  <a:pt x="265" y="334"/>
                </a:cubicBezTo>
                <a:cubicBezTo>
                  <a:pt x="276" y="335"/>
                  <a:pt x="288" y="335"/>
                  <a:pt x="303" y="342"/>
                </a:cubicBezTo>
                <a:cubicBezTo>
                  <a:pt x="308" y="344"/>
                  <a:pt x="310" y="351"/>
                  <a:pt x="308" y="356"/>
                </a:cubicBezTo>
                <a:close/>
                <a:moveTo>
                  <a:pt x="414" y="337"/>
                </a:moveTo>
                <a:cubicBezTo>
                  <a:pt x="412" y="340"/>
                  <a:pt x="408" y="342"/>
                  <a:pt x="405" y="342"/>
                </a:cubicBezTo>
                <a:cubicBezTo>
                  <a:pt x="403" y="342"/>
                  <a:pt x="401" y="341"/>
                  <a:pt x="399" y="340"/>
                </a:cubicBezTo>
                <a:cubicBezTo>
                  <a:pt x="395" y="337"/>
                  <a:pt x="387" y="336"/>
                  <a:pt x="380" y="335"/>
                </a:cubicBezTo>
                <a:cubicBezTo>
                  <a:pt x="372" y="334"/>
                  <a:pt x="364" y="333"/>
                  <a:pt x="357" y="329"/>
                </a:cubicBezTo>
                <a:cubicBezTo>
                  <a:pt x="357" y="329"/>
                  <a:pt x="356" y="328"/>
                  <a:pt x="356" y="328"/>
                </a:cubicBezTo>
                <a:cubicBezTo>
                  <a:pt x="341" y="317"/>
                  <a:pt x="337" y="293"/>
                  <a:pt x="345" y="282"/>
                </a:cubicBezTo>
                <a:cubicBezTo>
                  <a:pt x="351" y="274"/>
                  <a:pt x="357" y="260"/>
                  <a:pt x="360" y="248"/>
                </a:cubicBezTo>
                <a:cubicBezTo>
                  <a:pt x="364" y="230"/>
                  <a:pt x="363" y="217"/>
                  <a:pt x="356" y="208"/>
                </a:cubicBezTo>
                <a:cubicBezTo>
                  <a:pt x="347" y="197"/>
                  <a:pt x="332" y="197"/>
                  <a:pt x="330" y="197"/>
                </a:cubicBezTo>
                <a:cubicBezTo>
                  <a:pt x="329" y="197"/>
                  <a:pt x="313" y="197"/>
                  <a:pt x="305" y="208"/>
                </a:cubicBezTo>
                <a:cubicBezTo>
                  <a:pt x="298" y="217"/>
                  <a:pt x="297" y="230"/>
                  <a:pt x="301" y="248"/>
                </a:cubicBezTo>
                <a:cubicBezTo>
                  <a:pt x="304" y="260"/>
                  <a:pt x="310" y="274"/>
                  <a:pt x="315" y="282"/>
                </a:cubicBezTo>
                <a:cubicBezTo>
                  <a:pt x="323" y="293"/>
                  <a:pt x="319" y="317"/>
                  <a:pt x="305" y="328"/>
                </a:cubicBezTo>
                <a:cubicBezTo>
                  <a:pt x="303" y="330"/>
                  <a:pt x="300" y="330"/>
                  <a:pt x="298" y="330"/>
                </a:cubicBezTo>
                <a:cubicBezTo>
                  <a:pt x="295" y="330"/>
                  <a:pt x="292" y="329"/>
                  <a:pt x="290" y="326"/>
                </a:cubicBezTo>
                <a:cubicBezTo>
                  <a:pt x="286" y="321"/>
                  <a:pt x="287" y="315"/>
                  <a:pt x="292" y="311"/>
                </a:cubicBezTo>
                <a:cubicBezTo>
                  <a:pt x="298" y="307"/>
                  <a:pt x="299" y="296"/>
                  <a:pt x="298" y="293"/>
                </a:cubicBezTo>
                <a:cubicBezTo>
                  <a:pt x="291" y="284"/>
                  <a:pt x="284" y="268"/>
                  <a:pt x="280" y="253"/>
                </a:cubicBezTo>
                <a:cubicBezTo>
                  <a:pt x="274" y="228"/>
                  <a:pt x="277" y="209"/>
                  <a:pt x="288" y="195"/>
                </a:cubicBezTo>
                <a:cubicBezTo>
                  <a:pt x="304" y="175"/>
                  <a:pt x="328" y="176"/>
                  <a:pt x="330" y="176"/>
                </a:cubicBezTo>
                <a:cubicBezTo>
                  <a:pt x="332" y="176"/>
                  <a:pt x="357" y="175"/>
                  <a:pt x="373" y="195"/>
                </a:cubicBezTo>
                <a:cubicBezTo>
                  <a:pt x="384" y="209"/>
                  <a:pt x="386" y="228"/>
                  <a:pt x="380" y="253"/>
                </a:cubicBezTo>
                <a:cubicBezTo>
                  <a:pt x="377" y="268"/>
                  <a:pt x="370" y="284"/>
                  <a:pt x="363" y="293"/>
                </a:cubicBezTo>
                <a:cubicBezTo>
                  <a:pt x="362" y="296"/>
                  <a:pt x="363" y="306"/>
                  <a:pt x="369" y="311"/>
                </a:cubicBezTo>
                <a:cubicBezTo>
                  <a:pt x="372" y="312"/>
                  <a:pt x="378" y="313"/>
                  <a:pt x="383" y="314"/>
                </a:cubicBezTo>
                <a:cubicBezTo>
                  <a:pt x="392" y="315"/>
                  <a:pt x="402" y="317"/>
                  <a:pt x="410" y="322"/>
                </a:cubicBezTo>
                <a:cubicBezTo>
                  <a:pt x="415" y="325"/>
                  <a:pt x="417" y="332"/>
                  <a:pt x="414" y="33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1" name="Group 934"/>
          <p:cNvGrpSpPr>
            <a:grpSpLocks noChangeAspect="1"/>
          </p:cNvGrpSpPr>
          <p:nvPr/>
        </p:nvGrpSpPr>
        <p:grpSpPr bwMode="auto">
          <a:xfrm>
            <a:off x="1922699" y="3749679"/>
            <a:ext cx="369021" cy="369021"/>
            <a:chOff x="1155" y="3472"/>
            <a:chExt cx="340" cy="340"/>
          </a:xfrm>
          <a:solidFill>
            <a:schemeClr val="accent4"/>
          </a:solidFill>
        </p:grpSpPr>
        <p:sp>
          <p:nvSpPr>
            <p:cNvPr id="312" name="Freeform 935"/>
            <p:cNvSpPr>
              <a:spLocks noEditPoints="1"/>
            </p:cNvSpPr>
            <p:nvPr/>
          </p:nvSpPr>
          <p:spPr bwMode="auto">
            <a:xfrm>
              <a:off x="1155" y="34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936"/>
            <p:cNvSpPr>
              <a:spLocks noEditPoints="1"/>
            </p:cNvSpPr>
            <p:nvPr/>
          </p:nvSpPr>
          <p:spPr bwMode="auto">
            <a:xfrm>
              <a:off x="1218" y="3536"/>
              <a:ext cx="213" cy="212"/>
            </a:xfrm>
            <a:custGeom>
              <a:avLst/>
              <a:gdLst>
                <a:gd name="T0" fmla="*/ 320 w 321"/>
                <a:gd name="T1" fmla="*/ 221 h 320"/>
                <a:gd name="T2" fmla="*/ 278 w 321"/>
                <a:gd name="T3" fmla="*/ 50 h 320"/>
                <a:gd name="T4" fmla="*/ 277 w 321"/>
                <a:gd name="T5" fmla="*/ 50 h 320"/>
                <a:gd name="T6" fmla="*/ 277 w 321"/>
                <a:gd name="T7" fmla="*/ 48 h 320"/>
                <a:gd name="T8" fmla="*/ 275 w 321"/>
                <a:gd name="T9" fmla="*/ 46 h 320"/>
                <a:gd name="T10" fmla="*/ 274 w 321"/>
                <a:gd name="T11" fmla="*/ 45 h 320"/>
                <a:gd name="T12" fmla="*/ 272 w 321"/>
                <a:gd name="T13" fmla="*/ 44 h 320"/>
                <a:gd name="T14" fmla="*/ 271 w 321"/>
                <a:gd name="T15" fmla="*/ 43 h 320"/>
                <a:gd name="T16" fmla="*/ 268 w 321"/>
                <a:gd name="T17" fmla="*/ 42 h 320"/>
                <a:gd name="T18" fmla="*/ 267 w 321"/>
                <a:gd name="T19" fmla="*/ 42 h 320"/>
                <a:gd name="T20" fmla="*/ 267 w 321"/>
                <a:gd name="T21" fmla="*/ 42 h 320"/>
                <a:gd name="T22" fmla="*/ 171 w 321"/>
                <a:gd name="T23" fmla="*/ 42 h 320"/>
                <a:gd name="T24" fmla="*/ 171 w 321"/>
                <a:gd name="T25" fmla="*/ 10 h 320"/>
                <a:gd name="T26" fmla="*/ 161 w 321"/>
                <a:gd name="T27" fmla="*/ 0 h 320"/>
                <a:gd name="T28" fmla="*/ 150 w 321"/>
                <a:gd name="T29" fmla="*/ 10 h 320"/>
                <a:gd name="T30" fmla="*/ 150 w 321"/>
                <a:gd name="T31" fmla="*/ 42 h 320"/>
                <a:gd name="T32" fmla="*/ 65 w 321"/>
                <a:gd name="T33" fmla="*/ 42 h 320"/>
                <a:gd name="T34" fmla="*/ 64 w 321"/>
                <a:gd name="T35" fmla="*/ 42 h 320"/>
                <a:gd name="T36" fmla="*/ 61 w 321"/>
                <a:gd name="T37" fmla="*/ 43 h 320"/>
                <a:gd name="T38" fmla="*/ 60 w 321"/>
                <a:gd name="T39" fmla="*/ 44 h 320"/>
                <a:gd name="T40" fmla="*/ 58 w 321"/>
                <a:gd name="T41" fmla="*/ 45 h 320"/>
                <a:gd name="T42" fmla="*/ 57 w 321"/>
                <a:gd name="T43" fmla="*/ 46 h 320"/>
                <a:gd name="T44" fmla="*/ 55 w 321"/>
                <a:gd name="T45" fmla="*/ 48 h 320"/>
                <a:gd name="T46" fmla="*/ 55 w 321"/>
                <a:gd name="T47" fmla="*/ 49 h 320"/>
                <a:gd name="T48" fmla="*/ 54 w 321"/>
                <a:gd name="T49" fmla="*/ 50 h 320"/>
                <a:gd name="T50" fmla="*/ 1 w 321"/>
                <a:gd name="T51" fmla="*/ 220 h 320"/>
                <a:gd name="T52" fmla="*/ 3 w 321"/>
                <a:gd name="T53" fmla="*/ 230 h 320"/>
                <a:gd name="T54" fmla="*/ 11 w 321"/>
                <a:gd name="T55" fmla="*/ 234 h 320"/>
                <a:gd name="T56" fmla="*/ 107 w 321"/>
                <a:gd name="T57" fmla="*/ 234 h 320"/>
                <a:gd name="T58" fmla="*/ 116 w 321"/>
                <a:gd name="T59" fmla="*/ 230 h 320"/>
                <a:gd name="T60" fmla="*/ 118 w 321"/>
                <a:gd name="T61" fmla="*/ 221 h 320"/>
                <a:gd name="T62" fmla="*/ 78 w 321"/>
                <a:gd name="T63" fmla="*/ 64 h 320"/>
                <a:gd name="T64" fmla="*/ 150 w 321"/>
                <a:gd name="T65" fmla="*/ 64 h 320"/>
                <a:gd name="T66" fmla="*/ 150 w 321"/>
                <a:gd name="T67" fmla="*/ 298 h 320"/>
                <a:gd name="T68" fmla="*/ 97 w 321"/>
                <a:gd name="T69" fmla="*/ 298 h 320"/>
                <a:gd name="T70" fmla="*/ 86 w 321"/>
                <a:gd name="T71" fmla="*/ 309 h 320"/>
                <a:gd name="T72" fmla="*/ 97 w 321"/>
                <a:gd name="T73" fmla="*/ 320 h 320"/>
                <a:gd name="T74" fmla="*/ 225 w 321"/>
                <a:gd name="T75" fmla="*/ 320 h 320"/>
                <a:gd name="T76" fmla="*/ 235 w 321"/>
                <a:gd name="T77" fmla="*/ 309 h 320"/>
                <a:gd name="T78" fmla="*/ 225 w 321"/>
                <a:gd name="T79" fmla="*/ 298 h 320"/>
                <a:gd name="T80" fmla="*/ 171 w 321"/>
                <a:gd name="T81" fmla="*/ 298 h 320"/>
                <a:gd name="T82" fmla="*/ 171 w 321"/>
                <a:gd name="T83" fmla="*/ 64 h 320"/>
                <a:gd name="T84" fmla="*/ 253 w 321"/>
                <a:gd name="T85" fmla="*/ 64 h 320"/>
                <a:gd name="T86" fmla="*/ 204 w 321"/>
                <a:gd name="T87" fmla="*/ 220 h 320"/>
                <a:gd name="T88" fmla="*/ 205 w 321"/>
                <a:gd name="T89" fmla="*/ 230 h 320"/>
                <a:gd name="T90" fmla="*/ 214 w 321"/>
                <a:gd name="T91" fmla="*/ 234 h 320"/>
                <a:gd name="T92" fmla="*/ 310 w 321"/>
                <a:gd name="T93" fmla="*/ 234 h 320"/>
                <a:gd name="T94" fmla="*/ 318 w 321"/>
                <a:gd name="T95" fmla="*/ 230 h 320"/>
                <a:gd name="T96" fmla="*/ 320 w 321"/>
                <a:gd name="T97" fmla="*/ 221 h 320"/>
                <a:gd name="T98" fmla="*/ 26 w 321"/>
                <a:gd name="T99" fmla="*/ 213 h 320"/>
                <a:gd name="T100" fmla="*/ 64 w 321"/>
                <a:gd name="T101" fmla="*/ 92 h 320"/>
                <a:gd name="T102" fmla="*/ 94 w 321"/>
                <a:gd name="T103" fmla="*/ 213 h 320"/>
                <a:gd name="T104" fmla="*/ 26 w 321"/>
                <a:gd name="T105" fmla="*/ 213 h 320"/>
                <a:gd name="T106" fmla="*/ 229 w 321"/>
                <a:gd name="T107" fmla="*/ 213 h 320"/>
                <a:gd name="T108" fmla="*/ 266 w 321"/>
                <a:gd name="T109" fmla="*/ 92 h 320"/>
                <a:gd name="T110" fmla="*/ 296 w 321"/>
                <a:gd name="T111" fmla="*/ 213 h 320"/>
                <a:gd name="T112" fmla="*/ 229 w 321"/>
                <a:gd name="T113" fmla="*/ 21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1" h="320">
                  <a:moveTo>
                    <a:pt x="320" y="221"/>
                  </a:moveTo>
                  <a:cubicBezTo>
                    <a:pt x="278" y="50"/>
                    <a:pt x="278" y="50"/>
                    <a:pt x="278" y="50"/>
                  </a:cubicBezTo>
                  <a:cubicBezTo>
                    <a:pt x="278" y="50"/>
                    <a:pt x="277" y="50"/>
                    <a:pt x="277" y="50"/>
                  </a:cubicBezTo>
                  <a:cubicBezTo>
                    <a:pt x="277" y="49"/>
                    <a:pt x="277" y="49"/>
                    <a:pt x="277" y="48"/>
                  </a:cubicBezTo>
                  <a:cubicBezTo>
                    <a:pt x="276" y="47"/>
                    <a:pt x="276" y="47"/>
                    <a:pt x="275" y="46"/>
                  </a:cubicBezTo>
                  <a:cubicBezTo>
                    <a:pt x="275" y="46"/>
                    <a:pt x="275" y="45"/>
                    <a:pt x="274" y="45"/>
                  </a:cubicBezTo>
                  <a:cubicBezTo>
                    <a:pt x="274" y="45"/>
                    <a:pt x="273" y="44"/>
                    <a:pt x="272" y="44"/>
                  </a:cubicBezTo>
                  <a:cubicBezTo>
                    <a:pt x="272" y="43"/>
                    <a:pt x="272" y="43"/>
                    <a:pt x="271" y="43"/>
                  </a:cubicBezTo>
                  <a:cubicBezTo>
                    <a:pt x="270" y="43"/>
                    <a:pt x="269" y="42"/>
                    <a:pt x="268" y="42"/>
                  </a:cubicBezTo>
                  <a:cubicBezTo>
                    <a:pt x="268" y="42"/>
                    <a:pt x="268" y="42"/>
                    <a:pt x="267" y="42"/>
                  </a:cubicBezTo>
                  <a:cubicBezTo>
                    <a:pt x="267" y="42"/>
                    <a:pt x="267" y="42"/>
                    <a:pt x="267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1" y="4"/>
                    <a:pt x="167" y="0"/>
                    <a:pt x="161" y="0"/>
                  </a:cubicBezTo>
                  <a:cubicBezTo>
                    <a:pt x="155" y="0"/>
                    <a:pt x="150" y="4"/>
                    <a:pt x="150" y="10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3" y="43"/>
                    <a:pt x="62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59" y="44"/>
                    <a:pt x="58" y="45"/>
                    <a:pt x="58" y="45"/>
                  </a:cubicBezTo>
                  <a:cubicBezTo>
                    <a:pt x="57" y="45"/>
                    <a:pt x="57" y="46"/>
                    <a:pt x="57" y="46"/>
                  </a:cubicBezTo>
                  <a:cubicBezTo>
                    <a:pt x="56" y="47"/>
                    <a:pt x="56" y="47"/>
                    <a:pt x="55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5" y="50"/>
                    <a:pt x="54" y="50"/>
                  </a:cubicBezTo>
                  <a:cubicBezTo>
                    <a:pt x="1" y="220"/>
                    <a:pt x="1" y="220"/>
                    <a:pt x="1" y="220"/>
                  </a:cubicBezTo>
                  <a:cubicBezTo>
                    <a:pt x="0" y="224"/>
                    <a:pt x="1" y="227"/>
                    <a:pt x="3" y="230"/>
                  </a:cubicBezTo>
                  <a:cubicBezTo>
                    <a:pt x="5" y="233"/>
                    <a:pt x="8" y="234"/>
                    <a:pt x="11" y="234"/>
                  </a:cubicBezTo>
                  <a:cubicBezTo>
                    <a:pt x="107" y="234"/>
                    <a:pt x="107" y="234"/>
                    <a:pt x="107" y="234"/>
                  </a:cubicBezTo>
                  <a:cubicBezTo>
                    <a:pt x="111" y="234"/>
                    <a:pt x="114" y="233"/>
                    <a:pt x="116" y="230"/>
                  </a:cubicBezTo>
                  <a:cubicBezTo>
                    <a:pt x="118" y="228"/>
                    <a:pt x="118" y="224"/>
                    <a:pt x="118" y="221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150" y="64"/>
                    <a:pt x="150" y="64"/>
                    <a:pt x="150" y="64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97" y="298"/>
                    <a:pt x="97" y="298"/>
                    <a:pt x="97" y="298"/>
                  </a:cubicBezTo>
                  <a:cubicBezTo>
                    <a:pt x="91" y="298"/>
                    <a:pt x="86" y="303"/>
                    <a:pt x="86" y="309"/>
                  </a:cubicBezTo>
                  <a:cubicBezTo>
                    <a:pt x="86" y="315"/>
                    <a:pt x="91" y="320"/>
                    <a:pt x="97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1" y="320"/>
                    <a:pt x="235" y="315"/>
                    <a:pt x="235" y="309"/>
                  </a:cubicBezTo>
                  <a:cubicBezTo>
                    <a:pt x="235" y="303"/>
                    <a:pt x="231" y="298"/>
                    <a:pt x="225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253" y="64"/>
                    <a:pt x="253" y="64"/>
                    <a:pt x="253" y="64"/>
                  </a:cubicBezTo>
                  <a:cubicBezTo>
                    <a:pt x="204" y="220"/>
                    <a:pt x="204" y="220"/>
                    <a:pt x="204" y="220"/>
                  </a:cubicBezTo>
                  <a:cubicBezTo>
                    <a:pt x="203" y="224"/>
                    <a:pt x="203" y="227"/>
                    <a:pt x="205" y="230"/>
                  </a:cubicBezTo>
                  <a:cubicBezTo>
                    <a:pt x="207" y="233"/>
                    <a:pt x="211" y="234"/>
                    <a:pt x="214" y="234"/>
                  </a:cubicBezTo>
                  <a:cubicBezTo>
                    <a:pt x="310" y="234"/>
                    <a:pt x="310" y="234"/>
                    <a:pt x="310" y="234"/>
                  </a:cubicBezTo>
                  <a:cubicBezTo>
                    <a:pt x="313" y="234"/>
                    <a:pt x="316" y="233"/>
                    <a:pt x="318" y="230"/>
                  </a:cubicBezTo>
                  <a:cubicBezTo>
                    <a:pt x="320" y="228"/>
                    <a:pt x="321" y="224"/>
                    <a:pt x="320" y="221"/>
                  </a:cubicBezTo>
                  <a:close/>
                  <a:moveTo>
                    <a:pt x="26" y="213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94" y="213"/>
                    <a:pt x="94" y="213"/>
                    <a:pt x="94" y="213"/>
                  </a:cubicBezTo>
                  <a:lnTo>
                    <a:pt x="26" y="213"/>
                  </a:lnTo>
                  <a:close/>
                  <a:moveTo>
                    <a:pt x="229" y="213"/>
                  </a:moveTo>
                  <a:cubicBezTo>
                    <a:pt x="266" y="92"/>
                    <a:pt x="266" y="92"/>
                    <a:pt x="266" y="92"/>
                  </a:cubicBezTo>
                  <a:cubicBezTo>
                    <a:pt x="296" y="213"/>
                    <a:pt x="296" y="213"/>
                    <a:pt x="296" y="213"/>
                  </a:cubicBezTo>
                  <a:lnTo>
                    <a:pt x="229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4" name="Freeform 940"/>
          <p:cNvSpPr>
            <a:spLocks noChangeAspect="1" noEditPoints="1"/>
          </p:cNvSpPr>
          <p:nvPr/>
        </p:nvSpPr>
        <p:spPr bwMode="auto">
          <a:xfrm>
            <a:off x="1425331" y="3749679"/>
            <a:ext cx="369021" cy="369021"/>
          </a:xfrm>
          <a:custGeom>
            <a:avLst/>
            <a:gdLst>
              <a:gd name="T0" fmla="*/ 361 w 512"/>
              <a:gd name="T1" fmla="*/ 188 h 512"/>
              <a:gd name="T2" fmla="*/ 391 w 512"/>
              <a:gd name="T3" fmla="*/ 309 h 512"/>
              <a:gd name="T4" fmla="*/ 324 w 512"/>
              <a:gd name="T5" fmla="*/ 309 h 512"/>
              <a:gd name="T6" fmla="*/ 361 w 512"/>
              <a:gd name="T7" fmla="*/ 188 h 512"/>
              <a:gd name="T8" fmla="*/ 121 w 512"/>
              <a:gd name="T9" fmla="*/ 309 h 512"/>
              <a:gd name="T10" fmla="*/ 189 w 512"/>
              <a:gd name="T11" fmla="*/ 309 h 512"/>
              <a:gd name="T12" fmla="*/ 159 w 512"/>
              <a:gd name="T13" fmla="*/ 188 h 512"/>
              <a:gd name="T14" fmla="*/ 121 w 512"/>
              <a:gd name="T15" fmla="*/ 309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5 w 512"/>
              <a:gd name="T27" fmla="*/ 317 h 512"/>
              <a:gd name="T28" fmla="*/ 373 w 512"/>
              <a:gd name="T29" fmla="*/ 146 h 512"/>
              <a:gd name="T30" fmla="*/ 372 w 512"/>
              <a:gd name="T31" fmla="*/ 146 h 512"/>
              <a:gd name="T32" fmla="*/ 372 w 512"/>
              <a:gd name="T33" fmla="*/ 144 h 512"/>
              <a:gd name="T34" fmla="*/ 370 w 512"/>
              <a:gd name="T35" fmla="*/ 142 h 512"/>
              <a:gd name="T36" fmla="*/ 369 w 512"/>
              <a:gd name="T37" fmla="*/ 141 h 512"/>
              <a:gd name="T38" fmla="*/ 367 w 512"/>
              <a:gd name="T39" fmla="*/ 140 h 512"/>
              <a:gd name="T40" fmla="*/ 366 w 512"/>
              <a:gd name="T41" fmla="*/ 139 h 512"/>
              <a:gd name="T42" fmla="*/ 363 w 512"/>
              <a:gd name="T43" fmla="*/ 138 h 512"/>
              <a:gd name="T44" fmla="*/ 362 w 512"/>
              <a:gd name="T45" fmla="*/ 138 h 512"/>
              <a:gd name="T46" fmla="*/ 362 w 512"/>
              <a:gd name="T47" fmla="*/ 138 h 512"/>
              <a:gd name="T48" fmla="*/ 266 w 512"/>
              <a:gd name="T49" fmla="*/ 138 h 512"/>
              <a:gd name="T50" fmla="*/ 266 w 512"/>
              <a:gd name="T51" fmla="*/ 106 h 512"/>
              <a:gd name="T52" fmla="*/ 256 w 512"/>
              <a:gd name="T53" fmla="*/ 96 h 512"/>
              <a:gd name="T54" fmla="*/ 245 w 512"/>
              <a:gd name="T55" fmla="*/ 106 h 512"/>
              <a:gd name="T56" fmla="*/ 245 w 512"/>
              <a:gd name="T57" fmla="*/ 138 h 512"/>
              <a:gd name="T58" fmla="*/ 160 w 512"/>
              <a:gd name="T59" fmla="*/ 138 h 512"/>
              <a:gd name="T60" fmla="*/ 159 w 512"/>
              <a:gd name="T61" fmla="*/ 138 h 512"/>
              <a:gd name="T62" fmla="*/ 156 w 512"/>
              <a:gd name="T63" fmla="*/ 139 h 512"/>
              <a:gd name="T64" fmla="*/ 155 w 512"/>
              <a:gd name="T65" fmla="*/ 140 h 512"/>
              <a:gd name="T66" fmla="*/ 153 w 512"/>
              <a:gd name="T67" fmla="*/ 141 h 512"/>
              <a:gd name="T68" fmla="*/ 152 w 512"/>
              <a:gd name="T69" fmla="*/ 142 h 512"/>
              <a:gd name="T70" fmla="*/ 150 w 512"/>
              <a:gd name="T71" fmla="*/ 144 h 512"/>
              <a:gd name="T72" fmla="*/ 150 w 512"/>
              <a:gd name="T73" fmla="*/ 145 h 512"/>
              <a:gd name="T74" fmla="*/ 149 w 512"/>
              <a:gd name="T75" fmla="*/ 146 h 512"/>
              <a:gd name="T76" fmla="*/ 96 w 512"/>
              <a:gd name="T77" fmla="*/ 316 h 512"/>
              <a:gd name="T78" fmla="*/ 98 w 512"/>
              <a:gd name="T79" fmla="*/ 326 h 512"/>
              <a:gd name="T80" fmla="*/ 106 w 512"/>
              <a:gd name="T81" fmla="*/ 330 h 512"/>
              <a:gd name="T82" fmla="*/ 202 w 512"/>
              <a:gd name="T83" fmla="*/ 330 h 512"/>
              <a:gd name="T84" fmla="*/ 211 w 512"/>
              <a:gd name="T85" fmla="*/ 326 h 512"/>
              <a:gd name="T86" fmla="*/ 213 w 512"/>
              <a:gd name="T87" fmla="*/ 317 h 512"/>
              <a:gd name="T88" fmla="*/ 173 w 512"/>
              <a:gd name="T89" fmla="*/ 160 h 512"/>
              <a:gd name="T90" fmla="*/ 245 w 512"/>
              <a:gd name="T91" fmla="*/ 160 h 512"/>
              <a:gd name="T92" fmla="*/ 245 w 512"/>
              <a:gd name="T93" fmla="*/ 394 h 512"/>
              <a:gd name="T94" fmla="*/ 192 w 512"/>
              <a:gd name="T95" fmla="*/ 394 h 512"/>
              <a:gd name="T96" fmla="*/ 181 w 512"/>
              <a:gd name="T97" fmla="*/ 405 h 512"/>
              <a:gd name="T98" fmla="*/ 192 w 512"/>
              <a:gd name="T99" fmla="*/ 416 h 512"/>
              <a:gd name="T100" fmla="*/ 320 w 512"/>
              <a:gd name="T101" fmla="*/ 416 h 512"/>
              <a:gd name="T102" fmla="*/ 330 w 512"/>
              <a:gd name="T103" fmla="*/ 405 h 512"/>
              <a:gd name="T104" fmla="*/ 320 w 512"/>
              <a:gd name="T105" fmla="*/ 394 h 512"/>
              <a:gd name="T106" fmla="*/ 266 w 512"/>
              <a:gd name="T107" fmla="*/ 394 h 512"/>
              <a:gd name="T108" fmla="*/ 266 w 512"/>
              <a:gd name="T109" fmla="*/ 160 h 512"/>
              <a:gd name="T110" fmla="*/ 348 w 512"/>
              <a:gd name="T111" fmla="*/ 160 h 512"/>
              <a:gd name="T112" fmla="*/ 299 w 512"/>
              <a:gd name="T113" fmla="*/ 316 h 512"/>
              <a:gd name="T114" fmla="*/ 300 w 512"/>
              <a:gd name="T115" fmla="*/ 326 h 512"/>
              <a:gd name="T116" fmla="*/ 309 w 512"/>
              <a:gd name="T117" fmla="*/ 330 h 512"/>
              <a:gd name="T118" fmla="*/ 405 w 512"/>
              <a:gd name="T119" fmla="*/ 330 h 512"/>
              <a:gd name="T120" fmla="*/ 413 w 512"/>
              <a:gd name="T121" fmla="*/ 326 h 512"/>
              <a:gd name="T122" fmla="*/ 415 w 512"/>
              <a:gd name="T123" fmla="*/ 3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361" y="188"/>
                </a:moveTo>
                <a:cubicBezTo>
                  <a:pt x="391" y="309"/>
                  <a:pt x="391" y="309"/>
                  <a:pt x="391" y="309"/>
                </a:cubicBezTo>
                <a:cubicBezTo>
                  <a:pt x="324" y="309"/>
                  <a:pt x="324" y="309"/>
                  <a:pt x="324" y="309"/>
                </a:cubicBezTo>
                <a:lnTo>
                  <a:pt x="361" y="188"/>
                </a:lnTo>
                <a:close/>
                <a:moveTo>
                  <a:pt x="121" y="309"/>
                </a:moveTo>
                <a:cubicBezTo>
                  <a:pt x="189" y="309"/>
                  <a:pt x="189" y="309"/>
                  <a:pt x="189" y="309"/>
                </a:cubicBezTo>
                <a:cubicBezTo>
                  <a:pt x="159" y="188"/>
                  <a:pt x="159" y="188"/>
                  <a:pt x="159" y="188"/>
                </a:cubicBezTo>
                <a:lnTo>
                  <a:pt x="121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317"/>
                </a:moveTo>
                <a:cubicBezTo>
                  <a:pt x="373" y="146"/>
                  <a:pt x="373" y="146"/>
                  <a:pt x="373" y="146"/>
                </a:cubicBezTo>
                <a:cubicBezTo>
                  <a:pt x="373" y="146"/>
                  <a:pt x="372" y="146"/>
                  <a:pt x="372" y="146"/>
                </a:cubicBezTo>
                <a:cubicBezTo>
                  <a:pt x="372" y="145"/>
                  <a:pt x="372" y="145"/>
                  <a:pt x="372" y="144"/>
                </a:cubicBezTo>
                <a:cubicBezTo>
                  <a:pt x="371" y="143"/>
                  <a:pt x="371" y="143"/>
                  <a:pt x="370" y="142"/>
                </a:cubicBezTo>
                <a:cubicBezTo>
                  <a:pt x="370" y="142"/>
                  <a:pt x="370" y="141"/>
                  <a:pt x="369" y="141"/>
                </a:cubicBezTo>
                <a:cubicBezTo>
                  <a:pt x="369" y="141"/>
                  <a:pt x="368" y="140"/>
                  <a:pt x="367" y="140"/>
                </a:cubicBezTo>
                <a:cubicBezTo>
                  <a:pt x="367" y="139"/>
                  <a:pt x="367" y="139"/>
                  <a:pt x="366" y="139"/>
                </a:cubicBezTo>
                <a:cubicBezTo>
                  <a:pt x="365" y="139"/>
                  <a:pt x="364" y="138"/>
                  <a:pt x="363" y="138"/>
                </a:cubicBezTo>
                <a:cubicBezTo>
                  <a:pt x="363" y="138"/>
                  <a:pt x="363" y="138"/>
                  <a:pt x="362" y="138"/>
                </a:cubicBezTo>
                <a:cubicBezTo>
                  <a:pt x="362" y="138"/>
                  <a:pt x="362" y="138"/>
                  <a:pt x="362" y="138"/>
                </a:cubicBezTo>
                <a:cubicBezTo>
                  <a:pt x="266" y="138"/>
                  <a:pt x="266" y="138"/>
                  <a:pt x="266" y="138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59" y="138"/>
                  <a:pt x="159" y="138"/>
                  <a:pt x="159" y="138"/>
                </a:cubicBezTo>
                <a:cubicBezTo>
                  <a:pt x="158" y="139"/>
                  <a:pt x="157" y="139"/>
                  <a:pt x="156" y="139"/>
                </a:cubicBezTo>
                <a:cubicBezTo>
                  <a:pt x="156" y="139"/>
                  <a:pt x="155" y="139"/>
                  <a:pt x="155" y="140"/>
                </a:cubicBezTo>
                <a:cubicBezTo>
                  <a:pt x="154" y="140"/>
                  <a:pt x="153" y="141"/>
                  <a:pt x="153" y="141"/>
                </a:cubicBezTo>
                <a:cubicBezTo>
                  <a:pt x="152" y="141"/>
                  <a:pt x="152" y="142"/>
                  <a:pt x="152" y="142"/>
                </a:cubicBezTo>
                <a:cubicBezTo>
                  <a:pt x="151" y="143"/>
                  <a:pt x="151" y="143"/>
                  <a:pt x="150" y="144"/>
                </a:cubicBezTo>
                <a:cubicBezTo>
                  <a:pt x="150" y="145"/>
                  <a:pt x="150" y="145"/>
                  <a:pt x="150" y="145"/>
                </a:cubicBezTo>
                <a:cubicBezTo>
                  <a:pt x="150" y="145"/>
                  <a:pt x="150" y="146"/>
                  <a:pt x="149" y="146"/>
                </a:cubicBezTo>
                <a:cubicBezTo>
                  <a:pt x="96" y="316"/>
                  <a:pt x="96" y="316"/>
                  <a:pt x="96" y="316"/>
                </a:cubicBezTo>
                <a:cubicBezTo>
                  <a:pt x="95" y="320"/>
                  <a:pt x="96" y="323"/>
                  <a:pt x="98" y="326"/>
                </a:cubicBezTo>
                <a:cubicBezTo>
                  <a:pt x="100" y="329"/>
                  <a:pt x="103" y="330"/>
                  <a:pt x="106" y="330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6" y="330"/>
                  <a:pt x="209" y="329"/>
                  <a:pt x="211" y="326"/>
                </a:cubicBezTo>
                <a:cubicBezTo>
                  <a:pt x="213" y="324"/>
                  <a:pt x="213" y="320"/>
                  <a:pt x="213" y="317"/>
                </a:cubicBezTo>
                <a:cubicBezTo>
                  <a:pt x="173" y="160"/>
                  <a:pt x="173" y="160"/>
                  <a:pt x="173" y="160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86" y="394"/>
                  <a:pt x="181" y="399"/>
                  <a:pt x="181" y="405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0" y="411"/>
                  <a:pt x="330" y="405"/>
                </a:cubicBezTo>
                <a:cubicBezTo>
                  <a:pt x="330" y="399"/>
                  <a:pt x="326" y="394"/>
                  <a:pt x="320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348" y="160"/>
                  <a:pt x="348" y="160"/>
                  <a:pt x="348" y="160"/>
                </a:cubicBezTo>
                <a:cubicBezTo>
                  <a:pt x="299" y="316"/>
                  <a:pt x="299" y="316"/>
                  <a:pt x="299" y="316"/>
                </a:cubicBezTo>
                <a:cubicBezTo>
                  <a:pt x="298" y="320"/>
                  <a:pt x="298" y="323"/>
                  <a:pt x="300" y="326"/>
                </a:cubicBezTo>
                <a:cubicBezTo>
                  <a:pt x="302" y="329"/>
                  <a:pt x="306" y="330"/>
                  <a:pt x="309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08" y="330"/>
                  <a:pt x="411" y="329"/>
                  <a:pt x="413" y="326"/>
                </a:cubicBezTo>
                <a:cubicBezTo>
                  <a:pt x="415" y="324"/>
                  <a:pt x="416" y="320"/>
                  <a:pt x="415" y="31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5" name="Freeform 813"/>
          <p:cNvSpPr>
            <a:spLocks noChangeAspect="1" noEditPoints="1"/>
          </p:cNvSpPr>
          <p:nvPr/>
        </p:nvSpPr>
        <p:spPr bwMode="auto">
          <a:xfrm>
            <a:off x="2420067" y="3749679"/>
            <a:ext cx="367041" cy="367041"/>
          </a:xfrm>
          <a:custGeom>
            <a:avLst/>
            <a:gdLst>
              <a:gd name="T0" fmla="*/ 352 w 512"/>
              <a:gd name="T1" fmla="*/ 245 h 512"/>
              <a:gd name="T2" fmla="*/ 288 w 512"/>
              <a:gd name="T3" fmla="*/ 245 h 512"/>
              <a:gd name="T4" fmla="*/ 288 w 512"/>
              <a:gd name="T5" fmla="*/ 202 h 512"/>
              <a:gd name="T6" fmla="*/ 352 w 512"/>
              <a:gd name="T7" fmla="*/ 202 h 512"/>
              <a:gd name="T8" fmla="*/ 352 w 512"/>
              <a:gd name="T9" fmla="*/ 245 h 512"/>
              <a:gd name="T10" fmla="*/ 224 w 512"/>
              <a:gd name="T11" fmla="*/ 202 h 512"/>
              <a:gd name="T12" fmla="*/ 160 w 512"/>
              <a:gd name="T13" fmla="*/ 202 h 512"/>
              <a:gd name="T14" fmla="*/ 160 w 512"/>
              <a:gd name="T15" fmla="*/ 245 h 512"/>
              <a:gd name="T16" fmla="*/ 224 w 512"/>
              <a:gd name="T17" fmla="*/ 245 h 512"/>
              <a:gd name="T18" fmla="*/ 224 w 512"/>
              <a:gd name="T19" fmla="*/ 202 h 512"/>
              <a:gd name="T20" fmla="*/ 320 w 512"/>
              <a:gd name="T21" fmla="*/ 138 h 512"/>
              <a:gd name="T22" fmla="*/ 330 w 512"/>
              <a:gd name="T23" fmla="*/ 128 h 512"/>
              <a:gd name="T24" fmla="*/ 320 w 512"/>
              <a:gd name="T25" fmla="*/ 117 h 512"/>
              <a:gd name="T26" fmla="*/ 309 w 512"/>
              <a:gd name="T27" fmla="*/ 128 h 512"/>
              <a:gd name="T28" fmla="*/ 320 w 512"/>
              <a:gd name="T29" fmla="*/ 138 h 512"/>
              <a:gd name="T30" fmla="*/ 192 w 512"/>
              <a:gd name="T31" fmla="*/ 138 h 512"/>
              <a:gd name="T32" fmla="*/ 202 w 512"/>
              <a:gd name="T33" fmla="*/ 128 h 512"/>
              <a:gd name="T34" fmla="*/ 192 w 512"/>
              <a:gd name="T35" fmla="*/ 117 h 512"/>
              <a:gd name="T36" fmla="*/ 181 w 512"/>
              <a:gd name="T37" fmla="*/ 128 h 512"/>
              <a:gd name="T38" fmla="*/ 192 w 512"/>
              <a:gd name="T39" fmla="*/ 138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288 w 512"/>
              <a:gd name="T51" fmla="*/ 128 h 512"/>
              <a:gd name="T52" fmla="*/ 320 w 512"/>
              <a:gd name="T53" fmla="*/ 160 h 512"/>
              <a:gd name="T54" fmla="*/ 352 w 512"/>
              <a:gd name="T55" fmla="*/ 128 h 512"/>
              <a:gd name="T56" fmla="*/ 320 w 512"/>
              <a:gd name="T57" fmla="*/ 96 h 512"/>
              <a:gd name="T58" fmla="*/ 288 w 512"/>
              <a:gd name="T59" fmla="*/ 128 h 512"/>
              <a:gd name="T60" fmla="*/ 160 w 512"/>
              <a:gd name="T61" fmla="*/ 128 h 512"/>
              <a:gd name="T62" fmla="*/ 192 w 512"/>
              <a:gd name="T63" fmla="*/ 160 h 512"/>
              <a:gd name="T64" fmla="*/ 224 w 512"/>
              <a:gd name="T65" fmla="*/ 128 h 512"/>
              <a:gd name="T66" fmla="*/ 192 w 512"/>
              <a:gd name="T67" fmla="*/ 96 h 512"/>
              <a:gd name="T68" fmla="*/ 160 w 512"/>
              <a:gd name="T69" fmla="*/ 128 h 512"/>
              <a:gd name="T70" fmla="*/ 405 w 512"/>
              <a:gd name="T71" fmla="*/ 256 h 512"/>
              <a:gd name="T72" fmla="*/ 394 w 512"/>
              <a:gd name="T73" fmla="*/ 245 h 512"/>
              <a:gd name="T74" fmla="*/ 373 w 512"/>
              <a:gd name="T75" fmla="*/ 245 h 512"/>
              <a:gd name="T76" fmla="*/ 373 w 512"/>
              <a:gd name="T77" fmla="*/ 192 h 512"/>
              <a:gd name="T78" fmla="*/ 362 w 512"/>
              <a:gd name="T79" fmla="*/ 181 h 512"/>
              <a:gd name="T80" fmla="*/ 277 w 512"/>
              <a:gd name="T81" fmla="*/ 181 h 512"/>
              <a:gd name="T82" fmla="*/ 266 w 512"/>
              <a:gd name="T83" fmla="*/ 192 h 512"/>
              <a:gd name="T84" fmla="*/ 266 w 512"/>
              <a:gd name="T85" fmla="*/ 245 h 512"/>
              <a:gd name="T86" fmla="*/ 245 w 512"/>
              <a:gd name="T87" fmla="*/ 245 h 512"/>
              <a:gd name="T88" fmla="*/ 245 w 512"/>
              <a:gd name="T89" fmla="*/ 192 h 512"/>
              <a:gd name="T90" fmla="*/ 234 w 512"/>
              <a:gd name="T91" fmla="*/ 181 h 512"/>
              <a:gd name="T92" fmla="*/ 149 w 512"/>
              <a:gd name="T93" fmla="*/ 181 h 512"/>
              <a:gd name="T94" fmla="*/ 138 w 512"/>
              <a:gd name="T95" fmla="*/ 192 h 512"/>
              <a:gd name="T96" fmla="*/ 138 w 512"/>
              <a:gd name="T97" fmla="*/ 245 h 512"/>
              <a:gd name="T98" fmla="*/ 117 w 512"/>
              <a:gd name="T99" fmla="*/ 245 h 512"/>
              <a:gd name="T100" fmla="*/ 106 w 512"/>
              <a:gd name="T101" fmla="*/ 256 h 512"/>
              <a:gd name="T102" fmla="*/ 117 w 512"/>
              <a:gd name="T103" fmla="*/ 266 h 512"/>
              <a:gd name="T104" fmla="*/ 117 w 512"/>
              <a:gd name="T105" fmla="*/ 384 h 512"/>
              <a:gd name="T106" fmla="*/ 128 w 512"/>
              <a:gd name="T107" fmla="*/ 394 h 512"/>
              <a:gd name="T108" fmla="*/ 384 w 512"/>
              <a:gd name="T109" fmla="*/ 394 h 512"/>
              <a:gd name="T110" fmla="*/ 394 w 512"/>
              <a:gd name="T111" fmla="*/ 384 h 512"/>
              <a:gd name="T112" fmla="*/ 394 w 512"/>
              <a:gd name="T113" fmla="*/ 266 h 512"/>
              <a:gd name="T114" fmla="*/ 405 w 512"/>
              <a:gd name="T115" fmla="*/ 256 h 512"/>
              <a:gd name="T116" fmla="*/ 138 w 512"/>
              <a:gd name="T117" fmla="*/ 373 h 512"/>
              <a:gd name="T118" fmla="*/ 373 w 512"/>
              <a:gd name="T119" fmla="*/ 373 h 512"/>
              <a:gd name="T120" fmla="*/ 373 w 512"/>
              <a:gd name="T121" fmla="*/ 266 h 512"/>
              <a:gd name="T122" fmla="*/ 138 w 512"/>
              <a:gd name="T123" fmla="*/ 266 h 512"/>
              <a:gd name="T124" fmla="*/ 138 w 512"/>
              <a:gd name="T125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52" y="245"/>
                </a:moveTo>
                <a:cubicBezTo>
                  <a:pt x="288" y="245"/>
                  <a:pt x="288" y="245"/>
                  <a:pt x="288" y="245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352" y="202"/>
                  <a:pt x="352" y="202"/>
                  <a:pt x="352" y="202"/>
                </a:cubicBezTo>
                <a:lnTo>
                  <a:pt x="352" y="245"/>
                </a:lnTo>
                <a:close/>
                <a:moveTo>
                  <a:pt x="224" y="202"/>
                </a:moveTo>
                <a:cubicBezTo>
                  <a:pt x="160" y="202"/>
                  <a:pt x="160" y="202"/>
                  <a:pt x="160" y="202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224" y="245"/>
                  <a:pt x="224" y="245"/>
                  <a:pt x="224" y="245"/>
                </a:cubicBezTo>
                <a:lnTo>
                  <a:pt x="224" y="202"/>
                </a:lnTo>
                <a:close/>
                <a:moveTo>
                  <a:pt x="320" y="138"/>
                </a:moveTo>
                <a:cubicBezTo>
                  <a:pt x="326" y="138"/>
                  <a:pt x="330" y="134"/>
                  <a:pt x="330" y="128"/>
                </a:cubicBezTo>
                <a:cubicBezTo>
                  <a:pt x="330" y="122"/>
                  <a:pt x="326" y="117"/>
                  <a:pt x="320" y="117"/>
                </a:cubicBezTo>
                <a:cubicBezTo>
                  <a:pt x="314" y="117"/>
                  <a:pt x="309" y="122"/>
                  <a:pt x="309" y="128"/>
                </a:cubicBezTo>
                <a:cubicBezTo>
                  <a:pt x="309" y="134"/>
                  <a:pt x="314" y="138"/>
                  <a:pt x="320" y="138"/>
                </a:cubicBezTo>
                <a:close/>
                <a:moveTo>
                  <a:pt x="192" y="138"/>
                </a:moveTo>
                <a:cubicBezTo>
                  <a:pt x="198" y="138"/>
                  <a:pt x="202" y="134"/>
                  <a:pt x="202" y="128"/>
                </a:cubicBezTo>
                <a:cubicBezTo>
                  <a:pt x="202" y="122"/>
                  <a:pt x="198" y="117"/>
                  <a:pt x="192" y="117"/>
                </a:cubicBezTo>
                <a:cubicBezTo>
                  <a:pt x="186" y="117"/>
                  <a:pt x="181" y="122"/>
                  <a:pt x="181" y="128"/>
                </a:cubicBezTo>
                <a:cubicBezTo>
                  <a:pt x="181" y="134"/>
                  <a:pt x="186" y="138"/>
                  <a:pt x="192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128"/>
                </a:moveTo>
                <a:cubicBezTo>
                  <a:pt x="288" y="145"/>
                  <a:pt x="302" y="160"/>
                  <a:pt x="320" y="160"/>
                </a:cubicBezTo>
                <a:cubicBezTo>
                  <a:pt x="337" y="160"/>
                  <a:pt x="352" y="145"/>
                  <a:pt x="352" y="128"/>
                </a:cubicBezTo>
                <a:cubicBezTo>
                  <a:pt x="352" y="110"/>
                  <a:pt x="337" y="96"/>
                  <a:pt x="320" y="96"/>
                </a:cubicBezTo>
                <a:cubicBezTo>
                  <a:pt x="302" y="96"/>
                  <a:pt x="288" y="110"/>
                  <a:pt x="288" y="128"/>
                </a:cubicBezTo>
                <a:close/>
                <a:moveTo>
                  <a:pt x="160" y="128"/>
                </a:moveTo>
                <a:cubicBezTo>
                  <a:pt x="160" y="145"/>
                  <a:pt x="174" y="160"/>
                  <a:pt x="192" y="160"/>
                </a:cubicBezTo>
                <a:cubicBezTo>
                  <a:pt x="209" y="160"/>
                  <a:pt x="224" y="145"/>
                  <a:pt x="224" y="128"/>
                </a:cubicBezTo>
                <a:cubicBezTo>
                  <a:pt x="224" y="110"/>
                  <a:pt x="209" y="96"/>
                  <a:pt x="192" y="96"/>
                </a:cubicBezTo>
                <a:cubicBezTo>
                  <a:pt x="174" y="96"/>
                  <a:pt x="160" y="110"/>
                  <a:pt x="160" y="128"/>
                </a:cubicBezTo>
                <a:close/>
                <a:moveTo>
                  <a:pt x="405" y="256"/>
                </a:moveTo>
                <a:cubicBezTo>
                  <a:pt x="405" y="250"/>
                  <a:pt x="400" y="245"/>
                  <a:pt x="394" y="245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73" y="192"/>
                  <a:pt x="373" y="192"/>
                  <a:pt x="373" y="192"/>
                </a:cubicBezTo>
                <a:cubicBezTo>
                  <a:pt x="373" y="186"/>
                  <a:pt x="368" y="181"/>
                  <a:pt x="362" y="181"/>
                </a:cubicBezTo>
                <a:cubicBezTo>
                  <a:pt x="277" y="181"/>
                  <a:pt x="277" y="181"/>
                  <a:pt x="277" y="181"/>
                </a:cubicBezTo>
                <a:cubicBezTo>
                  <a:pt x="271" y="181"/>
                  <a:pt x="266" y="186"/>
                  <a:pt x="266" y="192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45" y="186"/>
                  <a:pt x="240" y="181"/>
                  <a:pt x="234" y="181"/>
                </a:cubicBezTo>
                <a:cubicBezTo>
                  <a:pt x="149" y="181"/>
                  <a:pt x="149" y="181"/>
                  <a:pt x="149" y="181"/>
                </a:cubicBezTo>
                <a:cubicBezTo>
                  <a:pt x="143" y="181"/>
                  <a:pt x="138" y="186"/>
                  <a:pt x="138" y="192"/>
                </a:cubicBezTo>
                <a:cubicBezTo>
                  <a:pt x="138" y="245"/>
                  <a:pt x="138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11" y="245"/>
                  <a:pt x="106" y="250"/>
                  <a:pt x="106" y="256"/>
                </a:cubicBezTo>
                <a:cubicBezTo>
                  <a:pt x="106" y="262"/>
                  <a:pt x="112" y="266"/>
                  <a:pt x="117" y="266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400" y="266"/>
                  <a:pt x="405" y="262"/>
                  <a:pt x="405" y="256"/>
                </a:cubicBezTo>
                <a:close/>
                <a:moveTo>
                  <a:pt x="138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138" y="266"/>
                  <a:pt x="138" y="266"/>
                  <a:pt x="138" y="266"/>
                </a:cubicBezTo>
                <a:lnTo>
                  <a:pt x="138" y="37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6" name="Group 816"/>
          <p:cNvGrpSpPr>
            <a:grpSpLocks noChangeAspect="1"/>
          </p:cNvGrpSpPr>
          <p:nvPr/>
        </p:nvGrpSpPr>
        <p:grpSpPr bwMode="auto">
          <a:xfrm>
            <a:off x="2915455" y="3749679"/>
            <a:ext cx="367041" cy="367041"/>
            <a:chOff x="4518" y="3391"/>
            <a:chExt cx="340" cy="340"/>
          </a:xfrm>
          <a:solidFill>
            <a:schemeClr val="accent3"/>
          </a:solidFill>
        </p:grpSpPr>
        <p:sp>
          <p:nvSpPr>
            <p:cNvPr id="317" name="Freeform 817"/>
            <p:cNvSpPr>
              <a:spLocks noEditPoints="1"/>
            </p:cNvSpPr>
            <p:nvPr/>
          </p:nvSpPr>
          <p:spPr bwMode="auto">
            <a:xfrm>
              <a:off x="4518" y="33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818"/>
            <p:cNvSpPr>
              <a:spLocks noEditPoints="1"/>
            </p:cNvSpPr>
            <p:nvPr/>
          </p:nvSpPr>
          <p:spPr bwMode="auto">
            <a:xfrm>
              <a:off x="4588" y="3455"/>
              <a:ext cx="199" cy="198"/>
            </a:xfrm>
            <a:custGeom>
              <a:avLst/>
              <a:gdLst>
                <a:gd name="T0" fmla="*/ 86 w 299"/>
                <a:gd name="T1" fmla="*/ 64 h 298"/>
                <a:gd name="T2" fmla="*/ 118 w 299"/>
                <a:gd name="T3" fmla="*/ 32 h 298"/>
                <a:gd name="T4" fmla="*/ 86 w 299"/>
                <a:gd name="T5" fmla="*/ 0 h 298"/>
                <a:gd name="T6" fmla="*/ 54 w 299"/>
                <a:gd name="T7" fmla="*/ 32 h 298"/>
                <a:gd name="T8" fmla="*/ 86 w 299"/>
                <a:gd name="T9" fmla="*/ 64 h 298"/>
                <a:gd name="T10" fmla="*/ 86 w 299"/>
                <a:gd name="T11" fmla="*/ 21 h 298"/>
                <a:gd name="T12" fmla="*/ 96 w 299"/>
                <a:gd name="T13" fmla="*/ 32 h 298"/>
                <a:gd name="T14" fmla="*/ 86 w 299"/>
                <a:gd name="T15" fmla="*/ 42 h 298"/>
                <a:gd name="T16" fmla="*/ 75 w 299"/>
                <a:gd name="T17" fmla="*/ 32 h 298"/>
                <a:gd name="T18" fmla="*/ 86 w 299"/>
                <a:gd name="T19" fmla="*/ 21 h 298"/>
                <a:gd name="T20" fmla="*/ 288 w 299"/>
                <a:gd name="T21" fmla="*/ 149 h 298"/>
                <a:gd name="T22" fmla="*/ 267 w 299"/>
                <a:gd name="T23" fmla="*/ 149 h 298"/>
                <a:gd name="T24" fmla="*/ 267 w 299"/>
                <a:gd name="T25" fmla="*/ 96 h 298"/>
                <a:gd name="T26" fmla="*/ 256 w 299"/>
                <a:gd name="T27" fmla="*/ 85 h 298"/>
                <a:gd name="T28" fmla="*/ 171 w 299"/>
                <a:gd name="T29" fmla="*/ 85 h 298"/>
                <a:gd name="T30" fmla="*/ 160 w 299"/>
                <a:gd name="T31" fmla="*/ 96 h 298"/>
                <a:gd name="T32" fmla="*/ 160 w 299"/>
                <a:gd name="T33" fmla="*/ 149 h 298"/>
                <a:gd name="T34" fmla="*/ 139 w 299"/>
                <a:gd name="T35" fmla="*/ 149 h 298"/>
                <a:gd name="T36" fmla="*/ 139 w 299"/>
                <a:gd name="T37" fmla="*/ 96 h 298"/>
                <a:gd name="T38" fmla="*/ 128 w 299"/>
                <a:gd name="T39" fmla="*/ 85 h 298"/>
                <a:gd name="T40" fmla="*/ 43 w 299"/>
                <a:gd name="T41" fmla="*/ 85 h 298"/>
                <a:gd name="T42" fmla="*/ 32 w 299"/>
                <a:gd name="T43" fmla="*/ 96 h 298"/>
                <a:gd name="T44" fmla="*/ 32 w 299"/>
                <a:gd name="T45" fmla="*/ 149 h 298"/>
                <a:gd name="T46" fmla="*/ 11 w 299"/>
                <a:gd name="T47" fmla="*/ 149 h 298"/>
                <a:gd name="T48" fmla="*/ 0 w 299"/>
                <a:gd name="T49" fmla="*/ 160 h 298"/>
                <a:gd name="T50" fmla="*/ 11 w 299"/>
                <a:gd name="T51" fmla="*/ 170 h 298"/>
                <a:gd name="T52" fmla="*/ 11 w 299"/>
                <a:gd name="T53" fmla="*/ 288 h 298"/>
                <a:gd name="T54" fmla="*/ 22 w 299"/>
                <a:gd name="T55" fmla="*/ 298 h 298"/>
                <a:gd name="T56" fmla="*/ 278 w 299"/>
                <a:gd name="T57" fmla="*/ 298 h 298"/>
                <a:gd name="T58" fmla="*/ 288 w 299"/>
                <a:gd name="T59" fmla="*/ 288 h 298"/>
                <a:gd name="T60" fmla="*/ 288 w 299"/>
                <a:gd name="T61" fmla="*/ 170 h 298"/>
                <a:gd name="T62" fmla="*/ 299 w 299"/>
                <a:gd name="T63" fmla="*/ 160 h 298"/>
                <a:gd name="T64" fmla="*/ 288 w 299"/>
                <a:gd name="T65" fmla="*/ 149 h 298"/>
                <a:gd name="T66" fmla="*/ 182 w 299"/>
                <a:gd name="T67" fmla="*/ 106 h 298"/>
                <a:gd name="T68" fmla="*/ 246 w 299"/>
                <a:gd name="T69" fmla="*/ 106 h 298"/>
                <a:gd name="T70" fmla="*/ 246 w 299"/>
                <a:gd name="T71" fmla="*/ 149 h 298"/>
                <a:gd name="T72" fmla="*/ 182 w 299"/>
                <a:gd name="T73" fmla="*/ 149 h 298"/>
                <a:gd name="T74" fmla="*/ 182 w 299"/>
                <a:gd name="T75" fmla="*/ 106 h 298"/>
                <a:gd name="T76" fmla="*/ 54 w 299"/>
                <a:gd name="T77" fmla="*/ 106 h 298"/>
                <a:gd name="T78" fmla="*/ 118 w 299"/>
                <a:gd name="T79" fmla="*/ 106 h 298"/>
                <a:gd name="T80" fmla="*/ 118 w 299"/>
                <a:gd name="T81" fmla="*/ 149 h 298"/>
                <a:gd name="T82" fmla="*/ 54 w 299"/>
                <a:gd name="T83" fmla="*/ 149 h 298"/>
                <a:gd name="T84" fmla="*/ 54 w 299"/>
                <a:gd name="T85" fmla="*/ 106 h 298"/>
                <a:gd name="T86" fmla="*/ 267 w 299"/>
                <a:gd name="T87" fmla="*/ 277 h 298"/>
                <a:gd name="T88" fmla="*/ 32 w 299"/>
                <a:gd name="T89" fmla="*/ 277 h 298"/>
                <a:gd name="T90" fmla="*/ 32 w 299"/>
                <a:gd name="T91" fmla="*/ 170 h 298"/>
                <a:gd name="T92" fmla="*/ 267 w 299"/>
                <a:gd name="T93" fmla="*/ 170 h 298"/>
                <a:gd name="T94" fmla="*/ 267 w 299"/>
                <a:gd name="T95" fmla="*/ 277 h 298"/>
                <a:gd name="T96" fmla="*/ 214 w 299"/>
                <a:gd name="T97" fmla="*/ 64 h 298"/>
                <a:gd name="T98" fmla="*/ 246 w 299"/>
                <a:gd name="T99" fmla="*/ 32 h 298"/>
                <a:gd name="T100" fmla="*/ 214 w 299"/>
                <a:gd name="T101" fmla="*/ 0 h 298"/>
                <a:gd name="T102" fmla="*/ 182 w 299"/>
                <a:gd name="T103" fmla="*/ 32 h 298"/>
                <a:gd name="T104" fmla="*/ 214 w 299"/>
                <a:gd name="T105" fmla="*/ 64 h 298"/>
                <a:gd name="T106" fmla="*/ 214 w 299"/>
                <a:gd name="T107" fmla="*/ 21 h 298"/>
                <a:gd name="T108" fmla="*/ 224 w 299"/>
                <a:gd name="T109" fmla="*/ 32 h 298"/>
                <a:gd name="T110" fmla="*/ 214 w 299"/>
                <a:gd name="T111" fmla="*/ 42 h 298"/>
                <a:gd name="T112" fmla="*/ 203 w 299"/>
                <a:gd name="T113" fmla="*/ 32 h 298"/>
                <a:gd name="T114" fmla="*/ 214 w 299"/>
                <a:gd name="T115" fmla="*/ 21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298">
                  <a:moveTo>
                    <a:pt x="86" y="64"/>
                  </a:moveTo>
                  <a:cubicBezTo>
                    <a:pt x="103" y="64"/>
                    <a:pt x="118" y="49"/>
                    <a:pt x="118" y="32"/>
                  </a:cubicBezTo>
                  <a:cubicBezTo>
                    <a:pt x="118" y="14"/>
                    <a:pt x="103" y="0"/>
                    <a:pt x="86" y="0"/>
                  </a:cubicBezTo>
                  <a:cubicBezTo>
                    <a:pt x="68" y="0"/>
                    <a:pt x="54" y="14"/>
                    <a:pt x="54" y="32"/>
                  </a:cubicBezTo>
                  <a:cubicBezTo>
                    <a:pt x="54" y="49"/>
                    <a:pt x="68" y="64"/>
                    <a:pt x="86" y="64"/>
                  </a:cubicBezTo>
                  <a:close/>
                  <a:moveTo>
                    <a:pt x="86" y="21"/>
                  </a:moveTo>
                  <a:cubicBezTo>
                    <a:pt x="92" y="21"/>
                    <a:pt x="96" y="26"/>
                    <a:pt x="96" y="32"/>
                  </a:cubicBezTo>
                  <a:cubicBezTo>
                    <a:pt x="96" y="38"/>
                    <a:pt x="92" y="42"/>
                    <a:pt x="86" y="42"/>
                  </a:cubicBezTo>
                  <a:cubicBezTo>
                    <a:pt x="80" y="42"/>
                    <a:pt x="75" y="38"/>
                    <a:pt x="75" y="32"/>
                  </a:cubicBezTo>
                  <a:cubicBezTo>
                    <a:pt x="75" y="26"/>
                    <a:pt x="80" y="21"/>
                    <a:pt x="86" y="21"/>
                  </a:cubicBezTo>
                  <a:close/>
                  <a:moveTo>
                    <a:pt x="288" y="149"/>
                  </a:moveTo>
                  <a:cubicBezTo>
                    <a:pt x="267" y="149"/>
                    <a:pt x="267" y="149"/>
                    <a:pt x="267" y="149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0"/>
                    <a:pt x="262" y="85"/>
                    <a:pt x="256" y="85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65" y="85"/>
                    <a:pt x="160" y="90"/>
                    <a:pt x="160" y="96"/>
                  </a:cubicBezTo>
                  <a:cubicBezTo>
                    <a:pt x="160" y="149"/>
                    <a:pt x="160" y="149"/>
                    <a:pt x="160" y="149"/>
                  </a:cubicBezTo>
                  <a:cubicBezTo>
                    <a:pt x="139" y="149"/>
                    <a:pt x="139" y="149"/>
                    <a:pt x="139" y="149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90"/>
                    <a:pt x="134" y="85"/>
                    <a:pt x="128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32" y="90"/>
                    <a:pt x="32" y="96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166"/>
                    <a:pt x="6" y="170"/>
                    <a:pt x="11" y="170"/>
                  </a:cubicBezTo>
                  <a:cubicBezTo>
                    <a:pt x="11" y="288"/>
                    <a:pt x="11" y="288"/>
                    <a:pt x="11" y="288"/>
                  </a:cubicBezTo>
                  <a:cubicBezTo>
                    <a:pt x="11" y="294"/>
                    <a:pt x="16" y="298"/>
                    <a:pt x="22" y="298"/>
                  </a:cubicBezTo>
                  <a:cubicBezTo>
                    <a:pt x="278" y="298"/>
                    <a:pt x="278" y="298"/>
                    <a:pt x="278" y="298"/>
                  </a:cubicBezTo>
                  <a:cubicBezTo>
                    <a:pt x="284" y="298"/>
                    <a:pt x="288" y="294"/>
                    <a:pt x="288" y="288"/>
                  </a:cubicBezTo>
                  <a:cubicBezTo>
                    <a:pt x="288" y="170"/>
                    <a:pt x="288" y="170"/>
                    <a:pt x="288" y="170"/>
                  </a:cubicBezTo>
                  <a:cubicBezTo>
                    <a:pt x="294" y="170"/>
                    <a:pt x="299" y="166"/>
                    <a:pt x="299" y="160"/>
                  </a:cubicBezTo>
                  <a:cubicBezTo>
                    <a:pt x="299" y="154"/>
                    <a:pt x="294" y="149"/>
                    <a:pt x="288" y="149"/>
                  </a:cubicBezTo>
                  <a:close/>
                  <a:moveTo>
                    <a:pt x="182" y="106"/>
                  </a:moveTo>
                  <a:cubicBezTo>
                    <a:pt x="246" y="106"/>
                    <a:pt x="246" y="106"/>
                    <a:pt x="246" y="106"/>
                  </a:cubicBezTo>
                  <a:cubicBezTo>
                    <a:pt x="246" y="149"/>
                    <a:pt x="246" y="149"/>
                    <a:pt x="246" y="149"/>
                  </a:cubicBezTo>
                  <a:cubicBezTo>
                    <a:pt x="182" y="149"/>
                    <a:pt x="182" y="149"/>
                    <a:pt x="182" y="149"/>
                  </a:cubicBezTo>
                  <a:lnTo>
                    <a:pt x="182" y="106"/>
                  </a:lnTo>
                  <a:close/>
                  <a:moveTo>
                    <a:pt x="54" y="106"/>
                  </a:moveTo>
                  <a:cubicBezTo>
                    <a:pt x="118" y="106"/>
                    <a:pt x="118" y="106"/>
                    <a:pt x="118" y="106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54" y="149"/>
                    <a:pt x="54" y="149"/>
                    <a:pt x="54" y="149"/>
                  </a:cubicBezTo>
                  <a:lnTo>
                    <a:pt x="54" y="106"/>
                  </a:lnTo>
                  <a:close/>
                  <a:moveTo>
                    <a:pt x="267" y="277"/>
                  </a:moveTo>
                  <a:cubicBezTo>
                    <a:pt x="32" y="277"/>
                    <a:pt x="32" y="277"/>
                    <a:pt x="32" y="277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267" y="170"/>
                    <a:pt x="267" y="170"/>
                    <a:pt x="267" y="170"/>
                  </a:cubicBezTo>
                  <a:lnTo>
                    <a:pt x="267" y="277"/>
                  </a:lnTo>
                  <a:close/>
                  <a:moveTo>
                    <a:pt x="214" y="64"/>
                  </a:moveTo>
                  <a:cubicBezTo>
                    <a:pt x="231" y="64"/>
                    <a:pt x="246" y="49"/>
                    <a:pt x="246" y="32"/>
                  </a:cubicBezTo>
                  <a:cubicBezTo>
                    <a:pt x="246" y="14"/>
                    <a:pt x="231" y="0"/>
                    <a:pt x="214" y="0"/>
                  </a:cubicBezTo>
                  <a:cubicBezTo>
                    <a:pt x="196" y="0"/>
                    <a:pt x="182" y="14"/>
                    <a:pt x="182" y="32"/>
                  </a:cubicBezTo>
                  <a:cubicBezTo>
                    <a:pt x="182" y="49"/>
                    <a:pt x="196" y="64"/>
                    <a:pt x="214" y="64"/>
                  </a:cubicBezTo>
                  <a:close/>
                  <a:moveTo>
                    <a:pt x="214" y="21"/>
                  </a:moveTo>
                  <a:cubicBezTo>
                    <a:pt x="220" y="21"/>
                    <a:pt x="224" y="26"/>
                    <a:pt x="224" y="32"/>
                  </a:cubicBezTo>
                  <a:cubicBezTo>
                    <a:pt x="224" y="38"/>
                    <a:pt x="220" y="42"/>
                    <a:pt x="214" y="42"/>
                  </a:cubicBezTo>
                  <a:cubicBezTo>
                    <a:pt x="208" y="42"/>
                    <a:pt x="203" y="38"/>
                    <a:pt x="203" y="32"/>
                  </a:cubicBezTo>
                  <a:cubicBezTo>
                    <a:pt x="203" y="26"/>
                    <a:pt x="208" y="21"/>
                    <a:pt x="21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9" name="Group 656"/>
          <p:cNvGrpSpPr>
            <a:grpSpLocks noChangeAspect="1"/>
          </p:cNvGrpSpPr>
          <p:nvPr/>
        </p:nvGrpSpPr>
        <p:grpSpPr bwMode="auto">
          <a:xfrm>
            <a:off x="3908211" y="3749675"/>
            <a:ext cx="369021" cy="370106"/>
            <a:chOff x="389" y="2339"/>
            <a:chExt cx="340" cy="341"/>
          </a:xfrm>
          <a:solidFill>
            <a:schemeClr val="accent1"/>
          </a:solidFill>
        </p:grpSpPr>
        <p:sp>
          <p:nvSpPr>
            <p:cNvPr id="320" name="Freeform 657"/>
            <p:cNvSpPr>
              <a:spLocks noEditPoints="1"/>
            </p:cNvSpPr>
            <p:nvPr/>
          </p:nvSpPr>
          <p:spPr bwMode="auto">
            <a:xfrm>
              <a:off x="481" y="2446"/>
              <a:ext cx="71" cy="127"/>
            </a:xfrm>
            <a:custGeom>
              <a:avLst/>
              <a:gdLst>
                <a:gd name="T0" fmla="*/ 96 w 107"/>
                <a:gd name="T1" fmla="*/ 0 h 192"/>
                <a:gd name="T2" fmla="*/ 11 w 107"/>
                <a:gd name="T3" fmla="*/ 0 h 192"/>
                <a:gd name="T4" fmla="*/ 0 w 107"/>
                <a:gd name="T5" fmla="*/ 10 h 192"/>
                <a:gd name="T6" fmla="*/ 0 w 107"/>
                <a:gd name="T7" fmla="*/ 96 h 192"/>
                <a:gd name="T8" fmla="*/ 11 w 107"/>
                <a:gd name="T9" fmla="*/ 106 h 192"/>
                <a:gd name="T10" fmla="*/ 85 w 107"/>
                <a:gd name="T11" fmla="*/ 106 h 192"/>
                <a:gd name="T12" fmla="*/ 11 w 107"/>
                <a:gd name="T13" fmla="*/ 170 h 192"/>
                <a:gd name="T14" fmla="*/ 0 w 107"/>
                <a:gd name="T15" fmla="*/ 181 h 192"/>
                <a:gd name="T16" fmla="*/ 11 w 107"/>
                <a:gd name="T17" fmla="*/ 192 h 192"/>
                <a:gd name="T18" fmla="*/ 107 w 107"/>
                <a:gd name="T19" fmla="*/ 96 h 192"/>
                <a:gd name="T20" fmla="*/ 107 w 107"/>
                <a:gd name="T21" fmla="*/ 10 h 192"/>
                <a:gd name="T22" fmla="*/ 96 w 107"/>
                <a:gd name="T23" fmla="*/ 0 h 192"/>
                <a:gd name="T24" fmla="*/ 22 w 107"/>
                <a:gd name="T25" fmla="*/ 21 h 192"/>
                <a:gd name="T26" fmla="*/ 86 w 107"/>
                <a:gd name="T27" fmla="*/ 21 h 192"/>
                <a:gd name="T28" fmla="*/ 86 w 107"/>
                <a:gd name="T29" fmla="*/ 85 h 192"/>
                <a:gd name="T30" fmla="*/ 22 w 107"/>
                <a:gd name="T31" fmla="*/ 85 h 192"/>
                <a:gd name="T32" fmla="*/ 22 w 107"/>
                <a:gd name="T33" fmla="*/ 2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92">
                  <a:moveTo>
                    <a:pt x="96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0" y="143"/>
                    <a:pt x="50" y="170"/>
                    <a:pt x="11" y="170"/>
                  </a:cubicBezTo>
                  <a:cubicBezTo>
                    <a:pt x="5" y="170"/>
                    <a:pt x="0" y="175"/>
                    <a:pt x="0" y="181"/>
                  </a:cubicBezTo>
                  <a:cubicBezTo>
                    <a:pt x="0" y="187"/>
                    <a:pt x="5" y="192"/>
                    <a:pt x="11" y="192"/>
                  </a:cubicBezTo>
                  <a:cubicBezTo>
                    <a:pt x="66" y="192"/>
                    <a:pt x="107" y="150"/>
                    <a:pt x="107" y="96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2" y="0"/>
                    <a:pt x="96" y="0"/>
                  </a:cubicBezTo>
                  <a:close/>
                  <a:moveTo>
                    <a:pt x="22" y="21"/>
                  </a:moveTo>
                  <a:cubicBezTo>
                    <a:pt x="86" y="21"/>
                    <a:pt x="86" y="21"/>
                    <a:pt x="86" y="21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22" y="85"/>
                    <a:pt x="22" y="85"/>
                    <a:pt x="22" y="85"/>
                  </a:cubicBezTo>
                  <a:lnTo>
                    <a:pt x="2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658"/>
            <p:cNvSpPr>
              <a:spLocks noEditPoints="1"/>
            </p:cNvSpPr>
            <p:nvPr/>
          </p:nvSpPr>
          <p:spPr bwMode="auto">
            <a:xfrm>
              <a:off x="566" y="2446"/>
              <a:ext cx="71" cy="127"/>
            </a:xfrm>
            <a:custGeom>
              <a:avLst/>
              <a:gdLst>
                <a:gd name="T0" fmla="*/ 96 w 107"/>
                <a:gd name="T1" fmla="*/ 0 h 192"/>
                <a:gd name="T2" fmla="*/ 11 w 107"/>
                <a:gd name="T3" fmla="*/ 0 h 192"/>
                <a:gd name="T4" fmla="*/ 0 w 107"/>
                <a:gd name="T5" fmla="*/ 10 h 192"/>
                <a:gd name="T6" fmla="*/ 0 w 107"/>
                <a:gd name="T7" fmla="*/ 96 h 192"/>
                <a:gd name="T8" fmla="*/ 11 w 107"/>
                <a:gd name="T9" fmla="*/ 106 h 192"/>
                <a:gd name="T10" fmla="*/ 85 w 107"/>
                <a:gd name="T11" fmla="*/ 106 h 192"/>
                <a:gd name="T12" fmla="*/ 11 w 107"/>
                <a:gd name="T13" fmla="*/ 170 h 192"/>
                <a:gd name="T14" fmla="*/ 0 w 107"/>
                <a:gd name="T15" fmla="*/ 181 h 192"/>
                <a:gd name="T16" fmla="*/ 11 w 107"/>
                <a:gd name="T17" fmla="*/ 192 h 192"/>
                <a:gd name="T18" fmla="*/ 107 w 107"/>
                <a:gd name="T19" fmla="*/ 96 h 192"/>
                <a:gd name="T20" fmla="*/ 107 w 107"/>
                <a:gd name="T21" fmla="*/ 10 h 192"/>
                <a:gd name="T22" fmla="*/ 96 w 107"/>
                <a:gd name="T23" fmla="*/ 0 h 192"/>
                <a:gd name="T24" fmla="*/ 22 w 107"/>
                <a:gd name="T25" fmla="*/ 21 h 192"/>
                <a:gd name="T26" fmla="*/ 86 w 107"/>
                <a:gd name="T27" fmla="*/ 21 h 192"/>
                <a:gd name="T28" fmla="*/ 86 w 107"/>
                <a:gd name="T29" fmla="*/ 85 h 192"/>
                <a:gd name="T30" fmla="*/ 22 w 107"/>
                <a:gd name="T31" fmla="*/ 85 h 192"/>
                <a:gd name="T32" fmla="*/ 22 w 107"/>
                <a:gd name="T33" fmla="*/ 2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92">
                  <a:moveTo>
                    <a:pt x="96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0" y="143"/>
                    <a:pt x="50" y="170"/>
                    <a:pt x="11" y="170"/>
                  </a:cubicBezTo>
                  <a:cubicBezTo>
                    <a:pt x="5" y="170"/>
                    <a:pt x="0" y="175"/>
                    <a:pt x="0" y="181"/>
                  </a:cubicBezTo>
                  <a:cubicBezTo>
                    <a:pt x="0" y="187"/>
                    <a:pt x="5" y="192"/>
                    <a:pt x="11" y="192"/>
                  </a:cubicBezTo>
                  <a:cubicBezTo>
                    <a:pt x="66" y="192"/>
                    <a:pt x="107" y="150"/>
                    <a:pt x="107" y="96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2" y="0"/>
                    <a:pt x="96" y="0"/>
                  </a:cubicBezTo>
                  <a:close/>
                  <a:moveTo>
                    <a:pt x="22" y="21"/>
                  </a:moveTo>
                  <a:cubicBezTo>
                    <a:pt x="86" y="21"/>
                    <a:pt x="86" y="21"/>
                    <a:pt x="86" y="21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22" y="85"/>
                    <a:pt x="22" y="85"/>
                    <a:pt x="22" y="85"/>
                  </a:cubicBezTo>
                  <a:lnTo>
                    <a:pt x="2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659"/>
            <p:cNvSpPr>
              <a:spLocks noEditPoints="1"/>
            </p:cNvSpPr>
            <p:nvPr/>
          </p:nvSpPr>
          <p:spPr bwMode="auto">
            <a:xfrm>
              <a:off x="389" y="233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3" name="Freeform 663"/>
          <p:cNvSpPr>
            <a:spLocks noChangeAspect="1" noEditPoints="1"/>
          </p:cNvSpPr>
          <p:nvPr/>
        </p:nvSpPr>
        <p:spPr bwMode="auto">
          <a:xfrm>
            <a:off x="3410843" y="3749679"/>
            <a:ext cx="369021" cy="369021"/>
          </a:xfrm>
          <a:custGeom>
            <a:avLst/>
            <a:gdLst>
              <a:gd name="T0" fmla="*/ 288 w 512"/>
              <a:gd name="T1" fmla="*/ 181 h 512"/>
              <a:gd name="T2" fmla="*/ 352 w 512"/>
              <a:gd name="T3" fmla="*/ 181 h 512"/>
              <a:gd name="T4" fmla="*/ 352 w 512"/>
              <a:gd name="T5" fmla="*/ 245 h 512"/>
              <a:gd name="T6" fmla="*/ 288 w 512"/>
              <a:gd name="T7" fmla="*/ 245 h 512"/>
              <a:gd name="T8" fmla="*/ 288 w 512"/>
              <a:gd name="T9" fmla="*/ 181 h 512"/>
              <a:gd name="T10" fmla="*/ 160 w 512"/>
              <a:gd name="T11" fmla="*/ 245 h 512"/>
              <a:gd name="T12" fmla="*/ 224 w 512"/>
              <a:gd name="T13" fmla="*/ 245 h 512"/>
              <a:gd name="T14" fmla="*/ 224 w 512"/>
              <a:gd name="T15" fmla="*/ 181 h 512"/>
              <a:gd name="T16" fmla="*/ 160 w 512"/>
              <a:gd name="T17" fmla="*/ 181 h 512"/>
              <a:gd name="T18" fmla="*/ 160 w 512"/>
              <a:gd name="T19" fmla="*/ 245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45 w 512"/>
              <a:gd name="T31" fmla="*/ 170 h 512"/>
              <a:gd name="T32" fmla="*/ 234 w 512"/>
              <a:gd name="T33" fmla="*/ 160 h 512"/>
              <a:gd name="T34" fmla="*/ 149 w 512"/>
              <a:gd name="T35" fmla="*/ 160 h 512"/>
              <a:gd name="T36" fmla="*/ 138 w 512"/>
              <a:gd name="T37" fmla="*/ 170 h 512"/>
              <a:gd name="T38" fmla="*/ 138 w 512"/>
              <a:gd name="T39" fmla="*/ 256 h 512"/>
              <a:gd name="T40" fmla="*/ 149 w 512"/>
              <a:gd name="T41" fmla="*/ 266 h 512"/>
              <a:gd name="T42" fmla="*/ 223 w 512"/>
              <a:gd name="T43" fmla="*/ 266 h 512"/>
              <a:gd name="T44" fmla="*/ 149 w 512"/>
              <a:gd name="T45" fmla="*/ 330 h 512"/>
              <a:gd name="T46" fmla="*/ 138 w 512"/>
              <a:gd name="T47" fmla="*/ 341 h 512"/>
              <a:gd name="T48" fmla="*/ 149 w 512"/>
              <a:gd name="T49" fmla="*/ 352 h 512"/>
              <a:gd name="T50" fmla="*/ 245 w 512"/>
              <a:gd name="T51" fmla="*/ 256 h 512"/>
              <a:gd name="T52" fmla="*/ 245 w 512"/>
              <a:gd name="T53" fmla="*/ 170 h 512"/>
              <a:gd name="T54" fmla="*/ 373 w 512"/>
              <a:gd name="T55" fmla="*/ 170 h 512"/>
              <a:gd name="T56" fmla="*/ 362 w 512"/>
              <a:gd name="T57" fmla="*/ 160 h 512"/>
              <a:gd name="T58" fmla="*/ 277 w 512"/>
              <a:gd name="T59" fmla="*/ 160 h 512"/>
              <a:gd name="T60" fmla="*/ 266 w 512"/>
              <a:gd name="T61" fmla="*/ 170 h 512"/>
              <a:gd name="T62" fmla="*/ 266 w 512"/>
              <a:gd name="T63" fmla="*/ 256 h 512"/>
              <a:gd name="T64" fmla="*/ 277 w 512"/>
              <a:gd name="T65" fmla="*/ 266 h 512"/>
              <a:gd name="T66" fmla="*/ 351 w 512"/>
              <a:gd name="T67" fmla="*/ 266 h 512"/>
              <a:gd name="T68" fmla="*/ 277 w 512"/>
              <a:gd name="T69" fmla="*/ 330 h 512"/>
              <a:gd name="T70" fmla="*/ 266 w 512"/>
              <a:gd name="T71" fmla="*/ 341 h 512"/>
              <a:gd name="T72" fmla="*/ 277 w 512"/>
              <a:gd name="T73" fmla="*/ 352 h 512"/>
              <a:gd name="T74" fmla="*/ 373 w 512"/>
              <a:gd name="T75" fmla="*/ 256 h 512"/>
              <a:gd name="T76" fmla="*/ 373 w 512"/>
              <a:gd name="T77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88" y="181"/>
                </a:moveTo>
                <a:cubicBezTo>
                  <a:pt x="352" y="181"/>
                  <a:pt x="352" y="181"/>
                  <a:pt x="352" y="181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288" y="245"/>
                  <a:pt x="288" y="245"/>
                  <a:pt x="288" y="245"/>
                </a:cubicBezTo>
                <a:lnTo>
                  <a:pt x="288" y="181"/>
                </a:lnTo>
                <a:close/>
                <a:moveTo>
                  <a:pt x="160" y="245"/>
                </a:moveTo>
                <a:cubicBezTo>
                  <a:pt x="224" y="245"/>
                  <a:pt x="224" y="245"/>
                  <a:pt x="224" y="245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160" y="181"/>
                  <a:pt x="160" y="181"/>
                  <a:pt x="160" y="181"/>
                </a:cubicBezTo>
                <a:lnTo>
                  <a:pt x="16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45" y="170"/>
                </a:moveTo>
                <a:cubicBezTo>
                  <a:pt x="245" y="164"/>
                  <a:pt x="240" y="160"/>
                  <a:pt x="234" y="160"/>
                </a:cubicBezTo>
                <a:cubicBezTo>
                  <a:pt x="149" y="160"/>
                  <a:pt x="149" y="160"/>
                  <a:pt x="149" y="160"/>
                </a:cubicBezTo>
                <a:cubicBezTo>
                  <a:pt x="143" y="160"/>
                  <a:pt x="138" y="164"/>
                  <a:pt x="138" y="170"/>
                </a:cubicBezTo>
                <a:cubicBezTo>
                  <a:pt x="138" y="256"/>
                  <a:pt x="138" y="256"/>
                  <a:pt x="138" y="256"/>
                </a:cubicBezTo>
                <a:cubicBezTo>
                  <a:pt x="138" y="262"/>
                  <a:pt x="143" y="266"/>
                  <a:pt x="149" y="266"/>
                </a:cubicBezTo>
                <a:cubicBezTo>
                  <a:pt x="223" y="266"/>
                  <a:pt x="223" y="266"/>
                  <a:pt x="223" y="266"/>
                </a:cubicBezTo>
                <a:cubicBezTo>
                  <a:pt x="218" y="303"/>
                  <a:pt x="188" y="330"/>
                  <a:pt x="149" y="330"/>
                </a:cubicBezTo>
                <a:cubicBezTo>
                  <a:pt x="143" y="330"/>
                  <a:pt x="138" y="335"/>
                  <a:pt x="138" y="341"/>
                </a:cubicBezTo>
                <a:cubicBezTo>
                  <a:pt x="138" y="347"/>
                  <a:pt x="143" y="352"/>
                  <a:pt x="149" y="352"/>
                </a:cubicBezTo>
                <a:cubicBezTo>
                  <a:pt x="204" y="352"/>
                  <a:pt x="245" y="310"/>
                  <a:pt x="245" y="256"/>
                </a:cubicBezTo>
                <a:lnTo>
                  <a:pt x="245" y="170"/>
                </a:lnTo>
                <a:close/>
                <a:moveTo>
                  <a:pt x="373" y="170"/>
                </a:moveTo>
                <a:cubicBezTo>
                  <a:pt x="373" y="164"/>
                  <a:pt x="368" y="160"/>
                  <a:pt x="362" y="160"/>
                </a:cubicBezTo>
                <a:cubicBezTo>
                  <a:pt x="277" y="160"/>
                  <a:pt x="277" y="160"/>
                  <a:pt x="277" y="160"/>
                </a:cubicBezTo>
                <a:cubicBezTo>
                  <a:pt x="271" y="160"/>
                  <a:pt x="266" y="164"/>
                  <a:pt x="266" y="170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62"/>
                  <a:pt x="271" y="266"/>
                  <a:pt x="277" y="266"/>
                </a:cubicBezTo>
                <a:cubicBezTo>
                  <a:pt x="351" y="266"/>
                  <a:pt x="351" y="266"/>
                  <a:pt x="351" y="266"/>
                </a:cubicBezTo>
                <a:cubicBezTo>
                  <a:pt x="346" y="303"/>
                  <a:pt x="316" y="330"/>
                  <a:pt x="277" y="330"/>
                </a:cubicBezTo>
                <a:cubicBezTo>
                  <a:pt x="271" y="330"/>
                  <a:pt x="266" y="335"/>
                  <a:pt x="266" y="341"/>
                </a:cubicBezTo>
                <a:cubicBezTo>
                  <a:pt x="266" y="347"/>
                  <a:pt x="271" y="352"/>
                  <a:pt x="277" y="352"/>
                </a:cubicBezTo>
                <a:cubicBezTo>
                  <a:pt x="332" y="352"/>
                  <a:pt x="373" y="310"/>
                  <a:pt x="373" y="256"/>
                </a:cubicBezTo>
                <a:lnTo>
                  <a:pt x="373" y="17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4" name="Freeform 575"/>
          <p:cNvSpPr>
            <a:spLocks noChangeAspect="1" noEditPoints="1"/>
          </p:cNvSpPr>
          <p:nvPr/>
        </p:nvSpPr>
        <p:spPr bwMode="auto">
          <a:xfrm>
            <a:off x="8407471" y="2051054"/>
            <a:ext cx="36812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0 w 512"/>
              <a:gd name="T11" fmla="*/ 362 h 512"/>
              <a:gd name="T12" fmla="*/ 320 w 512"/>
              <a:gd name="T13" fmla="*/ 384 h 512"/>
              <a:gd name="T14" fmla="*/ 224 w 512"/>
              <a:gd name="T15" fmla="*/ 384 h 512"/>
              <a:gd name="T16" fmla="*/ 191 w 512"/>
              <a:gd name="T17" fmla="*/ 373 h 512"/>
              <a:gd name="T18" fmla="*/ 106 w 512"/>
              <a:gd name="T19" fmla="*/ 373 h 512"/>
              <a:gd name="T20" fmla="*/ 96 w 512"/>
              <a:gd name="T21" fmla="*/ 362 h 512"/>
              <a:gd name="T22" fmla="*/ 96 w 512"/>
              <a:gd name="T23" fmla="*/ 245 h 512"/>
              <a:gd name="T24" fmla="*/ 106 w 512"/>
              <a:gd name="T25" fmla="*/ 234 h 512"/>
              <a:gd name="T26" fmla="*/ 175 w 512"/>
              <a:gd name="T27" fmla="*/ 234 h 512"/>
              <a:gd name="T28" fmla="*/ 184 w 512"/>
              <a:gd name="T29" fmla="*/ 220 h 512"/>
              <a:gd name="T30" fmla="*/ 185 w 512"/>
              <a:gd name="T31" fmla="*/ 218 h 512"/>
              <a:gd name="T32" fmla="*/ 280 w 512"/>
              <a:gd name="T33" fmla="*/ 110 h 512"/>
              <a:gd name="T34" fmla="*/ 287 w 512"/>
              <a:gd name="T35" fmla="*/ 106 h 512"/>
              <a:gd name="T36" fmla="*/ 295 w 512"/>
              <a:gd name="T37" fmla="*/ 109 h 512"/>
              <a:gd name="T38" fmla="*/ 309 w 512"/>
              <a:gd name="T39" fmla="*/ 152 h 512"/>
              <a:gd name="T40" fmla="*/ 292 w 512"/>
              <a:gd name="T41" fmla="*/ 202 h 512"/>
              <a:gd name="T42" fmla="*/ 330 w 512"/>
              <a:gd name="T43" fmla="*/ 202 h 512"/>
              <a:gd name="T44" fmla="*/ 394 w 512"/>
              <a:gd name="T45" fmla="*/ 266 h 512"/>
              <a:gd name="T46" fmla="*/ 370 w 512"/>
              <a:gd name="T47" fmla="*/ 362 h 512"/>
              <a:gd name="T48" fmla="*/ 170 w 512"/>
              <a:gd name="T49" fmla="*/ 330 h 512"/>
              <a:gd name="T50" fmla="*/ 174 w 512"/>
              <a:gd name="T51" fmla="*/ 352 h 512"/>
              <a:gd name="T52" fmla="*/ 117 w 512"/>
              <a:gd name="T53" fmla="*/ 352 h 512"/>
              <a:gd name="T54" fmla="*/ 117 w 512"/>
              <a:gd name="T55" fmla="*/ 256 h 512"/>
              <a:gd name="T56" fmla="*/ 170 w 512"/>
              <a:gd name="T57" fmla="*/ 256 h 512"/>
              <a:gd name="T58" fmla="*/ 170 w 512"/>
              <a:gd name="T59" fmla="*/ 256 h 512"/>
              <a:gd name="T60" fmla="*/ 170 w 512"/>
              <a:gd name="T61" fmla="*/ 330 h 512"/>
              <a:gd name="T62" fmla="*/ 373 w 512"/>
              <a:gd name="T63" fmla="*/ 267 h 512"/>
              <a:gd name="T64" fmla="*/ 354 w 512"/>
              <a:gd name="T65" fmla="*/ 348 h 512"/>
              <a:gd name="T66" fmla="*/ 320 w 512"/>
              <a:gd name="T67" fmla="*/ 362 h 512"/>
              <a:gd name="T68" fmla="*/ 224 w 512"/>
              <a:gd name="T69" fmla="*/ 362 h 512"/>
              <a:gd name="T70" fmla="*/ 192 w 512"/>
              <a:gd name="T71" fmla="*/ 330 h 512"/>
              <a:gd name="T72" fmla="*/ 192 w 512"/>
              <a:gd name="T73" fmla="*/ 256 h 512"/>
              <a:gd name="T74" fmla="*/ 200 w 512"/>
              <a:gd name="T75" fmla="*/ 233 h 512"/>
              <a:gd name="T76" fmla="*/ 201 w 512"/>
              <a:gd name="T77" fmla="*/ 233 h 512"/>
              <a:gd name="T78" fmla="*/ 287 w 512"/>
              <a:gd name="T79" fmla="*/ 134 h 512"/>
              <a:gd name="T80" fmla="*/ 288 w 512"/>
              <a:gd name="T81" fmla="*/ 146 h 512"/>
              <a:gd name="T82" fmla="*/ 267 w 512"/>
              <a:gd name="T83" fmla="*/ 210 h 512"/>
              <a:gd name="T84" fmla="*/ 267 w 512"/>
              <a:gd name="T85" fmla="*/ 210 h 512"/>
              <a:gd name="T86" fmla="*/ 266 w 512"/>
              <a:gd name="T87" fmla="*/ 213 h 512"/>
              <a:gd name="T88" fmla="*/ 277 w 512"/>
              <a:gd name="T89" fmla="*/ 224 h 512"/>
              <a:gd name="T90" fmla="*/ 330 w 512"/>
              <a:gd name="T91" fmla="*/ 224 h 512"/>
              <a:gd name="T92" fmla="*/ 373 w 512"/>
              <a:gd name="T93" fmla="*/ 2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0" y="362"/>
                </a:moveTo>
                <a:cubicBezTo>
                  <a:pt x="357" y="377"/>
                  <a:pt x="340" y="384"/>
                  <a:pt x="320" y="384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11" y="384"/>
                  <a:pt x="200" y="380"/>
                  <a:pt x="191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245"/>
                  <a:pt x="96" y="245"/>
                  <a:pt x="96" y="245"/>
                </a:cubicBezTo>
                <a:cubicBezTo>
                  <a:pt x="96" y="239"/>
                  <a:pt x="100" y="234"/>
                  <a:pt x="106" y="234"/>
                </a:cubicBezTo>
                <a:cubicBezTo>
                  <a:pt x="175" y="234"/>
                  <a:pt x="175" y="234"/>
                  <a:pt x="175" y="234"/>
                </a:cubicBezTo>
                <a:cubicBezTo>
                  <a:pt x="177" y="229"/>
                  <a:pt x="180" y="224"/>
                  <a:pt x="184" y="220"/>
                </a:cubicBezTo>
                <a:cubicBezTo>
                  <a:pt x="185" y="218"/>
                  <a:pt x="185" y="218"/>
                  <a:pt x="185" y="218"/>
                </a:cubicBezTo>
                <a:cubicBezTo>
                  <a:pt x="280" y="110"/>
                  <a:pt x="280" y="110"/>
                  <a:pt x="280" y="110"/>
                </a:cubicBezTo>
                <a:cubicBezTo>
                  <a:pt x="282" y="108"/>
                  <a:pt x="284" y="106"/>
                  <a:pt x="287" y="106"/>
                </a:cubicBezTo>
                <a:cubicBezTo>
                  <a:pt x="290" y="106"/>
                  <a:pt x="293" y="107"/>
                  <a:pt x="295" y="109"/>
                </a:cubicBezTo>
                <a:cubicBezTo>
                  <a:pt x="296" y="110"/>
                  <a:pt x="315" y="129"/>
                  <a:pt x="309" y="152"/>
                </a:cubicBezTo>
                <a:cubicBezTo>
                  <a:pt x="292" y="202"/>
                  <a:pt x="292" y="202"/>
                  <a:pt x="292" y="202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361" y="202"/>
                  <a:pt x="394" y="235"/>
                  <a:pt x="394" y="266"/>
                </a:cubicBezTo>
                <a:cubicBezTo>
                  <a:pt x="395" y="268"/>
                  <a:pt x="400" y="329"/>
                  <a:pt x="370" y="362"/>
                </a:cubicBezTo>
                <a:close/>
                <a:moveTo>
                  <a:pt x="170" y="330"/>
                </a:moveTo>
                <a:cubicBezTo>
                  <a:pt x="170" y="338"/>
                  <a:pt x="172" y="345"/>
                  <a:pt x="17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70" y="256"/>
                  <a:pt x="170" y="256"/>
                  <a:pt x="170" y="256"/>
                </a:cubicBezTo>
                <a:cubicBezTo>
                  <a:pt x="170" y="256"/>
                  <a:pt x="170" y="256"/>
                  <a:pt x="170" y="256"/>
                </a:cubicBezTo>
                <a:lnTo>
                  <a:pt x="170" y="330"/>
                </a:lnTo>
                <a:close/>
                <a:moveTo>
                  <a:pt x="373" y="267"/>
                </a:moveTo>
                <a:cubicBezTo>
                  <a:pt x="373" y="268"/>
                  <a:pt x="378" y="322"/>
                  <a:pt x="354" y="348"/>
                </a:cubicBezTo>
                <a:cubicBezTo>
                  <a:pt x="346" y="358"/>
                  <a:pt x="334" y="362"/>
                  <a:pt x="320" y="362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05" y="362"/>
                  <a:pt x="192" y="349"/>
                  <a:pt x="192" y="330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48"/>
                  <a:pt x="195" y="240"/>
                  <a:pt x="200" y="233"/>
                </a:cubicBezTo>
                <a:cubicBezTo>
                  <a:pt x="201" y="233"/>
                  <a:pt x="201" y="233"/>
                  <a:pt x="201" y="233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8"/>
                  <a:pt x="289" y="142"/>
                  <a:pt x="288" y="146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1"/>
                  <a:pt x="266" y="212"/>
                  <a:pt x="266" y="213"/>
                </a:cubicBezTo>
                <a:cubicBezTo>
                  <a:pt x="266" y="219"/>
                  <a:pt x="271" y="224"/>
                  <a:pt x="277" y="224"/>
                </a:cubicBezTo>
                <a:cubicBezTo>
                  <a:pt x="330" y="224"/>
                  <a:pt x="330" y="224"/>
                  <a:pt x="330" y="224"/>
                </a:cubicBezTo>
                <a:cubicBezTo>
                  <a:pt x="349" y="224"/>
                  <a:pt x="373" y="247"/>
                  <a:pt x="373" y="2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5" name="Group 578"/>
          <p:cNvGrpSpPr>
            <a:grpSpLocks noChangeAspect="1"/>
          </p:cNvGrpSpPr>
          <p:nvPr/>
        </p:nvGrpSpPr>
        <p:grpSpPr bwMode="auto">
          <a:xfrm>
            <a:off x="8904019" y="2051054"/>
            <a:ext cx="367041" cy="367041"/>
            <a:chOff x="1932" y="2478"/>
            <a:chExt cx="340" cy="340"/>
          </a:xfrm>
          <a:solidFill>
            <a:schemeClr val="accent1"/>
          </a:solidFill>
        </p:grpSpPr>
        <p:sp>
          <p:nvSpPr>
            <p:cNvPr id="326" name="Freeform 579"/>
            <p:cNvSpPr>
              <a:spLocks noEditPoints="1"/>
            </p:cNvSpPr>
            <p:nvPr/>
          </p:nvSpPr>
          <p:spPr bwMode="auto">
            <a:xfrm>
              <a:off x="1996" y="2548"/>
              <a:ext cx="202" cy="185"/>
            </a:xfrm>
            <a:custGeom>
              <a:avLst/>
              <a:gdLst>
                <a:gd name="T0" fmla="*/ 298 w 304"/>
                <a:gd name="T1" fmla="*/ 160 h 278"/>
                <a:gd name="T2" fmla="*/ 234 w 304"/>
                <a:gd name="T3" fmla="*/ 96 h 278"/>
                <a:gd name="T4" fmla="*/ 196 w 304"/>
                <a:gd name="T5" fmla="*/ 96 h 278"/>
                <a:gd name="T6" fmla="*/ 213 w 304"/>
                <a:gd name="T7" fmla="*/ 46 h 278"/>
                <a:gd name="T8" fmla="*/ 199 w 304"/>
                <a:gd name="T9" fmla="*/ 3 h 278"/>
                <a:gd name="T10" fmla="*/ 191 w 304"/>
                <a:gd name="T11" fmla="*/ 0 h 278"/>
                <a:gd name="T12" fmla="*/ 184 w 304"/>
                <a:gd name="T13" fmla="*/ 4 h 278"/>
                <a:gd name="T14" fmla="*/ 89 w 304"/>
                <a:gd name="T15" fmla="*/ 112 h 278"/>
                <a:gd name="T16" fmla="*/ 88 w 304"/>
                <a:gd name="T17" fmla="*/ 114 h 278"/>
                <a:gd name="T18" fmla="*/ 79 w 304"/>
                <a:gd name="T19" fmla="*/ 128 h 278"/>
                <a:gd name="T20" fmla="*/ 10 w 304"/>
                <a:gd name="T21" fmla="*/ 128 h 278"/>
                <a:gd name="T22" fmla="*/ 0 w 304"/>
                <a:gd name="T23" fmla="*/ 139 h 278"/>
                <a:gd name="T24" fmla="*/ 0 w 304"/>
                <a:gd name="T25" fmla="*/ 256 h 278"/>
                <a:gd name="T26" fmla="*/ 10 w 304"/>
                <a:gd name="T27" fmla="*/ 267 h 278"/>
                <a:gd name="T28" fmla="*/ 95 w 304"/>
                <a:gd name="T29" fmla="*/ 267 h 278"/>
                <a:gd name="T30" fmla="*/ 128 w 304"/>
                <a:gd name="T31" fmla="*/ 278 h 278"/>
                <a:gd name="T32" fmla="*/ 224 w 304"/>
                <a:gd name="T33" fmla="*/ 278 h 278"/>
                <a:gd name="T34" fmla="*/ 274 w 304"/>
                <a:gd name="T35" fmla="*/ 256 h 278"/>
                <a:gd name="T36" fmla="*/ 298 w 304"/>
                <a:gd name="T37" fmla="*/ 160 h 278"/>
                <a:gd name="T38" fmla="*/ 21 w 304"/>
                <a:gd name="T39" fmla="*/ 150 h 278"/>
                <a:gd name="T40" fmla="*/ 74 w 304"/>
                <a:gd name="T41" fmla="*/ 150 h 278"/>
                <a:gd name="T42" fmla="*/ 74 w 304"/>
                <a:gd name="T43" fmla="*/ 150 h 278"/>
                <a:gd name="T44" fmla="*/ 74 w 304"/>
                <a:gd name="T45" fmla="*/ 224 h 278"/>
                <a:gd name="T46" fmla="*/ 78 w 304"/>
                <a:gd name="T47" fmla="*/ 246 h 278"/>
                <a:gd name="T48" fmla="*/ 21 w 304"/>
                <a:gd name="T49" fmla="*/ 246 h 278"/>
                <a:gd name="T50" fmla="*/ 21 w 304"/>
                <a:gd name="T51" fmla="*/ 150 h 278"/>
                <a:gd name="T52" fmla="*/ 258 w 304"/>
                <a:gd name="T53" fmla="*/ 242 h 278"/>
                <a:gd name="T54" fmla="*/ 224 w 304"/>
                <a:gd name="T55" fmla="*/ 256 h 278"/>
                <a:gd name="T56" fmla="*/ 128 w 304"/>
                <a:gd name="T57" fmla="*/ 256 h 278"/>
                <a:gd name="T58" fmla="*/ 96 w 304"/>
                <a:gd name="T59" fmla="*/ 224 h 278"/>
                <a:gd name="T60" fmla="*/ 96 w 304"/>
                <a:gd name="T61" fmla="*/ 150 h 278"/>
                <a:gd name="T62" fmla="*/ 104 w 304"/>
                <a:gd name="T63" fmla="*/ 127 h 278"/>
                <a:gd name="T64" fmla="*/ 105 w 304"/>
                <a:gd name="T65" fmla="*/ 127 h 278"/>
                <a:gd name="T66" fmla="*/ 191 w 304"/>
                <a:gd name="T67" fmla="*/ 28 h 278"/>
                <a:gd name="T68" fmla="*/ 192 w 304"/>
                <a:gd name="T69" fmla="*/ 40 h 278"/>
                <a:gd name="T70" fmla="*/ 171 w 304"/>
                <a:gd name="T71" fmla="*/ 104 h 278"/>
                <a:gd name="T72" fmla="*/ 171 w 304"/>
                <a:gd name="T73" fmla="*/ 104 h 278"/>
                <a:gd name="T74" fmla="*/ 170 w 304"/>
                <a:gd name="T75" fmla="*/ 107 h 278"/>
                <a:gd name="T76" fmla="*/ 181 w 304"/>
                <a:gd name="T77" fmla="*/ 118 h 278"/>
                <a:gd name="T78" fmla="*/ 234 w 304"/>
                <a:gd name="T79" fmla="*/ 118 h 278"/>
                <a:gd name="T80" fmla="*/ 277 w 304"/>
                <a:gd name="T81" fmla="*/ 161 h 278"/>
                <a:gd name="T82" fmla="*/ 258 w 304"/>
                <a:gd name="T8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4" h="278">
                  <a:moveTo>
                    <a:pt x="298" y="160"/>
                  </a:moveTo>
                  <a:cubicBezTo>
                    <a:pt x="298" y="129"/>
                    <a:pt x="265" y="96"/>
                    <a:pt x="234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9" y="23"/>
                    <a:pt x="200" y="4"/>
                    <a:pt x="199" y="3"/>
                  </a:cubicBezTo>
                  <a:cubicBezTo>
                    <a:pt x="197" y="1"/>
                    <a:pt x="194" y="0"/>
                    <a:pt x="191" y="0"/>
                  </a:cubicBezTo>
                  <a:cubicBezTo>
                    <a:pt x="188" y="0"/>
                    <a:pt x="186" y="2"/>
                    <a:pt x="184" y="4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89" y="112"/>
                    <a:pt x="89" y="112"/>
                    <a:pt x="88" y="114"/>
                  </a:cubicBezTo>
                  <a:cubicBezTo>
                    <a:pt x="84" y="118"/>
                    <a:pt x="81" y="123"/>
                    <a:pt x="79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3"/>
                    <a:pt x="0" y="139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4" y="267"/>
                    <a:pt x="10" y="267"/>
                  </a:cubicBezTo>
                  <a:cubicBezTo>
                    <a:pt x="95" y="267"/>
                    <a:pt x="95" y="267"/>
                    <a:pt x="95" y="267"/>
                  </a:cubicBezTo>
                  <a:cubicBezTo>
                    <a:pt x="104" y="274"/>
                    <a:pt x="115" y="278"/>
                    <a:pt x="128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44" y="278"/>
                    <a:pt x="261" y="271"/>
                    <a:pt x="274" y="256"/>
                  </a:cubicBezTo>
                  <a:cubicBezTo>
                    <a:pt x="304" y="223"/>
                    <a:pt x="299" y="162"/>
                    <a:pt x="298" y="160"/>
                  </a:cubicBezTo>
                  <a:close/>
                  <a:moveTo>
                    <a:pt x="21" y="150"/>
                  </a:move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4" y="232"/>
                    <a:pt x="76" y="239"/>
                    <a:pt x="78" y="246"/>
                  </a:cubicBezTo>
                  <a:cubicBezTo>
                    <a:pt x="21" y="246"/>
                    <a:pt x="21" y="246"/>
                    <a:pt x="21" y="246"/>
                  </a:cubicBezTo>
                  <a:lnTo>
                    <a:pt x="21" y="150"/>
                  </a:lnTo>
                  <a:close/>
                  <a:moveTo>
                    <a:pt x="258" y="242"/>
                  </a:moveTo>
                  <a:cubicBezTo>
                    <a:pt x="250" y="252"/>
                    <a:pt x="238" y="256"/>
                    <a:pt x="224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09" y="256"/>
                    <a:pt x="96" y="243"/>
                    <a:pt x="96" y="224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42"/>
                    <a:pt x="99" y="134"/>
                    <a:pt x="104" y="127"/>
                  </a:cubicBezTo>
                  <a:cubicBezTo>
                    <a:pt x="105" y="127"/>
                    <a:pt x="105" y="127"/>
                    <a:pt x="105" y="127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2" y="32"/>
                    <a:pt x="193" y="36"/>
                    <a:pt x="192" y="40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5"/>
                    <a:pt x="170" y="106"/>
                    <a:pt x="170" y="107"/>
                  </a:cubicBezTo>
                  <a:cubicBezTo>
                    <a:pt x="170" y="113"/>
                    <a:pt x="175" y="118"/>
                    <a:pt x="181" y="118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53" y="118"/>
                    <a:pt x="277" y="141"/>
                    <a:pt x="277" y="161"/>
                  </a:cubicBezTo>
                  <a:cubicBezTo>
                    <a:pt x="277" y="162"/>
                    <a:pt x="282" y="216"/>
                    <a:pt x="25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580"/>
            <p:cNvSpPr>
              <a:spLocks noEditPoints="1"/>
            </p:cNvSpPr>
            <p:nvPr/>
          </p:nvSpPr>
          <p:spPr bwMode="auto">
            <a:xfrm>
              <a:off x="1932" y="24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8" name="Freeform 893"/>
          <p:cNvSpPr>
            <a:spLocks noChangeAspect="1" noEditPoints="1"/>
          </p:cNvSpPr>
          <p:nvPr/>
        </p:nvSpPr>
        <p:spPr bwMode="auto">
          <a:xfrm>
            <a:off x="8404904" y="2909488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362 h 512"/>
              <a:gd name="T12" fmla="*/ 405 w 512"/>
              <a:gd name="T13" fmla="*/ 373 h 512"/>
              <a:gd name="T14" fmla="*/ 106 w 512"/>
              <a:gd name="T15" fmla="*/ 373 h 512"/>
              <a:gd name="T16" fmla="*/ 96 w 512"/>
              <a:gd name="T17" fmla="*/ 362 h 512"/>
              <a:gd name="T18" fmla="*/ 96 w 512"/>
              <a:gd name="T19" fmla="*/ 149 h 512"/>
              <a:gd name="T20" fmla="*/ 106 w 512"/>
              <a:gd name="T21" fmla="*/ 138 h 512"/>
              <a:gd name="T22" fmla="*/ 192 w 512"/>
              <a:gd name="T23" fmla="*/ 138 h 512"/>
              <a:gd name="T24" fmla="*/ 201 w 512"/>
              <a:gd name="T25" fmla="*/ 143 h 512"/>
              <a:gd name="T26" fmla="*/ 219 w 512"/>
              <a:gd name="T27" fmla="*/ 170 h 512"/>
              <a:gd name="T28" fmla="*/ 405 w 512"/>
              <a:gd name="T29" fmla="*/ 170 h 512"/>
              <a:gd name="T30" fmla="*/ 416 w 512"/>
              <a:gd name="T31" fmla="*/ 181 h 512"/>
              <a:gd name="T32" fmla="*/ 416 w 512"/>
              <a:gd name="T33" fmla="*/ 362 h 512"/>
              <a:gd name="T34" fmla="*/ 213 w 512"/>
              <a:gd name="T35" fmla="*/ 192 h 512"/>
              <a:gd name="T36" fmla="*/ 394 w 512"/>
              <a:gd name="T37" fmla="*/ 192 h 512"/>
              <a:gd name="T38" fmla="*/ 394 w 512"/>
              <a:gd name="T39" fmla="*/ 352 h 512"/>
              <a:gd name="T40" fmla="*/ 117 w 512"/>
              <a:gd name="T41" fmla="*/ 352 h 512"/>
              <a:gd name="T42" fmla="*/ 117 w 512"/>
              <a:gd name="T43" fmla="*/ 160 h 512"/>
              <a:gd name="T44" fmla="*/ 186 w 512"/>
              <a:gd name="T45" fmla="*/ 160 h 512"/>
              <a:gd name="T46" fmla="*/ 204 w 512"/>
              <a:gd name="T47" fmla="*/ 187 h 512"/>
              <a:gd name="T48" fmla="*/ 213 w 512"/>
              <a:gd name="T49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95" y="138"/>
                  <a:pt x="199" y="140"/>
                  <a:pt x="201" y="143"/>
                </a:cubicBezTo>
                <a:cubicBezTo>
                  <a:pt x="219" y="170"/>
                  <a:pt x="219" y="170"/>
                  <a:pt x="219" y="170"/>
                </a:cubicBezTo>
                <a:cubicBezTo>
                  <a:pt x="405" y="170"/>
                  <a:pt x="405" y="170"/>
                  <a:pt x="405" y="170"/>
                </a:cubicBezTo>
                <a:cubicBezTo>
                  <a:pt x="411" y="170"/>
                  <a:pt x="416" y="175"/>
                  <a:pt x="416" y="181"/>
                </a:cubicBezTo>
                <a:lnTo>
                  <a:pt x="416" y="362"/>
                </a:lnTo>
                <a:close/>
                <a:moveTo>
                  <a:pt x="213" y="192"/>
                </a:moveTo>
                <a:cubicBezTo>
                  <a:pt x="394" y="192"/>
                  <a:pt x="394" y="192"/>
                  <a:pt x="394" y="19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86" y="160"/>
                  <a:pt x="186" y="160"/>
                  <a:pt x="186" y="160"/>
                </a:cubicBezTo>
                <a:cubicBezTo>
                  <a:pt x="204" y="187"/>
                  <a:pt x="204" y="187"/>
                  <a:pt x="204" y="187"/>
                </a:cubicBezTo>
                <a:cubicBezTo>
                  <a:pt x="206" y="190"/>
                  <a:pt x="209" y="192"/>
                  <a:pt x="213" y="19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9" name="Group 908"/>
          <p:cNvGrpSpPr>
            <a:grpSpLocks noChangeAspect="1"/>
          </p:cNvGrpSpPr>
          <p:nvPr/>
        </p:nvGrpSpPr>
        <p:grpSpPr bwMode="auto">
          <a:xfrm>
            <a:off x="8900860" y="2909488"/>
            <a:ext cx="367631" cy="367631"/>
            <a:chOff x="1142" y="3585"/>
            <a:chExt cx="340" cy="340"/>
          </a:xfrm>
          <a:solidFill>
            <a:schemeClr val="accent4"/>
          </a:solidFill>
        </p:grpSpPr>
        <p:sp>
          <p:nvSpPr>
            <p:cNvPr id="330" name="Freeform 909"/>
            <p:cNvSpPr>
              <a:spLocks noEditPoints="1"/>
            </p:cNvSpPr>
            <p:nvPr/>
          </p:nvSpPr>
          <p:spPr bwMode="auto">
            <a:xfrm>
              <a:off x="1206" y="3677"/>
              <a:ext cx="212" cy="156"/>
            </a:xfrm>
            <a:custGeom>
              <a:avLst/>
              <a:gdLst>
                <a:gd name="T0" fmla="*/ 309 w 320"/>
                <a:gd name="T1" fmla="*/ 235 h 235"/>
                <a:gd name="T2" fmla="*/ 10 w 320"/>
                <a:gd name="T3" fmla="*/ 235 h 235"/>
                <a:gd name="T4" fmla="*/ 0 w 320"/>
                <a:gd name="T5" fmla="*/ 224 h 235"/>
                <a:gd name="T6" fmla="*/ 0 w 320"/>
                <a:gd name="T7" fmla="*/ 11 h 235"/>
                <a:gd name="T8" fmla="*/ 10 w 320"/>
                <a:gd name="T9" fmla="*/ 0 h 235"/>
                <a:gd name="T10" fmla="*/ 96 w 320"/>
                <a:gd name="T11" fmla="*/ 0 h 235"/>
                <a:gd name="T12" fmla="*/ 105 w 320"/>
                <a:gd name="T13" fmla="*/ 5 h 235"/>
                <a:gd name="T14" fmla="*/ 123 w 320"/>
                <a:gd name="T15" fmla="*/ 32 h 235"/>
                <a:gd name="T16" fmla="*/ 309 w 320"/>
                <a:gd name="T17" fmla="*/ 32 h 235"/>
                <a:gd name="T18" fmla="*/ 320 w 320"/>
                <a:gd name="T19" fmla="*/ 43 h 235"/>
                <a:gd name="T20" fmla="*/ 320 w 320"/>
                <a:gd name="T21" fmla="*/ 224 h 235"/>
                <a:gd name="T22" fmla="*/ 309 w 320"/>
                <a:gd name="T23" fmla="*/ 235 h 235"/>
                <a:gd name="T24" fmla="*/ 21 w 320"/>
                <a:gd name="T25" fmla="*/ 214 h 235"/>
                <a:gd name="T26" fmla="*/ 298 w 320"/>
                <a:gd name="T27" fmla="*/ 214 h 235"/>
                <a:gd name="T28" fmla="*/ 298 w 320"/>
                <a:gd name="T29" fmla="*/ 54 h 235"/>
                <a:gd name="T30" fmla="*/ 117 w 320"/>
                <a:gd name="T31" fmla="*/ 54 h 235"/>
                <a:gd name="T32" fmla="*/ 108 w 320"/>
                <a:gd name="T33" fmla="*/ 49 h 235"/>
                <a:gd name="T34" fmla="*/ 90 w 320"/>
                <a:gd name="T35" fmla="*/ 22 h 235"/>
                <a:gd name="T36" fmla="*/ 21 w 320"/>
                <a:gd name="T37" fmla="*/ 22 h 235"/>
                <a:gd name="T38" fmla="*/ 21 w 320"/>
                <a:gd name="T39" fmla="*/ 21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0" h="235">
                  <a:moveTo>
                    <a:pt x="309" y="235"/>
                  </a:moveTo>
                  <a:cubicBezTo>
                    <a:pt x="10" y="235"/>
                    <a:pt x="10" y="235"/>
                    <a:pt x="10" y="235"/>
                  </a:cubicBezTo>
                  <a:cubicBezTo>
                    <a:pt x="4" y="235"/>
                    <a:pt x="0" y="230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3" y="2"/>
                    <a:pt x="105" y="5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309" y="32"/>
                    <a:pt x="309" y="32"/>
                    <a:pt x="309" y="32"/>
                  </a:cubicBezTo>
                  <a:cubicBezTo>
                    <a:pt x="315" y="32"/>
                    <a:pt x="320" y="37"/>
                    <a:pt x="320" y="43"/>
                  </a:cubicBezTo>
                  <a:cubicBezTo>
                    <a:pt x="320" y="224"/>
                    <a:pt x="320" y="224"/>
                    <a:pt x="320" y="224"/>
                  </a:cubicBezTo>
                  <a:cubicBezTo>
                    <a:pt x="320" y="230"/>
                    <a:pt x="315" y="235"/>
                    <a:pt x="309" y="235"/>
                  </a:cubicBezTo>
                  <a:close/>
                  <a:moveTo>
                    <a:pt x="21" y="214"/>
                  </a:moveTo>
                  <a:cubicBezTo>
                    <a:pt x="298" y="214"/>
                    <a:pt x="298" y="214"/>
                    <a:pt x="298" y="214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3" y="54"/>
                    <a:pt x="110" y="52"/>
                    <a:pt x="108" y="49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1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910"/>
            <p:cNvSpPr>
              <a:spLocks noEditPoints="1"/>
            </p:cNvSpPr>
            <p:nvPr/>
          </p:nvSpPr>
          <p:spPr bwMode="auto">
            <a:xfrm>
              <a:off x="1142" y="35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2" name="Freeform 737"/>
          <p:cNvSpPr>
            <a:spLocks noChangeAspect="1" noEditPoints="1"/>
          </p:cNvSpPr>
          <p:nvPr/>
        </p:nvSpPr>
        <p:spPr bwMode="auto">
          <a:xfrm>
            <a:off x="440913" y="2051050"/>
            <a:ext cx="367041" cy="3681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96 h 512"/>
              <a:gd name="T12" fmla="*/ 288 w 512"/>
              <a:gd name="T13" fmla="*/ 128 h 512"/>
              <a:gd name="T14" fmla="*/ 256 w 512"/>
              <a:gd name="T15" fmla="*/ 160 h 512"/>
              <a:gd name="T16" fmla="*/ 224 w 512"/>
              <a:gd name="T17" fmla="*/ 128 h 512"/>
              <a:gd name="T18" fmla="*/ 256 w 512"/>
              <a:gd name="T19" fmla="*/ 96 h 512"/>
              <a:gd name="T20" fmla="*/ 309 w 512"/>
              <a:gd name="T21" fmla="*/ 298 h 512"/>
              <a:gd name="T22" fmla="*/ 298 w 512"/>
              <a:gd name="T23" fmla="*/ 309 h 512"/>
              <a:gd name="T24" fmla="*/ 288 w 512"/>
              <a:gd name="T25" fmla="*/ 309 h 512"/>
              <a:gd name="T26" fmla="*/ 288 w 512"/>
              <a:gd name="T27" fmla="*/ 405 h 512"/>
              <a:gd name="T28" fmla="*/ 277 w 512"/>
              <a:gd name="T29" fmla="*/ 416 h 512"/>
              <a:gd name="T30" fmla="*/ 266 w 512"/>
              <a:gd name="T31" fmla="*/ 405 h 512"/>
              <a:gd name="T32" fmla="*/ 266 w 512"/>
              <a:gd name="T33" fmla="*/ 309 h 512"/>
              <a:gd name="T34" fmla="*/ 245 w 512"/>
              <a:gd name="T35" fmla="*/ 309 h 512"/>
              <a:gd name="T36" fmla="*/ 245 w 512"/>
              <a:gd name="T37" fmla="*/ 405 h 512"/>
              <a:gd name="T38" fmla="*/ 234 w 512"/>
              <a:gd name="T39" fmla="*/ 416 h 512"/>
              <a:gd name="T40" fmla="*/ 224 w 512"/>
              <a:gd name="T41" fmla="*/ 405 h 512"/>
              <a:gd name="T42" fmla="*/ 224 w 512"/>
              <a:gd name="T43" fmla="*/ 309 h 512"/>
              <a:gd name="T44" fmla="*/ 213 w 512"/>
              <a:gd name="T45" fmla="*/ 309 h 512"/>
              <a:gd name="T46" fmla="*/ 202 w 512"/>
              <a:gd name="T47" fmla="*/ 298 h 512"/>
              <a:gd name="T48" fmla="*/ 202 w 512"/>
              <a:gd name="T49" fmla="*/ 192 h 512"/>
              <a:gd name="T50" fmla="*/ 213 w 512"/>
              <a:gd name="T51" fmla="*/ 181 h 512"/>
              <a:gd name="T52" fmla="*/ 298 w 512"/>
              <a:gd name="T53" fmla="*/ 181 h 512"/>
              <a:gd name="T54" fmla="*/ 309 w 512"/>
              <a:gd name="T55" fmla="*/ 192 h 512"/>
              <a:gd name="T56" fmla="*/ 309 w 512"/>
              <a:gd name="T57" fmla="*/ 298 h 512"/>
              <a:gd name="T58" fmla="*/ 224 w 512"/>
              <a:gd name="T59" fmla="*/ 202 h 512"/>
              <a:gd name="T60" fmla="*/ 288 w 512"/>
              <a:gd name="T61" fmla="*/ 202 h 512"/>
              <a:gd name="T62" fmla="*/ 288 w 512"/>
              <a:gd name="T63" fmla="*/ 288 h 512"/>
              <a:gd name="T64" fmla="*/ 224 w 512"/>
              <a:gd name="T65" fmla="*/ 288 h 512"/>
              <a:gd name="T66" fmla="*/ 224 w 512"/>
              <a:gd name="T67" fmla="*/ 202 h 512"/>
              <a:gd name="T68" fmla="*/ 245 w 512"/>
              <a:gd name="T69" fmla="*/ 128 h 512"/>
              <a:gd name="T70" fmla="*/ 256 w 512"/>
              <a:gd name="T71" fmla="*/ 117 h 512"/>
              <a:gd name="T72" fmla="*/ 266 w 512"/>
              <a:gd name="T73" fmla="*/ 128 h 512"/>
              <a:gd name="T74" fmla="*/ 256 w 512"/>
              <a:gd name="T75" fmla="*/ 138 h 512"/>
              <a:gd name="T76" fmla="*/ 245 w 512"/>
              <a:gd name="T7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96"/>
                </a:moveTo>
                <a:cubicBezTo>
                  <a:pt x="273" y="96"/>
                  <a:pt x="288" y="110"/>
                  <a:pt x="288" y="128"/>
                </a:cubicBezTo>
                <a:cubicBezTo>
                  <a:pt x="288" y="145"/>
                  <a:pt x="273" y="160"/>
                  <a:pt x="256" y="160"/>
                </a:cubicBezTo>
                <a:cubicBezTo>
                  <a:pt x="238" y="160"/>
                  <a:pt x="224" y="145"/>
                  <a:pt x="224" y="128"/>
                </a:cubicBezTo>
                <a:cubicBezTo>
                  <a:pt x="224" y="110"/>
                  <a:pt x="238" y="96"/>
                  <a:pt x="256" y="96"/>
                </a:cubicBezTo>
                <a:close/>
                <a:moveTo>
                  <a:pt x="309" y="298"/>
                </a:moveTo>
                <a:cubicBezTo>
                  <a:pt x="309" y="304"/>
                  <a:pt x="304" y="309"/>
                  <a:pt x="298" y="309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88" y="411"/>
                  <a:pt x="283" y="416"/>
                  <a:pt x="277" y="416"/>
                </a:cubicBezTo>
                <a:cubicBezTo>
                  <a:pt x="271" y="416"/>
                  <a:pt x="266" y="411"/>
                  <a:pt x="266" y="405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40" y="416"/>
                  <a:pt x="234" y="416"/>
                </a:cubicBezTo>
                <a:cubicBezTo>
                  <a:pt x="228" y="416"/>
                  <a:pt x="224" y="411"/>
                  <a:pt x="224" y="405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07" y="309"/>
                  <a:pt x="202" y="304"/>
                  <a:pt x="202" y="298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186"/>
                  <a:pt x="207" y="181"/>
                  <a:pt x="213" y="181"/>
                </a:cubicBezTo>
                <a:cubicBezTo>
                  <a:pt x="298" y="181"/>
                  <a:pt x="298" y="181"/>
                  <a:pt x="298" y="181"/>
                </a:cubicBezTo>
                <a:cubicBezTo>
                  <a:pt x="304" y="181"/>
                  <a:pt x="309" y="186"/>
                  <a:pt x="309" y="192"/>
                </a:cubicBezTo>
                <a:lnTo>
                  <a:pt x="309" y="298"/>
                </a:lnTo>
                <a:close/>
                <a:moveTo>
                  <a:pt x="224" y="202"/>
                </a:moveTo>
                <a:cubicBezTo>
                  <a:pt x="288" y="202"/>
                  <a:pt x="288" y="202"/>
                  <a:pt x="288" y="202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24" y="288"/>
                  <a:pt x="224" y="288"/>
                  <a:pt x="224" y="288"/>
                </a:cubicBezTo>
                <a:lnTo>
                  <a:pt x="224" y="202"/>
                </a:lnTo>
                <a:close/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3" name="Group 740"/>
          <p:cNvGrpSpPr>
            <a:grpSpLocks noChangeAspect="1"/>
          </p:cNvGrpSpPr>
          <p:nvPr/>
        </p:nvGrpSpPr>
        <p:grpSpPr bwMode="auto">
          <a:xfrm>
            <a:off x="936381" y="2051054"/>
            <a:ext cx="367041" cy="367041"/>
            <a:chOff x="5857" y="3295"/>
            <a:chExt cx="340" cy="340"/>
          </a:xfrm>
          <a:solidFill>
            <a:schemeClr val="accent2"/>
          </a:solidFill>
        </p:grpSpPr>
        <p:sp>
          <p:nvSpPr>
            <p:cNvPr id="334" name="Freeform 741"/>
            <p:cNvSpPr>
              <a:spLocks noEditPoints="1"/>
            </p:cNvSpPr>
            <p:nvPr/>
          </p:nvSpPr>
          <p:spPr bwMode="auto">
            <a:xfrm>
              <a:off x="5991" y="3415"/>
              <a:ext cx="71" cy="156"/>
            </a:xfrm>
            <a:custGeom>
              <a:avLst/>
              <a:gdLst>
                <a:gd name="T0" fmla="*/ 96 w 107"/>
                <a:gd name="T1" fmla="*/ 0 h 235"/>
                <a:gd name="T2" fmla="*/ 11 w 107"/>
                <a:gd name="T3" fmla="*/ 0 h 235"/>
                <a:gd name="T4" fmla="*/ 0 w 107"/>
                <a:gd name="T5" fmla="*/ 11 h 235"/>
                <a:gd name="T6" fmla="*/ 0 w 107"/>
                <a:gd name="T7" fmla="*/ 117 h 235"/>
                <a:gd name="T8" fmla="*/ 11 w 107"/>
                <a:gd name="T9" fmla="*/ 128 h 235"/>
                <a:gd name="T10" fmla="*/ 22 w 107"/>
                <a:gd name="T11" fmla="*/ 128 h 235"/>
                <a:gd name="T12" fmla="*/ 22 w 107"/>
                <a:gd name="T13" fmla="*/ 224 h 235"/>
                <a:gd name="T14" fmla="*/ 32 w 107"/>
                <a:gd name="T15" fmla="*/ 235 h 235"/>
                <a:gd name="T16" fmla="*/ 43 w 107"/>
                <a:gd name="T17" fmla="*/ 224 h 235"/>
                <a:gd name="T18" fmla="*/ 43 w 107"/>
                <a:gd name="T19" fmla="*/ 128 h 235"/>
                <a:gd name="T20" fmla="*/ 64 w 107"/>
                <a:gd name="T21" fmla="*/ 128 h 235"/>
                <a:gd name="T22" fmla="*/ 64 w 107"/>
                <a:gd name="T23" fmla="*/ 224 h 235"/>
                <a:gd name="T24" fmla="*/ 75 w 107"/>
                <a:gd name="T25" fmla="*/ 235 h 235"/>
                <a:gd name="T26" fmla="*/ 86 w 107"/>
                <a:gd name="T27" fmla="*/ 224 h 235"/>
                <a:gd name="T28" fmla="*/ 86 w 107"/>
                <a:gd name="T29" fmla="*/ 128 h 235"/>
                <a:gd name="T30" fmla="*/ 96 w 107"/>
                <a:gd name="T31" fmla="*/ 128 h 235"/>
                <a:gd name="T32" fmla="*/ 107 w 107"/>
                <a:gd name="T33" fmla="*/ 117 h 235"/>
                <a:gd name="T34" fmla="*/ 107 w 107"/>
                <a:gd name="T35" fmla="*/ 11 h 235"/>
                <a:gd name="T36" fmla="*/ 96 w 107"/>
                <a:gd name="T37" fmla="*/ 0 h 235"/>
                <a:gd name="T38" fmla="*/ 86 w 107"/>
                <a:gd name="T39" fmla="*/ 107 h 235"/>
                <a:gd name="T40" fmla="*/ 22 w 107"/>
                <a:gd name="T41" fmla="*/ 107 h 235"/>
                <a:gd name="T42" fmla="*/ 22 w 107"/>
                <a:gd name="T43" fmla="*/ 21 h 235"/>
                <a:gd name="T44" fmla="*/ 86 w 107"/>
                <a:gd name="T45" fmla="*/ 21 h 235"/>
                <a:gd name="T46" fmla="*/ 86 w 107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235">
                  <a:moveTo>
                    <a:pt x="96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5" y="128"/>
                    <a:pt x="11" y="128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2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6" y="230"/>
                    <a:pt x="86" y="224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7" y="123"/>
                    <a:pt x="107" y="117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5"/>
                    <a:pt x="102" y="0"/>
                    <a:pt x="96" y="0"/>
                  </a:cubicBezTo>
                  <a:close/>
                  <a:moveTo>
                    <a:pt x="86" y="107"/>
                  </a:moveTo>
                  <a:cubicBezTo>
                    <a:pt x="22" y="107"/>
                    <a:pt x="22" y="107"/>
                    <a:pt x="22" y="107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86" y="21"/>
                    <a:pt x="86" y="21"/>
                    <a:pt x="86" y="21"/>
                  </a:cubicBezTo>
                  <a:lnTo>
                    <a:pt x="86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742"/>
            <p:cNvSpPr>
              <a:spLocks noEditPoints="1"/>
            </p:cNvSpPr>
            <p:nvPr/>
          </p:nvSpPr>
          <p:spPr bwMode="auto">
            <a:xfrm>
              <a:off x="6006" y="3359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Freeform 743"/>
            <p:cNvSpPr>
              <a:spLocks noEditPoints="1"/>
            </p:cNvSpPr>
            <p:nvPr/>
          </p:nvSpPr>
          <p:spPr bwMode="auto">
            <a:xfrm>
              <a:off x="5857" y="32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7" name="Freeform 747"/>
          <p:cNvSpPr>
            <a:spLocks noChangeAspect="1" noEditPoints="1"/>
          </p:cNvSpPr>
          <p:nvPr/>
        </p:nvSpPr>
        <p:spPr bwMode="auto">
          <a:xfrm>
            <a:off x="2428055" y="2051054"/>
            <a:ext cx="367041" cy="367041"/>
          </a:xfrm>
          <a:custGeom>
            <a:avLst/>
            <a:gdLst>
              <a:gd name="T0" fmla="*/ 307 w 512"/>
              <a:gd name="T1" fmla="*/ 137 h 512"/>
              <a:gd name="T2" fmla="*/ 308 w 512"/>
              <a:gd name="T3" fmla="*/ 137 h 512"/>
              <a:gd name="T4" fmla="*/ 292 w 512"/>
              <a:gd name="T5" fmla="*/ 149 h 512"/>
              <a:gd name="T6" fmla="*/ 285 w 512"/>
              <a:gd name="T7" fmla="*/ 141 h 512"/>
              <a:gd name="T8" fmla="*/ 269 w 512"/>
              <a:gd name="T9" fmla="*/ 141 h 512"/>
              <a:gd name="T10" fmla="*/ 261 w 512"/>
              <a:gd name="T11" fmla="*/ 150 h 512"/>
              <a:gd name="T12" fmla="*/ 204 w 512"/>
              <a:gd name="T13" fmla="*/ 137 h 512"/>
              <a:gd name="T14" fmla="*/ 204 w 512"/>
              <a:gd name="T15" fmla="*/ 137 h 512"/>
              <a:gd name="T16" fmla="*/ 256 w 512"/>
              <a:gd name="T17" fmla="*/ 117 h 512"/>
              <a:gd name="T18" fmla="*/ 307 w 512"/>
              <a:gd name="T19" fmla="*/ 137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89 w 512"/>
              <a:gd name="T31" fmla="*/ 353 h 512"/>
              <a:gd name="T32" fmla="*/ 343 w 512"/>
              <a:gd name="T33" fmla="*/ 342 h 512"/>
              <a:gd name="T34" fmla="*/ 319 w 512"/>
              <a:gd name="T35" fmla="*/ 338 h 512"/>
              <a:gd name="T36" fmla="*/ 302 w 512"/>
              <a:gd name="T37" fmla="*/ 290 h 512"/>
              <a:gd name="T38" fmla="*/ 332 w 512"/>
              <a:gd name="T39" fmla="*/ 222 h 512"/>
              <a:gd name="T40" fmla="*/ 324 w 512"/>
              <a:gd name="T41" fmla="*/ 124 h 512"/>
              <a:gd name="T42" fmla="*/ 256 w 512"/>
              <a:gd name="T43" fmla="*/ 96 h 512"/>
              <a:gd name="T44" fmla="*/ 187 w 512"/>
              <a:gd name="T45" fmla="*/ 124 h 512"/>
              <a:gd name="T46" fmla="*/ 180 w 512"/>
              <a:gd name="T47" fmla="*/ 222 h 512"/>
              <a:gd name="T48" fmla="*/ 209 w 512"/>
              <a:gd name="T49" fmla="*/ 289 h 512"/>
              <a:gd name="T50" fmla="*/ 192 w 512"/>
              <a:gd name="T51" fmla="*/ 338 h 512"/>
              <a:gd name="T52" fmla="*/ 168 w 512"/>
              <a:gd name="T53" fmla="*/ 342 h 512"/>
              <a:gd name="T54" fmla="*/ 122 w 512"/>
              <a:gd name="T55" fmla="*/ 353 h 512"/>
              <a:gd name="T56" fmla="*/ 118 w 512"/>
              <a:gd name="T57" fmla="*/ 368 h 512"/>
              <a:gd name="T58" fmla="*/ 133 w 512"/>
              <a:gd name="T59" fmla="*/ 372 h 512"/>
              <a:gd name="T60" fmla="*/ 171 w 512"/>
              <a:gd name="T61" fmla="*/ 363 h 512"/>
              <a:gd name="T62" fmla="*/ 202 w 512"/>
              <a:gd name="T63" fmla="*/ 357 h 512"/>
              <a:gd name="T64" fmla="*/ 228 w 512"/>
              <a:gd name="T65" fmla="*/ 315 h 512"/>
              <a:gd name="T66" fmla="*/ 227 w 512"/>
              <a:gd name="T67" fmla="*/ 278 h 512"/>
              <a:gd name="T68" fmla="*/ 200 w 512"/>
              <a:gd name="T69" fmla="*/ 216 h 512"/>
              <a:gd name="T70" fmla="*/ 195 w 512"/>
              <a:gd name="T71" fmla="*/ 159 h 512"/>
              <a:gd name="T72" fmla="*/ 240 w 512"/>
              <a:gd name="T73" fmla="*/ 175 h 512"/>
              <a:gd name="T74" fmla="*/ 270 w 512"/>
              <a:gd name="T75" fmla="*/ 170 h 512"/>
              <a:gd name="T76" fmla="*/ 274 w 512"/>
              <a:gd name="T77" fmla="*/ 167 h 512"/>
              <a:gd name="T78" fmla="*/ 277 w 512"/>
              <a:gd name="T79" fmla="*/ 164 h 512"/>
              <a:gd name="T80" fmla="*/ 280 w 512"/>
              <a:gd name="T81" fmla="*/ 167 h 512"/>
              <a:gd name="T82" fmla="*/ 287 w 512"/>
              <a:gd name="T83" fmla="*/ 170 h 512"/>
              <a:gd name="T84" fmla="*/ 316 w 512"/>
              <a:gd name="T85" fmla="*/ 159 h 512"/>
              <a:gd name="T86" fmla="*/ 311 w 512"/>
              <a:gd name="T87" fmla="*/ 216 h 512"/>
              <a:gd name="T88" fmla="*/ 285 w 512"/>
              <a:gd name="T89" fmla="*/ 278 h 512"/>
              <a:gd name="T90" fmla="*/ 284 w 512"/>
              <a:gd name="T91" fmla="*/ 315 h 512"/>
              <a:gd name="T92" fmla="*/ 309 w 512"/>
              <a:gd name="T93" fmla="*/ 357 h 512"/>
              <a:gd name="T94" fmla="*/ 341 w 512"/>
              <a:gd name="T95" fmla="*/ 363 h 512"/>
              <a:gd name="T96" fmla="*/ 378 w 512"/>
              <a:gd name="T97" fmla="*/ 372 h 512"/>
              <a:gd name="T98" fmla="*/ 384 w 512"/>
              <a:gd name="T99" fmla="*/ 373 h 512"/>
              <a:gd name="T100" fmla="*/ 393 w 512"/>
              <a:gd name="T101" fmla="*/ 368 h 512"/>
              <a:gd name="T102" fmla="*/ 389 w 512"/>
              <a:gd name="T103" fmla="*/ 35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307" y="137"/>
                </a:moveTo>
                <a:cubicBezTo>
                  <a:pt x="307" y="137"/>
                  <a:pt x="307" y="137"/>
                  <a:pt x="308" y="137"/>
                </a:cubicBezTo>
                <a:cubicBezTo>
                  <a:pt x="302" y="145"/>
                  <a:pt x="295" y="148"/>
                  <a:pt x="292" y="149"/>
                </a:cubicBezTo>
                <a:cubicBezTo>
                  <a:pt x="285" y="141"/>
                  <a:pt x="285" y="141"/>
                  <a:pt x="285" y="141"/>
                </a:cubicBezTo>
                <a:cubicBezTo>
                  <a:pt x="280" y="137"/>
                  <a:pt x="274" y="137"/>
                  <a:pt x="269" y="141"/>
                </a:cubicBezTo>
                <a:cubicBezTo>
                  <a:pt x="261" y="150"/>
                  <a:pt x="261" y="150"/>
                  <a:pt x="261" y="150"/>
                </a:cubicBezTo>
                <a:cubicBezTo>
                  <a:pt x="252" y="153"/>
                  <a:pt x="221" y="160"/>
                  <a:pt x="204" y="137"/>
                </a:cubicBezTo>
                <a:cubicBezTo>
                  <a:pt x="204" y="137"/>
                  <a:pt x="204" y="137"/>
                  <a:pt x="204" y="137"/>
                </a:cubicBezTo>
                <a:cubicBezTo>
                  <a:pt x="214" y="124"/>
                  <a:pt x="231" y="117"/>
                  <a:pt x="256" y="117"/>
                </a:cubicBezTo>
                <a:cubicBezTo>
                  <a:pt x="280" y="117"/>
                  <a:pt x="297" y="124"/>
                  <a:pt x="307" y="13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353"/>
                </a:moveTo>
                <a:cubicBezTo>
                  <a:pt x="375" y="345"/>
                  <a:pt x="358" y="344"/>
                  <a:pt x="343" y="342"/>
                </a:cubicBezTo>
                <a:cubicBezTo>
                  <a:pt x="333" y="341"/>
                  <a:pt x="323" y="340"/>
                  <a:pt x="319" y="338"/>
                </a:cubicBezTo>
                <a:cubicBezTo>
                  <a:pt x="308" y="332"/>
                  <a:pt x="299" y="297"/>
                  <a:pt x="302" y="290"/>
                </a:cubicBezTo>
                <a:cubicBezTo>
                  <a:pt x="315" y="272"/>
                  <a:pt x="327" y="240"/>
                  <a:pt x="332" y="222"/>
                </a:cubicBezTo>
                <a:cubicBezTo>
                  <a:pt x="338" y="198"/>
                  <a:pt x="347" y="154"/>
                  <a:pt x="324" y="124"/>
                </a:cubicBezTo>
                <a:cubicBezTo>
                  <a:pt x="310" y="105"/>
                  <a:pt x="287" y="96"/>
                  <a:pt x="256" y="96"/>
                </a:cubicBezTo>
                <a:cubicBezTo>
                  <a:pt x="224" y="96"/>
                  <a:pt x="201" y="105"/>
                  <a:pt x="187" y="124"/>
                </a:cubicBezTo>
                <a:cubicBezTo>
                  <a:pt x="165" y="154"/>
                  <a:pt x="173" y="198"/>
                  <a:pt x="180" y="222"/>
                </a:cubicBezTo>
                <a:cubicBezTo>
                  <a:pt x="185" y="240"/>
                  <a:pt x="197" y="272"/>
                  <a:pt x="209" y="289"/>
                </a:cubicBezTo>
                <a:cubicBezTo>
                  <a:pt x="212" y="297"/>
                  <a:pt x="203" y="332"/>
                  <a:pt x="192" y="338"/>
                </a:cubicBezTo>
                <a:cubicBezTo>
                  <a:pt x="188" y="340"/>
                  <a:pt x="178" y="341"/>
                  <a:pt x="168" y="342"/>
                </a:cubicBezTo>
                <a:cubicBezTo>
                  <a:pt x="153" y="344"/>
                  <a:pt x="136" y="345"/>
                  <a:pt x="122" y="353"/>
                </a:cubicBezTo>
                <a:cubicBezTo>
                  <a:pt x="117" y="356"/>
                  <a:pt x="115" y="362"/>
                  <a:pt x="118" y="368"/>
                </a:cubicBezTo>
                <a:cubicBezTo>
                  <a:pt x="121" y="373"/>
                  <a:pt x="128" y="375"/>
                  <a:pt x="133" y="372"/>
                </a:cubicBezTo>
                <a:cubicBezTo>
                  <a:pt x="143" y="366"/>
                  <a:pt x="158" y="365"/>
                  <a:pt x="171" y="363"/>
                </a:cubicBezTo>
                <a:cubicBezTo>
                  <a:pt x="183" y="362"/>
                  <a:pt x="194" y="361"/>
                  <a:pt x="202" y="357"/>
                </a:cubicBezTo>
                <a:cubicBezTo>
                  <a:pt x="218" y="348"/>
                  <a:pt x="225" y="325"/>
                  <a:pt x="228" y="315"/>
                </a:cubicBezTo>
                <a:cubicBezTo>
                  <a:pt x="230" y="306"/>
                  <a:pt x="233" y="288"/>
                  <a:pt x="227" y="278"/>
                </a:cubicBezTo>
                <a:cubicBezTo>
                  <a:pt x="216" y="263"/>
                  <a:pt x="205" y="233"/>
                  <a:pt x="200" y="216"/>
                </a:cubicBezTo>
                <a:cubicBezTo>
                  <a:pt x="197" y="205"/>
                  <a:pt x="191" y="180"/>
                  <a:pt x="195" y="159"/>
                </a:cubicBezTo>
                <a:cubicBezTo>
                  <a:pt x="209" y="171"/>
                  <a:pt x="225" y="175"/>
                  <a:pt x="240" y="175"/>
                </a:cubicBezTo>
                <a:cubicBezTo>
                  <a:pt x="252" y="175"/>
                  <a:pt x="263" y="172"/>
                  <a:pt x="270" y="170"/>
                </a:cubicBezTo>
                <a:cubicBezTo>
                  <a:pt x="271" y="169"/>
                  <a:pt x="273" y="168"/>
                  <a:pt x="274" y="167"/>
                </a:cubicBezTo>
                <a:cubicBezTo>
                  <a:pt x="277" y="164"/>
                  <a:pt x="277" y="164"/>
                  <a:pt x="277" y="164"/>
                </a:cubicBezTo>
                <a:cubicBezTo>
                  <a:pt x="280" y="167"/>
                  <a:pt x="280" y="167"/>
                  <a:pt x="280" y="167"/>
                </a:cubicBezTo>
                <a:cubicBezTo>
                  <a:pt x="282" y="169"/>
                  <a:pt x="284" y="170"/>
                  <a:pt x="287" y="170"/>
                </a:cubicBezTo>
                <a:cubicBezTo>
                  <a:pt x="288" y="170"/>
                  <a:pt x="302" y="171"/>
                  <a:pt x="316" y="159"/>
                </a:cubicBezTo>
                <a:cubicBezTo>
                  <a:pt x="320" y="180"/>
                  <a:pt x="314" y="205"/>
                  <a:pt x="311" y="216"/>
                </a:cubicBezTo>
                <a:cubicBezTo>
                  <a:pt x="306" y="233"/>
                  <a:pt x="295" y="263"/>
                  <a:pt x="285" y="278"/>
                </a:cubicBezTo>
                <a:cubicBezTo>
                  <a:pt x="278" y="288"/>
                  <a:pt x="281" y="306"/>
                  <a:pt x="284" y="315"/>
                </a:cubicBezTo>
                <a:cubicBezTo>
                  <a:pt x="286" y="325"/>
                  <a:pt x="293" y="348"/>
                  <a:pt x="309" y="357"/>
                </a:cubicBezTo>
                <a:cubicBezTo>
                  <a:pt x="317" y="361"/>
                  <a:pt x="328" y="362"/>
                  <a:pt x="341" y="363"/>
                </a:cubicBezTo>
                <a:cubicBezTo>
                  <a:pt x="354" y="365"/>
                  <a:pt x="369" y="366"/>
                  <a:pt x="378" y="372"/>
                </a:cubicBezTo>
                <a:cubicBezTo>
                  <a:pt x="380" y="373"/>
                  <a:pt x="382" y="373"/>
                  <a:pt x="384" y="373"/>
                </a:cubicBezTo>
                <a:cubicBezTo>
                  <a:pt x="387" y="373"/>
                  <a:pt x="391" y="371"/>
                  <a:pt x="393" y="368"/>
                </a:cubicBezTo>
                <a:cubicBezTo>
                  <a:pt x="396" y="362"/>
                  <a:pt x="394" y="356"/>
                  <a:pt x="389" y="35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8" name="Group 750"/>
          <p:cNvGrpSpPr>
            <a:grpSpLocks noChangeAspect="1"/>
          </p:cNvGrpSpPr>
          <p:nvPr/>
        </p:nvGrpSpPr>
        <p:grpSpPr bwMode="auto">
          <a:xfrm>
            <a:off x="2923523" y="2051054"/>
            <a:ext cx="367041" cy="367041"/>
            <a:chOff x="6961" y="3142"/>
            <a:chExt cx="340" cy="340"/>
          </a:xfrm>
          <a:solidFill>
            <a:schemeClr val="accent2"/>
          </a:solidFill>
        </p:grpSpPr>
        <p:sp>
          <p:nvSpPr>
            <p:cNvPr id="339" name="Freeform 751"/>
            <p:cNvSpPr>
              <a:spLocks noEditPoints="1"/>
            </p:cNvSpPr>
            <p:nvPr/>
          </p:nvSpPr>
          <p:spPr bwMode="auto">
            <a:xfrm>
              <a:off x="6961" y="314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752"/>
            <p:cNvSpPr>
              <a:spLocks noEditPoints="1"/>
            </p:cNvSpPr>
            <p:nvPr/>
          </p:nvSpPr>
          <p:spPr bwMode="auto">
            <a:xfrm>
              <a:off x="7037" y="3206"/>
              <a:ext cx="187" cy="185"/>
            </a:xfrm>
            <a:custGeom>
              <a:avLst/>
              <a:gdLst>
                <a:gd name="T0" fmla="*/ 274 w 281"/>
                <a:gd name="T1" fmla="*/ 257 h 279"/>
                <a:gd name="T2" fmla="*/ 228 w 281"/>
                <a:gd name="T3" fmla="*/ 246 h 279"/>
                <a:gd name="T4" fmla="*/ 204 w 281"/>
                <a:gd name="T5" fmla="*/ 242 h 279"/>
                <a:gd name="T6" fmla="*/ 187 w 281"/>
                <a:gd name="T7" fmla="*/ 194 h 279"/>
                <a:gd name="T8" fmla="*/ 217 w 281"/>
                <a:gd name="T9" fmla="*/ 126 h 279"/>
                <a:gd name="T10" fmla="*/ 209 w 281"/>
                <a:gd name="T11" fmla="*/ 28 h 279"/>
                <a:gd name="T12" fmla="*/ 141 w 281"/>
                <a:gd name="T13" fmla="*/ 0 h 279"/>
                <a:gd name="T14" fmla="*/ 72 w 281"/>
                <a:gd name="T15" fmla="*/ 28 h 279"/>
                <a:gd name="T16" fmla="*/ 65 w 281"/>
                <a:gd name="T17" fmla="*/ 126 h 279"/>
                <a:gd name="T18" fmla="*/ 94 w 281"/>
                <a:gd name="T19" fmla="*/ 193 h 279"/>
                <a:gd name="T20" fmla="*/ 77 w 281"/>
                <a:gd name="T21" fmla="*/ 242 h 279"/>
                <a:gd name="T22" fmla="*/ 53 w 281"/>
                <a:gd name="T23" fmla="*/ 246 h 279"/>
                <a:gd name="T24" fmla="*/ 7 w 281"/>
                <a:gd name="T25" fmla="*/ 257 h 279"/>
                <a:gd name="T26" fmla="*/ 3 w 281"/>
                <a:gd name="T27" fmla="*/ 272 h 279"/>
                <a:gd name="T28" fmla="*/ 18 w 281"/>
                <a:gd name="T29" fmla="*/ 276 h 279"/>
                <a:gd name="T30" fmla="*/ 56 w 281"/>
                <a:gd name="T31" fmla="*/ 267 h 279"/>
                <a:gd name="T32" fmla="*/ 87 w 281"/>
                <a:gd name="T33" fmla="*/ 261 h 279"/>
                <a:gd name="T34" fmla="*/ 113 w 281"/>
                <a:gd name="T35" fmla="*/ 219 h 279"/>
                <a:gd name="T36" fmla="*/ 112 w 281"/>
                <a:gd name="T37" fmla="*/ 182 h 279"/>
                <a:gd name="T38" fmla="*/ 85 w 281"/>
                <a:gd name="T39" fmla="*/ 120 h 279"/>
                <a:gd name="T40" fmla="*/ 80 w 281"/>
                <a:gd name="T41" fmla="*/ 63 h 279"/>
                <a:gd name="T42" fmla="*/ 125 w 281"/>
                <a:gd name="T43" fmla="*/ 79 h 279"/>
                <a:gd name="T44" fmla="*/ 155 w 281"/>
                <a:gd name="T45" fmla="*/ 74 h 279"/>
                <a:gd name="T46" fmla="*/ 159 w 281"/>
                <a:gd name="T47" fmla="*/ 71 h 279"/>
                <a:gd name="T48" fmla="*/ 162 w 281"/>
                <a:gd name="T49" fmla="*/ 68 h 279"/>
                <a:gd name="T50" fmla="*/ 165 w 281"/>
                <a:gd name="T51" fmla="*/ 71 h 279"/>
                <a:gd name="T52" fmla="*/ 172 w 281"/>
                <a:gd name="T53" fmla="*/ 74 h 279"/>
                <a:gd name="T54" fmla="*/ 201 w 281"/>
                <a:gd name="T55" fmla="*/ 63 h 279"/>
                <a:gd name="T56" fmla="*/ 196 w 281"/>
                <a:gd name="T57" fmla="*/ 120 h 279"/>
                <a:gd name="T58" fmla="*/ 170 w 281"/>
                <a:gd name="T59" fmla="*/ 182 h 279"/>
                <a:gd name="T60" fmla="*/ 169 w 281"/>
                <a:gd name="T61" fmla="*/ 219 h 279"/>
                <a:gd name="T62" fmla="*/ 194 w 281"/>
                <a:gd name="T63" fmla="*/ 261 h 279"/>
                <a:gd name="T64" fmla="*/ 226 w 281"/>
                <a:gd name="T65" fmla="*/ 267 h 279"/>
                <a:gd name="T66" fmla="*/ 263 w 281"/>
                <a:gd name="T67" fmla="*/ 276 h 279"/>
                <a:gd name="T68" fmla="*/ 269 w 281"/>
                <a:gd name="T69" fmla="*/ 277 h 279"/>
                <a:gd name="T70" fmla="*/ 278 w 281"/>
                <a:gd name="T71" fmla="*/ 272 h 279"/>
                <a:gd name="T72" fmla="*/ 274 w 281"/>
                <a:gd name="T73" fmla="*/ 257 h 279"/>
                <a:gd name="T74" fmla="*/ 177 w 281"/>
                <a:gd name="T75" fmla="*/ 53 h 279"/>
                <a:gd name="T76" fmla="*/ 170 w 281"/>
                <a:gd name="T77" fmla="*/ 45 h 279"/>
                <a:gd name="T78" fmla="*/ 154 w 281"/>
                <a:gd name="T79" fmla="*/ 45 h 279"/>
                <a:gd name="T80" fmla="*/ 146 w 281"/>
                <a:gd name="T81" fmla="*/ 54 h 279"/>
                <a:gd name="T82" fmla="*/ 89 w 281"/>
                <a:gd name="T83" fmla="*/ 41 h 279"/>
                <a:gd name="T84" fmla="*/ 89 w 281"/>
                <a:gd name="T85" fmla="*/ 41 h 279"/>
                <a:gd name="T86" fmla="*/ 141 w 281"/>
                <a:gd name="T87" fmla="*/ 21 h 279"/>
                <a:gd name="T88" fmla="*/ 192 w 281"/>
                <a:gd name="T89" fmla="*/ 41 h 279"/>
                <a:gd name="T90" fmla="*/ 193 w 281"/>
                <a:gd name="T91" fmla="*/ 41 h 279"/>
                <a:gd name="T92" fmla="*/ 177 w 281"/>
                <a:gd name="T93" fmla="*/ 5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1" h="279">
                  <a:moveTo>
                    <a:pt x="274" y="257"/>
                  </a:moveTo>
                  <a:cubicBezTo>
                    <a:pt x="260" y="249"/>
                    <a:pt x="243" y="248"/>
                    <a:pt x="228" y="246"/>
                  </a:cubicBezTo>
                  <a:cubicBezTo>
                    <a:pt x="218" y="245"/>
                    <a:pt x="208" y="244"/>
                    <a:pt x="204" y="242"/>
                  </a:cubicBezTo>
                  <a:cubicBezTo>
                    <a:pt x="193" y="236"/>
                    <a:pt x="184" y="201"/>
                    <a:pt x="187" y="194"/>
                  </a:cubicBezTo>
                  <a:cubicBezTo>
                    <a:pt x="200" y="176"/>
                    <a:pt x="212" y="144"/>
                    <a:pt x="217" y="126"/>
                  </a:cubicBezTo>
                  <a:cubicBezTo>
                    <a:pt x="223" y="102"/>
                    <a:pt x="232" y="58"/>
                    <a:pt x="209" y="28"/>
                  </a:cubicBezTo>
                  <a:cubicBezTo>
                    <a:pt x="195" y="9"/>
                    <a:pt x="172" y="0"/>
                    <a:pt x="141" y="0"/>
                  </a:cubicBezTo>
                  <a:cubicBezTo>
                    <a:pt x="109" y="0"/>
                    <a:pt x="86" y="9"/>
                    <a:pt x="72" y="28"/>
                  </a:cubicBezTo>
                  <a:cubicBezTo>
                    <a:pt x="50" y="58"/>
                    <a:pt x="58" y="102"/>
                    <a:pt x="65" y="126"/>
                  </a:cubicBezTo>
                  <a:cubicBezTo>
                    <a:pt x="70" y="144"/>
                    <a:pt x="82" y="176"/>
                    <a:pt x="94" y="193"/>
                  </a:cubicBezTo>
                  <a:cubicBezTo>
                    <a:pt x="97" y="201"/>
                    <a:pt x="88" y="236"/>
                    <a:pt x="77" y="242"/>
                  </a:cubicBezTo>
                  <a:cubicBezTo>
                    <a:pt x="73" y="244"/>
                    <a:pt x="63" y="245"/>
                    <a:pt x="53" y="246"/>
                  </a:cubicBezTo>
                  <a:cubicBezTo>
                    <a:pt x="38" y="248"/>
                    <a:pt x="21" y="249"/>
                    <a:pt x="7" y="257"/>
                  </a:cubicBezTo>
                  <a:cubicBezTo>
                    <a:pt x="2" y="260"/>
                    <a:pt x="0" y="266"/>
                    <a:pt x="3" y="272"/>
                  </a:cubicBezTo>
                  <a:cubicBezTo>
                    <a:pt x="6" y="277"/>
                    <a:pt x="13" y="279"/>
                    <a:pt x="18" y="276"/>
                  </a:cubicBezTo>
                  <a:cubicBezTo>
                    <a:pt x="28" y="270"/>
                    <a:pt x="43" y="269"/>
                    <a:pt x="56" y="267"/>
                  </a:cubicBezTo>
                  <a:cubicBezTo>
                    <a:pt x="68" y="266"/>
                    <a:pt x="79" y="265"/>
                    <a:pt x="87" y="261"/>
                  </a:cubicBezTo>
                  <a:cubicBezTo>
                    <a:pt x="103" y="252"/>
                    <a:pt x="110" y="229"/>
                    <a:pt x="113" y="219"/>
                  </a:cubicBezTo>
                  <a:cubicBezTo>
                    <a:pt x="115" y="210"/>
                    <a:pt x="118" y="192"/>
                    <a:pt x="112" y="182"/>
                  </a:cubicBezTo>
                  <a:cubicBezTo>
                    <a:pt x="101" y="167"/>
                    <a:pt x="90" y="137"/>
                    <a:pt x="85" y="120"/>
                  </a:cubicBezTo>
                  <a:cubicBezTo>
                    <a:pt x="82" y="109"/>
                    <a:pt x="76" y="84"/>
                    <a:pt x="80" y="63"/>
                  </a:cubicBezTo>
                  <a:cubicBezTo>
                    <a:pt x="94" y="75"/>
                    <a:pt x="110" y="79"/>
                    <a:pt x="125" y="79"/>
                  </a:cubicBezTo>
                  <a:cubicBezTo>
                    <a:pt x="137" y="79"/>
                    <a:pt x="148" y="76"/>
                    <a:pt x="155" y="74"/>
                  </a:cubicBezTo>
                  <a:cubicBezTo>
                    <a:pt x="156" y="73"/>
                    <a:pt x="158" y="72"/>
                    <a:pt x="159" y="71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7" y="73"/>
                    <a:pt x="169" y="74"/>
                    <a:pt x="172" y="74"/>
                  </a:cubicBezTo>
                  <a:cubicBezTo>
                    <a:pt x="173" y="74"/>
                    <a:pt x="187" y="75"/>
                    <a:pt x="201" y="63"/>
                  </a:cubicBezTo>
                  <a:cubicBezTo>
                    <a:pt x="205" y="84"/>
                    <a:pt x="199" y="109"/>
                    <a:pt x="196" y="120"/>
                  </a:cubicBezTo>
                  <a:cubicBezTo>
                    <a:pt x="191" y="137"/>
                    <a:pt x="180" y="167"/>
                    <a:pt x="170" y="182"/>
                  </a:cubicBezTo>
                  <a:cubicBezTo>
                    <a:pt x="163" y="192"/>
                    <a:pt x="166" y="210"/>
                    <a:pt x="169" y="219"/>
                  </a:cubicBezTo>
                  <a:cubicBezTo>
                    <a:pt x="171" y="229"/>
                    <a:pt x="178" y="252"/>
                    <a:pt x="194" y="261"/>
                  </a:cubicBezTo>
                  <a:cubicBezTo>
                    <a:pt x="202" y="265"/>
                    <a:pt x="213" y="266"/>
                    <a:pt x="226" y="267"/>
                  </a:cubicBezTo>
                  <a:cubicBezTo>
                    <a:pt x="239" y="269"/>
                    <a:pt x="254" y="270"/>
                    <a:pt x="263" y="276"/>
                  </a:cubicBezTo>
                  <a:cubicBezTo>
                    <a:pt x="265" y="277"/>
                    <a:pt x="267" y="277"/>
                    <a:pt x="269" y="277"/>
                  </a:cubicBezTo>
                  <a:cubicBezTo>
                    <a:pt x="272" y="277"/>
                    <a:pt x="276" y="275"/>
                    <a:pt x="278" y="272"/>
                  </a:cubicBezTo>
                  <a:cubicBezTo>
                    <a:pt x="281" y="266"/>
                    <a:pt x="279" y="260"/>
                    <a:pt x="274" y="257"/>
                  </a:cubicBezTo>
                  <a:close/>
                  <a:moveTo>
                    <a:pt x="177" y="53"/>
                  </a:moveTo>
                  <a:cubicBezTo>
                    <a:pt x="170" y="45"/>
                    <a:pt x="170" y="45"/>
                    <a:pt x="170" y="45"/>
                  </a:cubicBezTo>
                  <a:cubicBezTo>
                    <a:pt x="165" y="41"/>
                    <a:pt x="159" y="41"/>
                    <a:pt x="154" y="45"/>
                  </a:cubicBezTo>
                  <a:cubicBezTo>
                    <a:pt x="146" y="54"/>
                    <a:pt x="146" y="54"/>
                    <a:pt x="146" y="54"/>
                  </a:cubicBezTo>
                  <a:cubicBezTo>
                    <a:pt x="137" y="57"/>
                    <a:pt x="106" y="64"/>
                    <a:pt x="89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9" y="28"/>
                    <a:pt x="116" y="21"/>
                    <a:pt x="141" y="21"/>
                  </a:cubicBezTo>
                  <a:cubicBezTo>
                    <a:pt x="165" y="21"/>
                    <a:pt x="182" y="28"/>
                    <a:pt x="192" y="41"/>
                  </a:cubicBezTo>
                  <a:cubicBezTo>
                    <a:pt x="192" y="41"/>
                    <a:pt x="192" y="41"/>
                    <a:pt x="193" y="41"/>
                  </a:cubicBezTo>
                  <a:cubicBezTo>
                    <a:pt x="187" y="49"/>
                    <a:pt x="180" y="52"/>
                    <a:pt x="17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48" name="Group 235"/>
          <p:cNvGrpSpPr>
            <a:grpSpLocks noChangeAspect="1"/>
          </p:cNvGrpSpPr>
          <p:nvPr/>
        </p:nvGrpSpPr>
        <p:grpSpPr bwMode="auto">
          <a:xfrm>
            <a:off x="1940132" y="2909484"/>
            <a:ext cx="369676" cy="369676"/>
            <a:chOff x="4264" y="792"/>
            <a:chExt cx="340" cy="340"/>
          </a:xfrm>
          <a:solidFill>
            <a:schemeClr val="accent3"/>
          </a:solidFill>
        </p:grpSpPr>
        <p:sp>
          <p:nvSpPr>
            <p:cNvPr id="349" name="Freeform 236"/>
            <p:cNvSpPr>
              <a:spLocks noEditPoints="1"/>
            </p:cNvSpPr>
            <p:nvPr/>
          </p:nvSpPr>
          <p:spPr bwMode="auto">
            <a:xfrm>
              <a:off x="4264" y="79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237"/>
            <p:cNvSpPr>
              <a:spLocks noEditPoints="1"/>
            </p:cNvSpPr>
            <p:nvPr/>
          </p:nvSpPr>
          <p:spPr bwMode="auto">
            <a:xfrm>
              <a:off x="4328" y="884"/>
              <a:ext cx="127" cy="113"/>
            </a:xfrm>
            <a:custGeom>
              <a:avLst/>
              <a:gdLst>
                <a:gd name="T0" fmla="*/ 192 w 192"/>
                <a:gd name="T1" fmla="*/ 118 h 171"/>
                <a:gd name="T2" fmla="*/ 192 w 192"/>
                <a:gd name="T3" fmla="*/ 11 h 171"/>
                <a:gd name="T4" fmla="*/ 181 w 192"/>
                <a:gd name="T5" fmla="*/ 0 h 171"/>
                <a:gd name="T6" fmla="*/ 10 w 192"/>
                <a:gd name="T7" fmla="*/ 0 h 171"/>
                <a:gd name="T8" fmla="*/ 0 w 192"/>
                <a:gd name="T9" fmla="*/ 11 h 171"/>
                <a:gd name="T10" fmla="*/ 0 w 192"/>
                <a:gd name="T11" fmla="*/ 118 h 171"/>
                <a:gd name="T12" fmla="*/ 10 w 192"/>
                <a:gd name="T13" fmla="*/ 128 h 171"/>
                <a:gd name="T14" fmla="*/ 32 w 192"/>
                <a:gd name="T15" fmla="*/ 128 h 171"/>
                <a:gd name="T16" fmla="*/ 32 w 192"/>
                <a:gd name="T17" fmla="*/ 160 h 171"/>
                <a:gd name="T18" fmla="*/ 38 w 192"/>
                <a:gd name="T19" fmla="*/ 170 h 171"/>
                <a:gd name="T20" fmla="*/ 42 w 192"/>
                <a:gd name="T21" fmla="*/ 171 h 171"/>
                <a:gd name="T22" fmla="*/ 50 w 192"/>
                <a:gd name="T23" fmla="*/ 168 h 171"/>
                <a:gd name="T24" fmla="*/ 89 w 192"/>
                <a:gd name="T25" fmla="*/ 128 h 171"/>
                <a:gd name="T26" fmla="*/ 181 w 192"/>
                <a:gd name="T27" fmla="*/ 128 h 171"/>
                <a:gd name="T28" fmla="*/ 192 w 192"/>
                <a:gd name="T29" fmla="*/ 118 h 171"/>
                <a:gd name="T30" fmla="*/ 170 w 192"/>
                <a:gd name="T31" fmla="*/ 107 h 171"/>
                <a:gd name="T32" fmla="*/ 85 w 192"/>
                <a:gd name="T33" fmla="*/ 107 h 171"/>
                <a:gd name="T34" fmla="*/ 77 w 192"/>
                <a:gd name="T35" fmla="*/ 110 h 171"/>
                <a:gd name="T36" fmla="*/ 53 w 192"/>
                <a:gd name="T37" fmla="*/ 135 h 171"/>
                <a:gd name="T38" fmla="*/ 53 w 192"/>
                <a:gd name="T39" fmla="*/ 118 h 171"/>
                <a:gd name="T40" fmla="*/ 42 w 192"/>
                <a:gd name="T41" fmla="*/ 107 h 171"/>
                <a:gd name="T42" fmla="*/ 21 w 192"/>
                <a:gd name="T43" fmla="*/ 107 h 171"/>
                <a:gd name="T44" fmla="*/ 21 w 192"/>
                <a:gd name="T45" fmla="*/ 22 h 171"/>
                <a:gd name="T46" fmla="*/ 170 w 192"/>
                <a:gd name="T47" fmla="*/ 22 h 171"/>
                <a:gd name="T48" fmla="*/ 170 w 192"/>
                <a:gd name="T49" fmla="*/ 10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71">
                  <a:moveTo>
                    <a:pt x="192" y="118"/>
                  </a:moveTo>
                  <a:cubicBezTo>
                    <a:pt x="192" y="11"/>
                    <a:pt x="192" y="11"/>
                    <a:pt x="192" y="11"/>
                  </a:cubicBezTo>
                  <a:cubicBezTo>
                    <a:pt x="192" y="5"/>
                    <a:pt x="187" y="0"/>
                    <a:pt x="18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4"/>
                    <a:pt x="4" y="128"/>
                    <a:pt x="10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5"/>
                    <a:pt x="34" y="169"/>
                    <a:pt x="38" y="170"/>
                  </a:cubicBezTo>
                  <a:cubicBezTo>
                    <a:pt x="40" y="171"/>
                    <a:pt x="41" y="171"/>
                    <a:pt x="42" y="171"/>
                  </a:cubicBezTo>
                  <a:cubicBezTo>
                    <a:pt x="45" y="171"/>
                    <a:pt x="48" y="170"/>
                    <a:pt x="50" y="168"/>
                  </a:cubicBezTo>
                  <a:cubicBezTo>
                    <a:pt x="89" y="128"/>
                    <a:pt x="89" y="128"/>
                    <a:pt x="89" y="128"/>
                  </a:cubicBezTo>
                  <a:cubicBezTo>
                    <a:pt x="181" y="128"/>
                    <a:pt x="181" y="128"/>
                    <a:pt x="181" y="128"/>
                  </a:cubicBezTo>
                  <a:cubicBezTo>
                    <a:pt x="187" y="128"/>
                    <a:pt x="192" y="124"/>
                    <a:pt x="192" y="118"/>
                  </a:cubicBezTo>
                  <a:close/>
                  <a:moveTo>
                    <a:pt x="170" y="107"/>
                  </a:moveTo>
                  <a:cubicBezTo>
                    <a:pt x="85" y="107"/>
                    <a:pt x="85" y="107"/>
                    <a:pt x="85" y="107"/>
                  </a:cubicBezTo>
                  <a:cubicBezTo>
                    <a:pt x="82" y="107"/>
                    <a:pt x="79" y="108"/>
                    <a:pt x="77" y="110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3" y="118"/>
                    <a:pt x="53" y="118"/>
                    <a:pt x="53" y="118"/>
                  </a:cubicBezTo>
                  <a:cubicBezTo>
                    <a:pt x="53" y="112"/>
                    <a:pt x="48" y="107"/>
                    <a:pt x="42" y="107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170" y="22"/>
                    <a:pt x="170" y="22"/>
                    <a:pt x="170" y="22"/>
                  </a:cubicBezTo>
                  <a:lnTo>
                    <a:pt x="170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238"/>
            <p:cNvSpPr>
              <a:spLocks/>
            </p:cNvSpPr>
            <p:nvPr/>
          </p:nvSpPr>
          <p:spPr bwMode="auto">
            <a:xfrm>
              <a:off x="4413" y="941"/>
              <a:ext cx="127" cy="127"/>
            </a:xfrm>
            <a:custGeom>
              <a:avLst/>
              <a:gdLst>
                <a:gd name="T0" fmla="*/ 181 w 192"/>
                <a:gd name="T1" fmla="*/ 0 h 192"/>
                <a:gd name="T2" fmla="*/ 96 w 192"/>
                <a:gd name="T3" fmla="*/ 0 h 192"/>
                <a:gd name="T4" fmla="*/ 85 w 192"/>
                <a:gd name="T5" fmla="*/ 10 h 192"/>
                <a:gd name="T6" fmla="*/ 96 w 192"/>
                <a:gd name="T7" fmla="*/ 21 h 192"/>
                <a:gd name="T8" fmla="*/ 170 w 192"/>
                <a:gd name="T9" fmla="*/ 21 h 192"/>
                <a:gd name="T10" fmla="*/ 170 w 192"/>
                <a:gd name="T11" fmla="*/ 128 h 192"/>
                <a:gd name="T12" fmla="*/ 138 w 192"/>
                <a:gd name="T13" fmla="*/ 128 h 192"/>
                <a:gd name="T14" fmla="*/ 128 w 192"/>
                <a:gd name="T15" fmla="*/ 138 h 192"/>
                <a:gd name="T16" fmla="*/ 128 w 192"/>
                <a:gd name="T17" fmla="*/ 155 h 192"/>
                <a:gd name="T18" fmla="*/ 103 w 192"/>
                <a:gd name="T19" fmla="*/ 131 h 192"/>
                <a:gd name="T20" fmla="*/ 96 w 192"/>
                <a:gd name="T21" fmla="*/ 128 h 192"/>
                <a:gd name="T22" fmla="*/ 21 w 192"/>
                <a:gd name="T23" fmla="*/ 128 h 192"/>
                <a:gd name="T24" fmla="*/ 21 w 192"/>
                <a:gd name="T25" fmla="*/ 74 h 192"/>
                <a:gd name="T26" fmla="*/ 10 w 192"/>
                <a:gd name="T27" fmla="*/ 64 h 192"/>
                <a:gd name="T28" fmla="*/ 0 w 192"/>
                <a:gd name="T29" fmla="*/ 74 h 192"/>
                <a:gd name="T30" fmla="*/ 0 w 192"/>
                <a:gd name="T31" fmla="*/ 138 h 192"/>
                <a:gd name="T32" fmla="*/ 10 w 192"/>
                <a:gd name="T33" fmla="*/ 149 h 192"/>
                <a:gd name="T34" fmla="*/ 91 w 192"/>
                <a:gd name="T35" fmla="*/ 149 h 192"/>
                <a:gd name="T36" fmla="*/ 131 w 192"/>
                <a:gd name="T37" fmla="*/ 189 h 192"/>
                <a:gd name="T38" fmla="*/ 138 w 192"/>
                <a:gd name="T39" fmla="*/ 192 h 192"/>
                <a:gd name="T40" fmla="*/ 142 w 192"/>
                <a:gd name="T41" fmla="*/ 191 h 192"/>
                <a:gd name="T42" fmla="*/ 149 w 192"/>
                <a:gd name="T43" fmla="*/ 181 h 192"/>
                <a:gd name="T44" fmla="*/ 149 w 192"/>
                <a:gd name="T45" fmla="*/ 149 h 192"/>
                <a:gd name="T46" fmla="*/ 181 w 192"/>
                <a:gd name="T47" fmla="*/ 149 h 192"/>
                <a:gd name="T48" fmla="*/ 192 w 192"/>
                <a:gd name="T49" fmla="*/ 138 h 192"/>
                <a:gd name="T50" fmla="*/ 192 w 192"/>
                <a:gd name="T51" fmla="*/ 10 h 192"/>
                <a:gd name="T52" fmla="*/ 181 w 192"/>
                <a:gd name="T5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2" h="192">
                  <a:moveTo>
                    <a:pt x="181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5" y="4"/>
                    <a:pt x="85" y="10"/>
                  </a:cubicBezTo>
                  <a:cubicBezTo>
                    <a:pt x="85" y="16"/>
                    <a:pt x="90" y="21"/>
                    <a:pt x="96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128"/>
                    <a:pt x="170" y="128"/>
                    <a:pt x="170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2" y="128"/>
                    <a:pt x="128" y="132"/>
                    <a:pt x="128" y="138"/>
                  </a:cubicBezTo>
                  <a:cubicBezTo>
                    <a:pt x="128" y="155"/>
                    <a:pt x="128" y="155"/>
                    <a:pt x="128" y="155"/>
                  </a:cubicBezTo>
                  <a:cubicBezTo>
                    <a:pt x="103" y="131"/>
                    <a:pt x="103" y="131"/>
                    <a:pt x="103" y="131"/>
                  </a:cubicBezTo>
                  <a:cubicBezTo>
                    <a:pt x="101" y="129"/>
                    <a:pt x="98" y="128"/>
                    <a:pt x="96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68"/>
                    <a:pt x="16" y="64"/>
                    <a:pt x="10" y="64"/>
                  </a:cubicBezTo>
                  <a:cubicBezTo>
                    <a:pt x="4" y="64"/>
                    <a:pt x="0" y="68"/>
                    <a:pt x="0" y="74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44"/>
                    <a:pt x="4" y="149"/>
                    <a:pt x="10" y="149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131" y="189"/>
                    <a:pt x="131" y="189"/>
                    <a:pt x="131" y="189"/>
                  </a:cubicBezTo>
                  <a:cubicBezTo>
                    <a:pt x="133" y="191"/>
                    <a:pt x="136" y="192"/>
                    <a:pt x="138" y="192"/>
                  </a:cubicBezTo>
                  <a:cubicBezTo>
                    <a:pt x="140" y="192"/>
                    <a:pt x="141" y="191"/>
                    <a:pt x="142" y="191"/>
                  </a:cubicBezTo>
                  <a:cubicBezTo>
                    <a:pt x="146" y="189"/>
                    <a:pt x="149" y="185"/>
                    <a:pt x="149" y="181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87" y="149"/>
                    <a:pt x="192" y="144"/>
                    <a:pt x="192" y="138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92" y="4"/>
                    <a:pt x="187" y="0"/>
                    <a:pt x="1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2" name="Freeform 242"/>
          <p:cNvSpPr>
            <a:spLocks noChangeAspect="1" noEditPoints="1"/>
          </p:cNvSpPr>
          <p:nvPr/>
        </p:nvSpPr>
        <p:spPr bwMode="auto">
          <a:xfrm>
            <a:off x="1442131" y="2909484"/>
            <a:ext cx="369676" cy="369676"/>
          </a:xfrm>
          <a:custGeom>
            <a:avLst/>
            <a:gdLst>
              <a:gd name="T0" fmla="*/ 117 w 512"/>
              <a:gd name="T1" fmla="*/ 160 h 512"/>
              <a:gd name="T2" fmla="*/ 266 w 512"/>
              <a:gd name="T3" fmla="*/ 160 h 512"/>
              <a:gd name="T4" fmla="*/ 266 w 512"/>
              <a:gd name="T5" fmla="*/ 245 h 512"/>
              <a:gd name="T6" fmla="*/ 181 w 512"/>
              <a:gd name="T7" fmla="*/ 245 h 512"/>
              <a:gd name="T8" fmla="*/ 173 w 512"/>
              <a:gd name="T9" fmla="*/ 248 h 512"/>
              <a:gd name="T10" fmla="*/ 149 w 512"/>
              <a:gd name="T11" fmla="*/ 273 h 512"/>
              <a:gd name="T12" fmla="*/ 149 w 512"/>
              <a:gd name="T13" fmla="*/ 256 h 512"/>
              <a:gd name="T14" fmla="*/ 138 w 512"/>
              <a:gd name="T15" fmla="*/ 245 h 512"/>
              <a:gd name="T16" fmla="*/ 117 w 512"/>
              <a:gd name="T17" fmla="*/ 245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85 w 512"/>
              <a:gd name="T31" fmla="*/ 266 h 512"/>
              <a:gd name="T32" fmla="*/ 277 w 512"/>
              <a:gd name="T33" fmla="*/ 266 h 512"/>
              <a:gd name="T34" fmla="*/ 288 w 512"/>
              <a:gd name="T35" fmla="*/ 256 h 512"/>
              <a:gd name="T36" fmla="*/ 288 w 512"/>
              <a:gd name="T37" fmla="*/ 149 h 512"/>
              <a:gd name="T38" fmla="*/ 277 w 512"/>
              <a:gd name="T39" fmla="*/ 138 h 512"/>
              <a:gd name="T40" fmla="*/ 106 w 512"/>
              <a:gd name="T41" fmla="*/ 138 h 512"/>
              <a:gd name="T42" fmla="*/ 96 w 512"/>
              <a:gd name="T43" fmla="*/ 149 h 512"/>
              <a:gd name="T44" fmla="*/ 96 w 512"/>
              <a:gd name="T45" fmla="*/ 256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98 h 512"/>
              <a:gd name="T52" fmla="*/ 134 w 512"/>
              <a:gd name="T53" fmla="*/ 308 h 512"/>
              <a:gd name="T54" fmla="*/ 138 w 512"/>
              <a:gd name="T55" fmla="*/ 309 h 512"/>
              <a:gd name="T56" fmla="*/ 146 w 512"/>
              <a:gd name="T57" fmla="*/ 306 h 512"/>
              <a:gd name="T58" fmla="*/ 185 w 512"/>
              <a:gd name="T59" fmla="*/ 266 h 512"/>
              <a:gd name="T60" fmla="*/ 416 w 512"/>
              <a:gd name="T61" fmla="*/ 234 h 512"/>
              <a:gd name="T62" fmla="*/ 405 w 512"/>
              <a:gd name="T63" fmla="*/ 224 h 512"/>
              <a:gd name="T64" fmla="*/ 320 w 512"/>
              <a:gd name="T65" fmla="*/ 224 h 512"/>
              <a:gd name="T66" fmla="*/ 309 w 512"/>
              <a:gd name="T67" fmla="*/ 234 h 512"/>
              <a:gd name="T68" fmla="*/ 320 w 512"/>
              <a:gd name="T69" fmla="*/ 245 h 512"/>
              <a:gd name="T70" fmla="*/ 394 w 512"/>
              <a:gd name="T71" fmla="*/ 245 h 512"/>
              <a:gd name="T72" fmla="*/ 394 w 512"/>
              <a:gd name="T73" fmla="*/ 352 h 512"/>
              <a:gd name="T74" fmla="*/ 362 w 512"/>
              <a:gd name="T75" fmla="*/ 352 h 512"/>
              <a:gd name="T76" fmla="*/ 352 w 512"/>
              <a:gd name="T77" fmla="*/ 362 h 512"/>
              <a:gd name="T78" fmla="*/ 352 w 512"/>
              <a:gd name="T79" fmla="*/ 379 h 512"/>
              <a:gd name="T80" fmla="*/ 327 w 512"/>
              <a:gd name="T81" fmla="*/ 355 h 512"/>
              <a:gd name="T82" fmla="*/ 320 w 512"/>
              <a:gd name="T83" fmla="*/ 352 h 512"/>
              <a:gd name="T84" fmla="*/ 245 w 512"/>
              <a:gd name="T85" fmla="*/ 352 h 512"/>
              <a:gd name="T86" fmla="*/ 245 w 512"/>
              <a:gd name="T87" fmla="*/ 298 h 512"/>
              <a:gd name="T88" fmla="*/ 234 w 512"/>
              <a:gd name="T89" fmla="*/ 288 h 512"/>
              <a:gd name="T90" fmla="*/ 224 w 512"/>
              <a:gd name="T91" fmla="*/ 298 h 512"/>
              <a:gd name="T92" fmla="*/ 224 w 512"/>
              <a:gd name="T93" fmla="*/ 362 h 512"/>
              <a:gd name="T94" fmla="*/ 234 w 512"/>
              <a:gd name="T95" fmla="*/ 373 h 512"/>
              <a:gd name="T96" fmla="*/ 315 w 512"/>
              <a:gd name="T97" fmla="*/ 373 h 512"/>
              <a:gd name="T98" fmla="*/ 355 w 512"/>
              <a:gd name="T99" fmla="*/ 413 h 512"/>
              <a:gd name="T100" fmla="*/ 362 w 512"/>
              <a:gd name="T101" fmla="*/ 416 h 512"/>
              <a:gd name="T102" fmla="*/ 366 w 512"/>
              <a:gd name="T103" fmla="*/ 415 h 512"/>
              <a:gd name="T104" fmla="*/ 373 w 512"/>
              <a:gd name="T105" fmla="*/ 405 h 512"/>
              <a:gd name="T106" fmla="*/ 373 w 512"/>
              <a:gd name="T107" fmla="*/ 373 h 512"/>
              <a:gd name="T108" fmla="*/ 405 w 512"/>
              <a:gd name="T109" fmla="*/ 373 h 512"/>
              <a:gd name="T110" fmla="*/ 416 w 512"/>
              <a:gd name="T111" fmla="*/ 362 h 512"/>
              <a:gd name="T112" fmla="*/ 416 w 512"/>
              <a:gd name="T11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78" y="245"/>
                  <a:pt x="175" y="246"/>
                  <a:pt x="173" y="248"/>
                </a:cubicBezTo>
                <a:cubicBezTo>
                  <a:pt x="149" y="273"/>
                  <a:pt x="149" y="273"/>
                  <a:pt x="149" y="273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9" y="250"/>
                  <a:pt x="144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5" y="266"/>
                </a:moveTo>
                <a:cubicBezTo>
                  <a:pt x="277" y="266"/>
                  <a:pt x="277" y="266"/>
                  <a:pt x="277" y="266"/>
                </a:cubicBezTo>
                <a:cubicBezTo>
                  <a:pt x="283" y="266"/>
                  <a:pt x="288" y="262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3"/>
                  <a:pt x="283" y="138"/>
                  <a:pt x="277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03"/>
                  <a:pt x="130" y="307"/>
                  <a:pt x="134" y="308"/>
                </a:cubicBezTo>
                <a:cubicBezTo>
                  <a:pt x="136" y="309"/>
                  <a:pt x="137" y="309"/>
                  <a:pt x="138" y="309"/>
                </a:cubicBezTo>
                <a:cubicBezTo>
                  <a:pt x="141" y="309"/>
                  <a:pt x="144" y="308"/>
                  <a:pt x="146" y="306"/>
                </a:cubicBezTo>
                <a:lnTo>
                  <a:pt x="185" y="266"/>
                </a:lnTo>
                <a:close/>
                <a:moveTo>
                  <a:pt x="416" y="234"/>
                </a:moveTo>
                <a:cubicBezTo>
                  <a:pt x="416" y="228"/>
                  <a:pt x="411" y="224"/>
                  <a:pt x="405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56" y="352"/>
                  <a:pt x="352" y="356"/>
                  <a:pt x="352" y="362"/>
                </a:cubicBezTo>
                <a:cubicBezTo>
                  <a:pt x="352" y="379"/>
                  <a:pt x="352" y="379"/>
                  <a:pt x="352" y="379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5" y="353"/>
                  <a:pt x="322" y="352"/>
                  <a:pt x="320" y="35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315" y="373"/>
                  <a:pt x="315" y="373"/>
                  <a:pt x="315" y="373"/>
                </a:cubicBezTo>
                <a:cubicBezTo>
                  <a:pt x="355" y="413"/>
                  <a:pt x="355" y="413"/>
                  <a:pt x="355" y="413"/>
                </a:cubicBezTo>
                <a:cubicBezTo>
                  <a:pt x="357" y="415"/>
                  <a:pt x="360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0" y="413"/>
                  <a:pt x="373" y="409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3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3" name="Freeform 109"/>
          <p:cNvSpPr>
            <a:spLocks noChangeAspect="1" noEditPoints="1"/>
          </p:cNvSpPr>
          <p:nvPr/>
        </p:nvSpPr>
        <p:spPr bwMode="auto">
          <a:xfrm>
            <a:off x="2438133" y="2909488"/>
            <a:ext cx="369021" cy="369021"/>
          </a:xfrm>
          <a:custGeom>
            <a:avLst/>
            <a:gdLst>
              <a:gd name="T0" fmla="*/ 235 w 512"/>
              <a:gd name="T1" fmla="*/ 150 h 512"/>
              <a:gd name="T2" fmla="*/ 277 w 512"/>
              <a:gd name="T3" fmla="*/ 118 h 512"/>
              <a:gd name="T4" fmla="*/ 235 w 512"/>
              <a:gd name="T5" fmla="*/ 342 h 512"/>
              <a:gd name="T6" fmla="*/ 277 w 512"/>
              <a:gd name="T7" fmla="*/ 320 h 512"/>
              <a:gd name="T8" fmla="*/ 235 w 512"/>
              <a:gd name="T9" fmla="*/ 342 h 512"/>
              <a:gd name="T10" fmla="*/ 160 w 512"/>
              <a:gd name="T11" fmla="*/ 342 h 512"/>
              <a:gd name="T12" fmla="*/ 117 w 512"/>
              <a:gd name="T13" fmla="*/ 320 h 512"/>
              <a:gd name="T14" fmla="*/ 512 w 512"/>
              <a:gd name="T15" fmla="*/ 256 h 512"/>
              <a:gd name="T16" fmla="*/ 0 w 512"/>
              <a:gd name="T17" fmla="*/ 256 h 512"/>
              <a:gd name="T18" fmla="*/ 512 w 512"/>
              <a:gd name="T19" fmla="*/ 256 h 512"/>
              <a:gd name="T20" fmla="*/ 405 w 512"/>
              <a:gd name="T21" fmla="*/ 299 h 512"/>
              <a:gd name="T22" fmla="*/ 384 w 512"/>
              <a:gd name="T23" fmla="*/ 235 h 512"/>
              <a:gd name="T24" fmla="*/ 267 w 512"/>
              <a:gd name="T25" fmla="*/ 224 h 512"/>
              <a:gd name="T26" fmla="*/ 288 w 512"/>
              <a:gd name="T27" fmla="*/ 171 h 512"/>
              <a:gd name="T28" fmla="*/ 299 w 512"/>
              <a:gd name="T29" fmla="*/ 107 h 512"/>
              <a:gd name="T30" fmla="*/ 224 w 512"/>
              <a:gd name="T31" fmla="*/ 96 h 512"/>
              <a:gd name="T32" fmla="*/ 213 w 512"/>
              <a:gd name="T33" fmla="*/ 160 h 512"/>
              <a:gd name="T34" fmla="*/ 245 w 512"/>
              <a:gd name="T35" fmla="*/ 171 h 512"/>
              <a:gd name="T36" fmla="*/ 139 w 512"/>
              <a:gd name="T37" fmla="*/ 224 h 512"/>
              <a:gd name="T38" fmla="*/ 128 w 512"/>
              <a:gd name="T39" fmla="*/ 299 h 512"/>
              <a:gd name="T40" fmla="*/ 96 w 512"/>
              <a:gd name="T41" fmla="*/ 310 h 512"/>
              <a:gd name="T42" fmla="*/ 107 w 512"/>
              <a:gd name="T43" fmla="*/ 363 h 512"/>
              <a:gd name="T44" fmla="*/ 181 w 512"/>
              <a:gd name="T45" fmla="*/ 352 h 512"/>
              <a:gd name="T46" fmla="*/ 171 w 512"/>
              <a:gd name="T47" fmla="*/ 299 h 512"/>
              <a:gd name="T48" fmla="*/ 149 w 512"/>
              <a:gd name="T49" fmla="*/ 246 h 512"/>
              <a:gd name="T50" fmla="*/ 245 w 512"/>
              <a:gd name="T51" fmla="*/ 299 h 512"/>
              <a:gd name="T52" fmla="*/ 213 w 512"/>
              <a:gd name="T53" fmla="*/ 310 h 512"/>
              <a:gd name="T54" fmla="*/ 224 w 512"/>
              <a:gd name="T55" fmla="*/ 363 h 512"/>
              <a:gd name="T56" fmla="*/ 299 w 512"/>
              <a:gd name="T57" fmla="*/ 352 h 512"/>
              <a:gd name="T58" fmla="*/ 288 w 512"/>
              <a:gd name="T59" fmla="*/ 299 h 512"/>
              <a:gd name="T60" fmla="*/ 267 w 512"/>
              <a:gd name="T61" fmla="*/ 246 h 512"/>
              <a:gd name="T62" fmla="*/ 363 w 512"/>
              <a:gd name="T63" fmla="*/ 299 h 512"/>
              <a:gd name="T64" fmla="*/ 331 w 512"/>
              <a:gd name="T65" fmla="*/ 310 h 512"/>
              <a:gd name="T66" fmla="*/ 341 w 512"/>
              <a:gd name="T67" fmla="*/ 363 h 512"/>
              <a:gd name="T68" fmla="*/ 416 w 512"/>
              <a:gd name="T69" fmla="*/ 352 h 512"/>
              <a:gd name="T70" fmla="*/ 352 w 512"/>
              <a:gd name="T71" fmla="*/ 342 h 512"/>
              <a:gd name="T72" fmla="*/ 395 w 512"/>
              <a:gd name="T73" fmla="*/ 320 h 512"/>
              <a:gd name="T74" fmla="*/ 352 w 512"/>
              <a:gd name="T75" fmla="*/ 34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77" y="150"/>
                </a:moveTo>
                <a:cubicBezTo>
                  <a:pt x="235" y="150"/>
                  <a:pt x="235" y="150"/>
                  <a:pt x="235" y="150"/>
                </a:cubicBezTo>
                <a:cubicBezTo>
                  <a:pt x="235" y="118"/>
                  <a:pt x="235" y="118"/>
                  <a:pt x="235" y="118"/>
                </a:cubicBezTo>
                <a:cubicBezTo>
                  <a:pt x="277" y="118"/>
                  <a:pt x="277" y="118"/>
                  <a:pt x="277" y="118"/>
                </a:cubicBezTo>
                <a:lnTo>
                  <a:pt x="277" y="150"/>
                </a:lnTo>
                <a:close/>
                <a:moveTo>
                  <a:pt x="235" y="342"/>
                </a:moveTo>
                <a:cubicBezTo>
                  <a:pt x="277" y="342"/>
                  <a:pt x="277" y="342"/>
                  <a:pt x="277" y="342"/>
                </a:cubicBezTo>
                <a:cubicBezTo>
                  <a:pt x="277" y="320"/>
                  <a:pt x="277" y="320"/>
                  <a:pt x="277" y="320"/>
                </a:cubicBezTo>
                <a:cubicBezTo>
                  <a:pt x="235" y="320"/>
                  <a:pt x="235" y="320"/>
                  <a:pt x="235" y="320"/>
                </a:cubicBezTo>
                <a:lnTo>
                  <a:pt x="235" y="342"/>
                </a:lnTo>
                <a:close/>
                <a:moveTo>
                  <a:pt x="117" y="342"/>
                </a:moveTo>
                <a:cubicBezTo>
                  <a:pt x="160" y="342"/>
                  <a:pt x="160" y="342"/>
                  <a:pt x="160" y="342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17" y="320"/>
                  <a:pt x="117" y="320"/>
                  <a:pt x="117" y="320"/>
                </a:cubicBezTo>
                <a:lnTo>
                  <a:pt x="117" y="342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416" y="310"/>
                </a:moveTo>
                <a:cubicBezTo>
                  <a:pt x="416" y="304"/>
                  <a:pt x="411" y="299"/>
                  <a:pt x="405" y="299"/>
                </a:cubicBezTo>
                <a:cubicBezTo>
                  <a:pt x="384" y="299"/>
                  <a:pt x="384" y="299"/>
                  <a:pt x="384" y="299"/>
                </a:cubicBezTo>
                <a:cubicBezTo>
                  <a:pt x="384" y="235"/>
                  <a:pt x="384" y="235"/>
                  <a:pt x="384" y="235"/>
                </a:cubicBezTo>
                <a:cubicBezTo>
                  <a:pt x="384" y="229"/>
                  <a:pt x="379" y="224"/>
                  <a:pt x="373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67" y="171"/>
                  <a:pt x="267" y="171"/>
                  <a:pt x="267" y="171"/>
                </a:cubicBezTo>
                <a:cubicBezTo>
                  <a:pt x="288" y="171"/>
                  <a:pt x="288" y="171"/>
                  <a:pt x="288" y="171"/>
                </a:cubicBezTo>
                <a:cubicBezTo>
                  <a:pt x="294" y="171"/>
                  <a:pt x="299" y="166"/>
                  <a:pt x="299" y="160"/>
                </a:cubicBezTo>
                <a:cubicBezTo>
                  <a:pt x="299" y="107"/>
                  <a:pt x="299" y="107"/>
                  <a:pt x="299" y="107"/>
                </a:cubicBezTo>
                <a:cubicBezTo>
                  <a:pt x="299" y="101"/>
                  <a:pt x="294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1"/>
                  <a:pt x="213" y="107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13" y="166"/>
                  <a:pt x="218" y="171"/>
                  <a:pt x="224" y="171"/>
                </a:cubicBezTo>
                <a:cubicBezTo>
                  <a:pt x="245" y="171"/>
                  <a:pt x="245" y="171"/>
                  <a:pt x="245" y="171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33" y="224"/>
                  <a:pt x="128" y="229"/>
                  <a:pt x="128" y="235"/>
                </a:cubicBezTo>
                <a:cubicBezTo>
                  <a:pt x="128" y="299"/>
                  <a:pt x="128" y="299"/>
                  <a:pt x="128" y="299"/>
                </a:cubicBezTo>
                <a:cubicBezTo>
                  <a:pt x="107" y="299"/>
                  <a:pt x="107" y="299"/>
                  <a:pt x="107" y="299"/>
                </a:cubicBezTo>
                <a:cubicBezTo>
                  <a:pt x="101" y="299"/>
                  <a:pt x="96" y="304"/>
                  <a:pt x="96" y="310"/>
                </a:cubicBezTo>
                <a:cubicBezTo>
                  <a:pt x="96" y="352"/>
                  <a:pt x="96" y="352"/>
                  <a:pt x="96" y="352"/>
                </a:cubicBezTo>
                <a:cubicBezTo>
                  <a:pt x="96" y="358"/>
                  <a:pt x="101" y="363"/>
                  <a:pt x="107" y="363"/>
                </a:cubicBezTo>
                <a:cubicBezTo>
                  <a:pt x="171" y="363"/>
                  <a:pt x="171" y="363"/>
                  <a:pt x="171" y="363"/>
                </a:cubicBezTo>
                <a:cubicBezTo>
                  <a:pt x="177" y="363"/>
                  <a:pt x="181" y="358"/>
                  <a:pt x="181" y="352"/>
                </a:cubicBezTo>
                <a:cubicBezTo>
                  <a:pt x="181" y="310"/>
                  <a:pt x="181" y="310"/>
                  <a:pt x="181" y="310"/>
                </a:cubicBezTo>
                <a:cubicBezTo>
                  <a:pt x="181" y="304"/>
                  <a:pt x="177" y="299"/>
                  <a:pt x="171" y="299"/>
                </a:cubicBezTo>
                <a:cubicBezTo>
                  <a:pt x="149" y="299"/>
                  <a:pt x="149" y="299"/>
                  <a:pt x="149" y="299"/>
                </a:cubicBezTo>
                <a:cubicBezTo>
                  <a:pt x="149" y="246"/>
                  <a:pt x="149" y="246"/>
                  <a:pt x="149" y="246"/>
                </a:cubicBezTo>
                <a:cubicBezTo>
                  <a:pt x="245" y="246"/>
                  <a:pt x="245" y="246"/>
                  <a:pt x="245" y="246"/>
                </a:cubicBezTo>
                <a:cubicBezTo>
                  <a:pt x="245" y="299"/>
                  <a:pt x="245" y="299"/>
                  <a:pt x="245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18" y="299"/>
                  <a:pt x="213" y="304"/>
                  <a:pt x="213" y="310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213" y="358"/>
                  <a:pt x="218" y="363"/>
                  <a:pt x="224" y="363"/>
                </a:cubicBezTo>
                <a:cubicBezTo>
                  <a:pt x="288" y="363"/>
                  <a:pt x="288" y="363"/>
                  <a:pt x="288" y="363"/>
                </a:cubicBezTo>
                <a:cubicBezTo>
                  <a:pt x="294" y="363"/>
                  <a:pt x="299" y="358"/>
                  <a:pt x="299" y="352"/>
                </a:cubicBezTo>
                <a:cubicBezTo>
                  <a:pt x="299" y="310"/>
                  <a:pt x="299" y="310"/>
                  <a:pt x="299" y="310"/>
                </a:cubicBezTo>
                <a:cubicBezTo>
                  <a:pt x="299" y="304"/>
                  <a:pt x="294" y="299"/>
                  <a:pt x="288" y="299"/>
                </a:cubicBezTo>
                <a:cubicBezTo>
                  <a:pt x="267" y="299"/>
                  <a:pt x="267" y="299"/>
                  <a:pt x="267" y="299"/>
                </a:cubicBezTo>
                <a:cubicBezTo>
                  <a:pt x="267" y="246"/>
                  <a:pt x="267" y="246"/>
                  <a:pt x="267" y="246"/>
                </a:cubicBezTo>
                <a:cubicBezTo>
                  <a:pt x="363" y="246"/>
                  <a:pt x="363" y="246"/>
                  <a:pt x="363" y="246"/>
                </a:cubicBezTo>
                <a:cubicBezTo>
                  <a:pt x="363" y="299"/>
                  <a:pt x="363" y="299"/>
                  <a:pt x="363" y="299"/>
                </a:cubicBezTo>
                <a:cubicBezTo>
                  <a:pt x="341" y="299"/>
                  <a:pt x="341" y="299"/>
                  <a:pt x="341" y="299"/>
                </a:cubicBezTo>
                <a:cubicBezTo>
                  <a:pt x="335" y="299"/>
                  <a:pt x="331" y="304"/>
                  <a:pt x="331" y="310"/>
                </a:cubicBezTo>
                <a:cubicBezTo>
                  <a:pt x="331" y="352"/>
                  <a:pt x="331" y="352"/>
                  <a:pt x="331" y="352"/>
                </a:cubicBezTo>
                <a:cubicBezTo>
                  <a:pt x="331" y="358"/>
                  <a:pt x="335" y="363"/>
                  <a:pt x="341" y="363"/>
                </a:cubicBezTo>
                <a:cubicBezTo>
                  <a:pt x="405" y="363"/>
                  <a:pt x="405" y="363"/>
                  <a:pt x="405" y="363"/>
                </a:cubicBezTo>
                <a:cubicBezTo>
                  <a:pt x="411" y="363"/>
                  <a:pt x="416" y="358"/>
                  <a:pt x="416" y="352"/>
                </a:cubicBezTo>
                <a:lnTo>
                  <a:pt x="416" y="310"/>
                </a:lnTo>
                <a:close/>
                <a:moveTo>
                  <a:pt x="352" y="342"/>
                </a:moveTo>
                <a:cubicBezTo>
                  <a:pt x="395" y="342"/>
                  <a:pt x="395" y="342"/>
                  <a:pt x="395" y="342"/>
                </a:cubicBezTo>
                <a:cubicBezTo>
                  <a:pt x="395" y="320"/>
                  <a:pt x="395" y="320"/>
                  <a:pt x="395" y="320"/>
                </a:cubicBezTo>
                <a:cubicBezTo>
                  <a:pt x="352" y="320"/>
                  <a:pt x="352" y="320"/>
                  <a:pt x="352" y="320"/>
                </a:cubicBezTo>
                <a:lnTo>
                  <a:pt x="352" y="34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4" name="Group 112"/>
          <p:cNvGrpSpPr>
            <a:grpSpLocks noChangeAspect="1"/>
          </p:cNvGrpSpPr>
          <p:nvPr/>
        </p:nvGrpSpPr>
        <p:grpSpPr bwMode="auto">
          <a:xfrm>
            <a:off x="2935479" y="2909488"/>
            <a:ext cx="369021" cy="369021"/>
            <a:chOff x="1157" y="393"/>
            <a:chExt cx="340" cy="340"/>
          </a:xfrm>
          <a:solidFill>
            <a:schemeClr val="accent2"/>
          </a:solidFill>
        </p:grpSpPr>
        <p:sp>
          <p:nvSpPr>
            <p:cNvPr id="355" name="Freeform 113"/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6" name="Freeform 114"/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7" name="Freeform 547"/>
          <p:cNvSpPr>
            <a:spLocks noChangeAspect="1" noEditPoints="1"/>
          </p:cNvSpPr>
          <p:nvPr/>
        </p:nvSpPr>
        <p:spPr bwMode="auto">
          <a:xfrm>
            <a:off x="3432825" y="2909488"/>
            <a:ext cx="367631" cy="367631"/>
          </a:xfrm>
          <a:custGeom>
            <a:avLst/>
            <a:gdLst>
              <a:gd name="T0" fmla="*/ 288 w 512"/>
              <a:gd name="T1" fmla="*/ 256 h 512"/>
              <a:gd name="T2" fmla="*/ 256 w 512"/>
              <a:gd name="T3" fmla="*/ 288 h 512"/>
              <a:gd name="T4" fmla="*/ 224 w 512"/>
              <a:gd name="T5" fmla="*/ 256 h 512"/>
              <a:gd name="T6" fmla="*/ 256 w 512"/>
              <a:gd name="T7" fmla="*/ 224 h 512"/>
              <a:gd name="T8" fmla="*/ 288 w 512"/>
              <a:gd name="T9" fmla="*/ 256 h 512"/>
              <a:gd name="T10" fmla="*/ 392 w 512"/>
              <a:gd name="T11" fmla="*/ 256 h 512"/>
              <a:gd name="T12" fmla="*/ 257 w 512"/>
              <a:gd name="T13" fmla="*/ 330 h 512"/>
              <a:gd name="T14" fmla="*/ 121 w 512"/>
              <a:gd name="T15" fmla="*/ 256 h 512"/>
              <a:gd name="T16" fmla="*/ 257 w 512"/>
              <a:gd name="T17" fmla="*/ 181 h 512"/>
              <a:gd name="T18" fmla="*/ 392 w 512"/>
              <a:gd name="T19" fmla="*/ 256 h 512"/>
              <a:gd name="T20" fmla="*/ 309 w 512"/>
              <a:gd name="T21" fmla="*/ 256 h 512"/>
              <a:gd name="T22" fmla="*/ 256 w 512"/>
              <a:gd name="T23" fmla="*/ 202 h 512"/>
              <a:gd name="T24" fmla="*/ 202 w 512"/>
              <a:gd name="T25" fmla="*/ 256 h 512"/>
              <a:gd name="T26" fmla="*/ 256 w 512"/>
              <a:gd name="T27" fmla="*/ 309 h 512"/>
              <a:gd name="T28" fmla="*/ 309 w 512"/>
              <a:gd name="T29" fmla="*/ 256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5 w 512"/>
              <a:gd name="T41" fmla="*/ 255 h 512"/>
              <a:gd name="T42" fmla="*/ 414 w 512"/>
              <a:gd name="T43" fmla="*/ 250 h 512"/>
              <a:gd name="T44" fmla="*/ 257 w 512"/>
              <a:gd name="T45" fmla="*/ 160 h 512"/>
              <a:gd name="T46" fmla="*/ 99 w 512"/>
              <a:gd name="T47" fmla="*/ 249 h 512"/>
              <a:gd name="T48" fmla="*/ 98 w 512"/>
              <a:gd name="T49" fmla="*/ 256 h 512"/>
              <a:gd name="T50" fmla="*/ 99 w 512"/>
              <a:gd name="T51" fmla="*/ 261 h 512"/>
              <a:gd name="T52" fmla="*/ 257 w 512"/>
              <a:gd name="T53" fmla="*/ 352 h 512"/>
              <a:gd name="T54" fmla="*/ 414 w 512"/>
              <a:gd name="T55" fmla="*/ 262 h 512"/>
              <a:gd name="T56" fmla="*/ 415 w 512"/>
              <a:gd name="T57" fmla="*/ 2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2" h="512">
                <a:moveTo>
                  <a:pt x="288" y="256"/>
                </a:move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73" y="224"/>
                  <a:pt x="288" y="238"/>
                  <a:pt x="288" y="256"/>
                </a:cubicBezTo>
                <a:close/>
                <a:moveTo>
                  <a:pt x="392" y="256"/>
                </a:moveTo>
                <a:cubicBezTo>
                  <a:pt x="365" y="293"/>
                  <a:pt x="316" y="330"/>
                  <a:pt x="257" y="330"/>
                </a:cubicBezTo>
                <a:cubicBezTo>
                  <a:pt x="192" y="330"/>
                  <a:pt x="143" y="286"/>
                  <a:pt x="121" y="256"/>
                </a:cubicBezTo>
                <a:cubicBezTo>
                  <a:pt x="148" y="218"/>
                  <a:pt x="197" y="181"/>
                  <a:pt x="257" y="181"/>
                </a:cubicBezTo>
                <a:cubicBezTo>
                  <a:pt x="321" y="181"/>
                  <a:pt x="370" y="226"/>
                  <a:pt x="392" y="256"/>
                </a:cubicBezTo>
                <a:close/>
                <a:moveTo>
                  <a:pt x="309" y="256"/>
                </a:moveTo>
                <a:cubicBezTo>
                  <a:pt x="309" y="226"/>
                  <a:pt x="285" y="202"/>
                  <a:pt x="256" y="202"/>
                </a:cubicBezTo>
                <a:cubicBezTo>
                  <a:pt x="226" y="202"/>
                  <a:pt x="202" y="226"/>
                  <a:pt x="202" y="256"/>
                </a:cubicBezTo>
                <a:cubicBezTo>
                  <a:pt x="202" y="285"/>
                  <a:pt x="226" y="309"/>
                  <a:pt x="256" y="309"/>
                </a:cubicBezTo>
                <a:cubicBezTo>
                  <a:pt x="285" y="309"/>
                  <a:pt x="309" y="285"/>
                  <a:pt x="309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55"/>
                </a:moveTo>
                <a:cubicBezTo>
                  <a:pt x="415" y="254"/>
                  <a:pt x="415" y="252"/>
                  <a:pt x="414" y="250"/>
                </a:cubicBezTo>
                <a:cubicBezTo>
                  <a:pt x="392" y="216"/>
                  <a:pt x="334" y="160"/>
                  <a:pt x="257" y="160"/>
                </a:cubicBezTo>
                <a:cubicBezTo>
                  <a:pt x="186" y="160"/>
                  <a:pt x="129" y="206"/>
                  <a:pt x="99" y="249"/>
                </a:cubicBezTo>
                <a:cubicBezTo>
                  <a:pt x="98" y="251"/>
                  <a:pt x="98" y="254"/>
                  <a:pt x="98" y="256"/>
                </a:cubicBezTo>
                <a:cubicBezTo>
                  <a:pt x="98" y="258"/>
                  <a:pt x="98" y="260"/>
                  <a:pt x="99" y="261"/>
                </a:cubicBezTo>
                <a:cubicBezTo>
                  <a:pt x="121" y="295"/>
                  <a:pt x="179" y="352"/>
                  <a:pt x="257" y="352"/>
                </a:cubicBezTo>
                <a:cubicBezTo>
                  <a:pt x="327" y="352"/>
                  <a:pt x="384" y="305"/>
                  <a:pt x="414" y="262"/>
                </a:cubicBezTo>
                <a:cubicBezTo>
                  <a:pt x="415" y="260"/>
                  <a:pt x="416" y="258"/>
                  <a:pt x="415" y="25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8" name="Group 550"/>
          <p:cNvGrpSpPr>
            <a:grpSpLocks noChangeAspect="1"/>
          </p:cNvGrpSpPr>
          <p:nvPr/>
        </p:nvGrpSpPr>
        <p:grpSpPr bwMode="auto">
          <a:xfrm>
            <a:off x="3928781" y="2909488"/>
            <a:ext cx="367631" cy="367631"/>
            <a:chOff x="5799" y="1983"/>
            <a:chExt cx="340" cy="340"/>
          </a:xfrm>
          <a:solidFill>
            <a:schemeClr val="accent6"/>
          </a:solidFill>
        </p:grpSpPr>
        <p:sp>
          <p:nvSpPr>
            <p:cNvPr id="359" name="Freeform 551"/>
            <p:cNvSpPr>
              <a:spLocks noEditPoints="1"/>
            </p:cNvSpPr>
            <p:nvPr/>
          </p:nvSpPr>
          <p:spPr bwMode="auto">
            <a:xfrm>
              <a:off x="5864" y="2089"/>
              <a:ext cx="211" cy="128"/>
            </a:xfrm>
            <a:custGeom>
              <a:avLst/>
              <a:gdLst>
                <a:gd name="T0" fmla="*/ 316 w 318"/>
                <a:gd name="T1" fmla="*/ 90 h 192"/>
                <a:gd name="T2" fmla="*/ 159 w 318"/>
                <a:gd name="T3" fmla="*/ 0 h 192"/>
                <a:gd name="T4" fmla="*/ 1 w 318"/>
                <a:gd name="T5" fmla="*/ 89 h 192"/>
                <a:gd name="T6" fmla="*/ 0 w 318"/>
                <a:gd name="T7" fmla="*/ 96 h 192"/>
                <a:gd name="T8" fmla="*/ 1 w 318"/>
                <a:gd name="T9" fmla="*/ 101 h 192"/>
                <a:gd name="T10" fmla="*/ 159 w 318"/>
                <a:gd name="T11" fmla="*/ 192 h 192"/>
                <a:gd name="T12" fmla="*/ 316 w 318"/>
                <a:gd name="T13" fmla="*/ 102 h 192"/>
                <a:gd name="T14" fmla="*/ 317 w 318"/>
                <a:gd name="T15" fmla="*/ 95 h 192"/>
                <a:gd name="T16" fmla="*/ 316 w 318"/>
                <a:gd name="T17" fmla="*/ 90 h 192"/>
                <a:gd name="T18" fmla="*/ 159 w 318"/>
                <a:gd name="T19" fmla="*/ 170 h 192"/>
                <a:gd name="T20" fmla="*/ 23 w 318"/>
                <a:gd name="T21" fmla="*/ 96 h 192"/>
                <a:gd name="T22" fmla="*/ 159 w 318"/>
                <a:gd name="T23" fmla="*/ 21 h 192"/>
                <a:gd name="T24" fmla="*/ 294 w 318"/>
                <a:gd name="T25" fmla="*/ 96 h 192"/>
                <a:gd name="T26" fmla="*/ 159 w 318"/>
                <a:gd name="T27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8" h="192">
                  <a:moveTo>
                    <a:pt x="316" y="90"/>
                  </a:moveTo>
                  <a:cubicBezTo>
                    <a:pt x="294" y="56"/>
                    <a:pt x="236" y="0"/>
                    <a:pt x="159" y="0"/>
                  </a:cubicBezTo>
                  <a:cubicBezTo>
                    <a:pt x="88" y="0"/>
                    <a:pt x="31" y="46"/>
                    <a:pt x="1" y="89"/>
                  </a:cubicBezTo>
                  <a:cubicBezTo>
                    <a:pt x="0" y="91"/>
                    <a:pt x="0" y="94"/>
                    <a:pt x="0" y="96"/>
                  </a:cubicBezTo>
                  <a:cubicBezTo>
                    <a:pt x="0" y="98"/>
                    <a:pt x="0" y="100"/>
                    <a:pt x="1" y="101"/>
                  </a:cubicBezTo>
                  <a:cubicBezTo>
                    <a:pt x="23" y="135"/>
                    <a:pt x="81" y="192"/>
                    <a:pt x="159" y="192"/>
                  </a:cubicBezTo>
                  <a:cubicBezTo>
                    <a:pt x="229" y="192"/>
                    <a:pt x="286" y="145"/>
                    <a:pt x="316" y="102"/>
                  </a:cubicBezTo>
                  <a:cubicBezTo>
                    <a:pt x="317" y="100"/>
                    <a:pt x="318" y="98"/>
                    <a:pt x="317" y="95"/>
                  </a:cubicBezTo>
                  <a:cubicBezTo>
                    <a:pt x="317" y="94"/>
                    <a:pt x="317" y="92"/>
                    <a:pt x="316" y="90"/>
                  </a:cubicBezTo>
                  <a:close/>
                  <a:moveTo>
                    <a:pt x="159" y="170"/>
                  </a:moveTo>
                  <a:cubicBezTo>
                    <a:pt x="94" y="170"/>
                    <a:pt x="45" y="126"/>
                    <a:pt x="23" y="96"/>
                  </a:cubicBezTo>
                  <a:cubicBezTo>
                    <a:pt x="50" y="58"/>
                    <a:pt x="99" y="21"/>
                    <a:pt x="159" y="21"/>
                  </a:cubicBezTo>
                  <a:cubicBezTo>
                    <a:pt x="223" y="21"/>
                    <a:pt x="272" y="66"/>
                    <a:pt x="294" y="96"/>
                  </a:cubicBezTo>
                  <a:cubicBezTo>
                    <a:pt x="267" y="133"/>
                    <a:pt x="218" y="170"/>
                    <a:pt x="159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552"/>
            <p:cNvSpPr>
              <a:spLocks noEditPoints="1"/>
            </p:cNvSpPr>
            <p:nvPr/>
          </p:nvSpPr>
          <p:spPr bwMode="auto">
            <a:xfrm>
              <a:off x="5933" y="2117"/>
              <a:ext cx="71" cy="71"/>
            </a:xfrm>
            <a:custGeom>
              <a:avLst/>
              <a:gdLst>
                <a:gd name="T0" fmla="*/ 54 w 107"/>
                <a:gd name="T1" fmla="*/ 0 h 107"/>
                <a:gd name="T2" fmla="*/ 0 w 107"/>
                <a:gd name="T3" fmla="*/ 54 h 107"/>
                <a:gd name="T4" fmla="*/ 54 w 107"/>
                <a:gd name="T5" fmla="*/ 107 h 107"/>
                <a:gd name="T6" fmla="*/ 107 w 107"/>
                <a:gd name="T7" fmla="*/ 54 h 107"/>
                <a:gd name="T8" fmla="*/ 54 w 107"/>
                <a:gd name="T9" fmla="*/ 0 h 107"/>
                <a:gd name="T10" fmla="*/ 54 w 107"/>
                <a:gd name="T11" fmla="*/ 86 h 107"/>
                <a:gd name="T12" fmla="*/ 22 w 107"/>
                <a:gd name="T13" fmla="*/ 54 h 107"/>
                <a:gd name="T14" fmla="*/ 54 w 107"/>
                <a:gd name="T15" fmla="*/ 22 h 107"/>
                <a:gd name="T16" fmla="*/ 86 w 107"/>
                <a:gd name="T17" fmla="*/ 54 h 107"/>
                <a:gd name="T18" fmla="*/ 54 w 107"/>
                <a:gd name="T19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4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6"/>
                  </a:moveTo>
                  <a:cubicBezTo>
                    <a:pt x="36" y="86"/>
                    <a:pt x="22" y="71"/>
                    <a:pt x="22" y="54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4"/>
                  </a:cubicBezTo>
                  <a:cubicBezTo>
                    <a:pt x="86" y="71"/>
                    <a:pt x="71" y="86"/>
                    <a:pt x="54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Freeform 553"/>
            <p:cNvSpPr>
              <a:spLocks noEditPoints="1"/>
            </p:cNvSpPr>
            <p:nvPr/>
          </p:nvSpPr>
          <p:spPr bwMode="auto">
            <a:xfrm>
              <a:off x="5799" y="19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2" name="Freeform 286"/>
          <p:cNvSpPr>
            <a:spLocks noChangeAspect="1" noEditPoints="1"/>
          </p:cNvSpPr>
          <p:nvPr/>
        </p:nvSpPr>
        <p:spPr bwMode="auto">
          <a:xfrm>
            <a:off x="9399487" y="2051054"/>
            <a:ext cx="367632" cy="367631"/>
          </a:xfrm>
          <a:custGeom>
            <a:avLst/>
            <a:gdLst>
              <a:gd name="T0" fmla="*/ 298 w 512"/>
              <a:gd name="T1" fmla="*/ 192 h 512"/>
              <a:gd name="T2" fmla="*/ 298 w 512"/>
              <a:gd name="T3" fmla="*/ 266 h 512"/>
              <a:gd name="T4" fmla="*/ 290 w 512"/>
              <a:gd name="T5" fmla="*/ 288 h 512"/>
              <a:gd name="T6" fmla="*/ 204 w 512"/>
              <a:gd name="T7" fmla="*/ 388 h 512"/>
              <a:gd name="T8" fmla="*/ 202 w 512"/>
              <a:gd name="T9" fmla="*/ 376 h 512"/>
              <a:gd name="T10" fmla="*/ 223 w 512"/>
              <a:gd name="T11" fmla="*/ 312 h 512"/>
              <a:gd name="T12" fmla="*/ 223 w 512"/>
              <a:gd name="T13" fmla="*/ 312 h 512"/>
              <a:gd name="T14" fmla="*/ 224 w 512"/>
              <a:gd name="T15" fmla="*/ 309 h 512"/>
              <a:gd name="T16" fmla="*/ 213 w 512"/>
              <a:gd name="T17" fmla="*/ 298 h 512"/>
              <a:gd name="T18" fmla="*/ 160 w 512"/>
              <a:gd name="T19" fmla="*/ 298 h 512"/>
              <a:gd name="T20" fmla="*/ 117 w 512"/>
              <a:gd name="T21" fmla="*/ 255 h 512"/>
              <a:gd name="T22" fmla="*/ 136 w 512"/>
              <a:gd name="T23" fmla="*/ 174 h 512"/>
              <a:gd name="T24" fmla="*/ 171 w 512"/>
              <a:gd name="T25" fmla="*/ 160 h 512"/>
              <a:gd name="T26" fmla="*/ 267 w 512"/>
              <a:gd name="T27" fmla="*/ 160 h 512"/>
              <a:gd name="T28" fmla="*/ 298 w 512"/>
              <a:gd name="T29" fmla="*/ 192 h 512"/>
              <a:gd name="T30" fmla="*/ 320 w 512"/>
              <a:gd name="T31" fmla="*/ 192 h 512"/>
              <a:gd name="T32" fmla="*/ 320 w 512"/>
              <a:gd name="T33" fmla="*/ 266 h 512"/>
              <a:gd name="T34" fmla="*/ 320 w 512"/>
              <a:gd name="T35" fmla="*/ 266 h 512"/>
              <a:gd name="T36" fmla="*/ 373 w 512"/>
              <a:gd name="T37" fmla="*/ 266 h 512"/>
              <a:gd name="T38" fmla="*/ 373 w 512"/>
              <a:gd name="T39" fmla="*/ 170 h 512"/>
              <a:gd name="T40" fmla="*/ 316 w 512"/>
              <a:gd name="T41" fmla="*/ 170 h 512"/>
              <a:gd name="T42" fmla="*/ 320 w 512"/>
              <a:gd name="T43" fmla="*/ 19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94 w 512"/>
              <a:gd name="T55" fmla="*/ 160 h 512"/>
              <a:gd name="T56" fmla="*/ 384 w 512"/>
              <a:gd name="T57" fmla="*/ 149 h 512"/>
              <a:gd name="T58" fmla="*/ 299 w 512"/>
              <a:gd name="T59" fmla="*/ 149 h 512"/>
              <a:gd name="T60" fmla="*/ 267 w 512"/>
              <a:gd name="T61" fmla="*/ 138 h 512"/>
              <a:gd name="T62" fmla="*/ 171 w 512"/>
              <a:gd name="T63" fmla="*/ 138 h 512"/>
              <a:gd name="T64" fmla="*/ 121 w 512"/>
              <a:gd name="T65" fmla="*/ 160 h 512"/>
              <a:gd name="T66" fmla="*/ 96 w 512"/>
              <a:gd name="T67" fmla="*/ 256 h 512"/>
              <a:gd name="T68" fmla="*/ 160 w 512"/>
              <a:gd name="T69" fmla="*/ 320 h 512"/>
              <a:gd name="T70" fmla="*/ 198 w 512"/>
              <a:gd name="T71" fmla="*/ 320 h 512"/>
              <a:gd name="T72" fmla="*/ 182 w 512"/>
              <a:gd name="T73" fmla="*/ 370 h 512"/>
              <a:gd name="T74" fmla="*/ 195 w 512"/>
              <a:gd name="T75" fmla="*/ 413 h 512"/>
              <a:gd name="T76" fmla="*/ 203 w 512"/>
              <a:gd name="T77" fmla="*/ 416 h 512"/>
              <a:gd name="T78" fmla="*/ 203 w 512"/>
              <a:gd name="T79" fmla="*/ 416 h 512"/>
              <a:gd name="T80" fmla="*/ 211 w 512"/>
              <a:gd name="T81" fmla="*/ 412 h 512"/>
              <a:gd name="T82" fmla="*/ 306 w 512"/>
              <a:gd name="T83" fmla="*/ 302 h 512"/>
              <a:gd name="T84" fmla="*/ 306 w 512"/>
              <a:gd name="T85" fmla="*/ 302 h 512"/>
              <a:gd name="T86" fmla="*/ 306 w 512"/>
              <a:gd name="T87" fmla="*/ 302 h 512"/>
              <a:gd name="T88" fmla="*/ 315 w 512"/>
              <a:gd name="T89" fmla="*/ 288 h 512"/>
              <a:gd name="T90" fmla="*/ 384 w 512"/>
              <a:gd name="T91" fmla="*/ 288 h 512"/>
              <a:gd name="T92" fmla="*/ 394 w 512"/>
              <a:gd name="T93" fmla="*/ 277 h 512"/>
              <a:gd name="T94" fmla="*/ 394 w 512"/>
              <a:gd name="T95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98" y="192"/>
                </a:moveTo>
                <a:cubicBezTo>
                  <a:pt x="298" y="266"/>
                  <a:pt x="298" y="266"/>
                  <a:pt x="298" y="266"/>
                </a:cubicBezTo>
                <a:cubicBezTo>
                  <a:pt x="298" y="274"/>
                  <a:pt x="295" y="282"/>
                  <a:pt x="290" y="288"/>
                </a:cubicBezTo>
                <a:cubicBezTo>
                  <a:pt x="204" y="388"/>
                  <a:pt x="204" y="388"/>
                  <a:pt x="204" y="388"/>
                </a:cubicBezTo>
                <a:cubicBezTo>
                  <a:pt x="202" y="384"/>
                  <a:pt x="201" y="380"/>
                  <a:pt x="202" y="376"/>
                </a:cubicBezTo>
                <a:cubicBezTo>
                  <a:pt x="223" y="312"/>
                  <a:pt x="223" y="312"/>
                  <a:pt x="223" y="312"/>
                </a:cubicBezTo>
                <a:cubicBezTo>
                  <a:pt x="223" y="312"/>
                  <a:pt x="223" y="312"/>
                  <a:pt x="223" y="312"/>
                </a:cubicBezTo>
                <a:cubicBezTo>
                  <a:pt x="223" y="311"/>
                  <a:pt x="224" y="310"/>
                  <a:pt x="224" y="309"/>
                </a:cubicBezTo>
                <a:cubicBezTo>
                  <a:pt x="224" y="303"/>
                  <a:pt x="219" y="298"/>
                  <a:pt x="213" y="298"/>
                </a:cubicBezTo>
                <a:cubicBezTo>
                  <a:pt x="160" y="298"/>
                  <a:pt x="160" y="298"/>
                  <a:pt x="160" y="298"/>
                </a:cubicBezTo>
                <a:cubicBezTo>
                  <a:pt x="141" y="298"/>
                  <a:pt x="118" y="275"/>
                  <a:pt x="117" y="255"/>
                </a:cubicBezTo>
                <a:cubicBezTo>
                  <a:pt x="117" y="254"/>
                  <a:pt x="112" y="200"/>
                  <a:pt x="136" y="174"/>
                </a:cubicBezTo>
                <a:cubicBezTo>
                  <a:pt x="145" y="164"/>
                  <a:pt x="156" y="160"/>
                  <a:pt x="171" y="160"/>
                </a:cubicBezTo>
                <a:cubicBezTo>
                  <a:pt x="267" y="160"/>
                  <a:pt x="267" y="160"/>
                  <a:pt x="267" y="160"/>
                </a:cubicBezTo>
                <a:cubicBezTo>
                  <a:pt x="286" y="160"/>
                  <a:pt x="298" y="172"/>
                  <a:pt x="298" y="192"/>
                </a:cubicBezTo>
                <a:close/>
                <a:moveTo>
                  <a:pt x="320" y="192"/>
                </a:moveTo>
                <a:cubicBezTo>
                  <a:pt x="320" y="266"/>
                  <a:pt x="320" y="266"/>
                  <a:pt x="320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373" y="170"/>
                  <a:pt x="373" y="170"/>
                  <a:pt x="373" y="170"/>
                </a:cubicBezTo>
                <a:cubicBezTo>
                  <a:pt x="316" y="170"/>
                  <a:pt x="316" y="170"/>
                  <a:pt x="316" y="170"/>
                </a:cubicBezTo>
                <a:cubicBezTo>
                  <a:pt x="318" y="177"/>
                  <a:pt x="320" y="184"/>
                  <a:pt x="320" y="19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60"/>
                </a:moveTo>
                <a:cubicBezTo>
                  <a:pt x="394" y="154"/>
                  <a:pt x="390" y="149"/>
                  <a:pt x="384" y="149"/>
                </a:cubicBezTo>
                <a:cubicBezTo>
                  <a:pt x="299" y="149"/>
                  <a:pt x="299" y="149"/>
                  <a:pt x="299" y="149"/>
                </a:cubicBezTo>
                <a:cubicBezTo>
                  <a:pt x="291" y="142"/>
                  <a:pt x="280" y="138"/>
                  <a:pt x="267" y="138"/>
                </a:cubicBezTo>
                <a:cubicBezTo>
                  <a:pt x="171" y="138"/>
                  <a:pt x="171" y="138"/>
                  <a:pt x="171" y="138"/>
                </a:cubicBezTo>
                <a:cubicBezTo>
                  <a:pt x="150" y="138"/>
                  <a:pt x="133" y="145"/>
                  <a:pt x="121" y="160"/>
                </a:cubicBezTo>
                <a:cubicBezTo>
                  <a:pt x="90" y="193"/>
                  <a:pt x="96" y="254"/>
                  <a:pt x="96" y="256"/>
                </a:cubicBezTo>
                <a:cubicBezTo>
                  <a:pt x="96" y="287"/>
                  <a:pt x="129" y="320"/>
                  <a:pt x="160" y="320"/>
                </a:cubicBezTo>
                <a:cubicBezTo>
                  <a:pt x="198" y="320"/>
                  <a:pt x="198" y="320"/>
                  <a:pt x="198" y="320"/>
                </a:cubicBezTo>
                <a:cubicBezTo>
                  <a:pt x="182" y="370"/>
                  <a:pt x="182" y="370"/>
                  <a:pt x="182" y="370"/>
                </a:cubicBezTo>
                <a:cubicBezTo>
                  <a:pt x="176" y="393"/>
                  <a:pt x="195" y="412"/>
                  <a:pt x="195" y="413"/>
                </a:cubicBezTo>
                <a:cubicBezTo>
                  <a:pt x="197" y="415"/>
                  <a:pt x="200" y="416"/>
                  <a:pt x="203" y="416"/>
                </a:cubicBezTo>
                <a:cubicBezTo>
                  <a:pt x="203" y="416"/>
                  <a:pt x="203" y="416"/>
                  <a:pt x="203" y="416"/>
                </a:cubicBezTo>
                <a:cubicBezTo>
                  <a:pt x="206" y="416"/>
                  <a:pt x="209" y="414"/>
                  <a:pt x="211" y="412"/>
                </a:cubicBezTo>
                <a:cubicBezTo>
                  <a:pt x="306" y="302"/>
                  <a:pt x="306" y="302"/>
                  <a:pt x="306" y="302"/>
                </a:cubicBezTo>
                <a:cubicBezTo>
                  <a:pt x="306" y="302"/>
                  <a:pt x="306" y="302"/>
                  <a:pt x="306" y="302"/>
                </a:cubicBezTo>
                <a:cubicBezTo>
                  <a:pt x="306" y="302"/>
                  <a:pt x="306" y="302"/>
                  <a:pt x="306" y="302"/>
                </a:cubicBezTo>
                <a:cubicBezTo>
                  <a:pt x="310" y="298"/>
                  <a:pt x="313" y="293"/>
                  <a:pt x="315" y="288"/>
                </a:cubicBezTo>
                <a:cubicBezTo>
                  <a:pt x="384" y="288"/>
                  <a:pt x="384" y="288"/>
                  <a:pt x="384" y="288"/>
                </a:cubicBezTo>
                <a:cubicBezTo>
                  <a:pt x="390" y="288"/>
                  <a:pt x="394" y="283"/>
                  <a:pt x="394" y="277"/>
                </a:cubicBezTo>
                <a:lnTo>
                  <a:pt x="394" y="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3" name="Group 289"/>
          <p:cNvGrpSpPr>
            <a:grpSpLocks noChangeAspect="1"/>
          </p:cNvGrpSpPr>
          <p:nvPr/>
        </p:nvGrpSpPr>
        <p:grpSpPr bwMode="auto">
          <a:xfrm>
            <a:off x="9895549" y="2051050"/>
            <a:ext cx="367631" cy="367631"/>
            <a:chOff x="399" y="1137"/>
            <a:chExt cx="340" cy="340"/>
          </a:xfrm>
          <a:solidFill>
            <a:schemeClr val="accent4"/>
          </a:solidFill>
        </p:grpSpPr>
        <p:sp>
          <p:nvSpPr>
            <p:cNvPr id="364" name="Freeform 290"/>
            <p:cNvSpPr>
              <a:spLocks noEditPoints="1"/>
            </p:cNvSpPr>
            <p:nvPr/>
          </p:nvSpPr>
          <p:spPr bwMode="auto">
            <a:xfrm>
              <a:off x="459" y="1229"/>
              <a:ext cx="202" cy="184"/>
            </a:xfrm>
            <a:custGeom>
              <a:avLst/>
              <a:gdLst>
                <a:gd name="T0" fmla="*/ 294 w 304"/>
                <a:gd name="T1" fmla="*/ 11 h 278"/>
                <a:gd name="T2" fmla="*/ 209 w 304"/>
                <a:gd name="T3" fmla="*/ 11 h 278"/>
                <a:gd name="T4" fmla="*/ 177 w 304"/>
                <a:gd name="T5" fmla="*/ 0 h 278"/>
                <a:gd name="T6" fmla="*/ 81 w 304"/>
                <a:gd name="T7" fmla="*/ 0 h 278"/>
                <a:gd name="T8" fmla="*/ 31 w 304"/>
                <a:gd name="T9" fmla="*/ 22 h 278"/>
                <a:gd name="T10" fmla="*/ 6 w 304"/>
                <a:gd name="T11" fmla="*/ 118 h 278"/>
                <a:gd name="T12" fmla="*/ 70 w 304"/>
                <a:gd name="T13" fmla="*/ 182 h 278"/>
                <a:gd name="T14" fmla="*/ 108 w 304"/>
                <a:gd name="T15" fmla="*/ 182 h 278"/>
                <a:gd name="T16" fmla="*/ 92 w 304"/>
                <a:gd name="T17" fmla="*/ 232 h 278"/>
                <a:gd name="T18" fmla="*/ 105 w 304"/>
                <a:gd name="T19" fmla="*/ 275 h 278"/>
                <a:gd name="T20" fmla="*/ 113 w 304"/>
                <a:gd name="T21" fmla="*/ 278 h 278"/>
                <a:gd name="T22" fmla="*/ 113 w 304"/>
                <a:gd name="T23" fmla="*/ 278 h 278"/>
                <a:gd name="T24" fmla="*/ 121 w 304"/>
                <a:gd name="T25" fmla="*/ 274 h 278"/>
                <a:gd name="T26" fmla="*/ 216 w 304"/>
                <a:gd name="T27" fmla="*/ 164 h 278"/>
                <a:gd name="T28" fmla="*/ 216 w 304"/>
                <a:gd name="T29" fmla="*/ 164 h 278"/>
                <a:gd name="T30" fmla="*/ 216 w 304"/>
                <a:gd name="T31" fmla="*/ 164 h 278"/>
                <a:gd name="T32" fmla="*/ 225 w 304"/>
                <a:gd name="T33" fmla="*/ 150 h 278"/>
                <a:gd name="T34" fmla="*/ 294 w 304"/>
                <a:gd name="T35" fmla="*/ 150 h 278"/>
                <a:gd name="T36" fmla="*/ 304 w 304"/>
                <a:gd name="T37" fmla="*/ 139 h 278"/>
                <a:gd name="T38" fmla="*/ 304 w 304"/>
                <a:gd name="T39" fmla="*/ 22 h 278"/>
                <a:gd name="T40" fmla="*/ 294 w 304"/>
                <a:gd name="T41" fmla="*/ 11 h 278"/>
                <a:gd name="T42" fmla="*/ 114 w 304"/>
                <a:gd name="T43" fmla="*/ 250 h 278"/>
                <a:gd name="T44" fmla="*/ 112 w 304"/>
                <a:gd name="T45" fmla="*/ 238 h 278"/>
                <a:gd name="T46" fmla="*/ 133 w 304"/>
                <a:gd name="T47" fmla="*/ 174 h 278"/>
                <a:gd name="T48" fmla="*/ 133 w 304"/>
                <a:gd name="T49" fmla="*/ 174 h 278"/>
                <a:gd name="T50" fmla="*/ 134 w 304"/>
                <a:gd name="T51" fmla="*/ 171 h 278"/>
                <a:gd name="T52" fmla="*/ 123 w 304"/>
                <a:gd name="T53" fmla="*/ 160 h 278"/>
                <a:gd name="T54" fmla="*/ 70 w 304"/>
                <a:gd name="T55" fmla="*/ 160 h 278"/>
                <a:gd name="T56" fmla="*/ 27 w 304"/>
                <a:gd name="T57" fmla="*/ 117 h 278"/>
                <a:gd name="T58" fmla="*/ 46 w 304"/>
                <a:gd name="T59" fmla="*/ 36 h 278"/>
                <a:gd name="T60" fmla="*/ 81 w 304"/>
                <a:gd name="T61" fmla="*/ 22 h 278"/>
                <a:gd name="T62" fmla="*/ 177 w 304"/>
                <a:gd name="T63" fmla="*/ 22 h 278"/>
                <a:gd name="T64" fmla="*/ 208 w 304"/>
                <a:gd name="T65" fmla="*/ 54 h 278"/>
                <a:gd name="T66" fmla="*/ 208 w 304"/>
                <a:gd name="T67" fmla="*/ 128 h 278"/>
                <a:gd name="T68" fmla="*/ 200 w 304"/>
                <a:gd name="T69" fmla="*/ 150 h 278"/>
                <a:gd name="T70" fmla="*/ 114 w 304"/>
                <a:gd name="T71" fmla="*/ 250 h 278"/>
                <a:gd name="T72" fmla="*/ 283 w 304"/>
                <a:gd name="T73" fmla="*/ 128 h 278"/>
                <a:gd name="T74" fmla="*/ 230 w 304"/>
                <a:gd name="T75" fmla="*/ 128 h 278"/>
                <a:gd name="T76" fmla="*/ 230 w 304"/>
                <a:gd name="T77" fmla="*/ 128 h 278"/>
                <a:gd name="T78" fmla="*/ 230 w 304"/>
                <a:gd name="T79" fmla="*/ 54 h 278"/>
                <a:gd name="T80" fmla="*/ 226 w 304"/>
                <a:gd name="T81" fmla="*/ 32 h 278"/>
                <a:gd name="T82" fmla="*/ 283 w 304"/>
                <a:gd name="T83" fmla="*/ 32 h 278"/>
                <a:gd name="T84" fmla="*/ 283 w 304"/>
                <a:gd name="T85" fmla="*/ 12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4" h="278">
                  <a:moveTo>
                    <a:pt x="294" y="11"/>
                  </a:moveTo>
                  <a:cubicBezTo>
                    <a:pt x="209" y="11"/>
                    <a:pt x="209" y="11"/>
                    <a:pt x="209" y="11"/>
                  </a:cubicBezTo>
                  <a:cubicBezTo>
                    <a:pt x="201" y="4"/>
                    <a:pt x="190" y="0"/>
                    <a:pt x="177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60" y="0"/>
                    <a:pt x="43" y="7"/>
                    <a:pt x="31" y="22"/>
                  </a:cubicBezTo>
                  <a:cubicBezTo>
                    <a:pt x="0" y="55"/>
                    <a:pt x="6" y="116"/>
                    <a:pt x="6" y="118"/>
                  </a:cubicBezTo>
                  <a:cubicBezTo>
                    <a:pt x="6" y="149"/>
                    <a:pt x="39" y="182"/>
                    <a:pt x="70" y="182"/>
                  </a:cubicBezTo>
                  <a:cubicBezTo>
                    <a:pt x="108" y="182"/>
                    <a:pt x="108" y="182"/>
                    <a:pt x="108" y="182"/>
                  </a:cubicBezTo>
                  <a:cubicBezTo>
                    <a:pt x="92" y="232"/>
                    <a:pt x="92" y="232"/>
                    <a:pt x="92" y="232"/>
                  </a:cubicBezTo>
                  <a:cubicBezTo>
                    <a:pt x="86" y="255"/>
                    <a:pt x="105" y="274"/>
                    <a:pt x="105" y="275"/>
                  </a:cubicBezTo>
                  <a:cubicBezTo>
                    <a:pt x="107" y="277"/>
                    <a:pt x="110" y="278"/>
                    <a:pt x="113" y="278"/>
                  </a:cubicBezTo>
                  <a:cubicBezTo>
                    <a:pt x="113" y="278"/>
                    <a:pt x="113" y="278"/>
                    <a:pt x="113" y="278"/>
                  </a:cubicBezTo>
                  <a:cubicBezTo>
                    <a:pt x="116" y="278"/>
                    <a:pt x="119" y="276"/>
                    <a:pt x="121" y="274"/>
                  </a:cubicBezTo>
                  <a:cubicBezTo>
                    <a:pt x="216" y="164"/>
                    <a:pt x="216" y="164"/>
                    <a:pt x="216" y="164"/>
                  </a:cubicBezTo>
                  <a:cubicBezTo>
                    <a:pt x="216" y="164"/>
                    <a:pt x="216" y="164"/>
                    <a:pt x="216" y="164"/>
                  </a:cubicBezTo>
                  <a:cubicBezTo>
                    <a:pt x="216" y="164"/>
                    <a:pt x="216" y="164"/>
                    <a:pt x="216" y="164"/>
                  </a:cubicBezTo>
                  <a:cubicBezTo>
                    <a:pt x="220" y="160"/>
                    <a:pt x="223" y="155"/>
                    <a:pt x="225" y="150"/>
                  </a:cubicBezTo>
                  <a:cubicBezTo>
                    <a:pt x="294" y="150"/>
                    <a:pt x="294" y="150"/>
                    <a:pt x="294" y="150"/>
                  </a:cubicBezTo>
                  <a:cubicBezTo>
                    <a:pt x="300" y="150"/>
                    <a:pt x="304" y="145"/>
                    <a:pt x="304" y="139"/>
                  </a:cubicBezTo>
                  <a:cubicBezTo>
                    <a:pt x="304" y="22"/>
                    <a:pt x="304" y="22"/>
                    <a:pt x="304" y="22"/>
                  </a:cubicBezTo>
                  <a:cubicBezTo>
                    <a:pt x="304" y="16"/>
                    <a:pt x="300" y="11"/>
                    <a:pt x="294" y="11"/>
                  </a:cubicBezTo>
                  <a:close/>
                  <a:moveTo>
                    <a:pt x="114" y="250"/>
                  </a:moveTo>
                  <a:cubicBezTo>
                    <a:pt x="112" y="246"/>
                    <a:pt x="111" y="242"/>
                    <a:pt x="112" y="238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3"/>
                    <a:pt x="134" y="172"/>
                    <a:pt x="134" y="171"/>
                  </a:cubicBezTo>
                  <a:cubicBezTo>
                    <a:pt x="134" y="165"/>
                    <a:pt x="129" y="160"/>
                    <a:pt x="123" y="160"/>
                  </a:cubicBezTo>
                  <a:cubicBezTo>
                    <a:pt x="70" y="160"/>
                    <a:pt x="70" y="160"/>
                    <a:pt x="70" y="160"/>
                  </a:cubicBezTo>
                  <a:cubicBezTo>
                    <a:pt x="51" y="160"/>
                    <a:pt x="28" y="137"/>
                    <a:pt x="27" y="117"/>
                  </a:cubicBezTo>
                  <a:cubicBezTo>
                    <a:pt x="27" y="116"/>
                    <a:pt x="22" y="62"/>
                    <a:pt x="46" y="36"/>
                  </a:cubicBezTo>
                  <a:cubicBezTo>
                    <a:pt x="55" y="26"/>
                    <a:pt x="66" y="22"/>
                    <a:pt x="81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96" y="22"/>
                    <a:pt x="208" y="34"/>
                    <a:pt x="208" y="54"/>
                  </a:cubicBezTo>
                  <a:cubicBezTo>
                    <a:pt x="208" y="128"/>
                    <a:pt x="208" y="128"/>
                    <a:pt x="208" y="128"/>
                  </a:cubicBezTo>
                  <a:cubicBezTo>
                    <a:pt x="208" y="136"/>
                    <a:pt x="205" y="144"/>
                    <a:pt x="200" y="150"/>
                  </a:cubicBezTo>
                  <a:lnTo>
                    <a:pt x="114" y="250"/>
                  </a:lnTo>
                  <a:close/>
                  <a:moveTo>
                    <a:pt x="283" y="128"/>
                  </a:moveTo>
                  <a:cubicBezTo>
                    <a:pt x="230" y="128"/>
                    <a:pt x="230" y="128"/>
                    <a:pt x="230" y="128"/>
                  </a:cubicBezTo>
                  <a:cubicBezTo>
                    <a:pt x="230" y="128"/>
                    <a:pt x="230" y="128"/>
                    <a:pt x="230" y="128"/>
                  </a:cubicBezTo>
                  <a:cubicBezTo>
                    <a:pt x="230" y="54"/>
                    <a:pt x="230" y="54"/>
                    <a:pt x="230" y="54"/>
                  </a:cubicBezTo>
                  <a:cubicBezTo>
                    <a:pt x="230" y="46"/>
                    <a:pt x="228" y="39"/>
                    <a:pt x="226" y="32"/>
                  </a:cubicBezTo>
                  <a:cubicBezTo>
                    <a:pt x="283" y="32"/>
                    <a:pt x="283" y="32"/>
                    <a:pt x="283" y="32"/>
                  </a:cubicBezTo>
                  <a:lnTo>
                    <a:pt x="283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Freeform 291"/>
            <p:cNvSpPr>
              <a:spLocks noEditPoints="1"/>
            </p:cNvSpPr>
            <p:nvPr/>
          </p:nvSpPr>
          <p:spPr bwMode="auto">
            <a:xfrm>
              <a:off x="399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6" name="Freeform 867"/>
          <p:cNvSpPr>
            <a:spLocks noChangeAspect="1" noEditPoints="1"/>
          </p:cNvSpPr>
          <p:nvPr/>
        </p:nvSpPr>
        <p:spPr bwMode="auto">
          <a:xfrm>
            <a:off x="4424737" y="2909488"/>
            <a:ext cx="368713" cy="368713"/>
          </a:xfrm>
          <a:custGeom>
            <a:avLst/>
            <a:gdLst>
              <a:gd name="T0" fmla="*/ 138 w 512"/>
              <a:gd name="T1" fmla="*/ 138 h 512"/>
              <a:gd name="T2" fmla="*/ 373 w 512"/>
              <a:gd name="T3" fmla="*/ 138 h 512"/>
              <a:gd name="T4" fmla="*/ 373 w 512"/>
              <a:gd name="T5" fmla="*/ 309 h 512"/>
              <a:gd name="T6" fmla="*/ 138 w 512"/>
              <a:gd name="T7" fmla="*/ 309 h 512"/>
              <a:gd name="T8" fmla="*/ 138 w 512"/>
              <a:gd name="T9" fmla="*/ 138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94 w 512"/>
              <a:gd name="T21" fmla="*/ 128 h 512"/>
              <a:gd name="T22" fmla="*/ 384 w 512"/>
              <a:gd name="T23" fmla="*/ 117 h 512"/>
              <a:gd name="T24" fmla="*/ 266 w 512"/>
              <a:gd name="T25" fmla="*/ 117 h 512"/>
              <a:gd name="T26" fmla="*/ 256 w 512"/>
              <a:gd name="T27" fmla="*/ 106 h 512"/>
              <a:gd name="T28" fmla="*/ 245 w 512"/>
              <a:gd name="T29" fmla="*/ 117 h 512"/>
              <a:gd name="T30" fmla="*/ 128 w 512"/>
              <a:gd name="T31" fmla="*/ 117 h 512"/>
              <a:gd name="T32" fmla="*/ 117 w 512"/>
              <a:gd name="T33" fmla="*/ 128 h 512"/>
              <a:gd name="T34" fmla="*/ 117 w 512"/>
              <a:gd name="T35" fmla="*/ 320 h 512"/>
              <a:gd name="T36" fmla="*/ 128 w 512"/>
              <a:gd name="T37" fmla="*/ 330 h 512"/>
              <a:gd name="T38" fmla="*/ 198 w 512"/>
              <a:gd name="T39" fmla="*/ 330 h 512"/>
              <a:gd name="T40" fmla="*/ 171 w 512"/>
              <a:gd name="T41" fmla="*/ 401 h 512"/>
              <a:gd name="T42" fmla="*/ 177 w 512"/>
              <a:gd name="T43" fmla="*/ 415 h 512"/>
              <a:gd name="T44" fmla="*/ 181 w 512"/>
              <a:gd name="T45" fmla="*/ 416 h 512"/>
              <a:gd name="T46" fmla="*/ 191 w 512"/>
              <a:gd name="T47" fmla="*/ 409 h 512"/>
              <a:gd name="T48" fmla="*/ 220 w 512"/>
              <a:gd name="T49" fmla="*/ 330 h 512"/>
              <a:gd name="T50" fmla="*/ 245 w 512"/>
              <a:gd name="T51" fmla="*/ 330 h 512"/>
              <a:gd name="T52" fmla="*/ 245 w 512"/>
              <a:gd name="T53" fmla="*/ 373 h 512"/>
              <a:gd name="T54" fmla="*/ 256 w 512"/>
              <a:gd name="T55" fmla="*/ 384 h 512"/>
              <a:gd name="T56" fmla="*/ 266 w 512"/>
              <a:gd name="T57" fmla="*/ 373 h 512"/>
              <a:gd name="T58" fmla="*/ 266 w 512"/>
              <a:gd name="T59" fmla="*/ 330 h 512"/>
              <a:gd name="T60" fmla="*/ 291 w 512"/>
              <a:gd name="T61" fmla="*/ 330 h 512"/>
              <a:gd name="T62" fmla="*/ 320 w 512"/>
              <a:gd name="T63" fmla="*/ 409 h 512"/>
              <a:gd name="T64" fmla="*/ 330 w 512"/>
              <a:gd name="T65" fmla="*/ 416 h 512"/>
              <a:gd name="T66" fmla="*/ 334 w 512"/>
              <a:gd name="T67" fmla="*/ 415 h 512"/>
              <a:gd name="T68" fmla="*/ 340 w 512"/>
              <a:gd name="T69" fmla="*/ 401 h 512"/>
              <a:gd name="T70" fmla="*/ 314 w 512"/>
              <a:gd name="T71" fmla="*/ 330 h 512"/>
              <a:gd name="T72" fmla="*/ 384 w 512"/>
              <a:gd name="T73" fmla="*/ 330 h 512"/>
              <a:gd name="T74" fmla="*/ 394 w 512"/>
              <a:gd name="T75" fmla="*/ 320 h 512"/>
              <a:gd name="T76" fmla="*/ 394 w 512"/>
              <a:gd name="T7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138" y="138"/>
                </a:moveTo>
                <a:cubicBezTo>
                  <a:pt x="373" y="138"/>
                  <a:pt x="373" y="138"/>
                  <a:pt x="373" y="138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138" y="309"/>
                  <a:pt x="138" y="309"/>
                  <a:pt x="138" y="309"/>
                </a:cubicBezTo>
                <a:lnTo>
                  <a:pt x="138" y="13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11"/>
                  <a:pt x="262" y="106"/>
                  <a:pt x="256" y="106"/>
                </a:cubicBezTo>
                <a:cubicBezTo>
                  <a:pt x="250" y="106"/>
                  <a:pt x="245" y="111"/>
                  <a:pt x="245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326"/>
                  <a:pt x="122" y="330"/>
                  <a:pt x="128" y="330"/>
                </a:cubicBezTo>
                <a:cubicBezTo>
                  <a:pt x="198" y="330"/>
                  <a:pt x="198" y="330"/>
                  <a:pt x="198" y="330"/>
                </a:cubicBezTo>
                <a:cubicBezTo>
                  <a:pt x="171" y="401"/>
                  <a:pt x="171" y="401"/>
                  <a:pt x="171" y="401"/>
                </a:cubicBezTo>
                <a:cubicBezTo>
                  <a:pt x="169" y="407"/>
                  <a:pt x="172" y="413"/>
                  <a:pt x="177" y="415"/>
                </a:cubicBezTo>
                <a:cubicBezTo>
                  <a:pt x="178" y="415"/>
                  <a:pt x="180" y="416"/>
                  <a:pt x="181" y="416"/>
                </a:cubicBezTo>
                <a:cubicBezTo>
                  <a:pt x="185" y="416"/>
                  <a:pt x="189" y="413"/>
                  <a:pt x="191" y="409"/>
                </a:cubicBezTo>
                <a:cubicBezTo>
                  <a:pt x="220" y="330"/>
                  <a:pt x="220" y="330"/>
                  <a:pt x="220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379"/>
                  <a:pt x="250" y="384"/>
                  <a:pt x="256" y="384"/>
                </a:cubicBezTo>
                <a:cubicBezTo>
                  <a:pt x="262" y="384"/>
                  <a:pt x="266" y="379"/>
                  <a:pt x="266" y="373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91" y="330"/>
                  <a:pt x="291" y="330"/>
                  <a:pt x="291" y="330"/>
                </a:cubicBezTo>
                <a:cubicBezTo>
                  <a:pt x="320" y="409"/>
                  <a:pt x="320" y="409"/>
                  <a:pt x="320" y="409"/>
                </a:cubicBezTo>
                <a:cubicBezTo>
                  <a:pt x="322" y="413"/>
                  <a:pt x="326" y="416"/>
                  <a:pt x="330" y="416"/>
                </a:cubicBezTo>
                <a:cubicBezTo>
                  <a:pt x="332" y="416"/>
                  <a:pt x="333" y="415"/>
                  <a:pt x="334" y="415"/>
                </a:cubicBezTo>
                <a:cubicBezTo>
                  <a:pt x="340" y="413"/>
                  <a:pt x="342" y="407"/>
                  <a:pt x="340" y="401"/>
                </a:cubicBezTo>
                <a:cubicBezTo>
                  <a:pt x="314" y="330"/>
                  <a:pt x="314" y="330"/>
                  <a:pt x="314" y="330"/>
                </a:cubicBezTo>
                <a:cubicBezTo>
                  <a:pt x="384" y="330"/>
                  <a:pt x="384" y="330"/>
                  <a:pt x="384" y="330"/>
                </a:cubicBezTo>
                <a:cubicBezTo>
                  <a:pt x="390" y="330"/>
                  <a:pt x="394" y="326"/>
                  <a:pt x="394" y="320"/>
                </a:cubicBezTo>
                <a:lnTo>
                  <a:pt x="394" y="1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7" name="Group 870"/>
          <p:cNvGrpSpPr>
            <a:grpSpLocks noChangeAspect="1"/>
          </p:cNvGrpSpPr>
          <p:nvPr/>
        </p:nvGrpSpPr>
        <p:grpSpPr bwMode="auto">
          <a:xfrm>
            <a:off x="4921775" y="2909488"/>
            <a:ext cx="368713" cy="367631"/>
            <a:chOff x="6610" y="3178"/>
            <a:chExt cx="341" cy="340"/>
          </a:xfrm>
          <a:solidFill>
            <a:schemeClr val="accent3"/>
          </a:solidFill>
        </p:grpSpPr>
        <p:sp>
          <p:nvSpPr>
            <p:cNvPr id="368" name="Freeform 871"/>
            <p:cNvSpPr>
              <a:spLocks noEditPoints="1"/>
            </p:cNvSpPr>
            <p:nvPr/>
          </p:nvSpPr>
          <p:spPr bwMode="auto">
            <a:xfrm>
              <a:off x="6610" y="317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9" name="Freeform 872"/>
            <p:cNvSpPr>
              <a:spLocks noEditPoints="1"/>
            </p:cNvSpPr>
            <p:nvPr/>
          </p:nvSpPr>
          <p:spPr bwMode="auto">
            <a:xfrm>
              <a:off x="6688" y="3248"/>
              <a:ext cx="184" cy="206"/>
            </a:xfrm>
            <a:custGeom>
              <a:avLst/>
              <a:gdLst>
                <a:gd name="T0" fmla="*/ 267 w 277"/>
                <a:gd name="T1" fmla="*/ 11 h 310"/>
                <a:gd name="T2" fmla="*/ 149 w 277"/>
                <a:gd name="T3" fmla="*/ 11 h 310"/>
                <a:gd name="T4" fmla="*/ 139 w 277"/>
                <a:gd name="T5" fmla="*/ 0 h 310"/>
                <a:gd name="T6" fmla="*/ 128 w 277"/>
                <a:gd name="T7" fmla="*/ 11 h 310"/>
                <a:gd name="T8" fmla="*/ 11 w 277"/>
                <a:gd name="T9" fmla="*/ 11 h 310"/>
                <a:gd name="T10" fmla="*/ 0 w 277"/>
                <a:gd name="T11" fmla="*/ 22 h 310"/>
                <a:gd name="T12" fmla="*/ 0 w 277"/>
                <a:gd name="T13" fmla="*/ 214 h 310"/>
                <a:gd name="T14" fmla="*/ 11 w 277"/>
                <a:gd name="T15" fmla="*/ 224 h 310"/>
                <a:gd name="T16" fmla="*/ 81 w 277"/>
                <a:gd name="T17" fmla="*/ 224 h 310"/>
                <a:gd name="T18" fmla="*/ 54 w 277"/>
                <a:gd name="T19" fmla="*/ 295 h 310"/>
                <a:gd name="T20" fmla="*/ 60 w 277"/>
                <a:gd name="T21" fmla="*/ 309 h 310"/>
                <a:gd name="T22" fmla="*/ 64 w 277"/>
                <a:gd name="T23" fmla="*/ 310 h 310"/>
                <a:gd name="T24" fmla="*/ 74 w 277"/>
                <a:gd name="T25" fmla="*/ 303 h 310"/>
                <a:gd name="T26" fmla="*/ 103 w 277"/>
                <a:gd name="T27" fmla="*/ 224 h 310"/>
                <a:gd name="T28" fmla="*/ 128 w 277"/>
                <a:gd name="T29" fmla="*/ 224 h 310"/>
                <a:gd name="T30" fmla="*/ 128 w 277"/>
                <a:gd name="T31" fmla="*/ 267 h 310"/>
                <a:gd name="T32" fmla="*/ 139 w 277"/>
                <a:gd name="T33" fmla="*/ 278 h 310"/>
                <a:gd name="T34" fmla="*/ 149 w 277"/>
                <a:gd name="T35" fmla="*/ 267 h 310"/>
                <a:gd name="T36" fmla="*/ 149 w 277"/>
                <a:gd name="T37" fmla="*/ 224 h 310"/>
                <a:gd name="T38" fmla="*/ 174 w 277"/>
                <a:gd name="T39" fmla="*/ 224 h 310"/>
                <a:gd name="T40" fmla="*/ 203 w 277"/>
                <a:gd name="T41" fmla="*/ 303 h 310"/>
                <a:gd name="T42" fmla="*/ 213 w 277"/>
                <a:gd name="T43" fmla="*/ 310 h 310"/>
                <a:gd name="T44" fmla="*/ 217 w 277"/>
                <a:gd name="T45" fmla="*/ 309 h 310"/>
                <a:gd name="T46" fmla="*/ 223 w 277"/>
                <a:gd name="T47" fmla="*/ 295 h 310"/>
                <a:gd name="T48" fmla="*/ 197 w 277"/>
                <a:gd name="T49" fmla="*/ 224 h 310"/>
                <a:gd name="T50" fmla="*/ 267 w 277"/>
                <a:gd name="T51" fmla="*/ 224 h 310"/>
                <a:gd name="T52" fmla="*/ 277 w 277"/>
                <a:gd name="T53" fmla="*/ 214 h 310"/>
                <a:gd name="T54" fmla="*/ 277 w 277"/>
                <a:gd name="T55" fmla="*/ 22 h 310"/>
                <a:gd name="T56" fmla="*/ 267 w 277"/>
                <a:gd name="T57" fmla="*/ 11 h 310"/>
                <a:gd name="T58" fmla="*/ 256 w 277"/>
                <a:gd name="T59" fmla="*/ 203 h 310"/>
                <a:gd name="T60" fmla="*/ 21 w 277"/>
                <a:gd name="T61" fmla="*/ 203 h 310"/>
                <a:gd name="T62" fmla="*/ 21 w 277"/>
                <a:gd name="T63" fmla="*/ 32 h 310"/>
                <a:gd name="T64" fmla="*/ 256 w 277"/>
                <a:gd name="T65" fmla="*/ 32 h 310"/>
                <a:gd name="T66" fmla="*/ 256 w 277"/>
                <a:gd name="T67" fmla="*/ 20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310">
                  <a:moveTo>
                    <a:pt x="267" y="11"/>
                  </a:move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ubicBezTo>
                    <a:pt x="133" y="0"/>
                    <a:pt x="128" y="5"/>
                    <a:pt x="128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5" y="11"/>
                    <a:pt x="0" y="16"/>
                    <a:pt x="0" y="2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20"/>
                    <a:pt x="5" y="224"/>
                    <a:pt x="11" y="224"/>
                  </a:cubicBezTo>
                  <a:cubicBezTo>
                    <a:pt x="81" y="224"/>
                    <a:pt x="81" y="224"/>
                    <a:pt x="81" y="224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52" y="301"/>
                    <a:pt x="55" y="307"/>
                    <a:pt x="60" y="309"/>
                  </a:cubicBezTo>
                  <a:cubicBezTo>
                    <a:pt x="61" y="309"/>
                    <a:pt x="63" y="310"/>
                    <a:pt x="64" y="310"/>
                  </a:cubicBezTo>
                  <a:cubicBezTo>
                    <a:pt x="68" y="310"/>
                    <a:pt x="72" y="307"/>
                    <a:pt x="74" y="303"/>
                  </a:cubicBezTo>
                  <a:cubicBezTo>
                    <a:pt x="103" y="224"/>
                    <a:pt x="103" y="224"/>
                    <a:pt x="103" y="224"/>
                  </a:cubicBezTo>
                  <a:cubicBezTo>
                    <a:pt x="128" y="224"/>
                    <a:pt x="128" y="224"/>
                    <a:pt x="128" y="224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73"/>
                    <a:pt x="133" y="278"/>
                    <a:pt x="139" y="278"/>
                  </a:cubicBezTo>
                  <a:cubicBezTo>
                    <a:pt x="145" y="278"/>
                    <a:pt x="149" y="273"/>
                    <a:pt x="149" y="267"/>
                  </a:cubicBezTo>
                  <a:cubicBezTo>
                    <a:pt x="149" y="224"/>
                    <a:pt x="149" y="224"/>
                    <a:pt x="149" y="224"/>
                  </a:cubicBezTo>
                  <a:cubicBezTo>
                    <a:pt x="174" y="224"/>
                    <a:pt x="174" y="224"/>
                    <a:pt x="174" y="224"/>
                  </a:cubicBezTo>
                  <a:cubicBezTo>
                    <a:pt x="203" y="303"/>
                    <a:pt x="203" y="303"/>
                    <a:pt x="203" y="303"/>
                  </a:cubicBezTo>
                  <a:cubicBezTo>
                    <a:pt x="205" y="307"/>
                    <a:pt x="209" y="310"/>
                    <a:pt x="213" y="310"/>
                  </a:cubicBezTo>
                  <a:cubicBezTo>
                    <a:pt x="215" y="310"/>
                    <a:pt x="216" y="309"/>
                    <a:pt x="217" y="309"/>
                  </a:cubicBezTo>
                  <a:cubicBezTo>
                    <a:pt x="223" y="307"/>
                    <a:pt x="225" y="301"/>
                    <a:pt x="223" y="295"/>
                  </a:cubicBezTo>
                  <a:cubicBezTo>
                    <a:pt x="197" y="224"/>
                    <a:pt x="197" y="224"/>
                    <a:pt x="197" y="224"/>
                  </a:cubicBezTo>
                  <a:cubicBezTo>
                    <a:pt x="267" y="224"/>
                    <a:pt x="267" y="224"/>
                    <a:pt x="267" y="224"/>
                  </a:cubicBezTo>
                  <a:cubicBezTo>
                    <a:pt x="273" y="224"/>
                    <a:pt x="277" y="220"/>
                    <a:pt x="277" y="214"/>
                  </a:cubicBezTo>
                  <a:cubicBezTo>
                    <a:pt x="277" y="22"/>
                    <a:pt x="277" y="22"/>
                    <a:pt x="277" y="22"/>
                  </a:cubicBezTo>
                  <a:cubicBezTo>
                    <a:pt x="277" y="16"/>
                    <a:pt x="273" y="11"/>
                    <a:pt x="267" y="11"/>
                  </a:cubicBezTo>
                  <a:close/>
                  <a:moveTo>
                    <a:pt x="256" y="203"/>
                  </a:moveTo>
                  <a:cubicBezTo>
                    <a:pt x="21" y="203"/>
                    <a:pt x="21" y="203"/>
                    <a:pt x="21" y="203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56" y="32"/>
                    <a:pt x="256" y="32"/>
                    <a:pt x="256" y="32"/>
                  </a:cubicBezTo>
                  <a:lnTo>
                    <a:pt x="256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0" name="Freeform 976"/>
          <p:cNvSpPr>
            <a:spLocks noChangeAspect="1" noEditPoints="1"/>
          </p:cNvSpPr>
          <p:nvPr/>
        </p:nvSpPr>
        <p:spPr bwMode="auto">
          <a:xfrm>
            <a:off x="5418813" y="2909488"/>
            <a:ext cx="367632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73 h 512"/>
              <a:gd name="T12" fmla="*/ 128 w 512"/>
              <a:gd name="T13" fmla="*/ 373 h 512"/>
              <a:gd name="T14" fmla="*/ 117 w 512"/>
              <a:gd name="T15" fmla="*/ 362 h 512"/>
              <a:gd name="T16" fmla="*/ 128 w 512"/>
              <a:gd name="T17" fmla="*/ 352 h 512"/>
              <a:gd name="T18" fmla="*/ 256 w 512"/>
              <a:gd name="T19" fmla="*/ 352 h 512"/>
              <a:gd name="T20" fmla="*/ 266 w 512"/>
              <a:gd name="T21" fmla="*/ 362 h 512"/>
              <a:gd name="T22" fmla="*/ 256 w 512"/>
              <a:gd name="T23" fmla="*/ 373 h 512"/>
              <a:gd name="T24" fmla="*/ 391 w 512"/>
              <a:gd name="T25" fmla="*/ 370 h 512"/>
              <a:gd name="T26" fmla="*/ 384 w 512"/>
              <a:gd name="T27" fmla="*/ 373 h 512"/>
              <a:gd name="T28" fmla="*/ 376 w 512"/>
              <a:gd name="T29" fmla="*/ 370 h 512"/>
              <a:gd name="T30" fmla="*/ 279 w 512"/>
              <a:gd name="T31" fmla="*/ 272 h 512"/>
              <a:gd name="T32" fmla="*/ 242 w 512"/>
              <a:gd name="T33" fmla="*/ 310 h 512"/>
              <a:gd name="T34" fmla="*/ 242 w 512"/>
              <a:gd name="T35" fmla="*/ 310 h 512"/>
              <a:gd name="T36" fmla="*/ 242 w 512"/>
              <a:gd name="T37" fmla="*/ 325 h 512"/>
              <a:gd name="T38" fmla="*/ 234 w 512"/>
              <a:gd name="T39" fmla="*/ 328 h 512"/>
              <a:gd name="T40" fmla="*/ 227 w 512"/>
              <a:gd name="T41" fmla="*/ 325 h 512"/>
              <a:gd name="T42" fmla="*/ 151 w 512"/>
              <a:gd name="T43" fmla="*/ 250 h 512"/>
              <a:gd name="T44" fmla="*/ 151 w 512"/>
              <a:gd name="T45" fmla="*/ 235 h 512"/>
              <a:gd name="T46" fmla="*/ 166 w 512"/>
              <a:gd name="T47" fmla="*/ 235 h 512"/>
              <a:gd name="T48" fmla="*/ 257 w 512"/>
              <a:gd name="T49" fmla="*/ 144 h 512"/>
              <a:gd name="T50" fmla="*/ 257 w 512"/>
              <a:gd name="T51" fmla="*/ 129 h 512"/>
              <a:gd name="T52" fmla="*/ 272 w 512"/>
              <a:gd name="T53" fmla="*/ 129 h 512"/>
              <a:gd name="T54" fmla="*/ 347 w 512"/>
              <a:gd name="T55" fmla="*/ 204 h 512"/>
              <a:gd name="T56" fmla="*/ 347 w 512"/>
              <a:gd name="T57" fmla="*/ 220 h 512"/>
              <a:gd name="T58" fmla="*/ 340 w 512"/>
              <a:gd name="T59" fmla="*/ 223 h 512"/>
              <a:gd name="T60" fmla="*/ 332 w 512"/>
              <a:gd name="T61" fmla="*/ 220 h 512"/>
              <a:gd name="T62" fmla="*/ 295 w 512"/>
              <a:gd name="T63" fmla="*/ 257 h 512"/>
              <a:gd name="T64" fmla="*/ 295 w 512"/>
              <a:gd name="T65" fmla="*/ 257 h 512"/>
              <a:gd name="T66" fmla="*/ 391 w 512"/>
              <a:gd name="T67" fmla="*/ 355 h 512"/>
              <a:gd name="T68" fmla="*/ 391 w 512"/>
              <a:gd name="T69" fmla="*/ 370 h 512"/>
              <a:gd name="T70" fmla="*/ 317 w 512"/>
              <a:gd name="T71" fmla="*/ 204 h 512"/>
              <a:gd name="T72" fmla="*/ 227 w 512"/>
              <a:gd name="T73" fmla="*/ 295 h 512"/>
              <a:gd name="T74" fmla="*/ 181 w 512"/>
              <a:gd name="T75" fmla="*/ 250 h 512"/>
              <a:gd name="T76" fmla="*/ 272 w 512"/>
              <a:gd name="T77" fmla="*/ 159 h 512"/>
              <a:gd name="T78" fmla="*/ 317 w 512"/>
              <a:gd name="T79" fmla="*/ 20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73"/>
                </a:moveTo>
                <a:cubicBezTo>
                  <a:pt x="128" y="373"/>
                  <a:pt x="128" y="373"/>
                  <a:pt x="128" y="373"/>
                </a:cubicBezTo>
                <a:cubicBezTo>
                  <a:pt x="122" y="373"/>
                  <a:pt x="117" y="368"/>
                  <a:pt x="117" y="362"/>
                </a:cubicBezTo>
                <a:cubicBezTo>
                  <a:pt x="117" y="356"/>
                  <a:pt x="122" y="352"/>
                  <a:pt x="128" y="352"/>
                </a:cubicBez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lose/>
                <a:moveTo>
                  <a:pt x="391" y="370"/>
                </a:moveTo>
                <a:cubicBezTo>
                  <a:pt x="389" y="372"/>
                  <a:pt x="386" y="373"/>
                  <a:pt x="384" y="373"/>
                </a:cubicBezTo>
                <a:cubicBezTo>
                  <a:pt x="381" y="373"/>
                  <a:pt x="378" y="372"/>
                  <a:pt x="376" y="370"/>
                </a:cubicBezTo>
                <a:cubicBezTo>
                  <a:pt x="279" y="272"/>
                  <a:pt x="279" y="272"/>
                  <a:pt x="279" y="272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6" y="314"/>
                  <a:pt x="246" y="321"/>
                  <a:pt x="242" y="325"/>
                </a:cubicBezTo>
                <a:cubicBezTo>
                  <a:pt x="240" y="327"/>
                  <a:pt x="237" y="328"/>
                  <a:pt x="234" y="328"/>
                </a:cubicBezTo>
                <a:cubicBezTo>
                  <a:pt x="231" y="328"/>
                  <a:pt x="229" y="327"/>
                  <a:pt x="227" y="325"/>
                </a:cubicBezTo>
                <a:cubicBezTo>
                  <a:pt x="151" y="250"/>
                  <a:pt x="151" y="250"/>
                  <a:pt x="151" y="250"/>
                </a:cubicBezTo>
                <a:cubicBezTo>
                  <a:pt x="147" y="246"/>
                  <a:pt x="147" y="239"/>
                  <a:pt x="151" y="235"/>
                </a:cubicBezTo>
                <a:cubicBezTo>
                  <a:pt x="155" y="230"/>
                  <a:pt x="162" y="230"/>
                  <a:pt x="166" y="235"/>
                </a:cubicBezTo>
                <a:cubicBezTo>
                  <a:pt x="257" y="144"/>
                  <a:pt x="257" y="144"/>
                  <a:pt x="257" y="144"/>
                </a:cubicBezTo>
                <a:cubicBezTo>
                  <a:pt x="253" y="140"/>
                  <a:pt x="253" y="133"/>
                  <a:pt x="257" y="129"/>
                </a:cubicBezTo>
                <a:cubicBezTo>
                  <a:pt x="261" y="125"/>
                  <a:pt x="268" y="125"/>
                  <a:pt x="272" y="129"/>
                </a:cubicBezTo>
                <a:cubicBezTo>
                  <a:pt x="347" y="204"/>
                  <a:pt x="347" y="204"/>
                  <a:pt x="347" y="204"/>
                </a:cubicBezTo>
                <a:cubicBezTo>
                  <a:pt x="352" y="209"/>
                  <a:pt x="352" y="215"/>
                  <a:pt x="347" y="220"/>
                </a:cubicBezTo>
                <a:cubicBezTo>
                  <a:pt x="345" y="222"/>
                  <a:pt x="343" y="223"/>
                  <a:pt x="340" y="223"/>
                </a:cubicBezTo>
                <a:cubicBezTo>
                  <a:pt x="337" y="223"/>
                  <a:pt x="334" y="222"/>
                  <a:pt x="332" y="220"/>
                </a:cubicBezTo>
                <a:cubicBezTo>
                  <a:pt x="295" y="257"/>
                  <a:pt x="295" y="257"/>
                  <a:pt x="295" y="257"/>
                </a:cubicBezTo>
                <a:cubicBezTo>
                  <a:pt x="295" y="257"/>
                  <a:pt x="295" y="257"/>
                  <a:pt x="295" y="257"/>
                </a:cubicBezTo>
                <a:cubicBezTo>
                  <a:pt x="391" y="355"/>
                  <a:pt x="391" y="355"/>
                  <a:pt x="391" y="355"/>
                </a:cubicBezTo>
                <a:cubicBezTo>
                  <a:pt x="395" y="359"/>
                  <a:pt x="395" y="366"/>
                  <a:pt x="391" y="370"/>
                </a:cubicBezTo>
                <a:close/>
                <a:moveTo>
                  <a:pt x="317" y="204"/>
                </a:moveTo>
                <a:cubicBezTo>
                  <a:pt x="227" y="295"/>
                  <a:pt x="227" y="295"/>
                  <a:pt x="227" y="295"/>
                </a:cubicBezTo>
                <a:cubicBezTo>
                  <a:pt x="181" y="250"/>
                  <a:pt x="181" y="250"/>
                  <a:pt x="181" y="250"/>
                </a:cubicBezTo>
                <a:cubicBezTo>
                  <a:pt x="272" y="159"/>
                  <a:pt x="272" y="159"/>
                  <a:pt x="272" y="159"/>
                </a:cubicBezTo>
                <a:lnTo>
                  <a:pt x="317" y="20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1" name="Group 979"/>
          <p:cNvGrpSpPr>
            <a:grpSpLocks noChangeAspect="1"/>
          </p:cNvGrpSpPr>
          <p:nvPr/>
        </p:nvGrpSpPr>
        <p:grpSpPr bwMode="auto">
          <a:xfrm>
            <a:off x="5914770" y="2909485"/>
            <a:ext cx="367631" cy="368712"/>
            <a:chOff x="2032" y="4237"/>
            <a:chExt cx="340" cy="341"/>
          </a:xfrm>
          <a:solidFill>
            <a:schemeClr val="accent5"/>
          </a:solidFill>
        </p:grpSpPr>
        <p:sp>
          <p:nvSpPr>
            <p:cNvPr id="372" name="Freeform 980"/>
            <p:cNvSpPr>
              <a:spLocks noEditPoints="1"/>
            </p:cNvSpPr>
            <p:nvPr/>
          </p:nvSpPr>
          <p:spPr bwMode="auto">
            <a:xfrm>
              <a:off x="2032" y="423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3" name="Freeform 981"/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4" name="Freeform 982"/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5" name="Freeform 73"/>
          <p:cNvSpPr>
            <a:spLocks noChangeAspect="1" noEditPoints="1"/>
          </p:cNvSpPr>
          <p:nvPr/>
        </p:nvSpPr>
        <p:spPr bwMode="auto">
          <a:xfrm>
            <a:off x="5411629" y="3749675"/>
            <a:ext cx="368254" cy="368152"/>
          </a:xfrm>
          <a:custGeom>
            <a:avLst/>
            <a:gdLst>
              <a:gd name="T0" fmla="*/ 138 w 512"/>
              <a:gd name="T1" fmla="*/ 373 h 512"/>
              <a:gd name="T2" fmla="*/ 373 w 512"/>
              <a:gd name="T3" fmla="*/ 373 h 512"/>
              <a:gd name="T4" fmla="*/ 373 w 512"/>
              <a:gd name="T5" fmla="*/ 202 h 512"/>
              <a:gd name="T6" fmla="*/ 138 w 512"/>
              <a:gd name="T7" fmla="*/ 202 h 512"/>
              <a:gd name="T8" fmla="*/ 138 w 512"/>
              <a:gd name="T9" fmla="*/ 373 h 512"/>
              <a:gd name="T10" fmla="*/ 224 w 512"/>
              <a:gd name="T11" fmla="*/ 234 h 512"/>
              <a:gd name="T12" fmla="*/ 288 w 512"/>
              <a:gd name="T13" fmla="*/ 234 h 512"/>
              <a:gd name="T14" fmla="*/ 298 w 512"/>
              <a:gd name="T15" fmla="*/ 245 h 512"/>
              <a:gd name="T16" fmla="*/ 288 w 512"/>
              <a:gd name="T17" fmla="*/ 256 h 512"/>
              <a:gd name="T18" fmla="*/ 224 w 512"/>
              <a:gd name="T19" fmla="*/ 256 h 512"/>
              <a:gd name="T20" fmla="*/ 213 w 512"/>
              <a:gd name="T21" fmla="*/ 245 h 512"/>
              <a:gd name="T22" fmla="*/ 224 w 512"/>
              <a:gd name="T23" fmla="*/ 234 h 512"/>
              <a:gd name="T24" fmla="*/ 117 w 512"/>
              <a:gd name="T25" fmla="*/ 160 h 512"/>
              <a:gd name="T26" fmla="*/ 394 w 512"/>
              <a:gd name="T27" fmla="*/ 160 h 512"/>
              <a:gd name="T28" fmla="*/ 394 w 512"/>
              <a:gd name="T29" fmla="*/ 181 h 512"/>
              <a:gd name="T30" fmla="*/ 117 w 512"/>
              <a:gd name="T31" fmla="*/ 181 h 512"/>
              <a:gd name="T32" fmla="*/ 117 w 512"/>
              <a:gd name="T33" fmla="*/ 160 h 512"/>
              <a:gd name="T34" fmla="*/ 256 w 512"/>
              <a:gd name="T35" fmla="*/ 0 h 512"/>
              <a:gd name="T36" fmla="*/ 0 w 512"/>
              <a:gd name="T37" fmla="*/ 256 h 512"/>
              <a:gd name="T38" fmla="*/ 256 w 512"/>
              <a:gd name="T39" fmla="*/ 512 h 512"/>
              <a:gd name="T40" fmla="*/ 512 w 512"/>
              <a:gd name="T41" fmla="*/ 256 h 512"/>
              <a:gd name="T42" fmla="*/ 256 w 512"/>
              <a:gd name="T43" fmla="*/ 0 h 512"/>
              <a:gd name="T44" fmla="*/ 416 w 512"/>
              <a:gd name="T45" fmla="*/ 192 h 512"/>
              <a:gd name="T46" fmla="*/ 405 w 512"/>
              <a:gd name="T47" fmla="*/ 202 h 512"/>
              <a:gd name="T48" fmla="*/ 394 w 512"/>
              <a:gd name="T49" fmla="*/ 202 h 512"/>
              <a:gd name="T50" fmla="*/ 394 w 512"/>
              <a:gd name="T51" fmla="*/ 384 h 512"/>
              <a:gd name="T52" fmla="*/ 384 w 512"/>
              <a:gd name="T53" fmla="*/ 394 h 512"/>
              <a:gd name="T54" fmla="*/ 128 w 512"/>
              <a:gd name="T55" fmla="*/ 394 h 512"/>
              <a:gd name="T56" fmla="*/ 117 w 512"/>
              <a:gd name="T57" fmla="*/ 384 h 512"/>
              <a:gd name="T58" fmla="*/ 117 w 512"/>
              <a:gd name="T59" fmla="*/ 202 h 512"/>
              <a:gd name="T60" fmla="*/ 106 w 512"/>
              <a:gd name="T61" fmla="*/ 202 h 512"/>
              <a:gd name="T62" fmla="*/ 96 w 512"/>
              <a:gd name="T63" fmla="*/ 192 h 512"/>
              <a:gd name="T64" fmla="*/ 96 w 512"/>
              <a:gd name="T65" fmla="*/ 149 h 512"/>
              <a:gd name="T66" fmla="*/ 106 w 512"/>
              <a:gd name="T67" fmla="*/ 138 h 512"/>
              <a:gd name="T68" fmla="*/ 405 w 512"/>
              <a:gd name="T69" fmla="*/ 138 h 512"/>
              <a:gd name="T70" fmla="*/ 416 w 512"/>
              <a:gd name="T71" fmla="*/ 149 h 512"/>
              <a:gd name="T72" fmla="*/ 416 w 512"/>
              <a:gd name="T73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138" y="373"/>
                </a:moveTo>
                <a:cubicBezTo>
                  <a:pt x="373" y="373"/>
                  <a:pt x="373" y="373"/>
                  <a:pt x="373" y="373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138" y="202"/>
                  <a:pt x="138" y="202"/>
                  <a:pt x="138" y="202"/>
                </a:cubicBezTo>
                <a:lnTo>
                  <a:pt x="138" y="373"/>
                </a:lnTo>
                <a:close/>
                <a:moveTo>
                  <a:pt x="224" y="234"/>
                </a:moveTo>
                <a:cubicBezTo>
                  <a:pt x="288" y="234"/>
                  <a:pt x="288" y="234"/>
                  <a:pt x="288" y="234"/>
                </a:cubicBezTo>
                <a:cubicBezTo>
                  <a:pt x="294" y="234"/>
                  <a:pt x="298" y="239"/>
                  <a:pt x="298" y="245"/>
                </a:cubicBezTo>
                <a:cubicBezTo>
                  <a:pt x="298" y="251"/>
                  <a:pt x="294" y="256"/>
                  <a:pt x="288" y="256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18" y="256"/>
                  <a:pt x="213" y="251"/>
                  <a:pt x="213" y="245"/>
                </a:cubicBezTo>
                <a:cubicBezTo>
                  <a:pt x="213" y="239"/>
                  <a:pt x="218" y="234"/>
                  <a:pt x="224" y="234"/>
                </a:cubicBezTo>
                <a:close/>
                <a:moveTo>
                  <a:pt x="117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117" y="181"/>
                  <a:pt x="117" y="181"/>
                  <a:pt x="117" y="181"/>
                </a:cubicBezTo>
                <a:lnTo>
                  <a:pt x="117" y="160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192"/>
                </a:moveTo>
                <a:cubicBezTo>
                  <a:pt x="416" y="198"/>
                  <a:pt x="411" y="202"/>
                  <a:pt x="405" y="202"/>
                </a:cubicBezTo>
                <a:cubicBezTo>
                  <a:pt x="394" y="202"/>
                  <a:pt x="394" y="202"/>
                  <a:pt x="394" y="202"/>
                </a:cubicBezTo>
                <a:cubicBezTo>
                  <a:pt x="394" y="384"/>
                  <a:pt x="394" y="384"/>
                  <a:pt x="394" y="384"/>
                </a:cubicBezTo>
                <a:cubicBezTo>
                  <a:pt x="394" y="390"/>
                  <a:pt x="390" y="394"/>
                  <a:pt x="384" y="394"/>
                </a:cubicBezTo>
                <a:cubicBezTo>
                  <a:pt x="128" y="394"/>
                  <a:pt x="128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202"/>
                  <a:pt x="117" y="202"/>
                  <a:pt x="117" y="202"/>
                </a:cubicBezTo>
                <a:cubicBezTo>
                  <a:pt x="106" y="202"/>
                  <a:pt x="106" y="202"/>
                  <a:pt x="106" y="202"/>
                </a:cubicBezTo>
                <a:cubicBezTo>
                  <a:pt x="100" y="202"/>
                  <a:pt x="96" y="198"/>
                  <a:pt x="96" y="19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1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76" name="Group 76"/>
          <p:cNvGrpSpPr>
            <a:grpSpLocks noChangeAspect="1"/>
          </p:cNvGrpSpPr>
          <p:nvPr/>
        </p:nvGrpSpPr>
        <p:grpSpPr bwMode="auto">
          <a:xfrm>
            <a:off x="5908230" y="3749675"/>
            <a:ext cx="368152" cy="368152"/>
            <a:chOff x="2306" y="626"/>
            <a:chExt cx="3635" cy="3635"/>
          </a:xfrm>
          <a:solidFill>
            <a:schemeClr val="accent1"/>
          </a:solidFill>
        </p:grpSpPr>
        <p:sp>
          <p:nvSpPr>
            <p:cNvPr id="377" name="Freeform 77"/>
            <p:cNvSpPr>
              <a:spLocks noEditPoints="1"/>
            </p:cNvSpPr>
            <p:nvPr/>
          </p:nvSpPr>
          <p:spPr bwMode="auto">
            <a:xfrm>
              <a:off x="2306" y="626"/>
              <a:ext cx="3635" cy="3635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8" name="Freeform 78"/>
            <p:cNvSpPr>
              <a:spLocks noEditPoints="1"/>
            </p:cNvSpPr>
            <p:nvPr/>
          </p:nvSpPr>
          <p:spPr bwMode="auto">
            <a:xfrm>
              <a:off x="2987" y="1606"/>
              <a:ext cx="2272" cy="1817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54 h 256"/>
                <a:gd name="T8" fmla="*/ 10 w 320"/>
                <a:gd name="T9" fmla="*/ 64 h 256"/>
                <a:gd name="T10" fmla="*/ 21 w 320"/>
                <a:gd name="T11" fmla="*/ 64 h 256"/>
                <a:gd name="T12" fmla="*/ 21 w 320"/>
                <a:gd name="T13" fmla="*/ 246 h 256"/>
                <a:gd name="T14" fmla="*/ 32 w 320"/>
                <a:gd name="T15" fmla="*/ 256 h 256"/>
                <a:gd name="T16" fmla="*/ 288 w 320"/>
                <a:gd name="T17" fmla="*/ 256 h 256"/>
                <a:gd name="T18" fmla="*/ 298 w 320"/>
                <a:gd name="T19" fmla="*/ 246 h 256"/>
                <a:gd name="T20" fmla="*/ 298 w 320"/>
                <a:gd name="T21" fmla="*/ 64 h 256"/>
                <a:gd name="T22" fmla="*/ 309 w 320"/>
                <a:gd name="T23" fmla="*/ 64 h 256"/>
                <a:gd name="T24" fmla="*/ 320 w 320"/>
                <a:gd name="T25" fmla="*/ 54 h 256"/>
                <a:gd name="T26" fmla="*/ 320 w 320"/>
                <a:gd name="T27" fmla="*/ 11 h 256"/>
                <a:gd name="T28" fmla="*/ 309 w 320"/>
                <a:gd name="T29" fmla="*/ 0 h 256"/>
                <a:gd name="T30" fmla="*/ 277 w 320"/>
                <a:gd name="T31" fmla="*/ 235 h 256"/>
                <a:gd name="T32" fmla="*/ 42 w 320"/>
                <a:gd name="T33" fmla="*/ 235 h 256"/>
                <a:gd name="T34" fmla="*/ 42 w 320"/>
                <a:gd name="T35" fmla="*/ 64 h 256"/>
                <a:gd name="T36" fmla="*/ 277 w 320"/>
                <a:gd name="T37" fmla="*/ 64 h 256"/>
                <a:gd name="T38" fmla="*/ 277 w 320"/>
                <a:gd name="T39" fmla="*/ 235 h 256"/>
                <a:gd name="T40" fmla="*/ 298 w 320"/>
                <a:gd name="T41" fmla="*/ 43 h 256"/>
                <a:gd name="T42" fmla="*/ 21 w 320"/>
                <a:gd name="T43" fmla="*/ 43 h 256"/>
                <a:gd name="T44" fmla="*/ 21 w 320"/>
                <a:gd name="T45" fmla="*/ 22 h 256"/>
                <a:gd name="T46" fmla="*/ 298 w 320"/>
                <a:gd name="T47" fmla="*/ 22 h 256"/>
                <a:gd name="T48" fmla="*/ 298 w 320"/>
                <a:gd name="T49" fmla="*/ 43 h 256"/>
                <a:gd name="T50" fmla="*/ 117 w 320"/>
                <a:gd name="T51" fmla="*/ 107 h 256"/>
                <a:gd name="T52" fmla="*/ 128 w 320"/>
                <a:gd name="T53" fmla="*/ 96 h 256"/>
                <a:gd name="T54" fmla="*/ 192 w 320"/>
                <a:gd name="T55" fmla="*/ 96 h 256"/>
                <a:gd name="T56" fmla="*/ 202 w 320"/>
                <a:gd name="T57" fmla="*/ 107 h 256"/>
                <a:gd name="T58" fmla="*/ 192 w 320"/>
                <a:gd name="T59" fmla="*/ 118 h 256"/>
                <a:gd name="T60" fmla="*/ 128 w 320"/>
                <a:gd name="T61" fmla="*/ 118 h 256"/>
                <a:gd name="T62" fmla="*/ 117 w 320"/>
                <a:gd name="T63" fmla="*/ 10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0"/>
                    <a:pt x="4" y="64"/>
                    <a:pt x="10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246"/>
                    <a:pt x="21" y="246"/>
                    <a:pt x="21" y="246"/>
                  </a:cubicBezTo>
                  <a:cubicBezTo>
                    <a:pt x="21" y="252"/>
                    <a:pt x="26" y="256"/>
                    <a:pt x="32" y="256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94" y="256"/>
                    <a:pt x="298" y="252"/>
                    <a:pt x="298" y="246"/>
                  </a:cubicBezTo>
                  <a:cubicBezTo>
                    <a:pt x="298" y="64"/>
                    <a:pt x="298" y="64"/>
                    <a:pt x="298" y="64"/>
                  </a:cubicBezTo>
                  <a:cubicBezTo>
                    <a:pt x="309" y="64"/>
                    <a:pt x="309" y="64"/>
                    <a:pt x="309" y="64"/>
                  </a:cubicBezTo>
                  <a:cubicBezTo>
                    <a:pt x="315" y="64"/>
                    <a:pt x="320" y="60"/>
                    <a:pt x="320" y="5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77" y="235"/>
                  </a:moveTo>
                  <a:cubicBezTo>
                    <a:pt x="42" y="235"/>
                    <a:pt x="42" y="235"/>
                    <a:pt x="42" y="235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277" y="64"/>
                    <a:pt x="277" y="64"/>
                    <a:pt x="277" y="64"/>
                  </a:cubicBezTo>
                  <a:lnTo>
                    <a:pt x="277" y="235"/>
                  </a:lnTo>
                  <a:close/>
                  <a:moveTo>
                    <a:pt x="298" y="43"/>
                  </a:moveTo>
                  <a:cubicBezTo>
                    <a:pt x="21" y="43"/>
                    <a:pt x="21" y="43"/>
                    <a:pt x="21" y="4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43"/>
                  </a:lnTo>
                  <a:close/>
                  <a:moveTo>
                    <a:pt x="117" y="107"/>
                  </a:moveTo>
                  <a:cubicBezTo>
                    <a:pt x="117" y="101"/>
                    <a:pt x="122" y="96"/>
                    <a:pt x="128" y="9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8" y="96"/>
                    <a:pt x="202" y="101"/>
                    <a:pt x="202" y="107"/>
                  </a:cubicBezTo>
                  <a:cubicBezTo>
                    <a:pt x="202" y="113"/>
                    <a:pt x="198" y="118"/>
                    <a:pt x="192" y="118"/>
                  </a:cubicBezTo>
                  <a:cubicBezTo>
                    <a:pt x="128" y="118"/>
                    <a:pt x="128" y="118"/>
                    <a:pt x="128" y="118"/>
                  </a:cubicBezTo>
                  <a:cubicBezTo>
                    <a:pt x="122" y="118"/>
                    <a:pt x="117" y="113"/>
                    <a:pt x="117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9" name="Freeform 61"/>
          <p:cNvSpPr>
            <a:spLocks noChangeAspect="1" noEditPoints="1"/>
          </p:cNvSpPr>
          <p:nvPr/>
        </p:nvSpPr>
        <p:spPr bwMode="auto">
          <a:xfrm>
            <a:off x="9396816" y="2909484"/>
            <a:ext cx="369021" cy="370106"/>
          </a:xfrm>
          <a:custGeom>
            <a:avLst/>
            <a:gdLst>
              <a:gd name="T0" fmla="*/ 150 w 512"/>
              <a:gd name="T1" fmla="*/ 209 h 512"/>
              <a:gd name="T2" fmla="*/ 117 w 512"/>
              <a:gd name="T3" fmla="*/ 301 h 512"/>
              <a:gd name="T4" fmla="*/ 117 w 512"/>
              <a:gd name="T5" fmla="*/ 160 h 512"/>
              <a:gd name="T6" fmla="*/ 166 w 512"/>
              <a:gd name="T7" fmla="*/ 160 h 512"/>
              <a:gd name="T8" fmla="*/ 184 w 512"/>
              <a:gd name="T9" fmla="*/ 178 h 512"/>
              <a:gd name="T10" fmla="*/ 192 w 512"/>
              <a:gd name="T11" fmla="*/ 181 h 512"/>
              <a:gd name="T12" fmla="*/ 352 w 512"/>
              <a:gd name="T13" fmla="*/ 181 h 512"/>
              <a:gd name="T14" fmla="*/ 352 w 512"/>
              <a:gd name="T15" fmla="*/ 202 h 512"/>
              <a:gd name="T16" fmla="*/ 160 w 512"/>
              <a:gd name="T17" fmla="*/ 202 h 512"/>
              <a:gd name="T18" fmla="*/ 150 w 512"/>
              <a:gd name="T19" fmla="*/ 209 h 512"/>
              <a:gd name="T20" fmla="*/ 121 w 512"/>
              <a:gd name="T21" fmla="*/ 352 h 512"/>
              <a:gd name="T22" fmla="*/ 354 w 512"/>
              <a:gd name="T23" fmla="*/ 352 h 512"/>
              <a:gd name="T24" fmla="*/ 391 w 512"/>
              <a:gd name="T25" fmla="*/ 224 h 512"/>
              <a:gd name="T26" fmla="*/ 167 w 512"/>
              <a:gd name="T27" fmla="*/ 224 h 512"/>
              <a:gd name="T28" fmla="*/ 121 w 512"/>
              <a:gd name="T29" fmla="*/ 352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4 w 512"/>
              <a:gd name="T41" fmla="*/ 207 h 512"/>
              <a:gd name="T42" fmla="*/ 405 w 512"/>
              <a:gd name="T43" fmla="*/ 202 h 512"/>
              <a:gd name="T44" fmla="*/ 373 w 512"/>
              <a:gd name="T45" fmla="*/ 202 h 512"/>
              <a:gd name="T46" fmla="*/ 373 w 512"/>
              <a:gd name="T47" fmla="*/ 170 h 512"/>
              <a:gd name="T48" fmla="*/ 362 w 512"/>
              <a:gd name="T49" fmla="*/ 160 h 512"/>
              <a:gd name="T50" fmla="*/ 196 w 512"/>
              <a:gd name="T51" fmla="*/ 160 h 512"/>
              <a:gd name="T52" fmla="*/ 178 w 512"/>
              <a:gd name="T53" fmla="*/ 141 h 512"/>
              <a:gd name="T54" fmla="*/ 170 w 512"/>
              <a:gd name="T55" fmla="*/ 138 h 512"/>
              <a:gd name="T56" fmla="*/ 106 w 512"/>
              <a:gd name="T57" fmla="*/ 138 h 512"/>
              <a:gd name="T58" fmla="*/ 96 w 512"/>
              <a:gd name="T59" fmla="*/ 149 h 512"/>
              <a:gd name="T60" fmla="*/ 96 w 512"/>
              <a:gd name="T61" fmla="*/ 362 h 512"/>
              <a:gd name="T62" fmla="*/ 96 w 512"/>
              <a:gd name="T63" fmla="*/ 362 h 512"/>
              <a:gd name="T64" fmla="*/ 96 w 512"/>
              <a:gd name="T65" fmla="*/ 362 h 512"/>
              <a:gd name="T66" fmla="*/ 98 w 512"/>
              <a:gd name="T67" fmla="*/ 369 h 512"/>
              <a:gd name="T68" fmla="*/ 98 w 512"/>
              <a:gd name="T69" fmla="*/ 369 h 512"/>
              <a:gd name="T70" fmla="*/ 98 w 512"/>
              <a:gd name="T71" fmla="*/ 369 h 512"/>
              <a:gd name="T72" fmla="*/ 100 w 512"/>
              <a:gd name="T73" fmla="*/ 371 h 512"/>
              <a:gd name="T74" fmla="*/ 106 w 512"/>
              <a:gd name="T75" fmla="*/ 373 h 512"/>
              <a:gd name="T76" fmla="*/ 106 w 512"/>
              <a:gd name="T77" fmla="*/ 373 h 512"/>
              <a:gd name="T78" fmla="*/ 106 w 512"/>
              <a:gd name="T79" fmla="*/ 373 h 512"/>
              <a:gd name="T80" fmla="*/ 362 w 512"/>
              <a:gd name="T81" fmla="*/ 373 h 512"/>
              <a:gd name="T82" fmla="*/ 373 w 512"/>
              <a:gd name="T83" fmla="*/ 365 h 512"/>
              <a:gd name="T84" fmla="*/ 415 w 512"/>
              <a:gd name="T85" fmla="*/ 216 h 512"/>
              <a:gd name="T86" fmla="*/ 414 w 512"/>
              <a:gd name="T87" fmla="*/ 2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150" y="209"/>
                </a:moveTo>
                <a:cubicBezTo>
                  <a:pt x="117" y="301"/>
                  <a:pt x="117" y="301"/>
                  <a:pt x="117" y="301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66" y="160"/>
                  <a:pt x="166" y="160"/>
                  <a:pt x="166" y="160"/>
                </a:cubicBezTo>
                <a:cubicBezTo>
                  <a:pt x="184" y="178"/>
                  <a:pt x="184" y="178"/>
                  <a:pt x="184" y="178"/>
                </a:cubicBezTo>
                <a:cubicBezTo>
                  <a:pt x="186" y="180"/>
                  <a:pt x="189" y="181"/>
                  <a:pt x="192" y="181"/>
                </a:cubicBezTo>
                <a:cubicBezTo>
                  <a:pt x="352" y="181"/>
                  <a:pt x="352" y="181"/>
                  <a:pt x="352" y="181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55" y="202"/>
                  <a:pt x="151" y="205"/>
                  <a:pt x="150" y="209"/>
                </a:cubicBezTo>
                <a:close/>
                <a:moveTo>
                  <a:pt x="121" y="352"/>
                </a:moveTo>
                <a:cubicBezTo>
                  <a:pt x="354" y="352"/>
                  <a:pt x="354" y="352"/>
                  <a:pt x="354" y="352"/>
                </a:cubicBezTo>
                <a:cubicBezTo>
                  <a:pt x="391" y="224"/>
                  <a:pt x="391" y="224"/>
                  <a:pt x="391" y="224"/>
                </a:cubicBezTo>
                <a:cubicBezTo>
                  <a:pt x="167" y="224"/>
                  <a:pt x="167" y="224"/>
                  <a:pt x="167" y="224"/>
                </a:cubicBezTo>
                <a:lnTo>
                  <a:pt x="121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4" y="207"/>
                </a:moveTo>
                <a:cubicBezTo>
                  <a:pt x="412" y="204"/>
                  <a:pt x="408" y="202"/>
                  <a:pt x="405" y="202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373" y="170"/>
                  <a:pt x="373" y="170"/>
                  <a:pt x="373" y="170"/>
                </a:cubicBezTo>
                <a:cubicBezTo>
                  <a:pt x="373" y="164"/>
                  <a:pt x="368" y="160"/>
                  <a:pt x="362" y="160"/>
                </a:cubicBezTo>
                <a:cubicBezTo>
                  <a:pt x="196" y="160"/>
                  <a:pt x="196" y="160"/>
                  <a:pt x="196" y="160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6" y="139"/>
                  <a:pt x="173" y="138"/>
                  <a:pt x="170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5"/>
                  <a:pt x="97" y="367"/>
                  <a:pt x="98" y="369"/>
                </a:cubicBezTo>
                <a:cubicBezTo>
                  <a:pt x="98" y="369"/>
                  <a:pt x="98" y="369"/>
                  <a:pt x="98" y="369"/>
                </a:cubicBezTo>
                <a:cubicBezTo>
                  <a:pt x="98" y="369"/>
                  <a:pt x="98" y="369"/>
                  <a:pt x="98" y="369"/>
                </a:cubicBezTo>
                <a:cubicBezTo>
                  <a:pt x="99" y="370"/>
                  <a:pt x="100" y="370"/>
                  <a:pt x="100" y="371"/>
                </a:cubicBezTo>
                <a:cubicBezTo>
                  <a:pt x="102" y="372"/>
                  <a:pt x="104" y="373"/>
                  <a:pt x="106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7" y="373"/>
                  <a:pt x="371" y="370"/>
                  <a:pt x="373" y="365"/>
                </a:cubicBezTo>
                <a:cubicBezTo>
                  <a:pt x="415" y="216"/>
                  <a:pt x="415" y="216"/>
                  <a:pt x="415" y="216"/>
                </a:cubicBezTo>
                <a:cubicBezTo>
                  <a:pt x="416" y="213"/>
                  <a:pt x="416" y="209"/>
                  <a:pt x="414" y="20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80" name="Group 64"/>
          <p:cNvGrpSpPr>
            <a:grpSpLocks noChangeAspect="1"/>
          </p:cNvGrpSpPr>
          <p:nvPr/>
        </p:nvGrpSpPr>
        <p:grpSpPr bwMode="auto">
          <a:xfrm>
            <a:off x="9894159" y="2909484"/>
            <a:ext cx="369021" cy="369021"/>
            <a:chOff x="5009" y="6"/>
            <a:chExt cx="340" cy="340"/>
          </a:xfrm>
          <a:solidFill>
            <a:schemeClr val="accent1"/>
          </a:solidFill>
        </p:grpSpPr>
        <p:sp>
          <p:nvSpPr>
            <p:cNvPr id="381" name="Freeform 65"/>
            <p:cNvSpPr>
              <a:spLocks noEditPoints="1"/>
            </p:cNvSpPr>
            <p:nvPr/>
          </p:nvSpPr>
          <p:spPr bwMode="auto">
            <a:xfrm>
              <a:off x="5009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2" name="Freeform 66"/>
            <p:cNvSpPr>
              <a:spLocks noEditPoints="1"/>
            </p:cNvSpPr>
            <p:nvPr/>
          </p:nvSpPr>
          <p:spPr bwMode="auto">
            <a:xfrm>
              <a:off x="5073" y="98"/>
              <a:ext cx="212" cy="156"/>
            </a:xfrm>
            <a:custGeom>
              <a:avLst/>
              <a:gdLst>
                <a:gd name="T0" fmla="*/ 10 w 320"/>
                <a:gd name="T1" fmla="*/ 235 h 235"/>
                <a:gd name="T2" fmla="*/ 10 w 320"/>
                <a:gd name="T3" fmla="*/ 235 h 235"/>
                <a:gd name="T4" fmla="*/ 4 w 320"/>
                <a:gd name="T5" fmla="*/ 233 h 235"/>
                <a:gd name="T6" fmla="*/ 2 w 320"/>
                <a:gd name="T7" fmla="*/ 231 h 235"/>
                <a:gd name="T8" fmla="*/ 2 w 320"/>
                <a:gd name="T9" fmla="*/ 231 h 235"/>
                <a:gd name="T10" fmla="*/ 2 w 320"/>
                <a:gd name="T11" fmla="*/ 231 h 235"/>
                <a:gd name="T12" fmla="*/ 0 w 320"/>
                <a:gd name="T13" fmla="*/ 224 h 235"/>
                <a:gd name="T14" fmla="*/ 0 w 320"/>
                <a:gd name="T15" fmla="*/ 224 h 235"/>
                <a:gd name="T16" fmla="*/ 0 w 320"/>
                <a:gd name="T17" fmla="*/ 224 h 235"/>
                <a:gd name="T18" fmla="*/ 0 w 320"/>
                <a:gd name="T19" fmla="*/ 224 h 235"/>
                <a:gd name="T20" fmla="*/ 0 w 320"/>
                <a:gd name="T21" fmla="*/ 224 h 235"/>
                <a:gd name="T22" fmla="*/ 0 w 320"/>
                <a:gd name="T23" fmla="*/ 11 h 235"/>
                <a:gd name="T24" fmla="*/ 10 w 320"/>
                <a:gd name="T25" fmla="*/ 0 h 235"/>
                <a:gd name="T26" fmla="*/ 74 w 320"/>
                <a:gd name="T27" fmla="*/ 0 h 235"/>
                <a:gd name="T28" fmla="*/ 82 w 320"/>
                <a:gd name="T29" fmla="*/ 3 h 235"/>
                <a:gd name="T30" fmla="*/ 100 w 320"/>
                <a:gd name="T31" fmla="*/ 22 h 235"/>
                <a:gd name="T32" fmla="*/ 266 w 320"/>
                <a:gd name="T33" fmla="*/ 22 h 235"/>
                <a:gd name="T34" fmla="*/ 277 w 320"/>
                <a:gd name="T35" fmla="*/ 32 h 235"/>
                <a:gd name="T36" fmla="*/ 277 w 320"/>
                <a:gd name="T37" fmla="*/ 64 h 235"/>
                <a:gd name="T38" fmla="*/ 309 w 320"/>
                <a:gd name="T39" fmla="*/ 64 h 235"/>
                <a:gd name="T40" fmla="*/ 318 w 320"/>
                <a:gd name="T41" fmla="*/ 69 h 235"/>
                <a:gd name="T42" fmla="*/ 319 w 320"/>
                <a:gd name="T43" fmla="*/ 78 h 235"/>
                <a:gd name="T44" fmla="*/ 277 w 320"/>
                <a:gd name="T45" fmla="*/ 227 h 235"/>
                <a:gd name="T46" fmla="*/ 266 w 320"/>
                <a:gd name="T47" fmla="*/ 235 h 235"/>
                <a:gd name="T48" fmla="*/ 10 w 320"/>
                <a:gd name="T49" fmla="*/ 235 h 235"/>
                <a:gd name="T50" fmla="*/ 10 w 320"/>
                <a:gd name="T51" fmla="*/ 235 h 235"/>
                <a:gd name="T52" fmla="*/ 25 w 320"/>
                <a:gd name="T53" fmla="*/ 214 h 235"/>
                <a:gd name="T54" fmla="*/ 258 w 320"/>
                <a:gd name="T55" fmla="*/ 214 h 235"/>
                <a:gd name="T56" fmla="*/ 295 w 320"/>
                <a:gd name="T57" fmla="*/ 86 h 235"/>
                <a:gd name="T58" fmla="*/ 71 w 320"/>
                <a:gd name="T59" fmla="*/ 86 h 235"/>
                <a:gd name="T60" fmla="*/ 25 w 320"/>
                <a:gd name="T61" fmla="*/ 214 h 235"/>
                <a:gd name="T62" fmla="*/ 21 w 320"/>
                <a:gd name="T63" fmla="*/ 22 h 235"/>
                <a:gd name="T64" fmla="*/ 21 w 320"/>
                <a:gd name="T65" fmla="*/ 163 h 235"/>
                <a:gd name="T66" fmla="*/ 54 w 320"/>
                <a:gd name="T67" fmla="*/ 71 h 235"/>
                <a:gd name="T68" fmla="*/ 64 w 320"/>
                <a:gd name="T69" fmla="*/ 64 h 235"/>
                <a:gd name="T70" fmla="*/ 256 w 320"/>
                <a:gd name="T71" fmla="*/ 64 h 235"/>
                <a:gd name="T72" fmla="*/ 256 w 320"/>
                <a:gd name="T73" fmla="*/ 43 h 235"/>
                <a:gd name="T74" fmla="*/ 96 w 320"/>
                <a:gd name="T75" fmla="*/ 43 h 235"/>
                <a:gd name="T76" fmla="*/ 88 w 320"/>
                <a:gd name="T77" fmla="*/ 40 h 235"/>
                <a:gd name="T78" fmla="*/ 70 w 320"/>
                <a:gd name="T79" fmla="*/ 22 h 235"/>
                <a:gd name="T80" fmla="*/ 21 w 320"/>
                <a:gd name="T81" fmla="*/ 2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0" h="235">
                  <a:moveTo>
                    <a:pt x="10" y="235"/>
                  </a:moveTo>
                  <a:cubicBezTo>
                    <a:pt x="10" y="235"/>
                    <a:pt x="10" y="235"/>
                    <a:pt x="10" y="235"/>
                  </a:cubicBezTo>
                  <a:cubicBezTo>
                    <a:pt x="8" y="235"/>
                    <a:pt x="6" y="234"/>
                    <a:pt x="4" y="233"/>
                  </a:cubicBezTo>
                  <a:cubicBezTo>
                    <a:pt x="4" y="232"/>
                    <a:pt x="3" y="232"/>
                    <a:pt x="2" y="231"/>
                  </a:cubicBezTo>
                  <a:cubicBezTo>
                    <a:pt x="2" y="231"/>
                    <a:pt x="2" y="231"/>
                    <a:pt x="2" y="231"/>
                  </a:cubicBezTo>
                  <a:cubicBezTo>
                    <a:pt x="2" y="231"/>
                    <a:pt x="2" y="231"/>
                    <a:pt x="2" y="231"/>
                  </a:cubicBezTo>
                  <a:cubicBezTo>
                    <a:pt x="1" y="229"/>
                    <a:pt x="0" y="227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7" y="0"/>
                    <a:pt x="80" y="1"/>
                    <a:pt x="82" y="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266" y="22"/>
                    <a:pt x="266" y="22"/>
                    <a:pt x="266" y="22"/>
                  </a:cubicBezTo>
                  <a:cubicBezTo>
                    <a:pt x="272" y="22"/>
                    <a:pt x="277" y="26"/>
                    <a:pt x="277" y="32"/>
                  </a:cubicBezTo>
                  <a:cubicBezTo>
                    <a:pt x="277" y="64"/>
                    <a:pt x="277" y="64"/>
                    <a:pt x="277" y="64"/>
                  </a:cubicBezTo>
                  <a:cubicBezTo>
                    <a:pt x="309" y="64"/>
                    <a:pt x="309" y="64"/>
                    <a:pt x="309" y="64"/>
                  </a:cubicBezTo>
                  <a:cubicBezTo>
                    <a:pt x="312" y="64"/>
                    <a:pt x="316" y="66"/>
                    <a:pt x="318" y="69"/>
                  </a:cubicBezTo>
                  <a:cubicBezTo>
                    <a:pt x="320" y="71"/>
                    <a:pt x="320" y="75"/>
                    <a:pt x="319" y="78"/>
                  </a:cubicBezTo>
                  <a:cubicBezTo>
                    <a:pt x="277" y="227"/>
                    <a:pt x="277" y="227"/>
                    <a:pt x="277" y="227"/>
                  </a:cubicBezTo>
                  <a:cubicBezTo>
                    <a:pt x="275" y="232"/>
                    <a:pt x="271" y="235"/>
                    <a:pt x="266" y="235"/>
                  </a:cubicBezTo>
                  <a:cubicBezTo>
                    <a:pt x="10" y="235"/>
                    <a:pt x="10" y="235"/>
                    <a:pt x="10" y="235"/>
                  </a:cubicBezTo>
                  <a:cubicBezTo>
                    <a:pt x="10" y="235"/>
                    <a:pt x="10" y="235"/>
                    <a:pt x="10" y="235"/>
                  </a:cubicBezTo>
                  <a:close/>
                  <a:moveTo>
                    <a:pt x="25" y="214"/>
                  </a:moveTo>
                  <a:cubicBezTo>
                    <a:pt x="258" y="214"/>
                    <a:pt x="258" y="214"/>
                    <a:pt x="258" y="214"/>
                  </a:cubicBezTo>
                  <a:cubicBezTo>
                    <a:pt x="295" y="86"/>
                    <a:pt x="295" y="86"/>
                    <a:pt x="295" y="86"/>
                  </a:cubicBezTo>
                  <a:cubicBezTo>
                    <a:pt x="71" y="86"/>
                    <a:pt x="71" y="86"/>
                    <a:pt x="71" y="86"/>
                  </a:cubicBezTo>
                  <a:lnTo>
                    <a:pt x="25" y="214"/>
                  </a:lnTo>
                  <a:close/>
                  <a:moveTo>
                    <a:pt x="21" y="22"/>
                  </a:moveTo>
                  <a:cubicBezTo>
                    <a:pt x="21" y="163"/>
                    <a:pt x="21" y="163"/>
                    <a:pt x="21" y="163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67"/>
                    <a:pt x="59" y="64"/>
                    <a:pt x="64" y="64"/>
                  </a:cubicBezTo>
                  <a:cubicBezTo>
                    <a:pt x="256" y="64"/>
                    <a:pt x="256" y="64"/>
                    <a:pt x="256" y="64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3" y="43"/>
                    <a:pt x="90" y="42"/>
                    <a:pt x="88" y="40"/>
                  </a:cubicBezTo>
                  <a:cubicBezTo>
                    <a:pt x="70" y="22"/>
                    <a:pt x="70" y="22"/>
                    <a:pt x="70" y="22"/>
                  </a:cubicBezTo>
                  <a:lnTo>
                    <a:pt x="21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87" name="Group 354"/>
          <p:cNvGrpSpPr>
            <a:grpSpLocks noChangeAspect="1"/>
          </p:cNvGrpSpPr>
          <p:nvPr/>
        </p:nvGrpSpPr>
        <p:grpSpPr bwMode="auto">
          <a:xfrm>
            <a:off x="9388169" y="3749679"/>
            <a:ext cx="367631" cy="367631"/>
            <a:chOff x="5414" y="1190"/>
            <a:chExt cx="340" cy="340"/>
          </a:xfrm>
          <a:solidFill>
            <a:schemeClr val="accent4"/>
          </a:solidFill>
        </p:grpSpPr>
        <p:sp>
          <p:nvSpPr>
            <p:cNvPr id="388" name="Freeform 355"/>
            <p:cNvSpPr>
              <a:spLocks/>
            </p:cNvSpPr>
            <p:nvPr/>
          </p:nvSpPr>
          <p:spPr bwMode="auto">
            <a:xfrm>
              <a:off x="5520" y="1268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356"/>
            <p:cNvSpPr>
              <a:spLocks/>
            </p:cNvSpPr>
            <p:nvPr/>
          </p:nvSpPr>
          <p:spPr bwMode="auto">
            <a:xfrm>
              <a:off x="5612" y="1278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0" name="Freeform 357"/>
            <p:cNvSpPr>
              <a:spLocks noEditPoints="1"/>
            </p:cNvSpPr>
            <p:nvPr/>
          </p:nvSpPr>
          <p:spPr bwMode="auto">
            <a:xfrm>
              <a:off x="5414" y="119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405 h 512"/>
                <a:gd name="T12" fmla="*/ 362 w 512"/>
                <a:gd name="T13" fmla="*/ 416 h 512"/>
                <a:gd name="T14" fmla="*/ 149 w 512"/>
                <a:gd name="T15" fmla="*/ 416 h 512"/>
                <a:gd name="T16" fmla="*/ 138 w 512"/>
                <a:gd name="T17" fmla="*/ 405 h 512"/>
                <a:gd name="T18" fmla="*/ 138 w 512"/>
                <a:gd name="T19" fmla="*/ 106 h 512"/>
                <a:gd name="T20" fmla="*/ 149 w 512"/>
                <a:gd name="T21" fmla="*/ 96 h 512"/>
                <a:gd name="T22" fmla="*/ 288 w 512"/>
                <a:gd name="T23" fmla="*/ 96 h 512"/>
                <a:gd name="T24" fmla="*/ 292 w 512"/>
                <a:gd name="T25" fmla="*/ 96 h 512"/>
                <a:gd name="T26" fmla="*/ 295 w 512"/>
                <a:gd name="T27" fmla="*/ 99 h 512"/>
                <a:gd name="T28" fmla="*/ 370 w 512"/>
                <a:gd name="T29" fmla="*/ 173 h 512"/>
                <a:gd name="T30" fmla="*/ 372 w 512"/>
                <a:gd name="T31" fmla="*/ 177 h 512"/>
                <a:gd name="T32" fmla="*/ 373 w 512"/>
                <a:gd name="T33" fmla="*/ 181 h 512"/>
                <a:gd name="T34" fmla="*/ 373 w 512"/>
                <a:gd name="T35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9" y="96"/>
                    <a:pt x="290" y="96"/>
                    <a:pt x="292" y="96"/>
                  </a:cubicBezTo>
                  <a:cubicBezTo>
                    <a:pt x="293" y="97"/>
                    <a:pt x="294" y="98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1" name="Group 360"/>
          <p:cNvGrpSpPr>
            <a:grpSpLocks noChangeAspect="1"/>
          </p:cNvGrpSpPr>
          <p:nvPr/>
        </p:nvGrpSpPr>
        <p:grpSpPr bwMode="auto">
          <a:xfrm>
            <a:off x="9884146" y="3749675"/>
            <a:ext cx="367631" cy="367631"/>
            <a:chOff x="5799" y="1235"/>
            <a:chExt cx="340" cy="340"/>
          </a:xfrm>
          <a:solidFill>
            <a:schemeClr val="accent4"/>
          </a:solidFill>
        </p:grpSpPr>
        <p:sp>
          <p:nvSpPr>
            <p:cNvPr id="392" name="Freeform 361"/>
            <p:cNvSpPr>
              <a:spLocks noEditPoints="1"/>
            </p:cNvSpPr>
            <p:nvPr/>
          </p:nvSpPr>
          <p:spPr bwMode="auto">
            <a:xfrm>
              <a:off x="5891" y="1299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3" name="Freeform 362"/>
            <p:cNvSpPr>
              <a:spLocks noEditPoints="1"/>
            </p:cNvSpPr>
            <p:nvPr/>
          </p:nvSpPr>
          <p:spPr bwMode="auto">
            <a:xfrm>
              <a:off x="5799" y="123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8" name="Group 397"/>
          <p:cNvGrpSpPr>
            <a:grpSpLocks noChangeAspect="1"/>
          </p:cNvGrpSpPr>
          <p:nvPr/>
        </p:nvGrpSpPr>
        <p:grpSpPr bwMode="auto">
          <a:xfrm>
            <a:off x="6902752" y="3749675"/>
            <a:ext cx="369676" cy="369676"/>
            <a:chOff x="1153" y="770"/>
            <a:chExt cx="340" cy="340"/>
          </a:xfrm>
          <a:solidFill>
            <a:schemeClr val="accent3"/>
          </a:solidFill>
        </p:grpSpPr>
        <p:sp>
          <p:nvSpPr>
            <p:cNvPr id="399" name="Freeform 276"/>
            <p:cNvSpPr>
              <a:spLocks noEditPoints="1"/>
            </p:cNvSpPr>
            <p:nvPr/>
          </p:nvSpPr>
          <p:spPr bwMode="auto">
            <a:xfrm>
              <a:off x="1153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0" name="Freeform 277"/>
            <p:cNvSpPr>
              <a:spLocks noEditPoints="1"/>
            </p:cNvSpPr>
            <p:nvPr/>
          </p:nvSpPr>
          <p:spPr bwMode="auto">
            <a:xfrm>
              <a:off x="1302" y="834"/>
              <a:ext cx="42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2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1" name="Freeform 278"/>
            <p:cNvSpPr>
              <a:spLocks noEditPoints="1"/>
            </p:cNvSpPr>
            <p:nvPr/>
          </p:nvSpPr>
          <p:spPr bwMode="auto">
            <a:xfrm>
              <a:off x="1265" y="890"/>
              <a:ext cx="116" cy="156"/>
            </a:xfrm>
            <a:custGeom>
              <a:avLst/>
              <a:gdLst>
                <a:gd name="T0" fmla="*/ 161 w 174"/>
                <a:gd name="T1" fmla="*/ 200 h 235"/>
                <a:gd name="T2" fmla="*/ 161 w 174"/>
                <a:gd name="T3" fmla="*/ 75 h 235"/>
                <a:gd name="T4" fmla="*/ 172 w 174"/>
                <a:gd name="T5" fmla="*/ 64 h 235"/>
                <a:gd name="T6" fmla="*/ 161 w 174"/>
                <a:gd name="T7" fmla="*/ 53 h 235"/>
                <a:gd name="T8" fmla="*/ 140 w 174"/>
                <a:gd name="T9" fmla="*/ 53 h 235"/>
                <a:gd name="T10" fmla="*/ 140 w 174"/>
                <a:gd name="T11" fmla="*/ 11 h 235"/>
                <a:gd name="T12" fmla="*/ 129 w 174"/>
                <a:gd name="T13" fmla="*/ 0 h 235"/>
                <a:gd name="T14" fmla="*/ 44 w 174"/>
                <a:gd name="T15" fmla="*/ 0 h 235"/>
                <a:gd name="T16" fmla="*/ 33 w 174"/>
                <a:gd name="T17" fmla="*/ 11 h 235"/>
                <a:gd name="T18" fmla="*/ 33 w 174"/>
                <a:gd name="T19" fmla="*/ 53 h 235"/>
                <a:gd name="T20" fmla="*/ 12 w 174"/>
                <a:gd name="T21" fmla="*/ 53 h 235"/>
                <a:gd name="T22" fmla="*/ 1 w 174"/>
                <a:gd name="T23" fmla="*/ 64 h 235"/>
                <a:gd name="T24" fmla="*/ 12 w 174"/>
                <a:gd name="T25" fmla="*/ 75 h 235"/>
                <a:gd name="T26" fmla="*/ 12 w 174"/>
                <a:gd name="T27" fmla="*/ 200 h 235"/>
                <a:gd name="T28" fmla="*/ 2 w 174"/>
                <a:gd name="T29" fmla="*/ 219 h 235"/>
                <a:gd name="T30" fmla="*/ 7 w 174"/>
                <a:gd name="T31" fmla="*/ 234 h 235"/>
                <a:gd name="T32" fmla="*/ 12 w 174"/>
                <a:gd name="T33" fmla="*/ 235 h 235"/>
                <a:gd name="T34" fmla="*/ 12 w 174"/>
                <a:gd name="T35" fmla="*/ 235 h 235"/>
                <a:gd name="T36" fmla="*/ 161 w 174"/>
                <a:gd name="T37" fmla="*/ 235 h 235"/>
                <a:gd name="T38" fmla="*/ 161 w 174"/>
                <a:gd name="T39" fmla="*/ 235 h 235"/>
                <a:gd name="T40" fmla="*/ 161 w 174"/>
                <a:gd name="T41" fmla="*/ 235 h 235"/>
                <a:gd name="T42" fmla="*/ 166 w 174"/>
                <a:gd name="T43" fmla="*/ 234 h 235"/>
                <a:gd name="T44" fmla="*/ 171 w 174"/>
                <a:gd name="T45" fmla="*/ 219 h 235"/>
                <a:gd name="T46" fmla="*/ 161 w 174"/>
                <a:gd name="T47" fmla="*/ 200 h 235"/>
                <a:gd name="T48" fmla="*/ 55 w 174"/>
                <a:gd name="T49" fmla="*/ 21 h 235"/>
                <a:gd name="T50" fmla="*/ 119 w 174"/>
                <a:gd name="T51" fmla="*/ 21 h 235"/>
                <a:gd name="T52" fmla="*/ 119 w 174"/>
                <a:gd name="T53" fmla="*/ 53 h 235"/>
                <a:gd name="T54" fmla="*/ 55 w 174"/>
                <a:gd name="T55" fmla="*/ 53 h 235"/>
                <a:gd name="T56" fmla="*/ 55 w 174"/>
                <a:gd name="T57" fmla="*/ 21 h 235"/>
                <a:gd name="T58" fmla="*/ 140 w 174"/>
                <a:gd name="T59" fmla="*/ 75 h 235"/>
                <a:gd name="T60" fmla="*/ 140 w 174"/>
                <a:gd name="T61" fmla="*/ 203 h 235"/>
                <a:gd name="T62" fmla="*/ 141 w 174"/>
                <a:gd name="T63" fmla="*/ 207 h 235"/>
                <a:gd name="T64" fmla="*/ 144 w 174"/>
                <a:gd name="T65" fmla="*/ 213 h 235"/>
                <a:gd name="T66" fmla="*/ 29 w 174"/>
                <a:gd name="T67" fmla="*/ 213 h 235"/>
                <a:gd name="T68" fmla="*/ 32 w 174"/>
                <a:gd name="T69" fmla="*/ 207 h 235"/>
                <a:gd name="T70" fmla="*/ 33 w 174"/>
                <a:gd name="T71" fmla="*/ 203 h 235"/>
                <a:gd name="T72" fmla="*/ 33 w 174"/>
                <a:gd name="T73" fmla="*/ 75 h 235"/>
                <a:gd name="T74" fmla="*/ 140 w 174"/>
                <a:gd name="T7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4" h="235">
                  <a:moveTo>
                    <a:pt x="161" y="200"/>
                  </a:moveTo>
                  <a:cubicBezTo>
                    <a:pt x="161" y="75"/>
                    <a:pt x="161" y="75"/>
                    <a:pt x="161" y="75"/>
                  </a:cubicBezTo>
                  <a:cubicBezTo>
                    <a:pt x="167" y="75"/>
                    <a:pt x="172" y="70"/>
                    <a:pt x="172" y="64"/>
                  </a:cubicBezTo>
                  <a:cubicBezTo>
                    <a:pt x="172" y="58"/>
                    <a:pt x="167" y="53"/>
                    <a:pt x="161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40" y="5"/>
                    <a:pt x="135" y="0"/>
                    <a:pt x="129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8" y="0"/>
                    <a:pt x="33" y="5"/>
                    <a:pt x="33" y="1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6" y="53"/>
                    <a:pt x="1" y="58"/>
                    <a:pt x="1" y="64"/>
                  </a:cubicBezTo>
                  <a:cubicBezTo>
                    <a:pt x="1" y="70"/>
                    <a:pt x="6" y="75"/>
                    <a:pt x="12" y="75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2" y="219"/>
                    <a:pt x="2" y="219"/>
                    <a:pt x="2" y="219"/>
                  </a:cubicBezTo>
                  <a:cubicBezTo>
                    <a:pt x="0" y="225"/>
                    <a:pt x="2" y="231"/>
                    <a:pt x="7" y="234"/>
                  </a:cubicBezTo>
                  <a:cubicBezTo>
                    <a:pt x="9" y="234"/>
                    <a:pt x="10" y="235"/>
                    <a:pt x="12" y="235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161" y="235"/>
                    <a:pt x="161" y="235"/>
                    <a:pt x="161" y="235"/>
                  </a:cubicBezTo>
                  <a:cubicBezTo>
                    <a:pt x="161" y="235"/>
                    <a:pt x="161" y="235"/>
                    <a:pt x="161" y="235"/>
                  </a:cubicBezTo>
                  <a:cubicBezTo>
                    <a:pt x="161" y="235"/>
                    <a:pt x="161" y="235"/>
                    <a:pt x="161" y="235"/>
                  </a:cubicBezTo>
                  <a:cubicBezTo>
                    <a:pt x="163" y="235"/>
                    <a:pt x="165" y="234"/>
                    <a:pt x="166" y="234"/>
                  </a:cubicBezTo>
                  <a:cubicBezTo>
                    <a:pt x="171" y="231"/>
                    <a:pt x="174" y="225"/>
                    <a:pt x="171" y="219"/>
                  </a:cubicBezTo>
                  <a:lnTo>
                    <a:pt x="161" y="200"/>
                  </a:lnTo>
                  <a:close/>
                  <a:moveTo>
                    <a:pt x="55" y="21"/>
                  </a:moveTo>
                  <a:cubicBezTo>
                    <a:pt x="119" y="21"/>
                    <a:pt x="119" y="21"/>
                    <a:pt x="119" y="21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55" y="53"/>
                    <a:pt x="55" y="53"/>
                    <a:pt x="55" y="53"/>
                  </a:cubicBezTo>
                  <a:lnTo>
                    <a:pt x="55" y="21"/>
                  </a:lnTo>
                  <a:close/>
                  <a:moveTo>
                    <a:pt x="140" y="75"/>
                  </a:moveTo>
                  <a:cubicBezTo>
                    <a:pt x="140" y="203"/>
                    <a:pt x="140" y="203"/>
                    <a:pt x="140" y="203"/>
                  </a:cubicBezTo>
                  <a:cubicBezTo>
                    <a:pt x="140" y="204"/>
                    <a:pt x="140" y="206"/>
                    <a:pt x="141" y="207"/>
                  </a:cubicBezTo>
                  <a:cubicBezTo>
                    <a:pt x="144" y="213"/>
                    <a:pt x="144" y="213"/>
                    <a:pt x="144" y="213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2" y="207"/>
                    <a:pt x="32" y="207"/>
                    <a:pt x="32" y="207"/>
                  </a:cubicBezTo>
                  <a:cubicBezTo>
                    <a:pt x="33" y="206"/>
                    <a:pt x="33" y="204"/>
                    <a:pt x="33" y="203"/>
                  </a:cubicBezTo>
                  <a:cubicBezTo>
                    <a:pt x="33" y="75"/>
                    <a:pt x="33" y="75"/>
                    <a:pt x="33" y="75"/>
                  </a:cubicBezTo>
                  <a:lnTo>
                    <a:pt x="14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02" name="Freeform 401"/>
          <p:cNvSpPr>
            <a:spLocks noChangeAspect="1" noEditPoints="1"/>
          </p:cNvSpPr>
          <p:nvPr/>
        </p:nvSpPr>
        <p:spPr bwMode="auto">
          <a:xfrm>
            <a:off x="6404729" y="3749675"/>
            <a:ext cx="369676" cy="369676"/>
          </a:xfrm>
          <a:custGeom>
            <a:avLst/>
            <a:gdLst>
              <a:gd name="T0" fmla="*/ 310 w 512"/>
              <a:gd name="T1" fmla="*/ 388 h 512"/>
              <a:gd name="T2" fmla="*/ 313 w 512"/>
              <a:gd name="T3" fmla="*/ 394 h 512"/>
              <a:gd name="T4" fmla="*/ 198 w 512"/>
              <a:gd name="T5" fmla="*/ 394 h 512"/>
              <a:gd name="T6" fmla="*/ 201 w 512"/>
              <a:gd name="T7" fmla="*/ 388 h 512"/>
              <a:gd name="T8" fmla="*/ 202 w 512"/>
              <a:gd name="T9" fmla="*/ 384 h 512"/>
              <a:gd name="T10" fmla="*/ 202 w 512"/>
              <a:gd name="T11" fmla="*/ 256 h 512"/>
              <a:gd name="T12" fmla="*/ 309 w 512"/>
              <a:gd name="T13" fmla="*/ 256 h 512"/>
              <a:gd name="T14" fmla="*/ 309 w 512"/>
              <a:gd name="T15" fmla="*/ 384 h 512"/>
              <a:gd name="T16" fmla="*/ 310 w 512"/>
              <a:gd name="T17" fmla="*/ 388 h 512"/>
              <a:gd name="T18" fmla="*/ 288 w 512"/>
              <a:gd name="T19" fmla="*/ 202 h 512"/>
              <a:gd name="T20" fmla="*/ 224 w 512"/>
              <a:gd name="T21" fmla="*/ 202 h 512"/>
              <a:gd name="T22" fmla="*/ 224 w 512"/>
              <a:gd name="T23" fmla="*/ 234 h 512"/>
              <a:gd name="T24" fmla="*/ 288 w 512"/>
              <a:gd name="T25" fmla="*/ 234 h 512"/>
              <a:gd name="T26" fmla="*/ 288 w 512"/>
              <a:gd name="T27" fmla="*/ 202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224 w 512"/>
              <a:gd name="T39" fmla="*/ 128 h 512"/>
              <a:gd name="T40" fmla="*/ 256 w 512"/>
              <a:gd name="T41" fmla="*/ 160 h 512"/>
              <a:gd name="T42" fmla="*/ 288 w 512"/>
              <a:gd name="T43" fmla="*/ 128 h 512"/>
              <a:gd name="T44" fmla="*/ 256 w 512"/>
              <a:gd name="T45" fmla="*/ 96 h 512"/>
              <a:gd name="T46" fmla="*/ 224 w 512"/>
              <a:gd name="T47" fmla="*/ 128 h 512"/>
              <a:gd name="T48" fmla="*/ 330 w 512"/>
              <a:gd name="T49" fmla="*/ 381 h 512"/>
              <a:gd name="T50" fmla="*/ 330 w 512"/>
              <a:gd name="T51" fmla="*/ 256 h 512"/>
              <a:gd name="T52" fmla="*/ 341 w 512"/>
              <a:gd name="T53" fmla="*/ 245 h 512"/>
              <a:gd name="T54" fmla="*/ 330 w 512"/>
              <a:gd name="T55" fmla="*/ 234 h 512"/>
              <a:gd name="T56" fmla="*/ 309 w 512"/>
              <a:gd name="T57" fmla="*/ 234 h 512"/>
              <a:gd name="T58" fmla="*/ 309 w 512"/>
              <a:gd name="T59" fmla="*/ 192 h 512"/>
              <a:gd name="T60" fmla="*/ 298 w 512"/>
              <a:gd name="T61" fmla="*/ 181 h 512"/>
              <a:gd name="T62" fmla="*/ 213 w 512"/>
              <a:gd name="T63" fmla="*/ 181 h 512"/>
              <a:gd name="T64" fmla="*/ 202 w 512"/>
              <a:gd name="T65" fmla="*/ 192 h 512"/>
              <a:gd name="T66" fmla="*/ 202 w 512"/>
              <a:gd name="T67" fmla="*/ 234 h 512"/>
              <a:gd name="T68" fmla="*/ 181 w 512"/>
              <a:gd name="T69" fmla="*/ 234 h 512"/>
              <a:gd name="T70" fmla="*/ 170 w 512"/>
              <a:gd name="T71" fmla="*/ 245 h 512"/>
              <a:gd name="T72" fmla="*/ 181 w 512"/>
              <a:gd name="T73" fmla="*/ 256 h 512"/>
              <a:gd name="T74" fmla="*/ 181 w 512"/>
              <a:gd name="T75" fmla="*/ 381 h 512"/>
              <a:gd name="T76" fmla="*/ 171 w 512"/>
              <a:gd name="T77" fmla="*/ 400 h 512"/>
              <a:gd name="T78" fmla="*/ 176 w 512"/>
              <a:gd name="T79" fmla="*/ 415 h 512"/>
              <a:gd name="T80" fmla="*/ 181 w 512"/>
              <a:gd name="T81" fmla="*/ 416 h 512"/>
              <a:gd name="T82" fmla="*/ 181 w 512"/>
              <a:gd name="T83" fmla="*/ 416 h 512"/>
              <a:gd name="T84" fmla="*/ 330 w 512"/>
              <a:gd name="T85" fmla="*/ 416 h 512"/>
              <a:gd name="T86" fmla="*/ 330 w 512"/>
              <a:gd name="T87" fmla="*/ 416 h 512"/>
              <a:gd name="T88" fmla="*/ 330 w 512"/>
              <a:gd name="T89" fmla="*/ 416 h 512"/>
              <a:gd name="T90" fmla="*/ 335 w 512"/>
              <a:gd name="T91" fmla="*/ 415 h 512"/>
              <a:gd name="T92" fmla="*/ 340 w 512"/>
              <a:gd name="T93" fmla="*/ 400 h 512"/>
              <a:gd name="T94" fmla="*/ 330 w 512"/>
              <a:gd name="T95" fmla="*/ 381 h 512"/>
              <a:gd name="T96" fmla="*/ 256 w 512"/>
              <a:gd name="T97" fmla="*/ 138 h 512"/>
              <a:gd name="T98" fmla="*/ 266 w 512"/>
              <a:gd name="T99" fmla="*/ 128 h 512"/>
              <a:gd name="T100" fmla="*/ 256 w 512"/>
              <a:gd name="T101" fmla="*/ 117 h 512"/>
              <a:gd name="T102" fmla="*/ 245 w 512"/>
              <a:gd name="T103" fmla="*/ 128 h 512"/>
              <a:gd name="T104" fmla="*/ 256 w 512"/>
              <a:gd name="T105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310" y="388"/>
                </a:moveTo>
                <a:cubicBezTo>
                  <a:pt x="313" y="394"/>
                  <a:pt x="313" y="394"/>
                  <a:pt x="313" y="394"/>
                </a:cubicBezTo>
                <a:cubicBezTo>
                  <a:pt x="198" y="394"/>
                  <a:pt x="198" y="394"/>
                  <a:pt x="198" y="394"/>
                </a:cubicBezTo>
                <a:cubicBezTo>
                  <a:pt x="201" y="388"/>
                  <a:pt x="201" y="388"/>
                  <a:pt x="201" y="388"/>
                </a:cubicBezTo>
                <a:cubicBezTo>
                  <a:pt x="202" y="387"/>
                  <a:pt x="202" y="385"/>
                  <a:pt x="202" y="384"/>
                </a:cubicBezTo>
                <a:cubicBezTo>
                  <a:pt x="202" y="256"/>
                  <a:pt x="202" y="256"/>
                  <a:pt x="202" y="256"/>
                </a:cubicBezTo>
                <a:cubicBezTo>
                  <a:pt x="309" y="256"/>
                  <a:pt x="309" y="256"/>
                  <a:pt x="309" y="256"/>
                </a:cubicBezTo>
                <a:cubicBezTo>
                  <a:pt x="309" y="384"/>
                  <a:pt x="309" y="384"/>
                  <a:pt x="309" y="384"/>
                </a:cubicBezTo>
                <a:cubicBezTo>
                  <a:pt x="309" y="385"/>
                  <a:pt x="309" y="387"/>
                  <a:pt x="310" y="388"/>
                </a:cubicBezTo>
                <a:close/>
                <a:moveTo>
                  <a:pt x="288" y="202"/>
                </a:moveTo>
                <a:cubicBezTo>
                  <a:pt x="224" y="202"/>
                  <a:pt x="224" y="202"/>
                  <a:pt x="224" y="202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88" y="234"/>
                  <a:pt x="288" y="234"/>
                  <a:pt x="288" y="234"/>
                </a:cubicBezTo>
                <a:lnTo>
                  <a:pt x="288" y="20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330" y="381"/>
                </a:moveTo>
                <a:cubicBezTo>
                  <a:pt x="330" y="256"/>
                  <a:pt x="330" y="256"/>
                  <a:pt x="330" y="256"/>
                </a:cubicBezTo>
                <a:cubicBezTo>
                  <a:pt x="336" y="256"/>
                  <a:pt x="341" y="251"/>
                  <a:pt x="341" y="245"/>
                </a:cubicBezTo>
                <a:cubicBezTo>
                  <a:pt x="341" y="239"/>
                  <a:pt x="336" y="234"/>
                  <a:pt x="330" y="234"/>
                </a:cubicBezTo>
                <a:cubicBezTo>
                  <a:pt x="309" y="234"/>
                  <a:pt x="309" y="234"/>
                  <a:pt x="309" y="234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09" y="186"/>
                  <a:pt x="304" y="181"/>
                  <a:pt x="298" y="181"/>
                </a:cubicBezTo>
                <a:cubicBezTo>
                  <a:pt x="213" y="181"/>
                  <a:pt x="213" y="181"/>
                  <a:pt x="213" y="181"/>
                </a:cubicBezTo>
                <a:cubicBezTo>
                  <a:pt x="207" y="181"/>
                  <a:pt x="202" y="186"/>
                  <a:pt x="202" y="192"/>
                </a:cubicBezTo>
                <a:cubicBezTo>
                  <a:pt x="202" y="234"/>
                  <a:pt x="202" y="234"/>
                  <a:pt x="202" y="234"/>
                </a:cubicBezTo>
                <a:cubicBezTo>
                  <a:pt x="181" y="234"/>
                  <a:pt x="181" y="234"/>
                  <a:pt x="181" y="234"/>
                </a:cubicBezTo>
                <a:cubicBezTo>
                  <a:pt x="175" y="234"/>
                  <a:pt x="170" y="239"/>
                  <a:pt x="170" y="245"/>
                </a:cubicBezTo>
                <a:cubicBezTo>
                  <a:pt x="170" y="251"/>
                  <a:pt x="175" y="256"/>
                  <a:pt x="181" y="256"/>
                </a:cubicBezTo>
                <a:cubicBezTo>
                  <a:pt x="181" y="381"/>
                  <a:pt x="181" y="381"/>
                  <a:pt x="181" y="381"/>
                </a:cubicBezTo>
                <a:cubicBezTo>
                  <a:pt x="171" y="400"/>
                  <a:pt x="171" y="400"/>
                  <a:pt x="171" y="400"/>
                </a:cubicBezTo>
                <a:cubicBezTo>
                  <a:pt x="169" y="406"/>
                  <a:pt x="171" y="412"/>
                  <a:pt x="176" y="415"/>
                </a:cubicBezTo>
                <a:cubicBezTo>
                  <a:pt x="178" y="415"/>
                  <a:pt x="179" y="416"/>
                  <a:pt x="181" y="416"/>
                </a:cubicBezTo>
                <a:cubicBezTo>
                  <a:pt x="181" y="416"/>
                  <a:pt x="181" y="416"/>
                  <a:pt x="181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2" y="416"/>
                  <a:pt x="334" y="415"/>
                  <a:pt x="335" y="415"/>
                </a:cubicBezTo>
                <a:cubicBezTo>
                  <a:pt x="340" y="412"/>
                  <a:pt x="343" y="406"/>
                  <a:pt x="340" y="400"/>
                </a:cubicBezTo>
                <a:lnTo>
                  <a:pt x="330" y="381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3" name="Freeform 615"/>
          <p:cNvSpPr>
            <a:spLocks noChangeAspect="1" noEditPoints="1"/>
          </p:cNvSpPr>
          <p:nvPr/>
        </p:nvSpPr>
        <p:spPr bwMode="auto">
          <a:xfrm>
            <a:off x="7400775" y="3749675"/>
            <a:ext cx="367982" cy="367982"/>
          </a:xfrm>
          <a:custGeom>
            <a:avLst/>
            <a:gdLst>
              <a:gd name="T0" fmla="*/ 234 w 512"/>
              <a:gd name="T1" fmla="*/ 234 h 512"/>
              <a:gd name="T2" fmla="*/ 277 w 512"/>
              <a:gd name="T3" fmla="*/ 234 h 512"/>
              <a:gd name="T4" fmla="*/ 277 w 512"/>
              <a:gd name="T5" fmla="*/ 277 h 512"/>
              <a:gd name="T6" fmla="*/ 234 w 512"/>
              <a:gd name="T7" fmla="*/ 277 h 512"/>
              <a:gd name="T8" fmla="*/ 234 w 512"/>
              <a:gd name="T9" fmla="*/ 234 h 512"/>
              <a:gd name="T10" fmla="*/ 117 w 512"/>
              <a:gd name="T11" fmla="*/ 304 h 512"/>
              <a:gd name="T12" fmla="*/ 213 w 512"/>
              <a:gd name="T13" fmla="*/ 270 h 512"/>
              <a:gd name="T14" fmla="*/ 213 w 512"/>
              <a:gd name="T15" fmla="*/ 252 h 512"/>
              <a:gd name="T16" fmla="*/ 117 w 512"/>
              <a:gd name="T17" fmla="*/ 208 h 512"/>
              <a:gd name="T18" fmla="*/ 117 w 512"/>
              <a:gd name="T19" fmla="*/ 304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416 w 512"/>
              <a:gd name="T31" fmla="*/ 192 h 512"/>
              <a:gd name="T32" fmla="*/ 411 w 512"/>
              <a:gd name="T33" fmla="*/ 183 h 512"/>
              <a:gd name="T34" fmla="*/ 401 w 512"/>
              <a:gd name="T35" fmla="*/ 182 h 512"/>
              <a:gd name="T36" fmla="*/ 298 w 512"/>
              <a:gd name="T37" fmla="*/ 229 h 512"/>
              <a:gd name="T38" fmla="*/ 277 w 512"/>
              <a:gd name="T39" fmla="*/ 213 h 512"/>
              <a:gd name="T40" fmla="*/ 234 w 512"/>
              <a:gd name="T41" fmla="*/ 213 h 512"/>
              <a:gd name="T42" fmla="*/ 214 w 512"/>
              <a:gd name="T43" fmla="*/ 229 h 512"/>
              <a:gd name="T44" fmla="*/ 111 w 512"/>
              <a:gd name="T45" fmla="*/ 182 h 512"/>
              <a:gd name="T46" fmla="*/ 101 w 512"/>
              <a:gd name="T47" fmla="*/ 183 h 512"/>
              <a:gd name="T48" fmla="*/ 96 w 512"/>
              <a:gd name="T49" fmla="*/ 192 h 512"/>
              <a:gd name="T50" fmla="*/ 96 w 512"/>
              <a:gd name="T51" fmla="*/ 320 h 512"/>
              <a:gd name="T52" fmla="*/ 100 w 512"/>
              <a:gd name="T53" fmla="*/ 328 h 512"/>
              <a:gd name="T54" fmla="*/ 106 w 512"/>
              <a:gd name="T55" fmla="*/ 330 h 512"/>
              <a:gd name="T56" fmla="*/ 110 w 512"/>
              <a:gd name="T57" fmla="*/ 330 h 512"/>
              <a:gd name="T58" fmla="*/ 218 w 512"/>
              <a:gd name="T59" fmla="*/ 290 h 512"/>
              <a:gd name="T60" fmla="*/ 234 w 512"/>
              <a:gd name="T61" fmla="*/ 298 h 512"/>
              <a:gd name="T62" fmla="*/ 277 w 512"/>
              <a:gd name="T63" fmla="*/ 298 h 512"/>
              <a:gd name="T64" fmla="*/ 293 w 512"/>
              <a:gd name="T65" fmla="*/ 290 h 512"/>
              <a:gd name="T66" fmla="*/ 401 w 512"/>
              <a:gd name="T67" fmla="*/ 330 h 512"/>
              <a:gd name="T68" fmla="*/ 405 w 512"/>
              <a:gd name="T69" fmla="*/ 330 h 512"/>
              <a:gd name="T70" fmla="*/ 411 w 512"/>
              <a:gd name="T71" fmla="*/ 328 h 512"/>
              <a:gd name="T72" fmla="*/ 416 w 512"/>
              <a:gd name="T73" fmla="*/ 320 h 512"/>
              <a:gd name="T74" fmla="*/ 416 w 512"/>
              <a:gd name="T75" fmla="*/ 192 h 512"/>
              <a:gd name="T76" fmla="*/ 298 w 512"/>
              <a:gd name="T77" fmla="*/ 270 h 512"/>
              <a:gd name="T78" fmla="*/ 394 w 512"/>
              <a:gd name="T79" fmla="*/ 304 h 512"/>
              <a:gd name="T80" fmla="*/ 394 w 512"/>
              <a:gd name="T81" fmla="*/ 208 h 512"/>
              <a:gd name="T82" fmla="*/ 298 w 512"/>
              <a:gd name="T83" fmla="*/ 252 h 512"/>
              <a:gd name="T84" fmla="*/ 298 w 512"/>
              <a:gd name="T85" fmla="*/ 2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234" y="234"/>
                </a:moveTo>
                <a:cubicBezTo>
                  <a:pt x="277" y="234"/>
                  <a:pt x="277" y="234"/>
                  <a:pt x="277" y="234"/>
                </a:cubicBezTo>
                <a:cubicBezTo>
                  <a:pt x="277" y="277"/>
                  <a:pt x="277" y="277"/>
                  <a:pt x="277" y="277"/>
                </a:cubicBezTo>
                <a:cubicBezTo>
                  <a:pt x="234" y="277"/>
                  <a:pt x="234" y="277"/>
                  <a:pt x="234" y="277"/>
                </a:cubicBezTo>
                <a:lnTo>
                  <a:pt x="234" y="234"/>
                </a:lnTo>
                <a:close/>
                <a:moveTo>
                  <a:pt x="117" y="304"/>
                </a:moveTo>
                <a:cubicBezTo>
                  <a:pt x="213" y="270"/>
                  <a:pt x="213" y="270"/>
                  <a:pt x="213" y="270"/>
                </a:cubicBezTo>
                <a:cubicBezTo>
                  <a:pt x="213" y="252"/>
                  <a:pt x="213" y="252"/>
                  <a:pt x="213" y="252"/>
                </a:cubicBezTo>
                <a:cubicBezTo>
                  <a:pt x="117" y="208"/>
                  <a:pt x="117" y="208"/>
                  <a:pt x="117" y="208"/>
                </a:cubicBezTo>
                <a:lnTo>
                  <a:pt x="117" y="30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92"/>
                </a:moveTo>
                <a:cubicBezTo>
                  <a:pt x="416" y="188"/>
                  <a:pt x="414" y="185"/>
                  <a:pt x="411" y="183"/>
                </a:cubicBezTo>
                <a:cubicBezTo>
                  <a:pt x="408" y="181"/>
                  <a:pt x="404" y="180"/>
                  <a:pt x="401" y="182"/>
                </a:cubicBezTo>
                <a:cubicBezTo>
                  <a:pt x="298" y="229"/>
                  <a:pt x="298" y="229"/>
                  <a:pt x="298" y="229"/>
                </a:cubicBezTo>
                <a:cubicBezTo>
                  <a:pt x="295" y="220"/>
                  <a:pt x="287" y="213"/>
                  <a:pt x="277" y="213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24" y="213"/>
                  <a:pt x="216" y="220"/>
                  <a:pt x="214" y="229"/>
                </a:cubicBezTo>
                <a:cubicBezTo>
                  <a:pt x="111" y="182"/>
                  <a:pt x="111" y="182"/>
                  <a:pt x="111" y="182"/>
                </a:cubicBezTo>
                <a:cubicBezTo>
                  <a:pt x="107" y="180"/>
                  <a:pt x="104" y="181"/>
                  <a:pt x="101" y="183"/>
                </a:cubicBezTo>
                <a:cubicBezTo>
                  <a:pt x="98" y="185"/>
                  <a:pt x="96" y="188"/>
                  <a:pt x="96" y="192"/>
                </a:cubicBezTo>
                <a:cubicBezTo>
                  <a:pt x="96" y="320"/>
                  <a:pt x="96" y="320"/>
                  <a:pt x="96" y="320"/>
                </a:cubicBezTo>
                <a:cubicBezTo>
                  <a:pt x="96" y="323"/>
                  <a:pt x="97" y="326"/>
                  <a:pt x="100" y="328"/>
                </a:cubicBezTo>
                <a:cubicBezTo>
                  <a:pt x="102" y="330"/>
                  <a:pt x="104" y="330"/>
                  <a:pt x="106" y="330"/>
                </a:cubicBezTo>
                <a:cubicBezTo>
                  <a:pt x="108" y="330"/>
                  <a:pt x="109" y="330"/>
                  <a:pt x="110" y="330"/>
                </a:cubicBezTo>
                <a:cubicBezTo>
                  <a:pt x="218" y="290"/>
                  <a:pt x="218" y="290"/>
                  <a:pt x="218" y="290"/>
                </a:cubicBezTo>
                <a:cubicBezTo>
                  <a:pt x="222" y="295"/>
                  <a:pt x="228" y="298"/>
                  <a:pt x="234" y="298"/>
                </a:cubicBezTo>
                <a:cubicBezTo>
                  <a:pt x="277" y="298"/>
                  <a:pt x="277" y="298"/>
                  <a:pt x="277" y="298"/>
                </a:cubicBezTo>
                <a:cubicBezTo>
                  <a:pt x="284" y="298"/>
                  <a:pt x="290" y="295"/>
                  <a:pt x="293" y="290"/>
                </a:cubicBezTo>
                <a:cubicBezTo>
                  <a:pt x="401" y="330"/>
                  <a:pt x="401" y="330"/>
                  <a:pt x="401" y="330"/>
                </a:cubicBezTo>
                <a:cubicBezTo>
                  <a:pt x="403" y="330"/>
                  <a:pt x="404" y="330"/>
                  <a:pt x="405" y="330"/>
                </a:cubicBezTo>
                <a:cubicBezTo>
                  <a:pt x="407" y="330"/>
                  <a:pt x="409" y="330"/>
                  <a:pt x="411" y="328"/>
                </a:cubicBezTo>
                <a:cubicBezTo>
                  <a:pt x="414" y="326"/>
                  <a:pt x="416" y="323"/>
                  <a:pt x="416" y="320"/>
                </a:cubicBezTo>
                <a:lnTo>
                  <a:pt x="416" y="192"/>
                </a:lnTo>
                <a:close/>
                <a:moveTo>
                  <a:pt x="298" y="270"/>
                </a:moveTo>
                <a:cubicBezTo>
                  <a:pt x="394" y="304"/>
                  <a:pt x="394" y="304"/>
                  <a:pt x="394" y="304"/>
                </a:cubicBezTo>
                <a:cubicBezTo>
                  <a:pt x="394" y="208"/>
                  <a:pt x="394" y="208"/>
                  <a:pt x="394" y="208"/>
                </a:cubicBezTo>
                <a:cubicBezTo>
                  <a:pt x="298" y="252"/>
                  <a:pt x="298" y="252"/>
                  <a:pt x="298" y="252"/>
                </a:cubicBezTo>
                <a:lnTo>
                  <a:pt x="298" y="27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4" name="Group 618"/>
          <p:cNvGrpSpPr>
            <a:grpSpLocks noChangeAspect="1"/>
          </p:cNvGrpSpPr>
          <p:nvPr/>
        </p:nvGrpSpPr>
        <p:grpSpPr bwMode="auto">
          <a:xfrm>
            <a:off x="7897104" y="3749675"/>
            <a:ext cx="367982" cy="367982"/>
            <a:chOff x="4794" y="2594"/>
            <a:chExt cx="340" cy="340"/>
          </a:xfrm>
          <a:solidFill>
            <a:schemeClr val="accent1"/>
          </a:solidFill>
        </p:grpSpPr>
        <p:sp>
          <p:nvSpPr>
            <p:cNvPr id="405" name="Freeform 619"/>
            <p:cNvSpPr>
              <a:spLocks noEditPoints="1"/>
            </p:cNvSpPr>
            <p:nvPr/>
          </p:nvSpPr>
          <p:spPr bwMode="auto">
            <a:xfrm>
              <a:off x="4794" y="25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6" name="Freeform 620"/>
            <p:cNvSpPr>
              <a:spLocks noEditPoints="1"/>
            </p:cNvSpPr>
            <p:nvPr/>
          </p:nvSpPr>
          <p:spPr bwMode="auto">
            <a:xfrm>
              <a:off x="4858" y="2714"/>
              <a:ext cx="212" cy="99"/>
            </a:xfrm>
            <a:custGeom>
              <a:avLst/>
              <a:gdLst>
                <a:gd name="T0" fmla="*/ 315 w 320"/>
                <a:gd name="T1" fmla="*/ 3 h 150"/>
                <a:gd name="T2" fmla="*/ 305 w 320"/>
                <a:gd name="T3" fmla="*/ 2 h 150"/>
                <a:gd name="T4" fmla="*/ 202 w 320"/>
                <a:gd name="T5" fmla="*/ 49 h 150"/>
                <a:gd name="T6" fmla="*/ 181 w 320"/>
                <a:gd name="T7" fmla="*/ 33 h 150"/>
                <a:gd name="T8" fmla="*/ 138 w 320"/>
                <a:gd name="T9" fmla="*/ 33 h 150"/>
                <a:gd name="T10" fmla="*/ 118 w 320"/>
                <a:gd name="T11" fmla="*/ 49 h 150"/>
                <a:gd name="T12" fmla="*/ 15 w 320"/>
                <a:gd name="T13" fmla="*/ 2 h 150"/>
                <a:gd name="T14" fmla="*/ 5 w 320"/>
                <a:gd name="T15" fmla="*/ 3 h 150"/>
                <a:gd name="T16" fmla="*/ 0 w 320"/>
                <a:gd name="T17" fmla="*/ 12 h 150"/>
                <a:gd name="T18" fmla="*/ 0 w 320"/>
                <a:gd name="T19" fmla="*/ 140 h 150"/>
                <a:gd name="T20" fmla="*/ 4 w 320"/>
                <a:gd name="T21" fmla="*/ 148 h 150"/>
                <a:gd name="T22" fmla="*/ 10 w 320"/>
                <a:gd name="T23" fmla="*/ 150 h 150"/>
                <a:gd name="T24" fmla="*/ 14 w 320"/>
                <a:gd name="T25" fmla="*/ 150 h 150"/>
                <a:gd name="T26" fmla="*/ 122 w 320"/>
                <a:gd name="T27" fmla="*/ 110 h 150"/>
                <a:gd name="T28" fmla="*/ 138 w 320"/>
                <a:gd name="T29" fmla="*/ 118 h 150"/>
                <a:gd name="T30" fmla="*/ 181 w 320"/>
                <a:gd name="T31" fmla="*/ 118 h 150"/>
                <a:gd name="T32" fmla="*/ 197 w 320"/>
                <a:gd name="T33" fmla="*/ 110 h 150"/>
                <a:gd name="T34" fmla="*/ 305 w 320"/>
                <a:gd name="T35" fmla="*/ 150 h 150"/>
                <a:gd name="T36" fmla="*/ 309 w 320"/>
                <a:gd name="T37" fmla="*/ 150 h 150"/>
                <a:gd name="T38" fmla="*/ 315 w 320"/>
                <a:gd name="T39" fmla="*/ 148 h 150"/>
                <a:gd name="T40" fmla="*/ 320 w 320"/>
                <a:gd name="T41" fmla="*/ 140 h 150"/>
                <a:gd name="T42" fmla="*/ 320 w 320"/>
                <a:gd name="T43" fmla="*/ 12 h 150"/>
                <a:gd name="T44" fmla="*/ 315 w 320"/>
                <a:gd name="T45" fmla="*/ 3 h 150"/>
                <a:gd name="T46" fmla="*/ 21 w 320"/>
                <a:gd name="T47" fmla="*/ 28 h 150"/>
                <a:gd name="T48" fmla="*/ 117 w 320"/>
                <a:gd name="T49" fmla="*/ 72 h 150"/>
                <a:gd name="T50" fmla="*/ 117 w 320"/>
                <a:gd name="T51" fmla="*/ 90 h 150"/>
                <a:gd name="T52" fmla="*/ 21 w 320"/>
                <a:gd name="T53" fmla="*/ 124 h 150"/>
                <a:gd name="T54" fmla="*/ 21 w 320"/>
                <a:gd name="T55" fmla="*/ 28 h 150"/>
                <a:gd name="T56" fmla="*/ 181 w 320"/>
                <a:gd name="T57" fmla="*/ 97 h 150"/>
                <a:gd name="T58" fmla="*/ 138 w 320"/>
                <a:gd name="T59" fmla="*/ 97 h 150"/>
                <a:gd name="T60" fmla="*/ 138 w 320"/>
                <a:gd name="T61" fmla="*/ 54 h 150"/>
                <a:gd name="T62" fmla="*/ 181 w 320"/>
                <a:gd name="T63" fmla="*/ 54 h 150"/>
                <a:gd name="T64" fmla="*/ 181 w 320"/>
                <a:gd name="T65" fmla="*/ 97 h 150"/>
                <a:gd name="T66" fmla="*/ 298 w 320"/>
                <a:gd name="T67" fmla="*/ 124 h 150"/>
                <a:gd name="T68" fmla="*/ 202 w 320"/>
                <a:gd name="T69" fmla="*/ 90 h 150"/>
                <a:gd name="T70" fmla="*/ 202 w 320"/>
                <a:gd name="T71" fmla="*/ 72 h 150"/>
                <a:gd name="T72" fmla="*/ 298 w 320"/>
                <a:gd name="T73" fmla="*/ 28 h 150"/>
                <a:gd name="T74" fmla="*/ 298 w 320"/>
                <a:gd name="T75" fmla="*/ 12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150">
                  <a:moveTo>
                    <a:pt x="315" y="3"/>
                  </a:moveTo>
                  <a:cubicBezTo>
                    <a:pt x="312" y="1"/>
                    <a:pt x="308" y="0"/>
                    <a:pt x="305" y="2"/>
                  </a:cubicBezTo>
                  <a:cubicBezTo>
                    <a:pt x="202" y="49"/>
                    <a:pt x="202" y="49"/>
                    <a:pt x="202" y="49"/>
                  </a:cubicBezTo>
                  <a:cubicBezTo>
                    <a:pt x="199" y="40"/>
                    <a:pt x="191" y="33"/>
                    <a:pt x="181" y="33"/>
                  </a:cubicBezTo>
                  <a:cubicBezTo>
                    <a:pt x="138" y="33"/>
                    <a:pt x="138" y="33"/>
                    <a:pt x="138" y="33"/>
                  </a:cubicBezTo>
                  <a:cubicBezTo>
                    <a:pt x="128" y="33"/>
                    <a:pt x="120" y="40"/>
                    <a:pt x="118" y="49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0"/>
                    <a:pt x="8" y="1"/>
                    <a:pt x="5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6"/>
                    <a:pt x="4" y="148"/>
                  </a:cubicBezTo>
                  <a:cubicBezTo>
                    <a:pt x="6" y="150"/>
                    <a:pt x="8" y="150"/>
                    <a:pt x="10" y="150"/>
                  </a:cubicBezTo>
                  <a:cubicBezTo>
                    <a:pt x="12" y="150"/>
                    <a:pt x="13" y="150"/>
                    <a:pt x="14" y="150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6" y="115"/>
                    <a:pt x="132" y="118"/>
                    <a:pt x="138" y="118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188" y="118"/>
                    <a:pt x="194" y="115"/>
                    <a:pt x="197" y="110"/>
                  </a:cubicBezTo>
                  <a:cubicBezTo>
                    <a:pt x="305" y="150"/>
                    <a:pt x="305" y="150"/>
                    <a:pt x="305" y="150"/>
                  </a:cubicBezTo>
                  <a:cubicBezTo>
                    <a:pt x="307" y="150"/>
                    <a:pt x="308" y="150"/>
                    <a:pt x="309" y="150"/>
                  </a:cubicBezTo>
                  <a:cubicBezTo>
                    <a:pt x="311" y="150"/>
                    <a:pt x="313" y="150"/>
                    <a:pt x="315" y="148"/>
                  </a:cubicBezTo>
                  <a:cubicBezTo>
                    <a:pt x="318" y="146"/>
                    <a:pt x="320" y="143"/>
                    <a:pt x="320" y="140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0" y="8"/>
                    <a:pt x="318" y="5"/>
                    <a:pt x="315" y="3"/>
                  </a:cubicBezTo>
                  <a:close/>
                  <a:moveTo>
                    <a:pt x="21" y="28"/>
                  </a:moveTo>
                  <a:cubicBezTo>
                    <a:pt x="117" y="72"/>
                    <a:pt x="117" y="72"/>
                    <a:pt x="117" y="72"/>
                  </a:cubicBezTo>
                  <a:cubicBezTo>
                    <a:pt x="117" y="90"/>
                    <a:pt x="117" y="90"/>
                    <a:pt x="117" y="90"/>
                  </a:cubicBezTo>
                  <a:cubicBezTo>
                    <a:pt x="21" y="124"/>
                    <a:pt x="21" y="124"/>
                    <a:pt x="21" y="124"/>
                  </a:cubicBezTo>
                  <a:lnTo>
                    <a:pt x="21" y="28"/>
                  </a:lnTo>
                  <a:close/>
                  <a:moveTo>
                    <a:pt x="181" y="97"/>
                  </a:moveTo>
                  <a:cubicBezTo>
                    <a:pt x="138" y="97"/>
                    <a:pt x="138" y="97"/>
                    <a:pt x="138" y="97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81" y="54"/>
                    <a:pt x="181" y="54"/>
                    <a:pt x="181" y="54"/>
                  </a:cubicBezTo>
                  <a:lnTo>
                    <a:pt x="181" y="97"/>
                  </a:lnTo>
                  <a:close/>
                  <a:moveTo>
                    <a:pt x="298" y="124"/>
                  </a:moveTo>
                  <a:cubicBezTo>
                    <a:pt x="202" y="90"/>
                    <a:pt x="202" y="90"/>
                    <a:pt x="202" y="90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98" y="28"/>
                    <a:pt x="298" y="28"/>
                    <a:pt x="298" y="28"/>
                  </a:cubicBezTo>
                  <a:lnTo>
                    <a:pt x="298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07" name="Group 387"/>
          <p:cNvGrpSpPr>
            <a:grpSpLocks noChangeAspect="1"/>
          </p:cNvGrpSpPr>
          <p:nvPr/>
        </p:nvGrpSpPr>
        <p:grpSpPr bwMode="auto">
          <a:xfrm>
            <a:off x="8890801" y="3749679"/>
            <a:ext cx="369021" cy="369021"/>
            <a:chOff x="7355" y="1558"/>
            <a:chExt cx="340" cy="340"/>
          </a:xfrm>
          <a:solidFill>
            <a:schemeClr val="accent5"/>
          </a:solidFill>
        </p:grpSpPr>
        <p:sp>
          <p:nvSpPr>
            <p:cNvPr id="408" name="Freeform 388"/>
            <p:cNvSpPr>
              <a:spLocks noEditPoints="1"/>
            </p:cNvSpPr>
            <p:nvPr/>
          </p:nvSpPr>
          <p:spPr bwMode="auto">
            <a:xfrm>
              <a:off x="7355" y="15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9" name="Freeform 389"/>
            <p:cNvSpPr>
              <a:spLocks noEditPoints="1"/>
            </p:cNvSpPr>
            <p:nvPr/>
          </p:nvSpPr>
          <p:spPr bwMode="auto">
            <a:xfrm>
              <a:off x="7418" y="1664"/>
              <a:ext cx="213" cy="149"/>
            </a:xfrm>
            <a:custGeom>
              <a:avLst/>
              <a:gdLst>
                <a:gd name="T0" fmla="*/ 321 w 321"/>
                <a:gd name="T1" fmla="*/ 160 h 224"/>
                <a:gd name="T2" fmla="*/ 129 w 321"/>
                <a:gd name="T3" fmla="*/ 170 h 224"/>
                <a:gd name="T4" fmla="*/ 129 w 321"/>
                <a:gd name="T5" fmla="*/ 149 h 224"/>
                <a:gd name="T6" fmla="*/ 299 w 321"/>
                <a:gd name="T7" fmla="*/ 21 h 224"/>
                <a:gd name="T8" fmla="*/ 75 w 321"/>
                <a:gd name="T9" fmla="*/ 32 h 224"/>
                <a:gd name="T10" fmla="*/ 54 w 321"/>
                <a:gd name="T11" fmla="*/ 32 h 224"/>
                <a:gd name="T12" fmla="*/ 65 w 321"/>
                <a:gd name="T13" fmla="*/ 0 h 224"/>
                <a:gd name="T14" fmla="*/ 321 w 321"/>
                <a:gd name="T15" fmla="*/ 10 h 224"/>
                <a:gd name="T16" fmla="*/ 90 w 321"/>
                <a:gd name="T17" fmla="*/ 193 h 224"/>
                <a:gd name="T18" fmla="*/ 101 w 321"/>
                <a:gd name="T19" fmla="*/ 136 h 224"/>
                <a:gd name="T20" fmla="*/ 54 w 321"/>
                <a:gd name="T21" fmla="*/ 58 h 224"/>
                <a:gd name="T22" fmla="*/ 54 w 321"/>
                <a:gd name="T23" fmla="*/ 58 h 224"/>
                <a:gd name="T24" fmla="*/ 54 w 321"/>
                <a:gd name="T25" fmla="*/ 58 h 224"/>
                <a:gd name="T26" fmla="*/ 6 w 321"/>
                <a:gd name="T27" fmla="*/ 136 h 224"/>
                <a:gd name="T28" fmla="*/ 18 w 321"/>
                <a:gd name="T29" fmla="*/ 192 h 224"/>
                <a:gd name="T30" fmla="*/ 22 w 321"/>
                <a:gd name="T31" fmla="*/ 213 h 224"/>
                <a:gd name="T32" fmla="*/ 42 w 321"/>
                <a:gd name="T33" fmla="*/ 190 h 224"/>
                <a:gd name="T34" fmla="*/ 27 w 321"/>
                <a:gd name="T35" fmla="*/ 131 h 224"/>
                <a:gd name="T36" fmla="*/ 54 w 321"/>
                <a:gd name="T37" fmla="*/ 80 h 224"/>
                <a:gd name="T38" fmla="*/ 54 w 321"/>
                <a:gd name="T39" fmla="*/ 80 h 224"/>
                <a:gd name="T40" fmla="*/ 81 w 321"/>
                <a:gd name="T41" fmla="*/ 131 h 224"/>
                <a:gd name="T42" fmla="*/ 65 w 321"/>
                <a:gd name="T43" fmla="*/ 190 h 224"/>
                <a:gd name="T44" fmla="*/ 99 w 321"/>
                <a:gd name="T45" fmla="*/ 216 h 224"/>
                <a:gd name="T46" fmla="*/ 128 w 321"/>
                <a:gd name="T47" fmla="*/ 224 h 224"/>
                <a:gd name="T48" fmla="*/ 135 w 321"/>
                <a:gd name="T49" fmla="*/ 206 h 224"/>
                <a:gd name="T50" fmla="*/ 139 w 321"/>
                <a:gd name="T51" fmla="*/ 74 h 224"/>
                <a:gd name="T52" fmla="*/ 278 w 321"/>
                <a:gd name="T53" fmla="*/ 64 h 224"/>
                <a:gd name="T54" fmla="*/ 139 w 321"/>
                <a:gd name="T55" fmla="*/ 53 h 224"/>
                <a:gd name="T56" fmla="*/ 139 w 321"/>
                <a:gd name="T57" fmla="*/ 74 h 224"/>
                <a:gd name="T58" fmla="*/ 267 w 321"/>
                <a:gd name="T59" fmla="*/ 117 h 224"/>
                <a:gd name="T60" fmla="*/ 267 w 321"/>
                <a:gd name="T61" fmla="*/ 96 h 224"/>
                <a:gd name="T62" fmla="*/ 129 w 321"/>
                <a:gd name="T63" fmla="*/ 10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1" h="224">
                  <a:moveTo>
                    <a:pt x="321" y="10"/>
                  </a:moveTo>
                  <a:cubicBezTo>
                    <a:pt x="321" y="160"/>
                    <a:pt x="321" y="160"/>
                    <a:pt x="321" y="160"/>
                  </a:cubicBezTo>
                  <a:cubicBezTo>
                    <a:pt x="321" y="166"/>
                    <a:pt x="316" y="170"/>
                    <a:pt x="310" y="170"/>
                  </a:cubicBezTo>
                  <a:cubicBezTo>
                    <a:pt x="129" y="170"/>
                    <a:pt x="129" y="170"/>
                    <a:pt x="129" y="170"/>
                  </a:cubicBezTo>
                  <a:cubicBezTo>
                    <a:pt x="123" y="170"/>
                    <a:pt x="118" y="166"/>
                    <a:pt x="118" y="160"/>
                  </a:cubicBezTo>
                  <a:cubicBezTo>
                    <a:pt x="118" y="154"/>
                    <a:pt x="123" y="149"/>
                    <a:pt x="129" y="149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99" y="21"/>
                    <a:pt x="299" y="21"/>
                    <a:pt x="299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8"/>
                    <a:pt x="71" y="42"/>
                    <a:pt x="65" y="42"/>
                  </a:cubicBezTo>
                  <a:cubicBezTo>
                    <a:pt x="59" y="42"/>
                    <a:pt x="54" y="38"/>
                    <a:pt x="54" y="32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4"/>
                    <a:pt x="59" y="0"/>
                    <a:pt x="65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16" y="0"/>
                    <a:pt x="321" y="4"/>
                    <a:pt x="321" y="10"/>
                  </a:cubicBezTo>
                  <a:close/>
                  <a:moveTo>
                    <a:pt x="103" y="195"/>
                  </a:moveTo>
                  <a:cubicBezTo>
                    <a:pt x="98" y="194"/>
                    <a:pt x="92" y="193"/>
                    <a:pt x="90" y="193"/>
                  </a:cubicBezTo>
                  <a:cubicBezTo>
                    <a:pt x="88" y="191"/>
                    <a:pt x="84" y="180"/>
                    <a:pt x="85" y="176"/>
                  </a:cubicBezTo>
                  <a:cubicBezTo>
                    <a:pt x="91" y="166"/>
                    <a:pt x="98" y="150"/>
                    <a:pt x="101" y="136"/>
                  </a:cubicBezTo>
                  <a:cubicBezTo>
                    <a:pt x="108" y="110"/>
                    <a:pt x="105" y="90"/>
                    <a:pt x="94" y="77"/>
                  </a:cubicBezTo>
                  <a:cubicBezTo>
                    <a:pt x="80" y="59"/>
                    <a:pt x="58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1" y="58"/>
                    <a:pt x="28" y="59"/>
                    <a:pt x="14" y="77"/>
                  </a:cubicBezTo>
                  <a:cubicBezTo>
                    <a:pt x="3" y="90"/>
                    <a:pt x="0" y="110"/>
                    <a:pt x="6" y="136"/>
                  </a:cubicBezTo>
                  <a:cubicBezTo>
                    <a:pt x="10" y="150"/>
                    <a:pt x="17" y="166"/>
                    <a:pt x="23" y="176"/>
                  </a:cubicBezTo>
                  <a:cubicBezTo>
                    <a:pt x="24" y="180"/>
                    <a:pt x="20" y="191"/>
                    <a:pt x="18" y="192"/>
                  </a:cubicBezTo>
                  <a:cubicBezTo>
                    <a:pt x="13" y="194"/>
                    <a:pt x="10" y="201"/>
                    <a:pt x="12" y="206"/>
                  </a:cubicBezTo>
                  <a:cubicBezTo>
                    <a:pt x="14" y="210"/>
                    <a:pt x="18" y="213"/>
                    <a:pt x="22" y="213"/>
                  </a:cubicBezTo>
                  <a:cubicBezTo>
                    <a:pt x="23" y="213"/>
                    <a:pt x="25" y="213"/>
                    <a:pt x="26" y="212"/>
                  </a:cubicBezTo>
                  <a:cubicBezTo>
                    <a:pt x="36" y="209"/>
                    <a:pt x="40" y="197"/>
                    <a:pt x="42" y="190"/>
                  </a:cubicBezTo>
                  <a:cubicBezTo>
                    <a:pt x="44" y="184"/>
                    <a:pt x="47" y="172"/>
                    <a:pt x="41" y="164"/>
                  </a:cubicBezTo>
                  <a:cubicBezTo>
                    <a:pt x="36" y="157"/>
                    <a:pt x="30" y="142"/>
                    <a:pt x="27" y="131"/>
                  </a:cubicBezTo>
                  <a:cubicBezTo>
                    <a:pt x="23" y="112"/>
                    <a:pt x="24" y="99"/>
                    <a:pt x="30" y="90"/>
                  </a:cubicBezTo>
                  <a:cubicBezTo>
                    <a:pt x="39" y="80"/>
                    <a:pt x="53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69" y="80"/>
                    <a:pt x="77" y="90"/>
                  </a:cubicBezTo>
                  <a:cubicBezTo>
                    <a:pt x="84" y="98"/>
                    <a:pt x="85" y="112"/>
                    <a:pt x="81" y="131"/>
                  </a:cubicBezTo>
                  <a:cubicBezTo>
                    <a:pt x="78" y="142"/>
                    <a:pt x="72" y="157"/>
                    <a:pt x="66" y="164"/>
                  </a:cubicBezTo>
                  <a:cubicBezTo>
                    <a:pt x="61" y="172"/>
                    <a:pt x="64" y="183"/>
                    <a:pt x="65" y="190"/>
                  </a:cubicBezTo>
                  <a:cubicBezTo>
                    <a:pt x="67" y="197"/>
                    <a:pt x="72" y="209"/>
                    <a:pt x="82" y="212"/>
                  </a:cubicBezTo>
                  <a:cubicBezTo>
                    <a:pt x="86" y="214"/>
                    <a:pt x="92" y="215"/>
                    <a:pt x="99" y="216"/>
                  </a:cubicBezTo>
                  <a:cubicBezTo>
                    <a:pt x="105" y="217"/>
                    <a:pt x="118" y="219"/>
                    <a:pt x="121" y="222"/>
                  </a:cubicBezTo>
                  <a:cubicBezTo>
                    <a:pt x="123" y="223"/>
                    <a:pt x="126" y="224"/>
                    <a:pt x="128" y="224"/>
                  </a:cubicBezTo>
                  <a:cubicBezTo>
                    <a:pt x="131" y="224"/>
                    <a:pt x="134" y="223"/>
                    <a:pt x="136" y="221"/>
                  </a:cubicBezTo>
                  <a:cubicBezTo>
                    <a:pt x="140" y="216"/>
                    <a:pt x="140" y="210"/>
                    <a:pt x="135" y="206"/>
                  </a:cubicBezTo>
                  <a:cubicBezTo>
                    <a:pt x="128" y="199"/>
                    <a:pt x="115" y="197"/>
                    <a:pt x="103" y="195"/>
                  </a:cubicBezTo>
                  <a:close/>
                  <a:moveTo>
                    <a:pt x="139" y="74"/>
                  </a:moveTo>
                  <a:cubicBezTo>
                    <a:pt x="267" y="74"/>
                    <a:pt x="267" y="74"/>
                    <a:pt x="267" y="74"/>
                  </a:cubicBezTo>
                  <a:cubicBezTo>
                    <a:pt x="273" y="74"/>
                    <a:pt x="278" y="70"/>
                    <a:pt x="278" y="64"/>
                  </a:cubicBezTo>
                  <a:cubicBezTo>
                    <a:pt x="278" y="58"/>
                    <a:pt x="273" y="53"/>
                    <a:pt x="267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3" y="53"/>
                    <a:pt x="129" y="58"/>
                    <a:pt x="129" y="64"/>
                  </a:cubicBezTo>
                  <a:cubicBezTo>
                    <a:pt x="129" y="70"/>
                    <a:pt x="133" y="74"/>
                    <a:pt x="139" y="74"/>
                  </a:cubicBezTo>
                  <a:close/>
                  <a:moveTo>
                    <a:pt x="139" y="117"/>
                  </a:moveTo>
                  <a:cubicBezTo>
                    <a:pt x="267" y="117"/>
                    <a:pt x="267" y="117"/>
                    <a:pt x="267" y="117"/>
                  </a:cubicBezTo>
                  <a:cubicBezTo>
                    <a:pt x="273" y="117"/>
                    <a:pt x="278" y="112"/>
                    <a:pt x="278" y="106"/>
                  </a:cubicBezTo>
                  <a:cubicBezTo>
                    <a:pt x="278" y="100"/>
                    <a:pt x="273" y="96"/>
                    <a:pt x="267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3" y="96"/>
                    <a:pt x="129" y="100"/>
                    <a:pt x="129" y="106"/>
                  </a:cubicBezTo>
                  <a:cubicBezTo>
                    <a:pt x="129" y="112"/>
                    <a:pt x="133" y="117"/>
                    <a:pt x="139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0" name="Freeform 393"/>
          <p:cNvSpPr>
            <a:spLocks noChangeAspect="1" noEditPoints="1"/>
          </p:cNvSpPr>
          <p:nvPr/>
        </p:nvSpPr>
        <p:spPr bwMode="auto">
          <a:xfrm>
            <a:off x="8393433" y="3749675"/>
            <a:ext cx="369021" cy="370106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1 w 512"/>
              <a:gd name="T5" fmla="*/ 381 h 512"/>
              <a:gd name="T6" fmla="*/ 216 w 512"/>
              <a:gd name="T7" fmla="*/ 382 h 512"/>
              <a:gd name="T8" fmla="*/ 177 w 512"/>
              <a:gd name="T9" fmla="*/ 372 h 512"/>
              <a:gd name="T10" fmla="*/ 161 w 512"/>
              <a:gd name="T11" fmla="*/ 324 h 512"/>
              <a:gd name="T12" fmla="*/ 172 w 512"/>
              <a:gd name="T13" fmla="*/ 250 h 512"/>
              <a:gd name="T14" fmla="*/ 149 w 512"/>
              <a:gd name="T15" fmla="*/ 240 h 512"/>
              <a:gd name="T16" fmla="*/ 125 w 512"/>
              <a:gd name="T17" fmla="*/ 250 h 512"/>
              <a:gd name="T18" fmla="*/ 136 w 512"/>
              <a:gd name="T19" fmla="*/ 324 h 512"/>
              <a:gd name="T20" fmla="*/ 121 w 512"/>
              <a:gd name="T21" fmla="*/ 372 h 512"/>
              <a:gd name="T22" fmla="*/ 107 w 512"/>
              <a:gd name="T23" fmla="*/ 366 h 512"/>
              <a:gd name="T24" fmla="*/ 118 w 512"/>
              <a:gd name="T25" fmla="*/ 336 h 512"/>
              <a:gd name="T26" fmla="*/ 109 w 512"/>
              <a:gd name="T27" fmla="*/ 237 h 512"/>
              <a:gd name="T28" fmla="*/ 149 w 512"/>
              <a:gd name="T29" fmla="*/ 218 h 512"/>
              <a:gd name="T30" fmla="*/ 149 w 512"/>
              <a:gd name="T31" fmla="*/ 218 h 512"/>
              <a:gd name="T32" fmla="*/ 189 w 512"/>
              <a:gd name="T33" fmla="*/ 237 h 512"/>
              <a:gd name="T34" fmla="*/ 180 w 512"/>
              <a:gd name="T35" fmla="*/ 336 h 512"/>
              <a:gd name="T36" fmla="*/ 198 w 512"/>
              <a:gd name="T37" fmla="*/ 355 h 512"/>
              <a:gd name="T38" fmla="*/ 231 w 512"/>
              <a:gd name="T39" fmla="*/ 381 h 512"/>
              <a:gd name="T40" fmla="*/ 405 w 512"/>
              <a:gd name="T41" fmla="*/ 330 h 512"/>
              <a:gd name="T42" fmla="*/ 213 w 512"/>
              <a:gd name="T43" fmla="*/ 320 h 512"/>
              <a:gd name="T44" fmla="*/ 394 w 512"/>
              <a:gd name="T45" fmla="*/ 309 h 512"/>
              <a:gd name="T46" fmla="*/ 170 w 512"/>
              <a:gd name="T47" fmla="*/ 181 h 512"/>
              <a:gd name="T48" fmla="*/ 160 w 512"/>
              <a:gd name="T49" fmla="*/ 202 h 512"/>
              <a:gd name="T50" fmla="*/ 149 w 512"/>
              <a:gd name="T51" fmla="*/ 170 h 512"/>
              <a:gd name="T52" fmla="*/ 405 w 512"/>
              <a:gd name="T53" fmla="*/ 160 h 512"/>
              <a:gd name="T54" fmla="*/ 416 w 512"/>
              <a:gd name="T55" fmla="*/ 320 h 512"/>
              <a:gd name="T56" fmla="*/ 362 w 512"/>
              <a:gd name="T57" fmla="*/ 256 h 512"/>
              <a:gd name="T58" fmla="*/ 362 w 512"/>
              <a:gd name="T59" fmla="*/ 277 h 512"/>
              <a:gd name="T60" fmla="*/ 224 w 512"/>
              <a:gd name="T61" fmla="*/ 266 h 512"/>
              <a:gd name="T62" fmla="*/ 224 w 512"/>
              <a:gd name="T63" fmla="*/ 224 h 512"/>
              <a:gd name="T64" fmla="*/ 362 w 512"/>
              <a:gd name="T65" fmla="*/ 213 h 512"/>
              <a:gd name="T66" fmla="*/ 362 w 512"/>
              <a:gd name="T67" fmla="*/ 234 h 512"/>
              <a:gd name="T68" fmla="*/ 224 w 512"/>
              <a:gd name="T6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1" y="381"/>
                </a:moveTo>
                <a:cubicBezTo>
                  <a:pt x="229" y="383"/>
                  <a:pt x="226" y="384"/>
                  <a:pt x="223" y="384"/>
                </a:cubicBezTo>
                <a:cubicBezTo>
                  <a:pt x="221" y="384"/>
                  <a:pt x="218" y="383"/>
                  <a:pt x="216" y="382"/>
                </a:cubicBezTo>
                <a:cubicBezTo>
                  <a:pt x="213" y="379"/>
                  <a:pt x="200" y="377"/>
                  <a:pt x="194" y="376"/>
                </a:cubicBezTo>
                <a:cubicBezTo>
                  <a:pt x="187" y="375"/>
                  <a:pt x="181" y="374"/>
                  <a:pt x="177" y="372"/>
                </a:cubicBezTo>
                <a:cubicBezTo>
                  <a:pt x="167" y="369"/>
                  <a:pt x="162" y="357"/>
                  <a:pt x="160" y="350"/>
                </a:cubicBezTo>
                <a:cubicBezTo>
                  <a:pt x="159" y="343"/>
                  <a:pt x="156" y="332"/>
                  <a:pt x="161" y="324"/>
                </a:cubicBezTo>
                <a:cubicBezTo>
                  <a:pt x="167" y="317"/>
                  <a:pt x="173" y="302"/>
                  <a:pt x="176" y="291"/>
                </a:cubicBezTo>
                <a:cubicBezTo>
                  <a:pt x="180" y="272"/>
                  <a:pt x="179" y="258"/>
                  <a:pt x="172" y="250"/>
                </a:cubicBezTo>
                <a:cubicBezTo>
                  <a:pt x="164" y="240"/>
                  <a:pt x="149" y="240"/>
                  <a:pt x="149" y="240"/>
                </a:cubicBezTo>
                <a:cubicBezTo>
                  <a:pt x="149" y="240"/>
                  <a:pt x="149" y="240"/>
                  <a:pt x="149" y="240"/>
                </a:cubicBezTo>
                <a:cubicBezTo>
                  <a:pt x="149" y="240"/>
                  <a:pt x="149" y="240"/>
                  <a:pt x="149" y="240"/>
                </a:cubicBezTo>
                <a:cubicBezTo>
                  <a:pt x="148" y="240"/>
                  <a:pt x="134" y="240"/>
                  <a:pt x="125" y="250"/>
                </a:cubicBezTo>
                <a:cubicBezTo>
                  <a:pt x="119" y="259"/>
                  <a:pt x="118" y="272"/>
                  <a:pt x="122" y="291"/>
                </a:cubicBezTo>
                <a:cubicBezTo>
                  <a:pt x="125" y="302"/>
                  <a:pt x="131" y="317"/>
                  <a:pt x="136" y="324"/>
                </a:cubicBezTo>
                <a:cubicBezTo>
                  <a:pt x="142" y="332"/>
                  <a:pt x="139" y="344"/>
                  <a:pt x="137" y="350"/>
                </a:cubicBezTo>
                <a:cubicBezTo>
                  <a:pt x="135" y="357"/>
                  <a:pt x="131" y="369"/>
                  <a:pt x="121" y="372"/>
                </a:cubicBezTo>
                <a:cubicBezTo>
                  <a:pt x="120" y="373"/>
                  <a:pt x="118" y="373"/>
                  <a:pt x="117" y="373"/>
                </a:cubicBezTo>
                <a:cubicBezTo>
                  <a:pt x="113" y="373"/>
                  <a:pt x="109" y="370"/>
                  <a:pt x="107" y="366"/>
                </a:cubicBezTo>
                <a:cubicBezTo>
                  <a:pt x="105" y="361"/>
                  <a:pt x="108" y="354"/>
                  <a:pt x="113" y="352"/>
                </a:cubicBezTo>
                <a:cubicBezTo>
                  <a:pt x="115" y="351"/>
                  <a:pt x="119" y="340"/>
                  <a:pt x="118" y="336"/>
                </a:cubicBezTo>
                <a:cubicBezTo>
                  <a:pt x="112" y="326"/>
                  <a:pt x="105" y="310"/>
                  <a:pt x="101" y="296"/>
                </a:cubicBezTo>
                <a:cubicBezTo>
                  <a:pt x="95" y="270"/>
                  <a:pt x="98" y="250"/>
                  <a:pt x="109" y="237"/>
                </a:cubicBezTo>
                <a:cubicBezTo>
                  <a:pt x="123" y="219"/>
                  <a:pt x="146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49" y="218"/>
                  <a:pt x="149" y="218"/>
                  <a:pt x="149" y="218"/>
                </a:cubicBezTo>
                <a:cubicBezTo>
                  <a:pt x="153" y="218"/>
                  <a:pt x="175" y="219"/>
                  <a:pt x="189" y="237"/>
                </a:cubicBezTo>
                <a:cubicBezTo>
                  <a:pt x="200" y="250"/>
                  <a:pt x="203" y="270"/>
                  <a:pt x="196" y="296"/>
                </a:cubicBezTo>
                <a:cubicBezTo>
                  <a:pt x="193" y="310"/>
                  <a:pt x="186" y="326"/>
                  <a:pt x="180" y="336"/>
                </a:cubicBezTo>
                <a:cubicBezTo>
                  <a:pt x="179" y="340"/>
                  <a:pt x="183" y="351"/>
                  <a:pt x="185" y="353"/>
                </a:cubicBezTo>
                <a:cubicBezTo>
                  <a:pt x="187" y="353"/>
                  <a:pt x="193" y="354"/>
                  <a:pt x="198" y="355"/>
                </a:cubicBezTo>
                <a:cubicBezTo>
                  <a:pt x="210" y="357"/>
                  <a:pt x="223" y="359"/>
                  <a:pt x="230" y="366"/>
                </a:cubicBezTo>
                <a:cubicBezTo>
                  <a:pt x="235" y="370"/>
                  <a:pt x="235" y="376"/>
                  <a:pt x="231" y="381"/>
                </a:cubicBezTo>
                <a:close/>
                <a:moveTo>
                  <a:pt x="416" y="320"/>
                </a:moveTo>
                <a:cubicBezTo>
                  <a:pt x="416" y="326"/>
                  <a:pt x="411" y="330"/>
                  <a:pt x="405" y="330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18" y="330"/>
                  <a:pt x="213" y="326"/>
                  <a:pt x="213" y="320"/>
                </a:cubicBezTo>
                <a:cubicBezTo>
                  <a:pt x="213" y="314"/>
                  <a:pt x="218" y="309"/>
                  <a:pt x="224" y="309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170" y="181"/>
                  <a:pt x="170" y="181"/>
                  <a:pt x="170" y="181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70" y="198"/>
                  <a:pt x="166" y="202"/>
                  <a:pt x="160" y="202"/>
                </a:cubicBezTo>
                <a:cubicBezTo>
                  <a:pt x="154" y="202"/>
                  <a:pt x="149" y="198"/>
                  <a:pt x="149" y="192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49" y="164"/>
                  <a:pt x="154" y="160"/>
                  <a:pt x="160" y="160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11" y="160"/>
                  <a:pt x="416" y="164"/>
                  <a:pt x="416" y="170"/>
                </a:cubicBezTo>
                <a:lnTo>
                  <a:pt x="416" y="320"/>
                </a:lnTo>
                <a:close/>
                <a:moveTo>
                  <a:pt x="234" y="256"/>
                </a:moveTo>
                <a:cubicBezTo>
                  <a:pt x="362" y="256"/>
                  <a:pt x="362" y="256"/>
                  <a:pt x="362" y="256"/>
                </a:cubicBezTo>
                <a:cubicBezTo>
                  <a:pt x="368" y="256"/>
                  <a:pt x="373" y="260"/>
                  <a:pt x="373" y="266"/>
                </a:cubicBezTo>
                <a:cubicBezTo>
                  <a:pt x="373" y="272"/>
                  <a:pt x="368" y="277"/>
                  <a:pt x="362" y="277"/>
                </a:cubicBezTo>
                <a:cubicBezTo>
                  <a:pt x="234" y="277"/>
                  <a:pt x="234" y="277"/>
                  <a:pt x="234" y="277"/>
                </a:cubicBezTo>
                <a:cubicBezTo>
                  <a:pt x="228" y="277"/>
                  <a:pt x="224" y="272"/>
                  <a:pt x="224" y="266"/>
                </a:cubicBezTo>
                <a:cubicBezTo>
                  <a:pt x="224" y="260"/>
                  <a:pt x="228" y="256"/>
                  <a:pt x="234" y="256"/>
                </a:cubicBezTo>
                <a:close/>
                <a:moveTo>
                  <a:pt x="224" y="224"/>
                </a:moveTo>
                <a:cubicBezTo>
                  <a:pt x="224" y="218"/>
                  <a:pt x="228" y="213"/>
                  <a:pt x="234" y="213"/>
                </a:cubicBezTo>
                <a:cubicBezTo>
                  <a:pt x="362" y="213"/>
                  <a:pt x="362" y="213"/>
                  <a:pt x="362" y="213"/>
                </a:cubicBezTo>
                <a:cubicBezTo>
                  <a:pt x="368" y="213"/>
                  <a:pt x="373" y="218"/>
                  <a:pt x="373" y="224"/>
                </a:cubicBezTo>
                <a:cubicBezTo>
                  <a:pt x="373" y="230"/>
                  <a:pt x="368" y="234"/>
                  <a:pt x="362" y="234"/>
                </a:cubicBezTo>
                <a:cubicBezTo>
                  <a:pt x="234" y="234"/>
                  <a:pt x="234" y="234"/>
                  <a:pt x="234" y="234"/>
                </a:cubicBezTo>
                <a:cubicBezTo>
                  <a:pt x="228" y="234"/>
                  <a:pt x="224" y="230"/>
                  <a:pt x="224" y="22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1" name="Freeform 589"/>
          <p:cNvSpPr>
            <a:spLocks noChangeAspect="1" noEditPoints="1"/>
          </p:cNvSpPr>
          <p:nvPr/>
        </p:nvSpPr>
        <p:spPr bwMode="auto">
          <a:xfrm>
            <a:off x="449517" y="2909480"/>
            <a:ext cx="367982" cy="367982"/>
          </a:xfrm>
          <a:custGeom>
            <a:avLst/>
            <a:gdLst>
              <a:gd name="T0" fmla="*/ 384 w 512"/>
              <a:gd name="T1" fmla="*/ 157 h 512"/>
              <a:gd name="T2" fmla="*/ 384 w 512"/>
              <a:gd name="T3" fmla="*/ 349 h 512"/>
              <a:gd name="T4" fmla="*/ 266 w 512"/>
              <a:gd name="T5" fmla="*/ 348 h 512"/>
              <a:gd name="T6" fmla="*/ 266 w 512"/>
              <a:gd name="T7" fmla="*/ 157 h 512"/>
              <a:gd name="T8" fmla="*/ 384 w 512"/>
              <a:gd name="T9" fmla="*/ 157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405 w 512"/>
              <a:gd name="T21" fmla="*/ 149 h 512"/>
              <a:gd name="T22" fmla="*/ 398 w 512"/>
              <a:gd name="T23" fmla="*/ 139 h 512"/>
              <a:gd name="T24" fmla="*/ 256 w 512"/>
              <a:gd name="T25" fmla="*/ 138 h 512"/>
              <a:gd name="T26" fmla="*/ 114 w 512"/>
              <a:gd name="T27" fmla="*/ 139 h 512"/>
              <a:gd name="T28" fmla="*/ 106 w 512"/>
              <a:gd name="T29" fmla="*/ 149 h 512"/>
              <a:gd name="T30" fmla="*/ 106 w 512"/>
              <a:gd name="T31" fmla="*/ 362 h 512"/>
              <a:gd name="T32" fmla="*/ 111 w 512"/>
              <a:gd name="T33" fmla="*/ 371 h 512"/>
              <a:gd name="T34" fmla="*/ 121 w 512"/>
              <a:gd name="T35" fmla="*/ 372 h 512"/>
              <a:gd name="T36" fmla="*/ 253 w 512"/>
              <a:gd name="T37" fmla="*/ 373 h 512"/>
              <a:gd name="T38" fmla="*/ 256 w 512"/>
              <a:gd name="T39" fmla="*/ 373 h 512"/>
              <a:gd name="T40" fmla="*/ 260 w 512"/>
              <a:gd name="T41" fmla="*/ 372 h 512"/>
              <a:gd name="T42" fmla="*/ 260 w 512"/>
              <a:gd name="T43" fmla="*/ 372 h 512"/>
              <a:gd name="T44" fmla="*/ 391 w 512"/>
              <a:gd name="T45" fmla="*/ 373 h 512"/>
              <a:gd name="T46" fmla="*/ 401 w 512"/>
              <a:gd name="T47" fmla="*/ 371 h 512"/>
              <a:gd name="T48" fmla="*/ 405 w 512"/>
              <a:gd name="T49" fmla="*/ 362 h 512"/>
              <a:gd name="T50" fmla="*/ 405 w 512"/>
              <a:gd name="T51" fmla="*/ 149 h 512"/>
              <a:gd name="T52" fmla="*/ 128 w 512"/>
              <a:gd name="T53" fmla="*/ 157 h 512"/>
              <a:gd name="T54" fmla="*/ 128 w 512"/>
              <a:gd name="T55" fmla="*/ 348 h 512"/>
              <a:gd name="T56" fmla="*/ 245 w 512"/>
              <a:gd name="T57" fmla="*/ 349 h 512"/>
              <a:gd name="T58" fmla="*/ 245 w 512"/>
              <a:gd name="T59" fmla="*/ 157 h 512"/>
              <a:gd name="T60" fmla="*/ 128 w 512"/>
              <a:gd name="T61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384" y="157"/>
                </a:moveTo>
                <a:cubicBezTo>
                  <a:pt x="384" y="349"/>
                  <a:pt x="384" y="349"/>
                  <a:pt x="384" y="349"/>
                </a:cubicBezTo>
                <a:cubicBezTo>
                  <a:pt x="328" y="335"/>
                  <a:pt x="287" y="342"/>
                  <a:pt x="266" y="348"/>
                </a:cubicBezTo>
                <a:cubicBezTo>
                  <a:pt x="266" y="157"/>
                  <a:pt x="266" y="157"/>
                  <a:pt x="266" y="157"/>
                </a:cubicBezTo>
                <a:cubicBezTo>
                  <a:pt x="321" y="144"/>
                  <a:pt x="367" y="153"/>
                  <a:pt x="384" y="15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4"/>
                  <a:pt x="402" y="140"/>
                  <a:pt x="398" y="139"/>
                </a:cubicBezTo>
                <a:cubicBezTo>
                  <a:pt x="395" y="138"/>
                  <a:pt x="334" y="117"/>
                  <a:pt x="256" y="138"/>
                </a:cubicBezTo>
                <a:cubicBezTo>
                  <a:pt x="243" y="133"/>
                  <a:pt x="191" y="120"/>
                  <a:pt x="114" y="139"/>
                </a:cubicBezTo>
                <a:cubicBezTo>
                  <a:pt x="110" y="140"/>
                  <a:pt x="106" y="144"/>
                  <a:pt x="106" y="149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6" y="366"/>
                  <a:pt x="108" y="369"/>
                  <a:pt x="111" y="371"/>
                </a:cubicBezTo>
                <a:cubicBezTo>
                  <a:pt x="114" y="373"/>
                  <a:pt x="118" y="374"/>
                  <a:pt x="121" y="372"/>
                </a:cubicBezTo>
                <a:cubicBezTo>
                  <a:pt x="122" y="372"/>
                  <a:pt x="178" y="350"/>
                  <a:pt x="253" y="373"/>
                </a:cubicBezTo>
                <a:cubicBezTo>
                  <a:pt x="254" y="373"/>
                  <a:pt x="255" y="373"/>
                  <a:pt x="256" y="373"/>
                </a:cubicBezTo>
                <a:cubicBezTo>
                  <a:pt x="257" y="373"/>
                  <a:pt x="259" y="373"/>
                  <a:pt x="260" y="372"/>
                </a:cubicBezTo>
                <a:cubicBezTo>
                  <a:pt x="260" y="372"/>
                  <a:pt x="260" y="372"/>
                  <a:pt x="260" y="372"/>
                </a:cubicBezTo>
                <a:cubicBezTo>
                  <a:pt x="261" y="372"/>
                  <a:pt x="311" y="350"/>
                  <a:pt x="391" y="373"/>
                </a:cubicBezTo>
                <a:cubicBezTo>
                  <a:pt x="395" y="373"/>
                  <a:pt x="398" y="373"/>
                  <a:pt x="401" y="371"/>
                </a:cubicBezTo>
                <a:cubicBezTo>
                  <a:pt x="403" y="369"/>
                  <a:pt x="405" y="366"/>
                  <a:pt x="405" y="362"/>
                </a:cubicBezTo>
                <a:lnTo>
                  <a:pt x="405" y="149"/>
                </a:lnTo>
                <a:close/>
                <a:moveTo>
                  <a:pt x="128" y="157"/>
                </a:moveTo>
                <a:cubicBezTo>
                  <a:pt x="128" y="348"/>
                  <a:pt x="128" y="348"/>
                  <a:pt x="128" y="348"/>
                </a:cubicBezTo>
                <a:cubicBezTo>
                  <a:pt x="149" y="342"/>
                  <a:pt x="192" y="336"/>
                  <a:pt x="245" y="349"/>
                </a:cubicBezTo>
                <a:cubicBezTo>
                  <a:pt x="245" y="157"/>
                  <a:pt x="245" y="157"/>
                  <a:pt x="245" y="157"/>
                </a:cubicBezTo>
                <a:cubicBezTo>
                  <a:pt x="229" y="153"/>
                  <a:pt x="187" y="144"/>
                  <a:pt x="128" y="1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2" name="Group 592"/>
          <p:cNvGrpSpPr>
            <a:grpSpLocks noChangeAspect="1"/>
          </p:cNvGrpSpPr>
          <p:nvPr/>
        </p:nvGrpSpPr>
        <p:grpSpPr bwMode="auto">
          <a:xfrm>
            <a:off x="945824" y="2909485"/>
            <a:ext cx="367982" cy="369064"/>
            <a:chOff x="2962" y="2760"/>
            <a:chExt cx="340" cy="341"/>
          </a:xfrm>
          <a:solidFill>
            <a:schemeClr val="accent1"/>
          </a:solidFill>
        </p:grpSpPr>
        <p:sp>
          <p:nvSpPr>
            <p:cNvPr id="413" name="Freeform 593"/>
            <p:cNvSpPr>
              <a:spLocks noEditPoints="1"/>
            </p:cNvSpPr>
            <p:nvPr/>
          </p:nvSpPr>
          <p:spPr bwMode="auto">
            <a:xfrm>
              <a:off x="2962" y="276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4" name="Freeform 594"/>
            <p:cNvSpPr>
              <a:spLocks noEditPoints="1"/>
            </p:cNvSpPr>
            <p:nvPr/>
          </p:nvSpPr>
          <p:spPr bwMode="auto">
            <a:xfrm>
              <a:off x="3032" y="2838"/>
              <a:ext cx="199" cy="171"/>
            </a:xfrm>
            <a:custGeom>
              <a:avLst/>
              <a:gdLst>
                <a:gd name="T0" fmla="*/ 292 w 299"/>
                <a:gd name="T1" fmla="*/ 22 h 257"/>
                <a:gd name="T2" fmla="*/ 150 w 299"/>
                <a:gd name="T3" fmla="*/ 21 h 257"/>
                <a:gd name="T4" fmla="*/ 8 w 299"/>
                <a:gd name="T5" fmla="*/ 22 h 257"/>
                <a:gd name="T6" fmla="*/ 0 w 299"/>
                <a:gd name="T7" fmla="*/ 32 h 257"/>
                <a:gd name="T8" fmla="*/ 0 w 299"/>
                <a:gd name="T9" fmla="*/ 245 h 257"/>
                <a:gd name="T10" fmla="*/ 5 w 299"/>
                <a:gd name="T11" fmla="*/ 254 h 257"/>
                <a:gd name="T12" fmla="*/ 15 w 299"/>
                <a:gd name="T13" fmla="*/ 255 h 257"/>
                <a:gd name="T14" fmla="*/ 147 w 299"/>
                <a:gd name="T15" fmla="*/ 256 h 257"/>
                <a:gd name="T16" fmla="*/ 150 w 299"/>
                <a:gd name="T17" fmla="*/ 256 h 257"/>
                <a:gd name="T18" fmla="*/ 154 w 299"/>
                <a:gd name="T19" fmla="*/ 255 h 257"/>
                <a:gd name="T20" fmla="*/ 154 w 299"/>
                <a:gd name="T21" fmla="*/ 255 h 257"/>
                <a:gd name="T22" fmla="*/ 285 w 299"/>
                <a:gd name="T23" fmla="*/ 256 h 257"/>
                <a:gd name="T24" fmla="*/ 295 w 299"/>
                <a:gd name="T25" fmla="*/ 254 h 257"/>
                <a:gd name="T26" fmla="*/ 299 w 299"/>
                <a:gd name="T27" fmla="*/ 245 h 257"/>
                <a:gd name="T28" fmla="*/ 299 w 299"/>
                <a:gd name="T29" fmla="*/ 32 h 257"/>
                <a:gd name="T30" fmla="*/ 292 w 299"/>
                <a:gd name="T31" fmla="*/ 22 h 257"/>
                <a:gd name="T32" fmla="*/ 22 w 299"/>
                <a:gd name="T33" fmla="*/ 231 h 257"/>
                <a:gd name="T34" fmla="*/ 22 w 299"/>
                <a:gd name="T35" fmla="*/ 40 h 257"/>
                <a:gd name="T36" fmla="*/ 139 w 299"/>
                <a:gd name="T37" fmla="*/ 40 h 257"/>
                <a:gd name="T38" fmla="*/ 139 w 299"/>
                <a:gd name="T39" fmla="*/ 232 h 257"/>
                <a:gd name="T40" fmla="*/ 22 w 299"/>
                <a:gd name="T41" fmla="*/ 231 h 257"/>
                <a:gd name="T42" fmla="*/ 278 w 299"/>
                <a:gd name="T43" fmla="*/ 232 h 257"/>
                <a:gd name="T44" fmla="*/ 160 w 299"/>
                <a:gd name="T45" fmla="*/ 231 h 257"/>
                <a:gd name="T46" fmla="*/ 160 w 299"/>
                <a:gd name="T47" fmla="*/ 40 h 257"/>
                <a:gd name="T48" fmla="*/ 278 w 299"/>
                <a:gd name="T49" fmla="*/ 40 h 257"/>
                <a:gd name="T50" fmla="*/ 278 w 299"/>
                <a:gd name="T51" fmla="*/ 23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9" h="257">
                  <a:moveTo>
                    <a:pt x="292" y="22"/>
                  </a:moveTo>
                  <a:cubicBezTo>
                    <a:pt x="289" y="21"/>
                    <a:pt x="228" y="0"/>
                    <a:pt x="150" y="21"/>
                  </a:cubicBezTo>
                  <a:cubicBezTo>
                    <a:pt x="137" y="16"/>
                    <a:pt x="85" y="3"/>
                    <a:pt x="8" y="22"/>
                  </a:cubicBezTo>
                  <a:cubicBezTo>
                    <a:pt x="4" y="23"/>
                    <a:pt x="0" y="27"/>
                    <a:pt x="0" y="32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49"/>
                    <a:pt x="2" y="252"/>
                    <a:pt x="5" y="254"/>
                  </a:cubicBezTo>
                  <a:cubicBezTo>
                    <a:pt x="8" y="256"/>
                    <a:pt x="12" y="257"/>
                    <a:pt x="15" y="255"/>
                  </a:cubicBezTo>
                  <a:cubicBezTo>
                    <a:pt x="16" y="255"/>
                    <a:pt x="72" y="233"/>
                    <a:pt x="147" y="256"/>
                  </a:cubicBezTo>
                  <a:cubicBezTo>
                    <a:pt x="148" y="256"/>
                    <a:pt x="149" y="256"/>
                    <a:pt x="150" y="256"/>
                  </a:cubicBezTo>
                  <a:cubicBezTo>
                    <a:pt x="151" y="256"/>
                    <a:pt x="153" y="256"/>
                    <a:pt x="154" y="255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55" y="255"/>
                    <a:pt x="205" y="233"/>
                    <a:pt x="285" y="256"/>
                  </a:cubicBezTo>
                  <a:cubicBezTo>
                    <a:pt x="289" y="256"/>
                    <a:pt x="292" y="256"/>
                    <a:pt x="295" y="254"/>
                  </a:cubicBezTo>
                  <a:cubicBezTo>
                    <a:pt x="297" y="252"/>
                    <a:pt x="299" y="249"/>
                    <a:pt x="299" y="245"/>
                  </a:cubicBezTo>
                  <a:cubicBezTo>
                    <a:pt x="299" y="32"/>
                    <a:pt x="299" y="32"/>
                    <a:pt x="299" y="32"/>
                  </a:cubicBezTo>
                  <a:cubicBezTo>
                    <a:pt x="299" y="27"/>
                    <a:pt x="296" y="23"/>
                    <a:pt x="292" y="22"/>
                  </a:cubicBezTo>
                  <a:close/>
                  <a:moveTo>
                    <a:pt x="22" y="231"/>
                  </a:moveTo>
                  <a:cubicBezTo>
                    <a:pt x="22" y="40"/>
                    <a:pt x="22" y="40"/>
                    <a:pt x="22" y="40"/>
                  </a:cubicBezTo>
                  <a:cubicBezTo>
                    <a:pt x="81" y="27"/>
                    <a:pt x="123" y="36"/>
                    <a:pt x="139" y="40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86" y="219"/>
                    <a:pt x="43" y="225"/>
                    <a:pt x="22" y="231"/>
                  </a:cubicBezTo>
                  <a:close/>
                  <a:moveTo>
                    <a:pt x="278" y="232"/>
                  </a:moveTo>
                  <a:cubicBezTo>
                    <a:pt x="222" y="218"/>
                    <a:pt x="181" y="225"/>
                    <a:pt x="160" y="231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215" y="27"/>
                    <a:pt x="261" y="36"/>
                    <a:pt x="278" y="40"/>
                  </a:cubicBezTo>
                  <a:lnTo>
                    <a:pt x="278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5" name="TextBox 414"/>
          <p:cNvSpPr txBox="1"/>
          <p:nvPr/>
        </p:nvSpPr>
        <p:spPr>
          <a:xfrm>
            <a:off x="477834" y="334487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ook open</a:t>
            </a:r>
          </a:p>
        </p:txBody>
      </p:sp>
      <p:grpSp>
        <p:nvGrpSpPr>
          <p:cNvPr id="416" name="Group 777"/>
          <p:cNvGrpSpPr>
            <a:grpSpLocks noChangeAspect="1"/>
          </p:cNvGrpSpPr>
          <p:nvPr/>
        </p:nvGrpSpPr>
        <p:grpSpPr bwMode="auto">
          <a:xfrm>
            <a:off x="926878" y="3749679"/>
            <a:ext cx="370106" cy="369021"/>
            <a:chOff x="5818" y="3070"/>
            <a:chExt cx="341" cy="340"/>
          </a:xfrm>
          <a:solidFill>
            <a:schemeClr val="accent3"/>
          </a:solidFill>
        </p:grpSpPr>
        <p:sp>
          <p:nvSpPr>
            <p:cNvPr id="417" name="Freeform 778"/>
            <p:cNvSpPr>
              <a:spLocks noEditPoints="1"/>
            </p:cNvSpPr>
            <p:nvPr/>
          </p:nvSpPr>
          <p:spPr bwMode="auto">
            <a:xfrm>
              <a:off x="5882" y="3140"/>
              <a:ext cx="213" cy="185"/>
            </a:xfrm>
            <a:custGeom>
              <a:avLst/>
              <a:gdLst>
                <a:gd name="T0" fmla="*/ 309 w 320"/>
                <a:gd name="T1" fmla="*/ 43 h 278"/>
                <a:gd name="T2" fmla="*/ 213 w 320"/>
                <a:gd name="T3" fmla="*/ 43 h 278"/>
                <a:gd name="T4" fmla="*/ 213 w 320"/>
                <a:gd name="T5" fmla="*/ 11 h 278"/>
                <a:gd name="T6" fmla="*/ 202 w 320"/>
                <a:gd name="T7" fmla="*/ 0 h 278"/>
                <a:gd name="T8" fmla="*/ 117 w 320"/>
                <a:gd name="T9" fmla="*/ 0 h 278"/>
                <a:gd name="T10" fmla="*/ 106 w 320"/>
                <a:gd name="T11" fmla="*/ 11 h 278"/>
                <a:gd name="T12" fmla="*/ 106 w 320"/>
                <a:gd name="T13" fmla="*/ 43 h 278"/>
                <a:gd name="T14" fmla="*/ 10 w 320"/>
                <a:gd name="T15" fmla="*/ 43 h 278"/>
                <a:gd name="T16" fmla="*/ 0 w 320"/>
                <a:gd name="T17" fmla="*/ 54 h 278"/>
                <a:gd name="T18" fmla="*/ 0 w 320"/>
                <a:gd name="T19" fmla="*/ 160 h 278"/>
                <a:gd name="T20" fmla="*/ 10 w 320"/>
                <a:gd name="T21" fmla="*/ 171 h 278"/>
                <a:gd name="T22" fmla="*/ 21 w 320"/>
                <a:gd name="T23" fmla="*/ 171 h 278"/>
                <a:gd name="T24" fmla="*/ 21 w 320"/>
                <a:gd name="T25" fmla="*/ 267 h 278"/>
                <a:gd name="T26" fmla="*/ 32 w 320"/>
                <a:gd name="T27" fmla="*/ 278 h 278"/>
                <a:gd name="T28" fmla="*/ 288 w 320"/>
                <a:gd name="T29" fmla="*/ 278 h 278"/>
                <a:gd name="T30" fmla="*/ 298 w 320"/>
                <a:gd name="T31" fmla="*/ 267 h 278"/>
                <a:gd name="T32" fmla="*/ 298 w 320"/>
                <a:gd name="T33" fmla="*/ 171 h 278"/>
                <a:gd name="T34" fmla="*/ 309 w 320"/>
                <a:gd name="T35" fmla="*/ 171 h 278"/>
                <a:gd name="T36" fmla="*/ 320 w 320"/>
                <a:gd name="T37" fmla="*/ 160 h 278"/>
                <a:gd name="T38" fmla="*/ 320 w 320"/>
                <a:gd name="T39" fmla="*/ 54 h 278"/>
                <a:gd name="T40" fmla="*/ 309 w 320"/>
                <a:gd name="T41" fmla="*/ 43 h 278"/>
                <a:gd name="T42" fmla="*/ 128 w 320"/>
                <a:gd name="T43" fmla="*/ 22 h 278"/>
                <a:gd name="T44" fmla="*/ 192 w 320"/>
                <a:gd name="T45" fmla="*/ 22 h 278"/>
                <a:gd name="T46" fmla="*/ 192 w 320"/>
                <a:gd name="T47" fmla="*/ 43 h 278"/>
                <a:gd name="T48" fmla="*/ 128 w 320"/>
                <a:gd name="T49" fmla="*/ 43 h 278"/>
                <a:gd name="T50" fmla="*/ 128 w 320"/>
                <a:gd name="T51" fmla="*/ 22 h 278"/>
                <a:gd name="T52" fmla="*/ 277 w 320"/>
                <a:gd name="T53" fmla="*/ 256 h 278"/>
                <a:gd name="T54" fmla="*/ 42 w 320"/>
                <a:gd name="T55" fmla="*/ 256 h 278"/>
                <a:gd name="T56" fmla="*/ 42 w 320"/>
                <a:gd name="T57" fmla="*/ 171 h 278"/>
                <a:gd name="T58" fmla="*/ 85 w 320"/>
                <a:gd name="T59" fmla="*/ 171 h 278"/>
                <a:gd name="T60" fmla="*/ 85 w 320"/>
                <a:gd name="T61" fmla="*/ 182 h 278"/>
                <a:gd name="T62" fmla="*/ 96 w 320"/>
                <a:gd name="T63" fmla="*/ 192 h 278"/>
                <a:gd name="T64" fmla="*/ 106 w 320"/>
                <a:gd name="T65" fmla="*/ 182 h 278"/>
                <a:gd name="T66" fmla="*/ 106 w 320"/>
                <a:gd name="T67" fmla="*/ 171 h 278"/>
                <a:gd name="T68" fmla="*/ 213 w 320"/>
                <a:gd name="T69" fmla="*/ 171 h 278"/>
                <a:gd name="T70" fmla="*/ 213 w 320"/>
                <a:gd name="T71" fmla="*/ 182 h 278"/>
                <a:gd name="T72" fmla="*/ 224 w 320"/>
                <a:gd name="T73" fmla="*/ 192 h 278"/>
                <a:gd name="T74" fmla="*/ 234 w 320"/>
                <a:gd name="T75" fmla="*/ 182 h 278"/>
                <a:gd name="T76" fmla="*/ 234 w 320"/>
                <a:gd name="T77" fmla="*/ 171 h 278"/>
                <a:gd name="T78" fmla="*/ 277 w 320"/>
                <a:gd name="T79" fmla="*/ 171 h 278"/>
                <a:gd name="T80" fmla="*/ 277 w 320"/>
                <a:gd name="T81" fmla="*/ 256 h 278"/>
                <a:gd name="T82" fmla="*/ 298 w 320"/>
                <a:gd name="T83" fmla="*/ 150 h 278"/>
                <a:gd name="T84" fmla="*/ 234 w 320"/>
                <a:gd name="T85" fmla="*/ 150 h 278"/>
                <a:gd name="T86" fmla="*/ 234 w 320"/>
                <a:gd name="T87" fmla="*/ 139 h 278"/>
                <a:gd name="T88" fmla="*/ 224 w 320"/>
                <a:gd name="T89" fmla="*/ 128 h 278"/>
                <a:gd name="T90" fmla="*/ 213 w 320"/>
                <a:gd name="T91" fmla="*/ 139 h 278"/>
                <a:gd name="T92" fmla="*/ 213 w 320"/>
                <a:gd name="T93" fmla="*/ 150 h 278"/>
                <a:gd name="T94" fmla="*/ 106 w 320"/>
                <a:gd name="T95" fmla="*/ 150 h 278"/>
                <a:gd name="T96" fmla="*/ 106 w 320"/>
                <a:gd name="T97" fmla="*/ 139 h 278"/>
                <a:gd name="T98" fmla="*/ 96 w 320"/>
                <a:gd name="T99" fmla="*/ 128 h 278"/>
                <a:gd name="T100" fmla="*/ 85 w 320"/>
                <a:gd name="T101" fmla="*/ 139 h 278"/>
                <a:gd name="T102" fmla="*/ 85 w 320"/>
                <a:gd name="T103" fmla="*/ 150 h 278"/>
                <a:gd name="T104" fmla="*/ 21 w 320"/>
                <a:gd name="T105" fmla="*/ 150 h 278"/>
                <a:gd name="T106" fmla="*/ 21 w 320"/>
                <a:gd name="T107" fmla="*/ 64 h 278"/>
                <a:gd name="T108" fmla="*/ 298 w 320"/>
                <a:gd name="T109" fmla="*/ 64 h 278"/>
                <a:gd name="T110" fmla="*/ 298 w 320"/>
                <a:gd name="T111" fmla="*/ 15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78">
                  <a:moveTo>
                    <a:pt x="309" y="43"/>
                  </a:moveTo>
                  <a:cubicBezTo>
                    <a:pt x="213" y="43"/>
                    <a:pt x="213" y="43"/>
                    <a:pt x="213" y="43"/>
                  </a:cubicBezTo>
                  <a:cubicBezTo>
                    <a:pt x="213" y="11"/>
                    <a:pt x="213" y="11"/>
                    <a:pt x="213" y="11"/>
                  </a:cubicBezTo>
                  <a:cubicBezTo>
                    <a:pt x="213" y="5"/>
                    <a:pt x="208" y="0"/>
                    <a:pt x="202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1" y="0"/>
                    <a:pt x="106" y="5"/>
                    <a:pt x="106" y="1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4" y="43"/>
                    <a:pt x="0" y="48"/>
                    <a:pt x="0" y="5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4" y="171"/>
                    <a:pt x="10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21" y="273"/>
                    <a:pt x="26" y="278"/>
                    <a:pt x="32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94" y="278"/>
                    <a:pt x="298" y="273"/>
                    <a:pt x="298" y="267"/>
                  </a:cubicBezTo>
                  <a:cubicBezTo>
                    <a:pt x="298" y="171"/>
                    <a:pt x="298" y="171"/>
                    <a:pt x="298" y="171"/>
                  </a:cubicBezTo>
                  <a:cubicBezTo>
                    <a:pt x="309" y="171"/>
                    <a:pt x="309" y="171"/>
                    <a:pt x="309" y="171"/>
                  </a:cubicBezTo>
                  <a:cubicBezTo>
                    <a:pt x="315" y="171"/>
                    <a:pt x="320" y="166"/>
                    <a:pt x="320" y="160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128" y="22"/>
                  </a:moveTo>
                  <a:cubicBezTo>
                    <a:pt x="192" y="22"/>
                    <a:pt x="192" y="22"/>
                    <a:pt x="192" y="22"/>
                  </a:cubicBezTo>
                  <a:cubicBezTo>
                    <a:pt x="192" y="43"/>
                    <a:pt x="192" y="43"/>
                    <a:pt x="192" y="43"/>
                  </a:cubicBezTo>
                  <a:cubicBezTo>
                    <a:pt x="128" y="43"/>
                    <a:pt x="128" y="43"/>
                    <a:pt x="128" y="43"/>
                  </a:cubicBezTo>
                  <a:lnTo>
                    <a:pt x="128" y="22"/>
                  </a:lnTo>
                  <a:close/>
                  <a:moveTo>
                    <a:pt x="277" y="256"/>
                  </a:moveTo>
                  <a:cubicBezTo>
                    <a:pt x="42" y="256"/>
                    <a:pt x="42" y="256"/>
                    <a:pt x="42" y="256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85" y="171"/>
                    <a:pt x="85" y="171"/>
                    <a:pt x="85" y="171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5" y="188"/>
                    <a:pt x="90" y="192"/>
                    <a:pt x="96" y="192"/>
                  </a:cubicBezTo>
                  <a:cubicBezTo>
                    <a:pt x="102" y="192"/>
                    <a:pt x="106" y="188"/>
                    <a:pt x="106" y="182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213" y="171"/>
                    <a:pt x="213" y="171"/>
                    <a:pt x="213" y="171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3" y="188"/>
                    <a:pt x="218" y="192"/>
                    <a:pt x="224" y="192"/>
                  </a:cubicBezTo>
                  <a:cubicBezTo>
                    <a:pt x="230" y="192"/>
                    <a:pt x="234" y="188"/>
                    <a:pt x="234" y="182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77" y="171"/>
                    <a:pt x="277" y="171"/>
                    <a:pt x="277" y="171"/>
                  </a:cubicBezTo>
                  <a:lnTo>
                    <a:pt x="277" y="256"/>
                  </a:lnTo>
                  <a:close/>
                  <a:moveTo>
                    <a:pt x="298" y="150"/>
                  </a:moveTo>
                  <a:cubicBezTo>
                    <a:pt x="234" y="150"/>
                    <a:pt x="234" y="150"/>
                    <a:pt x="234" y="150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4" y="133"/>
                    <a:pt x="230" y="128"/>
                    <a:pt x="224" y="128"/>
                  </a:cubicBezTo>
                  <a:cubicBezTo>
                    <a:pt x="218" y="128"/>
                    <a:pt x="213" y="133"/>
                    <a:pt x="213" y="139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6" y="133"/>
                    <a:pt x="102" y="128"/>
                    <a:pt x="96" y="128"/>
                  </a:cubicBezTo>
                  <a:cubicBezTo>
                    <a:pt x="90" y="128"/>
                    <a:pt x="85" y="133"/>
                    <a:pt x="85" y="139"/>
                  </a:cubicBezTo>
                  <a:cubicBezTo>
                    <a:pt x="85" y="150"/>
                    <a:pt x="85" y="150"/>
                    <a:pt x="85" y="150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8" name="Freeform 779"/>
            <p:cNvSpPr>
              <a:spLocks noEditPoints="1"/>
            </p:cNvSpPr>
            <p:nvPr/>
          </p:nvSpPr>
          <p:spPr bwMode="auto">
            <a:xfrm>
              <a:off x="5818" y="3070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9" name="Freeform 783"/>
          <p:cNvSpPr>
            <a:spLocks noChangeAspect="1" noEditPoints="1"/>
          </p:cNvSpPr>
          <p:nvPr/>
        </p:nvSpPr>
        <p:spPr bwMode="auto">
          <a:xfrm>
            <a:off x="429510" y="3749675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266 h 512"/>
              <a:gd name="T12" fmla="*/ 405 w 512"/>
              <a:gd name="T13" fmla="*/ 277 h 512"/>
              <a:gd name="T14" fmla="*/ 394 w 512"/>
              <a:gd name="T15" fmla="*/ 277 h 512"/>
              <a:gd name="T16" fmla="*/ 394 w 512"/>
              <a:gd name="T17" fmla="*/ 373 h 512"/>
              <a:gd name="T18" fmla="*/ 384 w 512"/>
              <a:gd name="T19" fmla="*/ 384 h 512"/>
              <a:gd name="T20" fmla="*/ 128 w 512"/>
              <a:gd name="T21" fmla="*/ 384 h 512"/>
              <a:gd name="T22" fmla="*/ 117 w 512"/>
              <a:gd name="T23" fmla="*/ 373 h 512"/>
              <a:gd name="T24" fmla="*/ 117 w 512"/>
              <a:gd name="T25" fmla="*/ 277 h 512"/>
              <a:gd name="T26" fmla="*/ 106 w 512"/>
              <a:gd name="T27" fmla="*/ 277 h 512"/>
              <a:gd name="T28" fmla="*/ 96 w 512"/>
              <a:gd name="T29" fmla="*/ 266 h 512"/>
              <a:gd name="T30" fmla="*/ 96 w 512"/>
              <a:gd name="T31" fmla="*/ 160 h 512"/>
              <a:gd name="T32" fmla="*/ 106 w 512"/>
              <a:gd name="T33" fmla="*/ 149 h 512"/>
              <a:gd name="T34" fmla="*/ 202 w 512"/>
              <a:gd name="T35" fmla="*/ 149 h 512"/>
              <a:gd name="T36" fmla="*/ 202 w 512"/>
              <a:gd name="T37" fmla="*/ 117 h 512"/>
              <a:gd name="T38" fmla="*/ 213 w 512"/>
              <a:gd name="T39" fmla="*/ 106 h 512"/>
              <a:gd name="T40" fmla="*/ 298 w 512"/>
              <a:gd name="T41" fmla="*/ 106 h 512"/>
              <a:gd name="T42" fmla="*/ 309 w 512"/>
              <a:gd name="T43" fmla="*/ 117 h 512"/>
              <a:gd name="T44" fmla="*/ 309 w 512"/>
              <a:gd name="T45" fmla="*/ 149 h 512"/>
              <a:gd name="T46" fmla="*/ 405 w 512"/>
              <a:gd name="T47" fmla="*/ 149 h 512"/>
              <a:gd name="T48" fmla="*/ 416 w 512"/>
              <a:gd name="T49" fmla="*/ 160 h 512"/>
              <a:gd name="T50" fmla="*/ 416 w 512"/>
              <a:gd name="T51" fmla="*/ 266 h 512"/>
              <a:gd name="T52" fmla="*/ 330 w 512"/>
              <a:gd name="T53" fmla="*/ 277 h 512"/>
              <a:gd name="T54" fmla="*/ 373 w 512"/>
              <a:gd name="T55" fmla="*/ 277 h 512"/>
              <a:gd name="T56" fmla="*/ 373 w 512"/>
              <a:gd name="T57" fmla="*/ 362 h 512"/>
              <a:gd name="T58" fmla="*/ 138 w 512"/>
              <a:gd name="T59" fmla="*/ 362 h 512"/>
              <a:gd name="T60" fmla="*/ 138 w 512"/>
              <a:gd name="T61" fmla="*/ 277 h 512"/>
              <a:gd name="T62" fmla="*/ 181 w 512"/>
              <a:gd name="T63" fmla="*/ 277 h 512"/>
              <a:gd name="T64" fmla="*/ 181 w 512"/>
              <a:gd name="T65" fmla="*/ 288 h 512"/>
              <a:gd name="T66" fmla="*/ 192 w 512"/>
              <a:gd name="T67" fmla="*/ 298 h 512"/>
              <a:gd name="T68" fmla="*/ 202 w 512"/>
              <a:gd name="T69" fmla="*/ 288 h 512"/>
              <a:gd name="T70" fmla="*/ 202 w 512"/>
              <a:gd name="T71" fmla="*/ 277 h 512"/>
              <a:gd name="T72" fmla="*/ 309 w 512"/>
              <a:gd name="T73" fmla="*/ 277 h 512"/>
              <a:gd name="T74" fmla="*/ 309 w 512"/>
              <a:gd name="T75" fmla="*/ 288 h 512"/>
              <a:gd name="T76" fmla="*/ 320 w 512"/>
              <a:gd name="T77" fmla="*/ 298 h 512"/>
              <a:gd name="T78" fmla="*/ 330 w 512"/>
              <a:gd name="T79" fmla="*/ 288 h 512"/>
              <a:gd name="T80" fmla="*/ 330 w 512"/>
              <a:gd name="T81" fmla="*/ 277 h 512"/>
              <a:gd name="T82" fmla="*/ 288 w 512"/>
              <a:gd name="T83" fmla="*/ 149 h 512"/>
              <a:gd name="T84" fmla="*/ 224 w 512"/>
              <a:gd name="T85" fmla="*/ 149 h 512"/>
              <a:gd name="T86" fmla="*/ 224 w 512"/>
              <a:gd name="T87" fmla="*/ 128 h 512"/>
              <a:gd name="T88" fmla="*/ 288 w 512"/>
              <a:gd name="T89" fmla="*/ 128 h 512"/>
              <a:gd name="T90" fmla="*/ 288 w 512"/>
              <a:gd name="T91" fmla="*/ 149 h 512"/>
              <a:gd name="T92" fmla="*/ 117 w 512"/>
              <a:gd name="T93" fmla="*/ 170 h 512"/>
              <a:gd name="T94" fmla="*/ 394 w 512"/>
              <a:gd name="T95" fmla="*/ 170 h 512"/>
              <a:gd name="T96" fmla="*/ 394 w 512"/>
              <a:gd name="T97" fmla="*/ 256 h 512"/>
              <a:gd name="T98" fmla="*/ 330 w 512"/>
              <a:gd name="T99" fmla="*/ 256 h 512"/>
              <a:gd name="T100" fmla="*/ 330 w 512"/>
              <a:gd name="T101" fmla="*/ 245 h 512"/>
              <a:gd name="T102" fmla="*/ 320 w 512"/>
              <a:gd name="T103" fmla="*/ 234 h 512"/>
              <a:gd name="T104" fmla="*/ 309 w 512"/>
              <a:gd name="T105" fmla="*/ 245 h 512"/>
              <a:gd name="T106" fmla="*/ 309 w 512"/>
              <a:gd name="T107" fmla="*/ 256 h 512"/>
              <a:gd name="T108" fmla="*/ 202 w 512"/>
              <a:gd name="T109" fmla="*/ 256 h 512"/>
              <a:gd name="T110" fmla="*/ 202 w 512"/>
              <a:gd name="T111" fmla="*/ 245 h 512"/>
              <a:gd name="T112" fmla="*/ 192 w 512"/>
              <a:gd name="T113" fmla="*/ 234 h 512"/>
              <a:gd name="T114" fmla="*/ 181 w 512"/>
              <a:gd name="T115" fmla="*/ 245 h 512"/>
              <a:gd name="T116" fmla="*/ 181 w 512"/>
              <a:gd name="T117" fmla="*/ 256 h 512"/>
              <a:gd name="T118" fmla="*/ 117 w 512"/>
              <a:gd name="T119" fmla="*/ 256 h 512"/>
              <a:gd name="T120" fmla="*/ 117 w 512"/>
              <a:gd name="T121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266"/>
                </a:moveTo>
                <a:cubicBezTo>
                  <a:pt x="416" y="272"/>
                  <a:pt x="411" y="277"/>
                  <a:pt x="405" y="277"/>
                </a:cubicBezTo>
                <a:cubicBezTo>
                  <a:pt x="394" y="277"/>
                  <a:pt x="394" y="277"/>
                  <a:pt x="394" y="277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394" y="379"/>
                  <a:pt x="390" y="384"/>
                  <a:pt x="384" y="384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2" y="384"/>
                  <a:pt x="117" y="379"/>
                  <a:pt x="117" y="373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72"/>
                  <a:pt x="96" y="266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202" y="111"/>
                  <a:pt x="207" y="106"/>
                  <a:pt x="213" y="106"/>
                </a:cubicBezTo>
                <a:cubicBezTo>
                  <a:pt x="298" y="106"/>
                  <a:pt x="298" y="106"/>
                  <a:pt x="298" y="106"/>
                </a:cubicBezTo>
                <a:cubicBezTo>
                  <a:pt x="304" y="106"/>
                  <a:pt x="309" y="111"/>
                  <a:pt x="309" y="117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lnTo>
                  <a:pt x="416" y="266"/>
                </a:lnTo>
                <a:close/>
                <a:moveTo>
                  <a:pt x="330" y="277"/>
                </a:moveTo>
                <a:cubicBezTo>
                  <a:pt x="373" y="277"/>
                  <a:pt x="373" y="277"/>
                  <a:pt x="373" y="277"/>
                </a:cubicBezTo>
                <a:cubicBezTo>
                  <a:pt x="373" y="362"/>
                  <a:pt x="373" y="362"/>
                  <a:pt x="373" y="362"/>
                </a:cubicBezTo>
                <a:cubicBezTo>
                  <a:pt x="138" y="362"/>
                  <a:pt x="138" y="362"/>
                  <a:pt x="138" y="362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88"/>
                  <a:pt x="181" y="288"/>
                  <a:pt x="181" y="288"/>
                </a:cubicBezTo>
                <a:cubicBezTo>
                  <a:pt x="181" y="294"/>
                  <a:pt x="186" y="298"/>
                  <a:pt x="192" y="298"/>
                </a:cubicBezTo>
                <a:cubicBezTo>
                  <a:pt x="198" y="298"/>
                  <a:pt x="202" y="294"/>
                  <a:pt x="202" y="288"/>
                </a:cubicBezTo>
                <a:cubicBezTo>
                  <a:pt x="202" y="277"/>
                  <a:pt x="202" y="277"/>
                  <a:pt x="202" y="277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88"/>
                  <a:pt x="309" y="288"/>
                  <a:pt x="309" y="288"/>
                </a:cubicBezTo>
                <a:cubicBezTo>
                  <a:pt x="309" y="294"/>
                  <a:pt x="314" y="298"/>
                  <a:pt x="320" y="298"/>
                </a:cubicBezTo>
                <a:cubicBezTo>
                  <a:pt x="326" y="298"/>
                  <a:pt x="330" y="294"/>
                  <a:pt x="330" y="288"/>
                </a:cubicBezTo>
                <a:lnTo>
                  <a:pt x="330" y="277"/>
                </a:lnTo>
                <a:close/>
                <a:moveTo>
                  <a:pt x="288" y="149"/>
                </a:moveTo>
                <a:cubicBezTo>
                  <a:pt x="224" y="149"/>
                  <a:pt x="224" y="149"/>
                  <a:pt x="224" y="149"/>
                </a:cubicBezTo>
                <a:cubicBezTo>
                  <a:pt x="224" y="128"/>
                  <a:pt x="224" y="128"/>
                  <a:pt x="224" y="128"/>
                </a:cubicBezTo>
                <a:cubicBezTo>
                  <a:pt x="288" y="128"/>
                  <a:pt x="288" y="128"/>
                  <a:pt x="288" y="128"/>
                </a:cubicBezTo>
                <a:lnTo>
                  <a:pt x="288" y="149"/>
                </a:lnTo>
                <a:close/>
                <a:moveTo>
                  <a:pt x="117" y="170"/>
                </a:moveTo>
                <a:cubicBezTo>
                  <a:pt x="394" y="170"/>
                  <a:pt x="394" y="170"/>
                  <a:pt x="394" y="170"/>
                </a:cubicBezTo>
                <a:cubicBezTo>
                  <a:pt x="394" y="256"/>
                  <a:pt x="394" y="256"/>
                  <a:pt x="394" y="256"/>
                </a:cubicBezTo>
                <a:cubicBezTo>
                  <a:pt x="330" y="256"/>
                  <a:pt x="330" y="256"/>
                  <a:pt x="330" y="256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30" y="239"/>
                  <a:pt x="326" y="234"/>
                  <a:pt x="320" y="234"/>
                </a:cubicBezTo>
                <a:cubicBezTo>
                  <a:pt x="314" y="234"/>
                  <a:pt x="309" y="239"/>
                  <a:pt x="309" y="245"/>
                </a:cubicBezTo>
                <a:cubicBezTo>
                  <a:pt x="309" y="256"/>
                  <a:pt x="309" y="256"/>
                  <a:pt x="309" y="256"/>
                </a:cubicBezTo>
                <a:cubicBezTo>
                  <a:pt x="202" y="256"/>
                  <a:pt x="202" y="256"/>
                  <a:pt x="202" y="256"/>
                </a:cubicBezTo>
                <a:cubicBezTo>
                  <a:pt x="202" y="245"/>
                  <a:pt x="202" y="245"/>
                  <a:pt x="202" y="245"/>
                </a:cubicBezTo>
                <a:cubicBezTo>
                  <a:pt x="202" y="239"/>
                  <a:pt x="198" y="234"/>
                  <a:pt x="192" y="234"/>
                </a:cubicBezTo>
                <a:cubicBezTo>
                  <a:pt x="186" y="234"/>
                  <a:pt x="181" y="239"/>
                  <a:pt x="181" y="245"/>
                </a:cubicBezTo>
                <a:cubicBezTo>
                  <a:pt x="181" y="256"/>
                  <a:pt x="181" y="256"/>
                  <a:pt x="181" y="256"/>
                </a:cubicBezTo>
                <a:cubicBezTo>
                  <a:pt x="117" y="256"/>
                  <a:pt x="117" y="256"/>
                  <a:pt x="117" y="256"/>
                </a:cubicBezTo>
                <a:lnTo>
                  <a:pt x="117" y="17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7" name="TextBox 196"/>
          <p:cNvSpPr txBox="1"/>
          <p:nvPr/>
        </p:nvSpPr>
        <p:spPr>
          <a:xfrm>
            <a:off x="4422608" y="417675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aker</a:t>
            </a:r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5412490" y="2051050"/>
            <a:ext cx="372673" cy="370800"/>
            <a:chOff x="5672138" y="4513263"/>
            <a:chExt cx="1579562" cy="1571625"/>
          </a:xfrm>
          <a:solidFill>
            <a:schemeClr val="accent2"/>
          </a:solidFill>
        </p:grpSpPr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6067425" y="5135563"/>
              <a:ext cx="131762" cy="196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Oval 6"/>
            <p:cNvSpPr>
              <a:spLocks noChangeArrowheads="1"/>
            </p:cNvSpPr>
            <p:nvPr/>
          </p:nvSpPr>
          <p:spPr bwMode="auto">
            <a:xfrm>
              <a:off x="6100763" y="4873626"/>
              <a:ext cx="65087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6396038" y="5135563"/>
              <a:ext cx="131762" cy="196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Oval 8"/>
            <p:cNvSpPr>
              <a:spLocks noChangeArrowheads="1"/>
            </p:cNvSpPr>
            <p:nvPr/>
          </p:nvSpPr>
          <p:spPr bwMode="auto">
            <a:xfrm>
              <a:off x="6429375" y="4873626"/>
              <a:ext cx="65087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9"/>
            <p:cNvSpPr>
              <a:spLocks noChangeArrowheads="1"/>
            </p:cNvSpPr>
            <p:nvPr/>
          </p:nvSpPr>
          <p:spPr bwMode="auto">
            <a:xfrm>
              <a:off x="6757988" y="4873626"/>
              <a:ext cx="66675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5672138" y="4513263"/>
              <a:ext cx="1579562" cy="1571625"/>
            </a:xfrm>
            <a:custGeom>
              <a:avLst/>
              <a:gdLst>
                <a:gd name="T0" fmla="*/ 0 w 384"/>
                <a:gd name="T1" fmla="*/ 192 h 384"/>
                <a:gd name="T2" fmla="*/ 384 w 384"/>
                <a:gd name="T3" fmla="*/ 192 h 384"/>
                <a:gd name="T4" fmla="*/ 272 w 384"/>
                <a:gd name="T5" fmla="*/ 72 h 384"/>
                <a:gd name="T6" fmla="*/ 272 w 384"/>
                <a:gd name="T7" fmla="*/ 120 h 384"/>
                <a:gd name="T8" fmla="*/ 272 w 384"/>
                <a:gd name="T9" fmla="*/ 72 h 384"/>
                <a:gd name="T10" fmla="*/ 216 w 384"/>
                <a:gd name="T11" fmla="*/ 96 h 384"/>
                <a:gd name="T12" fmla="*/ 168 w 384"/>
                <a:gd name="T13" fmla="*/ 96 h 384"/>
                <a:gd name="T14" fmla="*/ 112 w 384"/>
                <a:gd name="T15" fmla="*/ 72 h 384"/>
                <a:gd name="T16" fmla="*/ 112 w 384"/>
                <a:gd name="T17" fmla="*/ 120 h 384"/>
                <a:gd name="T18" fmla="*/ 112 w 384"/>
                <a:gd name="T19" fmla="*/ 72 h 384"/>
                <a:gd name="T20" fmla="*/ 136 w 384"/>
                <a:gd name="T21" fmla="*/ 216 h 384"/>
                <a:gd name="T22" fmla="*/ 128 w 384"/>
                <a:gd name="T23" fmla="*/ 296 h 384"/>
                <a:gd name="T24" fmla="*/ 120 w 384"/>
                <a:gd name="T25" fmla="*/ 216 h 384"/>
                <a:gd name="T26" fmla="*/ 104 w 384"/>
                <a:gd name="T27" fmla="*/ 288 h 384"/>
                <a:gd name="T28" fmla="*/ 88 w 384"/>
                <a:gd name="T29" fmla="*/ 288 h 384"/>
                <a:gd name="T30" fmla="*/ 80 w 384"/>
                <a:gd name="T31" fmla="*/ 208 h 384"/>
                <a:gd name="T32" fmla="*/ 88 w 384"/>
                <a:gd name="T33" fmla="*/ 136 h 384"/>
                <a:gd name="T34" fmla="*/ 144 w 384"/>
                <a:gd name="T35" fmla="*/ 144 h 384"/>
                <a:gd name="T36" fmla="*/ 224 w 384"/>
                <a:gd name="T37" fmla="*/ 208 h 384"/>
                <a:gd name="T38" fmla="*/ 216 w 384"/>
                <a:gd name="T39" fmla="*/ 288 h 384"/>
                <a:gd name="T40" fmla="*/ 200 w 384"/>
                <a:gd name="T41" fmla="*/ 288 h 384"/>
                <a:gd name="T42" fmla="*/ 184 w 384"/>
                <a:gd name="T43" fmla="*/ 216 h 384"/>
                <a:gd name="T44" fmla="*/ 176 w 384"/>
                <a:gd name="T45" fmla="*/ 296 h 384"/>
                <a:gd name="T46" fmla="*/ 168 w 384"/>
                <a:gd name="T47" fmla="*/ 216 h 384"/>
                <a:gd name="T48" fmla="*/ 160 w 384"/>
                <a:gd name="T49" fmla="*/ 144 h 384"/>
                <a:gd name="T50" fmla="*/ 216 w 384"/>
                <a:gd name="T51" fmla="*/ 136 h 384"/>
                <a:gd name="T52" fmla="*/ 224 w 384"/>
                <a:gd name="T53" fmla="*/ 208 h 384"/>
                <a:gd name="T54" fmla="*/ 296 w 384"/>
                <a:gd name="T55" fmla="*/ 232 h 384"/>
                <a:gd name="T56" fmla="*/ 288 w 384"/>
                <a:gd name="T57" fmla="*/ 296 h 384"/>
                <a:gd name="T58" fmla="*/ 280 w 384"/>
                <a:gd name="T59" fmla="*/ 232 h 384"/>
                <a:gd name="T60" fmla="*/ 264 w 384"/>
                <a:gd name="T61" fmla="*/ 288 h 384"/>
                <a:gd name="T62" fmla="*/ 248 w 384"/>
                <a:gd name="T63" fmla="*/ 288 h 384"/>
                <a:gd name="T64" fmla="*/ 241 w 384"/>
                <a:gd name="T65" fmla="*/ 229 h 384"/>
                <a:gd name="T66" fmla="*/ 256 w 384"/>
                <a:gd name="T67" fmla="*/ 142 h 384"/>
                <a:gd name="T68" fmla="*/ 280 w 384"/>
                <a:gd name="T69" fmla="*/ 136 h 384"/>
                <a:gd name="T70" fmla="*/ 304 w 384"/>
                <a:gd name="T71" fmla="*/ 22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272" y="72"/>
                  </a:moveTo>
                  <a:cubicBezTo>
                    <a:pt x="285" y="72"/>
                    <a:pt x="296" y="82"/>
                    <a:pt x="296" y="96"/>
                  </a:cubicBezTo>
                  <a:cubicBezTo>
                    <a:pt x="296" y="109"/>
                    <a:pt x="285" y="120"/>
                    <a:pt x="272" y="120"/>
                  </a:cubicBezTo>
                  <a:cubicBezTo>
                    <a:pt x="258" y="120"/>
                    <a:pt x="248" y="109"/>
                    <a:pt x="248" y="96"/>
                  </a:cubicBezTo>
                  <a:cubicBezTo>
                    <a:pt x="248" y="82"/>
                    <a:pt x="258" y="72"/>
                    <a:pt x="272" y="72"/>
                  </a:cubicBezTo>
                  <a:close/>
                  <a:moveTo>
                    <a:pt x="192" y="72"/>
                  </a:moveTo>
                  <a:cubicBezTo>
                    <a:pt x="205" y="72"/>
                    <a:pt x="216" y="82"/>
                    <a:pt x="216" y="96"/>
                  </a:cubicBezTo>
                  <a:cubicBezTo>
                    <a:pt x="216" y="109"/>
                    <a:pt x="205" y="120"/>
                    <a:pt x="192" y="120"/>
                  </a:cubicBezTo>
                  <a:cubicBezTo>
                    <a:pt x="178" y="120"/>
                    <a:pt x="168" y="109"/>
                    <a:pt x="168" y="96"/>
                  </a:cubicBezTo>
                  <a:cubicBezTo>
                    <a:pt x="168" y="82"/>
                    <a:pt x="178" y="72"/>
                    <a:pt x="192" y="72"/>
                  </a:cubicBezTo>
                  <a:close/>
                  <a:moveTo>
                    <a:pt x="112" y="72"/>
                  </a:moveTo>
                  <a:cubicBezTo>
                    <a:pt x="125" y="72"/>
                    <a:pt x="136" y="82"/>
                    <a:pt x="136" y="96"/>
                  </a:cubicBezTo>
                  <a:cubicBezTo>
                    <a:pt x="136" y="109"/>
                    <a:pt x="125" y="120"/>
                    <a:pt x="112" y="120"/>
                  </a:cubicBezTo>
                  <a:cubicBezTo>
                    <a:pt x="98" y="120"/>
                    <a:pt x="88" y="109"/>
                    <a:pt x="88" y="96"/>
                  </a:cubicBezTo>
                  <a:cubicBezTo>
                    <a:pt x="88" y="82"/>
                    <a:pt x="98" y="72"/>
                    <a:pt x="112" y="72"/>
                  </a:cubicBezTo>
                  <a:close/>
                  <a:moveTo>
                    <a:pt x="144" y="208"/>
                  </a:moveTo>
                  <a:cubicBezTo>
                    <a:pt x="144" y="212"/>
                    <a:pt x="140" y="216"/>
                    <a:pt x="136" y="216"/>
                  </a:cubicBezTo>
                  <a:cubicBezTo>
                    <a:pt x="136" y="288"/>
                    <a:pt x="136" y="288"/>
                    <a:pt x="136" y="288"/>
                  </a:cubicBezTo>
                  <a:cubicBezTo>
                    <a:pt x="136" y="292"/>
                    <a:pt x="132" y="296"/>
                    <a:pt x="128" y="296"/>
                  </a:cubicBezTo>
                  <a:cubicBezTo>
                    <a:pt x="123" y="296"/>
                    <a:pt x="120" y="292"/>
                    <a:pt x="120" y="288"/>
                  </a:cubicBezTo>
                  <a:cubicBezTo>
                    <a:pt x="120" y="216"/>
                    <a:pt x="120" y="216"/>
                    <a:pt x="120" y="216"/>
                  </a:cubicBezTo>
                  <a:cubicBezTo>
                    <a:pt x="104" y="216"/>
                    <a:pt x="104" y="216"/>
                    <a:pt x="104" y="216"/>
                  </a:cubicBezTo>
                  <a:cubicBezTo>
                    <a:pt x="104" y="288"/>
                    <a:pt x="104" y="288"/>
                    <a:pt x="104" y="288"/>
                  </a:cubicBezTo>
                  <a:cubicBezTo>
                    <a:pt x="104" y="292"/>
                    <a:pt x="100" y="296"/>
                    <a:pt x="96" y="296"/>
                  </a:cubicBezTo>
                  <a:cubicBezTo>
                    <a:pt x="91" y="296"/>
                    <a:pt x="88" y="292"/>
                    <a:pt x="88" y="288"/>
                  </a:cubicBezTo>
                  <a:cubicBezTo>
                    <a:pt x="88" y="216"/>
                    <a:pt x="88" y="216"/>
                    <a:pt x="88" y="216"/>
                  </a:cubicBezTo>
                  <a:cubicBezTo>
                    <a:pt x="84" y="216"/>
                    <a:pt x="80" y="212"/>
                    <a:pt x="80" y="208"/>
                  </a:cubicBezTo>
                  <a:cubicBezTo>
                    <a:pt x="80" y="144"/>
                    <a:pt x="80" y="144"/>
                    <a:pt x="80" y="144"/>
                  </a:cubicBezTo>
                  <a:cubicBezTo>
                    <a:pt x="80" y="139"/>
                    <a:pt x="83" y="136"/>
                    <a:pt x="88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40" y="136"/>
                    <a:pt x="144" y="139"/>
                    <a:pt x="144" y="144"/>
                  </a:cubicBezTo>
                  <a:lnTo>
                    <a:pt x="144" y="208"/>
                  </a:lnTo>
                  <a:close/>
                  <a:moveTo>
                    <a:pt x="224" y="208"/>
                  </a:moveTo>
                  <a:cubicBezTo>
                    <a:pt x="224" y="212"/>
                    <a:pt x="224" y="216"/>
                    <a:pt x="216" y="216"/>
                  </a:cubicBezTo>
                  <a:cubicBezTo>
                    <a:pt x="216" y="288"/>
                    <a:pt x="216" y="288"/>
                    <a:pt x="216" y="288"/>
                  </a:cubicBezTo>
                  <a:cubicBezTo>
                    <a:pt x="216" y="292"/>
                    <a:pt x="212" y="296"/>
                    <a:pt x="208" y="296"/>
                  </a:cubicBezTo>
                  <a:cubicBezTo>
                    <a:pt x="203" y="296"/>
                    <a:pt x="200" y="292"/>
                    <a:pt x="200" y="288"/>
                  </a:cubicBezTo>
                  <a:cubicBezTo>
                    <a:pt x="200" y="216"/>
                    <a:pt x="200" y="216"/>
                    <a:pt x="200" y="216"/>
                  </a:cubicBezTo>
                  <a:cubicBezTo>
                    <a:pt x="184" y="216"/>
                    <a:pt x="184" y="216"/>
                    <a:pt x="184" y="216"/>
                  </a:cubicBezTo>
                  <a:cubicBezTo>
                    <a:pt x="184" y="288"/>
                    <a:pt x="184" y="288"/>
                    <a:pt x="184" y="288"/>
                  </a:cubicBezTo>
                  <a:cubicBezTo>
                    <a:pt x="184" y="292"/>
                    <a:pt x="180" y="296"/>
                    <a:pt x="176" y="296"/>
                  </a:cubicBezTo>
                  <a:cubicBezTo>
                    <a:pt x="171" y="296"/>
                    <a:pt x="168" y="292"/>
                    <a:pt x="168" y="288"/>
                  </a:cubicBezTo>
                  <a:cubicBezTo>
                    <a:pt x="168" y="216"/>
                    <a:pt x="168" y="216"/>
                    <a:pt x="168" y="216"/>
                  </a:cubicBezTo>
                  <a:cubicBezTo>
                    <a:pt x="160" y="216"/>
                    <a:pt x="160" y="212"/>
                    <a:pt x="160" y="208"/>
                  </a:cubicBezTo>
                  <a:cubicBezTo>
                    <a:pt x="160" y="144"/>
                    <a:pt x="160" y="144"/>
                    <a:pt x="160" y="144"/>
                  </a:cubicBezTo>
                  <a:cubicBezTo>
                    <a:pt x="160" y="139"/>
                    <a:pt x="163" y="136"/>
                    <a:pt x="168" y="136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20" y="136"/>
                    <a:pt x="224" y="139"/>
                    <a:pt x="224" y="144"/>
                  </a:cubicBezTo>
                  <a:lnTo>
                    <a:pt x="224" y="208"/>
                  </a:lnTo>
                  <a:close/>
                  <a:moveTo>
                    <a:pt x="302" y="229"/>
                  </a:moveTo>
                  <a:cubicBezTo>
                    <a:pt x="300" y="231"/>
                    <a:pt x="296" y="232"/>
                    <a:pt x="296" y="232"/>
                  </a:cubicBezTo>
                  <a:cubicBezTo>
                    <a:pt x="296" y="288"/>
                    <a:pt x="296" y="288"/>
                    <a:pt x="296" y="288"/>
                  </a:cubicBezTo>
                  <a:cubicBezTo>
                    <a:pt x="296" y="292"/>
                    <a:pt x="292" y="296"/>
                    <a:pt x="288" y="296"/>
                  </a:cubicBezTo>
                  <a:cubicBezTo>
                    <a:pt x="283" y="296"/>
                    <a:pt x="280" y="292"/>
                    <a:pt x="280" y="288"/>
                  </a:cubicBezTo>
                  <a:cubicBezTo>
                    <a:pt x="280" y="232"/>
                    <a:pt x="280" y="232"/>
                    <a:pt x="280" y="232"/>
                  </a:cubicBezTo>
                  <a:cubicBezTo>
                    <a:pt x="264" y="232"/>
                    <a:pt x="264" y="232"/>
                    <a:pt x="264" y="232"/>
                  </a:cubicBezTo>
                  <a:cubicBezTo>
                    <a:pt x="264" y="288"/>
                    <a:pt x="264" y="288"/>
                    <a:pt x="264" y="288"/>
                  </a:cubicBezTo>
                  <a:cubicBezTo>
                    <a:pt x="264" y="292"/>
                    <a:pt x="260" y="296"/>
                    <a:pt x="256" y="296"/>
                  </a:cubicBezTo>
                  <a:cubicBezTo>
                    <a:pt x="251" y="296"/>
                    <a:pt x="248" y="292"/>
                    <a:pt x="248" y="288"/>
                  </a:cubicBezTo>
                  <a:cubicBezTo>
                    <a:pt x="248" y="232"/>
                    <a:pt x="248" y="232"/>
                    <a:pt x="248" y="232"/>
                  </a:cubicBezTo>
                  <a:cubicBezTo>
                    <a:pt x="248" y="232"/>
                    <a:pt x="243" y="231"/>
                    <a:pt x="241" y="229"/>
                  </a:cubicBezTo>
                  <a:cubicBezTo>
                    <a:pt x="240" y="227"/>
                    <a:pt x="239" y="224"/>
                    <a:pt x="240" y="222"/>
                  </a:cubicBezTo>
                  <a:cubicBezTo>
                    <a:pt x="256" y="142"/>
                    <a:pt x="256" y="142"/>
                    <a:pt x="256" y="142"/>
                  </a:cubicBezTo>
                  <a:cubicBezTo>
                    <a:pt x="257" y="138"/>
                    <a:pt x="260" y="136"/>
                    <a:pt x="264" y="136"/>
                  </a:cubicBezTo>
                  <a:cubicBezTo>
                    <a:pt x="280" y="136"/>
                    <a:pt x="280" y="136"/>
                    <a:pt x="280" y="136"/>
                  </a:cubicBezTo>
                  <a:cubicBezTo>
                    <a:pt x="283" y="136"/>
                    <a:pt x="287" y="138"/>
                    <a:pt x="288" y="142"/>
                  </a:cubicBezTo>
                  <a:cubicBezTo>
                    <a:pt x="304" y="222"/>
                    <a:pt x="304" y="222"/>
                    <a:pt x="304" y="222"/>
                  </a:cubicBezTo>
                  <a:cubicBezTo>
                    <a:pt x="304" y="224"/>
                    <a:pt x="303" y="227"/>
                    <a:pt x="302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6729413" y="5135563"/>
              <a:ext cx="119062" cy="261938"/>
            </a:xfrm>
            <a:custGeom>
              <a:avLst/>
              <a:gdLst>
                <a:gd name="T0" fmla="*/ 34 w 75"/>
                <a:gd name="T1" fmla="*/ 0 h 165"/>
                <a:gd name="T2" fmla="*/ 0 w 75"/>
                <a:gd name="T3" fmla="*/ 165 h 165"/>
                <a:gd name="T4" fmla="*/ 75 w 75"/>
                <a:gd name="T5" fmla="*/ 165 h 165"/>
                <a:gd name="T6" fmla="*/ 41 w 75"/>
                <a:gd name="T7" fmla="*/ 0 h 165"/>
                <a:gd name="T8" fmla="*/ 34 w 75"/>
                <a:gd name="T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65">
                  <a:moveTo>
                    <a:pt x="34" y="0"/>
                  </a:moveTo>
                  <a:lnTo>
                    <a:pt x="0" y="165"/>
                  </a:lnTo>
                  <a:lnTo>
                    <a:pt x="75" y="165"/>
                  </a:lnTo>
                  <a:lnTo>
                    <a:pt x="41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>
            <a:grpSpLocks noChangeAspect="1"/>
          </p:cNvGrpSpPr>
          <p:nvPr/>
        </p:nvGrpSpPr>
        <p:grpSpPr>
          <a:xfrm>
            <a:off x="5913590" y="2051050"/>
            <a:ext cx="373042" cy="370800"/>
            <a:chOff x="6537910" y="4611206"/>
            <a:chExt cx="1849437" cy="1838325"/>
          </a:xfrm>
          <a:solidFill>
            <a:schemeClr val="accent2"/>
          </a:solidFill>
        </p:grpSpPr>
        <p:sp>
          <p:nvSpPr>
            <p:cNvPr id="19" name="Freeform 15"/>
            <p:cNvSpPr>
              <a:spLocks noEditPoints="1"/>
            </p:cNvSpPr>
            <p:nvPr/>
          </p:nvSpPr>
          <p:spPr bwMode="auto">
            <a:xfrm>
              <a:off x="7688847" y="5262081"/>
              <a:ext cx="312737" cy="766763"/>
            </a:xfrm>
            <a:custGeom>
              <a:avLst/>
              <a:gdLst>
                <a:gd name="T0" fmla="*/ 41 w 65"/>
                <a:gd name="T1" fmla="*/ 0 h 160"/>
                <a:gd name="T2" fmla="*/ 25 w 65"/>
                <a:gd name="T3" fmla="*/ 0 h 160"/>
                <a:gd name="T4" fmla="*/ 17 w 65"/>
                <a:gd name="T5" fmla="*/ 6 h 160"/>
                <a:gd name="T6" fmla="*/ 1 w 65"/>
                <a:gd name="T7" fmla="*/ 86 h 160"/>
                <a:gd name="T8" fmla="*/ 2 w 65"/>
                <a:gd name="T9" fmla="*/ 93 h 160"/>
                <a:gd name="T10" fmla="*/ 9 w 65"/>
                <a:gd name="T11" fmla="*/ 96 h 160"/>
                <a:gd name="T12" fmla="*/ 9 w 65"/>
                <a:gd name="T13" fmla="*/ 152 h 160"/>
                <a:gd name="T14" fmla="*/ 17 w 65"/>
                <a:gd name="T15" fmla="*/ 160 h 160"/>
                <a:gd name="T16" fmla="*/ 25 w 65"/>
                <a:gd name="T17" fmla="*/ 152 h 160"/>
                <a:gd name="T18" fmla="*/ 25 w 65"/>
                <a:gd name="T19" fmla="*/ 96 h 160"/>
                <a:gd name="T20" fmla="*/ 41 w 65"/>
                <a:gd name="T21" fmla="*/ 96 h 160"/>
                <a:gd name="T22" fmla="*/ 41 w 65"/>
                <a:gd name="T23" fmla="*/ 152 h 160"/>
                <a:gd name="T24" fmla="*/ 49 w 65"/>
                <a:gd name="T25" fmla="*/ 160 h 160"/>
                <a:gd name="T26" fmla="*/ 57 w 65"/>
                <a:gd name="T27" fmla="*/ 152 h 160"/>
                <a:gd name="T28" fmla="*/ 57 w 65"/>
                <a:gd name="T29" fmla="*/ 96 h 160"/>
                <a:gd name="T30" fmla="*/ 63 w 65"/>
                <a:gd name="T31" fmla="*/ 93 h 160"/>
                <a:gd name="T32" fmla="*/ 65 w 65"/>
                <a:gd name="T33" fmla="*/ 86 h 160"/>
                <a:gd name="T34" fmla="*/ 49 w 65"/>
                <a:gd name="T35" fmla="*/ 6 h 160"/>
                <a:gd name="T36" fmla="*/ 41 w 65"/>
                <a:gd name="T37" fmla="*/ 0 h 160"/>
                <a:gd name="T38" fmla="*/ 31 w 65"/>
                <a:gd name="T39" fmla="*/ 16 h 160"/>
                <a:gd name="T40" fmla="*/ 34 w 65"/>
                <a:gd name="T41" fmla="*/ 16 h 160"/>
                <a:gd name="T42" fmla="*/ 47 w 65"/>
                <a:gd name="T43" fmla="*/ 80 h 160"/>
                <a:gd name="T44" fmla="*/ 18 w 65"/>
                <a:gd name="T45" fmla="*/ 80 h 160"/>
                <a:gd name="T46" fmla="*/ 31 w 65"/>
                <a:gd name="T47" fmla="*/ 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60">
                  <a:moveTo>
                    <a:pt x="41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1" y="0"/>
                    <a:pt x="18" y="2"/>
                    <a:pt x="17" y="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8"/>
                    <a:pt x="1" y="91"/>
                    <a:pt x="2" y="93"/>
                  </a:cubicBezTo>
                  <a:cubicBezTo>
                    <a:pt x="4" y="95"/>
                    <a:pt x="6" y="96"/>
                    <a:pt x="9" y="96"/>
                  </a:cubicBezTo>
                  <a:cubicBezTo>
                    <a:pt x="9" y="152"/>
                    <a:pt x="9" y="152"/>
                    <a:pt x="9" y="152"/>
                  </a:cubicBezTo>
                  <a:cubicBezTo>
                    <a:pt x="9" y="156"/>
                    <a:pt x="12" y="160"/>
                    <a:pt x="17" y="160"/>
                  </a:cubicBezTo>
                  <a:cubicBezTo>
                    <a:pt x="21" y="160"/>
                    <a:pt x="25" y="156"/>
                    <a:pt x="25" y="152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41" y="152"/>
                    <a:pt x="41" y="152"/>
                    <a:pt x="41" y="152"/>
                  </a:cubicBezTo>
                  <a:cubicBezTo>
                    <a:pt x="41" y="156"/>
                    <a:pt x="44" y="160"/>
                    <a:pt x="49" y="160"/>
                  </a:cubicBezTo>
                  <a:cubicBezTo>
                    <a:pt x="53" y="160"/>
                    <a:pt x="57" y="156"/>
                    <a:pt x="57" y="152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59" y="96"/>
                    <a:pt x="61" y="95"/>
                    <a:pt x="63" y="93"/>
                  </a:cubicBezTo>
                  <a:cubicBezTo>
                    <a:pt x="64" y="91"/>
                    <a:pt x="65" y="88"/>
                    <a:pt x="65" y="8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8" y="2"/>
                    <a:pt x="44" y="0"/>
                    <a:pt x="41" y="0"/>
                  </a:cubicBezTo>
                  <a:close/>
                  <a:moveTo>
                    <a:pt x="31" y="16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18" y="80"/>
                    <a:pt x="18" y="80"/>
                    <a:pt x="18" y="80"/>
                  </a:cubicBezTo>
                  <a:lnTo>
                    <a:pt x="3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7731710" y="4955694"/>
              <a:ext cx="231775" cy="230188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16 h 48"/>
                <a:gd name="T12" fmla="*/ 32 w 48"/>
                <a:gd name="T13" fmla="*/ 24 h 48"/>
                <a:gd name="T14" fmla="*/ 24 w 48"/>
                <a:gd name="T15" fmla="*/ 32 h 48"/>
                <a:gd name="T16" fmla="*/ 16 w 48"/>
                <a:gd name="T17" fmla="*/ 24 h 48"/>
                <a:gd name="T18" fmla="*/ 24 w 48"/>
                <a:gd name="T19" fmla="*/ 1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7" y="48"/>
                    <a:pt x="48" y="37"/>
                    <a:pt x="48" y="24"/>
                  </a:cubicBezTo>
                  <a:cubicBezTo>
                    <a:pt x="48" y="10"/>
                    <a:pt x="37" y="0"/>
                    <a:pt x="24" y="0"/>
                  </a:cubicBezTo>
                  <a:cubicBezTo>
                    <a:pt x="10" y="0"/>
                    <a:pt x="0" y="10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lose/>
                  <a:moveTo>
                    <a:pt x="24" y="16"/>
                  </a:moveTo>
                  <a:cubicBezTo>
                    <a:pt x="28" y="16"/>
                    <a:pt x="32" y="19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ubicBezTo>
                    <a:pt x="19" y="32"/>
                    <a:pt x="16" y="28"/>
                    <a:pt x="16" y="24"/>
                  </a:cubicBezTo>
                  <a:cubicBezTo>
                    <a:pt x="16" y="19"/>
                    <a:pt x="19" y="16"/>
                    <a:pt x="2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923672" y="5262081"/>
              <a:ext cx="307975" cy="766763"/>
            </a:xfrm>
            <a:custGeom>
              <a:avLst/>
              <a:gdLst>
                <a:gd name="T0" fmla="*/ 56 w 64"/>
                <a:gd name="T1" fmla="*/ 0 h 160"/>
                <a:gd name="T2" fmla="*/ 8 w 64"/>
                <a:gd name="T3" fmla="*/ 0 h 160"/>
                <a:gd name="T4" fmla="*/ 0 w 64"/>
                <a:gd name="T5" fmla="*/ 8 h 160"/>
                <a:gd name="T6" fmla="*/ 0 w 64"/>
                <a:gd name="T7" fmla="*/ 72 h 160"/>
                <a:gd name="T8" fmla="*/ 8 w 64"/>
                <a:gd name="T9" fmla="*/ 80 h 160"/>
                <a:gd name="T10" fmla="*/ 8 w 64"/>
                <a:gd name="T11" fmla="*/ 152 h 160"/>
                <a:gd name="T12" fmla="*/ 16 w 64"/>
                <a:gd name="T13" fmla="*/ 160 h 160"/>
                <a:gd name="T14" fmla="*/ 24 w 64"/>
                <a:gd name="T15" fmla="*/ 152 h 160"/>
                <a:gd name="T16" fmla="*/ 24 w 64"/>
                <a:gd name="T17" fmla="*/ 80 h 160"/>
                <a:gd name="T18" fmla="*/ 40 w 64"/>
                <a:gd name="T19" fmla="*/ 80 h 160"/>
                <a:gd name="T20" fmla="*/ 40 w 64"/>
                <a:gd name="T21" fmla="*/ 152 h 160"/>
                <a:gd name="T22" fmla="*/ 48 w 64"/>
                <a:gd name="T23" fmla="*/ 160 h 160"/>
                <a:gd name="T24" fmla="*/ 56 w 64"/>
                <a:gd name="T25" fmla="*/ 152 h 160"/>
                <a:gd name="T26" fmla="*/ 56 w 64"/>
                <a:gd name="T27" fmla="*/ 80 h 160"/>
                <a:gd name="T28" fmla="*/ 64 w 64"/>
                <a:gd name="T29" fmla="*/ 72 h 160"/>
                <a:gd name="T30" fmla="*/ 64 w 64"/>
                <a:gd name="T31" fmla="*/ 8 h 160"/>
                <a:gd name="T32" fmla="*/ 56 w 64"/>
                <a:gd name="T33" fmla="*/ 0 h 160"/>
                <a:gd name="T34" fmla="*/ 16 w 64"/>
                <a:gd name="T35" fmla="*/ 16 h 160"/>
                <a:gd name="T36" fmla="*/ 48 w 64"/>
                <a:gd name="T37" fmla="*/ 16 h 160"/>
                <a:gd name="T38" fmla="*/ 48 w 64"/>
                <a:gd name="T39" fmla="*/ 64 h 160"/>
                <a:gd name="T40" fmla="*/ 16 w 64"/>
                <a:gd name="T41" fmla="*/ 64 h 160"/>
                <a:gd name="T42" fmla="*/ 16 w 64"/>
                <a:gd name="T43" fmla="*/ 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160">
                  <a:moveTo>
                    <a:pt x="5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6"/>
                    <a:pt x="3" y="80"/>
                    <a:pt x="8" y="80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56"/>
                    <a:pt x="11" y="160"/>
                    <a:pt x="16" y="160"/>
                  </a:cubicBezTo>
                  <a:cubicBezTo>
                    <a:pt x="20" y="160"/>
                    <a:pt x="24" y="156"/>
                    <a:pt x="24" y="15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6"/>
                    <a:pt x="43" y="160"/>
                    <a:pt x="48" y="160"/>
                  </a:cubicBezTo>
                  <a:cubicBezTo>
                    <a:pt x="52" y="160"/>
                    <a:pt x="56" y="156"/>
                    <a:pt x="56" y="152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60" y="80"/>
                    <a:pt x="64" y="76"/>
                    <a:pt x="64" y="7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3"/>
                    <a:pt x="60" y="0"/>
                    <a:pt x="56" y="0"/>
                  </a:cubicBezTo>
                  <a:close/>
                  <a:moveTo>
                    <a:pt x="16" y="16"/>
                  </a:moveTo>
                  <a:cubicBezTo>
                    <a:pt x="48" y="16"/>
                    <a:pt x="48" y="16"/>
                    <a:pt x="48" y="1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16" y="64"/>
                    <a:pt x="16" y="64"/>
                    <a:pt x="16" y="64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961772" y="4955694"/>
              <a:ext cx="231775" cy="230188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16 h 48"/>
                <a:gd name="T12" fmla="*/ 32 w 48"/>
                <a:gd name="T13" fmla="*/ 24 h 48"/>
                <a:gd name="T14" fmla="*/ 24 w 48"/>
                <a:gd name="T15" fmla="*/ 32 h 48"/>
                <a:gd name="T16" fmla="*/ 16 w 48"/>
                <a:gd name="T17" fmla="*/ 24 h 48"/>
                <a:gd name="T18" fmla="*/ 24 w 48"/>
                <a:gd name="T19" fmla="*/ 1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7" y="48"/>
                    <a:pt x="48" y="37"/>
                    <a:pt x="48" y="24"/>
                  </a:cubicBezTo>
                  <a:cubicBezTo>
                    <a:pt x="48" y="10"/>
                    <a:pt x="37" y="0"/>
                    <a:pt x="24" y="0"/>
                  </a:cubicBezTo>
                  <a:cubicBezTo>
                    <a:pt x="10" y="0"/>
                    <a:pt x="0" y="10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lose/>
                  <a:moveTo>
                    <a:pt x="24" y="16"/>
                  </a:moveTo>
                  <a:cubicBezTo>
                    <a:pt x="28" y="16"/>
                    <a:pt x="32" y="19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ubicBezTo>
                    <a:pt x="19" y="32"/>
                    <a:pt x="16" y="28"/>
                    <a:pt x="16" y="24"/>
                  </a:cubicBezTo>
                  <a:cubicBezTo>
                    <a:pt x="16" y="19"/>
                    <a:pt x="19" y="16"/>
                    <a:pt x="2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/>
            <p:cNvSpPr>
              <a:spLocks noEditPoints="1"/>
            </p:cNvSpPr>
            <p:nvPr/>
          </p:nvSpPr>
          <p:spPr bwMode="auto">
            <a:xfrm>
              <a:off x="7307847" y="5262081"/>
              <a:ext cx="309562" cy="766763"/>
            </a:xfrm>
            <a:custGeom>
              <a:avLst/>
              <a:gdLst>
                <a:gd name="T0" fmla="*/ 56 w 64"/>
                <a:gd name="T1" fmla="*/ 0 h 160"/>
                <a:gd name="T2" fmla="*/ 8 w 64"/>
                <a:gd name="T3" fmla="*/ 0 h 160"/>
                <a:gd name="T4" fmla="*/ 0 w 64"/>
                <a:gd name="T5" fmla="*/ 8 h 160"/>
                <a:gd name="T6" fmla="*/ 0 w 64"/>
                <a:gd name="T7" fmla="*/ 72 h 160"/>
                <a:gd name="T8" fmla="*/ 8 w 64"/>
                <a:gd name="T9" fmla="*/ 80 h 160"/>
                <a:gd name="T10" fmla="*/ 8 w 64"/>
                <a:gd name="T11" fmla="*/ 152 h 160"/>
                <a:gd name="T12" fmla="*/ 16 w 64"/>
                <a:gd name="T13" fmla="*/ 160 h 160"/>
                <a:gd name="T14" fmla="*/ 24 w 64"/>
                <a:gd name="T15" fmla="*/ 152 h 160"/>
                <a:gd name="T16" fmla="*/ 24 w 64"/>
                <a:gd name="T17" fmla="*/ 80 h 160"/>
                <a:gd name="T18" fmla="*/ 40 w 64"/>
                <a:gd name="T19" fmla="*/ 80 h 160"/>
                <a:gd name="T20" fmla="*/ 40 w 64"/>
                <a:gd name="T21" fmla="*/ 152 h 160"/>
                <a:gd name="T22" fmla="*/ 48 w 64"/>
                <a:gd name="T23" fmla="*/ 160 h 160"/>
                <a:gd name="T24" fmla="*/ 56 w 64"/>
                <a:gd name="T25" fmla="*/ 152 h 160"/>
                <a:gd name="T26" fmla="*/ 56 w 64"/>
                <a:gd name="T27" fmla="*/ 80 h 160"/>
                <a:gd name="T28" fmla="*/ 64 w 64"/>
                <a:gd name="T29" fmla="*/ 72 h 160"/>
                <a:gd name="T30" fmla="*/ 64 w 64"/>
                <a:gd name="T31" fmla="*/ 8 h 160"/>
                <a:gd name="T32" fmla="*/ 56 w 64"/>
                <a:gd name="T33" fmla="*/ 0 h 160"/>
                <a:gd name="T34" fmla="*/ 16 w 64"/>
                <a:gd name="T35" fmla="*/ 16 h 160"/>
                <a:gd name="T36" fmla="*/ 48 w 64"/>
                <a:gd name="T37" fmla="*/ 16 h 160"/>
                <a:gd name="T38" fmla="*/ 48 w 64"/>
                <a:gd name="T39" fmla="*/ 64 h 160"/>
                <a:gd name="T40" fmla="*/ 16 w 64"/>
                <a:gd name="T41" fmla="*/ 64 h 160"/>
                <a:gd name="T42" fmla="*/ 16 w 64"/>
                <a:gd name="T43" fmla="*/ 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160">
                  <a:moveTo>
                    <a:pt x="5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6"/>
                    <a:pt x="3" y="80"/>
                    <a:pt x="8" y="80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56"/>
                    <a:pt x="11" y="160"/>
                    <a:pt x="16" y="160"/>
                  </a:cubicBezTo>
                  <a:cubicBezTo>
                    <a:pt x="20" y="160"/>
                    <a:pt x="24" y="156"/>
                    <a:pt x="24" y="15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6"/>
                    <a:pt x="43" y="160"/>
                    <a:pt x="48" y="160"/>
                  </a:cubicBezTo>
                  <a:cubicBezTo>
                    <a:pt x="52" y="160"/>
                    <a:pt x="56" y="156"/>
                    <a:pt x="56" y="152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60" y="80"/>
                    <a:pt x="64" y="76"/>
                    <a:pt x="64" y="7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3"/>
                    <a:pt x="60" y="0"/>
                    <a:pt x="56" y="0"/>
                  </a:cubicBezTo>
                  <a:close/>
                  <a:moveTo>
                    <a:pt x="16" y="16"/>
                  </a:moveTo>
                  <a:cubicBezTo>
                    <a:pt x="48" y="16"/>
                    <a:pt x="48" y="16"/>
                    <a:pt x="48" y="1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16" y="64"/>
                    <a:pt x="16" y="64"/>
                    <a:pt x="16" y="64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7347535" y="4955694"/>
              <a:ext cx="230187" cy="230188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16 h 48"/>
                <a:gd name="T12" fmla="*/ 32 w 48"/>
                <a:gd name="T13" fmla="*/ 24 h 48"/>
                <a:gd name="T14" fmla="*/ 24 w 48"/>
                <a:gd name="T15" fmla="*/ 32 h 48"/>
                <a:gd name="T16" fmla="*/ 16 w 48"/>
                <a:gd name="T17" fmla="*/ 24 h 48"/>
                <a:gd name="T18" fmla="*/ 24 w 48"/>
                <a:gd name="T19" fmla="*/ 1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7" y="48"/>
                    <a:pt x="48" y="37"/>
                    <a:pt x="48" y="24"/>
                  </a:cubicBezTo>
                  <a:cubicBezTo>
                    <a:pt x="48" y="10"/>
                    <a:pt x="37" y="0"/>
                    <a:pt x="24" y="0"/>
                  </a:cubicBezTo>
                  <a:cubicBezTo>
                    <a:pt x="10" y="0"/>
                    <a:pt x="0" y="10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lose/>
                  <a:moveTo>
                    <a:pt x="24" y="16"/>
                  </a:moveTo>
                  <a:cubicBezTo>
                    <a:pt x="28" y="16"/>
                    <a:pt x="32" y="19"/>
                    <a:pt x="32" y="24"/>
                  </a:cubicBezTo>
                  <a:cubicBezTo>
                    <a:pt x="32" y="28"/>
                    <a:pt x="28" y="32"/>
                    <a:pt x="24" y="32"/>
                  </a:cubicBezTo>
                  <a:cubicBezTo>
                    <a:pt x="19" y="32"/>
                    <a:pt x="16" y="28"/>
                    <a:pt x="16" y="24"/>
                  </a:cubicBezTo>
                  <a:cubicBezTo>
                    <a:pt x="16" y="19"/>
                    <a:pt x="19" y="16"/>
                    <a:pt x="2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/>
            <p:cNvSpPr>
              <a:spLocks noEditPoints="1"/>
            </p:cNvSpPr>
            <p:nvPr/>
          </p:nvSpPr>
          <p:spPr bwMode="auto">
            <a:xfrm>
              <a:off x="6537910" y="4611206"/>
              <a:ext cx="1849437" cy="1838325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68 h 384"/>
                <a:gd name="T12" fmla="*/ 16 w 384"/>
                <a:gd name="T13" fmla="*/ 192 h 384"/>
                <a:gd name="T14" fmla="*/ 192 w 384"/>
                <a:gd name="T15" fmla="*/ 16 h 384"/>
                <a:gd name="T16" fmla="*/ 368 w 384"/>
                <a:gd name="T17" fmla="*/ 192 h 384"/>
                <a:gd name="T18" fmla="*/ 192 w 384"/>
                <a:gd name="T19" fmla="*/ 36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68"/>
                  </a:moveTo>
                  <a:cubicBezTo>
                    <a:pt x="95" y="368"/>
                    <a:pt x="16" y="289"/>
                    <a:pt x="16" y="192"/>
                  </a:cubicBezTo>
                  <a:cubicBezTo>
                    <a:pt x="16" y="95"/>
                    <a:pt x="95" y="16"/>
                    <a:pt x="192" y="16"/>
                  </a:cubicBezTo>
                  <a:cubicBezTo>
                    <a:pt x="289" y="16"/>
                    <a:pt x="368" y="95"/>
                    <a:pt x="368" y="192"/>
                  </a:cubicBezTo>
                  <a:cubicBezTo>
                    <a:pt x="368" y="289"/>
                    <a:pt x="289" y="368"/>
                    <a:pt x="192" y="3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5" name="Freeform 5"/>
          <p:cNvSpPr>
            <a:spLocks noChangeAspect="1" noEditPoints="1"/>
          </p:cNvSpPr>
          <p:nvPr/>
        </p:nvSpPr>
        <p:spPr bwMode="auto">
          <a:xfrm>
            <a:off x="4405579" y="3749676"/>
            <a:ext cx="376483" cy="374400"/>
          </a:xfrm>
          <a:custGeom>
            <a:avLst/>
            <a:gdLst>
              <a:gd name="T0" fmla="*/ 120 w 384"/>
              <a:gd name="T1" fmla="*/ 184 h 384"/>
              <a:gd name="T2" fmla="*/ 136 w 384"/>
              <a:gd name="T3" fmla="*/ 168 h 384"/>
              <a:gd name="T4" fmla="*/ 152 w 384"/>
              <a:gd name="T5" fmla="*/ 184 h 384"/>
              <a:gd name="T6" fmla="*/ 136 w 384"/>
              <a:gd name="T7" fmla="*/ 200 h 384"/>
              <a:gd name="T8" fmla="*/ 120 w 384"/>
              <a:gd name="T9" fmla="*/ 184 h 384"/>
              <a:gd name="T10" fmla="*/ 384 w 384"/>
              <a:gd name="T11" fmla="*/ 192 h 384"/>
              <a:gd name="T12" fmla="*/ 192 w 384"/>
              <a:gd name="T13" fmla="*/ 384 h 384"/>
              <a:gd name="T14" fmla="*/ 0 w 384"/>
              <a:gd name="T15" fmla="*/ 192 h 384"/>
              <a:gd name="T16" fmla="*/ 192 w 384"/>
              <a:gd name="T17" fmla="*/ 0 h 384"/>
              <a:gd name="T18" fmla="*/ 384 w 384"/>
              <a:gd name="T19" fmla="*/ 192 h 384"/>
              <a:gd name="T20" fmla="*/ 104 w 384"/>
              <a:gd name="T21" fmla="*/ 184 h 384"/>
              <a:gd name="T22" fmla="*/ 136 w 384"/>
              <a:gd name="T23" fmla="*/ 216 h 384"/>
              <a:gd name="T24" fmla="*/ 168 w 384"/>
              <a:gd name="T25" fmla="*/ 184 h 384"/>
              <a:gd name="T26" fmla="*/ 136 w 384"/>
              <a:gd name="T27" fmla="*/ 152 h 384"/>
              <a:gd name="T28" fmla="*/ 104 w 384"/>
              <a:gd name="T29" fmla="*/ 184 h 384"/>
              <a:gd name="T30" fmla="*/ 192 w 384"/>
              <a:gd name="T31" fmla="*/ 240 h 384"/>
              <a:gd name="T32" fmla="*/ 184 w 384"/>
              <a:gd name="T33" fmla="*/ 232 h 384"/>
              <a:gd name="T34" fmla="*/ 88 w 384"/>
              <a:gd name="T35" fmla="*/ 232 h 384"/>
              <a:gd name="T36" fmla="*/ 80 w 384"/>
              <a:gd name="T37" fmla="*/ 240 h 384"/>
              <a:gd name="T38" fmla="*/ 80 w 384"/>
              <a:gd name="T39" fmla="*/ 264 h 384"/>
              <a:gd name="T40" fmla="*/ 88 w 384"/>
              <a:gd name="T41" fmla="*/ 272 h 384"/>
              <a:gd name="T42" fmla="*/ 96 w 384"/>
              <a:gd name="T43" fmla="*/ 264 h 384"/>
              <a:gd name="T44" fmla="*/ 96 w 384"/>
              <a:gd name="T45" fmla="*/ 248 h 384"/>
              <a:gd name="T46" fmla="*/ 176 w 384"/>
              <a:gd name="T47" fmla="*/ 248 h 384"/>
              <a:gd name="T48" fmla="*/ 176 w 384"/>
              <a:gd name="T49" fmla="*/ 264 h 384"/>
              <a:gd name="T50" fmla="*/ 184 w 384"/>
              <a:gd name="T51" fmla="*/ 272 h 384"/>
              <a:gd name="T52" fmla="*/ 192 w 384"/>
              <a:gd name="T53" fmla="*/ 264 h 384"/>
              <a:gd name="T54" fmla="*/ 192 w 384"/>
              <a:gd name="T55" fmla="*/ 240 h 384"/>
              <a:gd name="T56" fmla="*/ 216 w 384"/>
              <a:gd name="T57" fmla="*/ 183 h 384"/>
              <a:gd name="T58" fmla="*/ 207 w 384"/>
              <a:gd name="T59" fmla="*/ 162 h 384"/>
              <a:gd name="T60" fmla="*/ 196 w 384"/>
              <a:gd name="T61" fmla="*/ 161 h 384"/>
              <a:gd name="T62" fmla="*/ 196 w 384"/>
              <a:gd name="T63" fmla="*/ 172 h 384"/>
              <a:gd name="T64" fmla="*/ 200 w 384"/>
              <a:gd name="T65" fmla="*/ 183 h 384"/>
              <a:gd name="T66" fmla="*/ 196 w 384"/>
              <a:gd name="T67" fmla="*/ 194 h 384"/>
              <a:gd name="T68" fmla="*/ 196 w 384"/>
              <a:gd name="T69" fmla="*/ 205 h 384"/>
              <a:gd name="T70" fmla="*/ 202 w 384"/>
              <a:gd name="T71" fmla="*/ 207 h 384"/>
              <a:gd name="T72" fmla="*/ 207 w 384"/>
              <a:gd name="T73" fmla="*/ 205 h 384"/>
              <a:gd name="T74" fmla="*/ 216 w 384"/>
              <a:gd name="T75" fmla="*/ 183 h 384"/>
              <a:gd name="T76" fmla="*/ 258 w 384"/>
              <a:gd name="T77" fmla="*/ 183 h 384"/>
              <a:gd name="T78" fmla="*/ 233 w 384"/>
              <a:gd name="T79" fmla="*/ 129 h 384"/>
              <a:gd name="T80" fmla="*/ 221 w 384"/>
              <a:gd name="T81" fmla="*/ 130 h 384"/>
              <a:gd name="T82" fmla="*/ 222 w 384"/>
              <a:gd name="T83" fmla="*/ 141 h 384"/>
              <a:gd name="T84" fmla="*/ 242 w 384"/>
              <a:gd name="T85" fmla="*/ 183 h 384"/>
              <a:gd name="T86" fmla="*/ 222 w 384"/>
              <a:gd name="T87" fmla="*/ 225 h 384"/>
              <a:gd name="T88" fmla="*/ 221 w 384"/>
              <a:gd name="T89" fmla="*/ 237 h 384"/>
              <a:gd name="T90" fmla="*/ 227 w 384"/>
              <a:gd name="T91" fmla="*/ 239 h 384"/>
              <a:gd name="T92" fmla="*/ 233 w 384"/>
              <a:gd name="T93" fmla="*/ 238 h 384"/>
              <a:gd name="T94" fmla="*/ 258 w 384"/>
              <a:gd name="T95" fmla="*/ 183 h 384"/>
              <a:gd name="T96" fmla="*/ 301 w 384"/>
              <a:gd name="T97" fmla="*/ 183 h 384"/>
              <a:gd name="T98" fmla="*/ 258 w 384"/>
              <a:gd name="T99" fmla="*/ 96 h 384"/>
              <a:gd name="T100" fmla="*/ 247 w 384"/>
              <a:gd name="T101" fmla="*/ 98 h 384"/>
              <a:gd name="T102" fmla="*/ 248 w 384"/>
              <a:gd name="T103" fmla="*/ 109 h 384"/>
              <a:gd name="T104" fmla="*/ 285 w 384"/>
              <a:gd name="T105" fmla="*/ 183 h 384"/>
              <a:gd name="T106" fmla="*/ 248 w 384"/>
              <a:gd name="T107" fmla="*/ 257 h 384"/>
              <a:gd name="T108" fmla="*/ 247 w 384"/>
              <a:gd name="T109" fmla="*/ 269 h 384"/>
              <a:gd name="T110" fmla="*/ 253 w 384"/>
              <a:gd name="T111" fmla="*/ 272 h 384"/>
              <a:gd name="T112" fmla="*/ 258 w 384"/>
              <a:gd name="T113" fmla="*/ 270 h 384"/>
              <a:gd name="T114" fmla="*/ 301 w 384"/>
              <a:gd name="T115" fmla="*/ 183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84" h="384">
                <a:moveTo>
                  <a:pt x="120" y="184"/>
                </a:moveTo>
                <a:cubicBezTo>
                  <a:pt x="120" y="175"/>
                  <a:pt x="127" y="168"/>
                  <a:pt x="136" y="168"/>
                </a:cubicBezTo>
                <a:cubicBezTo>
                  <a:pt x="144" y="168"/>
                  <a:pt x="152" y="175"/>
                  <a:pt x="152" y="184"/>
                </a:cubicBezTo>
                <a:cubicBezTo>
                  <a:pt x="152" y="192"/>
                  <a:pt x="144" y="200"/>
                  <a:pt x="136" y="200"/>
                </a:cubicBezTo>
                <a:cubicBezTo>
                  <a:pt x="127" y="200"/>
                  <a:pt x="120" y="192"/>
                  <a:pt x="120" y="184"/>
                </a:cubicBezTo>
                <a:close/>
                <a:moveTo>
                  <a:pt x="384" y="192"/>
                </a:moveTo>
                <a:cubicBezTo>
                  <a:pt x="384" y="298"/>
                  <a:pt x="298" y="384"/>
                  <a:pt x="192" y="384"/>
                </a:cubicBezTo>
                <a:cubicBezTo>
                  <a:pt x="86" y="384"/>
                  <a:pt x="0" y="298"/>
                  <a:pt x="0" y="192"/>
                </a:cubicBezTo>
                <a:cubicBezTo>
                  <a:pt x="0" y="86"/>
                  <a:pt x="86" y="0"/>
                  <a:pt x="192" y="0"/>
                </a:cubicBezTo>
                <a:cubicBezTo>
                  <a:pt x="298" y="0"/>
                  <a:pt x="384" y="86"/>
                  <a:pt x="384" y="192"/>
                </a:cubicBezTo>
                <a:close/>
                <a:moveTo>
                  <a:pt x="104" y="184"/>
                </a:moveTo>
                <a:cubicBezTo>
                  <a:pt x="104" y="201"/>
                  <a:pt x="118" y="216"/>
                  <a:pt x="136" y="216"/>
                </a:cubicBezTo>
                <a:cubicBezTo>
                  <a:pt x="153" y="216"/>
                  <a:pt x="168" y="201"/>
                  <a:pt x="168" y="184"/>
                </a:cubicBezTo>
                <a:cubicBezTo>
                  <a:pt x="168" y="166"/>
                  <a:pt x="153" y="152"/>
                  <a:pt x="136" y="152"/>
                </a:cubicBezTo>
                <a:cubicBezTo>
                  <a:pt x="118" y="152"/>
                  <a:pt x="104" y="166"/>
                  <a:pt x="104" y="184"/>
                </a:cubicBezTo>
                <a:close/>
                <a:moveTo>
                  <a:pt x="192" y="240"/>
                </a:moveTo>
                <a:cubicBezTo>
                  <a:pt x="192" y="235"/>
                  <a:pt x="188" y="232"/>
                  <a:pt x="184" y="232"/>
                </a:cubicBezTo>
                <a:cubicBezTo>
                  <a:pt x="88" y="232"/>
                  <a:pt x="88" y="232"/>
                  <a:pt x="88" y="232"/>
                </a:cubicBezTo>
                <a:cubicBezTo>
                  <a:pt x="83" y="232"/>
                  <a:pt x="80" y="235"/>
                  <a:pt x="80" y="240"/>
                </a:cubicBezTo>
                <a:cubicBezTo>
                  <a:pt x="80" y="264"/>
                  <a:pt x="80" y="264"/>
                  <a:pt x="80" y="264"/>
                </a:cubicBezTo>
                <a:cubicBezTo>
                  <a:pt x="80" y="268"/>
                  <a:pt x="83" y="272"/>
                  <a:pt x="88" y="272"/>
                </a:cubicBezTo>
                <a:cubicBezTo>
                  <a:pt x="92" y="272"/>
                  <a:pt x="96" y="268"/>
                  <a:pt x="96" y="264"/>
                </a:cubicBezTo>
                <a:cubicBezTo>
                  <a:pt x="96" y="248"/>
                  <a:pt x="96" y="248"/>
                  <a:pt x="96" y="248"/>
                </a:cubicBezTo>
                <a:cubicBezTo>
                  <a:pt x="176" y="248"/>
                  <a:pt x="176" y="248"/>
                  <a:pt x="176" y="248"/>
                </a:cubicBezTo>
                <a:cubicBezTo>
                  <a:pt x="176" y="264"/>
                  <a:pt x="176" y="264"/>
                  <a:pt x="176" y="264"/>
                </a:cubicBezTo>
                <a:cubicBezTo>
                  <a:pt x="176" y="268"/>
                  <a:pt x="179" y="272"/>
                  <a:pt x="184" y="272"/>
                </a:cubicBezTo>
                <a:cubicBezTo>
                  <a:pt x="188" y="272"/>
                  <a:pt x="192" y="268"/>
                  <a:pt x="192" y="264"/>
                </a:cubicBezTo>
                <a:lnTo>
                  <a:pt x="192" y="240"/>
                </a:lnTo>
                <a:close/>
                <a:moveTo>
                  <a:pt x="216" y="183"/>
                </a:moveTo>
                <a:cubicBezTo>
                  <a:pt x="216" y="175"/>
                  <a:pt x="213" y="167"/>
                  <a:pt x="207" y="162"/>
                </a:cubicBezTo>
                <a:cubicBezTo>
                  <a:pt x="204" y="158"/>
                  <a:pt x="199" y="158"/>
                  <a:pt x="196" y="161"/>
                </a:cubicBezTo>
                <a:cubicBezTo>
                  <a:pt x="193" y="164"/>
                  <a:pt x="193" y="169"/>
                  <a:pt x="196" y="172"/>
                </a:cubicBezTo>
                <a:cubicBezTo>
                  <a:pt x="198" y="175"/>
                  <a:pt x="200" y="179"/>
                  <a:pt x="200" y="183"/>
                </a:cubicBezTo>
                <a:cubicBezTo>
                  <a:pt x="200" y="187"/>
                  <a:pt x="198" y="191"/>
                  <a:pt x="196" y="194"/>
                </a:cubicBezTo>
                <a:cubicBezTo>
                  <a:pt x="193" y="197"/>
                  <a:pt x="193" y="202"/>
                  <a:pt x="196" y="205"/>
                </a:cubicBezTo>
                <a:cubicBezTo>
                  <a:pt x="198" y="206"/>
                  <a:pt x="200" y="207"/>
                  <a:pt x="202" y="207"/>
                </a:cubicBezTo>
                <a:cubicBezTo>
                  <a:pt x="204" y="207"/>
                  <a:pt x="206" y="206"/>
                  <a:pt x="207" y="205"/>
                </a:cubicBezTo>
                <a:cubicBezTo>
                  <a:pt x="213" y="199"/>
                  <a:pt x="216" y="191"/>
                  <a:pt x="216" y="183"/>
                </a:cubicBezTo>
                <a:close/>
                <a:moveTo>
                  <a:pt x="258" y="183"/>
                </a:moveTo>
                <a:cubicBezTo>
                  <a:pt x="258" y="162"/>
                  <a:pt x="249" y="142"/>
                  <a:pt x="233" y="129"/>
                </a:cubicBezTo>
                <a:cubicBezTo>
                  <a:pt x="229" y="126"/>
                  <a:pt x="224" y="126"/>
                  <a:pt x="221" y="130"/>
                </a:cubicBezTo>
                <a:cubicBezTo>
                  <a:pt x="218" y="133"/>
                  <a:pt x="219" y="138"/>
                  <a:pt x="222" y="141"/>
                </a:cubicBezTo>
                <a:cubicBezTo>
                  <a:pt x="235" y="152"/>
                  <a:pt x="242" y="167"/>
                  <a:pt x="242" y="183"/>
                </a:cubicBezTo>
                <a:cubicBezTo>
                  <a:pt x="242" y="199"/>
                  <a:pt x="235" y="215"/>
                  <a:pt x="222" y="225"/>
                </a:cubicBezTo>
                <a:cubicBezTo>
                  <a:pt x="219" y="228"/>
                  <a:pt x="218" y="233"/>
                  <a:pt x="221" y="237"/>
                </a:cubicBezTo>
                <a:cubicBezTo>
                  <a:pt x="223" y="238"/>
                  <a:pt x="225" y="239"/>
                  <a:pt x="227" y="239"/>
                </a:cubicBezTo>
                <a:cubicBezTo>
                  <a:pt x="229" y="239"/>
                  <a:pt x="231" y="239"/>
                  <a:pt x="233" y="238"/>
                </a:cubicBezTo>
                <a:cubicBezTo>
                  <a:pt x="249" y="224"/>
                  <a:pt x="258" y="204"/>
                  <a:pt x="258" y="183"/>
                </a:cubicBezTo>
                <a:close/>
                <a:moveTo>
                  <a:pt x="301" y="183"/>
                </a:moveTo>
                <a:cubicBezTo>
                  <a:pt x="301" y="149"/>
                  <a:pt x="285" y="118"/>
                  <a:pt x="258" y="96"/>
                </a:cubicBezTo>
                <a:cubicBezTo>
                  <a:pt x="254" y="94"/>
                  <a:pt x="249" y="94"/>
                  <a:pt x="247" y="98"/>
                </a:cubicBezTo>
                <a:cubicBezTo>
                  <a:pt x="244" y="101"/>
                  <a:pt x="244" y="106"/>
                  <a:pt x="248" y="109"/>
                </a:cubicBezTo>
                <a:cubicBezTo>
                  <a:pt x="271" y="127"/>
                  <a:pt x="285" y="154"/>
                  <a:pt x="285" y="183"/>
                </a:cubicBezTo>
                <a:cubicBezTo>
                  <a:pt x="285" y="212"/>
                  <a:pt x="271" y="239"/>
                  <a:pt x="248" y="257"/>
                </a:cubicBezTo>
                <a:cubicBezTo>
                  <a:pt x="244" y="260"/>
                  <a:pt x="244" y="265"/>
                  <a:pt x="247" y="269"/>
                </a:cubicBezTo>
                <a:cubicBezTo>
                  <a:pt x="248" y="271"/>
                  <a:pt x="251" y="272"/>
                  <a:pt x="253" y="272"/>
                </a:cubicBezTo>
                <a:cubicBezTo>
                  <a:pt x="255" y="272"/>
                  <a:pt x="256" y="271"/>
                  <a:pt x="258" y="270"/>
                </a:cubicBezTo>
                <a:cubicBezTo>
                  <a:pt x="285" y="248"/>
                  <a:pt x="301" y="217"/>
                  <a:pt x="301" y="18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6" name="Group 205"/>
          <p:cNvGrpSpPr>
            <a:grpSpLocks noChangeAspect="1"/>
          </p:cNvGrpSpPr>
          <p:nvPr/>
        </p:nvGrpSpPr>
        <p:grpSpPr>
          <a:xfrm>
            <a:off x="4910409" y="3749675"/>
            <a:ext cx="372873" cy="370800"/>
            <a:chOff x="3441700" y="3584575"/>
            <a:chExt cx="2570163" cy="2555875"/>
          </a:xfrm>
          <a:solidFill>
            <a:schemeClr val="accent3"/>
          </a:solidFill>
        </p:grpSpPr>
        <p:sp>
          <p:nvSpPr>
            <p:cNvPr id="207" name="Freeform 17"/>
            <p:cNvSpPr>
              <a:spLocks noEditPoints="1"/>
            </p:cNvSpPr>
            <p:nvPr/>
          </p:nvSpPr>
          <p:spPr bwMode="auto">
            <a:xfrm>
              <a:off x="3441700" y="3584575"/>
              <a:ext cx="2570163" cy="2555875"/>
            </a:xfrm>
            <a:custGeom>
              <a:avLst/>
              <a:gdLst>
                <a:gd name="T0" fmla="*/ 192 w 384"/>
                <a:gd name="T1" fmla="*/ 16 h 384"/>
                <a:gd name="T2" fmla="*/ 368 w 384"/>
                <a:gd name="T3" fmla="*/ 192 h 384"/>
                <a:gd name="T4" fmla="*/ 192 w 384"/>
                <a:gd name="T5" fmla="*/ 368 h 384"/>
                <a:gd name="T6" fmla="*/ 16 w 384"/>
                <a:gd name="T7" fmla="*/ 192 h 384"/>
                <a:gd name="T8" fmla="*/ 192 w 384"/>
                <a:gd name="T9" fmla="*/ 16 h 384"/>
                <a:gd name="T10" fmla="*/ 192 w 384"/>
                <a:gd name="T11" fmla="*/ 0 h 384"/>
                <a:gd name="T12" fmla="*/ 0 w 384"/>
                <a:gd name="T13" fmla="*/ 192 h 384"/>
                <a:gd name="T14" fmla="*/ 192 w 384"/>
                <a:gd name="T15" fmla="*/ 384 h 384"/>
                <a:gd name="T16" fmla="*/ 384 w 384"/>
                <a:gd name="T17" fmla="*/ 192 h 384"/>
                <a:gd name="T18" fmla="*/ 192 w 384"/>
                <a:gd name="T19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16"/>
                  </a:moveTo>
                  <a:cubicBezTo>
                    <a:pt x="289" y="16"/>
                    <a:pt x="368" y="95"/>
                    <a:pt x="368" y="192"/>
                  </a:cubicBezTo>
                  <a:cubicBezTo>
                    <a:pt x="368" y="289"/>
                    <a:pt x="289" y="368"/>
                    <a:pt x="192" y="368"/>
                  </a:cubicBezTo>
                  <a:cubicBezTo>
                    <a:pt x="95" y="368"/>
                    <a:pt x="16" y="289"/>
                    <a:pt x="16" y="192"/>
                  </a:cubicBezTo>
                  <a:cubicBezTo>
                    <a:pt x="16" y="95"/>
                    <a:pt x="95" y="16"/>
                    <a:pt x="192" y="16"/>
                  </a:cubicBezTo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8"/>
            <p:cNvSpPr>
              <a:spLocks noEditPoints="1"/>
            </p:cNvSpPr>
            <p:nvPr/>
          </p:nvSpPr>
          <p:spPr bwMode="auto">
            <a:xfrm>
              <a:off x="3976688" y="4210050"/>
              <a:ext cx="1479550" cy="1184275"/>
            </a:xfrm>
            <a:custGeom>
              <a:avLst/>
              <a:gdLst>
                <a:gd name="T0" fmla="*/ 56 w 221"/>
                <a:gd name="T1" fmla="*/ 122 h 178"/>
                <a:gd name="T2" fmla="*/ 88 w 221"/>
                <a:gd name="T3" fmla="*/ 90 h 178"/>
                <a:gd name="T4" fmla="*/ 56 w 221"/>
                <a:gd name="T5" fmla="*/ 58 h 178"/>
                <a:gd name="T6" fmla="*/ 24 w 221"/>
                <a:gd name="T7" fmla="*/ 90 h 178"/>
                <a:gd name="T8" fmla="*/ 56 w 221"/>
                <a:gd name="T9" fmla="*/ 122 h 178"/>
                <a:gd name="T10" fmla="*/ 56 w 221"/>
                <a:gd name="T11" fmla="*/ 74 h 178"/>
                <a:gd name="T12" fmla="*/ 72 w 221"/>
                <a:gd name="T13" fmla="*/ 90 h 178"/>
                <a:gd name="T14" fmla="*/ 56 w 221"/>
                <a:gd name="T15" fmla="*/ 106 h 178"/>
                <a:gd name="T16" fmla="*/ 40 w 221"/>
                <a:gd name="T17" fmla="*/ 90 h 178"/>
                <a:gd name="T18" fmla="*/ 56 w 221"/>
                <a:gd name="T19" fmla="*/ 74 h 178"/>
                <a:gd name="T20" fmla="*/ 127 w 221"/>
                <a:gd name="T21" fmla="*/ 68 h 178"/>
                <a:gd name="T22" fmla="*/ 136 w 221"/>
                <a:gd name="T23" fmla="*/ 89 h 178"/>
                <a:gd name="T24" fmla="*/ 127 w 221"/>
                <a:gd name="T25" fmla="*/ 111 h 178"/>
                <a:gd name="T26" fmla="*/ 122 w 221"/>
                <a:gd name="T27" fmla="*/ 113 h 178"/>
                <a:gd name="T28" fmla="*/ 116 w 221"/>
                <a:gd name="T29" fmla="*/ 111 h 178"/>
                <a:gd name="T30" fmla="*/ 116 w 221"/>
                <a:gd name="T31" fmla="*/ 100 h 178"/>
                <a:gd name="T32" fmla="*/ 120 w 221"/>
                <a:gd name="T33" fmla="*/ 89 h 178"/>
                <a:gd name="T34" fmla="*/ 116 w 221"/>
                <a:gd name="T35" fmla="*/ 78 h 178"/>
                <a:gd name="T36" fmla="*/ 116 w 221"/>
                <a:gd name="T37" fmla="*/ 67 h 178"/>
                <a:gd name="T38" fmla="*/ 127 w 221"/>
                <a:gd name="T39" fmla="*/ 68 h 178"/>
                <a:gd name="T40" fmla="*/ 178 w 221"/>
                <a:gd name="T41" fmla="*/ 89 h 178"/>
                <a:gd name="T42" fmla="*/ 153 w 221"/>
                <a:gd name="T43" fmla="*/ 144 h 178"/>
                <a:gd name="T44" fmla="*/ 147 w 221"/>
                <a:gd name="T45" fmla="*/ 145 h 178"/>
                <a:gd name="T46" fmla="*/ 141 w 221"/>
                <a:gd name="T47" fmla="*/ 143 h 178"/>
                <a:gd name="T48" fmla="*/ 142 w 221"/>
                <a:gd name="T49" fmla="*/ 131 h 178"/>
                <a:gd name="T50" fmla="*/ 162 w 221"/>
                <a:gd name="T51" fmla="*/ 89 h 178"/>
                <a:gd name="T52" fmla="*/ 142 w 221"/>
                <a:gd name="T53" fmla="*/ 47 h 178"/>
                <a:gd name="T54" fmla="*/ 141 w 221"/>
                <a:gd name="T55" fmla="*/ 36 h 178"/>
                <a:gd name="T56" fmla="*/ 153 w 221"/>
                <a:gd name="T57" fmla="*/ 35 h 178"/>
                <a:gd name="T58" fmla="*/ 178 w 221"/>
                <a:gd name="T59" fmla="*/ 89 h 178"/>
                <a:gd name="T60" fmla="*/ 221 w 221"/>
                <a:gd name="T61" fmla="*/ 89 h 178"/>
                <a:gd name="T62" fmla="*/ 178 w 221"/>
                <a:gd name="T63" fmla="*/ 176 h 178"/>
                <a:gd name="T64" fmla="*/ 173 w 221"/>
                <a:gd name="T65" fmla="*/ 178 h 178"/>
                <a:gd name="T66" fmla="*/ 167 w 221"/>
                <a:gd name="T67" fmla="*/ 175 h 178"/>
                <a:gd name="T68" fmla="*/ 168 w 221"/>
                <a:gd name="T69" fmla="*/ 163 h 178"/>
                <a:gd name="T70" fmla="*/ 205 w 221"/>
                <a:gd name="T71" fmla="*/ 89 h 178"/>
                <a:gd name="T72" fmla="*/ 168 w 221"/>
                <a:gd name="T73" fmla="*/ 15 h 178"/>
                <a:gd name="T74" fmla="*/ 167 w 221"/>
                <a:gd name="T75" fmla="*/ 4 h 178"/>
                <a:gd name="T76" fmla="*/ 178 w 221"/>
                <a:gd name="T77" fmla="*/ 2 h 178"/>
                <a:gd name="T78" fmla="*/ 221 w 221"/>
                <a:gd name="T79" fmla="*/ 89 h 178"/>
                <a:gd name="T80" fmla="*/ 112 w 221"/>
                <a:gd name="T81" fmla="*/ 146 h 178"/>
                <a:gd name="T82" fmla="*/ 112 w 221"/>
                <a:gd name="T83" fmla="*/ 170 h 178"/>
                <a:gd name="T84" fmla="*/ 104 w 221"/>
                <a:gd name="T85" fmla="*/ 178 h 178"/>
                <a:gd name="T86" fmla="*/ 96 w 221"/>
                <a:gd name="T87" fmla="*/ 170 h 178"/>
                <a:gd name="T88" fmla="*/ 96 w 221"/>
                <a:gd name="T89" fmla="*/ 154 h 178"/>
                <a:gd name="T90" fmla="*/ 16 w 221"/>
                <a:gd name="T91" fmla="*/ 154 h 178"/>
                <a:gd name="T92" fmla="*/ 16 w 221"/>
                <a:gd name="T93" fmla="*/ 170 h 178"/>
                <a:gd name="T94" fmla="*/ 8 w 221"/>
                <a:gd name="T95" fmla="*/ 178 h 178"/>
                <a:gd name="T96" fmla="*/ 0 w 221"/>
                <a:gd name="T97" fmla="*/ 170 h 178"/>
                <a:gd name="T98" fmla="*/ 0 w 221"/>
                <a:gd name="T99" fmla="*/ 146 h 178"/>
                <a:gd name="T100" fmla="*/ 8 w 221"/>
                <a:gd name="T101" fmla="*/ 138 h 178"/>
                <a:gd name="T102" fmla="*/ 104 w 221"/>
                <a:gd name="T103" fmla="*/ 138 h 178"/>
                <a:gd name="T104" fmla="*/ 112 w 221"/>
                <a:gd name="T105" fmla="*/ 14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1" h="178">
                  <a:moveTo>
                    <a:pt x="56" y="122"/>
                  </a:moveTo>
                  <a:cubicBezTo>
                    <a:pt x="73" y="122"/>
                    <a:pt x="88" y="107"/>
                    <a:pt x="88" y="90"/>
                  </a:cubicBezTo>
                  <a:cubicBezTo>
                    <a:pt x="88" y="72"/>
                    <a:pt x="73" y="58"/>
                    <a:pt x="56" y="58"/>
                  </a:cubicBezTo>
                  <a:cubicBezTo>
                    <a:pt x="38" y="58"/>
                    <a:pt x="24" y="72"/>
                    <a:pt x="24" y="90"/>
                  </a:cubicBezTo>
                  <a:cubicBezTo>
                    <a:pt x="24" y="107"/>
                    <a:pt x="38" y="122"/>
                    <a:pt x="56" y="122"/>
                  </a:cubicBezTo>
                  <a:close/>
                  <a:moveTo>
                    <a:pt x="56" y="74"/>
                  </a:moveTo>
                  <a:cubicBezTo>
                    <a:pt x="64" y="74"/>
                    <a:pt x="72" y="81"/>
                    <a:pt x="72" y="90"/>
                  </a:cubicBezTo>
                  <a:cubicBezTo>
                    <a:pt x="72" y="98"/>
                    <a:pt x="64" y="106"/>
                    <a:pt x="56" y="106"/>
                  </a:cubicBezTo>
                  <a:cubicBezTo>
                    <a:pt x="47" y="106"/>
                    <a:pt x="40" y="98"/>
                    <a:pt x="40" y="90"/>
                  </a:cubicBezTo>
                  <a:cubicBezTo>
                    <a:pt x="40" y="81"/>
                    <a:pt x="47" y="74"/>
                    <a:pt x="56" y="74"/>
                  </a:cubicBezTo>
                  <a:close/>
                  <a:moveTo>
                    <a:pt x="127" y="68"/>
                  </a:moveTo>
                  <a:cubicBezTo>
                    <a:pt x="133" y="73"/>
                    <a:pt x="136" y="81"/>
                    <a:pt x="136" y="89"/>
                  </a:cubicBezTo>
                  <a:cubicBezTo>
                    <a:pt x="136" y="97"/>
                    <a:pt x="133" y="105"/>
                    <a:pt x="127" y="111"/>
                  </a:cubicBezTo>
                  <a:cubicBezTo>
                    <a:pt x="126" y="112"/>
                    <a:pt x="124" y="113"/>
                    <a:pt x="122" y="113"/>
                  </a:cubicBezTo>
                  <a:cubicBezTo>
                    <a:pt x="120" y="113"/>
                    <a:pt x="118" y="112"/>
                    <a:pt x="116" y="111"/>
                  </a:cubicBezTo>
                  <a:cubicBezTo>
                    <a:pt x="113" y="108"/>
                    <a:pt x="113" y="103"/>
                    <a:pt x="116" y="100"/>
                  </a:cubicBezTo>
                  <a:cubicBezTo>
                    <a:pt x="118" y="97"/>
                    <a:pt x="120" y="93"/>
                    <a:pt x="120" y="89"/>
                  </a:cubicBezTo>
                  <a:cubicBezTo>
                    <a:pt x="120" y="85"/>
                    <a:pt x="118" y="81"/>
                    <a:pt x="116" y="78"/>
                  </a:cubicBezTo>
                  <a:cubicBezTo>
                    <a:pt x="113" y="75"/>
                    <a:pt x="113" y="70"/>
                    <a:pt x="116" y="67"/>
                  </a:cubicBezTo>
                  <a:cubicBezTo>
                    <a:pt x="119" y="64"/>
                    <a:pt x="124" y="64"/>
                    <a:pt x="127" y="68"/>
                  </a:cubicBezTo>
                  <a:close/>
                  <a:moveTo>
                    <a:pt x="178" y="89"/>
                  </a:moveTo>
                  <a:cubicBezTo>
                    <a:pt x="178" y="110"/>
                    <a:pt x="169" y="130"/>
                    <a:pt x="153" y="144"/>
                  </a:cubicBezTo>
                  <a:cubicBezTo>
                    <a:pt x="151" y="145"/>
                    <a:pt x="149" y="145"/>
                    <a:pt x="147" y="145"/>
                  </a:cubicBezTo>
                  <a:cubicBezTo>
                    <a:pt x="145" y="145"/>
                    <a:pt x="143" y="144"/>
                    <a:pt x="141" y="143"/>
                  </a:cubicBezTo>
                  <a:cubicBezTo>
                    <a:pt x="138" y="139"/>
                    <a:pt x="139" y="134"/>
                    <a:pt x="142" y="131"/>
                  </a:cubicBezTo>
                  <a:cubicBezTo>
                    <a:pt x="155" y="121"/>
                    <a:pt x="162" y="105"/>
                    <a:pt x="162" y="89"/>
                  </a:cubicBezTo>
                  <a:cubicBezTo>
                    <a:pt x="162" y="73"/>
                    <a:pt x="155" y="58"/>
                    <a:pt x="142" y="47"/>
                  </a:cubicBezTo>
                  <a:cubicBezTo>
                    <a:pt x="139" y="44"/>
                    <a:pt x="138" y="39"/>
                    <a:pt x="141" y="36"/>
                  </a:cubicBezTo>
                  <a:cubicBezTo>
                    <a:pt x="144" y="32"/>
                    <a:pt x="149" y="32"/>
                    <a:pt x="153" y="35"/>
                  </a:cubicBezTo>
                  <a:cubicBezTo>
                    <a:pt x="169" y="48"/>
                    <a:pt x="178" y="68"/>
                    <a:pt x="178" y="89"/>
                  </a:cubicBezTo>
                  <a:close/>
                  <a:moveTo>
                    <a:pt x="221" y="89"/>
                  </a:moveTo>
                  <a:cubicBezTo>
                    <a:pt x="221" y="123"/>
                    <a:pt x="205" y="154"/>
                    <a:pt x="178" y="176"/>
                  </a:cubicBezTo>
                  <a:cubicBezTo>
                    <a:pt x="176" y="177"/>
                    <a:pt x="175" y="178"/>
                    <a:pt x="173" y="178"/>
                  </a:cubicBezTo>
                  <a:cubicBezTo>
                    <a:pt x="171" y="178"/>
                    <a:pt x="168" y="177"/>
                    <a:pt x="167" y="175"/>
                  </a:cubicBezTo>
                  <a:cubicBezTo>
                    <a:pt x="164" y="171"/>
                    <a:pt x="164" y="166"/>
                    <a:pt x="168" y="163"/>
                  </a:cubicBezTo>
                  <a:cubicBezTo>
                    <a:pt x="191" y="145"/>
                    <a:pt x="205" y="118"/>
                    <a:pt x="205" y="89"/>
                  </a:cubicBezTo>
                  <a:cubicBezTo>
                    <a:pt x="205" y="60"/>
                    <a:pt x="191" y="33"/>
                    <a:pt x="168" y="15"/>
                  </a:cubicBezTo>
                  <a:cubicBezTo>
                    <a:pt x="164" y="12"/>
                    <a:pt x="164" y="7"/>
                    <a:pt x="167" y="4"/>
                  </a:cubicBezTo>
                  <a:cubicBezTo>
                    <a:pt x="169" y="0"/>
                    <a:pt x="174" y="0"/>
                    <a:pt x="178" y="2"/>
                  </a:cubicBezTo>
                  <a:cubicBezTo>
                    <a:pt x="205" y="24"/>
                    <a:pt x="221" y="55"/>
                    <a:pt x="221" y="89"/>
                  </a:cubicBezTo>
                  <a:close/>
                  <a:moveTo>
                    <a:pt x="112" y="146"/>
                  </a:moveTo>
                  <a:cubicBezTo>
                    <a:pt x="112" y="170"/>
                    <a:pt x="112" y="170"/>
                    <a:pt x="112" y="170"/>
                  </a:cubicBezTo>
                  <a:cubicBezTo>
                    <a:pt x="112" y="174"/>
                    <a:pt x="108" y="178"/>
                    <a:pt x="104" y="178"/>
                  </a:cubicBezTo>
                  <a:cubicBezTo>
                    <a:pt x="99" y="178"/>
                    <a:pt x="96" y="174"/>
                    <a:pt x="96" y="170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6" y="154"/>
                    <a:pt x="16" y="154"/>
                    <a:pt x="16" y="154"/>
                  </a:cubicBezTo>
                  <a:cubicBezTo>
                    <a:pt x="16" y="170"/>
                    <a:pt x="16" y="170"/>
                    <a:pt x="16" y="170"/>
                  </a:cubicBezTo>
                  <a:cubicBezTo>
                    <a:pt x="16" y="174"/>
                    <a:pt x="12" y="178"/>
                    <a:pt x="8" y="178"/>
                  </a:cubicBezTo>
                  <a:cubicBezTo>
                    <a:pt x="3" y="178"/>
                    <a:pt x="0" y="174"/>
                    <a:pt x="0" y="17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41"/>
                    <a:pt x="3" y="138"/>
                    <a:pt x="8" y="138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8" y="138"/>
                    <a:pt x="112" y="141"/>
                    <a:pt x="112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40701863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Retail/foo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44651" y="245913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oon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31329" y="245913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tew pot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3282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ine glass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2946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ffee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542778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utlery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3114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rtini glass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2610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pple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421064" y="245913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rthday cake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22744" y="2459137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stle and mortar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7424424" y="245913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ish hook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33388" y="3362023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 shirt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21317" y="3362023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lly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24063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eer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23205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ine bottle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22776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at hanger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23634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eer 2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422347" y="3362026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cktail glass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9421064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Gift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8421489" y="3362026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vel coffee cup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7421918" y="3362023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olley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79215" y="418608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redit card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33911" y="418608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st food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03424" y="41860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rice tag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336100" y="41860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ctor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302438" y="418608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opping bag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369762" y="41860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amond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268776" y="4186088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opping basket</a:t>
            </a:r>
          </a:p>
        </p:txBody>
      </p:sp>
      <p:grpSp>
        <p:nvGrpSpPr>
          <p:cNvPr id="256" name="Group 199"/>
          <p:cNvGrpSpPr>
            <a:grpSpLocks noChangeAspect="1"/>
          </p:cNvGrpSpPr>
          <p:nvPr/>
        </p:nvGrpSpPr>
        <p:grpSpPr bwMode="auto">
          <a:xfrm>
            <a:off x="928689" y="2051051"/>
            <a:ext cx="369676" cy="369676"/>
            <a:chOff x="7361" y="729"/>
            <a:chExt cx="340" cy="340"/>
          </a:xfrm>
          <a:solidFill>
            <a:schemeClr val="accent3"/>
          </a:solidFill>
        </p:grpSpPr>
        <p:sp>
          <p:nvSpPr>
            <p:cNvPr id="257" name="Freeform 200"/>
            <p:cNvSpPr>
              <a:spLocks noEditPoints="1"/>
            </p:cNvSpPr>
            <p:nvPr/>
          </p:nvSpPr>
          <p:spPr bwMode="auto">
            <a:xfrm>
              <a:off x="7361" y="7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201"/>
            <p:cNvSpPr>
              <a:spLocks noEditPoints="1"/>
            </p:cNvSpPr>
            <p:nvPr/>
          </p:nvSpPr>
          <p:spPr bwMode="auto">
            <a:xfrm>
              <a:off x="7494" y="793"/>
              <a:ext cx="74" cy="212"/>
            </a:xfrm>
            <a:custGeom>
              <a:avLst/>
              <a:gdLst>
                <a:gd name="T0" fmla="*/ 56 w 111"/>
                <a:gd name="T1" fmla="*/ 320 h 320"/>
                <a:gd name="T2" fmla="*/ 24 w 111"/>
                <a:gd name="T3" fmla="*/ 288 h 320"/>
                <a:gd name="T4" fmla="*/ 24 w 111"/>
                <a:gd name="T5" fmla="*/ 128 h 320"/>
                <a:gd name="T6" fmla="*/ 0 w 111"/>
                <a:gd name="T7" fmla="*/ 83 h 320"/>
                <a:gd name="T8" fmla="*/ 56 w 111"/>
                <a:gd name="T9" fmla="*/ 0 h 320"/>
                <a:gd name="T10" fmla="*/ 111 w 111"/>
                <a:gd name="T11" fmla="*/ 83 h 320"/>
                <a:gd name="T12" fmla="*/ 88 w 111"/>
                <a:gd name="T13" fmla="*/ 128 h 320"/>
                <a:gd name="T14" fmla="*/ 88 w 111"/>
                <a:gd name="T15" fmla="*/ 288 h 320"/>
                <a:gd name="T16" fmla="*/ 56 w 111"/>
                <a:gd name="T17" fmla="*/ 320 h 320"/>
                <a:gd name="T18" fmla="*/ 56 w 111"/>
                <a:gd name="T19" fmla="*/ 21 h 320"/>
                <a:gd name="T20" fmla="*/ 21 w 111"/>
                <a:gd name="T21" fmla="*/ 83 h 320"/>
                <a:gd name="T22" fmla="*/ 39 w 111"/>
                <a:gd name="T23" fmla="*/ 113 h 320"/>
                <a:gd name="T24" fmla="*/ 45 w 111"/>
                <a:gd name="T25" fmla="*/ 122 h 320"/>
                <a:gd name="T26" fmla="*/ 45 w 111"/>
                <a:gd name="T27" fmla="*/ 288 h 320"/>
                <a:gd name="T28" fmla="*/ 56 w 111"/>
                <a:gd name="T29" fmla="*/ 298 h 320"/>
                <a:gd name="T30" fmla="*/ 66 w 111"/>
                <a:gd name="T31" fmla="*/ 287 h 320"/>
                <a:gd name="T32" fmla="*/ 66 w 111"/>
                <a:gd name="T33" fmla="*/ 122 h 320"/>
                <a:gd name="T34" fmla="*/ 72 w 111"/>
                <a:gd name="T35" fmla="*/ 113 h 320"/>
                <a:gd name="T36" fmla="*/ 90 w 111"/>
                <a:gd name="T37" fmla="*/ 83 h 320"/>
                <a:gd name="T38" fmla="*/ 56 w 111"/>
                <a:gd name="T39" fmla="*/ 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1" h="320">
                  <a:moveTo>
                    <a:pt x="56" y="320"/>
                  </a:moveTo>
                  <a:cubicBezTo>
                    <a:pt x="33" y="320"/>
                    <a:pt x="24" y="301"/>
                    <a:pt x="24" y="28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13" y="118"/>
                    <a:pt x="0" y="101"/>
                    <a:pt x="0" y="83"/>
                  </a:cubicBezTo>
                  <a:cubicBezTo>
                    <a:pt x="0" y="53"/>
                    <a:pt x="23" y="0"/>
                    <a:pt x="56" y="0"/>
                  </a:cubicBezTo>
                  <a:cubicBezTo>
                    <a:pt x="88" y="0"/>
                    <a:pt x="111" y="53"/>
                    <a:pt x="111" y="83"/>
                  </a:cubicBezTo>
                  <a:cubicBezTo>
                    <a:pt x="111" y="101"/>
                    <a:pt x="102" y="118"/>
                    <a:pt x="88" y="128"/>
                  </a:cubicBezTo>
                  <a:cubicBezTo>
                    <a:pt x="88" y="288"/>
                    <a:pt x="88" y="288"/>
                    <a:pt x="88" y="288"/>
                  </a:cubicBezTo>
                  <a:cubicBezTo>
                    <a:pt x="87" y="301"/>
                    <a:pt x="78" y="320"/>
                    <a:pt x="56" y="320"/>
                  </a:cubicBezTo>
                  <a:close/>
                  <a:moveTo>
                    <a:pt x="56" y="21"/>
                  </a:moveTo>
                  <a:cubicBezTo>
                    <a:pt x="40" y="21"/>
                    <a:pt x="21" y="59"/>
                    <a:pt x="21" y="83"/>
                  </a:cubicBezTo>
                  <a:cubicBezTo>
                    <a:pt x="21" y="95"/>
                    <a:pt x="28" y="107"/>
                    <a:pt x="39" y="113"/>
                  </a:cubicBezTo>
                  <a:cubicBezTo>
                    <a:pt x="43" y="115"/>
                    <a:pt x="45" y="118"/>
                    <a:pt x="45" y="122"/>
                  </a:cubicBezTo>
                  <a:cubicBezTo>
                    <a:pt x="45" y="288"/>
                    <a:pt x="45" y="288"/>
                    <a:pt x="45" y="288"/>
                  </a:cubicBezTo>
                  <a:cubicBezTo>
                    <a:pt x="45" y="291"/>
                    <a:pt x="47" y="298"/>
                    <a:pt x="56" y="298"/>
                  </a:cubicBezTo>
                  <a:cubicBezTo>
                    <a:pt x="64" y="298"/>
                    <a:pt x="66" y="291"/>
                    <a:pt x="66" y="287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6" y="118"/>
                    <a:pt x="68" y="115"/>
                    <a:pt x="72" y="113"/>
                  </a:cubicBezTo>
                  <a:cubicBezTo>
                    <a:pt x="83" y="107"/>
                    <a:pt x="90" y="95"/>
                    <a:pt x="90" y="83"/>
                  </a:cubicBezTo>
                  <a:cubicBezTo>
                    <a:pt x="90" y="59"/>
                    <a:pt x="71" y="21"/>
                    <a:pt x="5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9" name="Freeform 205"/>
          <p:cNvSpPr>
            <a:spLocks noChangeAspect="1" noEditPoints="1"/>
          </p:cNvSpPr>
          <p:nvPr/>
        </p:nvSpPr>
        <p:spPr bwMode="auto">
          <a:xfrm>
            <a:off x="429986" y="2051050"/>
            <a:ext cx="369676" cy="369676"/>
          </a:xfrm>
          <a:custGeom>
            <a:avLst/>
            <a:gdLst>
              <a:gd name="T0" fmla="*/ 290 w 512"/>
              <a:gd name="T1" fmla="*/ 179 h 512"/>
              <a:gd name="T2" fmla="*/ 272 w 512"/>
              <a:gd name="T3" fmla="*/ 209 h 512"/>
              <a:gd name="T4" fmla="*/ 266 w 512"/>
              <a:gd name="T5" fmla="*/ 218 h 512"/>
              <a:gd name="T6" fmla="*/ 266 w 512"/>
              <a:gd name="T7" fmla="*/ 383 h 512"/>
              <a:gd name="T8" fmla="*/ 256 w 512"/>
              <a:gd name="T9" fmla="*/ 394 h 512"/>
              <a:gd name="T10" fmla="*/ 245 w 512"/>
              <a:gd name="T11" fmla="*/ 384 h 512"/>
              <a:gd name="T12" fmla="*/ 245 w 512"/>
              <a:gd name="T13" fmla="*/ 218 h 512"/>
              <a:gd name="T14" fmla="*/ 239 w 512"/>
              <a:gd name="T15" fmla="*/ 209 h 512"/>
              <a:gd name="T16" fmla="*/ 221 w 512"/>
              <a:gd name="T17" fmla="*/ 179 h 512"/>
              <a:gd name="T18" fmla="*/ 256 w 512"/>
              <a:gd name="T19" fmla="*/ 117 h 512"/>
              <a:gd name="T20" fmla="*/ 290 w 512"/>
              <a:gd name="T21" fmla="*/ 179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11 w 512"/>
              <a:gd name="T33" fmla="*/ 179 h 512"/>
              <a:gd name="T34" fmla="*/ 256 w 512"/>
              <a:gd name="T35" fmla="*/ 96 h 512"/>
              <a:gd name="T36" fmla="*/ 200 w 512"/>
              <a:gd name="T37" fmla="*/ 179 h 512"/>
              <a:gd name="T38" fmla="*/ 224 w 512"/>
              <a:gd name="T39" fmla="*/ 224 h 512"/>
              <a:gd name="T40" fmla="*/ 224 w 512"/>
              <a:gd name="T41" fmla="*/ 384 h 512"/>
              <a:gd name="T42" fmla="*/ 256 w 512"/>
              <a:gd name="T43" fmla="*/ 416 h 512"/>
              <a:gd name="T44" fmla="*/ 288 w 512"/>
              <a:gd name="T45" fmla="*/ 384 h 512"/>
              <a:gd name="T46" fmla="*/ 288 w 512"/>
              <a:gd name="T47" fmla="*/ 224 h 512"/>
              <a:gd name="T48" fmla="*/ 311 w 512"/>
              <a:gd name="T49" fmla="*/ 17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12" h="512">
                <a:moveTo>
                  <a:pt x="290" y="179"/>
                </a:moveTo>
                <a:cubicBezTo>
                  <a:pt x="290" y="191"/>
                  <a:pt x="283" y="203"/>
                  <a:pt x="272" y="209"/>
                </a:cubicBezTo>
                <a:cubicBezTo>
                  <a:pt x="268" y="211"/>
                  <a:pt x="266" y="214"/>
                  <a:pt x="266" y="218"/>
                </a:cubicBezTo>
                <a:cubicBezTo>
                  <a:pt x="266" y="383"/>
                  <a:pt x="266" y="383"/>
                  <a:pt x="266" y="383"/>
                </a:cubicBezTo>
                <a:cubicBezTo>
                  <a:pt x="266" y="387"/>
                  <a:pt x="264" y="394"/>
                  <a:pt x="256" y="394"/>
                </a:cubicBezTo>
                <a:cubicBezTo>
                  <a:pt x="247" y="394"/>
                  <a:pt x="245" y="387"/>
                  <a:pt x="245" y="384"/>
                </a:cubicBezTo>
                <a:cubicBezTo>
                  <a:pt x="245" y="218"/>
                  <a:pt x="245" y="218"/>
                  <a:pt x="245" y="218"/>
                </a:cubicBezTo>
                <a:cubicBezTo>
                  <a:pt x="245" y="214"/>
                  <a:pt x="243" y="211"/>
                  <a:pt x="239" y="209"/>
                </a:cubicBezTo>
                <a:cubicBezTo>
                  <a:pt x="228" y="203"/>
                  <a:pt x="221" y="191"/>
                  <a:pt x="221" y="179"/>
                </a:cubicBezTo>
                <a:cubicBezTo>
                  <a:pt x="221" y="155"/>
                  <a:pt x="240" y="117"/>
                  <a:pt x="256" y="117"/>
                </a:cubicBezTo>
                <a:cubicBezTo>
                  <a:pt x="271" y="117"/>
                  <a:pt x="290" y="155"/>
                  <a:pt x="290" y="17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11" y="179"/>
                </a:moveTo>
                <a:cubicBezTo>
                  <a:pt x="311" y="149"/>
                  <a:pt x="288" y="96"/>
                  <a:pt x="256" y="96"/>
                </a:cubicBezTo>
                <a:cubicBezTo>
                  <a:pt x="223" y="96"/>
                  <a:pt x="200" y="149"/>
                  <a:pt x="200" y="179"/>
                </a:cubicBezTo>
                <a:cubicBezTo>
                  <a:pt x="200" y="197"/>
                  <a:pt x="213" y="214"/>
                  <a:pt x="224" y="224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24" y="397"/>
                  <a:pt x="233" y="416"/>
                  <a:pt x="256" y="416"/>
                </a:cubicBezTo>
                <a:cubicBezTo>
                  <a:pt x="278" y="416"/>
                  <a:pt x="287" y="397"/>
                  <a:pt x="288" y="38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302" y="214"/>
                  <a:pt x="311" y="197"/>
                  <a:pt x="311" y="17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0" name="Freeform 344"/>
          <p:cNvSpPr>
            <a:spLocks noChangeAspect="1" noEditPoints="1"/>
          </p:cNvSpPr>
          <p:nvPr/>
        </p:nvSpPr>
        <p:spPr bwMode="auto">
          <a:xfrm>
            <a:off x="1926095" y="2051054"/>
            <a:ext cx="369676" cy="370763"/>
          </a:xfrm>
          <a:custGeom>
            <a:avLst/>
            <a:gdLst>
              <a:gd name="T0" fmla="*/ 490 w 512"/>
              <a:gd name="T1" fmla="*/ 256 h 512"/>
              <a:gd name="T2" fmla="*/ 21 w 512"/>
              <a:gd name="T3" fmla="*/ 256 h 512"/>
              <a:gd name="T4" fmla="*/ 256 w 512"/>
              <a:gd name="T5" fmla="*/ 0 h 512"/>
              <a:gd name="T6" fmla="*/ 256 w 512"/>
              <a:gd name="T7" fmla="*/ 512 h 512"/>
              <a:gd name="T8" fmla="*/ 256 w 512"/>
              <a:gd name="T9" fmla="*/ 0 h 512"/>
              <a:gd name="T10" fmla="*/ 384 w 512"/>
              <a:gd name="T11" fmla="*/ 266 h 512"/>
              <a:gd name="T12" fmla="*/ 394 w 512"/>
              <a:gd name="T13" fmla="*/ 234 h 512"/>
              <a:gd name="T14" fmla="*/ 362 w 512"/>
              <a:gd name="T15" fmla="*/ 181 h 512"/>
              <a:gd name="T16" fmla="*/ 272 w 512"/>
              <a:gd name="T17" fmla="*/ 175 h 512"/>
              <a:gd name="T18" fmla="*/ 256 w 512"/>
              <a:gd name="T19" fmla="*/ 170 h 512"/>
              <a:gd name="T20" fmla="*/ 240 w 512"/>
              <a:gd name="T21" fmla="*/ 175 h 512"/>
              <a:gd name="T22" fmla="*/ 149 w 512"/>
              <a:gd name="T23" fmla="*/ 181 h 512"/>
              <a:gd name="T24" fmla="*/ 117 w 512"/>
              <a:gd name="T25" fmla="*/ 234 h 512"/>
              <a:gd name="T26" fmla="*/ 128 w 512"/>
              <a:gd name="T27" fmla="*/ 266 h 512"/>
              <a:gd name="T28" fmla="*/ 96 w 512"/>
              <a:gd name="T29" fmla="*/ 277 h 512"/>
              <a:gd name="T30" fmla="*/ 128 w 512"/>
              <a:gd name="T31" fmla="*/ 288 h 512"/>
              <a:gd name="T32" fmla="*/ 179 w 512"/>
              <a:gd name="T33" fmla="*/ 416 h 512"/>
              <a:gd name="T34" fmla="*/ 384 w 512"/>
              <a:gd name="T35" fmla="*/ 367 h 512"/>
              <a:gd name="T36" fmla="*/ 405 w 512"/>
              <a:gd name="T37" fmla="*/ 288 h 512"/>
              <a:gd name="T38" fmla="*/ 405 w 512"/>
              <a:gd name="T39" fmla="*/ 266 h 512"/>
              <a:gd name="T40" fmla="*/ 149 w 512"/>
              <a:gd name="T41" fmla="*/ 202 h 512"/>
              <a:gd name="T42" fmla="*/ 373 w 512"/>
              <a:gd name="T43" fmla="*/ 213 h 512"/>
              <a:gd name="T44" fmla="*/ 138 w 512"/>
              <a:gd name="T45" fmla="*/ 224 h 512"/>
              <a:gd name="T46" fmla="*/ 362 w 512"/>
              <a:gd name="T47" fmla="*/ 367 h 512"/>
              <a:gd name="T48" fmla="*/ 179 w 512"/>
              <a:gd name="T49" fmla="*/ 394 h 512"/>
              <a:gd name="T50" fmla="*/ 149 w 512"/>
              <a:gd name="T51" fmla="*/ 245 h 512"/>
              <a:gd name="T52" fmla="*/ 362 w 512"/>
              <a:gd name="T53" fmla="*/ 367 h 512"/>
              <a:gd name="T54" fmla="*/ 248 w 512"/>
              <a:gd name="T55" fmla="*/ 115 h 512"/>
              <a:gd name="T56" fmla="*/ 262 w 512"/>
              <a:gd name="T57" fmla="*/ 96 h 512"/>
              <a:gd name="T58" fmla="*/ 264 w 512"/>
              <a:gd name="T59" fmla="*/ 129 h 512"/>
              <a:gd name="T60" fmla="*/ 249 w 512"/>
              <a:gd name="T61" fmla="*/ 149 h 512"/>
              <a:gd name="T62" fmla="*/ 279 w 512"/>
              <a:gd name="T63" fmla="*/ 149 h 512"/>
              <a:gd name="T64" fmla="*/ 297 w 512"/>
              <a:gd name="T65" fmla="*/ 106 h 512"/>
              <a:gd name="T66" fmla="*/ 318 w 512"/>
              <a:gd name="T67" fmla="*/ 106 h 512"/>
              <a:gd name="T68" fmla="*/ 300 w 512"/>
              <a:gd name="T69" fmla="*/ 149 h 512"/>
              <a:gd name="T70" fmla="*/ 279 w 512"/>
              <a:gd name="T71" fmla="*/ 149 h 512"/>
              <a:gd name="T72" fmla="*/ 205 w 512"/>
              <a:gd name="T73" fmla="*/ 121 h 512"/>
              <a:gd name="T74" fmla="*/ 222 w 512"/>
              <a:gd name="T75" fmla="*/ 96 h 512"/>
              <a:gd name="T76" fmla="*/ 221 w 512"/>
              <a:gd name="T77" fmla="*/ 135 h 512"/>
              <a:gd name="T78" fmla="*/ 204 w 512"/>
              <a:gd name="T79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66"/>
                </a:moveTo>
                <a:cubicBezTo>
                  <a:pt x="384" y="266"/>
                  <a:pt x="384" y="266"/>
                  <a:pt x="384" y="266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90" y="245"/>
                  <a:pt x="394" y="240"/>
                  <a:pt x="394" y="234"/>
                </a:cubicBezTo>
                <a:cubicBezTo>
                  <a:pt x="394" y="213"/>
                  <a:pt x="394" y="213"/>
                  <a:pt x="394" y="213"/>
                </a:cubicBezTo>
                <a:cubicBezTo>
                  <a:pt x="394" y="195"/>
                  <a:pt x="380" y="181"/>
                  <a:pt x="362" y="181"/>
                </a:cubicBezTo>
                <a:cubicBezTo>
                  <a:pt x="275" y="181"/>
                  <a:pt x="275" y="181"/>
                  <a:pt x="275" y="181"/>
                </a:cubicBezTo>
                <a:cubicBezTo>
                  <a:pt x="274" y="179"/>
                  <a:pt x="273" y="177"/>
                  <a:pt x="272" y="175"/>
                </a:cubicBezTo>
                <a:cubicBezTo>
                  <a:pt x="267" y="170"/>
                  <a:pt x="260" y="170"/>
                  <a:pt x="257" y="170"/>
                </a:cubicBezTo>
                <a:cubicBezTo>
                  <a:pt x="256" y="170"/>
                  <a:pt x="256" y="170"/>
                  <a:pt x="256" y="170"/>
                </a:cubicBezTo>
                <a:cubicBezTo>
                  <a:pt x="254" y="170"/>
                  <a:pt x="254" y="170"/>
                  <a:pt x="254" y="170"/>
                </a:cubicBezTo>
                <a:cubicBezTo>
                  <a:pt x="251" y="170"/>
                  <a:pt x="245" y="170"/>
                  <a:pt x="240" y="175"/>
                </a:cubicBezTo>
                <a:cubicBezTo>
                  <a:pt x="238" y="177"/>
                  <a:pt x="237" y="179"/>
                  <a:pt x="236" y="181"/>
                </a:cubicBezTo>
                <a:cubicBezTo>
                  <a:pt x="149" y="181"/>
                  <a:pt x="149" y="181"/>
                  <a:pt x="149" y="181"/>
                </a:cubicBezTo>
                <a:cubicBezTo>
                  <a:pt x="131" y="181"/>
                  <a:pt x="117" y="195"/>
                  <a:pt x="117" y="213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7" y="240"/>
                  <a:pt x="122" y="245"/>
                  <a:pt x="128" y="245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71"/>
                  <a:pt x="96" y="277"/>
                </a:cubicBezTo>
                <a:cubicBezTo>
                  <a:pt x="96" y="283"/>
                  <a:pt x="100" y="288"/>
                  <a:pt x="106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8" y="367"/>
                  <a:pt x="128" y="367"/>
                  <a:pt x="128" y="367"/>
                </a:cubicBezTo>
                <a:cubicBezTo>
                  <a:pt x="128" y="394"/>
                  <a:pt x="151" y="416"/>
                  <a:pt x="179" y="416"/>
                </a:cubicBezTo>
                <a:cubicBezTo>
                  <a:pt x="332" y="416"/>
                  <a:pt x="332" y="416"/>
                  <a:pt x="332" y="416"/>
                </a:cubicBezTo>
                <a:cubicBezTo>
                  <a:pt x="361" y="416"/>
                  <a:pt x="384" y="394"/>
                  <a:pt x="384" y="367"/>
                </a:cubicBezTo>
                <a:cubicBezTo>
                  <a:pt x="384" y="288"/>
                  <a:pt x="384" y="288"/>
                  <a:pt x="384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11" y="288"/>
                  <a:pt x="416" y="283"/>
                  <a:pt x="416" y="277"/>
                </a:cubicBezTo>
                <a:cubicBezTo>
                  <a:pt x="416" y="271"/>
                  <a:pt x="411" y="266"/>
                  <a:pt x="405" y="266"/>
                </a:cubicBezTo>
                <a:close/>
                <a:moveTo>
                  <a:pt x="138" y="213"/>
                </a:moveTo>
                <a:cubicBezTo>
                  <a:pt x="138" y="207"/>
                  <a:pt x="143" y="202"/>
                  <a:pt x="149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138" y="224"/>
                  <a:pt x="138" y="224"/>
                  <a:pt x="138" y="224"/>
                </a:cubicBezTo>
                <a:lnTo>
                  <a:pt x="138" y="213"/>
                </a:lnTo>
                <a:close/>
                <a:moveTo>
                  <a:pt x="362" y="367"/>
                </a:moveTo>
                <a:cubicBezTo>
                  <a:pt x="362" y="382"/>
                  <a:pt x="349" y="394"/>
                  <a:pt x="332" y="394"/>
                </a:cubicBezTo>
                <a:cubicBezTo>
                  <a:pt x="179" y="394"/>
                  <a:pt x="179" y="394"/>
                  <a:pt x="179" y="394"/>
                </a:cubicBezTo>
                <a:cubicBezTo>
                  <a:pt x="163" y="394"/>
                  <a:pt x="149" y="382"/>
                  <a:pt x="149" y="367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362" y="245"/>
                  <a:pt x="362" y="245"/>
                  <a:pt x="362" y="245"/>
                </a:cubicBezTo>
                <a:lnTo>
                  <a:pt x="362" y="367"/>
                </a:lnTo>
                <a:close/>
                <a:moveTo>
                  <a:pt x="238" y="138"/>
                </a:moveTo>
                <a:cubicBezTo>
                  <a:pt x="238" y="126"/>
                  <a:pt x="244" y="120"/>
                  <a:pt x="248" y="115"/>
                </a:cubicBezTo>
                <a:cubicBezTo>
                  <a:pt x="250" y="112"/>
                  <a:pt x="252" y="110"/>
                  <a:pt x="252" y="106"/>
                </a:cubicBezTo>
                <a:cubicBezTo>
                  <a:pt x="252" y="100"/>
                  <a:pt x="256" y="96"/>
                  <a:pt x="262" y="96"/>
                </a:cubicBezTo>
                <a:cubicBezTo>
                  <a:pt x="268" y="96"/>
                  <a:pt x="273" y="100"/>
                  <a:pt x="273" y="106"/>
                </a:cubicBezTo>
                <a:cubicBezTo>
                  <a:pt x="273" y="118"/>
                  <a:pt x="268" y="125"/>
                  <a:pt x="264" y="129"/>
                </a:cubicBezTo>
                <a:cubicBezTo>
                  <a:pt x="261" y="133"/>
                  <a:pt x="260" y="134"/>
                  <a:pt x="260" y="138"/>
                </a:cubicBezTo>
                <a:cubicBezTo>
                  <a:pt x="260" y="144"/>
                  <a:pt x="255" y="149"/>
                  <a:pt x="249" y="149"/>
                </a:cubicBezTo>
                <a:cubicBezTo>
                  <a:pt x="243" y="149"/>
                  <a:pt x="238" y="144"/>
                  <a:pt x="238" y="138"/>
                </a:cubicBezTo>
                <a:close/>
                <a:moveTo>
                  <a:pt x="279" y="149"/>
                </a:moveTo>
                <a:cubicBezTo>
                  <a:pt x="279" y="134"/>
                  <a:pt x="285" y="127"/>
                  <a:pt x="290" y="121"/>
                </a:cubicBezTo>
                <a:cubicBezTo>
                  <a:pt x="294" y="116"/>
                  <a:pt x="297" y="113"/>
                  <a:pt x="297" y="106"/>
                </a:cubicBezTo>
                <a:cubicBezTo>
                  <a:pt x="297" y="100"/>
                  <a:pt x="301" y="96"/>
                  <a:pt x="307" y="96"/>
                </a:cubicBezTo>
                <a:cubicBezTo>
                  <a:pt x="313" y="96"/>
                  <a:pt x="318" y="100"/>
                  <a:pt x="318" y="106"/>
                </a:cubicBezTo>
                <a:cubicBezTo>
                  <a:pt x="318" y="121"/>
                  <a:pt x="311" y="129"/>
                  <a:pt x="307" y="135"/>
                </a:cubicBezTo>
                <a:cubicBezTo>
                  <a:pt x="302" y="139"/>
                  <a:pt x="300" y="142"/>
                  <a:pt x="300" y="149"/>
                </a:cubicBezTo>
                <a:cubicBezTo>
                  <a:pt x="300" y="155"/>
                  <a:pt x="295" y="160"/>
                  <a:pt x="289" y="160"/>
                </a:cubicBezTo>
                <a:cubicBezTo>
                  <a:pt x="283" y="160"/>
                  <a:pt x="279" y="155"/>
                  <a:pt x="279" y="149"/>
                </a:cubicBezTo>
                <a:close/>
                <a:moveTo>
                  <a:pt x="193" y="149"/>
                </a:moveTo>
                <a:cubicBezTo>
                  <a:pt x="193" y="134"/>
                  <a:pt x="200" y="127"/>
                  <a:pt x="205" y="121"/>
                </a:cubicBezTo>
                <a:cubicBezTo>
                  <a:pt x="209" y="116"/>
                  <a:pt x="211" y="113"/>
                  <a:pt x="211" y="106"/>
                </a:cubicBezTo>
                <a:cubicBezTo>
                  <a:pt x="211" y="100"/>
                  <a:pt x="216" y="96"/>
                  <a:pt x="222" y="96"/>
                </a:cubicBezTo>
                <a:cubicBezTo>
                  <a:pt x="228" y="96"/>
                  <a:pt x="233" y="100"/>
                  <a:pt x="233" y="106"/>
                </a:cubicBezTo>
                <a:cubicBezTo>
                  <a:pt x="233" y="121"/>
                  <a:pt x="226" y="129"/>
                  <a:pt x="221" y="135"/>
                </a:cubicBezTo>
                <a:cubicBezTo>
                  <a:pt x="217" y="139"/>
                  <a:pt x="215" y="142"/>
                  <a:pt x="215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8" y="160"/>
                  <a:pt x="193" y="155"/>
                  <a:pt x="193" y="14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1" name="Freeform 348"/>
          <p:cNvSpPr>
            <a:spLocks noChangeAspect="1" noEditPoints="1"/>
          </p:cNvSpPr>
          <p:nvPr/>
        </p:nvSpPr>
        <p:spPr bwMode="auto">
          <a:xfrm>
            <a:off x="1427392" y="2051051"/>
            <a:ext cx="369676" cy="369676"/>
          </a:xfrm>
          <a:custGeom>
            <a:avLst/>
            <a:gdLst>
              <a:gd name="T0" fmla="*/ 373 w 512"/>
              <a:gd name="T1" fmla="*/ 224 h 512"/>
              <a:gd name="T2" fmla="*/ 138 w 512"/>
              <a:gd name="T3" fmla="*/ 213 h 512"/>
              <a:gd name="T4" fmla="*/ 362 w 512"/>
              <a:gd name="T5" fmla="*/ 202 h 512"/>
              <a:gd name="T6" fmla="*/ 149 w 512"/>
              <a:gd name="T7" fmla="*/ 367 h 512"/>
              <a:gd name="T8" fmla="*/ 332 w 512"/>
              <a:gd name="T9" fmla="*/ 394 h 512"/>
              <a:gd name="T10" fmla="*/ 362 w 512"/>
              <a:gd name="T11" fmla="*/ 245 h 512"/>
              <a:gd name="T12" fmla="*/ 149 w 512"/>
              <a:gd name="T13" fmla="*/ 367 h 512"/>
              <a:gd name="T14" fmla="*/ 256 w 512"/>
              <a:gd name="T15" fmla="*/ 512 h 512"/>
              <a:gd name="T16" fmla="*/ 256 w 512"/>
              <a:gd name="T17" fmla="*/ 0 h 512"/>
              <a:gd name="T18" fmla="*/ 279 w 512"/>
              <a:gd name="T19" fmla="*/ 149 h 512"/>
              <a:gd name="T20" fmla="*/ 300 w 512"/>
              <a:gd name="T21" fmla="*/ 149 h 512"/>
              <a:gd name="T22" fmla="*/ 318 w 512"/>
              <a:gd name="T23" fmla="*/ 106 h 512"/>
              <a:gd name="T24" fmla="*/ 297 w 512"/>
              <a:gd name="T25" fmla="*/ 106 h 512"/>
              <a:gd name="T26" fmla="*/ 279 w 512"/>
              <a:gd name="T27" fmla="*/ 149 h 512"/>
              <a:gd name="T28" fmla="*/ 249 w 512"/>
              <a:gd name="T29" fmla="*/ 149 h 512"/>
              <a:gd name="T30" fmla="*/ 264 w 512"/>
              <a:gd name="T31" fmla="*/ 129 h 512"/>
              <a:gd name="T32" fmla="*/ 262 w 512"/>
              <a:gd name="T33" fmla="*/ 96 h 512"/>
              <a:gd name="T34" fmla="*/ 248 w 512"/>
              <a:gd name="T35" fmla="*/ 115 h 512"/>
              <a:gd name="T36" fmla="*/ 193 w 512"/>
              <a:gd name="T37" fmla="*/ 149 h 512"/>
              <a:gd name="T38" fmla="*/ 215 w 512"/>
              <a:gd name="T39" fmla="*/ 149 h 512"/>
              <a:gd name="T40" fmla="*/ 233 w 512"/>
              <a:gd name="T41" fmla="*/ 106 h 512"/>
              <a:gd name="T42" fmla="*/ 211 w 512"/>
              <a:gd name="T43" fmla="*/ 106 h 512"/>
              <a:gd name="T44" fmla="*/ 193 w 512"/>
              <a:gd name="T45" fmla="*/ 149 h 512"/>
              <a:gd name="T46" fmla="*/ 405 w 512"/>
              <a:gd name="T47" fmla="*/ 266 h 512"/>
              <a:gd name="T48" fmla="*/ 384 w 512"/>
              <a:gd name="T49" fmla="*/ 245 h 512"/>
              <a:gd name="T50" fmla="*/ 394 w 512"/>
              <a:gd name="T51" fmla="*/ 213 h 512"/>
              <a:gd name="T52" fmla="*/ 275 w 512"/>
              <a:gd name="T53" fmla="*/ 181 h 512"/>
              <a:gd name="T54" fmla="*/ 257 w 512"/>
              <a:gd name="T55" fmla="*/ 170 h 512"/>
              <a:gd name="T56" fmla="*/ 254 w 512"/>
              <a:gd name="T57" fmla="*/ 170 h 512"/>
              <a:gd name="T58" fmla="*/ 236 w 512"/>
              <a:gd name="T59" fmla="*/ 181 h 512"/>
              <a:gd name="T60" fmla="*/ 117 w 512"/>
              <a:gd name="T61" fmla="*/ 213 h 512"/>
              <a:gd name="T62" fmla="*/ 128 w 512"/>
              <a:gd name="T63" fmla="*/ 245 h 512"/>
              <a:gd name="T64" fmla="*/ 106 w 512"/>
              <a:gd name="T65" fmla="*/ 266 h 512"/>
              <a:gd name="T66" fmla="*/ 106 w 512"/>
              <a:gd name="T67" fmla="*/ 288 h 512"/>
              <a:gd name="T68" fmla="*/ 128 w 512"/>
              <a:gd name="T69" fmla="*/ 367 h 512"/>
              <a:gd name="T70" fmla="*/ 332 w 512"/>
              <a:gd name="T71" fmla="*/ 416 h 512"/>
              <a:gd name="T72" fmla="*/ 384 w 512"/>
              <a:gd name="T73" fmla="*/ 288 h 512"/>
              <a:gd name="T74" fmla="*/ 416 w 512"/>
              <a:gd name="T75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373" y="213"/>
                </a:moveTo>
                <a:cubicBezTo>
                  <a:pt x="373" y="224"/>
                  <a:pt x="373" y="224"/>
                  <a:pt x="373" y="224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38" y="213"/>
                  <a:pt x="138" y="213"/>
                  <a:pt x="138" y="213"/>
                </a:cubicBezTo>
                <a:cubicBezTo>
                  <a:pt x="138" y="207"/>
                  <a:pt x="143" y="202"/>
                  <a:pt x="149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close/>
                <a:moveTo>
                  <a:pt x="149" y="367"/>
                </a:moveTo>
                <a:cubicBezTo>
                  <a:pt x="149" y="382"/>
                  <a:pt x="163" y="394"/>
                  <a:pt x="179" y="394"/>
                </a:cubicBezTo>
                <a:cubicBezTo>
                  <a:pt x="332" y="394"/>
                  <a:pt x="332" y="394"/>
                  <a:pt x="332" y="394"/>
                </a:cubicBezTo>
                <a:cubicBezTo>
                  <a:pt x="349" y="394"/>
                  <a:pt x="362" y="382"/>
                  <a:pt x="362" y="367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149" y="245"/>
                  <a:pt x="149" y="245"/>
                  <a:pt x="149" y="245"/>
                </a:cubicBezTo>
                <a:lnTo>
                  <a:pt x="149" y="36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79" y="149"/>
                </a:moveTo>
                <a:cubicBezTo>
                  <a:pt x="279" y="155"/>
                  <a:pt x="283" y="160"/>
                  <a:pt x="289" y="160"/>
                </a:cubicBezTo>
                <a:cubicBezTo>
                  <a:pt x="295" y="160"/>
                  <a:pt x="300" y="155"/>
                  <a:pt x="300" y="149"/>
                </a:cubicBezTo>
                <a:cubicBezTo>
                  <a:pt x="300" y="142"/>
                  <a:pt x="302" y="139"/>
                  <a:pt x="307" y="135"/>
                </a:cubicBezTo>
                <a:cubicBezTo>
                  <a:pt x="311" y="129"/>
                  <a:pt x="318" y="121"/>
                  <a:pt x="318" y="106"/>
                </a:cubicBezTo>
                <a:cubicBezTo>
                  <a:pt x="318" y="100"/>
                  <a:pt x="313" y="96"/>
                  <a:pt x="307" y="96"/>
                </a:cubicBezTo>
                <a:cubicBezTo>
                  <a:pt x="301" y="96"/>
                  <a:pt x="297" y="100"/>
                  <a:pt x="297" y="106"/>
                </a:cubicBezTo>
                <a:cubicBezTo>
                  <a:pt x="297" y="113"/>
                  <a:pt x="294" y="116"/>
                  <a:pt x="290" y="121"/>
                </a:cubicBezTo>
                <a:cubicBezTo>
                  <a:pt x="285" y="127"/>
                  <a:pt x="279" y="134"/>
                  <a:pt x="279" y="149"/>
                </a:cubicBezTo>
                <a:close/>
                <a:moveTo>
                  <a:pt x="238" y="138"/>
                </a:moveTo>
                <a:cubicBezTo>
                  <a:pt x="238" y="144"/>
                  <a:pt x="243" y="149"/>
                  <a:pt x="249" y="149"/>
                </a:cubicBezTo>
                <a:cubicBezTo>
                  <a:pt x="255" y="149"/>
                  <a:pt x="260" y="144"/>
                  <a:pt x="260" y="138"/>
                </a:cubicBezTo>
                <a:cubicBezTo>
                  <a:pt x="260" y="134"/>
                  <a:pt x="261" y="133"/>
                  <a:pt x="264" y="129"/>
                </a:cubicBezTo>
                <a:cubicBezTo>
                  <a:pt x="268" y="125"/>
                  <a:pt x="273" y="118"/>
                  <a:pt x="273" y="106"/>
                </a:cubicBezTo>
                <a:cubicBezTo>
                  <a:pt x="273" y="100"/>
                  <a:pt x="268" y="96"/>
                  <a:pt x="262" y="96"/>
                </a:cubicBezTo>
                <a:cubicBezTo>
                  <a:pt x="256" y="96"/>
                  <a:pt x="252" y="100"/>
                  <a:pt x="252" y="106"/>
                </a:cubicBezTo>
                <a:cubicBezTo>
                  <a:pt x="252" y="110"/>
                  <a:pt x="250" y="112"/>
                  <a:pt x="248" y="115"/>
                </a:cubicBezTo>
                <a:cubicBezTo>
                  <a:pt x="244" y="120"/>
                  <a:pt x="238" y="126"/>
                  <a:pt x="238" y="138"/>
                </a:cubicBezTo>
                <a:close/>
                <a:moveTo>
                  <a:pt x="193" y="149"/>
                </a:moveTo>
                <a:cubicBezTo>
                  <a:pt x="193" y="155"/>
                  <a:pt x="198" y="160"/>
                  <a:pt x="204" y="160"/>
                </a:cubicBezTo>
                <a:cubicBezTo>
                  <a:pt x="210" y="160"/>
                  <a:pt x="215" y="155"/>
                  <a:pt x="215" y="149"/>
                </a:cubicBezTo>
                <a:cubicBezTo>
                  <a:pt x="215" y="142"/>
                  <a:pt x="217" y="139"/>
                  <a:pt x="221" y="135"/>
                </a:cubicBezTo>
                <a:cubicBezTo>
                  <a:pt x="226" y="129"/>
                  <a:pt x="233" y="121"/>
                  <a:pt x="233" y="106"/>
                </a:cubicBezTo>
                <a:cubicBezTo>
                  <a:pt x="233" y="100"/>
                  <a:pt x="228" y="96"/>
                  <a:pt x="222" y="96"/>
                </a:cubicBezTo>
                <a:cubicBezTo>
                  <a:pt x="216" y="96"/>
                  <a:pt x="211" y="100"/>
                  <a:pt x="211" y="106"/>
                </a:cubicBezTo>
                <a:cubicBezTo>
                  <a:pt x="211" y="113"/>
                  <a:pt x="209" y="116"/>
                  <a:pt x="205" y="121"/>
                </a:cubicBezTo>
                <a:cubicBezTo>
                  <a:pt x="200" y="127"/>
                  <a:pt x="193" y="134"/>
                  <a:pt x="193" y="149"/>
                </a:cubicBezTo>
                <a:close/>
                <a:moveTo>
                  <a:pt x="416" y="277"/>
                </a:moveTo>
                <a:cubicBezTo>
                  <a:pt x="416" y="271"/>
                  <a:pt x="411" y="266"/>
                  <a:pt x="405" y="266"/>
                </a:cubicBezTo>
                <a:cubicBezTo>
                  <a:pt x="384" y="266"/>
                  <a:pt x="384" y="266"/>
                  <a:pt x="384" y="266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90" y="245"/>
                  <a:pt x="394" y="240"/>
                  <a:pt x="394" y="234"/>
                </a:cubicBezTo>
                <a:cubicBezTo>
                  <a:pt x="394" y="213"/>
                  <a:pt x="394" y="213"/>
                  <a:pt x="394" y="213"/>
                </a:cubicBezTo>
                <a:cubicBezTo>
                  <a:pt x="394" y="195"/>
                  <a:pt x="380" y="181"/>
                  <a:pt x="362" y="181"/>
                </a:cubicBezTo>
                <a:cubicBezTo>
                  <a:pt x="275" y="181"/>
                  <a:pt x="275" y="181"/>
                  <a:pt x="275" y="181"/>
                </a:cubicBezTo>
                <a:cubicBezTo>
                  <a:pt x="274" y="179"/>
                  <a:pt x="273" y="177"/>
                  <a:pt x="272" y="175"/>
                </a:cubicBezTo>
                <a:cubicBezTo>
                  <a:pt x="267" y="170"/>
                  <a:pt x="260" y="170"/>
                  <a:pt x="257" y="170"/>
                </a:cubicBezTo>
                <a:cubicBezTo>
                  <a:pt x="256" y="170"/>
                  <a:pt x="256" y="170"/>
                  <a:pt x="256" y="170"/>
                </a:cubicBezTo>
                <a:cubicBezTo>
                  <a:pt x="254" y="170"/>
                  <a:pt x="254" y="170"/>
                  <a:pt x="254" y="170"/>
                </a:cubicBezTo>
                <a:cubicBezTo>
                  <a:pt x="251" y="170"/>
                  <a:pt x="245" y="170"/>
                  <a:pt x="240" y="175"/>
                </a:cubicBezTo>
                <a:cubicBezTo>
                  <a:pt x="238" y="177"/>
                  <a:pt x="237" y="179"/>
                  <a:pt x="236" y="181"/>
                </a:cubicBezTo>
                <a:cubicBezTo>
                  <a:pt x="149" y="181"/>
                  <a:pt x="149" y="181"/>
                  <a:pt x="149" y="181"/>
                </a:cubicBezTo>
                <a:cubicBezTo>
                  <a:pt x="131" y="181"/>
                  <a:pt x="117" y="195"/>
                  <a:pt x="117" y="213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7" y="240"/>
                  <a:pt x="122" y="245"/>
                  <a:pt x="128" y="245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71"/>
                  <a:pt x="96" y="277"/>
                </a:cubicBezTo>
                <a:cubicBezTo>
                  <a:pt x="96" y="283"/>
                  <a:pt x="100" y="288"/>
                  <a:pt x="106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8" y="367"/>
                  <a:pt x="128" y="367"/>
                  <a:pt x="128" y="367"/>
                </a:cubicBezTo>
                <a:cubicBezTo>
                  <a:pt x="128" y="394"/>
                  <a:pt x="151" y="416"/>
                  <a:pt x="179" y="416"/>
                </a:cubicBezTo>
                <a:cubicBezTo>
                  <a:pt x="332" y="416"/>
                  <a:pt x="332" y="416"/>
                  <a:pt x="332" y="416"/>
                </a:cubicBezTo>
                <a:cubicBezTo>
                  <a:pt x="361" y="416"/>
                  <a:pt x="384" y="394"/>
                  <a:pt x="384" y="367"/>
                </a:cubicBezTo>
                <a:cubicBezTo>
                  <a:pt x="384" y="288"/>
                  <a:pt x="384" y="288"/>
                  <a:pt x="384" y="288"/>
                </a:cubicBezTo>
                <a:cubicBezTo>
                  <a:pt x="405" y="288"/>
                  <a:pt x="405" y="288"/>
                  <a:pt x="405" y="288"/>
                </a:cubicBezTo>
                <a:cubicBezTo>
                  <a:pt x="411" y="288"/>
                  <a:pt x="416" y="283"/>
                  <a:pt x="416" y="27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2" name="Freeform 865"/>
          <p:cNvSpPr>
            <a:spLocks noChangeAspect="1" noEditPoints="1"/>
          </p:cNvSpPr>
          <p:nvPr/>
        </p:nvSpPr>
        <p:spPr bwMode="auto">
          <a:xfrm>
            <a:off x="2923501" y="2051051"/>
            <a:ext cx="369676" cy="369676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23 w 512"/>
              <a:gd name="T21" fmla="*/ 149 h 512"/>
              <a:gd name="T22" fmla="*/ 330 w 512"/>
              <a:gd name="T23" fmla="*/ 192 h 512"/>
              <a:gd name="T24" fmla="*/ 256 w 512"/>
              <a:gd name="T25" fmla="*/ 266 h 512"/>
              <a:gd name="T26" fmla="*/ 181 w 512"/>
              <a:gd name="T27" fmla="*/ 192 h 512"/>
              <a:gd name="T28" fmla="*/ 188 w 512"/>
              <a:gd name="T29" fmla="*/ 149 h 512"/>
              <a:gd name="T30" fmla="*/ 323 w 512"/>
              <a:gd name="T31" fmla="*/ 149 h 512"/>
              <a:gd name="T32" fmla="*/ 181 w 512"/>
              <a:gd name="T33" fmla="*/ 128 h 512"/>
              <a:gd name="T34" fmla="*/ 171 w 512"/>
              <a:gd name="T35" fmla="*/ 134 h 512"/>
              <a:gd name="T36" fmla="*/ 160 w 512"/>
              <a:gd name="T37" fmla="*/ 192 h 512"/>
              <a:gd name="T38" fmla="*/ 245 w 512"/>
              <a:gd name="T39" fmla="*/ 287 h 512"/>
              <a:gd name="T40" fmla="*/ 245 w 512"/>
              <a:gd name="T41" fmla="*/ 394 h 512"/>
              <a:gd name="T42" fmla="*/ 213 w 512"/>
              <a:gd name="T43" fmla="*/ 394 h 512"/>
              <a:gd name="T44" fmla="*/ 202 w 512"/>
              <a:gd name="T45" fmla="*/ 405 h 512"/>
              <a:gd name="T46" fmla="*/ 213 w 512"/>
              <a:gd name="T47" fmla="*/ 416 h 512"/>
              <a:gd name="T48" fmla="*/ 298 w 512"/>
              <a:gd name="T49" fmla="*/ 416 h 512"/>
              <a:gd name="T50" fmla="*/ 309 w 512"/>
              <a:gd name="T51" fmla="*/ 405 h 512"/>
              <a:gd name="T52" fmla="*/ 298 w 512"/>
              <a:gd name="T53" fmla="*/ 394 h 512"/>
              <a:gd name="T54" fmla="*/ 266 w 512"/>
              <a:gd name="T55" fmla="*/ 394 h 512"/>
              <a:gd name="T56" fmla="*/ 266 w 512"/>
              <a:gd name="T57" fmla="*/ 287 h 512"/>
              <a:gd name="T58" fmla="*/ 352 w 512"/>
              <a:gd name="T59" fmla="*/ 192 h 512"/>
              <a:gd name="T60" fmla="*/ 340 w 512"/>
              <a:gd name="T61" fmla="*/ 134 h 512"/>
              <a:gd name="T62" fmla="*/ 331 w 512"/>
              <a:gd name="T63" fmla="*/ 128 h 512"/>
              <a:gd name="T64" fmla="*/ 181 w 512"/>
              <a:gd name="T65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23" y="149"/>
                </a:moveTo>
                <a:cubicBezTo>
                  <a:pt x="328" y="160"/>
                  <a:pt x="330" y="178"/>
                  <a:pt x="330" y="192"/>
                </a:cubicBezTo>
                <a:cubicBezTo>
                  <a:pt x="330" y="233"/>
                  <a:pt x="297" y="266"/>
                  <a:pt x="256" y="266"/>
                </a:cubicBezTo>
                <a:cubicBezTo>
                  <a:pt x="214" y="266"/>
                  <a:pt x="181" y="233"/>
                  <a:pt x="181" y="192"/>
                </a:cubicBezTo>
                <a:cubicBezTo>
                  <a:pt x="181" y="178"/>
                  <a:pt x="184" y="160"/>
                  <a:pt x="188" y="149"/>
                </a:cubicBezTo>
                <a:lnTo>
                  <a:pt x="323" y="149"/>
                </a:lnTo>
                <a:close/>
                <a:moveTo>
                  <a:pt x="181" y="128"/>
                </a:moveTo>
                <a:cubicBezTo>
                  <a:pt x="177" y="128"/>
                  <a:pt x="173" y="130"/>
                  <a:pt x="171" y="134"/>
                </a:cubicBezTo>
                <a:cubicBezTo>
                  <a:pt x="164" y="150"/>
                  <a:pt x="160" y="173"/>
                  <a:pt x="160" y="192"/>
                </a:cubicBezTo>
                <a:cubicBezTo>
                  <a:pt x="160" y="241"/>
                  <a:pt x="197" y="282"/>
                  <a:pt x="245" y="287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07" y="394"/>
                  <a:pt x="202" y="399"/>
                  <a:pt x="202" y="405"/>
                </a:cubicBezTo>
                <a:cubicBezTo>
                  <a:pt x="202" y="411"/>
                  <a:pt x="207" y="416"/>
                  <a:pt x="213" y="416"/>
                </a:cubicBezTo>
                <a:cubicBezTo>
                  <a:pt x="298" y="416"/>
                  <a:pt x="298" y="416"/>
                  <a:pt x="298" y="416"/>
                </a:cubicBezTo>
                <a:cubicBezTo>
                  <a:pt x="304" y="416"/>
                  <a:pt x="309" y="411"/>
                  <a:pt x="309" y="405"/>
                </a:cubicBezTo>
                <a:cubicBezTo>
                  <a:pt x="309" y="399"/>
                  <a:pt x="304" y="394"/>
                  <a:pt x="298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287"/>
                  <a:pt x="266" y="287"/>
                  <a:pt x="266" y="287"/>
                </a:cubicBezTo>
                <a:cubicBezTo>
                  <a:pt x="314" y="282"/>
                  <a:pt x="352" y="241"/>
                  <a:pt x="352" y="192"/>
                </a:cubicBezTo>
                <a:cubicBezTo>
                  <a:pt x="352" y="173"/>
                  <a:pt x="347" y="151"/>
                  <a:pt x="340" y="134"/>
                </a:cubicBezTo>
                <a:cubicBezTo>
                  <a:pt x="338" y="130"/>
                  <a:pt x="335" y="128"/>
                  <a:pt x="331" y="128"/>
                </a:cubicBezTo>
                <a:lnTo>
                  <a:pt x="181" y="12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3" name="Freeform 869"/>
          <p:cNvSpPr>
            <a:spLocks noChangeAspect="1" noEditPoints="1"/>
          </p:cNvSpPr>
          <p:nvPr/>
        </p:nvSpPr>
        <p:spPr bwMode="auto">
          <a:xfrm>
            <a:off x="2424798" y="2051051"/>
            <a:ext cx="369676" cy="369676"/>
          </a:xfrm>
          <a:custGeom>
            <a:avLst/>
            <a:gdLst>
              <a:gd name="T0" fmla="*/ 323 w 512"/>
              <a:gd name="T1" fmla="*/ 149 h 512"/>
              <a:gd name="T2" fmla="*/ 330 w 512"/>
              <a:gd name="T3" fmla="*/ 192 h 512"/>
              <a:gd name="T4" fmla="*/ 256 w 512"/>
              <a:gd name="T5" fmla="*/ 266 h 512"/>
              <a:gd name="T6" fmla="*/ 181 w 512"/>
              <a:gd name="T7" fmla="*/ 192 h 512"/>
              <a:gd name="T8" fmla="*/ 188 w 512"/>
              <a:gd name="T9" fmla="*/ 149 h 512"/>
              <a:gd name="T10" fmla="*/ 323 w 512"/>
              <a:gd name="T11" fmla="*/ 149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352 w 512"/>
              <a:gd name="T23" fmla="*/ 192 h 512"/>
              <a:gd name="T24" fmla="*/ 340 w 512"/>
              <a:gd name="T25" fmla="*/ 134 h 512"/>
              <a:gd name="T26" fmla="*/ 331 w 512"/>
              <a:gd name="T27" fmla="*/ 128 h 512"/>
              <a:gd name="T28" fmla="*/ 181 w 512"/>
              <a:gd name="T29" fmla="*/ 128 h 512"/>
              <a:gd name="T30" fmla="*/ 171 w 512"/>
              <a:gd name="T31" fmla="*/ 134 h 512"/>
              <a:gd name="T32" fmla="*/ 160 w 512"/>
              <a:gd name="T33" fmla="*/ 192 h 512"/>
              <a:gd name="T34" fmla="*/ 245 w 512"/>
              <a:gd name="T35" fmla="*/ 287 h 512"/>
              <a:gd name="T36" fmla="*/ 245 w 512"/>
              <a:gd name="T37" fmla="*/ 394 h 512"/>
              <a:gd name="T38" fmla="*/ 213 w 512"/>
              <a:gd name="T39" fmla="*/ 394 h 512"/>
              <a:gd name="T40" fmla="*/ 202 w 512"/>
              <a:gd name="T41" fmla="*/ 405 h 512"/>
              <a:gd name="T42" fmla="*/ 213 w 512"/>
              <a:gd name="T43" fmla="*/ 416 h 512"/>
              <a:gd name="T44" fmla="*/ 298 w 512"/>
              <a:gd name="T45" fmla="*/ 416 h 512"/>
              <a:gd name="T46" fmla="*/ 309 w 512"/>
              <a:gd name="T47" fmla="*/ 405 h 512"/>
              <a:gd name="T48" fmla="*/ 298 w 512"/>
              <a:gd name="T49" fmla="*/ 394 h 512"/>
              <a:gd name="T50" fmla="*/ 266 w 512"/>
              <a:gd name="T51" fmla="*/ 394 h 512"/>
              <a:gd name="T52" fmla="*/ 266 w 512"/>
              <a:gd name="T53" fmla="*/ 287 h 512"/>
              <a:gd name="T54" fmla="*/ 352 w 512"/>
              <a:gd name="T55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12" h="512">
                <a:moveTo>
                  <a:pt x="323" y="149"/>
                </a:moveTo>
                <a:cubicBezTo>
                  <a:pt x="328" y="160"/>
                  <a:pt x="330" y="178"/>
                  <a:pt x="330" y="192"/>
                </a:cubicBezTo>
                <a:cubicBezTo>
                  <a:pt x="330" y="233"/>
                  <a:pt x="297" y="266"/>
                  <a:pt x="256" y="266"/>
                </a:cubicBezTo>
                <a:cubicBezTo>
                  <a:pt x="214" y="266"/>
                  <a:pt x="181" y="233"/>
                  <a:pt x="181" y="192"/>
                </a:cubicBezTo>
                <a:cubicBezTo>
                  <a:pt x="181" y="178"/>
                  <a:pt x="184" y="160"/>
                  <a:pt x="188" y="149"/>
                </a:cubicBezTo>
                <a:lnTo>
                  <a:pt x="323" y="14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2" y="192"/>
                </a:moveTo>
                <a:cubicBezTo>
                  <a:pt x="352" y="173"/>
                  <a:pt x="347" y="151"/>
                  <a:pt x="340" y="134"/>
                </a:cubicBezTo>
                <a:cubicBezTo>
                  <a:pt x="338" y="130"/>
                  <a:pt x="335" y="128"/>
                  <a:pt x="331" y="128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77" y="128"/>
                  <a:pt x="173" y="130"/>
                  <a:pt x="171" y="134"/>
                </a:cubicBezTo>
                <a:cubicBezTo>
                  <a:pt x="164" y="150"/>
                  <a:pt x="160" y="173"/>
                  <a:pt x="160" y="192"/>
                </a:cubicBezTo>
                <a:cubicBezTo>
                  <a:pt x="160" y="241"/>
                  <a:pt x="197" y="282"/>
                  <a:pt x="245" y="287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07" y="394"/>
                  <a:pt x="202" y="399"/>
                  <a:pt x="202" y="405"/>
                </a:cubicBezTo>
                <a:cubicBezTo>
                  <a:pt x="202" y="411"/>
                  <a:pt x="207" y="416"/>
                  <a:pt x="213" y="416"/>
                </a:cubicBezTo>
                <a:cubicBezTo>
                  <a:pt x="298" y="416"/>
                  <a:pt x="298" y="416"/>
                  <a:pt x="298" y="416"/>
                </a:cubicBezTo>
                <a:cubicBezTo>
                  <a:pt x="304" y="416"/>
                  <a:pt x="309" y="411"/>
                  <a:pt x="309" y="405"/>
                </a:cubicBezTo>
                <a:cubicBezTo>
                  <a:pt x="309" y="399"/>
                  <a:pt x="304" y="394"/>
                  <a:pt x="298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287"/>
                  <a:pt x="266" y="287"/>
                  <a:pt x="266" y="287"/>
                </a:cubicBezTo>
                <a:cubicBezTo>
                  <a:pt x="314" y="282"/>
                  <a:pt x="352" y="241"/>
                  <a:pt x="352" y="19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4" name="Group 648"/>
          <p:cNvGrpSpPr>
            <a:grpSpLocks noChangeAspect="1"/>
          </p:cNvGrpSpPr>
          <p:nvPr/>
        </p:nvGrpSpPr>
        <p:grpSpPr bwMode="auto">
          <a:xfrm>
            <a:off x="928799" y="2920270"/>
            <a:ext cx="369676" cy="369676"/>
            <a:chOff x="3520" y="2303"/>
            <a:chExt cx="340" cy="340"/>
          </a:xfrm>
          <a:solidFill>
            <a:schemeClr val="accent1"/>
          </a:solidFill>
        </p:grpSpPr>
        <p:sp>
          <p:nvSpPr>
            <p:cNvPr id="265" name="Freeform 649"/>
            <p:cNvSpPr>
              <a:spLocks noEditPoints="1"/>
            </p:cNvSpPr>
            <p:nvPr/>
          </p:nvSpPr>
          <p:spPr bwMode="auto">
            <a:xfrm>
              <a:off x="3583" y="2388"/>
              <a:ext cx="214" cy="177"/>
            </a:xfrm>
            <a:custGeom>
              <a:avLst/>
              <a:gdLst>
                <a:gd name="T0" fmla="*/ 235 w 322"/>
                <a:gd name="T1" fmla="*/ 266 h 266"/>
                <a:gd name="T2" fmla="*/ 86 w 322"/>
                <a:gd name="T3" fmla="*/ 266 h 266"/>
                <a:gd name="T4" fmla="*/ 75 w 322"/>
                <a:gd name="T5" fmla="*/ 256 h 266"/>
                <a:gd name="T6" fmla="*/ 75 w 322"/>
                <a:gd name="T7" fmla="*/ 132 h 266"/>
                <a:gd name="T8" fmla="*/ 62 w 322"/>
                <a:gd name="T9" fmla="*/ 146 h 266"/>
                <a:gd name="T10" fmla="*/ 53 w 322"/>
                <a:gd name="T11" fmla="*/ 149 h 266"/>
                <a:gd name="T12" fmla="*/ 46 w 322"/>
                <a:gd name="T13" fmla="*/ 145 h 266"/>
                <a:gd name="T14" fmla="*/ 3 w 322"/>
                <a:gd name="T15" fmla="*/ 92 h 266"/>
                <a:gd name="T16" fmla="*/ 4 w 322"/>
                <a:gd name="T17" fmla="*/ 77 h 266"/>
                <a:gd name="T18" fmla="*/ 78 w 322"/>
                <a:gd name="T19" fmla="*/ 3 h 266"/>
                <a:gd name="T20" fmla="*/ 86 w 322"/>
                <a:gd name="T21" fmla="*/ 0 h 266"/>
                <a:gd name="T22" fmla="*/ 129 w 322"/>
                <a:gd name="T23" fmla="*/ 0 h 266"/>
                <a:gd name="T24" fmla="*/ 138 w 322"/>
                <a:gd name="T25" fmla="*/ 6 h 266"/>
                <a:gd name="T26" fmla="*/ 161 w 322"/>
                <a:gd name="T27" fmla="*/ 21 h 266"/>
                <a:gd name="T28" fmla="*/ 183 w 322"/>
                <a:gd name="T29" fmla="*/ 6 h 266"/>
                <a:gd name="T30" fmla="*/ 193 w 322"/>
                <a:gd name="T31" fmla="*/ 0 h 266"/>
                <a:gd name="T32" fmla="*/ 235 w 322"/>
                <a:gd name="T33" fmla="*/ 0 h 266"/>
                <a:gd name="T34" fmla="*/ 243 w 322"/>
                <a:gd name="T35" fmla="*/ 3 h 266"/>
                <a:gd name="T36" fmla="*/ 318 w 322"/>
                <a:gd name="T37" fmla="*/ 77 h 266"/>
                <a:gd name="T38" fmla="*/ 318 w 322"/>
                <a:gd name="T39" fmla="*/ 92 h 266"/>
                <a:gd name="T40" fmla="*/ 276 w 322"/>
                <a:gd name="T41" fmla="*/ 145 h 266"/>
                <a:gd name="T42" fmla="*/ 268 w 322"/>
                <a:gd name="T43" fmla="*/ 149 h 266"/>
                <a:gd name="T44" fmla="*/ 260 w 322"/>
                <a:gd name="T45" fmla="*/ 146 h 266"/>
                <a:gd name="T46" fmla="*/ 246 w 322"/>
                <a:gd name="T47" fmla="*/ 132 h 266"/>
                <a:gd name="T48" fmla="*/ 246 w 322"/>
                <a:gd name="T49" fmla="*/ 256 h 266"/>
                <a:gd name="T50" fmla="*/ 235 w 322"/>
                <a:gd name="T51" fmla="*/ 266 h 266"/>
                <a:gd name="T52" fmla="*/ 97 w 322"/>
                <a:gd name="T53" fmla="*/ 245 h 266"/>
                <a:gd name="T54" fmla="*/ 225 w 322"/>
                <a:gd name="T55" fmla="*/ 245 h 266"/>
                <a:gd name="T56" fmla="*/ 225 w 322"/>
                <a:gd name="T57" fmla="*/ 106 h 266"/>
                <a:gd name="T58" fmla="*/ 231 w 322"/>
                <a:gd name="T59" fmla="*/ 96 h 266"/>
                <a:gd name="T60" fmla="*/ 243 w 322"/>
                <a:gd name="T61" fmla="*/ 99 h 266"/>
                <a:gd name="T62" fmla="*/ 266 w 322"/>
                <a:gd name="T63" fmla="*/ 122 h 266"/>
                <a:gd name="T64" fmla="*/ 296 w 322"/>
                <a:gd name="T65" fmla="*/ 86 h 266"/>
                <a:gd name="T66" fmla="*/ 231 w 322"/>
                <a:gd name="T67" fmla="*/ 21 h 266"/>
                <a:gd name="T68" fmla="*/ 199 w 322"/>
                <a:gd name="T69" fmla="*/ 21 h 266"/>
                <a:gd name="T70" fmla="*/ 161 w 322"/>
                <a:gd name="T71" fmla="*/ 42 h 266"/>
                <a:gd name="T72" fmla="*/ 122 w 322"/>
                <a:gd name="T73" fmla="*/ 21 h 266"/>
                <a:gd name="T74" fmla="*/ 90 w 322"/>
                <a:gd name="T75" fmla="*/ 21 h 266"/>
                <a:gd name="T76" fmla="*/ 26 w 322"/>
                <a:gd name="T77" fmla="*/ 86 h 266"/>
                <a:gd name="T78" fmla="*/ 55 w 322"/>
                <a:gd name="T79" fmla="*/ 122 h 266"/>
                <a:gd name="T80" fmla="*/ 78 w 322"/>
                <a:gd name="T81" fmla="*/ 99 h 266"/>
                <a:gd name="T82" fmla="*/ 90 w 322"/>
                <a:gd name="T83" fmla="*/ 96 h 266"/>
                <a:gd name="T84" fmla="*/ 97 w 322"/>
                <a:gd name="T85" fmla="*/ 106 h 266"/>
                <a:gd name="T86" fmla="*/ 97 w 322"/>
                <a:gd name="T87" fmla="*/ 245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6">
                  <a:moveTo>
                    <a:pt x="235" y="266"/>
                  </a:moveTo>
                  <a:cubicBezTo>
                    <a:pt x="86" y="266"/>
                    <a:pt x="86" y="266"/>
                    <a:pt x="86" y="266"/>
                  </a:cubicBezTo>
                  <a:cubicBezTo>
                    <a:pt x="80" y="266"/>
                    <a:pt x="75" y="262"/>
                    <a:pt x="75" y="256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59" y="148"/>
                    <a:pt x="56" y="149"/>
                    <a:pt x="53" y="149"/>
                  </a:cubicBezTo>
                  <a:cubicBezTo>
                    <a:pt x="50" y="149"/>
                    <a:pt x="48" y="147"/>
                    <a:pt x="46" y="145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0" y="87"/>
                    <a:pt x="0" y="81"/>
                    <a:pt x="4" y="77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80" y="1"/>
                    <a:pt x="83" y="0"/>
                    <a:pt x="86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3" y="0"/>
                    <a:pt x="136" y="2"/>
                    <a:pt x="138" y="6"/>
                  </a:cubicBezTo>
                  <a:cubicBezTo>
                    <a:pt x="143" y="16"/>
                    <a:pt x="151" y="21"/>
                    <a:pt x="161" y="21"/>
                  </a:cubicBezTo>
                  <a:cubicBezTo>
                    <a:pt x="171" y="21"/>
                    <a:pt x="178" y="16"/>
                    <a:pt x="183" y="6"/>
                  </a:cubicBezTo>
                  <a:cubicBezTo>
                    <a:pt x="185" y="2"/>
                    <a:pt x="189" y="0"/>
                    <a:pt x="193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8" y="0"/>
                    <a:pt x="241" y="1"/>
                    <a:pt x="243" y="3"/>
                  </a:cubicBezTo>
                  <a:cubicBezTo>
                    <a:pt x="318" y="77"/>
                    <a:pt x="318" y="77"/>
                    <a:pt x="318" y="77"/>
                  </a:cubicBezTo>
                  <a:cubicBezTo>
                    <a:pt x="321" y="81"/>
                    <a:pt x="322" y="87"/>
                    <a:pt x="318" y="92"/>
                  </a:cubicBezTo>
                  <a:cubicBezTo>
                    <a:pt x="276" y="145"/>
                    <a:pt x="276" y="145"/>
                    <a:pt x="276" y="145"/>
                  </a:cubicBezTo>
                  <a:cubicBezTo>
                    <a:pt x="274" y="147"/>
                    <a:pt x="271" y="149"/>
                    <a:pt x="268" y="149"/>
                  </a:cubicBezTo>
                  <a:cubicBezTo>
                    <a:pt x="265" y="149"/>
                    <a:pt x="262" y="148"/>
                    <a:pt x="260" y="146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46" y="262"/>
                    <a:pt x="241" y="266"/>
                    <a:pt x="235" y="266"/>
                  </a:cubicBezTo>
                  <a:close/>
                  <a:moveTo>
                    <a:pt x="97" y="245"/>
                  </a:moveTo>
                  <a:cubicBezTo>
                    <a:pt x="225" y="245"/>
                    <a:pt x="225" y="245"/>
                    <a:pt x="225" y="245"/>
                  </a:cubicBezTo>
                  <a:cubicBezTo>
                    <a:pt x="225" y="106"/>
                    <a:pt x="225" y="106"/>
                    <a:pt x="225" y="106"/>
                  </a:cubicBezTo>
                  <a:cubicBezTo>
                    <a:pt x="225" y="102"/>
                    <a:pt x="227" y="98"/>
                    <a:pt x="231" y="96"/>
                  </a:cubicBezTo>
                  <a:cubicBezTo>
                    <a:pt x="235" y="95"/>
                    <a:pt x="240" y="96"/>
                    <a:pt x="243" y="9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96" y="86"/>
                    <a:pt x="296" y="86"/>
                    <a:pt x="296" y="86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199" y="21"/>
                    <a:pt x="199" y="21"/>
                    <a:pt x="199" y="21"/>
                  </a:cubicBezTo>
                  <a:cubicBezTo>
                    <a:pt x="190" y="35"/>
                    <a:pt x="177" y="42"/>
                    <a:pt x="161" y="42"/>
                  </a:cubicBezTo>
                  <a:cubicBezTo>
                    <a:pt x="145" y="42"/>
                    <a:pt x="131" y="35"/>
                    <a:pt x="122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2" y="96"/>
                    <a:pt x="86" y="95"/>
                    <a:pt x="90" y="96"/>
                  </a:cubicBezTo>
                  <a:cubicBezTo>
                    <a:pt x="94" y="98"/>
                    <a:pt x="97" y="102"/>
                    <a:pt x="97" y="106"/>
                  </a:cubicBezTo>
                  <a:lnTo>
                    <a:pt x="97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650"/>
            <p:cNvSpPr>
              <a:spLocks noEditPoints="1"/>
            </p:cNvSpPr>
            <p:nvPr/>
          </p:nvSpPr>
          <p:spPr bwMode="auto">
            <a:xfrm>
              <a:off x="3520" y="23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7" name="Freeform 654"/>
          <p:cNvSpPr>
            <a:spLocks noChangeAspect="1" noEditPoints="1"/>
          </p:cNvSpPr>
          <p:nvPr/>
        </p:nvSpPr>
        <p:spPr bwMode="auto">
          <a:xfrm>
            <a:off x="429986" y="2920269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3 w 512"/>
              <a:gd name="T11" fmla="*/ 220 h 512"/>
              <a:gd name="T12" fmla="*/ 371 w 512"/>
              <a:gd name="T13" fmla="*/ 273 h 512"/>
              <a:gd name="T14" fmla="*/ 363 w 512"/>
              <a:gd name="T15" fmla="*/ 277 h 512"/>
              <a:gd name="T16" fmla="*/ 355 w 512"/>
              <a:gd name="T17" fmla="*/ 274 h 512"/>
              <a:gd name="T18" fmla="*/ 341 w 512"/>
              <a:gd name="T19" fmla="*/ 260 h 512"/>
              <a:gd name="T20" fmla="*/ 341 w 512"/>
              <a:gd name="T21" fmla="*/ 384 h 512"/>
              <a:gd name="T22" fmla="*/ 330 w 512"/>
              <a:gd name="T23" fmla="*/ 394 h 512"/>
              <a:gd name="T24" fmla="*/ 181 w 512"/>
              <a:gd name="T25" fmla="*/ 394 h 512"/>
              <a:gd name="T26" fmla="*/ 170 w 512"/>
              <a:gd name="T27" fmla="*/ 384 h 512"/>
              <a:gd name="T28" fmla="*/ 170 w 512"/>
              <a:gd name="T29" fmla="*/ 260 h 512"/>
              <a:gd name="T30" fmla="*/ 157 w 512"/>
              <a:gd name="T31" fmla="*/ 274 h 512"/>
              <a:gd name="T32" fmla="*/ 148 w 512"/>
              <a:gd name="T33" fmla="*/ 277 h 512"/>
              <a:gd name="T34" fmla="*/ 141 w 512"/>
              <a:gd name="T35" fmla="*/ 273 h 512"/>
              <a:gd name="T36" fmla="*/ 98 w 512"/>
              <a:gd name="T37" fmla="*/ 220 h 512"/>
              <a:gd name="T38" fmla="*/ 99 w 512"/>
              <a:gd name="T39" fmla="*/ 205 h 512"/>
              <a:gd name="T40" fmla="*/ 173 w 512"/>
              <a:gd name="T41" fmla="*/ 131 h 512"/>
              <a:gd name="T42" fmla="*/ 181 w 512"/>
              <a:gd name="T43" fmla="*/ 128 h 512"/>
              <a:gd name="T44" fmla="*/ 224 w 512"/>
              <a:gd name="T45" fmla="*/ 128 h 512"/>
              <a:gd name="T46" fmla="*/ 233 w 512"/>
              <a:gd name="T47" fmla="*/ 134 h 512"/>
              <a:gd name="T48" fmla="*/ 256 w 512"/>
              <a:gd name="T49" fmla="*/ 149 h 512"/>
              <a:gd name="T50" fmla="*/ 278 w 512"/>
              <a:gd name="T51" fmla="*/ 134 h 512"/>
              <a:gd name="T52" fmla="*/ 288 w 512"/>
              <a:gd name="T53" fmla="*/ 128 h 512"/>
              <a:gd name="T54" fmla="*/ 330 w 512"/>
              <a:gd name="T55" fmla="*/ 128 h 512"/>
              <a:gd name="T56" fmla="*/ 338 w 512"/>
              <a:gd name="T57" fmla="*/ 131 h 512"/>
              <a:gd name="T58" fmla="*/ 413 w 512"/>
              <a:gd name="T59" fmla="*/ 205 h 512"/>
              <a:gd name="T60" fmla="*/ 413 w 512"/>
              <a:gd name="T61" fmla="*/ 220 h 512"/>
              <a:gd name="T62" fmla="*/ 326 w 512"/>
              <a:gd name="T63" fmla="*/ 149 h 512"/>
              <a:gd name="T64" fmla="*/ 391 w 512"/>
              <a:gd name="T65" fmla="*/ 214 h 512"/>
              <a:gd name="T66" fmla="*/ 361 w 512"/>
              <a:gd name="T67" fmla="*/ 250 h 512"/>
              <a:gd name="T68" fmla="*/ 338 w 512"/>
              <a:gd name="T69" fmla="*/ 227 h 512"/>
              <a:gd name="T70" fmla="*/ 326 w 512"/>
              <a:gd name="T71" fmla="*/ 224 h 512"/>
              <a:gd name="T72" fmla="*/ 320 w 512"/>
              <a:gd name="T73" fmla="*/ 234 h 512"/>
              <a:gd name="T74" fmla="*/ 320 w 512"/>
              <a:gd name="T75" fmla="*/ 373 h 512"/>
              <a:gd name="T76" fmla="*/ 192 w 512"/>
              <a:gd name="T77" fmla="*/ 373 h 512"/>
              <a:gd name="T78" fmla="*/ 192 w 512"/>
              <a:gd name="T79" fmla="*/ 234 h 512"/>
              <a:gd name="T80" fmla="*/ 185 w 512"/>
              <a:gd name="T81" fmla="*/ 224 h 512"/>
              <a:gd name="T82" fmla="*/ 173 w 512"/>
              <a:gd name="T83" fmla="*/ 227 h 512"/>
              <a:gd name="T84" fmla="*/ 150 w 512"/>
              <a:gd name="T85" fmla="*/ 250 h 512"/>
              <a:gd name="T86" fmla="*/ 121 w 512"/>
              <a:gd name="T87" fmla="*/ 214 h 512"/>
              <a:gd name="T88" fmla="*/ 185 w 512"/>
              <a:gd name="T89" fmla="*/ 149 h 512"/>
              <a:gd name="T90" fmla="*/ 217 w 512"/>
              <a:gd name="T91" fmla="*/ 149 h 512"/>
              <a:gd name="T92" fmla="*/ 256 w 512"/>
              <a:gd name="T93" fmla="*/ 170 h 512"/>
              <a:gd name="T94" fmla="*/ 294 w 512"/>
              <a:gd name="T95" fmla="*/ 149 h 512"/>
              <a:gd name="T96" fmla="*/ 326 w 512"/>
              <a:gd name="T97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3" y="220"/>
                </a:moveTo>
                <a:cubicBezTo>
                  <a:pt x="371" y="273"/>
                  <a:pt x="371" y="273"/>
                  <a:pt x="371" y="273"/>
                </a:cubicBezTo>
                <a:cubicBezTo>
                  <a:pt x="369" y="275"/>
                  <a:pt x="366" y="277"/>
                  <a:pt x="363" y="277"/>
                </a:cubicBezTo>
                <a:cubicBezTo>
                  <a:pt x="360" y="277"/>
                  <a:pt x="357" y="276"/>
                  <a:pt x="355" y="274"/>
                </a:cubicBezTo>
                <a:cubicBezTo>
                  <a:pt x="341" y="260"/>
                  <a:pt x="341" y="260"/>
                  <a:pt x="341" y="260"/>
                </a:cubicBezTo>
                <a:cubicBezTo>
                  <a:pt x="341" y="384"/>
                  <a:pt x="341" y="384"/>
                  <a:pt x="341" y="384"/>
                </a:cubicBezTo>
                <a:cubicBezTo>
                  <a:pt x="341" y="390"/>
                  <a:pt x="336" y="394"/>
                  <a:pt x="330" y="394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75" y="394"/>
                  <a:pt x="170" y="390"/>
                  <a:pt x="170" y="384"/>
                </a:cubicBezTo>
                <a:cubicBezTo>
                  <a:pt x="170" y="260"/>
                  <a:pt x="170" y="260"/>
                  <a:pt x="170" y="260"/>
                </a:cubicBezTo>
                <a:cubicBezTo>
                  <a:pt x="157" y="274"/>
                  <a:pt x="157" y="274"/>
                  <a:pt x="157" y="274"/>
                </a:cubicBezTo>
                <a:cubicBezTo>
                  <a:pt x="154" y="276"/>
                  <a:pt x="151" y="277"/>
                  <a:pt x="148" y="277"/>
                </a:cubicBezTo>
                <a:cubicBezTo>
                  <a:pt x="145" y="277"/>
                  <a:pt x="143" y="275"/>
                  <a:pt x="141" y="273"/>
                </a:cubicBezTo>
                <a:cubicBezTo>
                  <a:pt x="98" y="220"/>
                  <a:pt x="98" y="220"/>
                  <a:pt x="98" y="220"/>
                </a:cubicBezTo>
                <a:cubicBezTo>
                  <a:pt x="95" y="215"/>
                  <a:pt x="95" y="209"/>
                  <a:pt x="99" y="205"/>
                </a:cubicBezTo>
                <a:cubicBezTo>
                  <a:pt x="173" y="131"/>
                  <a:pt x="173" y="131"/>
                  <a:pt x="173" y="131"/>
                </a:cubicBezTo>
                <a:cubicBezTo>
                  <a:pt x="175" y="129"/>
                  <a:pt x="178" y="128"/>
                  <a:pt x="181" y="128"/>
                </a:cubicBezTo>
                <a:cubicBezTo>
                  <a:pt x="224" y="128"/>
                  <a:pt x="224" y="128"/>
                  <a:pt x="224" y="128"/>
                </a:cubicBezTo>
                <a:cubicBezTo>
                  <a:pt x="228" y="128"/>
                  <a:pt x="231" y="130"/>
                  <a:pt x="233" y="134"/>
                </a:cubicBezTo>
                <a:cubicBezTo>
                  <a:pt x="238" y="144"/>
                  <a:pt x="246" y="149"/>
                  <a:pt x="256" y="149"/>
                </a:cubicBezTo>
                <a:cubicBezTo>
                  <a:pt x="266" y="149"/>
                  <a:pt x="273" y="144"/>
                  <a:pt x="278" y="134"/>
                </a:cubicBezTo>
                <a:cubicBezTo>
                  <a:pt x="280" y="130"/>
                  <a:pt x="284" y="128"/>
                  <a:pt x="288" y="128"/>
                </a:cubicBezTo>
                <a:cubicBezTo>
                  <a:pt x="330" y="128"/>
                  <a:pt x="330" y="128"/>
                  <a:pt x="330" y="128"/>
                </a:cubicBezTo>
                <a:cubicBezTo>
                  <a:pt x="333" y="128"/>
                  <a:pt x="336" y="129"/>
                  <a:pt x="338" y="131"/>
                </a:cubicBezTo>
                <a:cubicBezTo>
                  <a:pt x="413" y="205"/>
                  <a:pt x="413" y="205"/>
                  <a:pt x="413" y="205"/>
                </a:cubicBezTo>
                <a:cubicBezTo>
                  <a:pt x="416" y="209"/>
                  <a:pt x="417" y="215"/>
                  <a:pt x="413" y="220"/>
                </a:cubicBezTo>
                <a:close/>
                <a:moveTo>
                  <a:pt x="326" y="149"/>
                </a:moveTo>
                <a:cubicBezTo>
                  <a:pt x="391" y="214"/>
                  <a:pt x="391" y="214"/>
                  <a:pt x="391" y="214"/>
                </a:cubicBezTo>
                <a:cubicBezTo>
                  <a:pt x="361" y="250"/>
                  <a:pt x="361" y="250"/>
                  <a:pt x="361" y="250"/>
                </a:cubicBezTo>
                <a:cubicBezTo>
                  <a:pt x="338" y="227"/>
                  <a:pt x="338" y="227"/>
                  <a:pt x="338" y="227"/>
                </a:cubicBezTo>
                <a:cubicBezTo>
                  <a:pt x="335" y="224"/>
                  <a:pt x="330" y="223"/>
                  <a:pt x="326" y="224"/>
                </a:cubicBezTo>
                <a:cubicBezTo>
                  <a:pt x="322" y="226"/>
                  <a:pt x="320" y="230"/>
                  <a:pt x="320" y="234"/>
                </a:cubicBezTo>
                <a:cubicBezTo>
                  <a:pt x="320" y="373"/>
                  <a:pt x="320" y="373"/>
                  <a:pt x="320" y="373"/>
                </a:cubicBezTo>
                <a:cubicBezTo>
                  <a:pt x="192" y="373"/>
                  <a:pt x="192" y="373"/>
                  <a:pt x="192" y="373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0"/>
                  <a:pt x="189" y="226"/>
                  <a:pt x="185" y="224"/>
                </a:cubicBezTo>
                <a:cubicBezTo>
                  <a:pt x="181" y="223"/>
                  <a:pt x="177" y="224"/>
                  <a:pt x="173" y="227"/>
                </a:cubicBezTo>
                <a:cubicBezTo>
                  <a:pt x="150" y="250"/>
                  <a:pt x="150" y="250"/>
                  <a:pt x="150" y="250"/>
                </a:cubicBezTo>
                <a:cubicBezTo>
                  <a:pt x="121" y="214"/>
                  <a:pt x="121" y="214"/>
                  <a:pt x="121" y="214"/>
                </a:cubicBezTo>
                <a:cubicBezTo>
                  <a:pt x="185" y="149"/>
                  <a:pt x="185" y="149"/>
                  <a:pt x="185" y="149"/>
                </a:cubicBezTo>
                <a:cubicBezTo>
                  <a:pt x="217" y="149"/>
                  <a:pt x="217" y="149"/>
                  <a:pt x="217" y="149"/>
                </a:cubicBezTo>
                <a:cubicBezTo>
                  <a:pt x="226" y="163"/>
                  <a:pt x="240" y="170"/>
                  <a:pt x="256" y="170"/>
                </a:cubicBezTo>
                <a:cubicBezTo>
                  <a:pt x="272" y="170"/>
                  <a:pt x="285" y="163"/>
                  <a:pt x="294" y="149"/>
                </a:cubicBezTo>
                <a:lnTo>
                  <a:pt x="326" y="1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8" name="Freeform 781"/>
          <p:cNvSpPr>
            <a:spLocks noChangeAspect="1" noEditPoints="1"/>
          </p:cNvSpPr>
          <p:nvPr/>
        </p:nvSpPr>
        <p:spPr bwMode="auto">
          <a:xfrm>
            <a:off x="3422204" y="2051054"/>
            <a:ext cx="367041" cy="367041"/>
          </a:xfrm>
          <a:custGeom>
            <a:avLst/>
            <a:gdLst>
              <a:gd name="T0" fmla="*/ 175 w 512"/>
              <a:gd name="T1" fmla="*/ 160 h 512"/>
              <a:gd name="T2" fmla="*/ 337 w 512"/>
              <a:gd name="T3" fmla="*/ 160 h 512"/>
              <a:gd name="T4" fmla="*/ 256 w 512"/>
              <a:gd name="T5" fmla="*/ 241 h 512"/>
              <a:gd name="T6" fmla="*/ 175 w 512"/>
              <a:gd name="T7" fmla="*/ 160 h 512"/>
              <a:gd name="T8" fmla="*/ 512 w 512"/>
              <a:gd name="T9" fmla="*/ 256 h 512"/>
              <a:gd name="T10" fmla="*/ 256 w 512"/>
              <a:gd name="T11" fmla="*/ 512 h 512"/>
              <a:gd name="T12" fmla="*/ 0 w 512"/>
              <a:gd name="T13" fmla="*/ 256 h 512"/>
              <a:gd name="T14" fmla="*/ 256 w 512"/>
              <a:gd name="T15" fmla="*/ 0 h 512"/>
              <a:gd name="T16" fmla="*/ 512 w 512"/>
              <a:gd name="T17" fmla="*/ 256 h 512"/>
              <a:gd name="T18" fmla="*/ 373 w 512"/>
              <a:gd name="T19" fmla="*/ 146 h 512"/>
              <a:gd name="T20" fmla="*/ 363 w 512"/>
              <a:gd name="T21" fmla="*/ 139 h 512"/>
              <a:gd name="T22" fmla="*/ 149 w 512"/>
              <a:gd name="T23" fmla="*/ 139 h 512"/>
              <a:gd name="T24" fmla="*/ 139 w 512"/>
              <a:gd name="T25" fmla="*/ 146 h 512"/>
              <a:gd name="T26" fmla="*/ 142 w 512"/>
              <a:gd name="T27" fmla="*/ 157 h 512"/>
              <a:gd name="T28" fmla="*/ 245 w 512"/>
              <a:gd name="T29" fmla="*/ 261 h 512"/>
              <a:gd name="T30" fmla="*/ 245 w 512"/>
              <a:gd name="T31" fmla="*/ 374 h 512"/>
              <a:gd name="T32" fmla="*/ 192 w 512"/>
              <a:gd name="T33" fmla="*/ 374 h 512"/>
              <a:gd name="T34" fmla="*/ 181 w 512"/>
              <a:gd name="T35" fmla="*/ 384 h 512"/>
              <a:gd name="T36" fmla="*/ 192 w 512"/>
              <a:gd name="T37" fmla="*/ 395 h 512"/>
              <a:gd name="T38" fmla="*/ 320 w 512"/>
              <a:gd name="T39" fmla="*/ 395 h 512"/>
              <a:gd name="T40" fmla="*/ 331 w 512"/>
              <a:gd name="T41" fmla="*/ 384 h 512"/>
              <a:gd name="T42" fmla="*/ 320 w 512"/>
              <a:gd name="T43" fmla="*/ 374 h 512"/>
              <a:gd name="T44" fmla="*/ 267 w 512"/>
              <a:gd name="T45" fmla="*/ 374 h 512"/>
              <a:gd name="T46" fmla="*/ 267 w 512"/>
              <a:gd name="T47" fmla="*/ 261 h 512"/>
              <a:gd name="T48" fmla="*/ 370 w 512"/>
              <a:gd name="T49" fmla="*/ 157 h 512"/>
              <a:gd name="T50" fmla="*/ 373 w 512"/>
              <a:gd name="T51" fmla="*/ 14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175" y="160"/>
                </a:moveTo>
                <a:cubicBezTo>
                  <a:pt x="337" y="160"/>
                  <a:pt x="337" y="160"/>
                  <a:pt x="337" y="160"/>
                </a:cubicBezTo>
                <a:cubicBezTo>
                  <a:pt x="256" y="241"/>
                  <a:pt x="256" y="241"/>
                  <a:pt x="256" y="241"/>
                </a:cubicBezTo>
                <a:lnTo>
                  <a:pt x="175" y="160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73" y="146"/>
                </a:moveTo>
                <a:cubicBezTo>
                  <a:pt x="371" y="142"/>
                  <a:pt x="367" y="139"/>
                  <a:pt x="363" y="139"/>
                </a:cubicBezTo>
                <a:cubicBezTo>
                  <a:pt x="149" y="139"/>
                  <a:pt x="149" y="139"/>
                  <a:pt x="149" y="139"/>
                </a:cubicBezTo>
                <a:cubicBezTo>
                  <a:pt x="145" y="139"/>
                  <a:pt x="141" y="142"/>
                  <a:pt x="139" y="146"/>
                </a:cubicBezTo>
                <a:cubicBezTo>
                  <a:pt x="138" y="150"/>
                  <a:pt x="139" y="154"/>
                  <a:pt x="142" y="157"/>
                </a:cubicBezTo>
                <a:cubicBezTo>
                  <a:pt x="245" y="261"/>
                  <a:pt x="245" y="261"/>
                  <a:pt x="245" y="261"/>
                </a:cubicBezTo>
                <a:cubicBezTo>
                  <a:pt x="245" y="374"/>
                  <a:pt x="245" y="374"/>
                  <a:pt x="245" y="374"/>
                </a:cubicBezTo>
                <a:cubicBezTo>
                  <a:pt x="192" y="374"/>
                  <a:pt x="192" y="374"/>
                  <a:pt x="192" y="374"/>
                </a:cubicBezTo>
                <a:cubicBezTo>
                  <a:pt x="186" y="374"/>
                  <a:pt x="181" y="378"/>
                  <a:pt x="181" y="384"/>
                </a:cubicBezTo>
                <a:cubicBezTo>
                  <a:pt x="181" y="390"/>
                  <a:pt x="186" y="395"/>
                  <a:pt x="192" y="395"/>
                </a:cubicBezTo>
                <a:cubicBezTo>
                  <a:pt x="320" y="395"/>
                  <a:pt x="320" y="395"/>
                  <a:pt x="320" y="395"/>
                </a:cubicBezTo>
                <a:cubicBezTo>
                  <a:pt x="326" y="395"/>
                  <a:pt x="331" y="390"/>
                  <a:pt x="331" y="384"/>
                </a:cubicBezTo>
                <a:cubicBezTo>
                  <a:pt x="331" y="378"/>
                  <a:pt x="326" y="374"/>
                  <a:pt x="320" y="374"/>
                </a:cubicBezTo>
                <a:cubicBezTo>
                  <a:pt x="267" y="374"/>
                  <a:pt x="267" y="374"/>
                  <a:pt x="267" y="374"/>
                </a:cubicBezTo>
                <a:cubicBezTo>
                  <a:pt x="267" y="261"/>
                  <a:pt x="267" y="261"/>
                  <a:pt x="267" y="261"/>
                </a:cubicBezTo>
                <a:cubicBezTo>
                  <a:pt x="370" y="157"/>
                  <a:pt x="370" y="157"/>
                  <a:pt x="370" y="157"/>
                </a:cubicBezTo>
                <a:cubicBezTo>
                  <a:pt x="373" y="154"/>
                  <a:pt x="374" y="150"/>
                  <a:pt x="373" y="14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789"/>
          <p:cNvGrpSpPr>
            <a:grpSpLocks noChangeAspect="1"/>
          </p:cNvGrpSpPr>
          <p:nvPr/>
        </p:nvGrpSpPr>
        <p:grpSpPr bwMode="auto">
          <a:xfrm>
            <a:off x="3918272" y="2051054"/>
            <a:ext cx="368120" cy="367041"/>
            <a:chOff x="3185" y="3485"/>
            <a:chExt cx="341" cy="340"/>
          </a:xfrm>
          <a:solidFill>
            <a:schemeClr val="accent3"/>
          </a:solidFill>
        </p:grpSpPr>
        <p:sp>
          <p:nvSpPr>
            <p:cNvPr id="270" name="Freeform 790"/>
            <p:cNvSpPr>
              <a:spLocks noEditPoints="1"/>
            </p:cNvSpPr>
            <p:nvPr/>
          </p:nvSpPr>
          <p:spPr bwMode="auto">
            <a:xfrm>
              <a:off x="3185" y="3485"/>
              <a:ext cx="341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791"/>
            <p:cNvSpPr>
              <a:spLocks noEditPoints="1"/>
            </p:cNvSpPr>
            <p:nvPr/>
          </p:nvSpPr>
          <p:spPr bwMode="auto">
            <a:xfrm>
              <a:off x="3277" y="3577"/>
              <a:ext cx="157" cy="170"/>
            </a:xfrm>
            <a:custGeom>
              <a:avLst/>
              <a:gdLst>
                <a:gd name="T0" fmla="*/ 232 w 236"/>
                <a:gd name="T1" fmla="*/ 18 h 256"/>
                <a:gd name="T2" fmla="*/ 235 w 236"/>
                <a:gd name="T3" fmla="*/ 7 h 256"/>
                <a:gd name="T4" fmla="*/ 225 w 236"/>
                <a:gd name="T5" fmla="*/ 0 h 256"/>
                <a:gd name="T6" fmla="*/ 11 w 236"/>
                <a:gd name="T7" fmla="*/ 0 h 256"/>
                <a:gd name="T8" fmla="*/ 1 w 236"/>
                <a:gd name="T9" fmla="*/ 7 h 256"/>
                <a:gd name="T10" fmla="*/ 4 w 236"/>
                <a:gd name="T11" fmla="*/ 18 h 256"/>
                <a:gd name="T12" fmla="*/ 107 w 236"/>
                <a:gd name="T13" fmla="*/ 122 h 256"/>
                <a:gd name="T14" fmla="*/ 107 w 236"/>
                <a:gd name="T15" fmla="*/ 235 h 256"/>
                <a:gd name="T16" fmla="*/ 54 w 236"/>
                <a:gd name="T17" fmla="*/ 235 h 256"/>
                <a:gd name="T18" fmla="*/ 43 w 236"/>
                <a:gd name="T19" fmla="*/ 245 h 256"/>
                <a:gd name="T20" fmla="*/ 54 w 236"/>
                <a:gd name="T21" fmla="*/ 256 h 256"/>
                <a:gd name="T22" fmla="*/ 182 w 236"/>
                <a:gd name="T23" fmla="*/ 256 h 256"/>
                <a:gd name="T24" fmla="*/ 193 w 236"/>
                <a:gd name="T25" fmla="*/ 245 h 256"/>
                <a:gd name="T26" fmla="*/ 182 w 236"/>
                <a:gd name="T27" fmla="*/ 235 h 256"/>
                <a:gd name="T28" fmla="*/ 129 w 236"/>
                <a:gd name="T29" fmla="*/ 235 h 256"/>
                <a:gd name="T30" fmla="*/ 129 w 236"/>
                <a:gd name="T31" fmla="*/ 122 h 256"/>
                <a:gd name="T32" fmla="*/ 232 w 236"/>
                <a:gd name="T33" fmla="*/ 18 h 256"/>
                <a:gd name="T34" fmla="*/ 199 w 236"/>
                <a:gd name="T35" fmla="*/ 21 h 256"/>
                <a:gd name="T36" fmla="*/ 118 w 236"/>
                <a:gd name="T37" fmla="*/ 102 h 256"/>
                <a:gd name="T38" fmla="*/ 37 w 236"/>
                <a:gd name="T39" fmla="*/ 21 h 256"/>
                <a:gd name="T40" fmla="*/ 199 w 236"/>
                <a:gd name="T41" fmla="*/ 2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6" h="256">
                  <a:moveTo>
                    <a:pt x="232" y="18"/>
                  </a:moveTo>
                  <a:cubicBezTo>
                    <a:pt x="235" y="15"/>
                    <a:pt x="236" y="11"/>
                    <a:pt x="235" y="7"/>
                  </a:cubicBezTo>
                  <a:cubicBezTo>
                    <a:pt x="233" y="3"/>
                    <a:pt x="229" y="0"/>
                    <a:pt x="22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3" y="3"/>
                    <a:pt x="1" y="7"/>
                  </a:cubicBezTo>
                  <a:cubicBezTo>
                    <a:pt x="0" y="11"/>
                    <a:pt x="1" y="15"/>
                    <a:pt x="4" y="18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235"/>
                    <a:pt x="107" y="235"/>
                    <a:pt x="107" y="235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48" y="235"/>
                    <a:pt x="43" y="239"/>
                    <a:pt x="43" y="245"/>
                  </a:cubicBezTo>
                  <a:cubicBezTo>
                    <a:pt x="43" y="251"/>
                    <a:pt x="48" y="256"/>
                    <a:pt x="54" y="256"/>
                  </a:cubicBezTo>
                  <a:cubicBezTo>
                    <a:pt x="182" y="256"/>
                    <a:pt x="182" y="256"/>
                    <a:pt x="182" y="256"/>
                  </a:cubicBezTo>
                  <a:cubicBezTo>
                    <a:pt x="188" y="256"/>
                    <a:pt x="193" y="251"/>
                    <a:pt x="193" y="245"/>
                  </a:cubicBezTo>
                  <a:cubicBezTo>
                    <a:pt x="193" y="239"/>
                    <a:pt x="188" y="235"/>
                    <a:pt x="182" y="235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9" y="122"/>
                    <a:pt x="129" y="122"/>
                    <a:pt x="129" y="122"/>
                  </a:cubicBezTo>
                  <a:lnTo>
                    <a:pt x="232" y="18"/>
                  </a:lnTo>
                  <a:close/>
                  <a:moveTo>
                    <a:pt x="199" y="21"/>
                  </a:moveTo>
                  <a:cubicBezTo>
                    <a:pt x="118" y="102"/>
                    <a:pt x="118" y="102"/>
                    <a:pt x="118" y="102"/>
                  </a:cubicBezTo>
                  <a:cubicBezTo>
                    <a:pt x="37" y="21"/>
                    <a:pt x="37" y="21"/>
                    <a:pt x="37" y="21"/>
                  </a:cubicBezTo>
                  <a:lnTo>
                    <a:pt x="19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14"/>
          <p:cNvSpPr>
            <a:spLocks noChangeAspect="1" noEditPoints="1"/>
          </p:cNvSpPr>
          <p:nvPr/>
        </p:nvSpPr>
        <p:spPr bwMode="auto">
          <a:xfrm>
            <a:off x="4415419" y="2051054"/>
            <a:ext cx="368713" cy="367631"/>
          </a:xfrm>
          <a:custGeom>
            <a:avLst/>
            <a:gdLst>
              <a:gd name="T0" fmla="*/ 380 w 512"/>
              <a:gd name="T1" fmla="*/ 293 h 512"/>
              <a:gd name="T2" fmla="*/ 380 w 512"/>
              <a:gd name="T3" fmla="*/ 265 h 512"/>
              <a:gd name="T4" fmla="*/ 138 w 512"/>
              <a:gd name="T5" fmla="*/ 259 h 512"/>
              <a:gd name="T6" fmla="*/ 341 w 512"/>
              <a:gd name="T7" fmla="*/ 259 h 512"/>
              <a:gd name="T8" fmla="*/ 138 w 512"/>
              <a:gd name="T9" fmla="*/ 245 h 512"/>
              <a:gd name="T10" fmla="*/ 512 w 512"/>
              <a:gd name="T11" fmla="*/ 256 h 512"/>
              <a:gd name="T12" fmla="*/ 0 w 512"/>
              <a:gd name="T13" fmla="*/ 256 h 512"/>
              <a:gd name="T14" fmla="*/ 512 w 512"/>
              <a:gd name="T15" fmla="*/ 256 h 512"/>
              <a:gd name="T16" fmla="*/ 305 w 512"/>
              <a:gd name="T17" fmla="*/ 186 h 512"/>
              <a:gd name="T18" fmla="*/ 314 w 512"/>
              <a:gd name="T19" fmla="*/ 203 h 512"/>
              <a:gd name="T20" fmla="*/ 323 w 512"/>
              <a:gd name="T21" fmla="*/ 148 h 512"/>
              <a:gd name="T22" fmla="*/ 321 w 512"/>
              <a:gd name="T23" fmla="*/ 109 h 512"/>
              <a:gd name="T24" fmla="*/ 305 w 512"/>
              <a:gd name="T25" fmla="*/ 160 h 512"/>
              <a:gd name="T26" fmla="*/ 231 w 512"/>
              <a:gd name="T27" fmla="*/ 186 h 512"/>
              <a:gd name="T28" fmla="*/ 239 w 512"/>
              <a:gd name="T29" fmla="*/ 203 h 512"/>
              <a:gd name="T30" fmla="*/ 248 w 512"/>
              <a:gd name="T31" fmla="*/ 148 h 512"/>
              <a:gd name="T32" fmla="*/ 246 w 512"/>
              <a:gd name="T33" fmla="*/ 109 h 512"/>
              <a:gd name="T34" fmla="*/ 230 w 512"/>
              <a:gd name="T35" fmla="*/ 160 h 512"/>
              <a:gd name="T36" fmla="*/ 156 w 512"/>
              <a:gd name="T37" fmla="*/ 186 h 512"/>
              <a:gd name="T38" fmla="*/ 164 w 512"/>
              <a:gd name="T39" fmla="*/ 203 h 512"/>
              <a:gd name="T40" fmla="*/ 173 w 512"/>
              <a:gd name="T41" fmla="*/ 148 h 512"/>
              <a:gd name="T42" fmla="*/ 171 w 512"/>
              <a:gd name="T43" fmla="*/ 109 h 512"/>
              <a:gd name="T44" fmla="*/ 155 w 512"/>
              <a:gd name="T45" fmla="*/ 160 h 512"/>
              <a:gd name="T46" fmla="*/ 380 w 512"/>
              <a:gd name="T47" fmla="*/ 243 h 512"/>
              <a:gd name="T48" fmla="*/ 362 w 512"/>
              <a:gd name="T49" fmla="*/ 234 h 512"/>
              <a:gd name="T50" fmla="*/ 128 w 512"/>
              <a:gd name="T51" fmla="*/ 224 h 512"/>
              <a:gd name="T52" fmla="*/ 117 w 512"/>
              <a:gd name="T53" fmla="*/ 259 h 512"/>
              <a:gd name="T54" fmla="*/ 128 w 512"/>
              <a:gd name="T55" fmla="*/ 373 h 512"/>
              <a:gd name="T56" fmla="*/ 128 w 512"/>
              <a:gd name="T57" fmla="*/ 394 h 512"/>
              <a:gd name="T58" fmla="*/ 394 w 512"/>
              <a:gd name="T59" fmla="*/ 384 h 512"/>
              <a:gd name="T60" fmla="*/ 290 w 512"/>
              <a:gd name="T61" fmla="*/ 373 h 512"/>
              <a:gd name="T62" fmla="*/ 380 w 512"/>
              <a:gd name="T63" fmla="*/ 31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394" y="279"/>
                </a:moveTo>
                <a:cubicBezTo>
                  <a:pt x="394" y="286"/>
                  <a:pt x="388" y="293"/>
                  <a:pt x="380" y="293"/>
                </a:cubicBezTo>
                <a:cubicBezTo>
                  <a:pt x="372" y="293"/>
                  <a:pt x="366" y="286"/>
                  <a:pt x="366" y="279"/>
                </a:cubicBezTo>
                <a:cubicBezTo>
                  <a:pt x="366" y="271"/>
                  <a:pt x="372" y="265"/>
                  <a:pt x="380" y="265"/>
                </a:cubicBezTo>
                <a:cubicBezTo>
                  <a:pt x="388" y="265"/>
                  <a:pt x="394" y="271"/>
                  <a:pt x="394" y="279"/>
                </a:cubicBezTo>
                <a:close/>
                <a:moveTo>
                  <a:pt x="138" y="259"/>
                </a:moveTo>
                <a:cubicBezTo>
                  <a:pt x="138" y="317"/>
                  <a:pt x="183" y="362"/>
                  <a:pt x="240" y="362"/>
                </a:cubicBezTo>
                <a:cubicBezTo>
                  <a:pt x="296" y="362"/>
                  <a:pt x="341" y="317"/>
                  <a:pt x="341" y="259"/>
                </a:cubicBezTo>
                <a:cubicBezTo>
                  <a:pt x="341" y="245"/>
                  <a:pt x="341" y="245"/>
                  <a:pt x="341" y="245"/>
                </a:cubicBezTo>
                <a:cubicBezTo>
                  <a:pt x="138" y="245"/>
                  <a:pt x="138" y="245"/>
                  <a:pt x="138" y="245"/>
                </a:cubicBezTo>
                <a:lnTo>
                  <a:pt x="138" y="25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05" y="160"/>
                </a:moveTo>
                <a:cubicBezTo>
                  <a:pt x="314" y="174"/>
                  <a:pt x="306" y="185"/>
                  <a:pt x="305" y="186"/>
                </a:cubicBezTo>
                <a:cubicBezTo>
                  <a:pt x="302" y="190"/>
                  <a:pt x="302" y="197"/>
                  <a:pt x="307" y="201"/>
                </a:cubicBezTo>
                <a:cubicBezTo>
                  <a:pt x="309" y="202"/>
                  <a:pt x="311" y="203"/>
                  <a:pt x="314" y="203"/>
                </a:cubicBezTo>
                <a:cubicBezTo>
                  <a:pt x="317" y="203"/>
                  <a:pt x="320" y="202"/>
                  <a:pt x="322" y="199"/>
                </a:cubicBezTo>
                <a:cubicBezTo>
                  <a:pt x="323" y="198"/>
                  <a:pt x="340" y="176"/>
                  <a:pt x="323" y="148"/>
                </a:cubicBezTo>
                <a:cubicBezTo>
                  <a:pt x="314" y="134"/>
                  <a:pt x="321" y="125"/>
                  <a:pt x="322" y="124"/>
                </a:cubicBezTo>
                <a:cubicBezTo>
                  <a:pt x="326" y="119"/>
                  <a:pt x="325" y="113"/>
                  <a:pt x="321" y="109"/>
                </a:cubicBezTo>
                <a:cubicBezTo>
                  <a:pt x="316" y="105"/>
                  <a:pt x="310" y="106"/>
                  <a:pt x="306" y="110"/>
                </a:cubicBezTo>
                <a:cubicBezTo>
                  <a:pt x="305" y="111"/>
                  <a:pt x="287" y="132"/>
                  <a:pt x="305" y="160"/>
                </a:cubicBezTo>
                <a:close/>
                <a:moveTo>
                  <a:pt x="230" y="160"/>
                </a:moveTo>
                <a:cubicBezTo>
                  <a:pt x="239" y="174"/>
                  <a:pt x="231" y="185"/>
                  <a:pt x="231" y="186"/>
                </a:cubicBezTo>
                <a:cubicBezTo>
                  <a:pt x="227" y="190"/>
                  <a:pt x="228" y="197"/>
                  <a:pt x="232" y="201"/>
                </a:cubicBezTo>
                <a:cubicBezTo>
                  <a:pt x="234" y="202"/>
                  <a:pt x="237" y="203"/>
                  <a:pt x="239" y="203"/>
                </a:cubicBezTo>
                <a:cubicBezTo>
                  <a:pt x="242" y="203"/>
                  <a:pt x="245" y="202"/>
                  <a:pt x="247" y="199"/>
                </a:cubicBezTo>
                <a:cubicBezTo>
                  <a:pt x="248" y="198"/>
                  <a:pt x="265" y="176"/>
                  <a:pt x="248" y="148"/>
                </a:cubicBezTo>
                <a:cubicBezTo>
                  <a:pt x="239" y="134"/>
                  <a:pt x="246" y="125"/>
                  <a:pt x="247" y="124"/>
                </a:cubicBezTo>
                <a:cubicBezTo>
                  <a:pt x="251" y="119"/>
                  <a:pt x="250" y="113"/>
                  <a:pt x="246" y="109"/>
                </a:cubicBezTo>
                <a:cubicBezTo>
                  <a:pt x="242" y="105"/>
                  <a:pt x="235" y="106"/>
                  <a:pt x="231" y="110"/>
                </a:cubicBezTo>
                <a:cubicBezTo>
                  <a:pt x="230" y="111"/>
                  <a:pt x="212" y="132"/>
                  <a:pt x="230" y="160"/>
                </a:cubicBezTo>
                <a:close/>
                <a:moveTo>
                  <a:pt x="155" y="160"/>
                </a:moveTo>
                <a:cubicBezTo>
                  <a:pt x="164" y="174"/>
                  <a:pt x="157" y="185"/>
                  <a:pt x="156" y="186"/>
                </a:cubicBezTo>
                <a:cubicBezTo>
                  <a:pt x="152" y="190"/>
                  <a:pt x="153" y="197"/>
                  <a:pt x="158" y="201"/>
                </a:cubicBezTo>
                <a:cubicBezTo>
                  <a:pt x="160" y="202"/>
                  <a:pt x="162" y="203"/>
                  <a:pt x="164" y="203"/>
                </a:cubicBezTo>
                <a:cubicBezTo>
                  <a:pt x="167" y="203"/>
                  <a:pt x="171" y="202"/>
                  <a:pt x="173" y="199"/>
                </a:cubicBezTo>
                <a:cubicBezTo>
                  <a:pt x="173" y="198"/>
                  <a:pt x="191" y="176"/>
                  <a:pt x="173" y="148"/>
                </a:cubicBezTo>
                <a:cubicBezTo>
                  <a:pt x="165" y="134"/>
                  <a:pt x="172" y="125"/>
                  <a:pt x="172" y="124"/>
                </a:cubicBezTo>
                <a:cubicBezTo>
                  <a:pt x="176" y="119"/>
                  <a:pt x="176" y="113"/>
                  <a:pt x="171" y="109"/>
                </a:cubicBezTo>
                <a:cubicBezTo>
                  <a:pt x="167" y="105"/>
                  <a:pt x="160" y="106"/>
                  <a:pt x="156" y="110"/>
                </a:cubicBezTo>
                <a:cubicBezTo>
                  <a:pt x="156" y="111"/>
                  <a:pt x="138" y="132"/>
                  <a:pt x="155" y="160"/>
                </a:cubicBezTo>
                <a:close/>
                <a:moveTo>
                  <a:pt x="416" y="279"/>
                </a:moveTo>
                <a:cubicBezTo>
                  <a:pt x="416" y="259"/>
                  <a:pt x="400" y="243"/>
                  <a:pt x="380" y="243"/>
                </a:cubicBezTo>
                <a:cubicBezTo>
                  <a:pt x="374" y="243"/>
                  <a:pt x="368" y="245"/>
                  <a:pt x="362" y="248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2" y="228"/>
                  <a:pt x="358" y="224"/>
                  <a:pt x="352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2" y="224"/>
                  <a:pt x="117" y="228"/>
                  <a:pt x="117" y="234"/>
                </a:cubicBezTo>
                <a:cubicBezTo>
                  <a:pt x="117" y="259"/>
                  <a:pt x="117" y="259"/>
                  <a:pt x="117" y="259"/>
                </a:cubicBezTo>
                <a:cubicBezTo>
                  <a:pt x="117" y="311"/>
                  <a:pt x="147" y="354"/>
                  <a:pt x="190" y="373"/>
                </a:cubicBezTo>
                <a:cubicBezTo>
                  <a:pt x="128" y="373"/>
                  <a:pt x="128" y="373"/>
                  <a:pt x="128" y="373"/>
                </a:cubicBezTo>
                <a:cubicBezTo>
                  <a:pt x="122" y="373"/>
                  <a:pt x="117" y="378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378"/>
                  <a:pt x="390" y="373"/>
                  <a:pt x="384" y="373"/>
                </a:cubicBezTo>
                <a:cubicBezTo>
                  <a:pt x="290" y="373"/>
                  <a:pt x="290" y="373"/>
                  <a:pt x="290" y="373"/>
                </a:cubicBezTo>
                <a:cubicBezTo>
                  <a:pt x="320" y="360"/>
                  <a:pt x="343" y="335"/>
                  <a:pt x="355" y="303"/>
                </a:cubicBezTo>
                <a:cubicBezTo>
                  <a:pt x="361" y="310"/>
                  <a:pt x="370" y="314"/>
                  <a:pt x="380" y="314"/>
                </a:cubicBezTo>
                <a:cubicBezTo>
                  <a:pt x="400" y="314"/>
                  <a:pt x="416" y="298"/>
                  <a:pt x="416" y="2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17"/>
          <p:cNvGrpSpPr>
            <a:grpSpLocks noChangeAspect="1"/>
          </p:cNvGrpSpPr>
          <p:nvPr/>
        </p:nvGrpSpPr>
        <p:grpSpPr bwMode="auto">
          <a:xfrm>
            <a:off x="4913159" y="2051054"/>
            <a:ext cx="367631" cy="367631"/>
            <a:chOff x="2387" y="1141"/>
            <a:chExt cx="340" cy="340"/>
          </a:xfrm>
          <a:solidFill>
            <a:schemeClr val="accent1"/>
          </a:solidFill>
        </p:grpSpPr>
        <p:sp>
          <p:nvSpPr>
            <p:cNvPr id="274" name="Freeform 18"/>
            <p:cNvSpPr>
              <a:spLocks/>
            </p:cNvSpPr>
            <p:nvPr/>
          </p:nvSpPr>
          <p:spPr bwMode="auto">
            <a:xfrm>
              <a:off x="2479" y="1211"/>
              <a:ext cx="35" cy="65"/>
            </a:xfrm>
            <a:custGeom>
              <a:avLst/>
              <a:gdLst>
                <a:gd name="T0" fmla="*/ 18 w 53"/>
                <a:gd name="T1" fmla="*/ 81 h 98"/>
                <a:gd name="T2" fmla="*/ 20 w 53"/>
                <a:gd name="T3" fmla="*/ 96 h 98"/>
                <a:gd name="T4" fmla="*/ 26 w 53"/>
                <a:gd name="T5" fmla="*/ 98 h 98"/>
                <a:gd name="T6" fmla="*/ 35 w 53"/>
                <a:gd name="T7" fmla="*/ 94 h 98"/>
                <a:gd name="T8" fmla="*/ 35 w 53"/>
                <a:gd name="T9" fmla="*/ 43 h 98"/>
                <a:gd name="T10" fmla="*/ 34 w 53"/>
                <a:gd name="T11" fmla="*/ 19 h 98"/>
                <a:gd name="T12" fmla="*/ 33 w 53"/>
                <a:gd name="T13" fmla="*/ 4 h 98"/>
                <a:gd name="T14" fmla="*/ 18 w 53"/>
                <a:gd name="T15" fmla="*/ 5 h 98"/>
                <a:gd name="T16" fmla="*/ 17 w 53"/>
                <a:gd name="T17" fmla="*/ 55 h 98"/>
                <a:gd name="T18" fmla="*/ 18 w 53"/>
                <a:gd name="T19" fmla="*/ 8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98">
                  <a:moveTo>
                    <a:pt x="18" y="81"/>
                  </a:moveTo>
                  <a:cubicBezTo>
                    <a:pt x="14" y="85"/>
                    <a:pt x="15" y="92"/>
                    <a:pt x="20" y="96"/>
                  </a:cubicBezTo>
                  <a:cubicBezTo>
                    <a:pt x="22" y="97"/>
                    <a:pt x="24" y="98"/>
                    <a:pt x="26" y="98"/>
                  </a:cubicBezTo>
                  <a:cubicBezTo>
                    <a:pt x="29" y="98"/>
                    <a:pt x="33" y="97"/>
                    <a:pt x="35" y="94"/>
                  </a:cubicBezTo>
                  <a:cubicBezTo>
                    <a:pt x="35" y="93"/>
                    <a:pt x="53" y="71"/>
                    <a:pt x="35" y="43"/>
                  </a:cubicBezTo>
                  <a:cubicBezTo>
                    <a:pt x="27" y="29"/>
                    <a:pt x="34" y="20"/>
                    <a:pt x="34" y="19"/>
                  </a:cubicBezTo>
                  <a:cubicBezTo>
                    <a:pt x="38" y="14"/>
                    <a:pt x="38" y="8"/>
                    <a:pt x="33" y="4"/>
                  </a:cubicBezTo>
                  <a:cubicBezTo>
                    <a:pt x="29" y="0"/>
                    <a:pt x="22" y="1"/>
                    <a:pt x="18" y="5"/>
                  </a:cubicBezTo>
                  <a:cubicBezTo>
                    <a:pt x="18" y="6"/>
                    <a:pt x="0" y="27"/>
                    <a:pt x="17" y="55"/>
                  </a:cubicBezTo>
                  <a:cubicBezTo>
                    <a:pt x="26" y="69"/>
                    <a:pt x="19" y="80"/>
                    <a:pt x="18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19"/>
            <p:cNvSpPr>
              <a:spLocks/>
            </p:cNvSpPr>
            <p:nvPr/>
          </p:nvSpPr>
          <p:spPr bwMode="auto">
            <a:xfrm>
              <a:off x="2528" y="1211"/>
              <a:ext cx="35" cy="65"/>
            </a:xfrm>
            <a:custGeom>
              <a:avLst/>
              <a:gdLst>
                <a:gd name="T0" fmla="*/ 19 w 53"/>
                <a:gd name="T1" fmla="*/ 81 h 98"/>
                <a:gd name="T2" fmla="*/ 20 w 53"/>
                <a:gd name="T3" fmla="*/ 96 h 98"/>
                <a:gd name="T4" fmla="*/ 27 w 53"/>
                <a:gd name="T5" fmla="*/ 98 h 98"/>
                <a:gd name="T6" fmla="*/ 35 w 53"/>
                <a:gd name="T7" fmla="*/ 94 h 98"/>
                <a:gd name="T8" fmla="*/ 36 w 53"/>
                <a:gd name="T9" fmla="*/ 43 h 98"/>
                <a:gd name="T10" fmla="*/ 35 w 53"/>
                <a:gd name="T11" fmla="*/ 19 h 98"/>
                <a:gd name="T12" fmla="*/ 34 w 53"/>
                <a:gd name="T13" fmla="*/ 4 h 98"/>
                <a:gd name="T14" fmla="*/ 19 w 53"/>
                <a:gd name="T15" fmla="*/ 5 h 98"/>
                <a:gd name="T16" fmla="*/ 18 w 53"/>
                <a:gd name="T17" fmla="*/ 55 h 98"/>
                <a:gd name="T18" fmla="*/ 19 w 53"/>
                <a:gd name="T19" fmla="*/ 8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98">
                  <a:moveTo>
                    <a:pt x="19" y="81"/>
                  </a:moveTo>
                  <a:cubicBezTo>
                    <a:pt x="15" y="85"/>
                    <a:pt x="16" y="92"/>
                    <a:pt x="20" y="96"/>
                  </a:cubicBezTo>
                  <a:cubicBezTo>
                    <a:pt x="22" y="97"/>
                    <a:pt x="25" y="98"/>
                    <a:pt x="27" y="98"/>
                  </a:cubicBezTo>
                  <a:cubicBezTo>
                    <a:pt x="30" y="98"/>
                    <a:pt x="33" y="97"/>
                    <a:pt x="35" y="94"/>
                  </a:cubicBezTo>
                  <a:cubicBezTo>
                    <a:pt x="36" y="93"/>
                    <a:pt x="53" y="71"/>
                    <a:pt x="36" y="43"/>
                  </a:cubicBezTo>
                  <a:cubicBezTo>
                    <a:pt x="27" y="29"/>
                    <a:pt x="34" y="20"/>
                    <a:pt x="35" y="19"/>
                  </a:cubicBezTo>
                  <a:cubicBezTo>
                    <a:pt x="39" y="14"/>
                    <a:pt x="38" y="8"/>
                    <a:pt x="34" y="4"/>
                  </a:cubicBezTo>
                  <a:cubicBezTo>
                    <a:pt x="30" y="0"/>
                    <a:pt x="23" y="1"/>
                    <a:pt x="19" y="5"/>
                  </a:cubicBezTo>
                  <a:cubicBezTo>
                    <a:pt x="18" y="6"/>
                    <a:pt x="0" y="27"/>
                    <a:pt x="18" y="55"/>
                  </a:cubicBezTo>
                  <a:cubicBezTo>
                    <a:pt x="27" y="69"/>
                    <a:pt x="19" y="80"/>
                    <a:pt x="1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20"/>
            <p:cNvSpPr>
              <a:spLocks/>
            </p:cNvSpPr>
            <p:nvPr/>
          </p:nvSpPr>
          <p:spPr bwMode="auto">
            <a:xfrm>
              <a:off x="2578" y="1211"/>
              <a:ext cx="35" cy="65"/>
            </a:xfrm>
            <a:custGeom>
              <a:avLst/>
              <a:gdLst>
                <a:gd name="T0" fmla="*/ 18 w 53"/>
                <a:gd name="T1" fmla="*/ 81 h 98"/>
                <a:gd name="T2" fmla="*/ 20 w 53"/>
                <a:gd name="T3" fmla="*/ 96 h 98"/>
                <a:gd name="T4" fmla="*/ 27 w 53"/>
                <a:gd name="T5" fmla="*/ 98 h 98"/>
                <a:gd name="T6" fmla="*/ 35 w 53"/>
                <a:gd name="T7" fmla="*/ 94 h 98"/>
                <a:gd name="T8" fmla="*/ 36 w 53"/>
                <a:gd name="T9" fmla="*/ 43 h 98"/>
                <a:gd name="T10" fmla="*/ 35 w 53"/>
                <a:gd name="T11" fmla="*/ 19 h 98"/>
                <a:gd name="T12" fmla="*/ 34 w 53"/>
                <a:gd name="T13" fmla="*/ 4 h 98"/>
                <a:gd name="T14" fmla="*/ 19 w 53"/>
                <a:gd name="T15" fmla="*/ 5 h 98"/>
                <a:gd name="T16" fmla="*/ 18 w 53"/>
                <a:gd name="T17" fmla="*/ 55 h 98"/>
                <a:gd name="T18" fmla="*/ 18 w 53"/>
                <a:gd name="T19" fmla="*/ 8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98">
                  <a:moveTo>
                    <a:pt x="18" y="81"/>
                  </a:moveTo>
                  <a:cubicBezTo>
                    <a:pt x="15" y="85"/>
                    <a:pt x="15" y="92"/>
                    <a:pt x="20" y="96"/>
                  </a:cubicBezTo>
                  <a:cubicBezTo>
                    <a:pt x="22" y="97"/>
                    <a:pt x="24" y="98"/>
                    <a:pt x="27" y="98"/>
                  </a:cubicBezTo>
                  <a:cubicBezTo>
                    <a:pt x="30" y="98"/>
                    <a:pt x="33" y="97"/>
                    <a:pt x="35" y="94"/>
                  </a:cubicBezTo>
                  <a:cubicBezTo>
                    <a:pt x="36" y="93"/>
                    <a:pt x="53" y="71"/>
                    <a:pt x="36" y="43"/>
                  </a:cubicBezTo>
                  <a:cubicBezTo>
                    <a:pt x="27" y="29"/>
                    <a:pt x="34" y="20"/>
                    <a:pt x="35" y="19"/>
                  </a:cubicBezTo>
                  <a:cubicBezTo>
                    <a:pt x="39" y="14"/>
                    <a:pt x="38" y="8"/>
                    <a:pt x="34" y="4"/>
                  </a:cubicBezTo>
                  <a:cubicBezTo>
                    <a:pt x="29" y="0"/>
                    <a:pt x="23" y="1"/>
                    <a:pt x="19" y="5"/>
                  </a:cubicBezTo>
                  <a:cubicBezTo>
                    <a:pt x="18" y="6"/>
                    <a:pt x="0" y="27"/>
                    <a:pt x="18" y="55"/>
                  </a:cubicBezTo>
                  <a:cubicBezTo>
                    <a:pt x="27" y="69"/>
                    <a:pt x="19" y="80"/>
                    <a:pt x="18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Freeform 21"/>
            <p:cNvSpPr>
              <a:spLocks noEditPoints="1"/>
            </p:cNvSpPr>
            <p:nvPr/>
          </p:nvSpPr>
          <p:spPr bwMode="auto">
            <a:xfrm>
              <a:off x="2465" y="1290"/>
              <a:ext cx="198" cy="113"/>
            </a:xfrm>
            <a:custGeom>
              <a:avLst/>
              <a:gdLst>
                <a:gd name="T0" fmla="*/ 238 w 299"/>
                <a:gd name="T1" fmla="*/ 79 h 170"/>
                <a:gd name="T2" fmla="*/ 263 w 299"/>
                <a:gd name="T3" fmla="*/ 90 h 170"/>
                <a:gd name="T4" fmla="*/ 299 w 299"/>
                <a:gd name="T5" fmla="*/ 55 h 170"/>
                <a:gd name="T6" fmla="*/ 263 w 299"/>
                <a:gd name="T7" fmla="*/ 19 h 170"/>
                <a:gd name="T8" fmla="*/ 245 w 299"/>
                <a:gd name="T9" fmla="*/ 24 h 170"/>
                <a:gd name="T10" fmla="*/ 245 w 299"/>
                <a:gd name="T11" fmla="*/ 10 h 170"/>
                <a:gd name="T12" fmla="*/ 235 w 299"/>
                <a:gd name="T13" fmla="*/ 0 h 170"/>
                <a:gd name="T14" fmla="*/ 11 w 299"/>
                <a:gd name="T15" fmla="*/ 0 h 170"/>
                <a:gd name="T16" fmla="*/ 0 w 299"/>
                <a:gd name="T17" fmla="*/ 10 h 170"/>
                <a:gd name="T18" fmla="*/ 0 w 299"/>
                <a:gd name="T19" fmla="*/ 35 h 170"/>
                <a:gd name="T20" fmla="*/ 73 w 299"/>
                <a:gd name="T21" fmla="*/ 149 h 170"/>
                <a:gd name="T22" fmla="*/ 11 w 299"/>
                <a:gd name="T23" fmla="*/ 149 h 170"/>
                <a:gd name="T24" fmla="*/ 0 w 299"/>
                <a:gd name="T25" fmla="*/ 160 h 170"/>
                <a:gd name="T26" fmla="*/ 11 w 299"/>
                <a:gd name="T27" fmla="*/ 170 h 170"/>
                <a:gd name="T28" fmla="*/ 267 w 299"/>
                <a:gd name="T29" fmla="*/ 170 h 170"/>
                <a:gd name="T30" fmla="*/ 277 w 299"/>
                <a:gd name="T31" fmla="*/ 160 h 170"/>
                <a:gd name="T32" fmla="*/ 267 w 299"/>
                <a:gd name="T33" fmla="*/ 149 h 170"/>
                <a:gd name="T34" fmla="*/ 173 w 299"/>
                <a:gd name="T35" fmla="*/ 149 h 170"/>
                <a:gd name="T36" fmla="*/ 238 w 299"/>
                <a:gd name="T37" fmla="*/ 79 h 170"/>
                <a:gd name="T38" fmla="*/ 263 w 299"/>
                <a:gd name="T39" fmla="*/ 41 h 170"/>
                <a:gd name="T40" fmla="*/ 277 w 299"/>
                <a:gd name="T41" fmla="*/ 55 h 170"/>
                <a:gd name="T42" fmla="*/ 263 w 299"/>
                <a:gd name="T43" fmla="*/ 69 h 170"/>
                <a:gd name="T44" fmla="*/ 249 w 299"/>
                <a:gd name="T45" fmla="*/ 55 h 170"/>
                <a:gd name="T46" fmla="*/ 263 w 299"/>
                <a:gd name="T47" fmla="*/ 41 h 170"/>
                <a:gd name="T48" fmla="*/ 123 w 299"/>
                <a:gd name="T49" fmla="*/ 138 h 170"/>
                <a:gd name="T50" fmla="*/ 21 w 299"/>
                <a:gd name="T51" fmla="*/ 35 h 170"/>
                <a:gd name="T52" fmla="*/ 21 w 299"/>
                <a:gd name="T53" fmla="*/ 21 h 170"/>
                <a:gd name="T54" fmla="*/ 224 w 299"/>
                <a:gd name="T55" fmla="*/ 21 h 170"/>
                <a:gd name="T56" fmla="*/ 224 w 299"/>
                <a:gd name="T57" fmla="*/ 35 h 170"/>
                <a:gd name="T58" fmla="*/ 123 w 299"/>
                <a:gd name="T59" fmla="*/ 13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99" h="170">
                  <a:moveTo>
                    <a:pt x="238" y="79"/>
                  </a:moveTo>
                  <a:cubicBezTo>
                    <a:pt x="244" y="86"/>
                    <a:pt x="253" y="90"/>
                    <a:pt x="263" y="90"/>
                  </a:cubicBezTo>
                  <a:cubicBezTo>
                    <a:pt x="283" y="90"/>
                    <a:pt x="299" y="74"/>
                    <a:pt x="299" y="55"/>
                  </a:cubicBezTo>
                  <a:cubicBezTo>
                    <a:pt x="299" y="35"/>
                    <a:pt x="283" y="19"/>
                    <a:pt x="263" y="19"/>
                  </a:cubicBezTo>
                  <a:cubicBezTo>
                    <a:pt x="257" y="19"/>
                    <a:pt x="251" y="21"/>
                    <a:pt x="245" y="24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4"/>
                    <a:pt x="241" y="0"/>
                    <a:pt x="23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87"/>
                    <a:pt x="30" y="130"/>
                    <a:pt x="73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166"/>
                    <a:pt x="5" y="170"/>
                    <a:pt x="11" y="170"/>
                  </a:cubicBezTo>
                  <a:cubicBezTo>
                    <a:pt x="267" y="170"/>
                    <a:pt x="267" y="170"/>
                    <a:pt x="267" y="170"/>
                  </a:cubicBezTo>
                  <a:cubicBezTo>
                    <a:pt x="273" y="170"/>
                    <a:pt x="277" y="166"/>
                    <a:pt x="277" y="160"/>
                  </a:cubicBezTo>
                  <a:cubicBezTo>
                    <a:pt x="277" y="154"/>
                    <a:pt x="273" y="149"/>
                    <a:pt x="267" y="149"/>
                  </a:cubicBezTo>
                  <a:cubicBezTo>
                    <a:pt x="173" y="149"/>
                    <a:pt x="173" y="149"/>
                    <a:pt x="173" y="149"/>
                  </a:cubicBezTo>
                  <a:cubicBezTo>
                    <a:pt x="203" y="136"/>
                    <a:pt x="226" y="111"/>
                    <a:pt x="238" y="79"/>
                  </a:cubicBezTo>
                  <a:close/>
                  <a:moveTo>
                    <a:pt x="263" y="41"/>
                  </a:moveTo>
                  <a:cubicBezTo>
                    <a:pt x="271" y="41"/>
                    <a:pt x="277" y="47"/>
                    <a:pt x="277" y="55"/>
                  </a:cubicBezTo>
                  <a:cubicBezTo>
                    <a:pt x="277" y="62"/>
                    <a:pt x="271" y="69"/>
                    <a:pt x="263" y="69"/>
                  </a:cubicBezTo>
                  <a:cubicBezTo>
                    <a:pt x="255" y="69"/>
                    <a:pt x="249" y="62"/>
                    <a:pt x="249" y="55"/>
                  </a:cubicBezTo>
                  <a:cubicBezTo>
                    <a:pt x="249" y="47"/>
                    <a:pt x="255" y="41"/>
                    <a:pt x="263" y="41"/>
                  </a:cubicBezTo>
                  <a:close/>
                  <a:moveTo>
                    <a:pt x="123" y="138"/>
                  </a:moveTo>
                  <a:cubicBezTo>
                    <a:pt x="66" y="138"/>
                    <a:pt x="21" y="93"/>
                    <a:pt x="21" y="35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4" y="21"/>
                    <a:pt x="224" y="21"/>
                    <a:pt x="224" y="21"/>
                  </a:cubicBezTo>
                  <a:cubicBezTo>
                    <a:pt x="224" y="35"/>
                    <a:pt x="224" y="35"/>
                    <a:pt x="224" y="35"/>
                  </a:cubicBezTo>
                  <a:cubicBezTo>
                    <a:pt x="224" y="93"/>
                    <a:pt x="179" y="138"/>
                    <a:pt x="123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22"/>
            <p:cNvSpPr>
              <a:spLocks noEditPoints="1"/>
            </p:cNvSpPr>
            <p:nvPr/>
          </p:nvSpPr>
          <p:spPr bwMode="auto">
            <a:xfrm>
              <a:off x="2387" y="114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9" name="Freeform 159"/>
          <p:cNvSpPr>
            <a:spLocks noChangeAspect="1" noEditPoints="1"/>
          </p:cNvSpPr>
          <p:nvPr/>
        </p:nvSpPr>
        <p:spPr bwMode="auto">
          <a:xfrm>
            <a:off x="5409817" y="2051054"/>
            <a:ext cx="367631" cy="367631"/>
          </a:xfrm>
          <a:custGeom>
            <a:avLst/>
            <a:gdLst>
              <a:gd name="T0" fmla="*/ 288 w 512"/>
              <a:gd name="T1" fmla="*/ 220 h 512"/>
              <a:gd name="T2" fmla="*/ 320 w 512"/>
              <a:gd name="T3" fmla="*/ 129 h 512"/>
              <a:gd name="T4" fmla="*/ 320 w 512"/>
              <a:gd name="T5" fmla="*/ 394 h 512"/>
              <a:gd name="T6" fmla="*/ 299 w 512"/>
              <a:gd name="T7" fmla="*/ 384 h 512"/>
              <a:gd name="T8" fmla="*/ 309 w 512"/>
              <a:gd name="T9" fmla="*/ 246 h 512"/>
              <a:gd name="T10" fmla="*/ 306 w 512"/>
              <a:gd name="T11" fmla="*/ 238 h 512"/>
              <a:gd name="T12" fmla="*/ 288 w 512"/>
              <a:gd name="T13" fmla="*/ 220 h 512"/>
              <a:gd name="T14" fmla="*/ 512 w 512"/>
              <a:gd name="T15" fmla="*/ 256 h 512"/>
              <a:gd name="T16" fmla="*/ 256 w 512"/>
              <a:gd name="T17" fmla="*/ 512 h 512"/>
              <a:gd name="T18" fmla="*/ 0 w 512"/>
              <a:gd name="T19" fmla="*/ 256 h 512"/>
              <a:gd name="T20" fmla="*/ 256 w 512"/>
              <a:gd name="T21" fmla="*/ 0 h 512"/>
              <a:gd name="T22" fmla="*/ 512 w 512"/>
              <a:gd name="T23" fmla="*/ 256 h 512"/>
              <a:gd name="T24" fmla="*/ 181 w 512"/>
              <a:gd name="T25" fmla="*/ 160 h 512"/>
              <a:gd name="T26" fmla="*/ 192 w 512"/>
              <a:gd name="T27" fmla="*/ 171 h 512"/>
              <a:gd name="T28" fmla="*/ 203 w 512"/>
              <a:gd name="T29" fmla="*/ 160 h 512"/>
              <a:gd name="T30" fmla="*/ 203 w 512"/>
              <a:gd name="T31" fmla="*/ 107 h 512"/>
              <a:gd name="T32" fmla="*/ 192 w 512"/>
              <a:gd name="T33" fmla="*/ 96 h 512"/>
              <a:gd name="T34" fmla="*/ 181 w 512"/>
              <a:gd name="T35" fmla="*/ 107 h 512"/>
              <a:gd name="T36" fmla="*/ 181 w 512"/>
              <a:gd name="T37" fmla="*/ 160 h 512"/>
              <a:gd name="T38" fmla="*/ 245 w 512"/>
              <a:gd name="T39" fmla="*/ 107 h 512"/>
              <a:gd name="T40" fmla="*/ 235 w 512"/>
              <a:gd name="T41" fmla="*/ 96 h 512"/>
              <a:gd name="T42" fmla="*/ 224 w 512"/>
              <a:gd name="T43" fmla="*/ 107 h 512"/>
              <a:gd name="T44" fmla="*/ 224 w 512"/>
              <a:gd name="T45" fmla="*/ 171 h 512"/>
              <a:gd name="T46" fmla="*/ 213 w 512"/>
              <a:gd name="T47" fmla="*/ 182 h 512"/>
              <a:gd name="T48" fmla="*/ 203 w 512"/>
              <a:gd name="T49" fmla="*/ 192 h 512"/>
              <a:gd name="T50" fmla="*/ 203 w 512"/>
              <a:gd name="T51" fmla="*/ 384 h 512"/>
              <a:gd name="T52" fmla="*/ 192 w 512"/>
              <a:gd name="T53" fmla="*/ 395 h 512"/>
              <a:gd name="T54" fmla="*/ 181 w 512"/>
              <a:gd name="T55" fmla="*/ 384 h 512"/>
              <a:gd name="T56" fmla="*/ 181 w 512"/>
              <a:gd name="T57" fmla="*/ 192 h 512"/>
              <a:gd name="T58" fmla="*/ 171 w 512"/>
              <a:gd name="T59" fmla="*/ 182 h 512"/>
              <a:gd name="T60" fmla="*/ 160 w 512"/>
              <a:gd name="T61" fmla="*/ 171 h 512"/>
              <a:gd name="T62" fmla="*/ 160 w 512"/>
              <a:gd name="T63" fmla="*/ 107 h 512"/>
              <a:gd name="T64" fmla="*/ 149 w 512"/>
              <a:gd name="T65" fmla="*/ 96 h 512"/>
              <a:gd name="T66" fmla="*/ 139 w 512"/>
              <a:gd name="T67" fmla="*/ 107 h 512"/>
              <a:gd name="T68" fmla="*/ 139 w 512"/>
              <a:gd name="T69" fmla="*/ 171 h 512"/>
              <a:gd name="T70" fmla="*/ 160 w 512"/>
              <a:gd name="T71" fmla="*/ 201 h 512"/>
              <a:gd name="T72" fmla="*/ 160 w 512"/>
              <a:gd name="T73" fmla="*/ 385 h 512"/>
              <a:gd name="T74" fmla="*/ 192 w 512"/>
              <a:gd name="T75" fmla="*/ 416 h 512"/>
              <a:gd name="T76" fmla="*/ 192 w 512"/>
              <a:gd name="T77" fmla="*/ 416 h 512"/>
              <a:gd name="T78" fmla="*/ 192 w 512"/>
              <a:gd name="T79" fmla="*/ 416 h 512"/>
              <a:gd name="T80" fmla="*/ 224 w 512"/>
              <a:gd name="T81" fmla="*/ 384 h 512"/>
              <a:gd name="T82" fmla="*/ 224 w 512"/>
              <a:gd name="T83" fmla="*/ 201 h 512"/>
              <a:gd name="T84" fmla="*/ 245 w 512"/>
              <a:gd name="T85" fmla="*/ 171 h 512"/>
              <a:gd name="T86" fmla="*/ 245 w 512"/>
              <a:gd name="T87" fmla="*/ 107 h 512"/>
              <a:gd name="T88" fmla="*/ 341 w 512"/>
              <a:gd name="T89" fmla="*/ 107 h 512"/>
              <a:gd name="T90" fmla="*/ 336 w 512"/>
              <a:gd name="T91" fmla="*/ 98 h 512"/>
              <a:gd name="T92" fmla="*/ 326 w 512"/>
              <a:gd name="T93" fmla="*/ 98 h 512"/>
              <a:gd name="T94" fmla="*/ 267 w 512"/>
              <a:gd name="T95" fmla="*/ 224 h 512"/>
              <a:gd name="T96" fmla="*/ 270 w 512"/>
              <a:gd name="T97" fmla="*/ 232 h 512"/>
              <a:gd name="T98" fmla="*/ 288 w 512"/>
              <a:gd name="T99" fmla="*/ 250 h 512"/>
              <a:gd name="T100" fmla="*/ 277 w 512"/>
              <a:gd name="T101" fmla="*/ 384 h 512"/>
              <a:gd name="T102" fmla="*/ 331 w 512"/>
              <a:gd name="T103" fmla="*/ 416 h 512"/>
              <a:gd name="T104" fmla="*/ 341 w 512"/>
              <a:gd name="T105" fmla="*/ 406 h 512"/>
              <a:gd name="T106" fmla="*/ 341 w 512"/>
              <a:gd name="T107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88" y="220"/>
                </a:moveTo>
                <a:cubicBezTo>
                  <a:pt x="289" y="172"/>
                  <a:pt x="307" y="144"/>
                  <a:pt x="320" y="129"/>
                </a:cubicBezTo>
                <a:cubicBezTo>
                  <a:pt x="320" y="394"/>
                  <a:pt x="320" y="394"/>
                  <a:pt x="320" y="394"/>
                </a:cubicBezTo>
                <a:cubicBezTo>
                  <a:pt x="305" y="393"/>
                  <a:pt x="299" y="387"/>
                  <a:pt x="299" y="384"/>
                </a:cubicBezTo>
                <a:cubicBezTo>
                  <a:pt x="309" y="246"/>
                  <a:pt x="309" y="246"/>
                  <a:pt x="309" y="246"/>
                </a:cubicBezTo>
                <a:cubicBezTo>
                  <a:pt x="310" y="243"/>
                  <a:pt x="308" y="240"/>
                  <a:pt x="306" y="238"/>
                </a:cubicBezTo>
                <a:lnTo>
                  <a:pt x="288" y="220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181" y="160"/>
                </a:moveTo>
                <a:cubicBezTo>
                  <a:pt x="181" y="166"/>
                  <a:pt x="186" y="171"/>
                  <a:pt x="192" y="171"/>
                </a:cubicBezTo>
                <a:cubicBezTo>
                  <a:pt x="198" y="171"/>
                  <a:pt x="203" y="166"/>
                  <a:pt x="203" y="160"/>
                </a:cubicBezTo>
                <a:cubicBezTo>
                  <a:pt x="203" y="107"/>
                  <a:pt x="203" y="107"/>
                  <a:pt x="203" y="107"/>
                </a:cubicBezTo>
                <a:cubicBezTo>
                  <a:pt x="203" y="101"/>
                  <a:pt x="198" y="96"/>
                  <a:pt x="192" y="96"/>
                </a:cubicBezTo>
                <a:cubicBezTo>
                  <a:pt x="186" y="96"/>
                  <a:pt x="181" y="101"/>
                  <a:pt x="181" y="107"/>
                </a:cubicBezTo>
                <a:lnTo>
                  <a:pt x="181" y="160"/>
                </a:lnTo>
                <a:close/>
                <a:moveTo>
                  <a:pt x="245" y="107"/>
                </a:moveTo>
                <a:cubicBezTo>
                  <a:pt x="245" y="101"/>
                  <a:pt x="241" y="96"/>
                  <a:pt x="235" y="96"/>
                </a:cubicBezTo>
                <a:cubicBezTo>
                  <a:pt x="229" y="96"/>
                  <a:pt x="224" y="101"/>
                  <a:pt x="224" y="107"/>
                </a:cubicBezTo>
                <a:cubicBezTo>
                  <a:pt x="224" y="171"/>
                  <a:pt x="224" y="171"/>
                  <a:pt x="224" y="171"/>
                </a:cubicBezTo>
                <a:cubicBezTo>
                  <a:pt x="224" y="176"/>
                  <a:pt x="222" y="182"/>
                  <a:pt x="213" y="182"/>
                </a:cubicBezTo>
                <a:cubicBezTo>
                  <a:pt x="207" y="182"/>
                  <a:pt x="203" y="186"/>
                  <a:pt x="203" y="192"/>
                </a:cubicBezTo>
                <a:cubicBezTo>
                  <a:pt x="203" y="384"/>
                  <a:pt x="203" y="384"/>
                  <a:pt x="203" y="384"/>
                </a:cubicBezTo>
                <a:cubicBezTo>
                  <a:pt x="203" y="388"/>
                  <a:pt x="201" y="395"/>
                  <a:pt x="192" y="395"/>
                </a:cubicBezTo>
                <a:cubicBezTo>
                  <a:pt x="183" y="395"/>
                  <a:pt x="182" y="388"/>
                  <a:pt x="181" y="384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181" y="186"/>
                  <a:pt x="177" y="182"/>
                  <a:pt x="171" y="182"/>
                </a:cubicBezTo>
                <a:cubicBezTo>
                  <a:pt x="162" y="182"/>
                  <a:pt x="160" y="176"/>
                  <a:pt x="160" y="171"/>
                </a:cubicBezTo>
                <a:cubicBezTo>
                  <a:pt x="160" y="107"/>
                  <a:pt x="160" y="107"/>
                  <a:pt x="160" y="107"/>
                </a:cubicBezTo>
                <a:cubicBezTo>
                  <a:pt x="160" y="101"/>
                  <a:pt x="155" y="96"/>
                  <a:pt x="149" y="96"/>
                </a:cubicBezTo>
                <a:cubicBezTo>
                  <a:pt x="143" y="96"/>
                  <a:pt x="139" y="101"/>
                  <a:pt x="139" y="107"/>
                </a:cubicBezTo>
                <a:cubicBezTo>
                  <a:pt x="139" y="171"/>
                  <a:pt x="139" y="171"/>
                  <a:pt x="139" y="171"/>
                </a:cubicBezTo>
                <a:cubicBezTo>
                  <a:pt x="139" y="182"/>
                  <a:pt x="149" y="197"/>
                  <a:pt x="160" y="201"/>
                </a:cubicBezTo>
                <a:cubicBezTo>
                  <a:pt x="160" y="385"/>
                  <a:pt x="160" y="385"/>
                  <a:pt x="160" y="385"/>
                </a:cubicBezTo>
                <a:cubicBezTo>
                  <a:pt x="160" y="397"/>
                  <a:pt x="169" y="416"/>
                  <a:pt x="192" y="416"/>
                </a:cubicBezTo>
                <a:cubicBezTo>
                  <a:pt x="192" y="416"/>
                  <a:pt x="192" y="416"/>
                  <a:pt x="192" y="416"/>
                </a:cubicBezTo>
                <a:cubicBezTo>
                  <a:pt x="192" y="416"/>
                  <a:pt x="192" y="416"/>
                  <a:pt x="192" y="416"/>
                </a:cubicBezTo>
                <a:cubicBezTo>
                  <a:pt x="215" y="416"/>
                  <a:pt x="224" y="397"/>
                  <a:pt x="224" y="384"/>
                </a:cubicBezTo>
                <a:cubicBezTo>
                  <a:pt x="224" y="201"/>
                  <a:pt x="224" y="201"/>
                  <a:pt x="224" y="201"/>
                </a:cubicBezTo>
                <a:cubicBezTo>
                  <a:pt x="239" y="197"/>
                  <a:pt x="245" y="182"/>
                  <a:pt x="245" y="171"/>
                </a:cubicBezTo>
                <a:lnTo>
                  <a:pt x="245" y="107"/>
                </a:lnTo>
                <a:close/>
                <a:moveTo>
                  <a:pt x="341" y="107"/>
                </a:moveTo>
                <a:cubicBezTo>
                  <a:pt x="341" y="103"/>
                  <a:pt x="339" y="100"/>
                  <a:pt x="336" y="98"/>
                </a:cubicBezTo>
                <a:cubicBezTo>
                  <a:pt x="333" y="96"/>
                  <a:pt x="329" y="96"/>
                  <a:pt x="326" y="98"/>
                </a:cubicBezTo>
                <a:cubicBezTo>
                  <a:pt x="323" y="99"/>
                  <a:pt x="267" y="130"/>
                  <a:pt x="267" y="224"/>
                </a:cubicBezTo>
                <a:cubicBezTo>
                  <a:pt x="267" y="227"/>
                  <a:pt x="268" y="230"/>
                  <a:pt x="270" y="232"/>
                </a:cubicBezTo>
                <a:cubicBezTo>
                  <a:pt x="288" y="250"/>
                  <a:pt x="288" y="250"/>
                  <a:pt x="288" y="250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86"/>
                  <a:pt x="278" y="416"/>
                  <a:pt x="331" y="416"/>
                </a:cubicBezTo>
                <a:cubicBezTo>
                  <a:pt x="337" y="416"/>
                  <a:pt x="341" y="412"/>
                  <a:pt x="341" y="406"/>
                </a:cubicBezTo>
                <a:lnTo>
                  <a:pt x="341" y="10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0" name="Group 162"/>
          <p:cNvGrpSpPr>
            <a:grpSpLocks noChangeAspect="1"/>
          </p:cNvGrpSpPr>
          <p:nvPr/>
        </p:nvGrpSpPr>
        <p:grpSpPr bwMode="auto">
          <a:xfrm>
            <a:off x="5906475" y="2051054"/>
            <a:ext cx="367631" cy="367631"/>
            <a:chOff x="3425" y="1699"/>
            <a:chExt cx="340" cy="340"/>
          </a:xfrm>
          <a:solidFill>
            <a:schemeClr val="accent2"/>
          </a:solidFill>
        </p:grpSpPr>
        <p:sp>
          <p:nvSpPr>
            <p:cNvPr id="281" name="Freeform 163"/>
            <p:cNvSpPr>
              <a:spLocks noEditPoints="1"/>
            </p:cNvSpPr>
            <p:nvPr/>
          </p:nvSpPr>
          <p:spPr bwMode="auto">
            <a:xfrm>
              <a:off x="3517" y="1763"/>
              <a:ext cx="134" cy="212"/>
            </a:xfrm>
            <a:custGeom>
              <a:avLst/>
              <a:gdLst>
                <a:gd name="T0" fmla="*/ 42 w 202"/>
                <a:gd name="T1" fmla="*/ 64 h 320"/>
                <a:gd name="T2" fmla="*/ 42 w 202"/>
                <a:gd name="T3" fmla="*/ 11 h 320"/>
                <a:gd name="T4" fmla="*/ 53 w 202"/>
                <a:gd name="T5" fmla="*/ 0 h 320"/>
                <a:gd name="T6" fmla="*/ 64 w 202"/>
                <a:gd name="T7" fmla="*/ 11 h 320"/>
                <a:gd name="T8" fmla="*/ 64 w 202"/>
                <a:gd name="T9" fmla="*/ 64 h 320"/>
                <a:gd name="T10" fmla="*/ 53 w 202"/>
                <a:gd name="T11" fmla="*/ 75 h 320"/>
                <a:gd name="T12" fmla="*/ 42 w 202"/>
                <a:gd name="T13" fmla="*/ 64 h 320"/>
                <a:gd name="T14" fmla="*/ 202 w 202"/>
                <a:gd name="T15" fmla="*/ 11 h 320"/>
                <a:gd name="T16" fmla="*/ 202 w 202"/>
                <a:gd name="T17" fmla="*/ 310 h 320"/>
                <a:gd name="T18" fmla="*/ 192 w 202"/>
                <a:gd name="T19" fmla="*/ 320 h 320"/>
                <a:gd name="T20" fmla="*/ 138 w 202"/>
                <a:gd name="T21" fmla="*/ 288 h 320"/>
                <a:gd name="T22" fmla="*/ 149 w 202"/>
                <a:gd name="T23" fmla="*/ 154 h 320"/>
                <a:gd name="T24" fmla="*/ 131 w 202"/>
                <a:gd name="T25" fmla="*/ 136 h 320"/>
                <a:gd name="T26" fmla="*/ 128 w 202"/>
                <a:gd name="T27" fmla="*/ 128 h 320"/>
                <a:gd name="T28" fmla="*/ 187 w 202"/>
                <a:gd name="T29" fmla="*/ 2 h 320"/>
                <a:gd name="T30" fmla="*/ 197 w 202"/>
                <a:gd name="T31" fmla="*/ 2 h 320"/>
                <a:gd name="T32" fmla="*/ 202 w 202"/>
                <a:gd name="T33" fmla="*/ 11 h 320"/>
                <a:gd name="T34" fmla="*/ 181 w 202"/>
                <a:gd name="T35" fmla="*/ 33 h 320"/>
                <a:gd name="T36" fmla="*/ 149 w 202"/>
                <a:gd name="T37" fmla="*/ 124 h 320"/>
                <a:gd name="T38" fmla="*/ 167 w 202"/>
                <a:gd name="T39" fmla="*/ 142 h 320"/>
                <a:gd name="T40" fmla="*/ 170 w 202"/>
                <a:gd name="T41" fmla="*/ 150 h 320"/>
                <a:gd name="T42" fmla="*/ 160 w 202"/>
                <a:gd name="T43" fmla="*/ 288 h 320"/>
                <a:gd name="T44" fmla="*/ 181 w 202"/>
                <a:gd name="T45" fmla="*/ 298 h 320"/>
                <a:gd name="T46" fmla="*/ 181 w 202"/>
                <a:gd name="T47" fmla="*/ 33 h 320"/>
                <a:gd name="T48" fmla="*/ 96 w 202"/>
                <a:gd name="T49" fmla="*/ 0 h 320"/>
                <a:gd name="T50" fmla="*/ 85 w 202"/>
                <a:gd name="T51" fmla="*/ 11 h 320"/>
                <a:gd name="T52" fmla="*/ 85 w 202"/>
                <a:gd name="T53" fmla="*/ 75 h 320"/>
                <a:gd name="T54" fmla="*/ 74 w 202"/>
                <a:gd name="T55" fmla="*/ 86 h 320"/>
                <a:gd name="T56" fmla="*/ 64 w 202"/>
                <a:gd name="T57" fmla="*/ 96 h 320"/>
                <a:gd name="T58" fmla="*/ 64 w 202"/>
                <a:gd name="T59" fmla="*/ 288 h 320"/>
                <a:gd name="T60" fmla="*/ 53 w 202"/>
                <a:gd name="T61" fmla="*/ 299 h 320"/>
                <a:gd name="T62" fmla="*/ 42 w 202"/>
                <a:gd name="T63" fmla="*/ 288 h 320"/>
                <a:gd name="T64" fmla="*/ 42 w 202"/>
                <a:gd name="T65" fmla="*/ 96 h 320"/>
                <a:gd name="T66" fmla="*/ 32 w 202"/>
                <a:gd name="T67" fmla="*/ 86 h 320"/>
                <a:gd name="T68" fmla="*/ 21 w 202"/>
                <a:gd name="T69" fmla="*/ 75 h 320"/>
                <a:gd name="T70" fmla="*/ 21 w 202"/>
                <a:gd name="T71" fmla="*/ 11 h 320"/>
                <a:gd name="T72" fmla="*/ 10 w 202"/>
                <a:gd name="T73" fmla="*/ 0 h 320"/>
                <a:gd name="T74" fmla="*/ 0 w 202"/>
                <a:gd name="T75" fmla="*/ 11 h 320"/>
                <a:gd name="T76" fmla="*/ 0 w 202"/>
                <a:gd name="T77" fmla="*/ 75 h 320"/>
                <a:gd name="T78" fmla="*/ 21 w 202"/>
                <a:gd name="T79" fmla="*/ 105 h 320"/>
                <a:gd name="T80" fmla="*/ 21 w 202"/>
                <a:gd name="T81" fmla="*/ 289 h 320"/>
                <a:gd name="T82" fmla="*/ 53 w 202"/>
                <a:gd name="T83" fmla="*/ 320 h 320"/>
                <a:gd name="T84" fmla="*/ 53 w 202"/>
                <a:gd name="T85" fmla="*/ 320 h 320"/>
                <a:gd name="T86" fmla="*/ 53 w 202"/>
                <a:gd name="T87" fmla="*/ 320 h 320"/>
                <a:gd name="T88" fmla="*/ 85 w 202"/>
                <a:gd name="T89" fmla="*/ 288 h 320"/>
                <a:gd name="T90" fmla="*/ 85 w 202"/>
                <a:gd name="T91" fmla="*/ 105 h 320"/>
                <a:gd name="T92" fmla="*/ 106 w 202"/>
                <a:gd name="T93" fmla="*/ 75 h 320"/>
                <a:gd name="T94" fmla="*/ 106 w 202"/>
                <a:gd name="T95" fmla="*/ 11 h 320"/>
                <a:gd name="T96" fmla="*/ 96 w 202"/>
                <a:gd name="T97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320">
                  <a:moveTo>
                    <a:pt x="42" y="64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2" y="5"/>
                    <a:pt x="47" y="0"/>
                    <a:pt x="53" y="0"/>
                  </a:cubicBezTo>
                  <a:cubicBezTo>
                    <a:pt x="59" y="0"/>
                    <a:pt x="64" y="5"/>
                    <a:pt x="64" y="11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70"/>
                    <a:pt x="59" y="75"/>
                    <a:pt x="53" y="75"/>
                  </a:cubicBezTo>
                  <a:cubicBezTo>
                    <a:pt x="47" y="75"/>
                    <a:pt x="42" y="70"/>
                    <a:pt x="42" y="64"/>
                  </a:cubicBezTo>
                  <a:close/>
                  <a:moveTo>
                    <a:pt x="202" y="11"/>
                  </a:moveTo>
                  <a:cubicBezTo>
                    <a:pt x="202" y="310"/>
                    <a:pt x="202" y="310"/>
                    <a:pt x="202" y="310"/>
                  </a:cubicBezTo>
                  <a:cubicBezTo>
                    <a:pt x="202" y="316"/>
                    <a:pt x="198" y="320"/>
                    <a:pt x="192" y="320"/>
                  </a:cubicBezTo>
                  <a:cubicBezTo>
                    <a:pt x="139" y="320"/>
                    <a:pt x="138" y="290"/>
                    <a:pt x="138" y="288"/>
                  </a:cubicBezTo>
                  <a:cubicBezTo>
                    <a:pt x="149" y="154"/>
                    <a:pt x="149" y="154"/>
                    <a:pt x="149" y="154"/>
                  </a:cubicBezTo>
                  <a:cubicBezTo>
                    <a:pt x="131" y="136"/>
                    <a:pt x="131" y="136"/>
                    <a:pt x="131" y="136"/>
                  </a:cubicBezTo>
                  <a:cubicBezTo>
                    <a:pt x="129" y="134"/>
                    <a:pt x="128" y="131"/>
                    <a:pt x="128" y="128"/>
                  </a:cubicBezTo>
                  <a:cubicBezTo>
                    <a:pt x="128" y="34"/>
                    <a:pt x="184" y="3"/>
                    <a:pt x="187" y="2"/>
                  </a:cubicBezTo>
                  <a:cubicBezTo>
                    <a:pt x="190" y="0"/>
                    <a:pt x="194" y="0"/>
                    <a:pt x="197" y="2"/>
                  </a:cubicBezTo>
                  <a:cubicBezTo>
                    <a:pt x="200" y="4"/>
                    <a:pt x="202" y="7"/>
                    <a:pt x="202" y="11"/>
                  </a:cubicBezTo>
                  <a:close/>
                  <a:moveTo>
                    <a:pt x="181" y="33"/>
                  </a:moveTo>
                  <a:cubicBezTo>
                    <a:pt x="168" y="48"/>
                    <a:pt x="150" y="76"/>
                    <a:pt x="149" y="124"/>
                  </a:cubicBezTo>
                  <a:cubicBezTo>
                    <a:pt x="167" y="142"/>
                    <a:pt x="167" y="142"/>
                    <a:pt x="167" y="142"/>
                  </a:cubicBezTo>
                  <a:cubicBezTo>
                    <a:pt x="169" y="144"/>
                    <a:pt x="171" y="147"/>
                    <a:pt x="170" y="150"/>
                  </a:cubicBezTo>
                  <a:cubicBezTo>
                    <a:pt x="160" y="288"/>
                    <a:pt x="160" y="288"/>
                    <a:pt x="160" y="288"/>
                  </a:cubicBezTo>
                  <a:cubicBezTo>
                    <a:pt x="160" y="291"/>
                    <a:pt x="166" y="297"/>
                    <a:pt x="181" y="298"/>
                  </a:cubicBezTo>
                  <a:lnTo>
                    <a:pt x="181" y="33"/>
                  </a:lnTo>
                  <a:close/>
                  <a:moveTo>
                    <a:pt x="96" y="0"/>
                  </a:moveTo>
                  <a:cubicBezTo>
                    <a:pt x="90" y="0"/>
                    <a:pt x="85" y="5"/>
                    <a:pt x="85" y="11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5" y="80"/>
                    <a:pt x="83" y="86"/>
                    <a:pt x="74" y="86"/>
                  </a:cubicBezTo>
                  <a:cubicBezTo>
                    <a:pt x="68" y="86"/>
                    <a:pt x="64" y="90"/>
                    <a:pt x="64" y="96"/>
                  </a:cubicBezTo>
                  <a:cubicBezTo>
                    <a:pt x="64" y="288"/>
                    <a:pt x="64" y="288"/>
                    <a:pt x="64" y="288"/>
                  </a:cubicBezTo>
                  <a:cubicBezTo>
                    <a:pt x="64" y="292"/>
                    <a:pt x="62" y="299"/>
                    <a:pt x="53" y="299"/>
                  </a:cubicBezTo>
                  <a:cubicBezTo>
                    <a:pt x="44" y="299"/>
                    <a:pt x="43" y="292"/>
                    <a:pt x="42" y="288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90"/>
                    <a:pt x="38" y="86"/>
                    <a:pt x="32" y="86"/>
                  </a:cubicBezTo>
                  <a:cubicBezTo>
                    <a:pt x="23" y="86"/>
                    <a:pt x="21" y="80"/>
                    <a:pt x="21" y="75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6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86"/>
                    <a:pt x="10" y="101"/>
                    <a:pt x="21" y="105"/>
                  </a:cubicBezTo>
                  <a:cubicBezTo>
                    <a:pt x="21" y="289"/>
                    <a:pt x="21" y="289"/>
                    <a:pt x="21" y="289"/>
                  </a:cubicBezTo>
                  <a:cubicBezTo>
                    <a:pt x="21" y="301"/>
                    <a:pt x="30" y="320"/>
                    <a:pt x="53" y="320"/>
                  </a:cubicBezTo>
                  <a:cubicBezTo>
                    <a:pt x="53" y="320"/>
                    <a:pt x="53" y="320"/>
                    <a:pt x="53" y="320"/>
                  </a:cubicBezTo>
                  <a:cubicBezTo>
                    <a:pt x="53" y="320"/>
                    <a:pt x="53" y="320"/>
                    <a:pt x="53" y="320"/>
                  </a:cubicBezTo>
                  <a:cubicBezTo>
                    <a:pt x="76" y="320"/>
                    <a:pt x="85" y="301"/>
                    <a:pt x="85" y="288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100" y="101"/>
                    <a:pt x="106" y="86"/>
                    <a:pt x="106" y="75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reeform 164"/>
            <p:cNvSpPr>
              <a:spLocks noEditPoints="1"/>
            </p:cNvSpPr>
            <p:nvPr/>
          </p:nvSpPr>
          <p:spPr bwMode="auto">
            <a:xfrm>
              <a:off x="3425" y="1699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3" name="Freeform 64"/>
          <p:cNvSpPr>
            <a:spLocks noChangeAspect="1" noEditPoints="1"/>
          </p:cNvSpPr>
          <p:nvPr/>
        </p:nvSpPr>
        <p:spPr bwMode="auto">
          <a:xfrm>
            <a:off x="6403133" y="2051051"/>
            <a:ext cx="368051" cy="368152"/>
          </a:xfrm>
          <a:custGeom>
            <a:avLst/>
            <a:gdLst>
              <a:gd name="T0" fmla="*/ 266 w 512"/>
              <a:gd name="T1" fmla="*/ 159 h 512"/>
              <a:gd name="T2" fmla="*/ 275 w 512"/>
              <a:gd name="T3" fmla="*/ 133 h 512"/>
              <a:gd name="T4" fmla="*/ 308 w 512"/>
              <a:gd name="T5" fmla="*/ 118 h 512"/>
              <a:gd name="T6" fmla="*/ 302 w 512"/>
              <a:gd name="T7" fmla="*/ 133 h 512"/>
              <a:gd name="T8" fmla="*/ 266 w 512"/>
              <a:gd name="T9" fmla="*/ 159 h 512"/>
              <a:gd name="T10" fmla="*/ 330 w 512"/>
              <a:gd name="T11" fmla="*/ 170 h 512"/>
              <a:gd name="T12" fmla="*/ 304 w 512"/>
              <a:gd name="T13" fmla="*/ 176 h 512"/>
              <a:gd name="T14" fmla="*/ 237 w 512"/>
              <a:gd name="T15" fmla="*/ 188 h 512"/>
              <a:gd name="T16" fmla="*/ 211 w 512"/>
              <a:gd name="T17" fmla="*/ 179 h 512"/>
              <a:gd name="T18" fmla="*/ 181 w 512"/>
              <a:gd name="T19" fmla="*/ 170 h 512"/>
              <a:gd name="T20" fmla="*/ 117 w 512"/>
              <a:gd name="T21" fmla="*/ 234 h 512"/>
              <a:gd name="T22" fmla="*/ 188 w 512"/>
              <a:gd name="T23" fmla="*/ 386 h 512"/>
              <a:gd name="T24" fmla="*/ 189 w 512"/>
              <a:gd name="T25" fmla="*/ 387 h 512"/>
              <a:gd name="T26" fmla="*/ 202 w 512"/>
              <a:gd name="T27" fmla="*/ 394 h 512"/>
              <a:gd name="T28" fmla="*/ 209 w 512"/>
              <a:gd name="T29" fmla="*/ 393 h 512"/>
              <a:gd name="T30" fmla="*/ 256 w 512"/>
              <a:gd name="T31" fmla="*/ 384 h 512"/>
              <a:gd name="T32" fmla="*/ 303 w 512"/>
              <a:gd name="T33" fmla="*/ 393 h 512"/>
              <a:gd name="T34" fmla="*/ 309 w 512"/>
              <a:gd name="T35" fmla="*/ 394 h 512"/>
              <a:gd name="T36" fmla="*/ 322 w 512"/>
              <a:gd name="T37" fmla="*/ 387 h 512"/>
              <a:gd name="T38" fmla="*/ 324 w 512"/>
              <a:gd name="T39" fmla="*/ 386 h 512"/>
              <a:gd name="T40" fmla="*/ 394 w 512"/>
              <a:gd name="T41" fmla="*/ 234 h 512"/>
              <a:gd name="T42" fmla="*/ 330 w 512"/>
              <a:gd name="T43" fmla="*/ 170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416 w 512"/>
              <a:gd name="T55" fmla="*/ 234 h 512"/>
              <a:gd name="T56" fmla="*/ 330 w 512"/>
              <a:gd name="T57" fmla="*/ 149 h 512"/>
              <a:gd name="T58" fmla="*/ 317 w 512"/>
              <a:gd name="T59" fmla="*/ 150 h 512"/>
              <a:gd name="T60" fmla="*/ 321 w 512"/>
              <a:gd name="T61" fmla="*/ 143 h 512"/>
              <a:gd name="T62" fmla="*/ 330 w 512"/>
              <a:gd name="T63" fmla="*/ 106 h 512"/>
              <a:gd name="T64" fmla="*/ 320 w 512"/>
              <a:gd name="T65" fmla="*/ 96 h 512"/>
              <a:gd name="T66" fmla="*/ 259 w 512"/>
              <a:gd name="T67" fmla="*/ 119 h 512"/>
              <a:gd name="T68" fmla="*/ 254 w 512"/>
              <a:gd name="T69" fmla="*/ 125 h 512"/>
              <a:gd name="T70" fmla="*/ 229 w 512"/>
              <a:gd name="T71" fmla="*/ 97 h 512"/>
              <a:gd name="T72" fmla="*/ 215 w 512"/>
              <a:gd name="T73" fmla="*/ 101 h 512"/>
              <a:gd name="T74" fmla="*/ 218 w 512"/>
              <a:gd name="T75" fmla="*/ 115 h 512"/>
              <a:gd name="T76" fmla="*/ 244 w 512"/>
              <a:gd name="T77" fmla="*/ 161 h 512"/>
              <a:gd name="T78" fmla="*/ 245 w 512"/>
              <a:gd name="T79" fmla="*/ 168 h 512"/>
              <a:gd name="T80" fmla="*/ 242 w 512"/>
              <a:gd name="T81" fmla="*/ 167 h 512"/>
              <a:gd name="T82" fmla="*/ 220 w 512"/>
              <a:gd name="T83" fmla="*/ 160 h 512"/>
              <a:gd name="T84" fmla="*/ 181 w 512"/>
              <a:gd name="T85" fmla="*/ 149 h 512"/>
              <a:gd name="T86" fmla="*/ 96 w 512"/>
              <a:gd name="T87" fmla="*/ 234 h 512"/>
              <a:gd name="T88" fmla="*/ 174 w 512"/>
              <a:gd name="T89" fmla="*/ 402 h 512"/>
              <a:gd name="T90" fmla="*/ 202 w 512"/>
              <a:gd name="T91" fmla="*/ 416 h 512"/>
              <a:gd name="T92" fmla="*/ 217 w 512"/>
              <a:gd name="T93" fmla="*/ 413 h 512"/>
              <a:gd name="T94" fmla="*/ 256 w 512"/>
              <a:gd name="T95" fmla="*/ 405 h 512"/>
              <a:gd name="T96" fmla="*/ 295 w 512"/>
              <a:gd name="T97" fmla="*/ 413 h 512"/>
              <a:gd name="T98" fmla="*/ 309 w 512"/>
              <a:gd name="T99" fmla="*/ 416 h 512"/>
              <a:gd name="T100" fmla="*/ 338 w 512"/>
              <a:gd name="T101" fmla="*/ 402 h 512"/>
              <a:gd name="T102" fmla="*/ 416 w 512"/>
              <a:gd name="T10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266" y="159"/>
                </a:moveTo>
                <a:cubicBezTo>
                  <a:pt x="266" y="151"/>
                  <a:pt x="268" y="141"/>
                  <a:pt x="275" y="133"/>
                </a:cubicBezTo>
                <a:cubicBezTo>
                  <a:pt x="282" y="124"/>
                  <a:pt x="293" y="119"/>
                  <a:pt x="308" y="118"/>
                </a:cubicBezTo>
                <a:cubicBezTo>
                  <a:pt x="307" y="122"/>
                  <a:pt x="305" y="128"/>
                  <a:pt x="302" y="133"/>
                </a:cubicBezTo>
                <a:cubicBezTo>
                  <a:pt x="295" y="148"/>
                  <a:pt x="283" y="157"/>
                  <a:pt x="266" y="159"/>
                </a:cubicBezTo>
                <a:close/>
                <a:moveTo>
                  <a:pt x="330" y="170"/>
                </a:moveTo>
                <a:cubicBezTo>
                  <a:pt x="319" y="170"/>
                  <a:pt x="310" y="172"/>
                  <a:pt x="304" y="176"/>
                </a:cubicBezTo>
                <a:cubicBezTo>
                  <a:pt x="283" y="189"/>
                  <a:pt x="259" y="193"/>
                  <a:pt x="237" y="188"/>
                </a:cubicBezTo>
                <a:cubicBezTo>
                  <a:pt x="228" y="186"/>
                  <a:pt x="219" y="183"/>
                  <a:pt x="211" y="179"/>
                </a:cubicBezTo>
                <a:cubicBezTo>
                  <a:pt x="201" y="175"/>
                  <a:pt x="191" y="170"/>
                  <a:pt x="181" y="170"/>
                </a:cubicBezTo>
                <a:cubicBezTo>
                  <a:pt x="146" y="170"/>
                  <a:pt x="117" y="199"/>
                  <a:pt x="117" y="234"/>
                </a:cubicBezTo>
                <a:cubicBezTo>
                  <a:pt x="117" y="330"/>
                  <a:pt x="187" y="385"/>
                  <a:pt x="188" y="386"/>
                </a:cubicBezTo>
                <a:cubicBezTo>
                  <a:pt x="188" y="386"/>
                  <a:pt x="189" y="387"/>
                  <a:pt x="189" y="387"/>
                </a:cubicBezTo>
                <a:cubicBezTo>
                  <a:pt x="194" y="393"/>
                  <a:pt x="197" y="394"/>
                  <a:pt x="202" y="394"/>
                </a:cubicBezTo>
                <a:cubicBezTo>
                  <a:pt x="205" y="394"/>
                  <a:pt x="207" y="394"/>
                  <a:pt x="209" y="393"/>
                </a:cubicBezTo>
                <a:cubicBezTo>
                  <a:pt x="209" y="393"/>
                  <a:pt x="231" y="384"/>
                  <a:pt x="256" y="384"/>
                </a:cubicBezTo>
                <a:cubicBezTo>
                  <a:pt x="281" y="384"/>
                  <a:pt x="302" y="393"/>
                  <a:pt x="303" y="393"/>
                </a:cubicBezTo>
                <a:cubicBezTo>
                  <a:pt x="304" y="394"/>
                  <a:pt x="307" y="394"/>
                  <a:pt x="309" y="394"/>
                </a:cubicBezTo>
                <a:cubicBezTo>
                  <a:pt x="314" y="394"/>
                  <a:pt x="318" y="393"/>
                  <a:pt x="322" y="387"/>
                </a:cubicBezTo>
                <a:cubicBezTo>
                  <a:pt x="323" y="387"/>
                  <a:pt x="323" y="386"/>
                  <a:pt x="324" y="386"/>
                </a:cubicBezTo>
                <a:cubicBezTo>
                  <a:pt x="324" y="385"/>
                  <a:pt x="394" y="330"/>
                  <a:pt x="394" y="234"/>
                </a:cubicBezTo>
                <a:cubicBezTo>
                  <a:pt x="394" y="199"/>
                  <a:pt x="366" y="170"/>
                  <a:pt x="330" y="17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34"/>
                </a:moveTo>
                <a:cubicBezTo>
                  <a:pt x="416" y="187"/>
                  <a:pt x="377" y="149"/>
                  <a:pt x="330" y="149"/>
                </a:cubicBezTo>
                <a:cubicBezTo>
                  <a:pt x="326" y="149"/>
                  <a:pt x="321" y="149"/>
                  <a:pt x="317" y="150"/>
                </a:cubicBezTo>
                <a:cubicBezTo>
                  <a:pt x="319" y="148"/>
                  <a:pt x="320" y="145"/>
                  <a:pt x="321" y="143"/>
                </a:cubicBezTo>
                <a:cubicBezTo>
                  <a:pt x="330" y="125"/>
                  <a:pt x="330" y="107"/>
                  <a:pt x="330" y="106"/>
                </a:cubicBezTo>
                <a:cubicBezTo>
                  <a:pt x="330" y="100"/>
                  <a:pt x="326" y="96"/>
                  <a:pt x="320" y="96"/>
                </a:cubicBezTo>
                <a:cubicBezTo>
                  <a:pt x="292" y="96"/>
                  <a:pt x="272" y="104"/>
                  <a:pt x="259" y="119"/>
                </a:cubicBezTo>
                <a:cubicBezTo>
                  <a:pt x="257" y="121"/>
                  <a:pt x="256" y="123"/>
                  <a:pt x="254" y="125"/>
                </a:cubicBezTo>
                <a:cubicBezTo>
                  <a:pt x="244" y="107"/>
                  <a:pt x="230" y="98"/>
                  <a:pt x="229" y="97"/>
                </a:cubicBezTo>
                <a:cubicBezTo>
                  <a:pt x="224" y="94"/>
                  <a:pt x="218" y="96"/>
                  <a:pt x="215" y="101"/>
                </a:cubicBezTo>
                <a:cubicBezTo>
                  <a:pt x="212" y="105"/>
                  <a:pt x="213" y="112"/>
                  <a:pt x="218" y="115"/>
                </a:cubicBezTo>
                <a:cubicBezTo>
                  <a:pt x="219" y="116"/>
                  <a:pt x="241" y="131"/>
                  <a:pt x="244" y="161"/>
                </a:cubicBezTo>
                <a:cubicBezTo>
                  <a:pt x="244" y="164"/>
                  <a:pt x="245" y="166"/>
                  <a:pt x="245" y="168"/>
                </a:cubicBezTo>
                <a:cubicBezTo>
                  <a:pt x="244" y="168"/>
                  <a:pt x="243" y="168"/>
                  <a:pt x="242" y="167"/>
                </a:cubicBezTo>
                <a:cubicBezTo>
                  <a:pt x="234" y="166"/>
                  <a:pt x="227" y="163"/>
                  <a:pt x="220" y="160"/>
                </a:cubicBezTo>
                <a:cubicBezTo>
                  <a:pt x="208" y="154"/>
                  <a:pt x="196" y="149"/>
                  <a:pt x="181" y="149"/>
                </a:cubicBezTo>
                <a:cubicBezTo>
                  <a:pt x="134" y="149"/>
                  <a:pt x="96" y="187"/>
                  <a:pt x="96" y="234"/>
                </a:cubicBezTo>
                <a:cubicBezTo>
                  <a:pt x="96" y="336"/>
                  <a:pt x="165" y="395"/>
                  <a:pt x="174" y="402"/>
                </a:cubicBezTo>
                <a:cubicBezTo>
                  <a:pt x="180" y="409"/>
                  <a:pt x="188" y="416"/>
                  <a:pt x="202" y="416"/>
                </a:cubicBezTo>
                <a:cubicBezTo>
                  <a:pt x="207" y="416"/>
                  <a:pt x="212" y="415"/>
                  <a:pt x="217" y="413"/>
                </a:cubicBezTo>
                <a:cubicBezTo>
                  <a:pt x="218" y="413"/>
                  <a:pt x="235" y="405"/>
                  <a:pt x="256" y="405"/>
                </a:cubicBezTo>
                <a:cubicBezTo>
                  <a:pt x="276" y="405"/>
                  <a:pt x="294" y="413"/>
                  <a:pt x="295" y="413"/>
                </a:cubicBezTo>
                <a:cubicBezTo>
                  <a:pt x="299" y="415"/>
                  <a:pt x="304" y="416"/>
                  <a:pt x="309" y="416"/>
                </a:cubicBezTo>
                <a:cubicBezTo>
                  <a:pt x="323" y="416"/>
                  <a:pt x="332" y="409"/>
                  <a:pt x="338" y="402"/>
                </a:cubicBezTo>
                <a:cubicBezTo>
                  <a:pt x="346" y="395"/>
                  <a:pt x="416" y="336"/>
                  <a:pt x="416" y="2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4" name="Group 67"/>
          <p:cNvGrpSpPr>
            <a:grpSpLocks noChangeAspect="1"/>
          </p:cNvGrpSpPr>
          <p:nvPr/>
        </p:nvGrpSpPr>
        <p:grpSpPr bwMode="auto">
          <a:xfrm>
            <a:off x="6900211" y="2051051"/>
            <a:ext cx="368254" cy="368152"/>
            <a:chOff x="1017" y="408"/>
            <a:chExt cx="3636" cy="3635"/>
          </a:xfrm>
          <a:solidFill>
            <a:schemeClr val="accent1"/>
          </a:solidFill>
        </p:grpSpPr>
        <p:sp>
          <p:nvSpPr>
            <p:cNvPr id="285" name="Freeform 68"/>
            <p:cNvSpPr>
              <a:spLocks noEditPoints="1"/>
            </p:cNvSpPr>
            <p:nvPr/>
          </p:nvSpPr>
          <p:spPr bwMode="auto">
            <a:xfrm>
              <a:off x="1017" y="408"/>
              <a:ext cx="3636" cy="3635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69"/>
            <p:cNvSpPr>
              <a:spLocks noEditPoints="1"/>
            </p:cNvSpPr>
            <p:nvPr/>
          </p:nvSpPr>
          <p:spPr bwMode="auto">
            <a:xfrm>
              <a:off x="1699" y="1075"/>
              <a:ext cx="2272" cy="2286"/>
            </a:xfrm>
            <a:custGeom>
              <a:avLst/>
              <a:gdLst>
                <a:gd name="T0" fmla="*/ 234 w 320"/>
                <a:gd name="T1" fmla="*/ 55 h 322"/>
                <a:gd name="T2" fmla="*/ 221 w 320"/>
                <a:gd name="T3" fmla="*/ 56 h 322"/>
                <a:gd name="T4" fmla="*/ 225 w 320"/>
                <a:gd name="T5" fmla="*/ 49 h 322"/>
                <a:gd name="T6" fmla="*/ 234 w 320"/>
                <a:gd name="T7" fmla="*/ 12 h 322"/>
                <a:gd name="T8" fmla="*/ 224 w 320"/>
                <a:gd name="T9" fmla="*/ 2 h 322"/>
                <a:gd name="T10" fmla="*/ 163 w 320"/>
                <a:gd name="T11" fmla="*/ 25 h 322"/>
                <a:gd name="T12" fmla="*/ 158 w 320"/>
                <a:gd name="T13" fmla="*/ 31 h 322"/>
                <a:gd name="T14" fmla="*/ 133 w 320"/>
                <a:gd name="T15" fmla="*/ 3 h 322"/>
                <a:gd name="T16" fmla="*/ 119 w 320"/>
                <a:gd name="T17" fmla="*/ 7 h 322"/>
                <a:gd name="T18" fmla="*/ 122 w 320"/>
                <a:gd name="T19" fmla="*/ 21 h 322"/>
                <a:gd name="T20" fmla="*/ 148 w 320"/>
                <a:gd name="T21" fmla="*/ 67 h 322"/>
                <a:gd name="T22" fmla="*/ 149 w 320"/>
                <a:gd name="T23" fmla="*/ 74 h 322"/>
                <a:gd name="T24" fmla="*/ 146 w 320"/>
                <a:gd name="T25" fmla="*/ 73 h 322"/>
                <a:gd name="T26" fmla="*/ 124 w 320"/>
                <a:gd name="T27" fmla="*/ 66 h 322"/>
                <a:gd name="T28" fmla="*/ 85 w 320"/>
                <a:gd name="T29" fmla="*/ 55 h 322"/>
                <a:gd name="T30" fmla="*/ 0 w 320"/>
                <a:gd name="T31" fmla="*/ 140 h 322"/>
                <a:gd name="T32" fmla="*/ 78 w 320"/>
                <a:gd name="T33" fmla="*/ 308 h 322"/>
                <a:gd name="T34" fmla="*/ 106 w 320"/>
                <a:gd name="T35" fmla="*/ 322 h 322"/>
                <a:gd name="T36" fmla="*/ 121 w 320"/>
                <a:gd name="T37" fmla="*/ 319 h 322"/>
                <a:gd name="T38" fmla="*/ 160 w 320"/>
                <a:gd name="T39" fmla="*/ 311 h 322"/>
                <a:gd name="T40" fmla="*/ 199 w 320"/>
                <a:gd name="T41" fmla="*/ 319 h 322"/>
                <a:gd name="T42" fmla="*/ 213 w 320"/>
                <a:gd name="T43" fmla="*/ 322 h 322"/>
                <a:gd name="T44" fmla="*/ 242 w 320"/>
                <a:gd name="T45" fmla="*/ 308 h 322"/>
                <a:gd name="T46" fmla="*/ 320 w 320"/>
                <a:gd name="T47" fmla="*/ 140 h 322"/>
                <a:gd name="T48" fmla="*/ 234 w 320"/>
                <a:gd name="T49" fmla="*/ 55 h 322"/>
                <a:gd name="T50" fmla="*/ 179 w 320"/>
                <a:gd name="T51" fmla="*/ 39 h 322"/>
                <a:gd name="T52" fmla="*/ 212 w 320"/>
                <a:gd name="T53" fmla="*/ 24 h 322"/>
                <a:gd name="T54" fmla="*/ 206 w 320"/>
                <a:gd name="T55" fmla="*/ 39 h 322"/>
                <a:gd name="T56" fmla="*/ 170 w 320"/>
                <a:gd name="T57" fmla="*/ 65 h 322"/>
                <a:gd name="T58" fmla="*/ 179 w 320"/>
                <a:gd name="T59" fmla="*/ 39 h 322"/>
                <a:gd name="T60" fmla="*/ 228 w 320"/>
                <a:gd name="T61" fmla="*/ 292 h 322"/>
                <a:gd name="T62" fmla="*/ 226 w 320"/>
                <a:gd name="T63" fmla="*/ 293 h 322"/>
                <a:gd name="T64" fmla="*/ 213 w 320"/>
                <a:gd name="T65" fmla="*/ 300 h 322"/>
                <a:gd name="T66" fmla="*/ 207 w 320"/>
                <a:gd name="T67" fmla="*/ 299 h 322"/>
                <a:gd name="T68" fmla="*/ 160 w 320"/>
                <a:gd name="T69" fmla="*/ 290 h 322"/>
                <a:gd name="T70" fmla="*/ 113 w 320"/>
                <a:gd name="T71" fmla="*/ 299 h 322"/>
                <a:gd name="T72" fmla="*/ 106 w 320"/>
                <a:gd name="T73" fmla="*/ 300 h 322"/>
                <a:gd name="T74" fmla="*/ 93 w 320"/>
                <a:gd name="T75" fmla="*/ 293 h 322"/>
                <a:gd name="T76" fmla="*/ 92 w 320"/>
                <a:gd name="T77" fmla="*/ 292 h 322"/>
                <a:gd name="T78" fmla="*/ 21 w 320"/>
                <a:gd name="T79" fmla="*/ 140 h 322"/>
                <a:gd name="T80" fmla="*/ 85 w 320"/>
                <a:gd name="T81" fmla="*/ 76 h 322"/>
                <a:gd name="T82" fmla="*/ 115 w 320"/>
                <a:gd name="T83" fmla="*/ 85 h 322"/>
                <a:gd name="T84" fmla="*/ 141 w 320"/>
                <a:gd name="T85" fmla="*/ 94 h 322"/>
                <a:gd name="T86" fmla="*/ 208 w 320"/>
                <a:gd name="T87" fmla="*/ 82 h 322"/>
                <a:gd name="T88" fmla="*/ 234 w 320"/>
                <a:gd name="T89" fmla="*/ 76 h 322"/>
                <a:gd name="T90" fmla="*/ 298 w 320"/>
                <a:gd name="T91" fmla="*/ 140 h 322"/>
                <a:gd name="T92" fmla="*/ 228 w 320"/>
                <a:gd name="T93" fmla="*/ 29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322">
                  <a:moveTo>
                    <a:pt x="234" y="55"/>
                  </a:moveTo>
                  <a:cubicBezTo>
                    <a:pt x="230" y="55"/>
                    <a:pt x="225" y="55"/>
                    <a:pt x="221" y="56"/>
                  </a:cubicBezTo>
                  <a:cubicBezTo>
                    <a:pt x="223" y="54"/>
                    <a:pt x="224" y="51"/>
                    <a:pt x="225" y="49"/>
                  </a:cubicBezTo>
                  <a:cubicBezTo>
                    <a:pt x="234" y="31"/>
                    <a:pt x="234" y="13"/>
                    <a:pt x="234" y="12"/>
                  </a:cubicBezTo>
                  <a:cubicBezTo>
                    <a:pt x="234" y="6"/>
                    <a:pt x="230" y="2"/>
                    <a:pt x="224" y="2"/>
                  </a:cubicBezTo>
                  <a:cubicBezTo>
                    <a:pt x="196" y="2"/>
                    <a:pt x="176" y="10"/>
                    <a:pt x="163" y="25"/>
                  </a:cubicBezTo>
                  <a:cubicBezTo>
                    <a:pt x="161" y="27"/>
                    <a:pt x="160" y="29"/>
                    <a:pt x="158" y="31"/>
                  </a:cubicBezTo>
                  <a:cubicBezTo>
                    <a:pt x="148" y="13"/>
                    <a:pt x="134" y="4"/>
                    <a:pt x="133" y="3"/>
                  </a:cubicBezTo>
                  <a:cubicBezTo>
                    <a:pt x="128" y="0"/>
                    <a:pt x="122" y="2"/>
                    <a:pt x="119" y="7"/>
                  </a:cubicBezTo>
                  <a:cubicBezTo>
                    <a:pt x="116" y="11"/>
                    <a:pt x="117" y="18"/>
                    <a:pt x="122" y="21"/>
                  </a:cubicBezTo>
                  <a:cubicBezTo>
                    <a:pt x="123" y="22"/>
                    <a:pt x="145" y="37"/>
                    <a:pt x="148" y="67"/>
                  </a:cubicBezTo>
                  <a:cubicBezTo>
                    <a:pt x="148" y="70"/>
                    <a:pt x="149" y="72"/>
                    <a:pt x="149" y="74"/>
                  </a:cubicBezTo>
                  <a:cubicBezTo>
                    <a:pt x="148" y="74"/>
                    <a:pt x="147" y="74"/>
                    <a:pt x="146" y="73"/>
                  </a:cubicBezTo>
                  <a:cubicBezTo>
                    <a:pt x="138" y="72"/>
                    <a:pt x="131" y="69"/>
                    <a:pt x="124" y="66"/>
                  </a:cubicBezTo>
                  <a:cubicBezTo>
                    <a:pt x="112" y="60"/>
                    <a:pt x="100" y="55"/>
                    <a:pt x="85" y="55"/>
                  </a:cubicBezTo>
                  <a:cubicBezTo>
                    <a:pt x="38" y="55"/>
                    <a:pt x="0" y="93"/>
                    <a:pt x="0" y="140"/>
                  </a:cubicBezTo>
                  <a:cubicBezTo>
                    <a:pt x="0" y="242"/>
                    <a:pt x="69" y="301"/>
                    <a:pt x="78" y="308"/>
                  </a:cubicBezTo>
                  <a:cubicBezTo>
                    <a:pt x="84" y="315"/>
                    <a:pt x="92" y="322"/>
                    <a:pt x="106" y="322"/>
                  </a:cubicBezTo>
                  <a:cubicBezTo>
                    <a:pt x="111" y="322"/>
                    <a:pt x="116" y="321"/>
                    <a:pt x="121" y="319"/>
                  </a:cubicBezTo>
                  <a:cubicBezTo>
                    <a:pt x="122" y="319"/>
                    <a:pt x="139" y="311"/>
                    <a:pt x="160" y="311"/>
                  </a:cubicBezTo>
                  <a:cubicBezTo>
                    <a:pt x="180" y="311"/>
                    <a:pt x="198" y="319"/>
                    <a:pt x="199" y="319"/>
                  </a:cubicBezTo>
                  <a:cubicBezTo>
                    <a:pt x="203" y="321"/>
                    <a:pt x="208" y="322"/>
                    <a:pt x="213" y="322"/>
                  </a:cubicBezTo>
                  <a:cubicBezTo>
                    <a:pt x="227" y="322"/>
                    <a:pt x="236" y="315"/>
                    <a:pt x="242" y="308"/>
                  </a:cubicBezTo>
                  <a:cubicBezTo>
                    <a:pt x="250" y="301"/>
                    <a:pt x="320" y="242"/>
                    <a:pt x="320" y="140"/>
                  </a:cubicBezTo>
                  <a:cubicBezTo>
                    <a:pt x="320" y="93"/>
                    <a:pt x="281" y="55"/>
                    <a:pt x="234" y="55"/>
                  </a:cubicBezTo>
                  <a:close/>
                  <a:moveTo>
                    <a:pt x="179" y="39"/>
                  </a:moveTo>
                  <a:cubicBezTo>
                    <a:pt x="186" y="30"/>
                    <a:pt x="197" y="25"/>
                    <a:pt x="212" y="24"/>
                  </a:cubicBezTo>
                  <a:cubicBezTo>
                    <a:pt x="211" y="28"/>
                    <a:pt x="209" y="34"/>
                    <a:pt x="206" y="39"/>
                  </a:cubicBezTo>
                  <a:cubicBezTo>
                    <a:pt x="199" y="54"/>
                    <a:pt x="187" y="63"/>
                    <a:pt x="170" y="65"/>
                  </a:cubicBezTo>
                  <a:cubicBezTo>
                    <a:pt x="170" y="57"/>
                    <a:pt x="172" y="47"/>
                    <a:pt x="179" y="39"/>
                  </a:cubicBezTo>
                  <a:close/>
                  <a:moveTo>
                    <a:pt x="228" y="292"/>
                  </a:moveTo>
                  <a:cubicBezTo>
                    <a:pt x="227" y="292"/>
                    <a:pt x="227" y="293"/>
                    <a:pt x="226" y="293"/>
                  </a:cubicBezTo>
                  <a:cubicBezTo>
                    <a:pt x="222" y="299"/>
                    <a:pt x="218" y="300"/>
                    <a:pt x="213" y="300"/>
                  </a:cubicBezTo>
                  <a:cubicBezTo>
                    <a:pt x="211" y="300"/>
                    <a:pt x="208" y="300"/>
                    <a:pt x="207" y="299"/>
                  </a:cubicBezTo>
                  <a:cubicBezTo>
                    <a:pt x="206" y="299"/>
                    <a:pt x="185" y="290"/>
                    <a:pt x="160" y="290"/>
                  </a:cubicBezTo>
                  <a:cubicBezTo>
                    <a:pt x="135" y="290"/>
                    <a:pt x="113" y="299"/>
                    <a:pt x="113" y="299"/>
                  </a:cubicBezTo>
                  <a:cubicBezTo>
                    <a:pt x="111" y="300"/>
                    <a:pt x="109" y="300"/>
                    <a:pt x="106" y="300"/>
                  </a:cubicBezTo>
                  <a:cubicBezTo>
                    <a:pt x="101" y="300"/>
                    <a:pt x="98" y="299"/>
                    <a:pt x="93" y="293"/>
                  </a:cubicBezTo>
                  <a:cubicBezTo>
                    <a:pt x="93" y="293"/>
                    <a:pt x="92" y="292"/>
                    <a:pt x="92" y="292"/>
                  </a:cubicBezTo>
                  <a:cubicBezTo>
                    <a:pt x="91" y="291"/>
                    <a:pt x="21" y="236"/>
                    <a:pt x="21" y="140"/>
                  </a:cubicBezTo>
                  <a:cubicBezTo>
                    <a:pt x="21" y="105"/>
                    <a:pt x="50" y="76"/>
                    <a:pt x="85" y="76"/>
                  </a:cubicBezTo>
                  <a:cubicBezTo>
                    <a:pt x="95" y="76"/>
                    <a:pt x="105" y="81"/>
                    <a:pt x="115" y="85"/>
                  </a:cubicBezTo>
                  <a:cubicBezTo>
                    <a:pt x="123" y="89"/>
                    <a:pt x="132" y="92"/>
                    <a:pt x="141" y="94"/>
                  </a:cubicBezTo>
                  <a:cubicBezTo>
                    <a:pt x="163" y="99"/>
                    <a:pt x="187" y="95"/>
                    <a:pt x="208" y="82"/>
                  </a:cubicBezTo>
                  <a:cubicBezTo>
                    <a:pt x="214" y="78"/>
                    <a:pt x="223" y="76"/>
                    <a:pt x="234" y="76"/>
                  </a:cubicBezTo>
                  <a:cubicBezTo>
                    <a:pt x="270" y="76"/>
                    <a:pt x="298" y="105"/>
                    <a:pt x="298" y="140"/>
                  </a:cubicBezTo>
                  <a:cubicBezTo>
                    <a:pt x="298" y="236"/>
                    <a:pt x="228" y="291"/>
                    <a:pt x="228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7" name="Freeform 847"/>
          <p:cNvSpPr>
            <a:spLocks noChangeAspect="1" noEditPoints="1"/>
          </p:cNvSpPr>
          <p:nvPr/>
        </p:nvSpPr>
        <p:spPr bwMode="auto">
          <a:xfrm>
            <a:off x="7397492" y="2051050"/>
            <a:ext cx="367631" cy="36871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09 w 512"/>
              <a:gd name="T11" fmla="*/ 222 h 512"/>
              <a:gd name="T12" fmla="*/ 309 w 512"/>
              <a:gd name="T13" fmla="*/ 341 h 512"/>
              <a:gd name="T14" fmla="*/ 234 w 512"/>
              <a:gd name="T15" fmla="*/ 416 h 512"/>
              <a:gd name="T16" fmla="*/ 160 w 512"/>
              <a:gd name="T17" fmla="*/ 341 h 512"/>
              <a:gd name="T18" fmla="*/ 197 w 512"/>
              <a:gd name="T19" fmla="*/ 276 h 512"/>
              <a:gd name="T20" fmla="*/ 208 w 512"/>
              <a:gd name="T21" fmla="*/ 276 h 512"/>
              <a:gd name="T22" fmla="*/ 213 w 512"/>
              <a:gd name="T23" fmla="*/ 286 h 512"/>
              <a:gd name="T24" fmla="*/ 213 w 512"/>
              <a:gd name="T25" fmla="*/ 320 h 512"/>
              <a:gd name="T26" fmla="*/ 202 w 512"/>
              <a:gd name="T27" fmla="*/ 330 h 512"/>
              <a:gd name="T28" fmla="*/ 192 w 512"/>
              <a:gd name="T29" fmla="*/ 320 h 512"/>
              <a:gd name="T30" fmla="*/ 192 w 512"/>
              <a:gd name="T31" fmla="*/ 308 h 512"/>
              <a:gd name="T32" fmla="*/ 181 w 512"/>
              <a:gd name="T33" fmla="*/ 341 h 512"/>
              <a:gd name="T34" fmla="*/ 234 w 512"/>
              <a:gd name="T35" fmla="*/ 394 h 512"/>
              <a:gd name="T36" fmla="*/ 288 w 512"/>
              <a:gd name="T37" fmla="*/ 341 h 512"/>
              <a:gd name="T38" fmla="*/ 288 w 512"/>
              <a:gd name="T39" fmla="*/ 222 h 512"/>
              <a:gd name="T40" fmla="*/ 266 w 512"/>
              <a:gd name="T41" fmla="*/ 192 h 512"/>
              <a:gd name="T42" fmla="*/ 288 w 512"/>
              <a:gd name="T43" fmla="*/ 162 h 512"/>
              <a:gd name="T44" fmla="*/ 288 w 512"/>
              <a:gd name="T45" fmla="*/ 106 h 512"/>
              <a:gd name="T46" fmla="*/ 298 w 512"/>
              <a:gd name="T47" fmla="*/ 96 h 512"/>
              <a:gd name="T48" fmla="*/ 309 w 512"/>
              <a:gd name="T49" fmla="*/ 106 h 512"/>
              <a:gd name="T50" fmla="*/ 309 w 512"/>
              <a:gd name="T51" fmla="*/ 162 h 512"/>
              <a:gd name="T52" fmla="*/ 330 w 512"/>
              <a:gd name="T53" fmla="*/ 192 h 512"/>
              <a:gd name="T54" fmla="*/ 309 w 512"/>
              <a:gd name="T55" fmla="*/ 222 h 512"/>
              <a:gd name="T56" fmla="*/ 309 w 512"/>
              <a:gd name="T57" fmla="*/ 192 h 512"/>
              <a:gd name="T58" fmla="*/ 298 w 512"/>
              <a:gd name="T59" fmla="*/ 202 h 512"/>
              <a:gd name="T60" fmla="*/ 288 w 512"/>
              <a:gd name="T61" fmla="*/ 192 h 512"/>
              <a:gd name="T62" fmla="*/ 298 w 512"/>
              <a:gd name="T63" fmla="*/ 181 h 512"/>
              <a:gd name="T64" fmla="*/ 309 w 512"/>
              <a:gd name="T65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09" y="222"/>
                </a:moveTo>
                <a:cubicBezTo>
                  <a:pt x="309" y="341"/>
                  <a:pt x="309" y="341"/>
                  <a:pt x="309" y="341"/>
                </a:cubicBezTo>
                <a:cubicBezTo>
                  <a:pt x="309" y="382"/>
                  <a:pt x="276" y="416"/>
                  <a:pt x="234" y="416"/>
                </a:cubicBezTo>
                <a:cubicBezTo>
                  <a:pt x="193" y="416"/>
                  <a:pt x="160" y="382"/>
                  <a:pt x="160" y="341"/>
                </a:cubicBezTo>
                <a:cubicBezTo>
                  <a:pt x="160" y="312"/>
                  <a:pt x="173" y="289"/>
                  <a:pt x="197" y="276"/>
                </a:cubicBezTo>
                <a:cubicBezTo>
                  <a:pt x="201" y="274"/>
                  <a:pt x="205" y="275"/>
                  <a:pt x="208" y="276"/>
                </a:cubicBezTo>
                <a:cubicBezTo>
                  <a:pt x="211" y="278"/>
                  <a:pt x="213" y="282"/>
                  <a:pt x="213" y="286"/>
                </a:cubicBezTo>
                <a:cubicBezTo>
                  <a:pt x="213" y="320"/>
                  <a:pt x="213" y="320"/>
                  <a:pt x="213" y="320"/>
                </a:cubicBezTo>
                <a:cubicBezTo>
                  <a:pt x="213" y="326"/>
                  <a:pt x="208" y="330"/>
                  <a:pt x="202" y="330"/>
                </a:cubicBezTo>
                <a:cubicBezTo>
                  <a:pt x="196" y="330"/>
                  <a:pt x="192" y="326"/>
                  <a:pt x="192" y="320"/>
                </a:cubicBezTo>
                <a:cubicBezTo>
                  <a:pt x="192" y="308"/>
                  <a:pt x="192" y="308"/>
                  <a:pt x="192" y="308"/>
                </a:cubicBezTo>
                <a:cubicBezTo>
                  <a:pt x="185" y="317"/>
                  <a:pt x="181" y="328"/>
                  <a:pt x="181" y="341"/>
                </a:cubicBezTo>
                <a:cubicBezTo>
                  <a:pt x="181" y="370"/>
                  <a:pt x="205" y="394"/>
                  <a:pt x="234" y="394"/>
                </a:cubicBezTo>
                <a:cubicBezTo>
                  <a:pt x="264" y="394"/>
                  <a:pt x="288" y="370"/>
                  <a:pt x="288" y="341"/>
                </a:cubicBezTo>
                <a:cubicBezTo>
                  <a:pt x="288" y="222"/>
                  <a:pt x="288" y="222"/>
                  <a:pt x="288" y="222"/>
                </a:cubicBezTo>
                <a:cubicBezTo>
                  <a:pt x="275" y="217"/>
                  <a:pt x="266" y="206"/>
                  <a:pt x="266" y="192"/>
                </a:cubicBezTo>
                <a:cubicBezTo>
                  <a:pt x="266" y="178"/>
                  <a:pt x="275" y="166"/>
                  <a:pt x="288" y="162"/>
                </a:cubicBezTo>
                <a:cubicBezTo>
                  <a:pt x="288" y="106"/>
                  <a:pt x="288" y="106"/>
                  <a:pt x="288" y="106"/>
                </a:cubicBezTo>
                <a:cubicBezTo>
                  <a:pt x="288" y="100"/>
                  <a:pt x="292" y="96"/>
                  <a:pt x="298" y="96"/>
                </a:cubicBezTo>
                <a:cubicBezTo>
                  <a:pt x="304" y="96"/>
                  <a:pt x="309" y="100"/>
                  <a:pt x="309" y="106"/>
                </a:cubicBezTo>
                <a:cubicBezTo>
                  <a:pt x="309" y="162"/>
                  <a:pt x="309" y="162"/>
                  <a:pt x="309" y="162"/>
                </a:cubicBezTo>
                <a:cubicBezTo>
                  <a:pt x="321" y="166"/>
                  <a:pt x="330" y="178"/>
                  <a:pt x="330" y="192"/>
                </a:cubicBezTo>
                <a:cubicBezTo>
                  <a:pt x="330" y="206"/>
                  <a:pt x="321" y="217"/>
                  <a:pt x="309" y="222"/>
                </a:cubicBezTo>
                <a:close/>
                <a:moveTo>
                  <a:pt x="309" y="192"/>
                </a:moveTo>
                <a:cubicBezTo>
                  <a:pt x="309" y="198"/>
                  <a:pt x="304" y="202"/>
                  <a:pt x="298" y="202"/>
                </a:cubicBezTo>
                <a:cubicBezTo>
                  <a:pt x="292" y="202"/>
                  <a:pt x="288" y="198"/>
                  <a:pt x="288" y="192"/>
                </a:cubicBezTo>
                <a:cubicBezTo>
                  <a:pt x="288" y="186"/>
                  <a:pt x="292" y="181"/>
                  <a:pt x="298" y="181"/>
                </a:cubicBezTo>
                <a:cubicBezTo>
                  <a:pt x="304" y="181"/>
                  <a:pt x="309" y="186"/>
                  <a:pt x="309" y="19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8" name="Group 850"/>
          <p:cNvGrpSpPr>
            <a:grpSpLocks noChangeAspect="1"/>
          </p:cNvGrpSpPr>
          <p:nvPr/>
        </p:nvGrpSpPr>
        <p:grpSpPr bwMode="auto">
          <a:xfrm>
            <a:off x="7894150" y="2051054"/>
            <a:ext cx="367631" cy="367631"/>
            <a:chOff x="4988" y="3214"/>
            <a:chExt cx="340" cy="340"/>
          </a:xfrm>
          <a:solidFill>
            <a:schemeClr val="accent3"/>
          </a:solidFill>
        </p:grpSpPr>
        <p:sp>
          <p:nvSpPr>
            <p:cNvPr id="289" name="Freeform 851"/>
            <p:cNvSpPr>
              <a:spLocks/>
            </p:cNvSpPr>
            <p:nvPr/>
          </p:nvSpPr>
          <p:spPr bwMode="auto">
            <a:xfrm>
              <a:off x="5094" y="3348"/>
              <a:ext cx="99" cy="142"/>
            </a:xfrm>
            <a:custGeom>
              <a:avLst/>
              <a:gdLst>
                <a:gd name="T0" fmla="*/ 74 w 149"/>
                <a:gd name="T1" fmla="*/ 214 h 214"/>
                <a:gd name="T2" fmla="*/ 0 w 149"/>
                <a:gd name="T3" fmla="*/ 139 h 214"/>
                <a:gd name="T4" fmla="*/ 37 w 149"/>
                <a:gd name="T5" fmla="*/ 74 h 214"/>
                <a:gd name="T6" fmla="*/ 48 w 149"/>
                <a:gd name="T7" fmla="*/ 74 h 214"/>
                <a:gd name="T8" fmla="*/ 53 w 149"/>
                <a:gd name="T9" fmla="*/ 84 h 214"/>
                <a:gd name="T10" fmla="*/ 53 w 149"/>
                <a:gd name="T11" fmla="*/ 118 h 214"/>
                <a:gd name="T12" fmla="*/ 42 w 149"/>
                <a:gd name="T13" fmla="*/ 128 h 214"/>
                <a:gd name="T14" fmla="*/ 32 w 149"/>
                <a:gd name="T15" fmla="*/ 118 h 214"/>
                <a:gd name="T16" fmla="*/ 32 w 149"/>
                <a:gd name="T17" fmla="*/ 106 h 214"/>
                <a:gd name="T18" fmla="*/ 21 w 149"/>
                <a:gd name="T19" fmla="*/ 139 h 214"/>
                <a:gd name="T20" fmla="*/ 74 w 149"/>
                <a:gd name="T21" fmla="*/ 192 h 214"/>
                <a:gd name="T22" fmla="*/ 128 w 149"/>
                <a:gd name="T23" fmla="*/ 139 h 214"/>
                <a:gd name="T24" fmla="*/ 128 w 149"/>
                <a:gd name="T25" fmla="*/ 11 h 214"/>
                <a:gd name="T26" fmla="*/ 138 w 149"/>
                <a:gd name="T27" fmla="*/ 0 h 214"/>
                <a:gd name="T28" fmla="*/ 149 w 149"/>
                <a:gd name="T29" fmla="*/ 11 h 214"/>
                <a:gd name="T30" fmla="*/ 149 w 149"/>
                <a:gd name="T31" fmla="*/ 139 h 214"/>
                <a:gd name="T32" fmla="*/ 74 w 149"/>
                <a:gd name="T33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9" h="214">
                  <a:moveTo>
                    <a:pt x="74" y="214"/>
                  </a:moveTo>
                  <a:cubicBezTo>
                    <a:pt x="33" y="214"/>
                    <a:pt x="0" y="180"/>
                    <a:pt x="0" y="139"/>
                  </a:cubicBezTo>
                  <a:cubicBezTo>
                    <a:pt x="0" y="110"/>
                    <a:pt x="13" y="87"/>
                    <a:pt x="37" y="74"/>
                  </a:cubicBezTo>
                  <a:cubicBezTo>
                    <a:pt x="41" y="72"/>
                    <a:pt x="45" y="73"/>
                    <a:pt x="48" y="74"/>
                  </a:cubicBezTo>
                  <a:cubicBezTo>
                    <a:pt x="51" y="76"/>
                    <a:pt x="53" y="80"/>
                    <a:pt x="53" y="84"/>
                  </a:cubicBezTo>
                  <a:cubicBezTo>
                    <a:pt x="53" y="118"/>
                    <a:pt x="53" y="118"/>
                    <a:pt x="53" y="118"/>
                  </a:cubicBezTo>
                  <a:cubicBezTo>
                    <a:pt x="53" y="124"/>
                    <a:pt x="48" y="128"/>
                    <a:pt x="42" y="128"/>
                  </a:cubicBezTo>
                  <a:cubicBezTo>
                    <a:pt x="36" y="128"/>
                    <a:pt x="32" y="124"/>
                    <a:pt x="32" y="11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25" y="115"/>
                    <a:pt x="21" y="126"/>
                    <a:pt x="21" y="139"/>
                  </a:cubicBezTo>
                  <a:cubicBezTo>
                    <a:pt x="21" y="168"/>
                    <a:pt x="45" y="192"/>
                    <a:pt x="74" y="192"/>
                  </a:cubicBezTo>
                  <a:cubicBezTo>
                    <a:pt x="104" y="192"/>
                    <a:pt x="128" y="168"/>
                    <a:pt x="128" y="139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32" y="0"/>
                    <a:pt x="138" y="0"/>
                  </a:cubicBezTo>
                  <a:cubicBezTo>
                    <a:pt x="144" y="0"/>
                    <a:pt x="149" y="5"/>
                    <a:pt x="149" y="11"/>
                  </a:cubicBezTo>
                  <a:cubicBezTo>
                    <a:pt x="149" y="139"/>
                    <a:pt x="149" y="139"/>
                    <a:pt x="149" y="139"/>
                  </a:cubicBezTo>
                  <a:cubicBezTo>
                    <a:pt x="149" y="180"/>
                    <a:pt x="116" y="214"/>
                    <a:pt x="74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852"/>
            <p:cNvSpPr>
              <a:spLocks noEditPoints="1"/>
            </p:cNvSpPr>
            <p:nvPr/>
          </p:nvSpPr>
          <p:spPr bwMode="auto">
            <a:xfrm>
              <a:off x="5165" y="3320"/>
              <a:ext cx="42" cy="43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2 w 64"/>
                <a:gd name="T13" fmla="*/ 32 h 64"/>
                <a:gd name="T14" fmla="*/ 32 w 64"/>
                <a:gd name="T15" fmla="*/ 42 h 64"/>
                <a:gd name="T16" fmla="*/ 43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5" y="64"/>
                    <a:pt x="0" y="49"/>
                    <a:pt x="0" y="32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49"/>
                    <a:pt x="50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2" y="26"/>
                    <a:pt x="22" y="32"/>
                  </a:cubicBezTo>
                  <a:cubicBezTo>
                    <a:pt x="22" y="38"/>
                    <a:pt x="26" y="42"/>
                    <a:pt x="32" y="42"/>
                  </a:cubicBezTo>
                  <a:cubicBezTo>
                    <a:pt x="38" y="42"/>
                    <a:pt x="43" y="38"/>
                    <a:pt x="43" y="32"/>
                  </a:cubicBezTo>
                  <a:cubicBezTo>
                    <a:pt x="43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853"/>
            <p:cNvSpPr>
              <a:spLocks/>
            </p:cNvSpPr>
            <p:nvPr/>
          </p:nvSpPr>
          <p:spPr bwMode="auto">
            <a:xfrm>
              <a:off x="5179" y="3278"/>
              <a:ext cx="14" cy="56"/>
            </a:xfrm>
            <a:custGeom>
              <a:avLst/>
              <a:gdLst>
                <a:gd name="T0" fmla="*/ 10 w 21"/>
                <a:gd name="T1" fmla="*/ 85 h 85"/>
                <a:gd name="T2" fmla="*/ 0 w 21"/>
                <a:gd name="T3" fmla="*/ 74 h 85"/>
                <a:gd name="T4" fmla="*/ 0 w 21"/>
                <a:gd name="T5" fmla="*/ 10 h 85"/>
                <a:gd name="T6" fmla="*/ 10 w 21"/>
                <a:gd name="T7" fmla="*/ 0 h 85"/>
                <a:gd name="T8" fmla="*/ 21 w 21"/>
                <a:gd name="T9" fmla="*/ 10 h 85"/>
                <a:gd name="T10" fmla="*/ 21 w 21"/>
                <a:gd name="T11" fmla="*/ 74 h 85"/>
                <a:gd name="T12" fmla="*/ 10 w 21"/>
                <a:gd name="T1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5">
                  <a:moveTo>
                    <a:pt x="10" y="85"/>
                  </a:moveTo>
                  <a:cubicBezTo>
                    <a:pt x="4" y="85"/>
                    <a:pt x="0" y="80"/>
                    <a:pt x="0" y="7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80"/>
                    <a:pt x="16" y="85"/>
                    <a:pt x="1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854"/>
            <p:cNvSpPr>
              <a:spLocks noEditPoints="1"/>
            </p:cNvSpPr>
            <p:nvPr/>
          </p:nvSpPr>
          <p:spPr bwMode="auto">
            <a:xfrm>
              <a:off x="4988" y="321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3" name="Freeform 386"/>
          <p:cNvSpPr>
            <a:spLocks noChangeAspect="1" noEditPoints="1"/>
          </p:cNvSpPr>
          <p:nvPr/>
        </p:nvSpPr>
        <p:spPr bwMode="auto">
          <a:xfrm>
            <a:off x="1427612" y="2920274"/>
            <a:ext cx="367631" cy="367631"/>
          </a:xfrm>
          <a:custGeom>
            <a:avLst/>
            <a:gdLst>
              <a:gd name="T0" fmla="*/ 238 w 512"/>
              <a:gd name="T1" fmla="*/ 210 h 512"/>
              <a:gd name="T2" fmla="*/ 162 w 512"/>
              <a:gd name="T3" fmla="*/ 185 h 512"/>
              <a:gd name="T4" fmla="*/ 177 w 512"/>
              <a:gd name="T5" fmla="*/ 141 h 512"/>
              <a:gd name="T6" fmla="*/ 253 w 512"/>
              <a:gd name="T7" fmla="*/ 166 h 512"/>
              <a:gd name="T8" fmla="*/ 238 w 512"/>
              <a:gd name="T9" fmla="*/ 210 h 512"/>
              <a:gd name="T10" fmla="*/ 145 w 512"/>
              <a:gd name="T11" fmla="*/ 248 h 512"/>
              <a:gd name="T12" fmla="*/ 130 w 512"/>
              <a:gd name="T13" fmla="*/ 292 h 512"/>
              <a:gd name="T14" fmla="*/ 206 w 512"/>
              <a:gd name="T15" fmla="*/ 317 h 512"/>
              <a:gd name="T16" fmla="*/ 221 w 512"/>
              <a:gd name="T17" fmla="*/ 273 h 512"/>
              <a:gd name="T18" fmla="*/ 145 w 512"/>
              <a:gd name="T19" fmla="*/ 248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46 w 512"/>
              <a:gd name="T31" fmla="*/ 202 h 512"/>
              <a:gd name="T32" fmla="*/ 242 w 512"/>
              <a:gd name="T33" fmla="*/ 234 h 512"/>
              <a:gd name="T34" fmla="*/ 245 w 512"/>
              <a:gd name="T35" fmla="*/ 234 h 512"/>
              <a:gd name="T36" fmla="*/ 255 w 512"/>
              <a:gd name="T37" fmla="*/ 227 h 512"/>
              <a:gd name="T38" fmla="*/ 276 w 512"/>
              <a:gd name="T39" fmla="*/ 163 h 512"/>
              <a:gd name="T40" fmla="*/ 270 w 512"/>
              <a:gd name="T41" fmla="*/ 150 h 512"/>
              <a:gd name="T42" fmla="*/ 174 w 512"/>
              <a:gd name="T43" fmla="*/ 118 h 512"/>
              <a:gd name="T44" fmla="*/ 160 w 512"/>
              <a:gd name="T45" fmla="*/ 124 h 512"/>
              <a:gd name="T46" fmla="*/ 139 w 512"/>
              <a:gd name="T47" fmla="*/ 188 h 512"/>
              <a:gd name="T48" fmla="*/ 146 w 512"/>
              <a:gd name="T49" fmla="*/ 202 h 512"/>
              <a:gd name="T50" fmla="*/ 114 w 512"/>
              <a:gd name="T51" fmla="*/ 308 h 512"/>
              <a:gd name="T52" fmla="*/ 210 w 512"/>
              <a:gd name="T53" fmla="*/ 340 h 512"/>
              <a:gd name="T54" fmla="*/ 213 w 512"/>
              <a:gd name="T55" fmla="*/ 341 h 512"/>
              <a:gd name="T56" fmla="*/ 223 w 512"/>
              <a:gd name="T57" fmla="*/ 334 h 512"/>
              <a:gd name="T58" fmla="*/ 244 w 512"/>
              <a:gd name="T59" fmla="*/ 270 h 512"/>
              <a:gd name="T60" fmla="*/ 238 w 512"/>
              <a:gd name="T61" fmla="*/ 256 h 512"/>
              <a:gd name="T62" fmla="*/ 142 w 512"/>
              <a:gd name="T63" fmla="*/ 224 h 512"/>
              <a:gd name="T64" fmla="*/ 128 w 512"/>
              <a:gd name="T65" fmla="*/ 231 h 512"/>
              <a:gd name="T66" fmla="*/ 107 w 512"/>
              <a:gd name="T67" fmla="*/ 295 h 512"/>
              <a:gd name="T68" fmla="*/ 114 w 512"/>
              <a:gd name="T69" fmla="*/ 308 h 512"/>
              <a:gd name="T70" fmla="*/ 341 w 512"/>
              <a:gd name="T71" fmla="*/ 384 h 512"/>
              <a:gd name="T72" fmla="*/ 320 w 512"/>
              <a:gd name="T73" fmla="*/ 362 h 512"/>
              <a:gd name="T74" fmla="*/ 298 w 512"/>
              <a:gd name="T75" fmla="*/ 384 h 512"/>
              <a:gd name="T76" fmla="*/ 320 w 512"/>
              <a:gd name="T77" fmla="*/ 405 h 512"/>
              <a:gd name="T78" fmla="*/ 341 w 512"/>
              <a:gd name="T79" fmla="*/ 384 h 512"/>
              <a:gd name="T80" fmla="*/ 366 w 512"/>
              <a:gd name="T81" fmla="*/ 139 h 512"/>
              <a:gd name="T82" fmla="*/ 334 w 512"/>
              <a:gd name="T83" fmla="*/ 128 h 512"/>
              <a:gd name="T84" fmla="*/ 320 w 512"/>
              <a:gd name="T85" fmla="*/ 135 h 512"/>
              <a:gd name="T86" fmla="*/ 238 w 512"/>
              <a:gd name="T87" fmla="*/ 381 h 512"/>
              <a:gd name="T88" fmla="*/ 152 w 512"/>
              <a:gd name="T89" fmla="*/ 352 h 512"/>
              <a:gd name="T90" fmla="*/ 139 w 512"/>
              <a:gd name="T91" fmla="*/ 359 h 512"/>
              <a:gd name="T92" fmla="*/ 146 w 512"/>
              <a:gd name="T93" fmla="*/ 372 h 512"/>
              <a:gd name="T94" fmla="*/ 242 w 512"/>
              <a:gd name="T95" fmla="*/ 404 h 512"/>
              <a:gd name="T96" fmla="*/ 245 w 512"/>
              <a:gd name="T97" fmla="*/ 405 h 512"/>
              <a:gd name="T98" fmla="*/ 255 w 512"/>
              <a:gd name="T99" fmla="*/ 398 h 512"/>
              <a:gd name="T100" fmla="*/ 337 w 512"/>
              <a:gd name="T101" fmla="*/ 152 h 512"/>
              <a:gd name="T102" fmla="*/ 359 w 512"/>
              <a:gd name="T103" fmla="*/ 159 h 512"/>
              <a:gd name="T104" fmla="*/ 362 w 512"/>
              <a:gd name="T105" fmla="*/ 160 h 512"/>
              <a:gd name="T106" fmla="*/ 372 w 512"/>
              <a:gd name="T107" fmla="*/ 152 h 512"/>
              <a:gd name="T108" fmla="*/ 366 w 512"/>
              <a:gd name="T109" fmla="*/ 13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2" h="512">
                <a:moveTo>
                  <a:pt x="238" y="210"/>
                </a:moveTo>
                <a:cubicBezTo>
                  <a:pt x="162" y="185"/>
                  <a:pt x="162" y="185"/>
                  <a:pt x="162" y="185"/>
                </a:cubicBezTo>
                <a:cubicBezTo>
                  <a:pt x="177" y="141"/>
                  <a:pt x="177" y="141"/>
                  <a:pt x="177" y="141"/>
                </a:cubicBezTo>
                <a:cubicBezTo>
                  <a:pt x="253" y="166"/>
                  <a:pt x="253" y="166"/>
                  <a:pt x="253" y="166"/>
                </a:cubicBezTo>
                <a:lnTo>
                  <a:pt x="238" y="210"/>
                </a:lnTo>
                <a:close/>
                <a:moveTo>
                  <a:pt x="145" y="248"/>
                </a:moveTo>
                <a:cubicBezTo>
                  <a:pt x="130" y="292"/>
                  <a:pt x="130" y="292"/>
                  <a:pt x="130" y="292"/>
                </a:cubicBezTo>
                <a:cubicBezTo>
                  <a:pt x="206" y="317"/>
                  <a:pt x="206" y="317"/>
                  <a:pt x="206" y="317"/>
                </a:cubicBezTo>
                <a:cubicBezTo>
                  <a:pt x="221" y="273"/>
                  <a:pt x="221" y="273"/>
                  <a:pt x="221" y="273"/>
                </a:cubicBezTo>
                <a:lnTo>
                  <a:pt x="145" y="24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6" y="202"/>
                </a:moveTo>
                <a:cubicBezTo>
                  <a:pt x="242" y="234"/>
                  <a:pt x="242" y="234"/>
                  <a:pt x="242" y="234"/>
                </a:cubicBezTo>
                <a:cubicBezTo>
                  <a:pt x="243" y="234"/>
                  <a:pt x="244" y="234"/>
                  <a:pt x="245" y="234"/>
                </a:cubicBezTo>
                <a:cubicBezTo>
                  <a:pt x="249" y="234"/>
                  <a:pt x="254" y="232"/>
                  <a:pt x="255" y="227"/>
                </a:cubicBezTo>
                <a:cubicBezTo>
                  <a:pt x="276" y="163"/>
                  <a:pt x="276" y="163"/>
                  <a:pt x="276" y="163"/>
                </a:cubicBezTo>
                <a:cubicBezTo>
                  <a:pt x="278" y="157"/>
                  <a:pt x="275" y="151"/>
                  <a:pt x="270" y="150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168" y="116"/>
                  <a:pt x="162" y="119"/>
                  <a:pt x="160" y="124"/>
                </a:cubicBezTo>
                <a:cubicBezTo>
                  <a:pt x="139" y="188"/>
                  <a:pt x="139" y="188"/>
                  <a:pt x="139" y="188"/>
                </a:cubicBezTo>
                <a:cubicBezTo>
                  <a:pt x="137" y="194"/>
                  <a:pt x="140" y="200"/>
                  <a:pt x="146" y="202"/>
                </a:cubicBezTo>
                <a:close/>
                <a:moveTo>
                  <a:pt x="114" y="308"/>
                </a:moveTo>
                <a:cubicBezTo>
                  <a:pt x="210" y="340"/>
                  <a:pt x="210" y="340"/>
                  <a:pt x="210" y="340"/>
                </a:cubicBezTo>
                <a:cubicBezTo>
                  <a:pt x="211" y="341"/>
                  <a:pt x="212" y="341"/>
                  <a:pt x="213" y="341"/>
                </a:cubicBezTo>
                <a:cubicBezTo>
                  <a:pt x="217" y="341"/>
                  <a:pt x="222" y="338"/>
                  <a:pt x="223" y="334"/>
                </a:cubicBezTo>
                <a:cubicBezTo>
                  <a:pt x="244" y="270"/>
                  <a:pt x="244" y="270"/>
                  <a:pt x="244" y="270"/>
                </a:cubicBezTo>
                <a:cubicBezTo>
                  <a:pt x="246" y="264"/>
                  <a:pt x="243" y="258"/>
                  <a:pt x="238" y="256"/>
                </a:cubicBezTo>
                <a:cubicBezTo>
                  <a:pt x="142" y="224"/>
                  <a:pt x="142" y="224"/>
                  <a:pt x="142" y="224"/>
                </a:cubicBezTo>
                <a:cubicBezTo>
                  <a:pt x="136" y="222"/>
                  <a:pt x="130" y="225"/>
                  <a:pt x="128" y="231"/>
                </a:cubicBezTo>
                <a:cubicBezTo>
                  <a:pt x="107" y="295"/>
                  <a:pt x="107" y="295"/>
                  <a:pt x="107" y="295"/>
                </a:cubicBezTo>
                <a:cubicBezTo>
                  <a:pt x="105" y="301"/>
                  <a:pt x="108" y="307"/>
                  <a:pt x="114" y="308"/>
                </a:cubicBezTo>
                <a:close/>
                <a:moveTo>
                  <a:pt x="341" y="384"/>
                </a:moveTo>
                <a:cubicBezTo>
                  <a:pt x="341" y="372"/>
                  <a:pt x="331" y="362"/>
                  <a:pt x="320" y="362"/>
                </a:cubicBezTo>
                <a:cubicBezTo>
                  <a:pt x="308" y="362"/>
                  <a:pt x="298" y="372"/>
                  <a:pt x="298" y="384"/>
                </a:cubicBezTo>
                <a:cubicBezTo>
                  <a:pt x="298" y="395"/>
                  <a:pt x="308" y="405"/>
                  <a:pt x="320" y="405"/>
                </a:cubicBezTo>
                <a:cubicBezTo>
                  <a:pt x="331" y="405"/>
                  <a:pt x="341" y="395"/>
                  <a:pt x="341" y="384"/>
                </a:cubicBezTo>
                <a:close/>
                <a:moveTo>
                  <a:pt x="366" y="139"/>
                </a:moveTo>
                <a:cubicBezTo>
                  <a:pt x="334" y="128"/>
                  <a:pt x="334" y="128"/>
                  <a:pt x="334" y="128"/>
                </a:cubicBezTo>
                <a:cubicBezTo>
                  <a:pt x="328" y="126"/>
                  <a:pt x="322" y="129"/>
                  <a:pt x="320" y="135"/>
                </a:cubicBezTo>
                <a:cubicBezTo>
                  <a:pt x="238" y="381"/>
                  <a:pt x="238" y="381"/>
                  <a:pt x="238" y="381"/>
                </a:cubicBezTo>
                <a:cubicBezTo>
                  <a:pt x="152" y="352"/>
                  <a:pt x="152" y="352"/>
                  <a:pt x="152" y="352"/>
                </a:cubicBezTo>
                <a:cubicBezTo>
                  <a:pt x="147" y="350"/>
                  <a:pt x="141" y="353"/>
                  <a:pt x="139" y="359"/>
                </a:cubicBezTo>
                <a:cubicBezTo>
                  <a:pt x="137" y="365"/>
                  <a:pt x="140" y="371"/>
                  <a:pt x="146" y="372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43" y="405"/>
                  <a:pt x="244" y="405"/>
                  <a:pt x="245" y="405"/>
                </a:cubicBezTo>
                <a:cubicBezTo>
                  <a:pt x="249" y="405"/>
                  <a:pt x="254" y="402"/>
                  <a:pt x="255" y="398"/>
                </a:cubicBezTo>
                <a:cubicBezTo>
                  <a:pt x="337" y="152"/>
                  <a:pt x="337" y="152"/>
                  <a:pt x="337" y="152"/>
                </a:cubicBezTo>
                <a:cubicBezTo>
                  <a:pt x="359" y="159"/>
                  <a:pt x="359" y="159"/>
                  <a:pt x="359" y="159"/>
                </a:cubicBezTo>
                <a:cubicBezTo>
                  <a:pt x="360" y="159"/>
                  <a:pt x="361" y="160"/>
                  <a:pt x="362" y="160"/>
                </a:cubicBezTo>
                <a:cubicBezTo>
                  <a:pt x="367" y="160"/>
                  <a:pt x="371" y="157"/>
                  <a:pt x="372" y="152"/>
                </a:cubicBezTo>
                <a:cubicBezTo>
                  <a:pt x="374" y="147"/>
                  <a:pt x="371" y="141"/>
                  <a:pt x="366" y="13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4" name="Group 389"/>
          <p:cNvGrpSpPr>
            <a:grpSpLocks noChangeAspect="1"/>
          </p:cNvGrpSpPr>
          <p:nvPr/>
        </p:nvGrpSpPr>
        <p:grpSpPr bwMode="auto">
          <a:xfrm>
            <a:off x="1924380" y="2920274"/>
            <a:ext cx="368712" cy="367631"/>
            <a:chOff x="405" y="1575"/>
            <a:chExt cx="341" cy="340"/>
          </a:xfrm>
          <a:solidFill>
            <a:schemeClr val="accent5"/>
          </a:solidFill>
        </p:grpSpPr>
        <p:sp>
          <p:nvSpPr>
            <p:cNvPr id="295" name="Freeform 390"/>
            <p:cNvSpPr>
              <a:spLocks noEditPoints="1"/>
            </p:cNvSpPr>
            <p:nvPr/>
          </p:nvSpPr>
          <p:spPr bwMode="auto">
            <a:xfrm>
              <a:off x="405" y="157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391"/>
            <p:cNvSpPr>
              <a:spLocks noEditPoints="1"/>
            </p:cNvSpPr>
            <p:nvPr/>
          </p:nvSpPr>
          <p:spPr bwMode="auto">
            <a:xfrm>
              <a:off x="475" y="1652"/>
              <a:ext cx="179" cy="192"/>
            </a:xfrm>
            <a:custGeom>
              <a:avLst/>
              <a:gdLst>
                <a:gd name="T0" fmla="*/ 236 w 269"/>
                <a:gd name="T1" fmla="*/ 268 h 289"/>
                <a:gd name="T2" fmla="*/ 215 w 269"/>
                <a:gd name="T3" fmla="*/ 289 h 289"/>
                <a:gd name="T4" fmla="*/ 193 w 269"/>
                <a:gd name="T5" fmla="*/ 268 h 289"/>
                <a:gd name="T6" fmla="*/ 215 w 269"/>
                <a:gd name="T7" fmla="*/ 246 h 289"/>
                <a:gd name="T8" fmla="*/ 236 w 269"/>
                <a:gd name="T9" fmla="*/ 268 h 289"/>
                <a:gd name="T10" fmla="*/ 261 w 269"/>
                <a:gd name="T11" fmla="*/ 23 h 289"/>
                <a:gd name="T12" fmla="*/ 229 w 269"/>
                <a:gd name="T13" fmla="*/ 12 h 289"/>
                <a:gd name="T14" fmla="*/ 215 w 269"/>
                <a:gd name="T15" fmla="*/ 19 h 289"/>
                <a:gd name="T16" fmla="*/ 133 w 269"/>
                <a:gd name="T17" fmla="*/ 265 h 289"/>
                <a:gd name="T18" fmla="*/ 47 w 269"/>
                <a:gd name="T19" fmla="*/ 236 h 289"/>
                <a:gd name="T20" fmla="*/ 34 w 269"/>
                <a:gd name="T21" fmla="*/ 243 h 289"/>
                <a:gd name="T22" fmla="*/ 41 w 269"/>
                <a:gd name="T23" fmla="*/ 256 h 289"/>
                <a:gd name="T24" fmla="*/ 137 w 269"/>
                <a:gd name="T25" fmla="*/ 288 h 289"/>
                <a:gd name="T26" fmla="*/ 140 w 269"/>
                <a:gd name="T27" fmla="*/ 289 h 289"/>
                <a:gd name="T28" fmla="*/ 150 w 269"/>
                <a:gd name="T29" fmla="*/ 282 h 289"/>
                <a:gd name="T30" fmla="*/ 232 w 269"/>
                <a:gd name="T31" fmla="*/ 36 h 289"/>
                <a:gd name="T32" fmla="*/ 254 w 269"/>
                <a:gd name="T33" fmla="*/ 43 h 289"/>
                <a:gd name="T34" fmla="*/ 257 w 269"/>
                <a:gd name="T35" fmla="*/ 44 h 289"/>
                <a:gd name="T36" fmla="*/ 267 w 269"/>
                <a:gd name="T37" fmla="*/ 36 h 289"/>
                <a:gd name="T38" fmla="*/ 261 w 269"/>
                <a:gd name="T39" fmla="*/ 23 h 289"/>
                <a:gd name="T40" fmla="*/ 105 w 269"/>
                <a:gd name="T41" fmla="*/ 224 h 289"/>
                <a:gd name="T42" fmla="*/ 9 w 269"/>
                <a:gd name="T43" fmla="*/ 192 h 289"/>
                <a:gd name="T44" fmla="*/ 2 w 269"/>
                <a:gd name="T45" fmla="*/ 179 h 289"/>
                <a:gd name="T46" fmla="*/ 23 w 269"/>
                <a:gd name="T47" fmla="*/ 115 h 289"/>
                <a:gd name="T48" fmla="*/ 37 w 269"/>
                <a:gd name="T49" fmla="*/ 108 h 289"/>
                <a:gd name="T50" fmla="*/ 133 w 269"/>
                <a:gd name="T51" fmla="*/ 140 h 289"/>
                <a:gd name="T52" fmla="*/ 139 w 269"/>
                <a:gd name="T53" fmla="*/ 154 h 289"/>
                <a:gd name="T54" fmla="*/ 118 w 269"/>
                <a:gd name="T55" fmla="*/ 218 h 289"/>
                <a:gd name="T56" fmla="*/ 108 w 269"/>
                <a:gd name="T57" fmla="*/ 225 h 289"/>
                <a:gd name="T58" fmla="*/ 105 w 269"/>
                <a:gd name="T59" fmla="*/ 224 h 289"/>
                <a:gd name="T60" fmla="*/ 101 w 269"/>
                <a:gd name="T61" fmla="*/ 201 h 289"/>
                <a:gd name="T62" fmla="*/ 116 w 269"/>
                <a:gd name="T63" fmla="*/ 157 h 289"/>
                <a:gd name="T64" fmla="*/ 40 w 269"/>
                <a:gd name="T65" fmla="*/ 132 h 289"/>
                <a:gd name="T66" fmla="*/ 25 w 269"/>
                <a:gd name="T67" fmla="*/ 176 h 289"/>
                <a:gd name="T68" fmla="*/ 101 w 269"/>
                <a:gd name="T69" fmla="*/ 201 h 289"/>
                <a:gd name="T70" fmla="*/ 34 w 269"/>
                <a:gd name="T71" fmla="*/ 72 h 289"/>
                <a:gd name="T72" fmla="*/ 55 w 269"/>
                <a:gd name="T73" fmla="*/ 8 h 289"/>
                <a:gd name="T74" fmla="*/ 69 w 269"/>
                <a:gd name="T75" fmla="*/ 2 h 289"/>
                <a:gd name="T76" fmla="*/ 165 w 269"/>
                <a:gd name="T77" fmla="*/ 34 h 289"/>
                <a:gd name="T78" fmla="*/ 171 w 269"/>
                <a:gd name="T79" fmla="*/ 47 h 289"/>
                <a:gd name="T80" fmla="*/ 150 w 269"/>
                <a:gd name="T81" fmla="*/ 111 h 289"/>
                <a:gd name="T82" fmla="*/ 140 w 269"/>
                <a:gd name="T83" fmla="*/ 118 h 289"/>
                <a:gd name="T84" fmla="*/ 137 w 269"/>
                <a:gd name="T85" fmla="*/ 118 h 289"/>
                <a:gd name="T86" fmla="*/ 41 w 269"/>
                <a:gd name="T87" fmla="*/ 86 h 289"/>
                <a:gd name="T88" fmla="*/ 34 w 269"/>
                <a:gd name="T89" fmla="*/ 72 h 289"/>
                <a:gd name="T90" fmla="*/ 72 w 269"/>
                <a:gd name="T91" fmla="*/ 25 h 289"/>
                <a:gd name="T92" fmla="*/ 57 w 269"/>
                <a:gd name="T93" fmla="*/ 69 h 289"/>
                <a:gd name="T94" fmla="*/ 133 w 269"/>
                <a:gd name="T95" fmla="*/ 94 h 289"/>
                <a:gd name="T96" fmla="*/ 148 w 269"/>
                <a:gd name="T97" fmla="*/ 50 h 289"/>
                <a:gd name="T98" fmla="*/ 72 w 269"/>
                <a:gd name="T99" fmla="*/ 2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9" h="289">
                  <a:moveTo>
                    <a:pt x="236" y="268"/>
                  </a:moveTo>
                  <a:cubicBezTo>
                    <a:pt x="236" y="279"/>
                    <a:pt x="226" y="289"/>
                    <a:pt x="215" y="289"/>
                  </a:cubicBezTo>
                  <a:cubicBezTo>
                    <a:pt x="203" y="289"/>
                    <a:pt x="193" y="279"/>
                    <a:pt x="193" y="268"/>
                  </a:cubicBezTo>
                  <a:cubicBezTo>
                    <a:pt x="193" y="256"/>
                    <a:pt x="203" y="246"/>
                    <a:pt x="215" y="246"/>
                  </a:cubicBezTo>
                  <a:cubicBezTo>
                    <a:pt x="226" y="246"/>
                    <a:pt x="236" y="256"/>
                    <a:pt x="236" y="268"/>
                  </a:cubicBezTo>
                  <a:close/>
                  <a:moveTo>
                    <a:pt x="261" y="23"/>
                  </a:moveTo>
                  <a:cubicBezTo>
                    <a:pt x="229" y="12"/>
                    <a:pt x="229" y="12"/>
                    <a:pt x="229" y="12"/>
                  </a:cubicBezTo>
                  <a:cubicBezTo>
                    <a:pt x="223" y="10"/>
                    <a:pt x="217" y="13"/>
                    <a:pt x="215" y="19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47" y="236"/>
                    <a:pt x="47" y="236"/>
                    <a:pt x="47" y="236"/>
                  </a:cubicBezTo>
                  <a:cubicBezTo>
                    <a:pt x="42" y="234"/>
                    <a:pt x="36" y="237"/>
                    <a:pt x="34" y="243"/>
                  </a:cubicBezTo>
                  <a:cubicBezTo>
                    <a:pt x="32" y="249"/>
                    <a:pt x="35" y="255"/>
                    <a:pt x="41" y="256"/>
                  </a:cubicBezTo>
                  <a:cubicBezTo>
                    <a:pt x="137" y="288"/>
                    <a:pt x="137" y="288"/>
                    <a:pt x="137" y="288"/>
                  </a:cubicBezTo>
                  <a:cubicBezTo>
                    <a:pt x="138" y="289"/>
                    <a:pt x="139" y="289"/>
                    <a:pt x="140" y="289"/>
                  </a:cubicBezTo>
                  <a:cubicBezTo>
                    <a:pt x="144" y="289"/>
                    <a:pt x="149" y="286"/>
                    <a:pt x="150" y="282"/>
                  </a:cubicBezTo>
                  <a:cubicBezTo>
                    <a:pt x="232" y="36"/>
                    <a:pt x="232" y="36"/>
                    <a:pt x="232" y="36"/>
                  </a:cubicBezTo>
                  <a:cubicBezTo>
                    <a:pt x="254" y="43"/>
                    <a:pt x="254" y="43"/>
                    <a:pt x="254" y="43"/>
                  </a:cubicBezTo>
                  <a:cubicBezTo>
                    <a:pt x="255" y="43"/>
                    <a:pt x="256" y="44"/>
                    <a:pt x="257" y="44"/>
                  </a:cubicBezTo>
                  <a:cubicBezTo>
                    <a:pt x="262" y="44"/>
                    <a:pt x="266" y="41"/>
                    <a:pt x="267" y="36"/>
                  </a:cubicBezTo>
                  <a:cubicBezTo>
                    <a:pt x="269" y="31"/>
                    <a:pt x="266" y="25"/>
                    <a:pt x="261" y="23"/>
                  </a:cubicBezTo>
                  <a:close/>
                  <a:moveTo>
                    <a:pt x="105" y="224"/>
                  </a:moveTo>
                  <a:cubicBezTo>
                    <a:pt x="9" y="192"/>
                    <a:pt x="9" y="192"/>
                    <a:pt x="9" y="192"/>
                  </a:cubicBezTo>
                  <a:cubicBezTo>
                    <a:pt x="3" y="191"/>
                    <a:pt x="0" y="185"/>
                    <a:pt x="2" y="17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25" y="109"/>
                    <a:pt x="31" y="106"/>
                    <a:pt x="37" y="108"/>
                  </a:cubicBezTo>
                  <a:cubicBezTo>
                    <a:pt x="133" y="140"/>
                    <a:pt x="133" y="140"/>
                    <a:pt x="133" y="140"/>
                  </a:cubicBezTo>
                  <a:cubicBezTo>
                    <a:pt x="138" y="142"/>
                    <a:pt x="141" y="148"/>
                    <a:pt x="139" y="154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7" y="222"/>
                    <a:pt x="112" y="225"/>
                    <a:pt x="108" y="225"/>
                  </a:cubicBezTo>
                  <a:cubicBezTo>
                    <a:pt x="107" y="225"/>
                    <a:pt x="106" y="225"/>
                    <a:pt x="105" y="224"/>
                  </a:cubicBezTo>
                  <a:close/>
                  <a:moveTo>
                    <a:pt x="101" y="201"/>
                  </a:moveTo>
                  <a:cubicBezTo>
                    <a:pt x="116" y="157"/>
                    <a:pt x="116" y="157"/>
                    <a:pt x="116" y="157"/>
                  </a:cubicBezTo>
                  <a:cubicBezTo>
                    <a:pt x="40" y="132"/>
                    <a:pt x="40" y="132"/>
                    <a:pt x="40" y="132"/>
                  </a:cubicBezTo>
                  <a:cubicBezTo>
                    <a:pt x="25" y="176"/>
                    <a:pt x="25" y="176"/>
                    <a:pt x="25" y="176"/>
                  </a:cubicBezTo>
                  <a:lnTo>
                    <a:pt x="101" y="201"/>
                  </a:lnTo>
                  <a:close/>
                  <a:moveTo>
                    <a:pt x="34" y="72"/>
                  </a:moveTo>
                  <a:cubicBezTo>
                    <a:pt x="55" y="8"/>
                    <a:pt x="55" y="8"/>
                    <a:pt x="55" y="8"/>
                  </a:cubicBezTo>
                  <a:cubicBezTo>
                    <a:pt x="57" y="3"/>
                    <a:pt x="63" y="0"/>
                    <a:pt x="69" y="2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70" y="35"/>
                    <a:pt x="173" y="41"/>
                    <a:pt x="171" y="47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16"/>
                    <a:pt x="144" y="118"/>
                    <a:pt x="140" y="118"/>
                  </a:cubicBezTo>
                  <a:cubicBezTo>
                    <a:pt x="139" y="118"/>
                    <a:pt x="138" y="118"/>
                    <a:pt x="137" y="118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35" y="84"/>
                    <a:pt x="32" y="78"/>
                    <a:pt x="34" y="72"/>
                  </a:cubicBezTo>
                  <a:close/>
                  <a:moveTo>
                    <a:pt x="72" y="25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133" y="94"/>
                    <a:pt x="133" y="94"/>
                    <a:pt x="133" y="94"/>
                  </a:cubicBezTo>
                  <a:cubicBezTo>
                    <a:pt x="148" y="50"/>
                    <a:pt x="148" y="50"/>
                    <a:pt x="148" y="50"/>
                  </a:cubicBezTo>
                  <a:lnTo>
                    <a:pt x="7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7" name="Freeform 471"/>
          <p:cNvSpPr>
            <a:spLocks noChangeAspect="1" noEditPoints="1"/>
          </p:cNvSpPr>
          <p:nvPr/>
        </p:nvSpPr>
        <p:spPr bwMode="auto">
          <a:xfrm>
            <a:off x="3416467" y="2920269"/>
            <a:ext cx="367982" cy="367982"/>
          </a:xfrm>
          <a:custGeom>
            <a:avLst/>
            <a:gdLst>
              <a:gd name="T0" fmla="*/ 185 w 512"/>
              <a:gd name="T1" fmla="*/ 202 h 512"/>
              <a:gd name="T2" fmla="*/ 327 w 512"/>
              <a:gd name="T3" fmla="*/ 202 h 512"/>
              <a:gd name="T4" fmla="*/ 320 w 512"/>
              <a:gd name="T5" fmla="*/ 211 h 512"/>
              <a:gd name="T6" fmla="*/ 317 w 512"/>
              <a:gd name="T7" fmla="*/ 218 h 512"/>
              <a:gd name="T8" fmla="*/ 305 w 512"/>
              <a:gd name="T9" fmla="*/ 373 h 512"/>
              <a:gd name="T10" fmla="*/ 206 w 512"/>
              <a:gd name="T11" fmla="*/ 373 h 512"/>
              <a:gd name="T12" fmla="*/ 195 w 512"/>
              <a:gd name="T13" fmla="*/ 218 h 512"/>
              <a:gd name="T14" fmla="*/ 191 w 512"/>
              <a:gd name="T15" fmla="*/ 211 h 512"/>
              <a:gd name="T16" fmla="*/ 185 w 512"/>
              <a:gd name="T17" fmla="*/ 202 h 512"/>
              <a:gd name="T18" fmla="*/ 321 w 512"/>
              <a:gd name="T19" fmla="*/ 159 h 512"/>
              <a:gd name="T20" fmla="*/ 323 w 512"/>
              <a:gd name="T21" fmla="*/ 138 h 512"/>
              <a:gd name="T22" fmla="*/ 189 w 512"/>
              <a:gd name="T23" fmla="*/ 138 h 512"/>
              <a:gd name="T24" fmla="*/ 190 w 512"/>
              <a:gd name="T25" fmla="*/ 159 h 512"/>
              <a:gd name="T26" fmla="*/ 188 w 512"/>
              <a:gd name="T27" fmla="*/ 167 h 512"/>
              <a:gd name="T28" fmla="*/ 182 w 512"/>
              <a:gd name="T29" fmla="*/ 181 h 512"/>
              <a:gd name="T30" fmla="*/ 330 w 512"/>
              <a:gd name="T31" fmla="*/ 181 h 512"/>
              <a:gd name="T32" fmla="*/ 324 w 512"/>
              <a:gd name="T33" fmla="*/ 167 h 512"/>
              <a:gd name="T34" fmla="*/ 321 w 512"/>
              <a:gd name="T35" fmla="*/ 159 h 512"/>
              <a:gd name="T36" fmla="*/ 512 w 512"/>
              <a:gd name="T37" fmla="*/ 256 h 512"/>
              <a:gd name="T38" fmla="*/ 256 w 512"/>
              <a:gd name="T39" fmla="*/ 512 h 512"/>
              <a:gd name="T40" fmla="*/ 0 w 512"/>
              <a:gd name="T41" fmla="*/ 256 h 512"/>
              <a:gd name="T42" fmla="*/ 256 w 512"/>
              <a:gd name="T43" fmla="*/ 0 h 512"/>
              <a:gd name="T44" fmla="*/ 512 w 512"/>
              <a:gd name="T45" fmla="*/ 256 h 512"/>
              <a:gd name="T46" fmla="*/ 343 w 512"/>
              <a:gd name="T47" fmla="*/ 156 h 512"/>
              <a:gd name="T48" fmla="*/ 345 w 512"/>
              <a:gd name="T49" fmla="*/ 128 h 512"/>
              <a:gd name="T50" fmla="*/ 342 w 512"/>
              <a:gd name="T51" fmla="*/ 120 h 512"/>
              <a:gd name="T52" fmla="*/ 334 w 512"/>
              <a:gd name="T53" fmla="*/ 117 h 512"/>
              <a:gd name="T54" fmla="*/ 177 w 512"/>
              <a:gd name="T55" fmla="*/ 117 h 512"/>
              <a:gd name="T56" fmla="*/ 169 w 512"/>
              <a:gd name="T57" fmla="*/ 120 h 512"/>
              <a:gd name="T58" fmla="*/ 167 w 512"/>
              <a:gd name="T59" fmla="*/ 128 h 512"/>
              <a:gd name="T60" fmla="*/ 169 w 512"/>
              <a:gd name="T61" fmla="*/ 156 h 512"/>
              <a:gd name="T62" fmla="*/ 161 w 512"/>
              <a:gd name="T63" fmla="*/ 197 h 512"/>
              <a:gd name="T64" fmla="*/ 174 w 512"/>
              <a:gd name="T65" fmla="*/ 224 h 512"/>
              <a:gd name="T66" fmla="*/ 186 w 512"/>
              <a:gd name="T67" fmla="*/ 384 h 512"/>
              <a:gd name="T68" fmla="*/ 196 w 512"/>
              <a:gd name="T69" fmla="*/ 394 h 512"/>
              <a:gd name="T70" fmla="*/ 315 w 512"/>
              <a:gd name="T71" fmla="*/ 394 h 512"/>
              <a:gd name="T72" fmla="*/ 326 w 512"/>
              <a:gd name="T73" fmla="*/ 384 h 512"/>
              <a:gd name="T74" fmla="*/ 338 w 512"/>
              <a:gd name="T75" fmla="*/ 224 h 512"/>
              <a:gd name="T76" fmla="*/ 351 w 512"/>
              <a:gd name="T77" fmla="*/ 197 h 512"/>
              <a:gd name="T78" fmla="*/ 343 w 512"/>
              <a:gd name="T79" fmla="*/ 1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185" y="202"/>
                </a:moveTo>
                <a:cubicBezTo>
                  <a:pt x="327" y="202"/>
                  <a:pt x="327" y="202"/>
                  <a:pt x="327" y="202"/>
                </a:cubicBezTo>
                <a:cubicBezTo>
                  <a:pt x="325" y="206"/>
                  <a:pt x="323" y="209"/>
                  <a:pt x="320" y="211"/>
                </a:cubicBezTo>
                <a:cubicBezTo>
                  <a:pt x="318" y="213"/>
                  <a:pt x="317" y="215"/>
                  <a:pt x="317" y="218"/>
                </a:cubicBezTo>
                <a:cubicBezTo>
                  <a:pt x="305" y="373"/>
                  <a:pt x="305" y="373"/>
                  <a:pt x="305" y="373"/>
                </a:cubicBezTo>
                <a:cubicBezTo>
                  <a:pt x="206" y="373"/>
                  <a:pt x="206" y="373"/>
                  <a:pt x="206" y="373"/>
                </a:cubicBezTo>
                <a:cubicBezTo>
                  <a:pt x="195" y="218"/>
                  <a:pt x="195" y="218"/>
                  <a:pt x="195" y="218"/>
                </a:cubicBezTo>
                <a:cubicBezTo>
                  <a:pt x="194" y="215"/>
                  <a:pt x="193" y="213"/>
                  <a:pt x="191" y="211"/>
                </a:cubicBezTo>
                <a:cubicBezTo>
                  <a:pt x="189" y="209"/>
                  <a:pt x="186" y="206"/>
                  <a:pt x="185" y="202"/>
                </a:cubicBezTo>
                <a:close/>
                <a:moveTo>
                  <a:pt x="321" y="159"/>
                </a:moveTo>
                <a:cubicBezTo>
                  <a:pt x="323" y="138"/>
                  <a:pt x="323" y="138"/>
                  <a:pt x="323" y="138"/>
                </a:cubicBezTo>
                <a:cubicBezTo>
                  <a:pt x="189" y="138"/>
                  <a:pt x="189" y="138"/>
                  <a:pt x="189" y="138"/>
                </a:cubicBezTo>
                <a:cubicBezTo>
                  <a:pt x="190" y="159"/>
                  <a:pt x="190" y="159"/>
                  <a:pt x="190" y="159"/>
                </a:cubicBezTo>
                <a:cubicBezTo>
                  <a:pt x="190" y="162"/>
                  <a:pt x="189" y="165"/>
                  <a:pt x="188" y="167"/>
                </a:cubicBezTo>
                <a:cubicBezTo>
                  <a:pt x="184" y="170"/>
                  <a:pt x="182" y="175"/>
                  <a:pt x="182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29" y="175"/>
                  <a:pt x="327" y="170"/>
                  <a:pt x="324" y="167"/>
                </a:cubicBezTo>
                <a:cubicBezTo>
                  <a:pt x="322" y="165"/>
                  <a:pt x="321" y="162"/>
                  <a:pt x="321" y="15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3" y="156"/>
                </a:moveTo>
                <a:cubicBezTo>
                  <a:pt x="345" y="128"/>
                  <a:pt x="345" y="128"/>
                  <a:pt x="345" y="128"/>
                </a:cubicBezTo>
                <a:cubicBezTo>
                  <a:pt x="345" y="126"/>
                  <a:pt x="344" y="123"/>
                  <a:pt x="342" y="120"/>
                </a:cubicBezTo>
                <a:cubicBezTo>
                  <a:pt x="340" y="118"/>
                  <a:pt x="337" y="117"/>
                  <a:pt x="334" y="117"/>
                </a:cubicBezTo>
                <a:cubicBezTo>
                  <a:pt x="177" y="117"/>
                  <a:pt x="177" y="117"/>
                  <a:pt x="177" y="117"/>
                </a:cubicBezTo>
                <a:cubicBezTo>
                  <a:pt x="174" y="117"/>
                  <a:pt x="171" y="118"/>
                  <a:pt x="169" y="120"/>
                </a:cubicBezTo>
                <a:cubicBezTo>
                  <a:pt x="167" y="123"/>
                  <a:pt x="166" y="126"/>
                  <a:pt x="167" y="128"/>
                </a:cubicBezTo>
                <a:cubicBezTo>
                  <a:pt x="169" y="156"/>
                  <a:pt x="169" y="156"/>
                  <a:pt x="169" y="156"/>
                </a:cubicBezTo>
                <a:cubicBezTo>
                  <a:pt x="161" y="167"/>
                  <a:pt x="158" y="182"/>
                  <a:pt x="161" y="197"/>
                </a:cubicBezTo>
                <a:cubicBezTo>
                  <a:pt x="163" y="207"/>
                  <a:pt x="167" y="217"/>
                  <a:pt x="174" y="224"/>
                </a:cubicBezTo>
                <a:cubicBezTo>
                  <a:pt x="186" y="384"/>
                  <a:pt x="186" y="384"/>
                  <a:pt x="186" y="384"/>
                </a:cubicBezTo>
                <a:cubicBezTo>
                  <a:pt x="186" y="390"/>
                  <a:pt x="191" y="394"/>
                  <a:pt x="196" y="394"/>
                </a:cubicBezTo>
                <a:cubicBezTo>
                  <a:pt x="315" y="394"/>
                  <a:pt x="315" y="394"/>
                  <a:pt x="315" y="394"/>
                </a:cubicBezTo>
                <a:cubicBezTo>
                  <a:pt x="320" y="394"/>
                  <a:pt x="325" y="390"/>
                  <a:pt x="326" y="384"/>
                </a:cubicBezTo>
                <a:cubicBezTo>
                  <a:pt x="338" y="224"/>
                  <a:pt x="338" y="224"/>
                  <a:pt x="338" y="224"/>
                </a:cubicBezTo>
                <a:cubicBezTo>
                  <a:pt x="344" y="217"/>
                  <a:pt x="349" y="207"/>
                  <a:pt x="351" y="197"/>
                </a:cubicBezTo>
                <a:cubicBezTo>
                  <a:pt x="353" y="182"/>
                  <a:pt x="350" y="167"/>
                  <a:pt x="343" y="1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8" name="Group 297"/>
          <p:cNvGrpSpPr>
            <a:grpSpLocks noChangeAspect="1"/>
          </p:cNvGrpSpPr>
          <p:nvPr/>
        </p:nvGrpSpPr>
        <p:grpSpPr bwMode="auto">
          <a:xfrm>
            <a:off x="3913586" y="2920269"/>
            <a:ext cx="367982" cy="367982"/>
            <a:chOff x="4112" y="2773"/>
            <a:chExt cx="340" cy="340"/>
          </a:xfrm>
          <a:solidFill>
            <a:schemeClr val="accent5"/>
          </a:solidFill>
        </p:grpSpPr>
        <p:sp>
          <p:nvSpPr>
            <p:cNvPr id="299" name="Freeform 475"/>
            <p:cNvSpPr>
              <a:spLocks noEditPoints="1"/>
            </p:cNvSpPr>
            <p:nvPr/>
          </p:nvSpPr>
          <p:spPr bwMode="auto">
            <a:xfrm>
              <a:off x="4112" y="277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476"/>
            <p:cNvSpPr>
              <a:spLocks noEditPoints="1"/>
            </p:cNvSpPr>
            <p:nvPr/>
          </p:nvSpPr>
          <p:spPr bwMode="auto">
            <a:xfrm>
              <a:off x="4217" y="2851"/>
              <a:ext cx="129" cy="184"/>
            </a:xfrm>
            <a:custGeom>
              <a:avLst/>
              <a:gdLst>
                <a:gd name="T0" fmla="*/ 185 w 195"/>
                <a:gd name="T1" fmla="*/ 39 h 277"/>
                <a:gd name="T2" fmla="*/ 187 w 195"/>
                <a:gd name="T3" fmla="*/ 11 h 277"/>
                <a:gd name="T4" fmla="*/ 184 w 195"/>
                <a:gd name="T5" fmla="*/ 3 h 277"/>
                <a:gd name="T6" fmla="*/ 176 w 195"/>
                <a:gd name="T7" fmla="*/ 0 h 277"/>
                <a:gd name="T8" fmla="*/ 19 w 195"/>
                <a:gd name="T9" fmla="*/ 0 h 277"/>
                <a:gd name="T10" fmla="*/ 11 w 195"/>
                <a:gd name="T11" fmla="*/ 3 h 277"/>
                <a:gd name="T12" fmla="*/ 9 w 195"/>
                <a:gd name="T13" fmla="*/ 11 h 277"/>
                <a:gd name="T14" fmla="*/ 11 w 195"/>
                <a:gd name="T15" fmla="*/ 39 h 277"/>
                <a:gd name="T16" fmla="*/ 3 w 195"/>
                <a:gd name="T17" fmla="*/ 80 h 277"/>
                <a:gd name="T18" fmla="*/ 16 w 195"/>
                <a:gd name="T19" fmla="*/ 107 h 277"/>
                <a:gd name="T20" fmla="*/ 28 w 195"/>
                <a:gd name="T21" fmla="*/ 267 h 277"/>
                <a:gd name="T22" fmla="*/ 38 w 195"/>
                <a:gd name="T23" fmla="*/ 277 h 277"/>
                <a:gd name="T24" fmla="*/ 157 w 195"/>
                <a:gd name="T25" fmla="*/ 277 h 277"/>
                <a:gd name="T26" fmla="*/ 168 w 195"/>
                <a:gd name="T27" fmla="*/ 267 h 277"/>
                <a:gd name="T28" fmla="*/ 180 w 195"/>
                <a:gd name="T29" fmla="*/ 107 h 277"/>
                <a:gd name="T30" fmla="*/ 193 w 195"/>
                <a:gd name="T31" fmla="*/ 80 h 277"/>
                <a:gd name="T32" fmla="*/ 185 w 195"/>
                <a:gd name="T33" fmla="*/ 39 h 277"/>
                <a:gd name="T34" fmla="*/ 31 w 195"/>
                <a:gd name="T35" fmla="*/ 21 h 277"/>
                <a:gd name="T36" fmla="*/ 165 w 195"/>
                <a:gd name="T37" fmla="*/ 21 h 277"/>
                <a:gd name="T38" fmla="*/ 163 w 195"/>
                <a:gd name="T39" fmla="*/ 42 h 277"/>
                <a:gd name="T40" fmla="*/ 166 w 195"/>
                <a:gd name="T41" fmla="*/ 50 h 277"/>
                <a:gd name="T42" fmla="*/ 172 w 195"/>
                <a:gd name="T43" fmla="*/ 64 h 277"/>
                <a:gd name="T44" fmla="*/ 24 w 195"/>
                <a:gd name="T45" fmla="*/ 64 h 277"/>
                <a:gd name="T46" fmla="*/ 30 w 195"/>
                <a:gd name="T47" fmla="*/ 50 h 277"/>
                <a:gd name="T48" fmla="*/ 32 w 195"/>
                <a:gd name="T49" fmla="*/ 42 h 277"/>
                <a:gd name="T50" fmla="*/ 31 w 195"/>
                <a:gd name="T51" fmla="*/ 21 h 277"/>
                <a:gd name="T52" fmla="*/ 162 w 195"/>
                <a:gd name="T53" fmla="*/ 94 h 277"/>
                <a:gd name="T54" fmla="*/ 159 w 195"/>
                <a:gd name="T55" fmla="*/ 101 h 277"/>
                <a:gd name="T56" fmla="*/ 147 w 195"/>
                <a:gd name="T57" fmla="*/ 256 h 277"/>
                <a:gd name="T58" fmla="*/ 48 w 195"/>
                <a:gd name="T59" fmla="*/ 256 h 277"/>
                <a:gd name="T60" fmla="*/ 37 w 195"/>
                <a:gd name="T61" fmla="*/ 101 h 277"/>
                <a:gd name="T62" fmla="*/ 33 w 195"/>
                <a:gd name="T63" fmla="*/ 94 h 277"/>
                <a:gd name="T64" fmla="*/ 27 w 195"/>
                <a:gd name="T65" fmla="*/ 85 h 277"/>
                <a:gd name="T66" fmla="*/ 169 w 195"/>
                <a:gd name="T67" fmla="*/ 85 h 277"/>
                <a:gd name="T68" fmla="*/ 162 w 195"/>
                <a:gd name="T69" fmla="*/ 9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5" h="277">
                  <a:moveTo>
                    <a:pt x="185" y="39"/>
                  </a:moveTo>
                  <a:cubicBezTo>
                    <a:pt x="187" y="11"/>
                    <a:pt x="187" y="11"/>
                    <a:pt x="187" y="11"/>
                  </a:cubicBezTo>
                  <a:cubicBezTo>
                    <a:pt x="187" y="9"/>
                    <a:pt x="186" y="6"/>
                    <a:pt x="184" y="3"/>
                  </a:cubicBezTo>
                  <a:cubicBezTo>
                    <a:pt x="182" y="1"/>
                    <a:pt x="179" y="0"/>
                    <a:pt x="17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6" y="0"/>
                    <a:pt x="13" y="1"/>
                    <a:pt x="11" y="3"/>
                  </a:cubicBezTo>
                  <a:cubicBezTo>
                    <a:pt x="9" y="6"/>
                    <a:pt x="8" y="9"/>
                    <a:pt x="9" y="11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3" y="50"/>
                    <a:pt x="0" y="65"/>
                    <a:pt x="3" y="80"/>
                  </a:cubicBezTo>
                  <a:cubicBezTo>
                    <a:pt x="5" y="90"/>
                    <a:pt x="9" y="100"/>
                    <a:pt x="16" y="107"/>
                  </a:cubicBezTo>
                  <a:cubicBezTo>
                    <a:pt x="28" y="267"/>
                    <a:pt x="28" y="267"/>
                    <a:pt x="28" y="267"/>
                  </a:cubicBezTo>
                  <a:cubicBezTo>
                    <a:pt x="28" y="273"/>
                    <a:pt x="33" y="277"/>
                    <a:pt x="38" y="277"/>
                  </a:cubicBezTo>
                  <a:cubicBezTo>
                    <a:pt x="157" y="277"/>
                    <a:pt x="157" y="277"/>
                    <a:pt x="157" y="277"/>
                  </a:cubicBezTo>
                  <a:cubicBezTo>
                    <a:pt x="162" y="277"/>
                    <a:pt x="167" y="273"/>
                    <a:pt x="168" y="267"/>
                  </a:cubicBezTo>
                  <a:cubicBezTo>
                    <a:pt x="180" y="107"/>
                    <a:pt x="180" y="107"/>
                    <a:pt x="180" y="107"/>
                  </a:cubicBezTo>
                  <a:cubicBezTo>
                    <a:pt x="186" y="100"/>
                    <a:pt x="191" y="90"/>
                    <a:pt x="193" y="80"/>
                  </a:cubicBezTo>
                  <a:cubicBezTo>
                    <a:pt x="195" y="65"/>
                    <a:pt x="192" y="50"/>
                    <a:pt x="185" y="39"/>
                  </a:cubicBezTo>
                  <a:close/>
                  <a:moveTo>
                    <a:pt x="31" y="21"/>
                  </a:moveTo>
                  <a:cubicBezTo>
                    <a:pt x="165" y="21"/>
                    <a:pt x="165" y="21"/>
                    <a:pt x="165" y="21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3" y="45"/>
                    <a:pt x="164" y="48"/>
                    <a:pt x="166" y="50"/>
                  </a:cubicBezTo>
                  <a:cubicBezTo>
                    <a:pt x="169" y="53"/>
                    <a:pt x="171" y="58"/>
                    <a:pt x="172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58"/>
                    <a:pt x="26" y="53"/>
                    <a:pt x="30" y="50"/>
                  </a:cubicBezTo>
                  <a:cubicBezTo>
                    <a:pt x="31" y="48"/>
                    <a:pt x="32" y="45"/>
                    <a:pt x="32" y="42"/>
                  </a:cubicBezTo>
                  <a:lnTo>
                    <a:pt x="31" y="21"/>
                  </a:lnTo>
                  <a:close/>
                  <a:moveTo>
                    <a:pt x="162" y="94"/>
                  </a:moveTo>
                  <a:cubicBezTo>
                    <a:pt x="160" y="96"/>
                    <a:pt x="159" y="98"/>
                    <a:pt x="159" y="101"/>
                  </a:cubicBezTo>
                  <a:cubicBezTo>
                    <a:pt x="147" y="256"/>
                    <a:pt x="147" y="256"/>
                    <a:pt x="147" y="256"/>
                  </a:cubicBezTo>
                  <a:cubicBezTo>
                    <a:pt x="48" y="256"/>
                    <a:pt x="48" y="256"/>
                    <a:pt x="48" y="25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6" y="98"/>
                    <a:pt x="35" y="96"/>
                    <a:pt x="33" y="94"/>
                  </a:cubicBezTo>
                  <a:cubicBezTo>
                    <a:pt x="31" y="92"/>
                    <a:pt x="28" y="89"/>
                    <a:pt x="27" y="85"/>
                  </a:cubicBezTo>
                  <a:cubicBezTo>
                    <a:pt x="169" y="85"/>
                    <a:pt x="169" y="85"/>
                    <a:pt x="169" y="85"/>
                  </a:cubicBezTo>
                  <a:cubicBezTo>
                    <a:pt x="167" y="89"/>
                    <a:pt x="165" y="92"/>
                    <a:pt x="16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1" name="Freeform 534"/>
          <p:cNvSpPr>
            <a:spLocks noChangeAspect="1" noEditPoints="1"/>
          </p:cNvSpPr>
          <p:nvPr/>
        </p:nvSpPr>
        <p:spPr bwMode="auto">
          <a:xfrm>
            <a:off x="9387989" y="2051050"/>
            <a:ext cx="367982" cy="367982"/>
          </a:xfrm>
          <a:custGeom>
            <a:avLst/>
            <a:gdLst>
              <a:gd name="T0" fmla="*/ 373 w 512"/>
              <a:gd name="T1" fmla="*/ 298 h 512"/>
              <a:gd name="T2" fmla="*/ 139 w 512"/>
              <a:gd name="T3" fmla="*/ 352 h 512"/>
              <a:gd name="T4" fmla="*/ 147 w 512"/>
              <a:gd name="T5" fmla="*/ 286 h 512"/>
              <a:gd name="T6" fmla="*/ 212 w 512"/>
              <a:gd name="T7" fmla="*/ 286 h 512"/>
              <a:gd name="T8" fmla="*/ 249 w 512"/>
              <a:gd name="T9" fmla="*/ 286 h 512"/>
              <a:gd name="T10" fmla="*/ 314 w 512"/>
              <a:gd name="T11" fmla="*/ 286 h 512"/>
              <a:gd name="T12" fmla="*/ 352 w 512"/>
              <a:gd name="T13" fmla="*/ 286 h 512"/>
              <a:gd name="T14" fmla="*/ 160 w 512"/>
              <a:gd name="T15" fmla="*/ 269 h 512"/>
              <a:gd name="T16" fmla="*/ 198 w 512"/>
              <a:gd name="T17" fmla="*/ 269 h 512"/>
              <a:gd name="T18" fmla="*/ 263 w 512"/>
              <a:gd name="T19" fmla="*/ 269 h 512"/>
              <a:gd name="T20" fmla="*/ 300 w 512"/>
              <a:gd name="T21" fmla="*/ 269 h 512"/>
              <a:gd name="T22" fmla="*/ 365 w 512"/>
              <a:gd name="T23" fmla="*/ 269 h 512"/>
              <a:gd name="T24" fmla="*/ 373 w 512"/>
              <a:gd name="T25" fmla="*/ 224 h 512"/>
              <a:gd name="T26" fmla="*/ 139 w 512"/>
              <a:gd name="T27" fmla="*/ 257 h 512"/>
              <a:gd name="T28" fmla="*/ 256 w 512"/>
              <a:gd name="T29" fmla="*/ 512 h 512"/>
              <a:gd name="T30" fmla="*/ 256 w 512"/>
              <a:gd name="T31" fmla="*/ 0 h 512"/>
              <a:gd name="T32" fmla="*/ 320 w 512"/>
              <a:gd name="T33" fmla="*/ 118 h 512"/>
              <a:gd name="T34" fmla="*/ 341 w 512"/>
              <a:gd name="T35" fmla="*/ 118 h 512"/>
              <a:gd name="T36" fmla="*/ 331 w 512"/>
              <a:gd name="T37" fmla="*/ 96 h 512"/>
              <a:gd name="T38" fmla="*/ 320 w 512"/>
              <a:gd name="T39" fmla="*/ 118 h 512"/>
              <a:gd name="T40" fmla="*/ 256 w 512"/>
              <a:gd name="T41" fmla="*/ 128 h 512"/>
              <a:gd name="T42" fmla="*/ 267 w 512"/>
              <a:gd name="T43" fmla="*/ 107 h 512"/>
              <a:gd name="T44" fmla="*/ 245 w 512"/>
              <a:gd name="T45" fmla="*/ 107 h 512"/>
              <a:gd name="T46" fmla="*/ 171 w 512"/>
              <a:gd name="T47" fmla="*/ 118 h 512"/>
              <a:gd name="T48" fmla="*/ 192 w 512"/>
              <a:gd name="T49" fmla="*/ 118 h 512"/>
              <a:gd name="T50" fmla="*/ 181 w 512"/>
              <a:gd name="T51" fmla="*/ 96 h 512"/>
              <a:gd name="T52" fmla="*/ 171 w 512"/>
              <a:gd name="T53" fmla="*/ 118 h 512"/>
              <a:gd name="T54" fmla="*/ 405 w 512"/>
              <a:gd name="T55" fmla="*/ 352 h 512"/>
              <a:gd name="T56" fmla="*/ 395 w 512"/>
              <a:gd name="T57" fmla="*/ 214 h 512"/>
              <a:gd name="T58" fmla="*/ 341 w 512"/>
              <a:gd name="T59" fmla="*/ 203 h 512"/>
              <a:gd name="T60" fmla="*/ 331 w 512"/>
              <a:gd name="T61" fmla="*/ 150 h 512"/>
              <a:gd name="T62" fmla="*/ 320 w 512"/>
              <a:gd name="T63" fmla="*/ 203 h 512"/>
              <a:gd name="T64" fmla="*/ 267 w 512"/>
              <a:gd name="T65" fmla="*/ 160 h 512"/>
              <a:gd name="T66" fmla="*/ 245 w 512"/>
              <a:gd name="T67" fmla="*/ 160 h 512"/>
              <a:gd name="T68" fmla="*/ 192 w 512"/>
              <a:gd name="T69" fmla="*/ 203 h 512"/>
              <a:gd name="T70" fmla="*/ 181 w 512"/>
              <a:gd name="T71" fmla="*/ 150 h 512"/>
              <a:gd name="T72" fmla="*/ 171 w 512"/>
              <a:gd name="T73" fmla="*/ 203 h 512"/>
              <a:gd name="T74" fmla="*/ 117 w 512"/>
              <a:gd name="T75" fmla="*/ 214 h 512"/>
              <a:gd name="T76" fmla="*/ 107 w 512"/>
              <a:gd name="T77" fmla="*/ 352 h 512"/>
              <a:gd name="T78" fmla="*/ 107 w 512"/>
              <a:gd name="T79" fmla="*/ 374 h 512"/>
              <a:gd name="T80" fmla="*/ 384 w 512"/>
              <a:gd name="T81" fmla="*/ 374 h 512"/>
              <a:gd name="T82" fmla="*/ 416 w 512"/>
              <a:gd name="T8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352" y="286"/>
                </a:moveTo>
                <a:cubicBezTo>
                  <a:pt x="357" y="290"/>
                  <a:pt x="363" y="296"/>
                  <a:pt x="373" y="298"/>
                </a:cubicBezTo>
                <a:cubicBezTo>
                  <a:pt x="373" y="352"/>
                  <a:pt x="373" y="352"/>
                  <a:pt x="373" y="352"/>
                </a:cubicBezTo>
                <a:cubicBezTo>
                  <a:pt x="139" y="352"/>
                  <a:pt x="139" y="352"/>
                  <a:pt x="139" y="352"/>
                </a:cubicBezTo>
                <a:cubicBezTo>
                  <a:pt x="139" y="280"/>
                  <a:pt x="139" y="280"/>
                  <a:pt x="139" y="280"/>
                </a:cubicBezTo>
                <a:cubicBezTo>
                  <a:pt x="141" y="281"/>
                  <a:pt x="144" y="283"/>
                  <a:pt x="147" y="286"/>
                </a:cubicBezTo>
                <a:cubicBezTo>
                  <a:pt x="154" y="292"/>
                  <a:pt x="162" y="299"/>
                  <a:pt x="179" y="299"/>
                </a:cubicBezTo>
                <a:cubicBezTo>
                  <a:pt x="196" y="299"/>
                  <a:pt x="205" y="292"/>
                  <a:pt x="212" y="286"/>
                </a:cubicBezTo>
                <a:cubicBezTo>
                  <a:pt x="217" y="281"/>
                  <a:pt x="221" y="278"/>
                  <a:pt x="230" y="278"/>
                </a:cubicBezTo>
                <a:cubicBezTo>
                  <a:pt x="239" y="278"/>
                  <a:pt x="243" y="281"/>
                  <a:pt x="249" y="286"/>
                </a:cubicBezTo>
                <a:cubicBezTo>
                  <a:pt x="256" y="292"/>
                  <a:pt x="265" y="299"/>
                  <a:pt x="282" y="299"/>
                </a:cubicBezTo>
                <a:cubicBezTo>
                  <a:pt x="298" y="299"/>
                  <a:pt x="307" y="292"/>
                  <a:pt x="314" y="286"/>
                </a:cubicBezTo>
                <a:cubicBezTo>
                  <a:pt x="320" y="281"/>
                  <a:pt x="324" y="278"/>
                  <a:pt x="333" y="278"/>
                </a:cubicBezTo>
                <a:cubicBezTo>
                  <a:pt x="342" y="278"/>
                  <a:pt x="346" y="281"/>
                  <a:pt x="352" y="286"/>
                </a:cubicBezTo>
                <a:close/>
                <a:moveTo>
                  <a:pt x="139" y="257"/>
                </a:moveTo>
                <a:cubicBezTo>
                  <a:pt x="149" y="260"/>
                  <a:pt x="155" y="265"/>
                  <a:pt x="160" y="269"/>
                </a:cubicBezTo>
                <a:cubicBezTo>
                  <a:pt x="166" y="274"/>
                  <a:pt x="170" y="278"/>
                  <a:pt x="179" y="278"/>
                </a:cubicBezTo>
                <a:cubicBezTo>
                  <a:pt x="188" y="278"/>
                  <a:pt x="192" y="274"/>
                  <a:pt x="198" y="269"/>
                </a:cubicBezTo>
                <a:cubicBezTo>
                  <a:pt x="205" y="264"/>
                  <a:pt x="214" y="256"/>
                  <a:pt x="230" y="256"/>
                </a:cubicBezTo>
                <a:cubicBezTo>
                  <a:pt x="247" y="256"/>
                  <a:pt x="256" y="264"/>
                  <a:pt x="263" y="269"/>
                </a:cubicBezTo>
                <a:cubicBezTo>
                  <a:pt x="269" y="274"/>
                  <a:pt x="273" y="278"/>
                  <a:pt x="282" y="278"/>
                </a:cubicBezTo>
                <a:cubicBezTo>
                  <a:pt x="290" y="278"/>
                  <a:pt x="294" y="274"/>
                  <a:pt x="300" y="269"/>
                </a:cubicBezTo>
                <a:cubicBezTo>
                  <a:pt x="307" y="264"/>
                  <a:pt x="316" y="256"/>
                  <a:pt x="333" y="256"/>
                </a:cubicBezTo>
                <a:cubicBezTo>
                  <a:pt x="349" y="256"/>
                  <a:pt x="358" y="264"/>
                  <a:pt x="365" y="269"/>
                </a:cubicBezTo>
                <a:cubicBezTo>
                  <a:pt x="368" y="272"/>
                  <a:pt x="371" y="274"/>
                  <a:pt x="373" y="275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139" y="224"/>
                  <a:pt x="139" y="224"/>
                  <a:pt x="139" y="224"/>
                </a:cubicBezTo>
                <a:lnTo>
                  <a:pt x="139" y="257"/>
                </a:ln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20" y="118"/>
                </a:moveTo>
                <a:cubicBezTo>
                  <a:pt x="320" y="124"/>
                  <a:pt x="325" y="128"/>
                  <a:pt x="331" y="128"/>
                </a:cubicBezTo>
                <a:cubicBezTo>
                  <a:pt x="337" y="128"/>
                  <a:pt x="341" y="124"/>
                  <a:pt x="341" y="118"/>
                </a:cubicBezTo>
                <a:cubicBezTo>
                  <a:pt x="341" y="107"/>
                  <a:pt x="341" y="107"/>
                  <a:pt x="341" y="107"/>
                </a:cubicBezTo>
                <a:cubicBezTo>
                  <a:pt x="341" y="101"/>
                  <a:pt x="337" y="96"/>
                  <a:pt x="331" y="96"/>
                </a:cubicBezTo>
                <a:cubicBezTo>
                  <a:pt x="325" y="96"/>
                  <a:pt x="320" y="101"/>
                  <a:pt x="320" y="107"/>
                </a:cubicBezTo>
                <a:lnTo>
                  <a:pt x="320" y="118"/>
                </a:lnTo>
                <a:close/>
                <a:moveTo>
                  <a:pt x="245" y="118"/>
                </a:moveTo>
                <a:cubicBezTo>
                  <a:pt x="245" y="124"/>
                  <a:pt x="250" y="128"/>
                  <a:pt x="256" y="128"/>
                </a:cubicBezTo>
                <a:cubicBezTo>
                  <a:pt x="262" y="128"/>
                  <a:pt x="267" y="124"/>
                  <a:pt x="267" y="118"/>
                </a:cubicBezTo>
                <a:cubicBezTo>
                  <a:pt x="267" y="107"/>
                  <a:pt x="267" y="107"/>
                  <a:pt x="267" y="107"/>
                </a:cubicBezTo>
                <a:cubicBezTo>
                  <a:pt x="267" y="101"/>
                  <a:pt x="262" y="96"/>
                  <a:pt x="256" y="96"/>
                </a:cubicBezTo>
                <a:cubicBezTo>
                  <a:pt x="250" y="96"/>
                  <a:pt x="245" y="101"/>
                  <a:pt x="245" y="107"/>
                </a:cubicBezTo>
                <a:lnTo>
                  <a:pt x="245" y="118"/>
                </a:lnTo>
                <a:close/>
                <a:moveTo>
                  <a:pt x="171" y="118"/>
                </a:moveTo>
                <a:cubicBezTo>
                  <a:pt x="171" y="124"/>
                  <a:pt x="175" y="128"/>
                  <a:pt x="181" y="128"/>
                </a:cubicBezTo>
                <a:cubicBezTo>
                  <a:pt x="187" y="128"/>
                  <a:pt x="192" y="124"/>
                  <a:pt x="192" y="118"/>
                </a:cubicBezTo>
                <a:cubicBezTo>
                  <a:pt x="192" y="107"/>
                  <a:pt x="192" y="107"/>
                  <a:pt x="192" y="107"/>
                </a:cubicBezTo>
                <a:cubicBezTo>
                  <a:pt x="192" y="101"/>
                  <a:pt x="187" y="96"/>
                  <a:pt x="181" y="96"/>
                </a:cubicBezTo>
                <a:cubicBezTo>
                  <a:pt x="175" y="96"/>
                  <a:pt x="171" y="101"/>
                  <a:pt x="171" y="107"/>
                </a:cubicBezTo>
                <a:lnTo>
                  <a:pt x="171" y="118"/>
                </a:lnTo>
                <a:close/>
                <a:moveTo>
                  <a:pt x="416" y="363"/>
                </a:moveTo>
                <a:cubicBezTo>
                  <a:pt x="416" y="357"/>
                  <a:pt x="411" y="352"/>
                  <a:pt x="405" y="352"/>
                </a:cubicBezTo>
                <a:cubicBezTo>
                  <a:pt x="395" y="352"/>
                  <a:pt x="395" y="352"/>
                  <a:pt x="395" y="352"/>
                </a:cubicBezTo>
                <a:cubicBezTo>
                  <a:pt x="395" y="214"/>
                  <a:pt x="395" y="214"/>
                  <a:pt x="395" y="214"/>
                </a:cubicBezTo>
                <a:cubicBezTo>
                  <a:pt x="395" y="208"/>
                  <a:pt x="390" y="203"/>
                  <a:pt x="384" y="203"/>
                </a:cubicBezTo>
                <a:cubicBezTo>
                  <a:pt x="341" y="203"/>
                  <a:pt x="341" y="203"/>
                  <a:pt x="341" y="203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1" y="154"/>
                  <a:pt x="337" y="150"/>
                  <a:pt x="331" y="150"/>
                </a:cubicBezTo>
                <a:cubicBezTo>
                  <a:pt x="325" y="150"/>
                  <a:pt x="320" y="154"/>
                  <a:pt x="320" y="160"/>
                </a:cubicBezTo>
                <a:cubicBezTo>
                  <a:pt x="320" y="203"/>
                  <a:pt x="320" y="203"/>
                  <a:pt x="320" y="203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67" y="160"/>
                  <a:pt x="267" y="160"/>
                  <a:pt x="267" y="160"/>
                </a:cubicBezTo>
                <a:cubicBezTo>
                  <a:pt x="267" y="154"/>
                  <a:pt x="262" y="150"/>
                  <a:pt x="256" y="150"/>
                </a:cubicBezTo>
                <a:cubicBezTo>
                  <a:pt x="250" y="150"/>
                  <a:pt x="245" y="154"/>
                  <a:pt x="245" y="160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192" y="203"/>
                  <a:pt x="192" y="203"/>
                  <a:pt x="192" y="203"/>
                </a:cubicBezTo>
                <a:cubicBezTo>
                  <a:pt x="192" y="160"/>
                  <a:pt x="192" y="160"/>
                  <a:pt x="192" y="160"/>
                </a:cubicBezTo>
                <a:cubicBezTo>
                  <a:pt x="192" y="154"/>
                  <a:pt x="187" y="150"/>
                  <a:pt x="181" y="150"/>
                </a:cubicBezTo>
                <a:cubicBezTo>
                  <a:pt x="175" y="150"/>
                  <a:pt x="171" y="154"/>
                  <a:pt x="171" y="160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07" y="352"/>
                  <a:pt x="107" y="352"/>
                  <a:pt x="107" y="352"/>
                </a:cubicBezTo>
                <a:cubicBezTo>
                  <a:pt x="101" y="352"/>
                  <a:pt x="96" y="357"/>
                  <a:pt x="96" y="363"/>
                </a:cubicBezTo>
                <a:cubicBezTo>
                  <a:pt x="96" y="369"/>
                  <a:pt x="101" y="374"/>
                  <a:pt x="107" y="374"/>
                </a:cubicBezTo>
                <a:cubicBezTo>
                  <a:pt x="128" y="374"/>
                  <a:pt x="128" y="374"/>
                  <a:pt x="128" y="374"/>
                </a:cubicBezTo>
                <a:cubicBezTo>
                  <a:pt x="384" y="374"/>
                  <a:pt x="384" y="374"/>
                  <a:pt x="384" y="374"/>
                </a:cubicBezTo>
                <a:cubicBezTo>
                  <a:pt x="405" y="374"/>
                  <a:pt x="405" y="374"/>
                  <a:pt x="405" y="374"/>
                </a:cubicBezTo>
                <a:cubicBezTo>
                  <a:pt x="411" y="374"/>
                  <a:pt x="416" y="369"/>
                  <a:pt x="416" y="36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2" name="Group 537"/>
          <p:cNvGrpSpPr>
            <a:grpSpLocks noChangeAspect="1"/>
          </p:cNvGrpSpPr>
          <p:nvPr/>
        </p:nvGrpSpPr>
        <p:grpSpPr bwMode="auto">
          <a:xfrm>
            <a:off x="9884990" y="2051050"/>
            <a:ext cx="367982" cy="367982"/>
            <a:chOff x="3877" y="2753"/>
            <a:chExt cx="340" cy="340"/>
          </a:xfrm>
          <a:solidFill>
            <a:schemeClr val="accent6"/>
          </a:solidFill>
        </p:grpSpPr>
        <p:sp>
          <p:nvSpPr>
            <p:cNvPr id="303" name="Freeform 538"/>
            <p:cNvSpPr>
              <a:spLocks noEditPoints="1"/>
            </p:cNvSpPr>
            <p:nvPr/>
          </p:nvSpPr>
          <p:spPr bwMode="auto">
            <a:xfrm>
              <a:off x="3941" y="2817"/>
              <a:ext cx="212" cy="184"/>
            </a:xfrm>
            <a:custGeom>
              <a:avLst/>
              <a:gdLst>
                <a:gd name="T0" fmla="*/ 299 w 320"/>
                <a:gd name="T1" fmla="*/ 256 h 278"/>
                <a:gd name="T2" fmla="*/ 288 w 320"/>
                <a:gd name="T3" fmla="*/ 107 h 278"/>
                <a:gd name="T4" fmla="*/ 245 w 320"/>
                <a:gd name="T5" fmla="*/ 64 h 278"/>
                <a:gd name="T6" fmla="*/ 224 w 320"/>
                <a:gd name="T7" fmla="*/ 64 h 278"/>
                <a:gd name="T8" fmla="*/ 171 w 320"/>
                <a:gd name="T9" fmla="*/ 107 h 278"/>
                <a:gd name="T10" fmla="*/ 160 w 320"/>
                <a:gd name="T11" fmla="*/ 54 h 278"/>
                <a:gd name="T12" fmla="*/ 149 w 320"/>
                <a:gd name="T13" fmla="*/ 107 h 278"/>
                <a:gd name="T14" fmla="*/ 96 w 320"/>
                <a:gd name="T15" fmla="*/ 64 h 278"/>
                <a:gd name="T16" fmla="*/ 75 w 320"/>
                <a:gd name="T17" fmla="*/ 64 h 278"/>
                <a:gd name="T18" fmla="*/ 32 w 320"/>
                <a:gd name="T19" fmla="*/ 107 h 278"/>
                <a:gd name="T20" fmla="*/ 21 w 320"/>
                <a:gd name="T21" fmla="*/ 256 h 278"/>
                <a:gd name="T22" fmla="*/ 0 w 320"/>
                <a:gd name="T23" fmla="*/ 267 h 278"/>
                <a:gd name="T24" fmla="*/ 32 w 320"/>
                <a:gd name="T25" fmla="*/ 278 h 278"/>
                <a:gd name="T26" fmla="*/ 309 w 320"/>
                <a:gd name="T27" fmla="*/ 278 h 278"/>
                <a:gd name="T28" fmla="*/ 309 w 320"/>
                <a:gd name="T29" fmla="*/ 256 h 278"/>
                <a:gd name="T30" fmla="*/ 277 w 320"/>
                <a:gd name="T31" fmla="*/ 179 h 278"/>
                <a:gd name="T32" fmla="*/ 237 w 320"/>
                <a:gd name="T33" fmla="*/ 160 h 278"/>
                <a:gd name="T34" fmla="*/ 186 w 320"/>
                <a:gd name="T35" fmla="*/ 182 h 278"/>
                <a:gd name="T36" fmla="*/ 134 w 320"/>
                <a:gd name="T37" fmla="*/ 160 h 278"/>
                <a:gd name="T38" fmla="*/ 83 w 320"/>
                <a:gd name="T39" fmla="*/ 182 h 278"/>
                <a:gd name="T40" fmla="*/ 43 w 320"/>
                <a:gd name="T41" fmla="*/ 161 h 278"/>
                <a:gd name="T42" fmla="*/ 277 w 320"/>
                <a:gd name="T43" fmla="*/ 128 h 278"/>
                <a:gd name="T44" fmla="*/ 43 w 320"/>
                <a:gd name="T45" fmla="*/ 184 h 278"/>
                <a:gd name="T46" fmla="*/ 83 w 320"/>
                <a:gd name="T47" fmla="*/ 203 h 278"/>
                <a:gd name="T48" fmla="*/ 134 w 320"/>
                <a:gd name="T49" fmla="*/ 182 h 278"/>
                <a:gd name="T50" fmla="*/ 186 w 320"/>
                <a:gd name="T51" fmla="*/ 203 h 278"/>
                <a:gd name="T52" fmla="*/ 237 w 320"/>
                <a:gd name="T53" fmla="*/ 182 h 278"/>
                <a:gd name="T54" fmla="*/ 277 w 320"/>
                <a:gd name="T55" fmla="*/ 202 h 278"/>
                <a:gd name="T56" fmla="*/ 43 w 320"/>
                <a:gd name="T57" fmla="*/ 256 h 278"/>
                <a:gd name="T58" fmla="*/ 75 w 320"/>
                <a:gd name="T59" fmla="*/ 11 h 278"/>
                <a:gd name="T60" fmla="*/ 96 w 320"/>
                <a:gd name="T61" fmla="*/ 11 h 278"/>
                <a:gd name="T62" fmla="*/ 85 w 320"/>
                <a:gd name="T63" fmla="*/ 32 h 278"/>
                <a:gd name="T64" fmla="*/ 149 w 320"/>
                <a:gd name="T65" fmla="*/ 22 h 278"/>
                <a:gd name="T66" fmla="*/ 160 w 320"/>
                <a:gd name="T67" fmla="*/ 0 h 278"/>
                <a:gd name="T68" fmla="*/ 171 w 320"/>
                <a:gd name="T69" fmla="*/ 22 h 278"/>
                <a:gd name="T70" fmla="*/ 149 w 320"/>
                <a:gd name="T71" fmla="*/ 22 h 278"/>
                <a:gd name="T72" fmla="*/ 224 w 320"/>
                <a:gd name="T73" fmla="*/ 11 h 278"/>
                <a:gd name="T74" fmla="*/ 245 w 320"/>
                <a:gd name="T75" fmla="*/ 11 h 278"/>
                <a:gd name="T76" fmla="*/ 235 w 320"/>
                <a:gd name="T77" fmla="*/ 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0" h="278">
                  <a:moveTo>
                    <a:pt x="309" y="256"/>
                  </a:moveTo>
                  <a:cubicBezTo>
                    <a:pt x="299" y="256"/>
                    <a:pt x="299" y="256"/>
                    <a:pt x="299" y="256"/>
                  </a:cubicBezTo>
                  <a:cubicBezTo>
                    <a:pt x="299" y="118"/>
                    <a:pt x="299" y="118"/>
                    <a:pt x="299" y="118"/>
                  </a:cubicBezTo>
                  <a:cubicBezTo>
                    <a:pt x="299" y="112"/>
                    <a:pt x="294" y="107"/>
                    <a:pt x="288" y="107"/>
                  </a:cubicBezTo>
                  <a:cubicBezTo>
                    <a:pt x="245" y="107"/>
                    <a:pt x="245" y="107"/>
                    <a:pt x="245" y="107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58"/>
                    <a:pt x="241" y="54"/>
                    <a:pt x="235" y="54"/>
                  </a:cubicBezTo>
                  <a:cubicBezTo>
                    <a:pt x="229" y="54"/>
                    <a:pt x="224" y="58"/>
                    <a:pt x="224" y="64"/>
                  </a:cubicBezTo>
                  <a:cubicBezTo>
                    <a:pt x="224" y="107"/>
                    <a:pt x="224" y="107"/>
                    <a:pt x="224" y="107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58"/>
                    <a:pt x="166" y="54"/>
                    <a:pt x="160" y="54"/>
                  </a:cubicBezTo>
                  <a:cubicBezTo>
                    <a:pt x="154" y="54"/>
                    <a:pt x="149" y="58"/>
                    <a:pt x="149" y="64"/>
                  </a:cubicBezTo>
                  <a:cubicBezTo>
                    <a:pt x="149" y="107"/>
                    <a:pt x="149" y="107"/>
                    <a:pt x="149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58"/>
                    <a:pt x="91" y="54"/>
                    <a:pt x="85" y="54"/>
                  </a:cubicBezTo>
                  <a:cubicBezTo>
                    <a:pt x="79" y="54"/>
                    <a:pt x="75" y="58"/>
                    <a:pt x="75" y="64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6" y="107"/>
                    <a:pt x="21" y="112"/>
                    <a:pt x="21" y="118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1"/>
                    <a:pt x="0" y="267"/>
                  </a:cubicBezTo>
                  <a:cubicBezTo>
                    <a:pt x="0" y="273"/>
                    <a:pt x="5" y="278"/>
                    <a:pt x="11" y="278"/>
                  </a:cubicBezTo>
                  <a:cubicBezTo>
                    <a:pt x="32" y="278"/>
                    <a:pt x="32" y="278"/>
                    <a:pt x="32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309" y="278"/>
                    <a:pt x="309" y="278"/>
                    <a:pt x="309" y="278"/>
                  </a:cubicBezTo>
                  <a:cubicBezTo>
                    <a:pt x="315" y="278"/>
                    <a:pt x="320" y="273"/>
                    <a:pt x="320" y="267"/>
                  </a:cubicBezTo>
                  <a:cubicBezTo>
                    <a:pt x="320" y="261"/>
                    <a:pt x="315" y="256"/>
                    <a:pt x="309" y="256"/>
                  </a:cubicBezTo>
                  <a:close/>
                  <a:moveTo>
                    <a:pt x="277" y="128"/>
                  </a:moveTo>
                  <a:cubicBezTo>
                    <a:pt x="277" y="179"/>
                    <a:pt x="277" y="179"/>
                    <a:pt x="277" y="179"/>
                  </a:cubicBezTo>
                  <a:cubicBezTo>
                    <a:pt x="275" y="178"/>
                    <a:pt x="272" y="176"/>
                    <a:pt x="269" y="173"/>
                  </a:cubicBezTo>
                  <a:cubicBezTo>
                    <a:pt x="262" y="168"/>
                    <a:pt x="253" y="160"/>
                    <a:pt x="237" y="160"/>
                  </a:cubicBezTo>
                  <a:cubicBezTo>
                    <a:pt x="220" y="160"/>
                    <a:pt x="211" y="168"/>
                    <a:pt x="204" y="173"/>
                  </a:cubicBezTo>
                  <a:cubicBezTo>
                    <a:pt x="198" y="178"/>
                    <a:pt x="194" y="182"/>
                    <a:pt x="186" y="182"/>
                  </a:cubicBezTo>
                  <a:cubicBezTo>
                    <a:pt x="177" y="182"/>
                    <a:pt x="173" y="178"/>
                    <a:pt x="167" y="173"/>
                  </a:cubicBezTo>
                  <a:cubicBezTo>
                    <a:pt x="160" y="168"/>
                    <a:pt x="151" y="160"/>
                    <a:pt x="134" y="160"/>
                  </a:cubicBezTo>
                  <a:cubicBezTo>
                    <a:pt x="118" y="160"/>
                    <a:pt x="109" y="168"/>
                    <a:pt x="102" y="173"/>
                  </a:cubicBezTo>
                  <a:cubicBezTo>
                    <a:pt x="96" y="178"/>
                    <a:pt x="92" y="182"/>
                    <a:pt x="83" y="182"/>
                  </a:cubicBezTo>
                  <a:cubicBezTo>
                    <a:pt x="74" y="182"/>
                    <a:pt x="70" y="178"/>
                    <a:pt x="64" y="173"/>
                  </a:cubicBezTo>
                  <a:cubicBezTo>
                    <a:pt x="59" y="169"/>
                    <a:pt x="53" y="164"/>
                    <a:pt x="43" y="161"/>
                  </a:cubicBezTo>
                  <a:cubicBezTo>
                    <a:pt x="43" y="128"/>
                    <a:pt x="43" y="128"/>
                    <a:pt x="43" y="128"/>
                  </a:cubicBezTo>
                  <a:lnTo>
                    <a:pt x="277" y="128"/>
                  </a:lnTo>
                  <a:close/>
                  <a:moveTo>
                    <a:pt x="43" y="256"/>
                  </a:moveTo>
                  <a:cubicBezTo>
                    <a:pt x="43" y="184"/>
                    <a:pt x="43" y="184"/>
                    <a:pt x="43" y="184"/>
                  </a:cubicBezTo>
                  <a:cubicBezTo>
                    <a:pt x="45" y="185"/>
                    <a:pt x="48" y="187"/>
                    <a:pt x="51" y="190"/>
                  </a:cubicBezTo>
                  <a:cubicBezTo>
                    <a:pt x="58" y="196"/>
                    <a:pt x="66" y="203"/>
                    <a:pt x="83" y="203"/>
                  </a:cubicBezTo>
                  <a:cubicBezTo>
                    <a:pt x="100" y="203"/>
                    <a:pt x="109" y="196"/>
                    <a:pt x="116" y="190"/>
                  </a:cubicBezTo>
                  <a:cubicBezTo>
                    <a:pt x="121" y="185"/>
                    <a:pt x="125" y="182"/>
                    <a:pt x="134" y="182"/>
                  </a:cubicBezTo>
                  <a:cubicBezTo>
                    <a:pt x="143" y="182"/>
                    <a:pt x="147" y="185"/>
                    <a:pt x="153" y="190"/>
                  </a:cubicBezTo>
                  <a:cubicBezTo>
                    <a:pt x="160" y="196"/>
                    <a:pt x="169" y="203"/>
                    <a:pt x="186" y="203"/>
                  </a:cubicBezTo>
                  <a:cubicBezTo>
                    <a:pt x="202" y="203"/>
                    <a:pt x="211" y="196"/>
                    <a:pt x="218" y="190"/>
                  </a:cubicBezTo>
                  <a:cubicBezTo>
                    <a:pt x="224" y="185"/>
                    <a:pt x="228" y="182"/>
                    <a:pt x="237" y="182"/>
                  </a:cubicBezTo>
                  <a:cubicBezTo>
                    <a:pt x="246" y="182"/>
                    <a:pt x="250" y="185"/>
                    <a:pt x="256" y="190"/>
                  </a:cubicBezTo>
                  <a:cubicBezTo>
                    <a:pt x="261" y="194"/>
                    <a:pt x="267" y="200"/>
                    <a:pt x="277" y="202"/>
                  </a:cubicBezTo>
                  <a:cubicBezTo>
                    <a:pt x="277" y="256"/>
                    <a:pt x="277" y="256"/>
                    <a:pt x="277" y="256"/>
                  </a:cubicBezTo>
                  <a:lnTo>
                    <a:pt x="43" y="256"/>
                  </a:lnTo>
                  <a:close/>
                  <a:moveTo>
                    <a:pt x="75" y="22"/>
                  </a:moveTo>
                  <a:cubicBezTo>
                    <a:pt x="75" y="11"/>
                    <a:pt x="75" y="11"/>
                    <a:pt x="75" y="11"/>
                  </a:cubicBezTo>
                  <a:cubicBezTo>
                    <a:pt x="75" y="5"/>
                    <a:pt x="79" y="0"/>
                    <a:pt x="85" y="0"/>
                  </a:cubicBezTo>
                  <a:cubicBezTo>
                    <a:pt x="91" y="0"/>
                    <a:pt x="96" y="5"/>
                    <a:pt x="96" y="11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28"/>
                    <a:pt x="91" y="32"/>
                    <a:pt x="85" y="32"/>
                  </a:cubicBezTo>
                  <a:cubicBezTo>
                    <a:pt x="79" y="32"/>
                    <a:pt x="75" y="28"/>
                    <a:pt x="75" y="22"/>
                  </a:cubicBezTo>
                  <a:close/>
                  <a:moveTo>
                    <a:pt x="149" y="22"/>
                  </a:move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54" y="0"/>
                    <a:pt x="160" y="0"/>
                  </a:cubicBezTo>
                  <a:cubicBezTo>
                    <a:pt x="166" y="0"/>
                    <a:pt x="171" y="5"/>
                    <a:pt x="171" y="11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28"/>
                    <a:pt x="166" y="32"/>
                    <a:pt x="160" y="32"/>
                  </a:cubicBezTo>
                  <a:cubicBezTo>
                    <a:pt x="154" y="32"/>
                    <a:pt x="149" y="28"/>
                    <a:pt x="149" y="22"/>
                  </a:cubicBezTo>
                  <a:close/>
                  <a:moveTo>
                    <a:pt x="224" y="22"/>
                  </a:moveTo>
                  <a:cubicBezTo>
                    <a:pt x="224" y="11"/>
                    <a:pt x="224" y="11"/>
                    <a:pt x="224" y="11"/>
                  </a:cubicBezTo>
                  <a:cubicBezTo>
                    <a:pt x="224" y="5"/>
                    <a:pt x="229" y="0"/>
                    <a:pt x="235" y="0"/>
                  </a:cubicBezTo>
                  <a:cubicBezTo>
                    <a:pt x="241" y="0"/>
                    <a:pt x="245" y="5"/>
                    <a:pt x="245" y="11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5" y="28"/>
                    <a:pt x="241" y="32"/>
                    <a:pt x="235" y="32"/>
                  </a:cubicBezTo>
                  <a:cubicBezTo>
                    <a:pt x="229" y="32"/>
                    <a:pt x="224" y="28"/>
                    <a:pt x="22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539"/>
            <p:cNvSpPr>
              <a:spLocks noEditPoints="1"/>
            </p:cNvSpPr>
            <p:nvPr/>
          </p:nvSpPr>
          <p:spPr bwMode="auto">
            <a:xfrm>
              <a:off x="3877" y="275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5" name="Freeform 304"/>
          <p:cNvSpPr>
            <a:spLocks noChangeAspect="1" noEditPoints="1"/>
          </p:cNvSpPr>
          <p:nvPr/>
        </p:nvSpPr>
        <p:spPr bwMode="auto">
          <a:xfrm>
            <a:off x="2422229" y="2920269"/>
            <a:ext cx="367982" cy="367982"/>
          </a:xfrm>
          <a:custGeom>
            <a:avLst/>
            <a:gdLst>
              <a:gd name="T0" fmla="*/ 214 w 512"/>
              <a:gd name="T1" fmla="*/ 156 h 512"/>
              <a:gd name="T2" fmla="*/ 227 w 512"/>
              <a:gd name="T3" fmla="*/ 155 h 512"/>
              <a:gd name="T4" fmla="*/ 254 w 512"/>
              <a:gd name="T5" fmla="*/ 129 h 512"/>
              <a:gd name="T6" fmla="*/ 282 w 512"/>
              <a:gd name="T7" fmla="*/ 160 h 512"/>
              <a:gd name="T8" fmla="*/ 296 w 512"/>
              <a:gd name="T9" fmla="*/ 160 h 512"/>
              <a:gd name="T10" fmla="*/ 303 w 512"/>
              <a:gd name="T11" fmla="*/ 191 h 512"/>
              <a:gd name="T12" fmla="*/ 203 w 512"/>
              <a:gd name="T13" fmla="*/ 192 h 512"/>
              <a:gd name="T14" fmla="*/ 512 w 512"/>
              <a:gd name="T15" fmla="*/ 256 h 512"/>
              <a:gd name="T16" fmla="*/ 0 w 512"/>
              <a:gd name="T17" fmla="*/ 256 h 512"/>
              <a:gd name="T18" fmla="*/ 512 w 512"/>
              <a:gd name="T19" fmla="*/ 256 h 512"/>
              <a:gd name="T20" fmla="*/ 341 w 512"/>
              <a:gd name="T21" fmla="*/ 384 h 512"/>
              <a:gd name="T22" fmla="*/ 330 w 512"/>
              <a:gd name="T23" fmla="*/ 295 h 512"/>
              <a:gd name="T24" fmla="*/ 328 w 512"/>
              <a:gd name="T25" fmla="*/ 276 h 512"/>
              <a:gd name="T26" fmla="*/ 334 w 512"/>
              <a:gd name="T27" fmla="*/ 177 h 512"/>
              <a:gd name="T28" fmla="*/ 254 w 512"/>
              <a:gd name="T29" fmla="*/ 108 h 512"/>
              <a:gd name="T30" fmla="*/ 173 w 512"/>
              <a:gd name="T31" fmla="*/ 176 h 512"/>
              <a:gd name="T32" fmla="*/ 189 w 512"/>
              <a:gd name="T33" fmla="*/ 226 h 512"/>
              <a:gd name="T34" fmla="*/ 129 w 512"/>
              <a:gd name="T35" fmla="*/ 254 h 512"/>
              <a:gd name="T36" fmla="*/ 159 w 512"/>
              <a:gd name="T37" fmla="*/ 358 h 512"/>
              <a:gd name="T38" fmla="*/ 171 w 512"/>
              <a:gd name="T39" fmla="*/ 384 h 512"/>
              <a:gd name="T40" fmla="*/ 160 w 512"/>
              <a:gd name="T41" fmla="*/ 394 h 512"/>
              <a:gd name="T42" fmla="*/ 181 w 512"/>
              <a:gd name="T43" fmla="*/ 405 h 512"/>
              <a:gd name="T44" fmla="*/ 341 w 512"/>
              <a:gd name="T45" fmla="*/ 405 h 512"/>
              <a:gd name="T46" fmla="*/ 212 w 512"/>
              <a:gd name="T47" fmla="*/ 213 h 512"/>
              <a:gd name="T48" fmla="*/ 306 w 512"/>
              <a:gd name="T49" fmla="*/ 277 h 512"/>
              <a:gd name="T50" fmla="*/ 212 w 512"/>
              <a:gd name="T51" fmla="*/ 213 h 512"/>
              <a:gd name="T52" fmla="*/ 150 w 512"/>
              <a:gd name="T53" fmla="*/ 257 h 512"/>
              <a:gd name="T54" fmla="*/ 177 w 512"/>
              <a:gd name="T55" fmla="*/ 333 h 512"/>
              <a:gd name="T56" fmla="*/ 176 w 512"/>
              <a:gd name="T57" fmla="*/ 286 h 512"/>
              <a:gd name="T58" fmla="*/ 186 w 512"/>
              <a:gd name="T59" fmla="*/ 250 h 512"/>
              <a:gd name="T60" fmla="*/ 203 w 512"/>
              <a:gd name="T61" fmla="*/ 298 h 512"/>
              <a:gd name="T62" fmla="*/ 318 w 512"/>
              <a:gd name="T63" fmla="*/ 384 h 512"/>
              <a:gd name="T64" fmla="*/ 203 w 512"/>
              <a:gd name="T65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194" y="176"/>
                </a:moveTo>
                <a:cubicBezTo>
                  <a:pt x="194" y="165"/>
                  <a:pt x="203" y="156"/>
                  <a:pt x="214" y="156"/>
                </a:cubicBezTo>
                <a:cubicBezTo>
                  <a:pt x="215" y="156"/>
                  <a:pt x="217" y="156"/>
                  <a:pt x="218" y="157"/>
                </a:cubicBezTo>
                <a:cubicBezTo>
                  <a:pt x="221" y="157"/>
                  <a:pt x="224" y="157"/>
                  <a:pt x="227" y="155"/>
                </a:cubicBezTo>
                <a:cubicBezTo>
                  <a:pt x="229" y="154"/>
                  <a:pt x="231" y="151"/>
                  <a:pt x="231" y="148"/>
                </a:cubicBezTo>
                <a:cubicBezTo>
                  <a:pt x="233" y="137"/>
                  <a:pt x="243" y="129"/>
                  <a:pt x="254" y="129"/>
                </a:cubicBezTo>
                <a:cubicBezTo>
                  <a:pt x="267" y="129"/>
                  <a:pt x="277" y="139"/>
                  <a:pt x="277" y="151"/>
                </a:cubicBezTo>
                <a:cubicBezTo>
                  <a:pt x="277" y="155"/>
                  <a:pt x="279" y="158"/>
                  <a:pt x="282" y="160"/>
                </a:cubicBezTo>
                <a:cubicBezTo>
                  <a:pt x="285" y="162"/>
                  <a:pt x="288" y="162"/>
                  <a:pt x="291" y="161"/>
                </a:cubicBezTo>
                <a:cubicBezTo>
                  <a:pt x="293" y="161"/>
                  <a:pt x="295" y="160"/>
                  <a:pt x="296" y="160"/>
                </a:cubicBezTo>
                <a:cubicBezTo>
                  <a:pt x="305" y="160"/>
                  <a:pt x="313" y="168"/>
                  <a:pt x="313" y="177"/>
                </a:cubicBezTo>
                <a:cubicBezTo>
                  <a:pt x="313" y="183"/>
                  <a:pt x="309" y="189"/>
                  <a:pt x="303" y="191"/>
                </a:cubicBezTo>
                <a:cubicBezTo>
                  <a:pt x="303" y="192"/>
                  <a:pt x="302" y="192"/>
                  <a:pt x="302" y="192"/>
                </a:cubicBezTo>
                <a:cubicBezTo>
                  <a:pt x="203" y="192"/>
                  <a:pt x="203" y="192"/>
                  <a:pt x="203" y="192"/>
                </a:cubicBezTo>
                <a:cubicBezTo>
                  <a:pt x="198" y="188"/>
                  <a:pt x="194" y="182"/>
                  <a:pt x="194" y="17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2" y="394"/>
                </a:moveTo>
                <a:cubicBezTo>
                  <a:pt x="352" y="388"/>
                  <a:pt x="347" y="384"/>
                  <a:pt x="341" y="384"/>
                </a:cubicBezTo>
                <a:cubicBezTo>
                  <a:pt x="340" y="384"/>
                  <a:pt x="340" y="384"/>
                  <a:pt x="340" y="384"/>
                </a:cubicBezTo>
                <a:cubicBezTo>
                  <a:pt x="330" y="295"/>
                  <a:pt x="330" y="295"/>
                  <a:pt x="330" y="295"/>
                </a:cubicBezTo>
                <a:cubicBezTo>
                  <a:pt x="333" y="293"/>
                  <a:pt x="336" y="290"/>
                  <a:pt x="336" y="286"/>
                </a:cubicBezTo>
                <a:cubicBezTo>
                  <a:pt x="336" y="281"/>
                  <a:pt x="332" y="277"/>
                  <a:pt x="328" y="276"/>
                </a:cubicBezTo>
                <a:cubicBezTo>
                  <a:pt x="320" y="206"/>
                  <a:pt x="320" y="206"/>
                  <a:pt x="320" y="206"/>
                </a:cubicBezTo>
                <a:cubicBezTo>
                  <a:pt x="329" y="199"/>
                  <a:pt x="334" y="188"/>
                  <a:pt x="334" y="177"/>
                </a:cubicBezTo>
                <a:cubicBezTo>
                  <a:pt x="334" y="156"/>
                  <a:pt x="317" y="139"/>
                  <a:pt x="297" y="139"/>
                </a:cubicBezTo>
                <a:cubicBezTo>
                  <a:pt x="291" y="121"/>
                  <a:pt x="274" y="108"/>
                  <a:pt x="254" y="108"/>
                </a:cubicBezTo>
                <a:cubicBezTo>
                  <a:pt x="236" y="108"/>
                  <a:pt x="220" y="119"/>
                  <a:pt x="213" y="135"/>
                </a:cubicBezTo>
                <a:cubicBezTo>
                  <a:pt x="191" y="135"/>
                  <a:pt x="173" y="153"/>
                  <a:pt x="173" y="176"/>
                </a:cubicBezTo>
                <a:cubicBezTo>
                  <a:pt x="173" y="189"/>
                  <a:pt x="180" y="202"/>
                  <a:pt x="191" y="209"/>
                </a:cubicBezTo>
                <a:cubicBezTo>
                  <a:pt x="189" y="226"/>
                  <a:pt x="189" y="226"/>
                  <a:pt x="189" y="226"/>
                </a:cubicBezTo>
                <a:cubicBezTo>
                  <a:pt x="179" y="220"/>
                  <a:pt x="166" y="214"/>
                  <a:pt x="153" y="218"/>
                </a:cubicBezTo>
                <a:cubicBezTo>
                  <a:pt x="140" y="222"/>
                  <a:pt x="132" y="234"/>
                  <a:pt x="129" y="254"/>
                </a:cubicBezTo>
                <a:cubicBezTo>
                  <a:pt x="121" y="297"/>
                  <a:pt x="115" y="334"/>
                  <a:pt x="135" y="351"/>
                </a:cubicBezTo>
                <a:cubicBezTo>
                  <a:pt x="141" y="356"/>
                  <a:pt x="149" y="358"/>
                  <a:pt x="159" y="358"/>
                </a:cubicBezTo>
                <a:cubicBezTo>
                  <a:pt x="163" y="358"/>
                  <a:pt x="169" y="358"/>
                  <a:pt x="175" y="356"/>
                </a:cubicBezTo>
                <a:cubicBezTo>
                  <a:pt x="171" y="384"/>
                  <a:pt x="171" y="384"/>
                  <a:pt x="171" y="384"/>
                </a:cubicBezTo>
                <a:cubicBezTo>
                  <a:pt x="170" y="384"/>
                  <a:pt x="170" y="384"/>
                  <a:pt x="170" y="384"/>
                </a:cubicBezTo>
                <a:cubicBezTo>
                  <a:pt x="164" y="384"/>
                  <a:pt x="160" y="388"/>
                  <a:pt x="160" y="394"/>
                </a:cubicBezTo>
                <a:cubicBezTo>
                  <a:pt x="160" y="400"/>
                  <a:pt x="164" y="405"/>
                  <a:pt x="170" y="405"/>
                </a:cubicBezTo>
                <a:cubicBezTo>
                  <a:pt x="181" y="405"/>
                  <a:pt x="181" y="405"/>
                  <a:pt x="181" y="405"/>
                </a:cubicBezTo>
                <a:cubicBezTo>
                  <a:pt x="330" y="405"/>
                  <a:pt x="330" y="405"/>
                  <a:pt x="330" y="405"/>
                </a:cubicBezTo>
                <a:cubicBezTo>
                  <a:pt x="341" y="405"/>
                  <a:pt x="341" y="405"/>
                  <a:pt x="341" y="405"/>
                </a:cubicBezTo>
                <a:cubicBezTo>
                  <a:pt x="347" y="405"/>
                  <a:pt x="352" y="400"/>
                  <a:pt x="352" y="394"/>
                </a:cubicBezTo>
                <a:close/>
                <a:moveTo>
                  <a:pt x="212" y="213"/>
                </a:moveTo>
                <a:cubicBezTo>
                  <a:pt x="205" y="277"/>
                  <a:pt x="205" y="277"/>
                  <a:pt x="205" y="277"/>
                </a:cubicBezTo>
                <a:cubicBezTo>
                  <a:pt x="306" y="277"/>
                  <a:pt x="306" y="277"/>
                  <a:pt x="306" y="277"/>
                </a:cubicBezTo>
                <a:cubicBezTo>
                  <a:pt x="299" y="213"/>
                  <a:pt x="299" y="213"/>
                  <a:pt x="299" y="213"/>
                </a:cubicBezTo>
                <a:lnTo>
                  <a:pt x="212" y="213"/>
                </a:lnTo>
                <a:close/>
                <a:moveTo>
                  <a:pt x="159" y="238"/>
                </a:moveTo>
                <a:cubicBezTo>
                  <a:pt x="155" y="240"/>
                  <a:pt x="152" y="247"/>
                  <a:pt x="150" y="257"/>
                </a:cubicBezTo>
                <a:cubicBezTo>
                  <a:pt x="144" y="289"/>
                  <a:pt x="138" y="325"/>
                  <a:pt x="149" y="334"/>
                </a:cubicBezTo>
                <a:cubicBezTo>
                  <a:pt x="153" y="338"/>
                  <a:pt x="163" y="338"/>
                  <a:pt x="177" y="333"/>
                </a:cubicBezTo>
                <a:cubicBezTo>
                  <a:pt x="181" y="295"/>
                  <a:pt x="181" y="295"/>
                  <a:pt x="181" y="295"/>
                </a:cubicBezTo>
                <a:cubicBezTo>
                  <a:pt x="178" y="293"/>
                  <a:pt x="176" y="290"/>
                  <a:pt x="176" y="286"/>
                </a:cubicBezTo>
                <a:cubicBezTo>
                  <a:pt x="176" y="281"/>
                  <a:pt x="179" y="277"/>
                  <a:pt x="183" y="276"/>
                </a:cubicBezTo>
                <a:cubicBezTo>
                  <a:pt x="186" y="250"/>
                  <a:pt x="186" y="250"/>
                  <a:pt x="186" y="250"/>
                </a:cubicBezTo>
                <a:cubicBezTo>
                  <a:pt x="178" y="244"/>
                  <a:pt x="166" y="236"/>
                  <a:pt x="159" y="238"/>
                </a:cubicBezTo>
                <a:close/>
                <a:moveTo>
                  <a:pt x="203" y="298"/>
                </a:moveTo>
                <a:cubicBezTo>
                  <a:pt x="193" y="384"/>
                  <a:pt x="193" y="384"/>
                  <a:pt x="193" y="384"/>
                </a:cubicBezTo>
                <a:cubicBezTo>
                  <a:pt x="318" y="384"/>
                  <a:pt x="318" y="384"/>
                  <a:pt x="318" y="384"/>
                </a:cubicBezTo>
                <a:cubicBezTo>
                  <a:pt x="309" y="298"/>
                  <a:pt x="309" y="298"/>
                  <a:pt x="309" y="298"/>
                </a:cubicBezTo>
                <a:lnTo>
                  <a:pt x="203" y="29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6" name="Group 483"/>
          <p:cNvGrpSpPr>
            <a:grpSpLocks noChangeAspect="1"/>
          </p:cNvGrpSpPr>
          <p:nvPr/>
        </p:nvGrpSpPr>
        <p:grpSpPr bwMode="auto">
          <a:xfrm>
            <a:off x="2919348" y="2920269"/>
            <a:ext cx="367982" cy="367982"/>
            <a:chOff x="1214" y="2335"/>
            <a:chExt cx="340" cy="340"/>
          </a:xfrm>
          <a:solidFill>
            <a:schemeClr val="accent6"/>
          </a:solidFill>
        </p:grpSpPr>
        <p:sp>
          <p:nvSpPr>
            <p:cNvPr id="307" name="Freeform 484"/>
            <p:cNvSpPr>
              <a:spLocks noEditPoints="1"/>
            </p:cNvSpPr>
            <p:nvPr/>
          </p:nvSpPr>
          <p:spPr bwMode="auto">
            <a:xfrm>
              <a:off x="1214" y="233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485"/>
            <p:cNvSpPr>
              <a:spLocks noEditPoints="1"/>
            </p:cNvSpPr>
            <p:nvPr/>
          </p:nvSpPr>
          <p:spPr bwMode="auto">
            <a:xfrm>
              <a:off x="1290" y="2407"/>
              <a:ext cx="158" cy="197"/>
            </a:xfrm>
            <a:custGeom>
              <a:avLst/>
              <a:gdLst>
                <a:gd name="T0" fmla="*/ 226 w 237"/>
                <a:gd name="T1" fmla="*/ 276 h 297"/>
                <a:gd name="T2" fmla="*/ 225 w 237"/>
                <a:gd name="T3" fmla="*/ 276 h 297"/>
                <a:gd name="T4" fmla="*/ 215 w 237"/>
                <a:gd name="T5" fmla="*/ 187 h 297"/>
                <a:gd name="T6" fmla="*/ 221 w 237"/>
                <a:gd name="T7" fmla="*/ 178 h 297"/>
                <a:gd name="T8" fmla="*/ 213 w 237"/>
                <a:gd name="T9" fmla="*/ 168 h 297"/>
                <a:gd name="T10" fmla="*/ 205 w 237"/>
                <a:gd name="T11" fmla="*/ 98 h 297"/>
                <a:gd name="T12" fmla="*/ 219 w 237"/>
                <a:gd name="T13" fmla="*/ 69 h 297"/>
                <a:gd name="T14" fmla="*/ 182 w 237"/>
                <a:gd name="T15" fmla="*/ 31 h 297"/>
                <a:gd name="T16" fmla="*/ 139 w 237"/>
                <a:gd name="T17" fmla="*/ 0 h 297"/>
                <a:gd name="T18" fmla="*/ 98 w 237"/>
                <a:gd name="T19" fmla="*/ 27 h 297"/>
                <a:gd name="T20" fmla="*/ 58 w 237"/>
                <a:gd name="T21" fmla="*/ 68 h 297"/>
                <a:gd name="T22" fmla="*/ 76 w 237"/>
                <a:gd name="T23" fmla="*/ 101 h 297"/>
                <a:gd name="T24" fmla="*/ 74 w 237"/>
                <a:gd name="T25" fmla="*/ 118 h 297"/>
                <a:gd name="T26" fmla="*/ 38 w 237"/>
                <a:gd name="T27" fmla="*/ 110 h 297"/>
                <a:gd name="T28" fmla="*/ 14 w 237"/>
                <a:gd name="T29" fmla="*/ 146 h 297"/>
                <a:gd name="T30" fmla="*/ 20 w 237"/>
                <a:gd name="T31" fmla="*/ 243 h 297"/>
                <a:gd name="T32" fmla="*/ 44 w 237"/>
                <a:gd name="T33" fmla="*/ 250 h 297"/>
                <a:gd name="T34" fmla="*/ 60 w 237"/>
                <a:gd name="T35" fmla="*/ 248 h 297"/>
                <a:gd name="T36" fmla="*/ 56 w 237"/>
                <a:gd name="T37" fmla="*/ 276 h 297"/>
                <a:gd name="T38" fmla="*/ 55 w 237"/>
                <a:gd name="T39" fmla="*/ 276 h 297"/>
                <a:gd name="T40" fmla="*/ 45 w 237"/>
                <a:gd name="T41" fmla="*/ 286 h 297"/>
                <a:gd name="T42" fmla="*/ 55 w 237"/>
                <a:gd name="T43" fmla="*/ 297 h 297"/>
                <a:gd name="T44" fmla="*/ 66 w 237"/>
                <a:gd name="T45" fmla="*/ 297 h 297"/>
                <a:gd name="T46" fmla="*/ 215 w 237"/>
                <a:gd name="T47" fmla="*/ 297 h 297"/>
                <a:gd name="T48" fmla="*/ 226 w 237"/>
                <a:gd name="T49" fmla="*/ 297 h 297"/>
                <a:gd name="T50" fmla="*/ 237 w 237"/>
                <a:gd name="T51" fmla="*/ 286 h 297"/>
                <a:gd name="T52" fmla="*/ 226 w 237"/>
                <a:gd name="T53" fmla="*/ 276 h 297"/>
                <a:gd name="T54" fmla="*/ 97 w 237"/>
                <a:gd name="T55" fmla="*/ 105 h 297"/>
                <a:gd name="T56" fmla="*/ 184 w 237"/>
                <a:gd name="T57" fmla="*/ 105 h 297"/>
                <a:gd name="T58" fmla="*/ 191 w 237"/>
                <a:gd name="T59" fmla="*/ 169 h 297"/>
                <a:gd name="T60" fmla="*/ 90 w 237"/>
                <a:gd name="T61" fmla="*/ 169 h 297"/>
                <a:gd name="T62" fmla="*/ 97 w 237"/>
                <a:gd name="T63" fmla="*/ 105 h 297"/>
                <a:gd name="T64" fmla="*/ 99 w 237"/>
                <a:gd name="T65" fmla="*/ 48 h 297"/>
                <a:gd name="T66" fmla="*/ 103 w 237"/>
                <a:gd name="T67" fmla="*/ 49 h 297"/>
                <a:gd name="T68" fmla="*/ 112 w 237"/>
                <a:gd name="T69" fmla="*/ 47 h 297"/>
                <a:gd name="T70" fmla="*/ 116 w 237"/>
                <a:gd name="T71" fmla="*/ 40 h 297"/>
                <a:gd name="T72" fmla="*/ 139 w 237"/>
                <a:gd name="T73" fmla="*/ 21 h 297"/>
                <a:gd name="T74" fmla="*/ 162 w 237"/>
                <a:gd name="T75" fmla="*/ 43 h 297"/>
                <a:gd name="T76" fmla="*/ 167 w 237"/>
                <a:gd name="T77" fmla="*/ 52 h 297"/>
                <a:gd name="T78" fmla="*/ 176 w 237"/>
                <a:gd name="T79" fmla="*/ 53 h 297"/>
                <a:gd name="T80" fmla="*/ 181 w 237"/>
                <a:gd name="T81" fmla="*/ 52 h 297"/>
                <a:gd name="T82" fmla="*/ 198 w 237"/>
                <a:gd name="T83" fmla="*/ 69 h 297"/>
                <a:gd name="T84" fmla="*/ 188 w 237"/>
                <a:gd name="T85" fmla="*/ 83 h 297"/>
                <a:gd name="T86" fmla="*/ 187 w 237"/>
                <a:gd name="T87" fmla="*/ 84 h 297"/>
                <a:gd name="T88" fmla="*/ 88 w 237"/>
                <a:gd name="T89" fmla="*/ 84 h 297"/>
                <a:gd name="T90" fmla="*/ 79 w 237"/>
                <a:gd name="T91" fmla="*/ 68 h 297"/>
                <a:gd name="T92" fmla="*/ 99 w 237"/>
                <a:gd name="T93" fmla="*/ 48 h 297"/>
                <a:gd name="T94" fmla="*/ 34 w 237"/>
                <a:gd name="T95" fmla="*/ 226 h 297"/>
                <a:gd name="T96" fmla="*/ 35 w 237"/>
                <a:gd name="T97" fmla="*/ 149 h 297"/>
                <a:gd name="T98" fmla="*/ 44 w 237"/>
                <a:gd name="T99" fmla="*/ 130 h 297"/>
                <a:gd name="T100" fmla="*/ 71 w 237"/>
                <a:gd name="T101" fmla="*/ 142 h 297"/>
                <a:gd name="T102" fmla="*/ 68 w 237"/>
                <a:gd name="T103" fmla="*/ 168 h 297"/>
                <a:gd name="T104" fmla="*/ 61 w 237"/>
                <a:gd name="T105" fmla="*/ 178 h 297"/>
                <a:gd name="T106" fmla="*/ 66 w 237"/>
                <a:gd name="T107" fmla="*/ 187 h 297"/>
                <a:gd name="T108" fmla="*/ 62 w 237"/>
                <a:gd name="T109" fmla="*/ 225 h 297"/>
                <a:gd name="T110" fmla="*/ 34 w 237"/>
                <a:gd name="T111" fmla="*/ 226 h 297"/>
                <a:gd name="T112" fmla="*/ 78 w 237"/>
                <a:gd name="T113" fmla="*/ 276 h 297"/>
                <a:gd name="T114" fmla="*/ 88 w 237"/>
                <a:gd name="T115" fmla="*/ 190 h 297"/>
                <a:gd name="T116" fmla="*/ 194 w 237"/>
                <a:gd name="T117" fmla="*/ 190 h 297"/>
                <a:gd name="T118" fmla="*/ 203 w 237"/>
                <a:gd name="T119" fmla="*/ 276 h 297"/>
                <a:gd name="T120" fmla="*/ 78 w 237"/>
                <a:gd name="T121" fmla="*/ 276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7" h="297">
                  <a:moveTo>
                    <a:pt x="226" y="276"/>
                  </a:moveTo>
                  <a:cubicBezTo>
                    <a:pt x="225" y="276"/>
                    <a:pt x="225" y="276"/>
                    <a:pt x="225" y="276"/>
                  </a:cubicBezTo>
                  <a:cubicBezTo>
                    <a:pt x="215" y="187"/>
                    <a:pt x="215" y="187"/>
                    <a:pt x="215" y="187"/>
                  </a:cubicBezTo>
                  <a:cubicBezTo>
                    <a:pt x="218" y="185"/>
                    <a:pt x="221" y="182"/>
                    <a:pt x="221" y="178"/>
                  </a:cubicBezTo>
                  <a:cubicBezTo>
                    <a:pt x="221" y="173"/>
                    <a:pt x="217" y="169"/>
                    <a:pt x="213" y="168"/>
                  </a:cubicBezTo>
                  <a:cubicBezTo>
                    <a:pt x="205" y="98"/>
                    <a:pt x="205" y="98"/>
                    <a:pt x="205" y="98"/>
                  </a:cubicBezTo>
                  <a:cubicBezTo>
                    <a:pt x="214" y="91"/>
                    <a:pt x="219" y="80"/>
                    <a:pt x="219" y="69"/>
                  </a:cubicBezTo>
                  <a:cubicBezTo>
                    <a:pt x="219" y="48"/>
                    <a:pt x="202" y="31"/>
                    <a:pt x="182" y="31"/>
                  </a:cubicBezTo>
                  <a:cubicBezTo>
                    <a:pt x="176" y="13"/>
                    <a:pt x="159" y="0"/>
                    <a:pt x="139" y="0"/>
                  </a:cubicBezTo>
                  <a:cubicBezTo>
                    <a:pt x="121" y="0"/>
                    <a:pt x="105" y="11"/>
                    <a:pt x="98" y="27"/>
                  </a:cubicBezTo>
                  <a:cubicBezTo>
                    <a:pt x="76" y="27"/>
                    <a:pt x="58" y="45"/>
                    <a:pt x="58" y="68"/>
                  </a:cubicBezTo>
                  <a:cubicBezTo>
                    <a:pt x="58" y="81"/>
                    <a:pt x="65" y="94"/>
                    <a:pt x="76" y="101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64" y="112"/>
                    <a:pt x="51" y="106"/>
                    <a:pt x="38" y="110"/>
                  </a:cubicBezTo>
                  <a:cubicBezTo>
                    <a:pt x="25" y="114"/>
                    <a:pt x="17" y="126"/>
                    <a:pt x="14" y="146"/>
                  </a:cubicBezTo>
                  <a:cubicBezTo>
                    <a:pt x="6" y="189"/>
                    <a:pt x="0" y="226"/>
                    <a:pt x="20" y="243"/>
                  </a:cubicBezTo>
                  <a:cubicBezTo>
                    <a:pt x="26" y="248"/>
                    <a:pt x="34" y="250"/>
                    <a:pt x="44" y="250"/>
                  </a:cubicBezTo>
                  <a:cubicBezTo>
                    <a:pt x="48" y="250"/>
                    <a:pt x="54" y="250"/>
                    <a:pt x="60" y="248"/>
                  </a:cubicBezTo>
                  <a:cubicBezTo>
                    <a:pt x="56" y="276"/>
                    <a:pt x="56" y="276"/>
                    <a:pt x="56" y="276"/>
                  </a:cubicBezTo>
                  <a:cubicBezTo>
                    <a:pt x="55" y="276"/>
                    <a:pt x="55" y="276"/>
                    <a:pt x="55" y="276"/>
                  </a:cubicBezTo>
                  <a:cubicBezTo>
                    <a:pt x="49" y="276"/>
                    <a:pt x="45" y="280"/>
                    <a:pt x="45" y="286"/>
                  </a:cubicBezTo>
                  <a:cubicBezTo>
                    <a:pt x="45" y="292"/>
                    <a:pt x="49" y="297"/>
                    <a:pt x="55" y="297"/>
                  </a:cubicBezTo>
                  <a:cubicBezTo>
                    <a:pt x="66" y="297"/>
                    <a:pt x="66" y="297"/>
                    <a:pt x="66" y="297"/>
                  </a:cubicBezTo>
                  <a:cubicBezTo>
                    <a:pt x="215" y="297"/>
                    <a:pt x="215" y="297"/>
                    <a:pt x="215" y="297"/>
                  </a:cubicBezTo>
                  <a:cubicBezTo>
                    <a:pt x="226" y="297"/>
                    <a:pt x="226" y="297"/>
                    <a:pt x="226" y="297"/>
                  </a:cubicBezTo>
                  <a:cubicBezTo>
                    <a:pt x="232" y="297"/>
                    <a:pt x="237" y="292"/>
                    <a:pt x="237" y="286"/>
                  </a:cubicBezTo>
                  <a:cubicBezTo>
                    <a:pt x="237" y="280"/>
                    <a:pt x="232" y="276"/>
                    <a:pt x="226" y="276"/>
                  </a:cubicBezTo>
                  <a:close/>
                  <a:moveTo>
                    <a:pt x="97" y="105"/>
                  </a:moveTo>
                  <a:cubicBezTo>
                    <a:pt x="184" y="105"/>
                    <a:pt x="184" y="105"/>
                    <a:pt x="184" y="105"/>
                  </a:cubicBezTo>
                  <a:cubicBezTo>
                    <a:pt x="191" y="169"/>
                    <a:pt x="191" y="169"/>
                    <a:pt x="191" y="169"/>
                  </a:cubicBezTo>
                  <a:cubicBezTo>
                    <a:pt x="90" y="169"/>
                    <a:pt x="90" y="169"/>
                    <a:pt x="90" y="169"/>
                  </a:cubicBezTo>
                  <a:lnTo>
                    <a:pt x="97" y="105"/>
                  </a:lnTo>
                  <a:close/>
                  <a:moveTo>
                    <a:pt x="99" y="48"/>
                  </a:moveTo>
                  <a:cubicBezTo>
                    <a:pt x="100" y="48"/>
                    <a:pt x="102" y="48"/>
                    <a:pt x="103" y="49"/>
                  </a:cubicBezTo>
                  <a:cubicBezTo>
                    <a:pt x="106" y="49"/>
                    <a:pt x="109" y="49"/>
                    <a:pt x="112" y="47"/>
                  </a:cubicBezTo>
                  <a:cubicBezTo>
                    <a:pt x="114" y="46"/>
                    <a:pt x="116" y="43"/>
                    <a:pt x="116" y="40"/>
                  </a:cubicBezTo>
                  <a:cubicBezTo>
                    <a:pt x="118" y="29"/>
                    <a:pt x="128" y="21"/>
                    <a:pt x="139" y="21"/>
                  </a:cubicBezTo>
                  <a:cubicBezTo>
                    <a:pt x="152" y="21"/>
                    <a:pt x="162" y="31"/>
                    <a:pt x="162" y="43"/>
                  </a:cubicBezTo>
                  <a:cubicBezTo>
                    <a:pt x="162" y="47"/>
                    <a:pt x="164" y="50"/>
                    <a:pt x="167" y="52"/>
                  </a:cubicBezTo>
                  <a:cubicBezTo>
                    <a:pt x="170" y="54"/>
                    <a:pt x="173" y="54"/>
                    <a:pt x="176" y="53"/>
                  </a:cubicBezTo>
                  <a:cubicBezTo>
                    <a:pt x="178" y="53"/>
                    <a:pt x="180" y="52"/>
                    <a:pt x="181" y="52"/>
                  </a:cubicBezTo>
                  <a:cubicBezTo>
                    <a:pt x="190" y="52"/>
                    <a:pt x="198" y="60"/>
                    <a:pt x="198" y="69"/>
                  </a:cubicBezTo>
                  <a:cubicBezTo>
                    <a:pt x="198" y="75"/>
                    <a:pt x="194" y="81"/>
                    <a:pt x="188" y="83"/>
                  </a:cubicBezTo>
                  <a:cubicBezTo>
                    <a:pt x="188" y="84"/>
                    <a:pt x="187" y="84"/>
                    <a:pt x="187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3" y="80"/>
                    <a:pt x="79" y="74"/>
                    <a:pt x="79" y="68"/>
                  </a:cubicBezTo>
                  <a:cubicBezTo>
                    <a:pt x="79" y="57"/>
                    <a:pt x="88" y="48"/>
                    <a:pt x="99" y="48"/>
                  </a:cubicBezTo>
                  <a:close/>
                  <a:moveTo>
                    <a:pt x="34" y="226"/>
                  </a:moveTo>
                  <a:cubicBezTo>
                    <a:pt x="23" y="217"/>
                    <a:pt x="29" y="181"/>
                    <a:pt x="35" y="149"/>
                  </a:cubicBezTo>
                  <a:cubicBezTo>
                    <a:pt x="37" y="139"/>
                    <a:pt x="40" y="132"/>
                    <a:pt x="44" y="130"/>
                  </a:cubicBezTo>
                  <a:cubicBezTo>
                    <a:pt x="51" y="128"/>
                    <a:pt x="63" y="136"/>
                    <a:pt x="71" y="142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4" y="169"/>
                    <a:pt x="61" y="173"/>
                    <a:pt x="61" y="178"/>
                  </a:cubicBezTo>
                  <a:cubicBezTo>
                    <a:pt x="61" y="182"/>
                    <a:pt x="63" y="185"/>
                    <a:pt x="66" y="187"/>
                  </a:cubicBezTo>
                  <a:cubicBezTo>
                    <a:pt x="62" y="225"/>
                    <a:pt x="62" y="225"/>
                    <a:pt x="62" y="225"/>
                  </a:cubicBezTo>
                  <a:cubicBezTo>
                    <a:pt x="48" y="230"/>
                    <a:pt x="38" y="230"/>
                    <a:pt x="34" y="226"/>
                  </a:cubicBezTo>
                  <a:close/>
                  <a:moveTo>
                    <a:pt x="78" y="276"/>
                  </a:moveTo>
                  <a:cubicBezTo>
                    <a:pt x="88" y="190"/>
                    <a:pt x="88" y="190"/>
                    <a:pt x="88" y="190"/>
                  </a:cubicBezTo>
                  <a:cubicBezTo>
                    <a:pt x="194" y="190"/>
                    <a:pt x="194" y="190"/>
                    <a:pt x="194" y="190"/>
                  </a:cubicBezTo>
                  <a:cubicBezTo>
                    <a:pt x="203" y="276"/>
                    <a:pt x="203" y="276"/>
                    <a:pt x="203" y="276"/>
                  </a:cubicBezTo>
                  <a:lnTo>
                    <a:pt x="7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9" name="Freeform 890"/>
          <p:cNvSpPr>
            <a:spLocks noChangeAspect="1" noEditPoints="1"/>
          </p:cNvSpPr>
          <p:nvPr/>
        </p:nvSpPr>
        <p:spPr bwMode="auto">
          <a:xfrm>
            <a:off x="4410705" y="2920269"/>
            <a:ext cx="367982" cy="367982"/>
          </a:xfrm>
          <a:custGeom>
            <a:avLst/>
            <a:gdLst>
              <a:gd name="T0" fmla="*/ 283 w 512"/>
              <a:gd name="T1" fmla="*/ 240 h 512"/>
              <a:gd name="T2" fmla="*/ 298 w 512"/>
              <a:gd name="T3" fmla="*/ 288 h 512"/>
              <a:gd name="T4" fmla="*/ 245 w 512"/>
              <a:gd name="T5" fmla="*/ 288 h 512"/>
              <a:gd name="T6" fmla="*/ 234 w 512"/>
              <a:gd name="T7" fmla="*/ 298 h 512"/>
              <a:gd name="T8" fmla="*/ 234 w 512"/>
              <a:gd name="T9" fmla="*/ 362 h 512"/>
              <a:gd name="T10" fmla="*/ 245 w 512"/>
              <a:gd name="T11" fmla="*/ 373 h 512"/>
              <a:gd name="T12" fmla="*/ 298 w 512"/>
              <a:gd name="T13" fmla="*/ 373 h 512"/>
              <a:gd name="T14" fmla="*/ 298 w 512"/>
              <a:gd name="T15" fmla="*/ 387 h 512"/>
              <a:gd name="T16" fmla="*/ 256 w 512"/>
              <a:gd name="T17" fmla="*/ 394 h 512"/>
              <a:gd name="T18" fmla="*/ 213 w 512"/>
              <a:gd name="T19" fmla="*/ 387 h 512"/>
              <a:gd name="T20" fmla="*/ 213 w 512"/>
              <a:gd name="T21" fmla="*/ 288 h 512"/>
              <a:gd name="T22" fmla="*/ 228 w 512"/>
              <a:gd name="T23" fmla="*/ 240 h 512"/>
              <a:gd name="T24" fmla="*/ 245 w 512"/>
              <a:gd name="T25" fmla="*/ 181 h 512"/>
              <a:gd name="T26" fmla="*/ 245 w 512"/>
              <a:gd name="T27" fmla="*/ 160 h 512"/>
              <a:gd name="T28" fmla="*/ 266 w 512"/>
              <a:gd name="T29" fmla="*/ 160 h 512"/>
              <a:gd name="T30" fmla="*/ 266 w 512"/>
              <a:gd name="T31" fmla="*/ 181 h 512"/>
              <a:gd name="T32" fmla="*/ 283 w 512"/>
              <a:gd name="T33" fmla="*/ 240 h 512"/>
              <a:gd name="T34" fmla="*/ 256 w 512"/>
              <a:gd name="T35" fmla="*/ 352 h 512"/>
              <a:gd name="T36" fmla="*/ 298 w 512"/>
              <a:gd name="T37" fmla="*/ 352 h 512"/>
              <a:gd name="T38" fmla="*/ 298 w 512"/>
              <a:gd name="T39" fmla="*/ 309 h 512"/>
              <a:gd name="T40" fmla="*/ 256 w 512"/>
              <a:gd name="T41" fmla="*/ 309 h 512"/>
              <a:gd name="T42" fmla="*/ 256 w 512"/>
              <a:gd name="T43" fmla="*/ 35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20 w 512"/>
              <a:gd name="T55" fmla="*/ 288 h 512"/>
              <a:gd name="T56" fmla="*/ 303 w 512"/>
              <a:gd name="T57" fmla="*/ 231 h 512"/>
              <a:gd name="T58" fmla="*/ 288 w 512"/>
              <a:gd name="T59" fmla="*/ 181 h 512"/>
              <a:gd name="T60" fmla="*/ 288 w 512"/>
              <a:gd name="T61" fmla="*/ 117 h 512"/>
              <a:gd name="T62" fmla="*/ 256 w 512"/>
              <a:gd name="T63" fmla="*/ 96 h 512"/>
              <a:gd name="T64" fmla="*/ 224 w 512"/>
              <a:gd name="T65" fmla="*/ 117 h 512"/>
              <a:gd name="T66" fmla="*/ 224 w 512"/>
              <a:gd name="T67" fmla="*/ 149 h 512"/>
              <a:gd name="T68" fmla="*/ 224 w 512"/>
              <a:gd name="T69" fmla="*/ 181 h 512"/>
              <a:gd name="T70" fmla="*/ 208 w 512"/>
              <a:gd name="T71" fmla="*/ 231 h 512"/>
              <a:gd name="T72" fmla="*/ 192 w 512"/>
              <a:gd name="T73" fmla="*/ 288 h 512"/>
              <a:gd name="T74" fmla="*/ 192 w 512"/>
              <a:gd name="T75" fmla="*/ 394 h 512"/>
              <a:gd name="T76" fmla="*/ 197 w 512"/>
              <a:gd name="T77" fmla="*/ 404 h 512"/>
              <a:gd name="T78" fmla="*/ 256 w 512"/>
              <a:gd name="T79" fmla="*/ 416 h 512"/>
              <a:gd name="T80" fmla="*/ 314 w 512"/>
              <a:gd name="T81" fmla="*/ 404 h 512"/>
              <a:gd name="T82" fmla="*/ 320 w 512"/>
              <a:gd name="T83" fmla="*/ 394 h 512"/>
              <a:gd name="T84" fmla="*/ 320 w 512"/>
              <a:gd name="T85" fmla="*/ 288 h 512"/>
              <a:gd name="T86" fmla="*/ 266 w 512"/>
              <a:gd name="T87" fmla="*/ 119 h 512"/>
              <a:gd name="T88" fmla="*/ 256 w 512"/>
              <a:gd name="T89" fmla="*/ 117 h 512"/>
              <a:gd name="T90" fmla="*/ 245 w 512"/>
              <a:gd name="T91" fmla="*/ 118 h 512"/>
              <a:gd name="T92" fmla="*/ 245 w 512"/>
              <a:gd name="T93" fmla="*/ 138 h 512"/>
              <a:gd name="T94" fmla="*/ 266 w 512"/>
              <a:gd name="T95" fmla="*/ 138 h 512"/>
              <a:gd name="T96" fmla="*/ 266 w 512"/>
              <a:gd name="T97" fmla="*/ 11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83" y="240"/>
                </a:moveTo>
                <a:cubicBezTo>
                  <a:pt x="291" y="257"/>
                  <a:pt x="298" y="274"/>
                  <a:pt x="298" y="288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39" y="288"/>
                  <a:pt x="234" y="292"/>
                  <a:pt x="234" y="298"/>
                </a:cubicBezTo>
                <a:cubicBezTo>
                  <a:pt x="234" y="362"/>
                  <a:pt x="234" y="362"/>
                  <a:pt x="234" y="362"/>
                </a:cubicBezTo>
                <a:cubicBezTo>
                  <a:pt x="234" y="368"/>
                  <a:pt x="239" y="373"/>
                  <a:pt x="245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298" y="387"/>
                  <a:pt x="298" y="387"/>
                  <a:pt x="298" y="387"/>
                </a:cubicBezTo>
                <a:cubicBezTo>
                  <a:pt x="291" y="390"/>
                  <a:pt x="277" y="394"/>
                  <a:pt x="256" y="394"/>
                </a:cubicBezTo>
                <a:cubicBezTo>
                  <a:pt x="235" y="394"/>
                  <a:pt x="220" y="390"/>
                  <a:pt x="213" y="387"/>
                </a:cubicBezTo>
                <a:cubicBezTo>
                  <a:pt x="213" y="288"/>
                  <a:pt x="213" y="288"/>
                  <a:pt x="213" y="288"/>
                </a:cubicBezTo>
                <a:cubicBezTo>
                  <a:pt x="213" y="274"/>
                  <a:pt x="221" y="257"/>
                  <a:pt x="228" y="240"/>
                </a:cubicBezTo>
                <a:cubicBezTo>
                  <a:pt x="236" y="220"/>
                  <a:pt x="245" y="200"/>
                  <a:pt x="245" y="181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200"/>
                  <a:pt x="275" y="220"/>
                  <a:pt x="283" y="240"/>
                </a:cubicBezTo>
                <a:close/>
                <a:moveTo>
                  <a:pt x="256" y="352"/>
                </a:moveTo>
                <a:cubicBezTo>
                  <a:pt x="298" y="352"/>
                  <a:pt x="298" y="352"/>
                  <a:pt x="298" y="352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56" y="309"/>
                  <a:pt x="256" y="309"/>
                  <a:pt x="256" y="309"/>
                </a:cubicBezTo>
                <a:lnTo>
                  <a:pt x="256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0" y="288"/>
                </a:moveTo>
                <a:cubicBezTo>
                  <a:pt x="320" y="270"/>
                  <a:pt x="311" y="250"/>
                  <a:pt x="303" y="231"/>
                </a:cubicBezTo>
                <a:cubicBezTo>
                  <a:pt x="295" y="214"/>
                  <a:pt x="288" y="195"/>
                  <a:pt x="288" y="181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07"/>
                  <a:pt x="279" y="96"/>
                  <a:pt x="256" y="96"/>
                </a:cubicBezTo>
                <a:cubicBezTo>
                  <a:pt x="228" y="96"/>
                  <a:pt x="224" y="109"/>
                  <a:pt x="224" y="117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24" y="195"/>
                  <a:pt x="216" y="214"/>
                  <a:pt x="208" y="231"/>
                </a:cubicBezTo>
                <a:cubicBezTo>
                  <a:pt x="200" y="250"/>
                  <a:pt x="192" y="270"/>
                  <a:pt x="192" y="288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92" y="398"/>
                  <a:pt x="194" y="402"/>
                  <a:pt x="197" y="404"/>
                </a:cubicBezTo>
                <a:cubicBezTo>
                  <a:pt x="198" y="404"/>
                  <a:pt x="219" y="416"/>
                  <a:pt x="256" y="416"/>
                </a:cubicBezTo>
                <a:cubicBezTo>
                  <a:pt x="293" y="416"/>
                  <a:pt x="313" y="404"/>
                  <a:pt x="314" y="404"/>
                </a:cubicBezTo>
                <a:cubicBezTo>
                  <a:pt x="318" y="402"/>
                  <a:pt x="320" y="398"/>
                  <a:pt x="320" y="394"/>
                </a:cubicBezTo>
                <a:lnTo>
                  <a:pt x="320" y="288"/>
                </a:lnTo>
                <a:close/>
                <a:moveTo>
                  <a:pt x="266" y="119"/>
                </a:moveTo>
                <a:cubicBezTo>
                  <a:pt x="265" y="118"/>
                  <a:pt x="261" y="117"/>
                  <a:pt x="256" y="117"/>
                </a:cubicBezTo>
                <a:cubicBezTo>
                  <a:pt x="249" y="117"/>
                  <a:pt x="246" y="118"/>
                  <a:pt x="245" y="118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66" y="138"/>
                  <a:pt x="266" y="138"/>
                  <a:pt x="266" y="138"/>
                </a:cubicBezTo>
                <a:lnTo>
                  <a:pt x="266" y="11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0" name="Group 893"/>
          <p:cNvGrpSpPr>
            <a:grpSpLocks noChangeAspect="1"/>
          </p:cNvGrpSpPr>
          <p:nvPr/>
        </p:nvGrpSpPr>
        <p:grpSpPr bwMode="auto">
          <a:xfrm>
            <a:off x="4907824" y="2920269"/>
            <a:ext cx="367982" cy="367982"/>
            <a:chOff x="4449" y="4136"/>
            <a:chExt cx="340" cy="340"/>
          </a:xfrm>
          <a:solidFill>
            <a:schemeClr val="accent4"/>
          </a:solidFill>
        </p:grpSpPr>
        <p:sp>
          <p:nvSpPr>
            <p:cNvPr id="311" name="Freeform 894"/>
            <p:cNvSpPr>
              <a:spLocks noEditPoints="1"/>
            </p:cNvSpPr>
            <p:nvPr/>
          </p:nvSpPr>
          <p:spPr bwMode="auto">
            <a:xfrm>
              <a:off x="4449" y="413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895"/>
            <p:cNvSpPr>
              <a:spLocks noEditPoints="1"/>
            </p:cNvSpPr>
            <p:nvPr/>
          </p:nvSpPr>
          <p:spPr bwMode="auto">
            <a:xfrm>
              <a:off x="4576" y="4200"/>
              <a:ext cx="85" cy="212"/>
            </a:xfrm>
            <a:custGeom>
              <a:avLst/>
              <a:gdLst>
                <a:gd name="T0" fmla="*/ 111 w 128"/>
                <a:gd name="T1" fmla="*/ 135 h 320"/>
                <a:gd name="T2" fmla="*/ 96 w 128"/>
                <a:gd name="T3" fmla="*/ 85 h 320"/>
                <a:gd name="T4" fmla="*/ 96 w 128"/>
                <a:gd name="T5" fmla="*/ 21 h 320"/>
                <a:gd name="T6" fmla="*/ 64 w 128"/>
                <a:gd name="T7" fmla="*/ 0 h 320"/>
                <a:gd name="T8" fmla="*/ 32 w 128"/>
                <a:gd name="T9" fmla="*/ 21 h 320"/>
                <a:gd name="T10" fmla="*/ 32 w 128"/>
                <a:gd name="T11" fmla="*/ 53 h 320"/>
                <a:gd name="T12" fmla="*/ 32 w 128"/>
                <a:gd name="T13" fmla="*/ 85 h 320"/>
                <a:gd name="T14" fmla="*/ 16 w 128"/>
                <a:gd name="T15" fmla="*/ 135 h 320"/>
                <a:gd name="T16" fmla="*/ 0 w 128"/>
                <a:gd name="T17" fmla="*/ 192 h 320"/>
                <a:gd name="T18" fmla="*/ 0 w 128"/>
                <a:gd name="T19" fmla="*/ 298 h 320"/>
                <a:gd name="T20" fmla="*/ 5 w 128"/>
                <a:gd name="T21" fmla="*/ 308 h 320"/>
                <a:gd name="T22" fmla="*/ 64 w 128"/>
                <a:gd name="T23" fmla="*/ 320 h 320"/>
                <a:gd name="T24" fmla="*/ 122 w 128"/>
                <a:gd name="T25" fmla="*/ 308 h 320"/>
                <a:gd name="T26" fmla="*/ 128 w 128"/>
                <a:gd name="T27" fmla="*/ 298 h 320"/>
                <a:gd name="T28" fmla="*/ 128 w 128"/>
                <a:gd name="T29" fmla="*/ 192 h 320"/>
                <a:gd name="T30" fmla="*/ 111 w 128"/>
                <a:gd name="T31" fmla="*/ 135 h 320"/>
                <a:gd name="T32" fmla="*/ 106 w 128"/>
                <a:gd name="T33" fmla="*/ 256 h 320"/>
                <a:gd name="T34" fmla="*/ 64 w 128"/>
                <a:gd name="T35" fmla="*/ 256 h 320"/>
                <a:gd name="T36" fmla="*/ 64 w 128"/>
                <a:gd name="T37" fmla="*/ 213 h 320"/>
                <a:gd name="T38" fmla="*/ 106 w 128"/>
                <a:gd name="T39" fmla="*/ 213 h 320"/>
                <a:gd name="T40" fmla="*/ 106 w 128"/>
                <a:gd name="T41" fmla="*/ 256 h 320"/>
                <a:gd name="T42" fmla="*/ 64 w 128"/>
                <a:gd name="T43" fmla="*/ 21 h 320"/>
                <a:gd name="T44" fmla="*/ 74 w 128"/>
                <a:gd name="T45" fmla="*/ 23 h 320"/>
                <a:gd name="T46" fmla="*/ 74 w 128"/>
                <a:gd name="T47" fmla="*/ 42 h 320"/>
                <a:gd name="T48" fmla="*/ 53 w 128"/>
                <a:gd name="T49" fmla="*/ 42 h 320"/>
                <a:gd name="T50" fmla="*/ 53 w 128"/>
                <a:gd name="T51" fmla="*/ 22 h 320"/>
                <a:gd name="T52" fmla="*/ 64 w 128"/>
                <a:gd name="T53" fmla="*/ 21 h 320"/>
                <a:gd name="T54" fmla="*/ 64 w 128"/>
                <a:gd name="T55" fmla="*/ 298 h 320"/>
                <a:gd name="T56" fmla="*/ 21 w 128"/>
                <a:gd name="T57" fmla="*/ 291 h 320"/>
                <a:gd name="T58" fmla="*/ 21 w 128"/>
                <a:gd name="T59" fmla="*/ 192 h 320"/>
                <a:gd name="T60" fmla="*/ 36 w 128"/>
                <a:gd name="T61" fmla="*/ 144 h 320"/>
                <a:gd name="T62" fmla="*/ 53 w 128"/>
                <a:gd name="T63" fmla="*/ 85 h 320"/>
                <a:gd name="T64" fmla="*/ 53 w 128"/>
                <a:gd name="T65" fmla="*/ 64 h 320"/>
                <a:gd name="T66" fmla="*/ 74 w 128"/>
                <a:gd name="T67" fmla="*/ 64 h 320"/>
                <a:gd name="T68" fmla="*/ 74 w 128"/>
                <a:gd name="T69" fmla="*/ 85 h 320"/>
                <a:gd name="T70" fmla="*/ 91 w 128"/>
                <a:gd name="T71" fmla="*/ 144 h 320"/>
                <a:gd name="T72" fmla="*/ 106 w 128"/>
                <a:gd name="T73" fmla="*/ 192 h 320"/>
                <a:gd name="T74" fmla="*/ 53 w 128"/>
                <a:gd name="T75" fmla="*/ 192 h 320"/>
                <a:gd name="T76" fmla="*/ 42 w 128"/>
                <a:gd name="T77" fmla="*/ 202 h 320"/>
                <a:gd name="T78" fmla="*/ 42 w 128"/>
                <a:gd name="T79" fmla="*/ 266 h 320"/>
                <a:gd name="T80" fmla="*/ 53 w 128"/>
                <a:gd name="T81" fmla="*/ 277 h 320"/>
                <a:gd name="T82" fmla="*/ 106 w 128"/>
                <a:gd name="T83" fmla="*/ 277 h 320"/>
                <a:gd name="T84" fmla="*/ 106 w 128"/>
                <a:gd name="T85" fmla="*/ 291 h 320"/>
                <a:gd name="T86" fmla="*/ 64 w 128"/>
                <a:gd name="T87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320">
                  <a:moveTo>
                    <a:pt x="111" y="135"/>
                  </a:moveTo>
                  <a:cubicBezTo>
                    <a:pt x="103" y="118"/>
                    <a:pt x="96" y="99"/>
                    <a:pt x="96" y="85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11"/>
                    <a:pt x="87" y="0"/>
                    <a:pt x="64" y="0"/>
                  </a:cubicBezTo>
                  <a:cubicBezTo>
                    <a:pt x="36" y="0"/>
                    <a:pt x="32" y="13"/>
                    <a:pt x="32" y="21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2" y="99"/>
                    <a:pt x="24" y="118"/>
                    <a:pt x="16" y="135"/>
                  </a:cubicBezTo>
                  <a:cubicBezTo>
                    <a:pt x="8" y="154"/>
                    <a:pt x="0" y="174"/>
                    <a:pt x="0" y="192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0" y="302"/>
                    <a:pt x="2" y="306"/>
                    <a:pt x="5" y="308"/>
                  </a:cubicBezTo>
                  <a:cubicBezTo>
                    <a:pt x="6" y="308"/>
                    <a:pt x="27" y="320"/>
                    <a:pt x="64" y="320"/>
                  </a:cubicBezTo>
                  <a:cubicBezTo>
                    <a:pt x="101" y="320"/>
                    <a:pt x="121" y="308"/>
                    <a:pt x="122" y="308"/>
                  </a:cubicBezTo>
                  <a:cubicBezTo>
                    <a:pt x="126" y="306"/>
                    <a:pt x="128" y="302"/>
                    <a:pt x="128" y="298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74"/>
                    <a:pt x="119" y="154"/>
                    <a:pt x="111" y="135"/>
                  </a:cubicBezTo>
                  <a:close/>
                  <a:moveTo>
                    <a:pt x="106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213"/>
                    <a:pt x="64" y="213"/>
                    <a:pt x="64" y="213"/>
                  </a:cubicBezTo>
                  <a:cubicBezTo>
                    <a:pt x="106" y="213"/>
                    <a:pt x="106" y="213"/>
                    <a:pt x="106" y="213"/>
                  </a:cubicBezTo>
                  <a:lnTo>
                    <a:pt x="106" y="256"/>
                  </a:lnTo>
                  <a:close/>
                  <a:moveTo>
                    <a:pt x="64" y="21"/>
                  </a:moveTo>
                  <a:cubicBezTo>
                    <a:pt x="69" y="21"/>
                    <a:pt x="73" y="22"/>
                    <a:pt x="74" y="23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4" y="22"/>
                    <a:pt x="57" y="21"/>
                    <a:pt x="64" y="21"/>
                  </a:cubicBezTo>
                  <a:close/>
                  <a:moveTo>
                    <a:pt x="64" y="298"/>
                  </a:moveTo>
                  <a:cubicBezTo>
                    <a:pt x="43" y="298"/>
                    <a:pt x="28" y="294"/>
                    <a:pt x="21" y="291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78"/>
                    <a:pt x="29" y="161"/>
                    <a:pt x="36" y="144"/>
                  </a:cubicBezTo>
                  <a:cubicBezTo>
                    <a:pt x="44" y="124"/>
                    <a:pt x="53" y="104"/>
                    <a:pt x="53" y="85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104"/>
                    <a:pt x="83" y="124"/>
                    <a:pt x="91" y="144"/>
                  </a:cubicBezTo>
                  <a:cubicBezTo>
                    <a:pt x="99" y="161"/>
                    <a:pt x="106" y="178"/>
                    <a:pt x="106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47" y="192"/>
                    <a:pt x="42" y="196"/>
                    <a:pt x="42" y="202"/>
                  </a:cubicBezTo>
                  <a:cubicBezTo>
                    <a:pt x="42" y="266"/>
                    <a:pt x="42" y="266"/>
                    <a:pt x="42" y="266"/>
                  </a:cubicBezTo>
                  <a:cubicBezTo>
                    <a:pt x="42" y="272"/>
                    <a:pt x="47" y="277"/>
                    <a:pt x="53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06" y="291"/>
                    <a:pt x="106" y="291"/>
                    <a:pt x="106" y="291"/>
                  </a:cubicBezTo>
                  <a:cubicBezTo>
                    <a:pt x="99" y="294"/>
                    <a:pt x="85" y="298"/>
                    <a:pt x="64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3" name="Freeform 1006"/>
          <p:cNvSpPr>
            <a:spLocks noChangeAspect="1" noEditPoints="1"/>
          </p:cNvSpPr>
          <p:nvPr/>
        </p:nvSpPr>
        <p:spPr bwMode="auto">
          <a:xfrm>
            <a:off x="5404943" y="2920269"/>
            <a:ext cx="367982" cy="367982"/>
          </a:xfrm>
          <a:custGeom>
            <a:avLst/>
            <a:gdLst>
              <a:gd name="T0" fmla="*/ 256 w 512"/>
              <a:gd name="T1" fmla="*/ 216 h 512"/>
              <a:gd name="T2" fmla="*/ 374 w 512"/>
              <a:gd name="T3" fmla="*/ 309 h 512"/>
              <a:gd name="T4" fmla="*/ 137 w 512"/>
              <a:gd name="T5" fmla="*/ 309 h 512"/>
              <a:gd name="T6" fmla="*/ 256 w 512"/>
              <a:gd name="T7" fmla="*/ 216 h 512"/>
              <a:gd name="T8" fmla="*/ 512 w 512"/>
              <a:gd name="T9" fmla="*/ 256 h 512"/>
              <a:gd name="T10" fmla="*/ 256 w 512"/>
              <a:gd name="T11" fmla="*/ 512 h 512"/>
              <a:gd name="T12" fmla="*/ 0 w 512"/>
              <a:gd name="T13" fmla="*/ 256 h 512"/>
              <a:gd name="T14" fmla="*/ 256 w 512"/>
              <a:gd name="T15" fmla="*/ 0 h 512"/>
              <a:gd name="T16" fmla="*/ 512 w 512"/>
              <a:gd name="T17" fmla="*/ 256 h 512"/>
              <a:gd name="T18" fmla="*/ 412 w 512"/>
              <a:gd name="T19" fmla="*/ 311 h 512"/>
              <a:gd name="T20" fmla="*/ 266 w 512"/>
              <a:gd name="T21" fmla="*/ 197 h 512"/>
              <a:gd name="T22" fmla="*/ 266 w 512"/>
              <a:gd name="T23" fmla="*/ 190 h 512"/>
              <a:gd name="T24" fmla="*/ 298 w 512"/>
              <a:gd name="T25" fmla="*/ 149 h 512"/>
              <a:gd name="T26" fmla="*/ 256 w 512"/>
              <a:gd name="T27" fmla="*/ 106 h 512"/>
              <a:gd name="T28" fmla="*/ 224 w 512"/>
              <a:gd name="T29" fmla="*/ 121 h 512"/>
              <a:gd name="T30" fmla="*/ 213 w 512"/>
              <a:gd name="T31" fmla="*/ 149 h 512"/>
              <a:gd name="T32" fmla="*/ 224 w 512"/>
              <a:gd name="T33" fmla="*/ 160 h 512"/>
              <a:gd name="T34" fmla="*/ 234 w 512"/>
              <a:gd name="T35" fmla="*/ 149 h 512"/>
              <a:gd name="T36" fmla="*/ 240 w 512"/>
              <a:gd name="T37" fmla="*/ 135 h 512"/>
              <a:gd name="T38" fmla="*/ 256 w 512"/>
              <a:gd name="T39" fmla="*/ 128 h 512"/>
              <a:gd name="T40" fmla="*/ 277 w 512"/>
              <a:gd name="T41" fmla="*/ 149 h 512"/>
              <a:gd name="T42" fmla="*/ 256 w 512"/>
              <a:gd name="T43" fmla="*/ 170 h 512"/>
              <a:gd name="T44" fmla="*/ 245 w 512"/>
              <a:gd name="T45" fmla="*/ 181 h 512"/>
              <a:gd name="T46" fmla="*/ 245 w 512"/>
              <a:gd name="T47" fmla="*/ 197 h 512"/>
              <a:gd name="T48" fmla="*/ 100 w 512"/>
              <a:gd name="T49" fmla="*/ 311 h 512"/>
              <a:gd name="T50" fmla="*/ 96 w 512"/>
              <a:gd name="T51" fmla="*/ 323 h 512"/>
              <a:gd name="T52" fmla="*/ 106 w 512"/>
              <a:gd name="T53" fmla="*/ 330 h 512"/>
              <a:gd name="T54" fmla="*/ 405 w 512"/>
              <a:gd name="T55" fmla="*/ 330 h 512"/>
              <a:gd name="T56" fmla="*/ 415 w 512"/>
              <a:gd name="T57" fmla="*/ 323 h 512"/>
              <a:gd name="T58" fmla="*/ 412 w 512"/>
              <a:gd name="T59" fmla="*/ 31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56" y="216"/>
                </a:moveTo>
                <a:cubicBezTo>
                  <a:pt x="374" y="309"/>
                  <a:pt x="374" y="309"/>
                  <a:pt x="374" y="309"/>
                </a:cubicBezTo>
                <a:cubicBezTo>
                  <a:pt x="137" y="309"/>
                  <a:pt x="137" y="309"/>
                  <a:pt x="137" y="309"/>
                </a:cubicBezTo>
                <a:lnTo>
                  <a:pt x="256" y="21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311"/>
                </a:moveTo>
                <a:cubicBezTo>
                  <a:pt x="266" y="197"/>
                  <a:pt x="266" y="197"/>
                  <a:pt x="266" y="197"/>
                </a:cubicBezTo>
                <a:cubicBezTo>
                  <a:pt x="266" y="190"/>
                  <a:pt x="266" y="190"/>
                  <a:pt x="266" y="190"/>
                </a:cubicBezTo>
                <a:cubicBezTo>
                  <a:pt x="285" y="186"/>
                  <a:pt x="298" y="169"/>
                  <a:pt x="298" y="149"/>
                </a:cubicBezTo>
                <a:cubicBezTo>
                  <a:pt x="298" y="125"/>
                  <a:pt x="279" y="106"/>
                  <a:pt x="256" y="106"/>
                </a:cubicBezTo>
                <a:cubicBezTo>
                  <a:pt x="244" y="106"/>
                  <a:pt x="232" y="112"/>
                  <a:pt x="224" y="121"/>
                </a:cubicBezTo>
                <a:cubicBezTo>
                  <a:pt x="217" y="128"/>
                  <a:pt x="213" y="138"/>
                  <a:pt x="213" y="149"/>
                </a:cubicBezTo>
                <a:cubicBezTo>
                  <a:pt x="213" y="155"/>
                  <a:pt x="218" y="160"/>
                  <a:pt x="224" y="160"/>
                </a:cubicBezTo>
                <a:cubicBezTo>
                  <a:pt x="230" y="160"/>
                  <a:pt x="234" y="155"/>
                  <a:pt x="234" y="149"/>
                </a:cubicBezTo>
                <a:cubicBezTo>
                  <a:pt x="234" y="144"/>
                  <a:pt x="236" y="139"/>
                  <a:pt x="240" y="135"/>
                </a:cubicBezTo>
                <a:cubicBezTo>
                  <a:pt x="244" y="130"/>
                  <a:pt x="250" y="128"/>
                  <a:pt x="256" y="128"/>
                </a:cubicBezTo>
                <a:cubicBezTo>
                  <a:pt x="267" y="128"/>
                  <a:pt x="277" y="137"/>
                  <a:pt x="277" y="149"/>
                </a:cubicBezTo>
                <a:cubicBezTo>
                  <a:pt x="277" y="161"/>
                  <a:pt x="267" y="170"/>
                  <a:pt x="256" y="170"/>
                </a:cubicBezTo>
                <a:cubicBezTo>
                  <a:pt x="250" y="170"/>
                  <a:pt x="245" y="175"/>
                  <a:pt x="245" y="181"/>
                </a:cubicBezTo>
                <a:cubicBezTo>
                  <a:pt x="245" y="197"/>
                  <a:pt x="245" y="197"/>
                  <a:pt x="245" y="197"/>
                </a:cubicBezTo>
                <a:cubicBezTo>
                  <a:pt x="100" y="311"/>
                  <a:pt x="100" y="311"/>
                  <a:pt x="100" y="311"/>
                </a:cubicBezTo>
                <a:cubicBezTo>
                  <a:pt x="96" y="314"/>
                  <a:pt x="95" y="319"/>
                  <a:pt x="96" y="323"/>
                </a:cubicBezTo>
                <a:cubicBezTo>
                  <a:pt x="98" y="327"/>
                  <a:pt x="102" y="330"/>
                  <a:pt x="106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10" y="330"/>
                  <a:pt x="414" y="327"/>
                  <a:pt x="415" y="323"/>
                </a:cubicBezTo>
                <a:cubicBezTo>
                  <a:pt x="417" y="319"/>
                  <a:pt x="415" y="314"/>
                  <a:pt x="412" y="31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4" name="Group 1009"/>
          <p:cNvGrpSpPr>
            <a:grpSpLocks noChangeAspect="1"/>
          </p:cNvGrpSpPr>
          <p:nvPr/>
        </p:nvGrpSpPr>
        <p:grpSpPr bwMode="auto">
          <a:xfrm>
            <a:off x="5902062" y="2920269"/>
            <a:ext cx="367982" cy="367982"/>
            <a:chOff x="4876" y="4656"/>
            <a:chExt cx="340" cy="340"/>
          </a:xfrm>
          <a:solidFill>
            <a:schemeClr val="accent5"/>
          </a:solidFill>
        </p:grpSpPr>
        <p:sp>
          <p:nvSpPr>
            <p:cNvPr id="315" name="Freeform 1010"/>
            <p:cNvSpPr>
              <a:spLocks noEditPoints="1"/>
            </p:cNvSpPr>
            <p:nvPr/>
          </p:nvSpPr>
          <p:spPr bwMode="auto">
            <a:xfrm>
              <a:off x="4939" y="4726"/>
              <a:ext cx="214" cy="149"/>
            </a:xfrm>
            <a:custGeom>
              <a:avLst/>
              <a:gdLst>
                <a:gd name="T0" fmla="*/ 317 w 322"/>
                <a:gd name="T1" fmla="*/ 205 h 224"/>
                <a:gd name="T2" fmla="*/ 171 w 322"/>
                <a:gd name="T3" fmla="*/ 91 h 224"/>
                <a:gd name="T4" fmla="*/ 171 w 322"/>
                <a:gd name="T5" fmla="*/ 84 h 224"/>
                <a:gd name="T6" fmla="*/ 203 w 322"/>
                <a:gd name="T7" fmla="*/ 43 h 224"/>
                <a:gd name="T8" fmla="*/ 161 w 322"/>
                <a:gd name="T9" fmla="*/ 0 h 224"/>
                <a:gd name="T10" fmla="*/ 129 w 322"/>
                <a:gd name="T11" fmla="*/ 15 h 224"/>
                <a:gd name="T12" fmla="*/ 118 w 322"/>
                <a:gd name="T13" fmla="*/ 43 h 224"/>
                <a:gd name="T14" fmla="*/ 129 w 322"/>
                <a:gd name="T15" fmla="*/ 54 h 224"/>
                <a:gd name="T16" fmla="*/ 139 w 322"/>
                <a:gd name="T17" fmla="*/ 43 h 224"/>
                <a:gd name="T18" fmla="*/ 145 w 322"/>
                <a:gd name="T19" fmla="*/ 29 h 224"/>
                <a:gd name="T20" fmla="*/ 161 w 322"/>
                <a:gd name="T21" fmla="*/ 22 h 224"/>
                <a:gd name="T22" fmla="*/ 182 w 322"/>
                <a:gd name="T23" fmla="*/ 43 h 224"/>
                <a:gd name="T24" fmla="*/ 161 w 322"/>
                <a:gd name="T25" fmla="*/ 64 h 224"/>
                <a:gd name="T26" fmla="*/ 150 w 322"/>
                <a:gd name="T27" fmla="*/ 75 h 224"/>
                <a:gd name="T28" fmla="*/ 150 w 322"/>
                <a:gd name="T29" fmla="*/ 91 h 224"/>
                <a:gd name="T30" fmla="*/ 5 w 322"/>
                <a:gd name="T31" fmla="*/ 205 h 224"/>
                <a:gd name="T32" fmla="*/ 1 w 322"/>
                <a:gd name="T33" fmla="*/ 217 h 224"/>
                <a:gd name="T34" fmla="*/ 11 w 322"/>
                <a:gd name="T35" fmla="*/ 224 h 224"/>
                <a:gd name="T36" fmla="*/ 310 w 322"/>
                <a:gd name="T37" fmla="*/ 224 h 224"/>
                <a:gd name="T38" fmla="*/ 320 w 322"/>
                <a:gd name="T39" fmla="*/ 217 h 224"/>
                <a:gd name="T40" fmla="*/ 317 w 322"/>
                <a:gd name="T41" fmla="*/ 205 h 224"/>
                <a:gd name="T42" fmla="*/ 42 w 322"/>
                <a:gd name="T43" fmla="*/ 203 h 224"/>
                <a:gd name="T44" fmla="*/ 161 w 322"/>
                <a:gd name="T45" fmla="*/ 110 h 224"/>
                <a:gd name="T46" fmla="*/ 279 w 322"/>
                <a:gd name="T47" fmla="*/ 203 h 224"/>
                <a:gd name="T48" fmla="*/ 42 w 322"/>
                <a:gd name="T49" fmla="*/ 20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2" h="224">
                  <a:moveTo>
                    <a:pt x="317" y="205"/>
                  </a:moveTo>
                  <a:cubicBezTo>
                    <a:pt x="171" y="91"/>
                    <a:pt x="171" y="91"/>
                    <a:pt x="171" y="91"/>
                  </a:cubicBezTo>
                  <a:cubicBezTo>
                    <a:pt x="171" y="84"/>
                    <a:pt x="171" y="84"/>
                    <a:pt x="171" y="84"/>
                  </a:cubicBezTo>
                  <a:cubicBezTo>
                    <a:pt x="190" y="80"/>
                    <a:pt x="203" y="63"/>
                    <a:pt x="203" y="43"/>
                  </a:cubicBezTo>
                  <a:cubicBezTo>
                    <a:pt x="203" y="19"/>
                    <a:pt x="184" y="0"/>
                    <a:pt x="161" y="0"/>
                  </a:cubicBezTo>
                  <a:cubicBezTo>
                    <a:pt x="149" y="0"/>
                    <a:pt x="137" y="6"/>
                    <a:pt x="129" y="15"/>
                  </a:cubicBezTo>
                  <a:cubicBezTo>
                    <a:pt x="122" y="22"/>
                    <a:pt x="118" y="32"/>
                    <a:pt x="118" y="43"/>
                  </a:cubicBezTo>
                  <a:cubicBezTo>
                    <a:pt x="118" y="49"/>
                    <a:pt x="123" y="54"/>
                    <a:pt x="129" y="54"/>
                  </a:cubicBezTo>
                  <a:cubicBezTo>
                    <a:pt x="135" y="54"/>
                    <a:pt x="139" y="49"/>
                    <a:pt x="139" y="43"/>
                  </a:cubicBezTo>
                  <a:cubicBezTo>
                    <a:pt x="139" y="38"/>
                    <a:pt x="141" y="33"/>
                    <a:pt x="145" y="29"/>
                  </a:cubicBezTo>
                  <a:cubicBezTo>
                    <a:pt x="149" y="24"/>
                    <a:pt x="155" y="22"/>
                    <a:pt x="161" y="22"/>
                  </a:cubicBezTo>
                  <a:cubicBezTo>
                    <a:pt x="172" y="22"/>
                    <a:pt x="182" y="31"/>
                    <a:pt x="182" y="43"/>
                  </a:cubicBezTo>
                  <a:cubicBezTo>
                    <a:pt x="182" y="55"/>
                    <a:pt x="172" y="64"/>
                    <a:pt x="161" y="64"/>
                  </a:cubicBezTo>
                  <a:cubicBezTo>
                    <a:pt x="155" y="64"/>
                    <a:pt x="150" y="69"/>
                    <a:pt x="150" y="75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5" y="205"/>
                    <a:pt x="5" y="205"/>
                    <a:pt x="5" y="205"/>
                  </a:cubicBezTo>
                  <a:cubicBezTo>
                    <a:pt x="1" y="208"/>
                    <a:pt x="0" y="213"/>
                    <a:pt x="1" y="217"/>
                  </a:cubicBezTo>
                  <a:cubicBezTo>
                    <a:pt x="3" y="221"/>
                    <a:pt x="7" y="224"/>
                    <a:pt x="11" y="224"/>
                  </a:cubicBezTo>
                  <a:cubicBezTo>
                    <a:pt x="310" y="224"/>
                    <a:pt x="310" y="224"/>
                    <a:pt x="310" y="224"/>
                  </a:cubicBezTo>
                  <a:cubicBezTo>
                    <a:pt x="315" y="224"/>
                    <a:pt x="319" y="221"/>
                    <a:pt x="320" y="217"/>
                  </a:cubicBezTo>
                  <a:cubicBezTo>
                    <a:pt x="322" y="213"/>
                    <a:pt x="320" y="208"/>
                    <a:pt x="317" y="205"/>
                  </a:cubicBezTo>
                  <a:close/>
                  <a:moveTo>
                    <a:pt x="42" y="203"/>
                  </a:moveTo>
                  <a:cubicBezTo>
                    <a:pt x="161" y="110"/>
                    <a:pt x="161" y="110"/>
                    <a:pt x="161" y="110"/>
                  </a:cubicBezTo>
                  <a:cubicBezTo>
                    <a:pt x="279" y="203"/>
                    <a:pt x="279" y="203"/>
                    <a:pt x="279" y="203"/>
                  </a:cubicBezTo>
                  <a:lnTo>
                    <a:pt x="42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1011"/>
            <p:cNvSpPr>
              <a:spLocks noEditPoints="1"/>
            </p:cNvSpPr>
            <p:nvPr/>
          </p:nvSpPr>
          <p:spPr bwMode="auto">
            <a:xfrm>
              <a:off x="4876" y="465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7" name="Freeform 1015"/>
          <p:cNvSpPr>
            <a:spLocks noChangeAspect="1" noEditPoints="1"/>
          </p:cNvSpPr>
          <p:nvPr/>
        </p:nvSpPr>
        <p:spPr bwMode="auto">
          <a:xfrm>
            <a:off x="6399181" y="2920269"/>
            <a:ext cx="367982" cy="369064"/>
          </a:xfrm>
          <a:custGeom>
            <a:avLst/>
            <a:gdLst>
              <a:gd name="T0" fmla="*/ 217 w 512"/>
              <a:gd name="T1" fmla="*/ 202 h 512"/>
              <a:gd name="T2" fmla="*/ 294 w 512"/>
              <a:gd name="T3" fmla="*/ 202 h 512"/>
              <a:gd name="T4" fmla="*/ 256 w 512"/>
              <a:gd name="T5" fmla="*/ 241 h 512"/>
              <a:gd name="T6" fmla="*/ 217 w 512"/>
              <a:gd name="T7" fmla="*/ 202 h 512"/>
              <a:gd name="T8" fmla="*/ 512 w 512"/>
              <a:gd name="T9" fmla="*/ 256 h 512"/>
              <a:gd name="T10" fmla="*/ 256 w 512"/>
              <a:gd name="T11" fmla="*/ 512 h 512"/>
              <a:gd name="T12" fmla="*/ 0 w 512"/>
              <a:gd name="T13" fmla="*/ 256 h 512"/>
              <a:gd name="T14" fmla="*/ 256 w 512"/>
              <a:gd name="T15" fmla="*/ 0 h 512"/>
              <a:gd name="T16" fmla="*/ 512 w 512"/>
              <a:gd name="T17" fmla="*/ 256 h 512"/>
              <a:gd name="T18" fmla="*/ 370 w 512"/>
              <a:gd name="T19" fmla="*/ 141 h 512"/>
              <a:gd name="T20" fmla="*/ 355 w 512"/>
              <a:gd name="T21" fmla="*/ 141 h 512"/>
              <a:gd name="T22" fmla="*/ 315 w 512"/>
              <a:gd name="T23" fmla="*/ 181 h 512"/>
              <a:gd name="T24" fmla="*/ 196 w 512"/>
              <a:gd name="T25" fmla="*/ 181 h 512"/>
              <a:gd name="T26" fmla="*/ 157 w 512"/>
              <a:gd name="T27" fmla="*/ 141 h 512"/>
              <a:gd name="T28" fmla="*/ 141 w 512"/>
              <a:gd name="T29" fmla="*/ 141 h 512"/>
              <a:gd name="T30" fmla="*/ 141 w 512"/>
              <a:gd name="T31" fmla="*/ 157 h 512"/>
              <a:gd name="T32" fmla="*/ 184 w 512"/>
              <a:gd name="T33" fmla="*/ 199 h 512"/>
              <a:gd name="T34" fmla="*/ 184 w 512"/>
              <a:gd name="T35" fmla="*/ 199 h 512"/>
              <a:gd name="T36" fmla="*/ 245 w 512"/>
              <a:gd name="T37" fmla="*/ 260 h 512"/>
              <a:gd name="T38" fmla="*/ 245 w 512"/>
              <a:gd name="T39" fmla="*/ 373 h 512"/>
              <a:gd name="T40" fmla="*/ 202 w 512"/>
              <a:gd name="T41" fmla="*/ 373 h 512"/>
              <a:gd name="T42" fmla="*/ 192 w 512"/>
              <a:gd name="T43" fmla="*/ 384 h 512"/>
              <a:gd name="T44" fmla="*/ 202 w 512"/>
              <a:gd name="T45" fmla="*/ 394 h 512"/>
              <a:gd name="T46" fmla="*/ 309 w 512"/>
              <a:gd name="T47" fmla="*/ 394 h 512"/>
              <a:gd name="T48" fmla="*/ 320 w 512"/>
              <a:gd name="T49" fmla="*/ 384 h 512"/>
              <a:gd name="T50" fmla="*/ 309 w 512"/>
              <a:gd name="T51" fmla="*/ 373 h 512"/>
              <a:gd name="T52" fmla="*/ 266 w 512"/>
              <a:gd name="T53" fmla="*/ 373 h 512"/>
              <a:gd name="T54" fmla="*/ 266 w 512"/>
              <a:gd name="T55" fmla="*/ 260 h 512"/>
              <a:gd name="T56" fmla="*/ 327 w 512"/>
              <a:gd name="T57" fmla="*/ 199 h 512"/>
              <a:gd name="T58" fmla="*/ 327 w 512"/>
              <a:gd name="T59" fmla="*/ 199 h 512"/>
              <a:gd name="T60" fmla="*/ 370 w 512"/>
              <a:gd name="T61" fmla="*/ 157 h 512"/>
              <a:gd name="T62" fmla="*/ 370 w 512"/>
              <a:gd name="T63" fmla="*/ 1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17" y="202"/>
                </a:moveTo>
                <a:cubicBezTo>
                  <a:pt x="294" y="202"/>
                  <a:pt x="294" y="202"/>
                  <a:pt x="294" y="202"/>
                </a:cubicBezTo>
                <a:cubicBezTo>
                  <a:pt x="256" y="241"/>
                  <a:pt x="256" y="241"/>
                  <a:pt x="256" y="241"/>
                </a:cubicBezTo>
                <a:lnTo>
                  <a:pt x="217" y="20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0" y="141"/>
                </a:moveTo>
                <a:cubicBezTo>
                  <a:pt x="366" y="137"/>
                  <a:pt x="359" y="137"/>
                  <a:pt x="355" y="141"/>
                </a:cubicBezTo>
                <a:cubicBezTo>
                  <a:pt x="315" y="181"/>
                  <a:pt x="315" y="181"/>
                  <a:pt x="315" y="181"/>
                </a:cubicBezTo>
                <a:cubicBezTo>
                  <a:pt x="196" y="181"/>
                  <a:pt x="196" y="181"/>
                  <a:pt x="196" y="181"/>
                </a:cubicBezTo>
                <a:cubicBezTo>
                  <a:pt x="157" y="141"/>
                  <a:pt x="157" y="141"/>
                  <a:pt x="157" y="141"/>
                </a:cubicBezTo>
                <a:cubicBezTo>
                  <a:pt x="152" y="137"/>
                  <a:pt x="146" y="137"/>
                  <a:pt x="141" y="141"/>
                </a:cubicBezTo>
                <a:cubicBezTo>
                  <a:pt x="137" y="146"/>
                  <a:pt x="137" y="152"/>
                  <a:pt x="141" y="157"/>
                </a:cubicBezTo>
                <a:cubicBezTo>
                  <a:pt x="184" y="199"/>
                  <a:pt x="184" y="199"/>
                  <a:pt x="184" y="199"/>
                </a:cubicBezTo>
                <a:cubicBezTo>
                  <a:pt x="184" y="199"/>
                  <a:pt x="184" y="199"/>
                  <a:pt x="184" y="199"/>
                </a:cubicBezTo>
                <a:cubicBezTo>
                  <a:pt x="245" y="260"/>
                  <a:pt x="245" y="260"/>
                  <a:pt x="245" y="260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02" y="373"/>
                  <a:pt x="202" y="373"/>
                  <a:pt x="202" y="373"/>
                </a:cubicBezTo>
                <a:cubicBezTo>
                  <a:pt x="196" y="373"/>
                  <a:pt x="192" y="378"/>
                  <a:pt x="192" y="384"/>
                </a:cubicBezTo>
                <a:cubicBezTo>
                  <a:pt x="192" y="390"/>
                  <a:pt x="196" y="394"/>
                  <a:pt x="202" y="394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315" y="394"/>
                  <a:pt x="320" y="390"/>
                  <a:pt x="320" y="384"/>
                </a:cubicBezTo>
                <a:cubicBezTo>
                  <a:pt x="320" y="378"/>
                  <a:pt x="315" y="373"/>
                  <a:pt x="309" y="373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66" y="260"/>
                  <a:pt x="266" y="260"/>
                  <a:pt x="266" y="260"/>
                </a:cubicBezTo>
                <a:cubicBezTo>
                  <a:pt x="327" y="199"/>
                  <a:pt x="327" y="199"/>
                  <a:pt x="327" y="199"/>
                </a:cubicBezTo>
                <a:cubicBezTo>
                  <a:pt x="327" y="199"/>
                  <a:pt x="327" y="199"/>
                  <a:pt x="327" y="199"/>
                </a:cubicBezTo>
                <a:cubicBezTo>
                  <a:pt x="370" y="157"/>
                  <a:pt x="370" y="157"/>
                  <a:pt x="370" y="157"/>
                </a:cubicBezTo>
                <a:cubicBezTo>
                  <a:pt x="374" y="152"/>
                  <a:pt x="374" y="146"/>
                  <a:pt x="370" y="14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8" name="Group 1018"/>
          <p:cNvGrpSpPr>
            <a:grpSpLocks noChangeAspect="1"/>
          </p:cNvGrpSpPr>
          <p:nvPr/>
        </p:nvGrpSpPr>
        <p:grpSpPr bwMode="auto">
          <a:xfrm>
            <a:off x="6896300" y="2920269"/>
            <a:ext cx="369064" cy="369064"/>
            <a:chOff x="5589" y="4650"/>
            <a:chExt cx="341" cy="341"/>
          </a:xfrm>
          <a:solidFill>
            <a:schemeClr val="accent5"/>
          </a:solidFill>
        </p:grpSpPr>
        <p:sp>
          <p:nvSpPr>
            <p:cNvPr id="319" name="Freeform 318"/>
            <p:cNvSpPr>
              <a:spLocks noEditPoints="1"/>
            </p:cNvSpPr>
            <p:nvPr/>
          </p:nvSpPr>
          <p:spPr bwMode="auto">
            <a:xfrm>
              <a:off x="5589" y="4650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319"/>
            <p:cNvSpPr>
              <a:spLocks noEditPoints="1"/>
            </p:cNvSpPr>
            <p:nvPr/>
          </p:nvSpPr>
          <p:spPr bwMode="auto">
            <a:xfrm>
              <a:off x="5680" y="4741"/>
              <a:ext cx="158" cy="171"/>
            </a:xfrm>
            <a:custGeom>
              <a:avLst/>
              <a:gdLst>
                <a:gd name="T0" fmla="*/ 233 w 237"/>
                <a:gd name="T1" fmla="*/ 4 h 257"/>
                <a:gd name="T2" fmla="*/ 218 w 237"/>
                <a:gd name="T3" fmla="*/ 4 h 257"/>
                <a:gd name="T4" fmla="*/ 178 w 237"/>
                <a:gd name="T5" fmla="*/ 44 h 257"/>
                <a:gd name="T6" fmla="*/ 59 w 237"/>
                <a:gd name="T7" fmla="*/ 44 h 257"/>
                <a:gd name="T8" fmla="*/ 20 w 237"/>
                <a:gd name="T9" fmla="*/ 4 h 257"/>
                <a:gd name="T10" fmla="*/ 4 w 237"/>
                <a:gd name="T11" fmla="*/ 4 h 257"/>
                <a:gd name="T12" fmla="*/ 4 w 237"/>
                <a:gd name="T13" fmla="*/ 20 h 257"/>
                <a:gd name="T14" fmla="*/ 47 w 237"/>
                <a:gd name="T15" fmla="*/ 62 h 257"/>
                <a:gd name="T16" fmla="*/ 47 w 237"/>
                <a:gd name="T17" fmla="*/ 62 h 257"/>
                <a:gd name="T18" fmla="*/ 108 w 237"/>
                <a:gd name="T19" fmla="*/ 123 h 257"/>
                <a:gd name="T20" fmla="*/ 108 w 237"/>
                <a:gd name="T21" fmla="*/ 236 h 257"/>
                <a:gd name="T22" fmla="*/ 65 w 237"/>
                <a:gd name="T23" fmla="*/ 236 h 257"/>
                <a:gd name="T24" fmla="*/ 55 w 237"/>
                <a:gd name="T25" fmla="*/ 247 h 257"/>
                <a:gd name="T26" fmla="*/ 65 w 237"/>
                <a:gd name="T27" fmla="*/ 257 h 257"/>
                <a:gd name="T28" fmla="*/ 172 w 237"/>
                <a:gd name="T29" fmla="*/ 257 h 257"/>
                <a:gd name="T30" fmla="*/ 183 w 237"/>
                <a:gd name="T31" fmla="*/ 247 h 257"/>
                <a:gd name="T32" fmla="*/ 172 w 237"/>
                <a:gd name="T33" fmla="*/ 236 h 257"/>
                <a:gd name="T34" fmla="*/ 129 w 237"/>
                <a:gd name="T35" fmla="*/ 236 h 257"/>
                <a:gd name="T36" fmla="*/ 129 w 237"/>
                <a:gd name="T37" fmla="*/ 123 h 257"/>
                <a:gd name="T38" fmla="*/ 190 w 237"/>
                <a:gd name="T39" fmla="*/ 62 h 257"/>
                <a:gd name="T40" fmla="*/ 190 w 237"/>
                <a:gd name="T41" fmla="*/ 62 h 257"/>
                <a:gd name="T42" fmla="*/ 233 w 237"/>
                <a:gd name="T43" fmla="*/ 20 h 257"/>
                <a:gd name="T44" fmla="*/ 233 w 237"/>
                <a:gd name="T45" fmla="*/ 4 h 257"/>
                <a:gd name="T46" fmla="*/ 157 w 237"/>
                <a:gd name="T47" fmla="*/ 65 h 257"/>
                <a:gd name="T48" fmla="*/ 119 w 237"/>
                <a:gd name="T49" fmla="*/ 104 h 257"/>
                <a:gd name="T50" fmla="*/ 80 w 237"/>
                <a:gd name="T51" fmla="*/ 65 h 257"/>
                <a:gd name="T52" fmla="*/ 157 w 237"/>
                <a:gd name="T53" fmla="*/ 6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7" h="257">
                  <a:moveTo>
                    <a:pt x="233" y="4"/>
                  </a:moveTo>
                  <a:cubicBezTo>
                    <a:pt x="229" y="0"/>
                    <a:pt x="222" y="0"/>
                    <a:pt x="218" y="4"/>
                  </a:cubicBezTo>
                  <a:cubicBezTo>
                    <a:pt x="178" y="44"/>
                    <a:pt x="178" y="44"/>
                    <a:pt x="178" y="44"/>
                  </a:cubicBezTo>
                  <a:cubicBezTo>
                    <a:pt x="59" y="44"/>
                    <a:pt x="59" y="44"/>
                    <a:pt x="59" y="4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5" y="0"/>
                    <a:pt x="9" y="0"/>
                    <a:pt x="4" y="4"/>
                  </a:cubicBezTo>
                  <a:cubicBezTo>
                    <a:pt x="0" y="9"/>
                    <a:pt x="0" y="15"/>
                    <a:pt x="4" y="20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108" y="123"/>
                    <a:pt x="108" y="123"/>
                    <a:pt x="108" y="123"/>
                  </a:cubicBezTo>
                  <a:cubicBezTo>
                    <a:pt x="108" y="236"/>
                    <a:pt x="108" y="236"/>
                    <a:pt x="108" y="236"/>
                  </a:cubicBezTo>
                  <a:cubicBezTo>
                    <a:pt x="65" y="236"/>
                    <a:pt x="65" y="236"/>
                    <a:pt x="65" y="236"/>
                  </a:cubicBezTo>
                  <a:cubicBezTo>
                    <a:pt x="59" y="236"/>
                    <a:pt x="55" y="241"/>
                    <a:pt x="55" y="247"/>
                  </a:cubicBezTo>
                  <a:cubicBezTo>
                    <a:pt x="55" y="253"/>
                    <a:pt x="59" y="257"/>
                    <a:pt x="65" y="257"/>
                  </a:cubicBezTo>
                  <a:cubicBezTo>
                    <a:pt x="172" y="257"/>
                    <a:pt x="172" y="257"/>
                    <a:pt x="172" y="257"/>
                  </a:cubicBezTo>
                  <a:cubicBezTo>
                    <a:pt x="178" y="257"/>
                    <a:pt x="183" y="253"/>
                    <a:pt x="183" y="247"/>
                  </a:cubicBezTo>
                  <a:cubicBezTo>
                    <a:pt x="183" y="241"/>
                    <a:pt x="178" y="236"/>
                    <a:pt x="172" y="236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29" y="123"/>
                    <a:pt x="129" y="123"/>
                    <a:pt x="129" y="123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233" y="20"/>
                    <a:pt x="233" y="20"/>
                    <a:pt x="233" y="20"/>
                  </a:cubicBezTo>
                  <a:cubicBezTo>
                    <a:pt x="237" y="15"/>
                    <a:pt x="237" y="9"/>
                    <a:pt x="233" y="4"/>
                  </a:cubicBezTo>
                  <a:close/>
                  <a:moveTo>
                    <a:pt x="157" y="65"/>
                  </a:moveTo>
                  <a:cubicBezTo>
                    <a:pt x="119" y="104"/>
                    <a:pt x="119" y="104"/>
                    <a:pt x="119" y="104"/>
                  </a:cubicBezTo>
                  <a:cubicBezTo>
                    <a:pt x="80" y="65"/>
                    <a:pt x="80" y="65"/>
                    <a:pt x="80" y="65"/>
                  </a:cubicBezTo>
                  <a:lnTo>
                    <a:pt x="15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21" name="Group 682"/>
          <p:cNvGrpSpPr>
            <a:grpSpLocks noChangeAspect="1"/>
          </p:cNvGrpSpPr>
          <p:nvPr/>
        </p:nvGrpSpPr>
        <p:grpSpPr bwMode="auto">
          <a:xfrm>
            <a:off x="7893314" y="2920270"/>
            <a:ext cx="369676" cy="369676"/>
            <a:chOff x="1144" y="2344"/>
            <a:chExt cx="340" cy="340"/>
          </a:xfrm>
          <a:solidFill>
            <a:schemeClr val="accent1"/>
          </a:solidFill>
        </p:grpSpPr>
        <p:sp>
          <p:nvSpPr>
            <p:cNvPr id="322" name="Freeform 683"/>
            <p:cNvSpPr>
              <a:spLocks noEditPoints="1"/>
            </p:cNvSpPr>
            <p:nvPr/>
          </p:nvSpPr>
          <p:spPr bwMode="auto">
            <a:xfrm>
              <a:off x="1144" y="23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684"/>
            <p:cNvSpPr>
              <a:spLocks noEditPoints="1"/>
            </p:cNvSpPr>
            <p:nvPr/>
          </p:nvSpPr>
          <p:spPr bwMode="auto">
            <a:xfrm>
              <a:off x="1207" y="2435"/>
              <a:ext cx="214" cy="171"/>
            </a:xfrm>
            <a:custGeom>
              <a:avLst/>
              <a:gdLst>
                <a:gd name="T0" fmla="*/ 313 w 322"/>
                <a:gd name="T1" fmla="*/ 22 h 257"/>
                <a:gd name="T2" fmla="*/ 276 w 322"/>
                <a:gd name="T3" fmla="*/ 31 h 257"/>
                <a:gd name="T4" fmla="*/ 246 w 322"/>
                <a:gd name="T5" fmla="*/ 185 h 257"/>
                <a:gd name="T6" fmla="*/ 235 w 322"/>
                <a:gd name="T7" fmla="*/ 193 h 257"/>
                <a:gd name="T8" fmla="*/ 235 w 322"/>
                <a:gd name="T9" fmla="*/ 193 h 257"/>
                <a:gd name="T10" fmla="*/ 235 w 322"/>
                <a:gd name="T11" fmla="*/ 193 h 257"/>
                <a:gd name="T12" fmla="*/ 54 w 322"/>
                <a:gd name="T13" fmla="*/ 193 h 257"/>
                <a:gd name="T14" fmla="*/ 43 w 322"/>
                <a:gd name="T15" fmla="*/ 183 h 257"/>
                <a:gd name="T16" fmla="*/ 54 w 322"/>
                <a:gd name="T17" fmla="*/ 172 h 257"/>
                <a:gd name="T18" fmla="*/ 227 w 322"/>
                <a:gd name="T19" fmla="*/ 172 h 257"/>
                <a:gd name="T20" fmla="*/ 257 w 322"/>
                <a:gd name="T21" fmla="*/ 21 h 257"/>
                <a:gd name="T22" fmla="*/ 265 w 322"/>
                <a:gd name="T23" fmla="*/ 12 h 257"/>
                <a:gd name="T24" fmla="*/ 307 w 322"/>
                <a:gd name="T25" fmla="*/ 2 h 257"/>
                <a:gd name="T26" fmla="*/ 320 w 322"/>
                <a:gd name="T27" fmla="*/ 9 h 257"/>
                <a:gd name="T28" fmla="*/ 313 w 322"/>
                <a:gd name="T29" fmla="*/ 22 h 257"/>
                <a:gd name="T30" fmla="*/ 203 w 322"/>
                <a:gd name="T31" fmla="*/ 140 h 257"/>
                <a:gd name="T32" fmla="*/ 193 w 322"/>
                <a:gd name="T33" fmla="*/ 129 h 257"/>
                <a:gd name="T34" fmla="*/ 41 w 322"/>
                <a:gd name="T35" fmla="*/ 129 h 257"/>
                <a:gd name="T36" fmla="*/ 25 w 322"/>
                <a:gd name="T37" fmla="*/ 65 h 257"/>
                <a:gd name="T38" fmla="*/ 214 w 322"/>
                <a:gd name="T39" fmla="*/ 65 h 257"/>
                <a:gd name="T40" fmla="*/ 225 w 322"/>
                <a:gd name="T41" fmla="*/ 55 h 257"/>
                <a:gd name="T42" fmla="*/ 214 w 322"/>
                <a:gd name="T43" fmla="*/ 44 h 257"/>
                <a:gd name="T44" fmla="*/ 11 w 322"/>
                <a:gd name="T45" fmla="*/ 44 h 257"/>
                <a:gd name="T46" fmla="*/ 3 w 322"/>
                <a:gd name="T47" fmla="*/ 48 h 257"/>
                <a:gd name="T48" fmla="*/ 1 w 322"/>
                <a:gd name="T49" fmla="*/ 57 h 257"/>
                <a:gd name="T50" fmla="*/ 22 w 322"/>
                <a:gd name="T51" fmla="*/ 143 h 257"/>
                <a:gd name="T52" fmla="*/ 33 w 322"/>
                <a:gd name="T53" fmla="*/ 151 h 257"/>
                <a:gd name="T54" fmla="*/ 193 w 322"/>
                <a:gd name="T55" fmla="*/ 151 h 257"/>
                <a:gd name="T56" fmla="*/ 203 w 322"/>
                <a:gd name="T57" fmla="*/ 140 h 257"/>
                <a:gd name="T58" fmla="*/ 65 w 322"/>
                <a:gd name="T59" fmla="*/ 87 h 257"/>
                <a:gd name="T60" fmla="*/ 54 w 322"/>
                <a:gd name="T61" fmla="*/ 97 h 257"/>
                <a:gd name="T62" fmla="*/ 65 w 322"/>
                <a:gd name="T63" fmla="*/ 108 h 257"/>
                <a:gd name="T64" fmla="*/ 203 w 322"/>
                <a:gd name="T65" fmla="*/ 108 h 257"/>
                <a:gd name="T66" fmla="*/ 214 w 322"/>
                <a:gd name="T67" fmla="*/ 97 h 257"/>
                <a:gd name="T68" fmla="*/ 203 w 322"/>
                <a:gd name="T69" fmla="*/ 87 h 257"/>
                <a:gd name="T70" fmla="*/ 65 w 322"/>
                <a:gd name="T71" fmla="*/ 87 h 257"/>
                <a:gd name="T72" fmla="*/ 75 w 322"/>
                <a:gd name="T73" fmla="*/ 215 h 257"/>
                <a:gd name="T74" fmla="*/ 54 w 322"/>
                <a:gd name="T75" fmla="*/ 236 h 257"/>
                <a:gd name="T76" fmla="*/ 75 w 322"/>
                <a:gd name="T77" fmla="*/ 257 h 257"/>
                <a:gd name="T78" fmla="*/ 97 w 322"/>
                <a:gd name="T79" fmla="*/ 236 h 257"/>
                <a:gd name="T80" fmla="*/ 75 w 322"/>
                <a:gd name="T81" fmla="*/ 215 h 257"/>
                <a:gd name="T82" fmla="*/ 214 w 322"/>
                <a:gd name="T83" fmla="*/ 215 h 257"/>
                <a:gd name="T84" fmla="*/ 193 w 322"/>
                <a:gd name="T85" fmla="*/ 236 h 257"/>
                <a:gd name="T86" fmla="*/ 214 w 322"/>
                <a:gd name="T87" fmla="*/ 257 h 257"/>
                <a:gd name="T88" fmla="*/ 235 w 322"/>
                <a:gd name="T89" fmla="*/ 236 h 257"/>
                <a:gd name="T90" fmla="*/ 214 w 322"/>
                <a:gd name="T91" fmla="*/ 21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2" h="257">
                  <a:moveTo>
                    <a:pt x="313" y="22"/>
                  </a:moveTo>
                  <a:cubicBezTo>
                    <a:pt x="276" y="31"/>
                    <a:pt x="276" y="31"/>
                    <a:pt x="276" y="31"/>
                  </a:cubicBezTo>
                  <a:cubicBezTo>
                    <a:pt x="246" y="185"/>
                    <a:pt x="246" y="185"/>
                    <a:pt x="246" y="185"/>
                  </a:cubicBezTo>
                  <a:cubicBezTo>
                    <a:pt x="245" y="190"/>
                    <a:pt x="240" y="193"/>
                    <a:pt x="235" y="193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54" y="193"/>
                    <a:pt x="54" y="193"/>
                    <a:pt x="54" y="193"/>
                  </a:cubicBezTo>
                  <a:cubicBezTo>
                    <a:pt x="48" y="193"/>
                    <a:pt x="43" y="189"/>
                    <a:pt x="43" y="183"/>
                  </a:cubicBezTo>
                  <a:cubicBezTo>
                    <a:pt x="43" y="177"/>
                    <a:pt x="48" y="172"/>
                    <a:pt x="54" y="172"/>
                  </a:cubicBezTo>
                  <a:cubicBezTo>
                    <a:pt x="227" y="172"/>
                    <a:pt x="227" y="172"/>
                    <a:pt x="227" y="172"/>
                  </a:cubicBezTo>
                  <a:cubicBezTo>
                    <a:pt x="257" y="21"/>
                    <a:pt x="257" y="21"/>
                    <a:pt x="257" y="21"/>
                  </a:cubicBezTo>
                  <a:cubicBezTo>
                    <a:pt x="258" y="17"/>
                    <a:pt x="261" y="13"/>
                    <a:pt x="265" y="12"/>
                  </a:cubicBezTo>
                  <a:cubicBezTo>
                    <a:pt x="307" y="2"/>
                    <a:pt x="307" y="2"/>
                    <a:pt x="307" y="2"/>
                  </a:cubicBezTo>
                  <a:cubicBezTo>
                    <a:pt x="313" y="0"/>
                    <a:pt x="319" y="4"/>
                    <a:pt x="320" y="9"/>
                  </a:cubicBezTo>
                  <a:cubicBezTo>
                    <a:pt x="322" y="15"/>
                    <a:pt x="318" y="21"/>
                    <a:pt x="313" y="22"/>
                  </a:cubicBezTo>
                  <a:close/>
                  <a:moveTo>
                    <a:pt x="203" y="140"/>
                  </a:moveTo>
                  <a:cubicBezTo>
                    <a:pt x="203" y="134"/>
                    <a:pt x="199" y="129"/>
                    <a:pt x="193" y="129"/>
                  </a:cubicBezTo>
                  <a:cubicBezTo>
                    <a:pt x="41" y="129"/>
                    <a:pt x="41" y="129"/>
                    <a:pt x="41" y="129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20" y="65"/>
                    <a:pt x="225" y="61"/>
                    <a:pt x="225" y="55"/>
                  </a:cubicBezTo>
                  <a:cubicBezTo>
                    <a:pt x="225" y="49"/>
                    <a:pt x="220" y="44"/>
                    <a:pt x="214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8" y="44"/>
                    <a:pt x="5" y="46"/>
                    <a:pt x="3" y="48"/>
                  </a:cubicBezTo>
                  <a:cubicBezTo>
                    <a:pt x="1" y="51"/>
                    <a:pt x="0" y="54"/>
                    <a:pt x="1" y="57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4" y="147"/>
                    <a:pt x="28" y="151"/>
                    <a:pt x="33" y="151"/>
                  </a:cubicBezTo>
                  <a:cubicBezTo>
                    <a:pt x="193" y="151"/>
                    <a:pt x="193" y="151"/>
                    <a:pt x="193" y="151"/>
                  </a:cubicBezTo>
                  <a:cubicBezTo>
                    <a:pt x="199" y="151"/>
                    <a:pt x="203" y="146"/>
                    <a:pt x="203" y="140"/>
                  </a:cubicBezTo>
                  <a:close/>
                  <a:moveTo>
                    <a:pt x="65" y="87"/>
                  </a:moveTo>
                  <a:cubicBezTo>
                    <a:pt x="59" y="87"/>
                    <a:pt x="54" y="91"/>
                    <a:pt x="54" y="97"/>
                  </a:cubicBezTo>
                  <a:cubicBezTo>
                    <a:pt x="54" y="103"/>
                    <a:pt x="59" y="108"/>
                    <a:pt x="65" y="108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9" y="108"/>
                    <a:pt x="214" y="103"/>
                    <a:pt x="214" y="97"/>
                  </a:cubicBezTo>
                  <a:cubicBezTo>
                    <a:pt x="214" y="91"/>
                    <a:pt x="209" y="87"/>
                    <a:pt x="203" y="87"/>
                  </a:cubicBezTo>
                  <a:lnTo>
                    <a:pt x="65" y="87"/>
                  </a:lnTo>
                  <a:close/>
                  <a:moveTo>
                    <a:pt x="75" y="215"/>
                  </a:moveTo>
                  <a:cubicBezTo>
                    <a:pt x="64" y="215"/>
                    <a:pt x="54" y="224"/>
                    <a:pt x="54" y="236"/>
                  </a:cubicBezTo>
                  <a:cubicBezTo>
                    <a:pt x="54" y="248"/>
                    <a:pt x="64" y="257"/>
                    <a:pt x="75" y="257"/>
                  </a:cubicBezTo>
                  <a:cubicBezTo>
                    <a:pt x="87" y="257"/>
                    <a:pt x="97" y="248"/>
                    <a:pt x="97" y="236"/>
                  </a:cubicBezTo>
                  <a:cubicBezTo>
                    <a:pt x="97" y="224"/>
                    <a:pt x="87" y="215"/>
                    <a:pt x="75" y="215"/>
                  </a:cubicBezTo>
                  <a:close/>
                  <a:moveTo>
                    <a:pt x="214" y="215"/>
                  </a:moveTo>
                  <a:cubicBezTo>
                    <a:pt x="202" y="215"/>
                    <a:pt x="193" y="224"/>
                    <a:pt x="193" y="236"/>
                  </a:cubicBezTo>
                  <a:cubicBezTo>
                    <a:pt x="193" y="248"/>
                    <a:pt x="202" y="257"/>
                    <a:pt x="214" y="257"/>
                  </a:cubicBezTo>
                  <a:cubicBezTo>
                    <a:pt x="226" y="257"/>
                    <a:pt x="235" y="248"/>
                    <a:pt x="235" y="236"/>
                  </a:cubicBezTo>
                  <a:cubicBezTo>
                    <a:pt x="235" y="224"/>
                    <a:pt x="226" y="215"/>
                    <a:pt x="214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4" name="Freeform 688"/>
          <p:cNvSpPr>
            <a:spLocks noChangeAspect="1" noEditPoints="1"/>
          </p:cNvSpPr>
          <p:nvPr/>
        </p:nvSpPr>
        <p:spPr bwMode="auto">
          <a:xfrm>
            <a:off x="7394501" y="2920270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17 w 512"/>
              <a:gd name="T11" fmla="*/ 280 h 512"/>
              <a:gd name="T12" fmla="*/ 96 w 512"/>
              <a:gd name="T13" fmla="*/ 194 h 512"/>
              <a:gd name="T14" fmla="*/ 98 w 512"/>
              <a:gd name="T15" fmla="*/ 185 h 512"/>
              <a:gd name="T16" fmla="*/ 106 w 512"/>
              <a:gd name="T17" fmla="*/ 181 h 512"/>
              <a:gd name="T18" fmla="*/ 309 w 512"/>
              <a:gd name="T19" fmla="*/ 181 h 512"/>
              <a:gd name="T20" fmla="*/ 320 w 512"/>
              <a:gd name="T21" fmla="*/ 192 h 512"/>
              <a:gd name="T22" fmla="*/ 309 w 512"/>
              <a:gd name="T23" fmla="*/ 202 h 512"/>
              <a:gd name="T24" fmla="*/ 120 w 512"/>
              <a:gd name="T25" fmla="*/ 202 h 512"/>
              <a:gd name="T26" fmla="*/ 136 w 512"/>
              <a:gd name="T27" fmla="*/ 266 h 512"/>
              <a:gd name="T28" fmla="*/ 288 w 512"/>
              <a:gd name="T29" fmla="*/ 266 h 512"/>
              <a:gd name="T30" fmla="*/ 298 w 512"/>
              <a:gd name="T31" fmla="*/ 277 h 512"/>
              <a:gd name="T32" fmla="*/ 288 w 512"/>
              <a:gd name="T33" fmla="*/ 288 h 512"/>
              <a:gd name="T34" fmla="*/ 128 w 512"/>
              <a:gd name="T35" fmla="*/ 288 h 512"/>
              <a:gd name="T36" fmla="*/ 117 w 512"/>
              <a:gd name="T37" fmla="*/ 280 h 512"/>
              <a:gd name="T38" fmla="*/ 309 w 512"/>
              <a:gd name="T39" fmla="*/ 234 h 512"/>
              <a:gd name="T40" fmla="*/ 298 w 512"/>
              <a:gd name="T41" fmla="*/ 245 h 512"/>
              <a:gd name="T42" fmla="*/ 160 w 512"/>
              <a:gd name="T43" fmla="*/ 245 h 512"/>
              <a:gd name="T44" fmla="*/ 149 w 512"/>
              <a:gd name="T45" fmla="*/ 234 h 512"/>
              <a:gd name="T46" fmla="*/ 160 w 512"/>
              <a:gd name="T47" fmla="*/ 224 h 512"/>
              <a:gd name="T48" fmla="*/ 298 w 512"/>
              <a:gd name="T49" fmla="*/ 224 h 512"/>
              <a:gd name="T50" fmla="*/ 309 w 512"/>
              <a:gd name="T51" fmla="*/ 234 h 512"/>
              <a:gd name="T52" fmla="*/ 170 w 512"/>
              <a:gd name="T53" fmla="*/ 394 h 512"/>
              <a:gd name="T54" fmla="*/ 149 w 512"/>
              <a:gd name="T55" fmla="*/ 373 h 512"/>
              <a:gd name="T56" fmla="*/ 170 w 512"/>
              <a:gd name="T57" fmla="*/ 352 h 512"/>
              <a:gd name="T58" fmla="*/ 192 w 512"/>
              <a:gd name="T59" fmla="*/ 373 h 512"/>
              <a:gd name="T60" fmla="*/ 170 w 512"/>
              <a:gd name="T61" fmla="*/ 394 h 512"/>
              <a:gd name="T62" fmla="*/ 309 w 512"/>
              <a:gd name="T63" fmla="*/ 394 h 512"/>
              <a:gd name="T64" fmla="*/ 288 w 512"/>
              <a:gd name="T65" fmla="*/ 373 h 512"/>
              <a:gd name="T66" fmla="*/ 309 w 512"/>
              <a:gd name="T67" fmla="*/ 352 h 512"/>
              <a:gd name="T68" fmla="*/ 330 w 512"/>
              <a:gd name="T69" fmla="*/ 373 h 512"/>
              <a:gd name="T70" fmla="*/ 309 w 512"/>
              <a:gd name="T71" fmla="*/ 394 h 512"/>
              <a:gd name="T72" fmla="*/ 408 w 512"/>
              <a:gd name="T73" fmla="*/ 159 h 512"/>
              <a:gd name="T74" fmla="*/ 371 w 512"/>
              <a:gd name="T75" fmla="*/ 168 h 512"/>
              <a:gd name="T76" fmla="*/ 341 w 512"/>
              <a:gd name="T77" fmla="*/ 322 h 512"/>
              <a:gd name="T78" fmla="*/ 330 w 512"/>
              <a:gd name="T79" fmla="*/ 330 h 512"/>
              <a:gd name="T80" fmla="*/ 330 w 512"/>
              <a:gd name="T81" fmla="*/ 330 h 512"/>
              <a:gd name="T82" fmla="*/ 330 w 512"/>
              <a:gd name="T83" fmla="*/ 330 h 512"/>
              <a:gd name="T84" fmla="*/ 149 w 512"/>
              <a:gd name="T85" fmla="*/ 330 h 512"/>
              <a:gd name="T86" fmla="*/ 138 w 512"/>
              <a:gd name="T87" fmla="*/ 320 h 512"/>
              <a:gd name="T88" fmla="*/ 149 w 512"/>
              <a:gd name="T89" fmla="*/ 309 h 512"/>
              <a:gd name="T90" fmla="*/ 322 w 512"/>
              <a:gd name="T91" fmla="*/ 309 h 512"/>
              <a:gd name="T92" fmla="*/ 352 w 512"/>
              <a:gd name="T93" fmla="*/ 158 h 512"/>
              <a:gd name="T94" fmla="*/ 360 w 512"/>
              <a:gd name="T95" fmla="*/ 149 h 512"/>
              <a:gd name="T96" fmla="*/ 402 w 512"/>
              <a:gd name="T97" fmla="*/ 139 h 512"/>
              <a:gd name="T98" fmla="*/ 415 w 512"/>
              <a:gd name="T99" fmla="*/ 146 h 512"/>
              <a:gd name="T100" fmla="*/ 408 w 512"/>
              <a:gd name="T101" fmla="*/ 15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17" y="280"/>
                </a:moveTo>
                <a:cubicBezTo>
                  <a:pt x="96" y="194"/>
                  <a:pt x="96" y="194"/>
                  <a:pt x="96" y="194"/>
                </a:cubicBezTo>
                <a:cubicBezTo>
                  <a:pt x="95" y="191"/>
                  <a:pt x="96" y="188"/>
                  <a:pt x="98" y="185"/>
                </a:cubicBezTo>
                <a:cubicBezTo>
                  <a:pt x="100" y="183"/>
                  <a:pt x="103" y="181"/>
                  <a:pt x="106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15" y="181"/>
                  <a:pt x="320" y="186"/>
                  <a:pt x="320" y="192"/>
                </a:cubicBezTo>
                <a:cubicBezTo>
                  <a:pt x="320" y="198"/>
                  <a:pt x="315" y="202"/>
                  <a:pt x="309" y="202"/>
                </a:cubicBezTo>
                <a:cubicBezTo>
                  <a:pt x="120" y="202"/>
                  <a:pt x="120" y="202"/>
                  <a:pt x="120" y="202"/>
                </a:cubicBezTo>
                <a:cubicBezTo>
                  <a:pt x="136" y="266"/>
                  <a:pt x="136" y="266"/>
                  <a:pt x="136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71"/>
                  <a:pt x="298" y="277"/>
                </a:cubicBezTo>
                <a:cubicBezTo>
                  <a:pt x="298" y="283"/>
                  <a:pt x="294" y="288"/>
                  <a:pt x="288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3" y="288"/>
                  <a:pt x="119" y="284"/>
                  <a:pt x="117" y="280"/>
                </a:cubicBezTo>
                <a:close/>
                <a:moveTo>
                  <a:pt x="309" y="234"/>
                </a:moveTo>
                <a:cubicBezTo>
                  <a:pt x="309" y="240"/>
                  <a:pt x="304" y="245"/>
                  <a:pt x="298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54" y="245"/>
                  <a:pt x="149" y="240"/>
                  <a:pt x="149" y="234"/>
                </a:cubicBezTo>
                <a:cubicBezTo>
                  <a:pt x="149" y="228"/>
                  <a:pt x="154" y="224"/>
                  <a:pt x="160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304" y="224"/>
                  <a:pt x="309" y="228"/>
                  <a:pt x="309" y="234"/>
                </a:cubicBezTo>
                <a:close/>
                <a:moveTo>
                  <a:pt x="170" y="394"/>
                </a:moveTo>
                <a:cubicBezTo>
                  <a:pt x="159" y="394"/>
                  <a:pt x="149" y="385"/>
                  <a:pt x="149" y="373"/>
                </a:cubicBezTo>
                <a:cubicBezTo>
                  <a:pt x="149" y="361"/>
                  <a:pt x="159" y="352"/>
                  <a:pt x="170" y="352"/>
                </a:cubicBezTo>
                <a:cubicBezTo>
                  <a:pt x="182" y="352"/>
                  <a:pt x="192" y="361"/>
                  <a:pt x="192" y="373"/>
                </a:cubicBezTo>
                <a:cubicBezTo>
                  <a:pt x="192" y="385"/>
                  <a:pt x="182" y="394"/>
                  <a:pt x="170" y="394"/>
                </a:cubicBezTo>
                <a:close/>
                <a:moveTo>
                  <a:pt x="309" y="394"/>
                </a:moveTo>
                <a:cubicBezTo>
                  <a:pt x="297" y="394"/>
                  <a:pt x="288" y="385"/>
                  <a:pt x="288" y="373"/>
                </a:cubicBezTo>
                <a:cubicBezTo>
                  <a:pt x="288" y="361"/>
                  <a:pt x="297" y="352"/>
                  <a:pt x="309" y="352"/>
                </a:cubicBezTo>
                <a:cubicBezTo>
                  <a:pt x="321" y="352"/>
                  <a:pt x="330" y="361"/>
                  <a:pt x="330" y="373"/>
                </a:cubicBezTo>
                <a:cubicBezTo>
                  <a:pt x="330" y="385"/>
                  <a:pt x="321" y="394"/>
                  <a:pt x="309" y="394"/>
                </a:cubicBezTo>
                <a:close/>
                <a:moveTo>
                  <a:pt x="408" y="159"/>
                </a:moveTo>
                <a:cubicBezTo>
                  <a:pt x="371" y="168"/>
                  <a:pt x="371" y="168"/>
                  <a:pt x="371" y="168"/>
                </a:cubicBezTo>
                <a:cubicBezTo>
                  <a:pt x="341" y="322"/>
                  <a:pt x="341" y="322"/>
                  <a:pt x="341" y="322"/>
                </a:cubicBezTo>
                <a:cubicBezTo>
                  <a:pt x="340" y="327"/>
                  <a:pt x="335" y="330"/>
                  <a:pt x="330" y="330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330" y="330"/>
                  <a:pt x="330" y="330"/>
                  <a:pt x="330" y="330"/>
                </a:cubicBezTo>
                <a:cubicBezTo>
                  <a:pt x="149" y="330"/>
                  <a:pt x="149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ubicBezTo>
                  <a:pt x="322" y="309"/>
                  <a:pt x="322" y="309"/>
                  <a:pt x="322" y="309"/>
                </a:cubicBezTo>
                <a:cubicBezTo>
                  <a:pt x="352" y="158"/>
                  <a:pt x="352" y="158"/>
                  <a:pt x="352" y="158"/>
                </a:cubicBezTo>
                <a:cubicBezTo>
                  <a:pt x="353" y="154"/>
                  <a:pt x="356" y="150"/>
                  <a:pt x="360" y="149"/>
                </a:cubicBezTo>
                <a:cubicBezTo>
                  <a:pt x="402" y="139"/>
                  <a:pt x="402" y="139"/>
                  <a:pt x="402" y="139"/>
                </a:cubicBezTo>
                <a:cubicBezTo>
                  <a:pt x="408" y="137"/>
                  <a:pt x="414" y="141"/>
                  <a:pt x="415" y="146"/>
                </a:cubicBezTo>
                <a:cubicBezTo>
                  <a:pt x="417" y="152"/>
                  <a:pt x="413" y="158"/>
                  <a:pt x="408" y="1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5" name="Group 495"/>
          <p:cNvGrpSpPr>
            <a:grpSpLocks noChangeAspect="1"/>
          </p:cNvGrpSpPr>
          <p:nvPr/>
        </p:nvGrpSpPr>
        <p:grpSpPr bwMode="auto">
          <a:xfrm>
            <a:off x="8890940" y="2920274"/>
            <a:ext cx="369676" cy="370763"/>
            <a:chOff x="7361" y="1880"/>
            <a:chExt cx="340" cy="341"/>
          </a:xfrm>
          <a:solidFill>
            <a:schemeClr val="accent6"/>
          </a:solidFill>
        </p:grpSpPr>
        <p:sp>
          <p:nvSpPr>
            <p:cNvPr id="326" name="Freeform 496"/>
            <p:cNvSpPr>
              <a:spLocks noEditPoints="1"/>
            </p:cNvSpPr>
            <p:nvPr/>
          </p:nvSpPr>
          <p:spPr bwMode="auto">
            <a:xfrm>
              <a:off x="7361" y="1880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497"/>
            <p:cNvSpPr>
              <a:spLocks noEditPoints="1"/>
            </p:cNvSpPr>
            <p:nvPr/>
          </p:nvSpPr>
          <p:spPr bwMode="auto">
            <a:xfrm>
              <a:off x="7453" y="1944"/>
              <a:ext cx="156" cy="213"/>
            </a:xfrm>
            <a:custGeom>
              <a:avLst/>
              <a:gdLst>
                <a:gd name="T0" fmla="*/ 224 w 235"/>
                <a:gd name="T1" fmla="*/ 42 h 320"/>
                <a:gd name="T2" fmla="*/ 214 w 235"/>
                <a:gd name="T3" fmla="*/ 42 h 320"/>
                <a:gd name="T4" fmla="*/ 213 w 235"/>
                <a:gd name="T5" fmla="*/ 39 h 320"/>
                <a:gd name="T6" fmla="*/ 202 w 235"/>
                <a:gd name="T7" fmla="*/ 7 h 320"/>
                <a:gd name="T8" fmla="*/ 192 w 235"/>
                <a:gd name="T9" fmla="*/ 0 h 320"/>
                <a:gd name="T10" fmla="*/ 43 w 235"/>
                <a:gd name="T11" fmla="*/ 0 h 320"/>
                <a:gd name="T12" fmla="*/ 33 w 235"/>
                <a:gd name="T13" fmla="*/ 7 h 320"/>
                <a:gd name="T14" fmla="*/ 22 w 235"/>
                <a:gd name="T15" fmla="*/ 39 h 320"/>
                <a:gd name="T16" fmla="*/ 22 w 235"/>
                <a:gd name="T17" fmla="*/ 42 h 320"/>
                <a:gd name="T18" fmla="*/ 11 w 235"/>
                <a:gd name="T19" fmla="*/ 42 h 320"/>
                <a:gd name="T20" fmla="*/ 0 w 235"/>
                <a:gd name="T21" fmla="*/ 53 h 320"/>
                <a:gd name="T22" fmla="*/ 11 w 235"/>
                <a:gd name="T23" fmla="*/ 64 h 320"/>
                <a:gd name="T24" fmla="*/ 23 w 235"/>
                <a:gd name="T25" fmla="*/ 64 h 320"/>
                <a:gd name="T26" fmla="*/ 27 w 235"/>
                <a:gd name="T27" fmla="*/ 117 h 320"/>
                <a:gd name="T28" fmla="*/ 22 w 235"/>
                <a:gd name="T29" fmla="*/ 117 h 320"/>
                <a:gd name="T30" fmla="*/ 14 w 235"/>
                <a:gd name="T31" fmla="*/ 120 h 320"/>
                <a:gd name="T32" fmla="*/ 11 w 235"/>
                <a:gd name="T33" fmla="*/ 129 h 320"/>
                <a:gd name="T34" fmla="*/ 22 w 235"/>
                <a:gd name="T35" fmla="*/ 246 h 320"/>
                <a:gd name="T36" fmla="*/ 32 w 235"/>
                <a:gd name="T37" fmla="*/ 256 h 320"/>
                <a:gd name="T38" fmla="*/ 39 w 235"/>
                <a:gd name="T39" fmla="*/ 256 h 320"/>
                <a:gd name="T40" fmla="*/ 43 w 235"/>
                <a:gd name="T41" fmla="*/ 310 h 320"/>
                <a:gd name="T42" fmla="*/ 54 w 235"/>
                <a:gd name="T43" fmla="*/ 320 h 320"/>
                <a:gd name="T44" fmla="*/ 182 w 235"/>
                <a:gd name="T45" fmla="*/ 320 h 320"/>
                <a:gd name="T46" fmla="*/ 192 w 235"/>
                <a:gd name="T47" fmla="*/ 310 h 320"/>
                <a:gd name="T48" fmla="*/ 197 w 235"/>
                <a:gd name="T49" fmla="*/ 256 h 320"/>
                <a:gd name="T50" fmla="*/ 203 w 235"/>
                <a:gd name="T51" fmla="*/ 256 h 320"/>
                <a:gd name="T52" fmla="*/ 214 w 235"/>
                <a:gd name="T53" fmla="*/ 246 h 320"/>
                <a:gd name="T54" fmla="*/ 224 w 235"/>
                <a:gd name="T55" fmla="*/ 129 h 320"/>
                <a:gd name="T56" fmla="*/ 222 w 235"/>
                <a:gd name="T57" fmla="*/ 120 h 320"/>
                <a:gd name="T58" fmla="*/ 214 w 235"/>
                <a:gd name="T59" fmla="*/ 117 h 320"/>
                <a:gd name="T60" fmla="*/ 208 w 235"/>
                <a:gd name="T61" fmla="*/ 117 h 320"/>
                <a:gd name="T62" fmla="*/ 213 w 235"/>
                <a:gd name="T63" fmla="*/ 64 h 320"/>
                <a:gd name="T64" fmla="*/ 224 w 235"/>
                <a:gd name="T65" fmla="*/ 64 h 320"/>
                <a:gd name="T66" fmla="*/ 235 w 235"/>
                <a:gd name="T67" fmla="*/ 53 h 320"/>
                <a:gd name="T68" fmla="*/ 224 w 235"/>
                <a:gd name="T69" fmla="*/ 42 h 320"/>
                <a:gd name="T70" fmla="*/ 51 w 235"/>
                <a:gd name="T71" fmla="*/ 21 h 320"/>
                <a:gd name="T72" fmla="*/ 185 w 235"/>
                <a:gd name="T73" fmla="*/ 21 h 320"/>
                <a:gd name="T74" fmla="*/ 192 w 235"/>
                <a:gd name="T75" fmla="*/ 42 h 320"/>
                <a:gd name="T76" fmla="*/ 44 w 235"/>
                <a:gd name="T77" fmla="*/ 42 h 320"/>
                <a:gd name="T78" fmla="*/ 51 w 235"/>
                <a:gd name="T79" fmla="*/ 21 h 320"/>
                <a:gd name="T80" fmla="*/ 172 w 235"/>
                <a:gd name="T81" fmla="*/ 298 h 320"/>
                <a:gd name="T82" fmla="*/ 63 w 235"/>
                <a:gd name="T83" fmla="*/ 298 h 320"/>
                <a:gd name="T84" fmla="*/ 60 w 235"/>
                <a:gd name="T85" fmla="*/ 256 h 320"/>
                <a:gd name="T86" fmla="*/ 175 w 235"/>
                <a:gd name="T87" fmla="*/ 256 h 320"/>
                <a:gd name="T88" fmla="*/ 172 w 235"/>
                <a:gd name="T89" fmla="*/ 298 h 320"/>
                <a:gd name="T90" fmla="*/ 193 w 235"/>
                <a:gd name="T91" fmla="*/ 234 h 320"/>
                <a:gd name="T92" fmla="*/ 42 w 235"/>
                <a:gd name="T93" fmla="*/ 234 h 320"/>
                <a:gd name="T94" fmla="*/ 33 w 235"/>
                <a:gd name="T95" fmla="*/ 138 h 320"/>
                <a:gd name="T96" fmla="*/ 202 w 235"/>
                <a:gd name="T97" fmla="*/ 138 h 320"/>
                <a:gd name="T98" fmla="*/ 193 w 235"/>
                <a:gd name="T99" fmla="*/ 234 h 320"/>
                <a:gd name="T100" fmla="*/ 187 w 235"/>
                <a:gd name="T101" fmla="*/ 117 h 320"/>
                <a:gd name="T102" fmla="*/ 48 w 235"/>
                <a:gd name="T103" fmla="*/ 117 h 320"/>
                <a:gd name="T104" fmla="*/ 44 w 235"/>
                <a:gd name="T105" fmla="*/ 64 h 320"/>
                <a:gd name="T106" fmla="*/ 191 w 235"/>
                <a:gd name="T107" fmla="*/ 64 h 320"/>
                <a:gd name="T108" fmla="*/ 187 w 235"/>
                <a:gd name="T109" fmla="*/ 11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5" h="320">
                  <a:moveTo>
                    <a:pt x="224" y="42"/>
                  </a:moveTo>
                  <a:cubicBezTo>
                    <a:pt x="214" y="42"/>
                    <a:pt x="214" y="42"/>
                    <a:pt x="214" y="42"/>
                  </a:cubicBezTo>
                  <a:cubicBezTo>
                    <a:pt x="214" y="41"/>
                    <a:pt x="213" y="40"/>
                    <a:pt x="213" y="39"/>
                  </a:cubicBezTo>
                  <a:cubicBezTo>
                    <a:pt x="202" y="7"/>
                    <a:pt x="202" y="7"/>
                    <a:pt x="202" y="7"/>
                  </a:cubicBezTo>
                  <a:cubicBezTo>
                    <a:pt x="201" y="3"/>
                    <a:pt x="197" y="0"/>
                    <a:pt x="19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3" y="7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40"/>
                    <a:pt x="22" y="41"/>
                    <a:pt x="2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47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19" y="117"/>
                    <a:pt x="16" y="118"/>
                    <a:pt x="14" y="120"/>
                  </a:cubicBezTo>
                  <a:cubicBezTo>
                    <a:pt x="12" y="123"/>
                    <a:pt x="11" y="126"/>
                    <a:pt x="11" y="129"/>
                  </a:cubicBezTo>
                  <a:cubicBezTo>
                    <a:pt x="22" y="246"/>
                    <a:pt x="22" y="246"/>
                    <a:pt x="22" y="246"/>
                  </a:cubicBezTo>
                  <a:cubicBezTo>
                    <a:pt x="22" y="251"/>
                    <a:pt x="27" y="256"/>
                    <a:pt x="32" y="256"/>
                  </a:cubicBezTo>
                  <a:cubicBezTo>
                    <a:pt x="39" y="256"/>
                    <a:pt x="39" y="256"/>
                    <a:pt x="39" y="256"/>
                  </a:cubicBezTo>
                  <a:cubicBezTo>
                    <a:pt x="43" y="310"/>
                    <a:pt x="43" y="310"/>
                    <a:pt x="43" y="310"/>
                  </a:cubicBezTo>
                  <a:cubicBezTo>
                    <a:pt x="43" y="315"/>
                    <a:pt x="48" y="320"/>
                    <a:pt x="54" y="320"/>
                  </a:cubicBezTo>
                  <a:cubicBezTo>
                    <a:pt x="182" y="320"/>
                    <a:pt x="182" y="320"/>
                    <a:pt x="182" y="320"/>
                  </a:cubicBezTo>
                  <a:cubicBezTo>
                    <a:pt x="187" y="320"/>
                    <a:pt x="192" y="315"/>
                    <a:pt x="192" y="310"/>
                  </a:cubicBezTo>
                  <a:cubicBezTo>
                    <a:pt x="197" y="256"/>
                    <a:pt x="197" y="256"/>
                    <a:pt x="197" y="256"/>
                  </a:cubicBezTo>
                  <a:cubicBezTo>
                    <a:pt x="203" y="256"/>
                    <a:pt x="203" y="256"/>
                    <a:pt x="203" y="256"/>
                  </a:cubicBezTo>
                  <a:cubicBezTo>
                    <a:pt x="209" y="256"/>
                    <a:pt x="213" y="251"/>
                    <a:pt x="214" y="246"/>
                  </a:cubicBezTo>
                  <a:cubicBezTo>
                    <a:pt x="224" y="129"/>
                    <a:pt x="224" y="129"/>
                    <a:pt x="224" y="129"/>
                  </a:cubicBezTo>
                  <a:cubicBezTo>
                    <a:pt x="225" y="126"/>
                    <a:pt x="224" y="123"/>
                    <a:pt x="222" y="120"/>
                  </a:cubicBezTo>
                  <a:cubicBezTo>
                    <a:pt x="220" y="118"/>
                    <a:pt x="217" y="117"/>
                    <a:pt x="214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13" y="64"/>
                    <a:pt x="213" y="64"/>
                    <a:pt x="213" y="6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30" y="64"/>
                    <a:pt x="235" y="59"/>
                    <a:pt x="235" y="53"/>
                  </a:cubicBezTo>
                  <a:cubicBezTo>
                    <a:pt x="235" y="47"/>
                    <a:pt x="230" y="42"/>
                    <a:pt x="224" y="42"/>
                  </a:cubicBezTo>
                  <a:close/>
                  <a:moveTo>
                    <a:pt x="51" y="21"/>
                  </a:moveTo>
                  <a:cubicBezTo>
                    <a:pt x="185" y="21"/>
                    <a:pt x="185" y="21"/>
                    <a:pt x="185" y="21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44" y="42"/>
                    <a:pt x="44" y="42"/>
                    <a:pt x="44" y="42"/>
                  </a:cubicBezTo>
                  <a:lnTo>
                    <a:pt x="51" y="21"/>
                  </a:lnTo>
                  <a:close/>
                  <a:moveTo>
                    <a:pt x="172" y="298"/>
                  </a:moveTo>
                  <a:cubicBezTo>
                    <a:pt x="63" y="298"/>
                    <a:pt x="63" y="298"/>
                    <a:pt x="63" y="298"/>
                  </a:cubicBezTo>
                  <a:cubicBezTo>
                    <a:pt x="60" y="256"/>
                    <a:pt x="60" y="256"/>
                    <a:pt x="60" y="256"/>
                  </a:cubicBezTo>
                  <a:cubicBezTo>
                    <a:pt x="175" y="256"/>
                    <a:pt x="175" y="256"/>
                    <a:pt x="175" y="256"/>
                  </a:cubicBezTo>
                  <a:lnTo>
                    <a:pt x="172" y="298"/>
                  </a:lnTo>
                  <a:close/>
                  <a:moveTo>
                    <a:pt x="193" y="234"/>
                  </a:moveTo>
                  <a:cubicBezTo>
                    <a:pt x="42" y="234"/>
                    <a:pt x="42" y="234"/>
                    <a:pt x="42" y="234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202" y="138"/>
                    <a:pt x="202" y="138"/>
                    <a:pt x="202" y="138"/>
                  </a:cubicBezTo>
                  <a:lnTo>
                    <a:pt x="193" y="234"/>
                  </a:lnTo>
                  <a:close/>
                  <a:moveTo>
                    <a:pt x="187" y="117"/>
                  </a:moveTo>
                  <a:cubicBezTo>
                    <a:pt x="48" y="117"/>
                    <a:pt x="48" y="117"/>
                    <a:pt x="48" y="117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191" y="64"/>
                    <a:pt x="191" y="64"/>
                    <a:pt x="191" y="64"/>
                  </a:cubicBezTo>
                  <a:lnTo>
                    <a:pt x="187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8" name="Freeform 501"/>
          <p:cNvSpPr>
            <a:spLocks noChangeAspect="1" noEditPoints="1"/>
          </p:cNvSpPr>
          <p:nvPr/>
        </p:nvSpPr>
        <p:spPr bwMode="auto">
          <a:xfrm>
            <a:off x="8392127" y="2920274"/>
            <a:ext cx="369676" cy="370763"/>
          </a:xfrm>
          <a:custGeom>
            <a:avLst/>
            <a:gdLst>
              <a:gd name="T0" fmla="*/ 186 w 512"/>
              <a:gd name="T1" fmla="*/ 213 h 512"/>
              <a:gd name="T2" fmla="*/ 182 w 512"/>
              <a:gd name="T3" fmla="*/ 160 h 512"/>
              <a:gd name="T4" fmla="*/ 329 w 512"/>
              <a:gd name="T5" fmla="*/ 160 h 512"/>
              <a:gd name="T6" fmla="*/ 325 w 512"/>
              <a:gd name="T7" fmla="*/ 213 h 512"/>
              <a:gd name="T8" fmla="*/ 186 w 512"/>
              <a:gd name="T9" fmla="*/ 213 h 512"/>
              <a:gd name="T10" fmla="*/ 201 w 512"/>
              <a:gd name="T11" fmla="*/ 394 h 512"/>
              <a:gd name="T12" fmla="*/ 310 w 512"/>
              <a:gd name="T13" fmla="*/ 394 h 512"/>
              <a:gd name="T14" fmla="*/ 313 w 512"/>
              <a:gd name="T15" fmla="*/ 352 h 512"/>
              <a:gd name="T16" fmla="*/ 198 w 512"/>
              <a:gd name="T17" fmla="*/ 352 h 512"/>
              <a:gd name="T18" fmla="*/ 201 w 512"/>
              <a:gd name="T19" fmla="*/ 394 h 512"/>
              <a:gd name="T20" fmla="*/ 323 w 512"/>
              <a:gd name="T21" fmla="*/ 117 h 512"/>
              <a:gd name="T22" fmla="*/ 189 w 512"/>
              <a:gd name="T23" fmla="*/ 117 h 512"/>
              <a:gd name="T24" fmla="*/ 182 w 512"/>
              <a:gd name="T25" fmla="*/ 138 h 512"/>
              <a:gd name="T26" fmla="*/ 330 w 512"/>
              <a:gd name="T27" fmla="*/ 138 h 512"/>
              <a:gd name="T28" fmla="*/ 323 w 512"/>
              <a:gd name="T29" fmla="*/ 117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73 w 512"/>
              <a:gd name="T41" fmla="*/ 149 h 512"/>
              <a:gd name="T42" fmla="*/ 362 w 512"/>
              <a:gd name="T43" fmla="*/ 138 h 512"/>
              <a:gd name="T44" fmla="*/ 352 w 512"/>
              <a:gd name="T45" fmla="*/ 138 h 512"/>
              <a:gd name="T46" fmla="*/ 351 w 512"/>
              <a:gd name="T47" fmla="*/ 135 h 512"/>
              <a:gd name="T48" fmla="*/ 340 w 512"/>
              <a:gd name="T49" fmla="*/ 103 h 512"/>
              <a:gd name="T50" fmla="*/ 330 w 512"/>
              <a:gd name="T51" fmla="*/ 96 h 512"/>
              <a:gd name="T52" fmla="*/ 181 w 512"/>
              <a:gd name="T53" fmla="*/ 96 h 512"/>
              <a:gd name="T54" fmla="*/ 171 w 512"/>
              <a:gd name="T55" fmla="*/ 103 h 512"/>
              <a:gd name="T56" fmla="*/ 160 w 512"/>
              <a:gd name="T57" fmla="*/ 135 h 512"/>
              <a:gd name="T58" fmla="*/ 160 w 512"/>
              <a:gd name="T59" fmla="*/ 138 h 512"/>
              <a:gd name="T60" fmla="*/ 149 w 512"/>
              <a:gd name="T61" fmla="*/ 138 h 512"/>
              <a:gd name="T62" fmla="*/ 138 w 512"/>
              <a:gd name="T63" fmla="*/ 149 h 512"/>
              <a:gd name="T64" fmla="*/ 149 w 512"/>
              <a:gd name="T65" fmla="*/ 160 h 512"/>
              <a:gd name="T66" fmla="*/ 161 w 512"/>
              <a:gd name="T67" fmla="*/ 160 h 512"/>
              <a:gd name="T68" fmla="*/ 165 w 512"/>
              <a:gd name="T69" fmla="*/ 213 h 512"/>
              <a:gd name="T70" fmla="*/ 160 w 512"/>
              <a:gd name="T71" fmla="*/ 213 h 512"/>
              <a:gd name="T72" fmla="*/ 152 w 512"/>
              <a:gd name="T73" fmla="*/ 216 h 512"/>
              <a:gd name="T74" fmla="*/ 149 w 512"/>
              <a:gd name="T75" fmla="*/ 225 h 512"/>
              <a:gd name="T76" fmla="*/ 160 w 512"/>
              <a:gd name="T77" fmla="*/ 342 h 512"/>
              <a:gd name="T78" fmla="*/ 170 w 512"/>
              <a:gd name="T79" fmla="*/ 352 h 512"/>
              <a:gd name="T80" fmla="*/ 177 w 512"/>
              <a:gd name="T81" fmla="*/ 352 h 512"/>
              <a:gd name="T82" fmla="*/ 181 w 512"/>
              <a:gd name="T83" fmla="*/ 406 h 512"/>
              <a:gd name="T84" fmla="*/ 192 w 512"/>
              <a:gd name="T85" fmla="*/ 416 h 512"/>
              <a:gd name="T86" fmla="*/ 320 w 512"/>
              <a:gd name="T87" fmla="*/ 416 h 512"/>
              <a:gd name="T88" fmla="*/ 330 w 512"/>
              <a:gd name="T89" fmla="*/ 406 h 512"/>
              <a:gd name="T90" fmla="*/ 335 w 512"/>
              <a:gd name="T91" fmla="*/ 352 h 512"/>
              <a:gd name="T92" fmla="*/ 341 w 512"/>
              <a:gd name="T93" fmla="*/ 352 h 512"/>
              <a:gd name="T94" fmla="*/ 352 w 512"/>
              <a:gd name="T95" fmla="*/ 342 h 512"/>
              <a:gd name="T96" fmla="*/ 362 w 512"/>
              <a:gd name="T97" fmla="*/ 225 h 512"/>
              <a:gd name="T98" fmla="*/ 360 w 512"/>
              <a:gd name="T99" fmla="*/ 216 h 512"/>
              <a:gd name="T100" fmla="*/ 352 w 512"/>
              <a:gd name="T101" fmla="*/ 213 h 512"/>
              <a:gd name="T102" fmla="*/ 346 w 512"/>
              <a:gd name="T103" fmla="*/ 213 h 512"/>
              <a:gd name="T104" fmla="*/ 351 w 512"/>
              <a:gd name="T105" fmla="*/ 160 h 512"/>
              <a:gd name="T106" fmla="*/ 362 w 512"/>
              <a:gd name="T107" fmla="*/ 160 h 512"/>
              <a:gd name="T108" fmla="*/ 373 w 512"/>
              <a:gd name="T109" fmla="*/ 149 h 512"/>
              <a:gd name="T110" fmla="*/ 180 w 512"/>
              <a:gd name="T111" fmla="*/ 330 h 512"/>
              <a:gd name="T112" fmla="*/ 331 w 512"/>
              <a:gd name="T113" fmla="*/ 330 h 512"/>
              <a:gd name="T114" fmla="*/ 340 w 512"/>
              <a:gd name="T115" fmla="*/ 234 h 512"/>
              <a:gd name="T116" fmla="*/ 171 w 512"/>
              <a:gd name="T117" fmla="*/ 234 h 512"/>
              <a:gd name="T118" fmla="*/ 180 w 512"/>
              <a:gd name="T119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186" y="213"/>
                </a:moveTo>
                <a:cubicBezTo>
                  <a:pt x="182" y="160"/>
                  <a:pt x="182" y="160"/>
                  <a:pt x="182" y="160"/>
                </a:cubicBezTo>
                <a:cubicBezTo>
                  <a:pt x="329" y="160"/>
                  <a:pt x="329" y="160"/>
                  <a:pt x="329" y="160"/>
                </a:cubicBezTo>
                <a:cubicBezTo>
                  <a:pt x="325" y="213"/>
                  <a:pt x="325" y="213"/>
                  <a:pt x="325" y="213"/>
                </a:cubicBezTo>
                <a:lnTo>
                  <a:pt x="186" y="213"/>
                </a:lnTo>
                <a:close/>
                <a:moveTo>
                  <a:pt x="201" y="394"/>
                </a:moveTo>
                <a:cubicBezTo>
                  <a:pt x="310" y="394"/>
                  <a:pt x="310" y="394"/>
                  <a:pt x="310" y="394"/>
                </a:cubicBezTo>
                <a:cubicBezTo>
                  <a:pt x="313" y="352"/>
                  <a:pt x="313" y="352"/>
                  <a:pt x="313" y="352"/>
                </a:cubicBezTo>
                <a:cubicBezTo>
                  <a:pt x="198" y="352"/>
                  <a:pt x="198" y="352"/>
                  <a:pt x="198" y="352"/>
                </a:cubicBezTo>
                <a:lnTo>
                  <a:pt x="201" y="394"/>
                </a:lnTo>
                <a:close/>
                <a:moveTo>
                  <a:pt x="323" y="117"/>
                </a:moveTo>
                <a:cubicBezTo>
                  <a:pt x="189" y="117"/>
                  <a:pt x="189" y="117"/>
                  <a:pt x="189" y="117"/>
                </a:cubicBezTo>
                <a:cubicBezTo>
                  <a:pt x="182" y="138"/>
                  <a:pt x="182" y="138"/>
                  <a:pt x="182" y="138"/>
                </a:cubicBezTo>
                <a:cubicBezTo>
                  <a:pt x="330" y="138"/>
                  <a:pt x="330" y="138"/>
                  <a:pt x="330" y="138"/>
                </a:cubicBezTo>
                <a:lnTo>
                  <a:pt x="323" y="11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49"/>
                </a:moveTo>
                <a:cubicBezTo>
                  <a:pt x="373" y="143"/>
                  <a:pt x="368" y="138"/>
                  <a:pt x="362" y="138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352" y="137"/>
                  <a:pt x="351" y="136"/>
                  <a:pt x="351" y="135"/>
                </a:cubicBezTo>
                <a:cubicBezTo>
                  <a:pt x="340" y="103"/>
                  <a:pt x="340" y="103"/>
                  <a:pt x="340" y="103"/>
                </a:cubicBezTo>
                <a:cubicBezTo>
                  <a:pt x="339" y="99"/>
                  <a:pt x="335" y="96"/>
                  <a:pt x="330" y="96"/>
                </a:cubicBezTo>
                <a:cubicBezTo>
                  <a:pt x="181" y="96"/>
                  <a:pt x="181" y="96"/>
                  <a:pt x="181" y="96"/>
                </a:cubicBezTo>
                <a:cubicBezTo>
                  <a:pt x="176" y="96"/>
                  <a:pt x="172" y="99"/>
                  <a:pt x="171" y="103"/>
                </a:cubicBezTo>
                <a:cubicBezTo>
                  <a:pt x="160" y="135"/>
                  <a:pt x="160" y="135"/>
                  <a:pt x="160" y="135"/>
                </a:cubicBezTo>
                <a:cubicBezTo>
                  <a:pt x="160" y="136"/>
                  <a:pt x="160" y="137"/>
                  <a:pt x="160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155"/>
                  <a:pt x="143" y="160"/>
                  <a:pt x="149" y="160"/>
                </a:cubicBezTo>
                <a:cubicBezTo>
                  <a:pt x="161" y="160"/>
                  <a:pt x="161" y="160"/>
                  <a:pt x="161" y="160"/>
                </a:cubicBezTo>
                <a:cubicBezTo>
                  <a:pt x="165" y="213"/>
                  <a:pt x="165" y="213"/>
                  <a:pt x="165" y="213"/>
                </a:cubicBezTo>
                <a:cubicBezTo>
                  <a:pt x="160" y="213"/>
                  <a:pt x="160" y="213"/>
                  <a:pt x="160" y="213"/>
                </a:cubicBezTo>
                <a:cubicBezTo>
                  <a:pt x="157" y="213"/>
                  <a:pt x="154" y="214"/>
                  <a:pt x="152" y="216"/>
                </a:cubicBezTo>
                <a:cubicBezTo>
                  <a:pt x="150" y="219"/>
                  <a:pt x="149" y="222"/>
                  <a:pt x="149" y="225"/>
                </a:cubicBezTo>
                <a:cubicBezTo>
                  <a:pt x="160" y="342"/>
                  <a:pt x="160" y="342"/>
                  <a:pt x="160" y="342"/>
                </a:cubicBezTo>
                <a:cubicBezTo>
                  <a:pt x="160" y="347"/>
                  <a:pt x="165" y="352"/>
                  <a:pt x="170" y="352"/>
                </a:cubicBezTo>
                <a:cubicBezTo>
                  <a:pt x="177" y="352"/>
                  <a:pt x="177" y="352"/>
                  <a:pt x="177" y="352"/>
                </a:cubicBezTo>
                <a:cubicBezTo>
                  <a:pt x="181" y="406"/>
                  <a:pt x="181" y="406"/>
                  <a:pt x="181" y="406"/>
                </a:cubicBezTo>
                <a:cubicBezTo>
                  <a:pt x="181" y="411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5" y="416"/>
                  <a:pt x="330" y="411"/>
                  <a:pt x="330" y="406"/>
                </a:cubicBezTo>
                <a:cubicBezTo>
                  <a:pt x="335" y="352"/>
                  <a:pt x="335" y="352"/>
                  <a:pt x="335" y="352"/>
                </a:cubicBezTo>
                <a:cubicBezTo>
                  <a:pt x="341" y="352"/>
                  <a:pt x="341" y="352"/>
                  <a:pt x="341" y="352"/>
                </a:cubicBezTo>
                <a:cubicBezTo>
                  <a:pt x="347" y="352"/>
                  <a:pt x="351" y="347"/>
                  <a:pt x="352" y="342"/>
                </a:cubicBezTo>
                <a:cubicBezTo>
                  <a:pt x="362" y="225"/>
                  <a:pt x="362" y="225"/>
                  <a:pt x="362" y="225"/>
                </a:cubicBezTo>
                <a:cubicBezTo>
                  <a:pt x="363" y="222"/>
                  <a:pt x="362" y="219"/>
                  <a:pt x="360" y="216"/>
                </a:cubicBezTo>
                <a:cubicBezTo>
                  <a:pt x="358" y="214"/>
                  <a:pt x="355" y="213"/>
                  <a:pt x="352" y="213"/>
                </a:cubicBezTo>
                <a:cubicBezTo>
                  <a:pt x="346" y="213"/>
                  <a:pt x="346" y="213"/>
                  <a:pt x="346" y="213"/>
                </a:cubicBezTo>
                <a:cubicBezTo>
                  <a:pt x="351" y="160"/>
                  <a:pt x="351" y="160"/>
                  <a:pt x="351" y="160"/>
                </a:cubicBezTo>
                <a:cubicBezTo>
                  <a:pt x="362" y="160"/>
                  <a:pt x="362" y="160"/>
                  <a:pt x="362" y="160"/>
                </a:cubicBezTo>
                <a:cubicBezTo>
                  <a:pt x="368" y="160"/>
                  <a:pt x="373" y="155"/>
                  <a:pt x="373" y="149"/>
                </a:cubicBezTo>
                <a:close/>
                <a:moveTo>
                  <a:pt x="180" y="330"/>
                </a:moveTo>
                <a:cubicBezTo>
                  <a:pt x="331" y="330"/>
                  <a:pt x="331" y="330"/>
                  <a:pt x="331" y="330"/>
                </a:cubicBezTo>
                <a:cubicBezTo>
                  <a:pt x="340" y="234"/>
                  <a:pt x="340" y="234"/>
                  <a:pt x="340" y="234"/>
                </a:cubicBezTo>
                <a:cubicBezTo>
                  <a:pt x="171" y="234"/>
                  <a:pt x="171" y="234"/>
                  <a:pt x="171" y="234"/>
                </a:cubicBezTo>
                <a:lnTo>
                  <a:pt x="180" y="3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9" name="Freeform 268"/>
          <p:cNvSpPr>
            <a:spLocks noChangeAspect="1" noEditPoints="1"/>
          </p:cNvSpPr>
          <p:nvPr/>
        </p:nvSpPr>
        <p:spPr bwMode="auto">
          <a:xfrm>
            <a:off x="8390808" y="2051054"/>
            <a:ext cx="369021" cy="369021"/>
          </a:xfrm>
          <a:custGeom>
            <a:avLst/>
            <a:gdLst>
              <a:gd name="T0" fmla="*/ 329 w 512"/>
              <a:gd name="T1" fmla="*/ 224 h 512"/>
              <a:gd name="T2" fmla="*/ 291 w 512"/>
              <a:gd name="T3" fmla="*/ 224 h 512"/>
              <a:gd name="T4" fmla="*/ 339 w 512"/>
              <a:gd name="T5" fmla="*/ 151 h 512"/>
              <a:gd name="T6" fmla="*/ 346 w 512"/>
              <a:gd name="T7" fmla="*/ 146 h 512"/>
              <a:gd name="T8" fmla="*/ 354 w 512"/>
              <a:gd name="T9" fmla="*/ 147 h 512"/>
              <a:gd name="T10" fmla="*/ 359 w 512"/>
              <a:gd name="T11" fmla="*/ 154 h 512"/>
              <a:gd name="T12" fmla="*/ 357 w 512"/>
              <a:gd name="T13" fmla="*/ 163 h 512"/>
              <a:gd name="T14" fmla="*/ 329 w 512"/>
              <a:gd name="T15" fmla="*/ 224 h 512"/>
              <a:gd name="T16" fmla="*/ 196 w 512"/>
              <a:gd name="T17" fmla="*/ 350 h 512"/>
              <a:gd name="T18" fmla="*/ 202 w 512"/>
              <a:gd name="T19" fmla="*/ 360 h 512"/>
              <a:gd name="T20" fmla="*/ 202 w 512"/>
              <a:gd name="T21" fmla="*/ 362 h 512"/>
              <a:gd name="T22" fmla="*/ 309 w 512"/>
              <a:gd name="T23" fmla="*/ 362 h 512"/>
              <a:gd name="T24" fmla="*/ 309 w 512"/>
              <a:gd name="T25" fmla="*/ 360 h 512"/>
              <a:gd name="T26" fmla="*/ 315 w 512"/>
              <a:gd name="T27" fmla="*/ 350 h 512"/>
              <a:gd name="T28" fmla="*/ 394 w 512"/>
              <a:gd name="T29" fmla="*/ 245 h 512"/>
              <a:gd name="T30" fmla="*/ 117 w 512"/>
              <a:gd name="T31" fmla="*/ 245 h 512"/>
              <a:gd name="T32" fmla="*/ 196 w 512"/>
              <a:gd name="T33" fmla="*/ 350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6 w 512"/>
              <a:gd name="T45" fmla="*/ 240 h 512"/>
              <a:gd name="T46" fmla="*/ 415 w 512"/>
              <a:gd name="T47" fmla="*/ 236 h 512"/>
              <a:gd name="T48" fmla="*/ 415 w 512"/>
              <a:gd name="T49" fmla="*/ 234 h 512"/>
              <a:gd name="T50" fmla="*/ 405 w 512"/>
              <a:gd name="T51" fmla="*/ 224 h 512"/>
              <a:gd name="T52" fmla="*/ 352 w 512"/>
              <a:gd name="T53" fmla="*/ 224 h 512"/>
              <a:gd name="T54" fmla="*/ 376 w 512"/>
              <a:gd name="T55" fmla="*/ 172 h 512"/>
              <a:gd name="T56" fmla="*/ 379 w 512"/>
              <a:gd name="T57" fmla="*/ 148 h 512"/>
              <a:gd name="T58" fmla="*/ 364 w 512"/>
              <a:gd name="T59" fmla="*/ 129 h 512"/>
              <a:gd name="T60" fmla="*/ 340 w 512"/>
              <a:gd name="T61" fmla="*/ 126 h 512"/>
              <a:gd name="T62" fmla="*/ 321 w 512"/>
              <a:gd name="T63" fmla="*/ 140 h 512"/>
              <a:gd name="T64" fmla="*/ 265 w 512"/>
              <a:gd name="T65" fmla="*/ 224 h 512"/>
              <a:gd name="T66" fmla="*/ 107 w 512"/>
              <a:gd name="T67" fmla="*/ 224 h 512"/>
              <a:gd name="T68" fmla="*/ 96 w 512"/>
              <a:gd name="T69" fmla="*/ 234 h 512"/>
              <a:gd name="T70" fmla="*/ 96 w 512"/>
              <a:gd name="T71" fmla="*/ 236 h 512"/>
              <a:gd name="T72" fmla="*/ 96 w 512"/>
              <a:gd name="T73" fmla="*/ 240 h 512"/>
              <a:gd name="T74" fmla="*/ 181 w 512"/>
              <a:gd name="T75" fmla="*/ 367 h 512"/>
              <a:gd name="T76" fmla="*/ 181 w 512"/>
              <a:gd name="T77" fmla="*/ 373 h 512"/>
              <a:gd name="T78" fmla="*/ 192 w 512"/>
              <a:gd name="T79" fmla="*/ 384 h 512"/>
              <a:gd name="T80" fmla="*/ 320 w 512"/>
              <a:gd name="T81" fmla="*/ 384 h 512"/>
              <a:gd name="T82" fmla="*/ 330 w 512"/>
              <a:gd name="T83" fmla="*/ 373 h 512"/>
              <a:gd name="T84" fmla="*/ 330 w 512"/>
              <a:gd name="T85" fmla="*/ 367 h 512"/>
              <a:gd name="T86" fmla="*/ 416 w 512"/>
              <a:gd name="T87" fmla="*/ 24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29" y="224"/>
                </a:moveTo>
                <a:cubicBezTo>
                  <a:pt x="291" y="224"/>
                  <a:pt x="291" y="224"/>
                  <a:pt x="291" y="224"/>
                </a:cubicBezTo>
                <a:cubicBezTo>
                  <a:pt x="339" y="151"/>
                  <a:pt x="339" y="151"/>
                  <a:pt x="339" y="151"/>
                </a:cubicBezTo>
                <a:cubicBezTo>
                  <a:pt x="341" y="149"/>
                  <a:pt x="343" y="147"/>
                  <a:pt x="346" y="146"/>
                </a:cubicBezTo>
                <a:cubicBezTo>
                  <a:pt x="348" y="146"/>
                  <a:pt x="351" y="146"/>
                  <a:pt x="354" y="147"/>
                </a:cubicBezTo>
                <a:cubicBezTo>
                  <a:pt x="356" y="149"/>
                  <a:pt x="358" y="151"/>
                  <a:pt x="359" y="154"/>
                </a:cubicBezTo>
                <a:cubicBezTo>
                  <a:pt x="360" y="157"/>
                  <a:pt x="359" y="159"/>
                  <a:pt x="357" y="163"/>
                </a:cubicBezTo>
                <a:lnTo>
                  <a:pt x="329" y="224"/>
                </a:lnTo>
                <a:close/>
                <a:moveTo>
                  <a:pt x="196" y="350"/>
                </a:moveTo>
                <a:cubicBezTo>
                  <a:pt x="200" y="352"/>
                  <a:pt x="202" y="356"/>
                  <a:pt x="202" y="360"/>
                </a:cubicBezTo>
                <a:cubicBezTo>
                  <a:pt x="202" y="362"/>
                  <a:pt x="202" y="362"/>
                  <a:pt x="202" y="362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60"/>
                  <a:pt x="309" y="360"/>
                  <a:pt x="309" y="360"/>
                </a:cubicBezTo>
                <a:cubicBezTo>
                  <a:pt x="309" y="356"/>
                  <a:pt x="312" y="352"/>
                  <a:pt x="315" y="350"/>
                </a:cubicBezTo>
                <a:cubicBezTo>
                  <a:pt x="362" y="331"/>
                  <a:pt x="392" y="290"/>
                  <a:pt x="394" y="245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19" y="290"/>
                  <a:pt x="150" y="331"/>
                  <a:pt x="196" y="35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40"/>
                </a:moveTo>
                <a:cubicBezTo>
                  <a:pt x="416" y="238"/>
                  <a:pt x="416" y="237"/>
                  <a:pt x="415" y="236"/>
                </a:cubicBezTo>
                <a:cubicBezTo>
                  <a:pt x="415" y="234"/>
                  <a:pt x="415" y="234"/>
                  <a:pt x="415" y="234"/>
                </a:cubicBezTo>
                <a:cubicBezTo>
                  <a:pt x="415" y="228"/>
                  <a:pt x="410" y="224"/>
                  <a:pt x="405" y="224"/>
                </a:cubicBezTo>
                <a:cubicBezTo>
                  <a:pt x="352" y="224"/>
                  <a:pt x="352" y="224"/>
                  <a:pt x="352" y="224"/>
                </a:cubicBezTo>
                <a:cubicBezTo>
                  <a:pt x="376" y="172"/>
                  <a:pt x="376" y="172"/>
                  <a:pt x="376" y="172"/>
                </a:cubicBezTo>
                <a:cubicBezTo>
                  <a:pt x="381" y="165"/>
                  <a:pt x="382" y="156"/>
                  <a:pt x="379" y="148"/>
                </a:cubicBezTo>
                <a:cubicBezTo>
                  <a:pt x="377" y="140"/>
                  <a:pt x="372" y="133"/>
                  <a:pt x="364" y="129"/>
                </a:cubicBezTo>
                <a:cubicBezTo>
                  <a:pt x="357" y="125"/>
                  <a:pt x="348" y="124"/>
                  <a:pt x="340" y="126"/>
                </a:cubicBezTo>
                <a:cubicBezTo>
                  <a:pt x="332" y="128"/>
                  <a:pt x="325" y="133"/>
                  <a:pt x="321" y="140"/>
                </a:cubicBezTo>
                <a:cubicBezTo>
                  <a:pt x="265" y="224"/>
                  <a:pt x="265" y="224"/>
                  <a:pt x="265" y="224"/>
                </a:cubicBezTo>
                <a:cubicBezTo>
                  <a:pt x="107" y="224"/>
                  <a:pt x="107" y="224"/>
                  <a:pt x="107" y="224"/>
                </a:cubicBezTo>
                <a:cubicBezTo>
                  <a:pt x="101" y="224"/>
                  <a:pt x="96" y="228"/>
                  <a:pt x="96" y="234"/>
                </a:cubicBezTo>
                <a:cubicBezTo>
                  <a:pt x="96" y="236"/>
                  <a:pt x="96" y="236"/>
                  <a:pt x="96" y="236"/>
                </a:cubicBezTo>
                <a:cubicBezTo>
                  <a:pt x="96" y="237"/>
                  <a:pt x="96" y="238"/>
                  <a:pt x="96" y="240"/>
                </a:cubicBezTo>
                <a:cubicBezTo>
                  <a:pt x="96" y="293"/>
                  <a:pt x="129" y="342"/>
                  <a:pt x="181" y="367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81" y="379"/>
                  <a:pt x="186" y="384"/>
                  <a:pt x="192" y="384"/>
                </a:cubicBezTo>
                <a:cubicBezTo>
                  <a:pt x="320" y="384"/>
                  <a:pt x="320" y="384"/>
                  <a:pt x="320" y="384"/>
                </a:cubicBezTo>
                <a:cubicBezTo>
                  <a:pt x="326" y="384"/>
                  <a:pt x="330" y="379"/>
                  <a:pt x="330" y="373"/>
                </a:cubicBezTo>
                <a:cubicBezTo>
                  <a:pt x="330" y="367"/>
                  <a:pt x="330" y="367"/>
                  <a:pt x="330" y="367"/>
                </a:cubicBezTo>
                <a:cubicBezTo>
                  <a:pt x="382" y="342"/>
                  <a:pt x="416" y="293"/>
                  <a:pt x="416" y="2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0" name="Group 271"/>
          <p:cNvGrpSpPr>
            <a:grpSpLocks noChangeAspect="1"/>
          </p:cNvGrpSpPr>
          <p:nvPr/>
        </p:nvGrpSpPr>
        <p:grpSpPr bwMode="auto">
          <a:xfrm>
            <a:off x="8888856" y="2051054"/>
            <a:ext cx="370106" cy="369021"/>
            <a:chOff x="5834" y="786"/>
            <a:chExt cx="341" cy="340"/>
          </a:xfrm>
          <a:solidFill>
            <a:schemeClr val="accent3"/>
          </a:solidFill>
        </p:grpSpPr>
        <p:sp>
          <p:nvSpPr>
            <p:cNvPr id="331" name="Freeform 272"/>
            <p:cNvSpPr>
              <a:spLocks noEditPoints="1"/>
            </p:cNvSpPr>
            <p:nvPr/>
          </p:nvSpPr>
          <p:spPr bwMode="auto">
            <a:xfrm>
              <a:off x="5834" y="786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273"/>
            <p:cNvSpPr>
              <a:spLocks noEditPoints="1"/>
            </p:cNvSpPr>
            <p:nvPr/>
          </p:nvSpPr>
          <p:spPr bwMode="auto">
            <a:xfrm>
              <a:off x="5898" y="868"/>
              <a:ext cx="213" cy="173"/>
            </a:xfrm>
            <a:custGeom>
              <a:avLst/>
              <a:gdLst>
                <a:gd name="T0" fmla="*/ 319 w 320"/>
                <a:gd name="T1" fmla="*/ 112 h 260"/>
                <a:gd name="T2" fmla="*/ 319 w 320"/>
                <a:gd name="T3" fmla="*/ 110 h 260"/>
                <a:gd name="T4" fmla="*/ 309 w 320"/>
                <a:gd name="T5" fmla="*/ 100 h 260"/>
                <a:gd name="T6" fmla="*/ 256 w 320"/>
                <a:gd name="T7" fmla="*/ 100 h 260"/>
                <a:gd name="T8" fmla="*/ 280 w 320"/>
                <a:gd name="T9" fmla="*/ 48 h 260"/>
                <a:gd name="T10" fmla="*/ 283 w 320"/>
                <a:gd name="T11" fmla="*/ 24 h 260"/>
                <a:gd name="T12" fmla="*/ 268 w 320"/>
                <a:gd name="T13" fmla="*/ 5 h 260"/>
                <a:gd name="T14" fmla="*/ 244 w 320"/>
                <a:gd name="T15" fmla="*/ 2 h 260"/>
                <a:gd name="T16" fmla="*/ 225 w 320"/>
                <a:gd name="T17" fmla="*/ 16 h 260"/>
                <a:gd name="T18" fmla="*/ 169 w 320"/>
                <a:gd name="T19" fmla="*/ 100 h 260"/>
                <a:gd name="T20" fmla="*/ 11 w 320"/>
                <a:gd name="T21" fmla="*/ 100 h 260"/>
                <a:gd name="T22" fmla="*/ 0 w 320"/>
                <a:gd name="T23" fmla="*/ 110 h 260"/>
                <a:gd name="T24" fmla="*/ 0 w 320"/>
                <a:gd name="T25" fmla="*/ 112 h 260"/>
                <a:gd name="T26" fmla="*/ 0 w 320"/>
                <a:gd name="T27" fmla="*/ 116 h 260"/>
                <a:gd name="T28" fmla="*/ 85 w 320"/>
                <a:gd name="T29" fmla="*/ 243 h 260"/>
                <a:gd name="T30" fmla="*/ 85 w 320"/>
                <a:gd name="T31" fmla="*/ 249 h 260"/>
                <a:gd name="T32" fmla="*/ 96 w 320"/>
                <a:gd name="T33" fmla="*/ 260 h 260"/>
                <a:gd name="T34" fmla="*/ 224 w 320"/>
                <a:gd name="T35" fmla="*/ 260 h 260"/>
                <a:gd name="T36" fmla="*/ 234 w 320"/>
                <a:gd name="T37" fmla="*/ 249 h 260"/>
                <a:gd name="T38" fmla="*/ 234 w 320"/>
                <a:gd name="T39" fmla="*/ 243 h 260"/>
                <a:gd name="T40" fmla="*/ 320 w 320"/>
                <a:gd name="T41" fmla="*/ 116 h 260"/>
                <a:gd name="T42" fmla="*/ 319 w 320"/>
                <a:gd name="T43" fmla="*/ 112 h 260"/>
                <a:gd name="T44" fmla="*/ 243 w 320"/>
                <a:gd name="T45" fmla="*/ 27 h 260"/>
                <a:gd name="T46" fmla="*/ 250 w 320"/>
                <a:gd name="T47" fmla="*/ 22 h 260"/>
                <a:gd name="T48" fmla="*/ 258 w 320"/>
                <a:gd name="T49" fmla="*/ 23 h 260"/>
                <a:gd name="T50" fmla="*/ 263 w 320"/>
                <a:gd name="T51" fmla="*/ 30 h 260"/>
                <a:gd name="T52" fmla="*/ 261 w 320"/>
                <a:gd name="T53" fmla="*/ 39 h 260"/>
                <a:gd name="T54" fmla="*/ 233 w 320"/>
                <a:gd name="T55" fmla="*/ 100 h 260"/>
                <a:gd name="T56" fmla="*/ 195 w 320"/>
                <a:gd name="T57" fmla="*/ 100 h 260"/>
                <a:gd name="T58" fmla="*/ 243 w 320"/>
                <a:gd name="T59" fmla="*/ 27 h 260"/>
                <a:gd name="T60" fmla="*/ 219 w 320"/>
                <a:gd name="T61" fmla="*/ 226 h 260"/>
                <a:gd name="T62" fmla="*/ 213 w 320"/>
                <a:gd name="T63" fmla="*/ 236 h 260"/>
                <a:gd name="T64" fmla="*/ 213 w 320"/>
                <a:gd name="T65" fmla="*/ 238 h 260"/>
                <a:gd name="T66" fmla="*/ 106 w 320"/>
                <a:gd name="T67" fmla="*/ 238 h 260"/>
                <a:gd name="T68" fmla="*/ 106 w 320"/>
                <a:gd name="T69" fmla="*/ 236 h 260"/>
                <a:gd name="T70" fmla="*/ 100 w 320"/>
                <a:gd name="T71" fmla="*/ 226 h 260"/>
                <a:gd name="T72" fmla="*/ 21 w 320"/>
                <a:gd name="T73" fmla="*/ 121 h 260"/>
                <a:gd name="T74" fmla="*/ 298 w 320"/>
                <a:gd name="T75" fmla="*/ 121 h 260"/>
                <a:gd name="T76" fmla="*/ 219 w 320"/>
                <a:gd name="T77" fmla="*/ 226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0" h="260">
                  <a:moveTo>
                    <a:pt x="319" y="112"/>
                  </a:moveTo>
                  <a:cubicBezTo>
                    <a:pt x="319" y="110"/>
                    <a:pt x="319" y="110"/>
                    <a:pt x="319" y="110"/>
                  </a:cubicBezTo>
                  <a:cubicBezTo>
                    <a:pt x="319" y="104"/>
                    <a:pt x="314" y="100"/>
                    <a:pt x="309" y="100"/>
                  </a:cubicBezTo>
                  <a:cubicBezTo>
                    <a:pt x="256" y="100"/>
                    <a:pt x="256" y="100"/>
                    <a:pt x="256" y="100"/>
                  </a:cubicBezTo>
                  <a:cubicBezTo>
                    <a:pt x="280" y="48"/>
                    <a:pt x="280" y="48"/>
                    <a:pt x="280" y="48"/>
                  </a:cubicBezTo>
                  <a:cubicBezTo>
                    <a:pt x="285" y="41"/>
                    <a:pt x="286" y="32"/>
                    <a:pt x="283" y="24"/>
                  </a:cubicBezTo>
                  <a:cubicBezTo>
                    <a:pt x="281" y="16"/>
                    <a:pt x="276" y="9"/>
                    <a:pt x="268" y="5"/>
                  </a:cubicBezTo>
                  <a:cubicBezTo>
                    <a:pt x="261" y="1"/>
                    <a:pt x="252" y="0"/>
                    <a:pt x="244" y="2"/>
                  </a:cubicBezTo>
                  <a:cubicBezTo>
                    <a:pt x="236" y="4"/>
                    <a:pt x="229" y="9"/>
                    <a:pt x="225" y="16"/>
                  </a:cubicBezTo>
                  <a:cubicBezTo>
                    <a:pt x="169" y="100"/>
                    <a:pt x="169" y="100"/>
                    <a:pt x="169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5" y="100"/>
                    <a:pt x="0" y="104"/>
                    <a:pt x="0" y="11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0" y="114"/>
                    <a:pt x="0" y="116"/>
                  </a:cubicBezTo>
                  <a:cubicBezTo>
                    <a:pt x="0" y="169"/>
                    <a:pt x="33" y="218"/>
                    <a:pt x="85" y="243"/>
                  </a:cubicBezTo>
                  <a:cubicBezTo>
                    <a:pt x="85" y="249"/>
                    <a:pt x="85" y="249"/>
                    <a:pt x="85" y="249"/>
                  </a:cubicBezTo>
                  <a:cubicBezTo>
                    <a:pt x="85" y="255"/>
                    <a:pt x="90" y="260"/>
                    <a:pt x="96" y="260"/>
                  </a:cubicBezTo>
                  <a:cubicBezTo>
                    <a:pt x="224" y="260"/>
                    <a:pt x="224" y="260"/>
                    <a:pt x="224" y="260"/>
                  </a:cubicBezTo>
                  <a:cubicBezTo>
                    <a:pt x="230" y="260"/>
                    <a:pt x="234" y="255"/>
                    <a:pt x="234" y="249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86" y="218"/>
                    <a:pt x="320" y="169"/>
                    <a:pt x="320" y="116"/>
                  </a:cubicBezTo>
                  <a:cubicBezTo>
                    <a:pt x="320" y="114"/>
                    <a:pt x="320" y="113"/>
                    <a:pt x="319" y="112"/>
                  </a:cubicBezTo>
                  <a:close/>
                  <a:moveTo>
                    <a:pt x="243" y="27"/>
                  </a:moveTo>
                  <a:cubicBezTo>
                    <a:pt x="245" y="25"/>
                    <a:pt x="247" y="23"/>
                    <a:pt x="250" y="22"/>
                  </a:cubicBezTo>
                  <a:cubicBezTo>
                    <a:pt x="252" y="22"/>
                    <a:pt x="255" y="22"/>
                    <a:pt x="258" y="23"/>
                  </a:cubicBezTo>
                  <a:cubicBezTo>
                    <a:pt x="260" y="25"/>
                    <a:pt x="262" y="27"/>
                    <a:pt x="263" y="30"/>
                  </a:cubicBezTo>
                  <a:cubicBezTo>
                    <a:pt x="264" y="33"/>
                    <a:pt x="263" y="35"/>
                    <a:pt x="261" y="39"/>
                  </a:cubicBezTo>
                  <a:cubicBezTo>
                    <a:pt x="233" y="100"/>
                    <a:pt x="233" y="100"/>
                    <a:pt x="233" y="100"/>
                  </a:cubicBezTo>
                  <a:cubicBezTo>
                    <a:pt x="195" y="100"/>
                    <a:pt x="195" y="100"/>
                    <a:pt x="195" y="100"/>
                  </a:cubicBezTo>
                  <a:lnTo>
                    <a:pt x="243" y="27"/>
                  </a:lnTo>
                  <a:close/>
                  <a:moveTo>
                    <a:pt x="219" y="226"/>
                  </a:moveTo>
                  <a:cubicBezTo>
                    <a:pt x="216" y="228"/>
                    <a:pt x="213" y="232"/>
                    <a:pt x="213" y="236"/>
                  </a:cubicBezTo>
                  <a:cubicBezTo>
                    <a:pt x="213" y="238"/>
                    <a:pt x="213" y="238"/>
                    <a:pt x="213" y="238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2"/>
                    <a:pt x="104" y="228"/>
                    <a:pt x="100" y="226"/>
                  </a:cubicBezTo>
                  <a:cubicBezTo>
                    <a:pt x="54" y="207"/>
                    <a:pt x="23" y="166"/>
                    <a:pt x="21" y="121"/>
                  </a:cubicBezTo>
                  <a:cubicBezTo>
                    <a:pt x="298" y="121"/>
                    <a:pt x="298" y="121"/>
                    <a:pt x="298" y="121"/>
                  </a:cubicBezTo>
                  <a:cubicBezTo>
                    <a:pt x="296" y="166"/>
                    <a:pt x="266" y="207"/>
                    <a:pt x="219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33" name="Group 72"/>
          <p:cNvGrpSpPr>
            <a:grpSpLocks noChangeAspect="1"/>
          </p:cNvGrpSpPr>
          <p:nvPr/>
        </p:nvGrpSpPr>
        <p:grpSpPr bwMode="auto">
          <a:xfrm>
            <a:off x="9885935" y="2920274"/>
            <a:ext cx="367041" cy="367041"/>
            <a:chOff x="5279" y="1220"/>
            <a:chExt cx="340" cy="340"/>
          </a:xfrm>
          <a:solidFill>
            <a:schemeClr val="accent1"/>
          </a:solidFill>
        </p:grpSpPr>
        <p:sp>
          <p:nvSpPr>
            <p:cNvPr id="334" name="Freeform 73"/>
            <p:cNvSpPr>
              <a:spLocks noEditPoints="1"/>
            </p:cNvSpPr>
            <p:nvPr/>
          </p:nvSpPr>
          <p:spPr bwMode="auto">
            <a:xfrm>
              <a:off x="5279" y="122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74"/>
            <p:cNvSpPr>
              <a:spLocks noEditPoints="1"/>
            </p:cNvSpPr>
            <p:nvPr/>
          </p:nvSpPr>
          <p:spPr bwMode="auto">
            <a:xfrm>
              <a:off x="5357" y="1298"/>
              <a:ext cx="184" cy="184"/>
            </a:xfrm>
            <a:custGeom>
              <a:avLst/>
              <a:gdLst>
                <a:gd name="T0" fmla="*/ 193 w 277"/>
                <a:gd name="T1" fmla="*/ 64 h 277"/>
                <a:gd name="T2" fmla="*/ 201 w 277"/>
                <a:gd name="T3" fmla="*/ 12 h 277"/>
                <a:gd name="T4" fmla="*/ 140 w 277"/>
                <a:gd name="T5" fmla="*/ 38 h 277"/>
                <a:gd name="T6" fmla="*/ 123 w 277"/>
                <a:gd name="T7" fmla="*/ 12 h 277"/>
                <a:gd name="T8" fmla="*/ 78 w 277"/>
                <a:gd name="T9" fmla="*/ 58 h 277"/>
                <a:gd name="T10" fmla="*/ 11 w 277"/>
                <a:gd name="T11" fmla="*/ 64 h 277"/>
                <a:gd name="T12" fmla="*/ 0 w 277"/>
                <a:gd name="T13" fmla="*/ 117 h 277"/>
                <a:gd name="T14" fmla="*/ 21 w 277"/>
                <a:gd name="T15" fmla="*/ 128 h 277"/>
                <a:gd name="T16" fmla="*/ 32 w 277"/>
                <a:gd name="T17" fmla="*/ 277 h 277"/>
                <a:gd name="T18" fmla="*/ 256 w 277"/>
                <a:gd name="T19" fmla="*/ 267 h 277"/>
                <a:gd name="T20" fmla="*/ 267 w 277"/>
                <a:gd name="T21" fmla="*/ 128 h 277"/>
                <a:gd name="T22" fmla="*/ 277 w 277"/>
                <a:gd name="T23" fmla="*/ 75 h 277"/>
                <a:gd name="T24" fmla="*/ 171 w 277"/>
                <a:gd name="T25" fmla="*/ 28 h 277"/>
                <a:gd name="T26" fmla="*/ 189 w 277"/>
                <a:gd name="T27" fmla="*/ 35 h 277"/>
                <a:gd name="T28" fmla="*/ 157 w 277"/>
                <a:gd name="T29" fmla="*/ 56 h 277"/>
                <a:gd name="T30" fmla="*/ 93 w 277"/>
                <a:gd name="T31" fmla="*/ 28 h 277"/>
                <a:gd name="T32" fmla="*/ 108 w 277"/>
                <a:gd name="T33" fmla="*/ 28 h 277"/>
                <a:gd name="T34" fmla="*/ 93 w 277"/>
                <a:gd name="T35" fmla="*/ 43 h 277"/>
                <a:gd name="T36" fmla="*/ 21 w 277"/>
                <a:gd name="T37" fmla="*/ 85 h 277"/>
                <a:gd name="T38" fmla="*/ 128 w 277"/>
                <a:gd name="T39" fmla="*/ 107 h 277"/>
                <a:gd name="T40" fmla="*/ 21 w 277"/>
                <a:gd name="T41" fmla="*/ 107 h 277"/>
                <a:gd name="T42" fmla="*/ 128 w 277"/>
                <a:gd name="T43" fmla="*/ 128 h 277"/>
                <a:gd name="T44" fmla="*/ 43 w 277"/>
                <a:gd name="T45" fmla="*/ 181 h 277"/>
                <a:gd name="T46" fmla="*/ 128 w 277"/>
                <a:gd name="T47" fmla="*/ 128 h 277"/>
                <a:gd name="T48" fmla="*/ 128 w 277"/>
                <a:gd name="T49" fmla="*/ 203 h 277"/>
                <a:gd name="T50" fmla="*/ 43 w 277"/>
                <a:gd name="T51" fmla="*/ 256 h 277"/>
                <a:gd name="T52" fmla="*/ 149 w 277"/>
                <a:gd name="T53" fmla="*/ 256 h 277"/>
                <a:gd name="T54" fmla="*/ 235 w 277"/>
                <a:gd name="T55" fmla="*/ 203 h 277"/>
                <a:gd name="T56" fmla="*/ 149 w 277"/>
                <a:gd name="T57" fmla="*/ 256 h 277"/>
                <a:gd name="T58" fmla="*/ 149 w 277"/>
                <a:gd name="T59" fmla="*/ 181 h 277"/>
                <a:gd name="T60" fmla="*/ 235 w 277"/>
                <a:gd name="T61" fmla="*/ 128 h 277"/>
                <a:gd name="T62" fmla="*/ 256 w 277"/>
                <a:gd name="T63" fmla="*/ 107 h 277"/>
                <a:gd name="T64" fmla="*/ 149 w 277"/>
                <a:gd name="T65" fmla="*/ 107 h 277"/>
                <a:gd name="T66" fmla="*/ 256 w 277"/>
                <a:gd name="T67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277">
                  <a:moveTo>
                    <a:pt x="267" y="64"/>
                  </a:moveTo>
                  <a:cubicBezTo>
                    <a:pt x="193" y="64"/>
                    <a:pt x="193" y="64"/>
                    <a:pt x="193" y="64"/>
                  </a:cubicBezTo>
                  <a:cubicBezTo>
                    <a:pt x="196" y="62"/>
                    <a:pt x="199" y="59"/>
                    <a:pt x="201" y="58"/>
                  </a:cubicBezTo>
                  <a:cubicBezTo>
                    <a:pt x="213" y="45"/>
                    <a:pt x="213" y="25"/>
                    <a:pt x="201" y="12"/>
                  </a:cubicBezTo>
                  <a:cubicBezTo>
                    <a:pt x="188" y="0"/>
                    <a:pt x="168" y="0"/>
                    <a:pt x="156" y="12"/>
                  </a:cubicBezTo>
                  <a:cubicBezTo>
                    <a:pt x="150" y="18"/>
                    <a:pt x="144" y="28"/>
                    <a:pt x="140" y="38"/>
                  </a:cubicBezTo>
                  <a:cubicBezTo>
                    <a:pt x="140" y="39"/>
                    <a:pt x="140" y="39"/>
                    <a:pt x="139" y="40"/>
                  </a:cubicBezTo>
                  <a:cubicBezTo>
                    <a:pt x="135" y="28"/>
                    <a:pt x="128" y="17"/>
                    <a:pt x="123" y="12"/>
                  </a:cubicBezTo>
                  <a:cubicBezTo>
                    <a:pt x="111" y="0"/>
                    <a:pt x="90" y="0"/>
                    <a:pt x="78" y="12"/>
                  </a:cubicBezTo>
                  <a:cubicBezTo>
                    <a:pt x="65" y="25"/>
                    <a:pt x="65" y="45"/>
                    <a:pt x="78" y="58"/>
                  </a:cubicBezTo>
                  <a:cubicBezTo>
                    <a:pt x="80" y="60"/>
                    <a:pt x="83" y="62"/>
                    <a:pt x="86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5" y="128"/>
                    <a:pt x="11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67"/>
                    <a:pt x="21" y="267"/>
                    <a:pt x="21" y="267"/>
                  </a:cubicBezTo>
                  <a:cubicBezTo>
                    <a:pt x="21" y="273"/>
                    <a:pt x="26" y="277"/>
                    <a:pt x="32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51" y="277"/>
                    <a:pt x="256" y="273"/>
                    <a:pt x="256" y="267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67" y="128"/>
                    <a:pt x="267" y="128"/>
                    <a:pt x="267" y="128"/>
                  </a:cubicBezTo>
                  <a:cubicBezTo>
                    <a:pt x="273" y="128"/>
                    <a:pt x="277" y="123"/>
                    <a:pt x="277" y="117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69"/>
                    <a:pt x="273" y="64"/>
                    <a:pt x="267" y="64"/>
                  </a:cubicBezTo>
                  <a:close/>
                  <a:moveTo>
                    <a:pt x="171" y="28"/>
                  </a:moveTo>
                  <a:cubicBezTo>
                    <a:pt x="175" y="23"/>
                    <a:pt x="182" y="23"/>
                    <a:pt x="186" y="28"/>
                  </a:cubicBezTo>
                  <a:cubicBezTo>
                    <a:pt x="188" y="30"/>
                    <a:pt x="189" y="32"/>
                    <a:pt x="189" y="35"/>
                  </a:cubicBezTo>
                  <a:cubicBezTo>
                    <a:pt x="189" y="38"/>
                    <a:pt x="188" y="41"/>
                    <a:pt x="186" y="43"/>
                  </a:cubicBezTo>
                  <a:cubicBezTo>
                    <a:pt x="180" y="49"/>
                    <a:pt x="164" y="56"/>
                    <a:pt x="157" y="56"/>
                  </a:cubicBezTo>
                  <a:cubicBezTo>
                    <a:pt x="157" y="50"/>
                    <a:pt x="165" y="34"/>
                    <a:pt x="171" y="28"/>
                  </a:cubicBezTo>
                  <a:close/>
                  <a:moveTo>
                    <a:pt x="93" y="28"/>
                  </a:moveTo>
                  <a:cubicBezTo>
                    <a:pt x="95" y="25"/>
                    <a:pt x="98" y="24"/>
                    <a:pt x="100" y="24"/>
                  </a:cubicBezTo>
                  <a:cubicBezTo>
                    <a:pt x="103" y="24"/>
                    <a:pt x="106" y="25"/>
                    <a:pt x="108" y="28"/>
                  </a:cubicBezTo>
                  <a:cubicBezTo>
                    <a:pt x="114" y="34"/>
                    <a:pt x="121" y="50"/>
                    <a:pt x="121" y="56"/>
                  </a:cubicBezTo>
                  <a:cubicBezTo>
                    <a:pt x="115" y="56"/>
                    <a:pt x="99" y="49"/>
                    <a:pt x="93" y="43"/>
                  </a:cubicBezTo>
                  <a:cubicBezTo>
                    <a:pt x="89" y="39"/>
                    <a:pt x="89" y="32"/>
                    <a:pt x="93" y="28"/>
                  </a:cubicBezTo>
                  <a:close/>
                  <a:moveTo>
                    <a:pt x="21" y="85"/>
                  </a:moveTo>
                  <a:cubicBezTo>
                    <a:pt x="128" y="85"/>
                    <a:pt x="128" y="85"/>
                    <a:pt x="128" y="85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1" y="107"/>
                    <a:pt x="21" y="107"/>
                    <a:pt x="21" y="107"/>
                  </a:cubicBezTo>
                  <a:lnTo>
                    <a:pt x="21" y="85"/>
                  </a:lnTo>
                  <a:close/>
                  <a:moveTo>
                    <a:pt x="128" y="128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3" y="128"/>
                    <a:pt x="43" y="128"/>
                    <a:pt x="43" y="128"/>
                  </a:cubicBezTo>
                  <a:lnTo>
                    <a:pt x="128" y="128"/>
                  </a:lnTo>
                  <a:close/>
                  <a:moveTo>
                    <a:pt x="43" y="203"/>
                  </a:moveTo>
                  <a:cubicBezTo>
                    <a:pt x="128" y="203"/>
                    <a:pt x="128" y="203"/>
                    <a:pt x="128" y="203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43" y="256"/>
                    <a:pt x="43" y="256"/>
                    <a:pt x="43" y="256"/>
                  </a:cubicBezTo>
                  <a:lnTo>
                    <a:pt x="43" y="203"/>
                  </a:lnTo>
                  <a:close/>
                  <a:moveTo>
                    <a:pt x="149" y="256"/>
                  </a:moveTo>
                  <a:cubicBezTo>
                    <a:pt x="149" y="203"/>
                    <a:pt x="149" y="203"/>
                    <a:pt x="149" y="203"/>
                  </a:cubicBezTo>
                  <a:cubicBezTo>
                    <a:pt x="235" y="203"/>
                    <a:pt x="235" y="203"/>
                    <a:pt x="235" y="203"/>
                  </a:cubicBezTo>
                  <a:cubicBezTo>
                    <a:pt x="235" y="256"/>
                    <a:pt x="235" y="256"/>
                    <a:pt x="235" y="256"/>
                  </a:cubicBezTo>
                  <a:lnTo>
                    <a:pt x="149" y="256"/>
                  </a:lnTo>
                  <a:close/>
                  <a:moveTo>
                    <a:pt x="235" y="181"/>
                  </a:moveTo>
                  <a:cubicBezTo>
                    <a:pt x="149" y="181"/>
                    <a:pt x="149" y="181"/>
                    <a:pt x="149" y="181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235" y="128"/>
                    <a:pt x="235" y="128"/>
                    <a:pt x="235" y="128"/>
                  </a:cubicBezTo>
                  <a:lnTo>
                    <a:pt x="235" y="181"/>
                  </a:lnTo>
                  <a:close/>
                  <a:moveTo>
                    <a:pt x="256" y="107"/>
                  </a:moveTo>
                  <a:cubicBezTo>
                    <a:pt x="245" y="107"/>
                    <a:pt x="245" y="107"/>
                    <a:pt x="245" y="107"/>
                  </a:cubicBezTo>
                  <a:cubicBezTo>
                    <a:pt x="149" y="107"/>
                    <a:pt x="149" y="107"/>
                    <a:pt x="149" y="107"/>
                  </a:cubicBezTo>
                  <a:cubicBezTo>
                    <a:pt x="149" y="85"/>
                    <a:pt x="149" y="85"/>
                    <a:pt x="149" y="85"/>
                  </a:cubicBezTo>
                  <a:cubicBezTo>
                    <a:pt x="256" y="85"/>
                    <a:pt x="256" y="85"/>
                    <a:pt x="256" y="85"/>
                  </a:cubicBezTo>
                  <a:lnTo>
                    <a:pt x="256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6" name="Freeform 78"/>
          <p:cNvSpPr>
            <a:spLocks noChangeAspect="1" noEditPoints="1"/>
          </p:cNvSpPr>
          <p:nvPr/>
        </p:nvSpPr>
        <p:spPr bwMode="auto">
          <a:xfrm>
            <a:off x="9389753" y="2920274"/>
            <a:ext cx="367041" cy="367041"/>
          </a:xfrm>
          <a:custGeom>
            <a:avLst/>
            <a:gdLst>
              <a:gd name="T0" fmla="*/ 245 w 512"/>
              <a:gd name="T1" fmla="*/ 245 h 512"/>
              <a:gd name="T2" fmla="*/ 160 w 512"/>
              <a:gd name="T3" fmla="*/ 298 h 512"/>
              <a:gd name="T4" fmla="*/ 306 w 512"/>
              <a:gd name="T5" fmla="*/ 152 h 512"/>
              <a:gd name="T6" fmla="*/ 288 w 512"/>
              <a:gd name="T7" fmla="*/ 145 h 512"/>
              <a:gd name="T8" fmla="*/ 303 w 512"/>
              <a:gd name="T9" fmla="*/ 160 h 512"/>
              <a:gd name="T10" fmla="*/ 138 w 512"/>
              <a:gd name="T11" fmla="*/ 224 h 512"/>
              <a:gd name="T12" fmla="*/ 245 w 512"/>
              <a:gd name="T13" fmla="*/ 224 h 512"/>
              <a:gd name="T14" fmla="*/ 138 w 512"/>
              <a:gd name="T15" fmla="*/ 202 h 512"/>
              <a:gd name="T16" fmla="*/ 160 w 512"/>
              <a:gd name="T17" fmla="*/ 373 h 512"/>
              <a:gd name="T18" fmla="*/ 245 w 512"/>
              <a:gd name="T19" fmla="*/ 320 h 512"/>
              <a:gd name="T20" fmla="*/ 160 w 512"/>
              <a:gd name="T21" fmla="*/ 373 h 512"/>
              <a:gd name="T22" fmla="*/ 225 w 512"/>
              <a:gd name="T23" fmla="*/ 145 h 512"/>
              <a:gd name="T24" fmla="*/ 210 w 512"/>
              <a:gd name="T25" fmla="*/ 145 h 512"/>
              <a:gd name="T26" fmla="*/ 238 w 512"/>
              <a:gd name="T27" fmla="*/ 173 h 512"/>
              <a:gd name="T28" fmla="*/ 352 w 512"/>
              <a:gd name="T29" fmla="*/ 298 h 512"/>
              <a:gd name="T30" fmla="*/ 266 w 512"/>
              <a:gd name="T31" fmla="*/ 245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384 w 512"/>
              <a:gd name="T39" fmla="*/ 181 h 512"/>
              <a:gd name="T40" fmla="*/ 318 w 512"/>
              <a:gd name="T41" fmla="*/ 175 h 512"/>
              <a:gd name="T42" fmla="*/ 273 w 512"/>
              <a:gd name="T43" fmla="*/ 129 h 512"/>
              <a:gd name="T44" fmla="*/ 256 w 512"/>
              <a:gd name="T45" fmla="*/ 157 h 512"/>
              <a:gd name="T46" fmla="*/ 195 w 512"/>
              <a:gd name="T47" fmla="*/ 129 h 512"/>
              <a:gd name="T48" fmla="*/ 203 w 512"/>
              <a:gd name="T49" fmla="*/ 181 h 512"/>
              <a:gd name="T50" fmla="*/ 117 w 512"/>
              <a:gd name="T51" fmla="*/ 192 h 512"/>
              <a:gd name="T52" fmla="*/ 128 w 512"/>
              <a:gd name="T53" fmla="*/ 245 h 512"/>
              <a:gd name="T54" fmla="*/ 138 w 512"/>
              <a:gd name="T55" fmla="*/ 384 h 512"/>
              <a:gd name="T56" fmla="*/ 362 w 512"/>
              <a:gd name="T57" fmla="*/ 394 h 512"/>
              <a:gd name="T58" fmla="*/ 373 w 512"/>
              <a:gd name="T59" fmla="*/ 245 h 512"/>
              <a:gd name="T60" fmla="*/ 394 w 512"/>
              <a:gd name="T61" fmla="*/ 234 h 512"/>
              <a:gd name="T62" fmla="*/ 266 w 512"/>
              <a:gd name="T63" fmla="*/ 373 h 512"/>
              <a:gd name="T64" fmla="*/ 352 w 512"/>
              <a:gd name="T65" fmla="*/ 320 h 512"/>
              <a:gd name="T66" fmla="*/ 266 w 512"/>
              <a:gd name="T67" fmla="*/ 373 h 512"/>
              <a:gd name="T68" fmla="*/ 362 w 512"/>
              <a:gd name="T69" fmla="*/ 224 h 512"/>
              <a:gd name="T70" fmla="*/ 373 w 512"/>
              <a:gd name="T71" fmla="*/ 202 h 512"/>
              <a:gd name="T72" fmla="*/ 266 w 512"/>
              <a:gd name="T73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160" y="245"/>
                </a:moveTo>
                <a:cubicBezTo>
                  <a:pt x="245" y="245"/>
                  <a:pt x="245" y="245"/>
                  <a:pt x="245" y="245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160" y="298"/>
                  <a:pt x="160" y="298"/>
                  <a:pt x="160" y="298"/>
                </a:cubicBezTo>
                <a:lnTo>
                  <a:pt x="160" y="245"/>
                </a:lnTo>
                <a:close/>
                <a:moveTo>
                  <a:pt x="306" y="152"/>
                </a:moveTo>
                <a:cubicBezTo>
                  <a:pt x="306" y="149"/>
                  <a:pt x="305" y="147"/>
                  <a:pt x="303" y="145"/>
                </a:cubicBezTo>
                <a:cubicBezTo>
                  <a:pt x="299" y="140"/>
                  <a:pt x="292" y="140"/>
                  <a:pt x="288" y="145"/>
                </a:cubicBezTo>
                <a:cubicBezTo>
                  <a:pt x="282" y="151"/>
                  <a:pt x="274" y="167"/>
                  <a:pt x="274" y="173"/>
                </a:cubicBezTo>
                <a:cubicBezTo>
                  <a:pt x="281" y="173"/>
                  <a:pt x="297" y="166"/>
                  <a:pt x="303" y="160"/>
                </a:cubicBezTo>
                <a:cubicBezTo>
                  <a:pt x="305" y="158"/>
                  <a:pt x="306" y="155"/>
                  <a:pt x="306" y="152"/>
                </a:cubicBezTo>
                <a:close/>
                <a:moveTo>
                  <a:pt x="138" y="224"/>
                </a:moveTo>
                <a:cubicBezTo>
                  <a:pt x="149" y="224"/>
                  <a:pt x="149" y="224"/>
                  <a:pt x="149" y="224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138" y="202"/>
                  <a:pt x="138" y="202"/>
                  <a:pt x="138" y="202"/>
                </a:cubicBezTo>
                <a:lnTo>
                  <a:pt x="138" y="224"/>
                </a:lnTo>
                <a:close/>
                <a:moveTo>
                  <a:pt x="160" y="373"/>
                </a:moveTo>
                <a:cubicBezTo>
                  <a:pt x="245" y="373"/>
                  <a:pt x="245" y="373"/>
                  <a:pt x="245" y="373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160" y="320"/>
                  <a:pt x="160" y="320"/>
                  <a:pt x="160" y="320"/>
                </a:cubicBezTo>
                <a:lnTo>
                  <a:pt x="160" y="373"/>
                </a:lnTo>
                <a:close/>
                <a:moveTo>
                  <a:pt x="238" y="173"/>
                </a:moveTo>
                <a:cubicBezTo>
                  <a:pt x="238" y="167"/>
                  <a:pt x="231" y="151"/>
                  <a:pt x="225" y="145"/>
                </a:cubicBezTo>
                <a:cubicBezTo>
                  <a:pt x="223" y="142"/>
                  <a:pt x="220" y="141"/>
                  <a:pt x="217" y="141"/>
                </a:cubicBezTo>
                <a:cubicBezTo>
                  <a:pt x="215" y="141"/>
                  <a:pt x="212" y="142"/>
                  <a:pt x="210" y="145"/>
                </a:cubicBezTo>
                <a:cubicBezTo>
                  <a:pt x="206" y="149"/>
                  <a:pt x="206" y="156"/>
                  <a:pt x="210" y="160"/>
                </a:cubicBezTo>
                <a:cubicBezTo>
                  <a:pt x="216" y="166"/>
                  <a:pt x="232" y="173"/>
                  <a:pt x="238" y="173"/>
                </a:cubicBezTo>
                <a:close/>
                <a:moveTo>
                  <a:pt x="266" y="298"/>
                </a:moveTo>
                <a:cubicBezTo>
                  <a:pt x="352" y="298"/>
                  <a:pt x="352" y="298"/>
                  <a:pt x="352" y="298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266" y="245"/>
                  <a:pt x="266" y="245"/>
                  <a:pt x="266" y="245"/>
                </a:cubicBezTo>
                <a:lnTo>
                  <a:pt x="266" y="29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92"/>
                </a:moveTo>
                <a:cubicBezTo>
                  <a:pt x="394" y="186"/>
                  <a:pt x="390" y="181"/>
                  <a:pt x="384" y="181"/>
                </a:cubicBezTo>
                <a:cubicBezTo>
                  <a:pt x="310" y="181"/>
                  <a:pt x="310" y="181"/>
                  <a:pt x="310" y="181"/>
                </a:cubicBezTo>
                <a:cubicBezTo>
                  <a:pt x="313" y="179"/>
                  <a:pt x="316" y="176"/>
                  <a:pt x="318" y="175"/>
                </a:cubicBezTo>
                <a:cubicBezTo>
                  <a:pt x="330" y="162"/>
                  <a:pt x="330" y="142"/>
                  <a:pt x="318" y="129"/>
                </a:cubicBezTo>
                <a:cubicBezTo>
                  <a:pt x="305" y="117"/>
                  <a:pt x="285" y="117"/>
                  <a:pt x="273" y="129"/>
                </a:cubicBezTo>
                <a:cubicBezTo>
                  <a:pt x="267" y="135"/>
                  <a:pt x="261" y="145"/>
                  <a:pt x="257" y="155"/>
                </a:cubicBezTo>
                <a:cubicBezTo>
                  <a:pt x="257" y="156"/>
                  <a:pt x="257" y="156"/>
                  <a:pt x="256" y="157"/>
                </a:cubicBezTo>
                <a:cubicBezTo>
                  <a:pt x="252" y="145"/>
                  <a:pt x="245" y="134"/>
                  <a:pt x="240" y="129"/>
                </a:cubicBezTo>
                <a:cubicBezTo>
                  <a:pt x="228" y="117"/>
                  <a:pt x="207" y="117"/>
                  <a:pt x="195" y="129"/>
                </a:cubicBezTo>
                <a:cubicBezTo>
                  <a:pt x="182" y="142"/>
                  <a:pt x="182" y="162"/>
                  <a:pt x="195" y="175"/>
                </a:cubicBezTo>
                <a:cubicBezTo>
                  <a:pt x="197" y="177"/>
                  <a:pt x="200" y="179"/>
                  <a:pt x="203" y="181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122" y="181"/>
                  <a:pt x="117" y="186"/>
                  <a:pt x="117" y="192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7" y="240"/>
                  <a:pt x="122" y="245"/>
                  <a:pt x="128" y="245"/>
                </a:cubicBezTo>
                <a:cubicBezTo>
                  <a:pt x="138" y="245"/>
                  <a:pt x="138" y="245"/>
                  <a:pt x="138" y="245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8" y="390"/>
                  <a:pt x="143" y="394"/>
                  <a:pt x="149" y="394"/>
                </a:cubicBezTo>
                <a:cubicBezTo>
                  <a:pt x="362" y="394"/>
                  <a:pt x="362" y="394"/>
                  <a:pt x="362" y="394"/>
                </a:cubicBezTo>
                <a:cubicBezTo>
                  <a:pt x="368" y="394"/>
                  <a:pt x="373" y="390"/>
                  <a:pt x="373" y="384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90" y="245"/>
                  <a:pt x="394" y="240"/>
                  <a:pt x="394" y="234"/>
                </a:cubicBezTo>
                <a:lnTo>
                  <a:pt x="394" y="192"/>
                </a:lnTo>
                <a:close/>
                <a:moveTo>
                  <a:pt x="266" y="373"/>
                </a:moveTo>
                <a:cubicBezTo>
                  <a:pt x="352" y="373"/>
                  <a:pt x="352" y="373"/>
                  <a:pt x="352" y="373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266" y="320"/>
                  <a:pt x="266" y="320"/>
                  <a:pt x="266" y="320"/>
                </a:cubicBezTo>
                <a:lnTo>
                  <a:pt x="266" y="373"/>
                </a:lnTo>
                <a:close/>
                <a:moveTo>
                  <a:pt x="266" y="224"/>
                </a:moveTo>
                <a:cubicBezTo>
                  <a:pt x="362" y="224"/>
                  <a:pt x="362" y="224"/>
                  <a:pt x="362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73" y="202"/>
                  <a:pt x="373" y="202"/>
                  <a:pt x="373" y="202"/>
                </a:cubicBezTo>
                <a:cubicBezTo>
                  <a:pt x="266" y="202"/>
                  <a:pt x="266" y="202"/>
                  <a:pt x="266" y="202"/>
                </a:cubicBezTo>
                <a:lnTo>
                  <a:pt x="266" y="2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7" name="Freeform 114"/>
          <p:cNvSpPr>
            <a:spLocks noChangeAspect="1" noEditPoints="1"/>
          </p:cNvSpPr>
          <p:nvPr/>
        </p:nvSpPr>
        <p:spPr bwMode="auto">
          <a:xfrm>
            <a:off x="429991" y="374159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6 w 512"/>
              <a:gd name="T11" fmla="*/ 362 h 512"/>
              <a:gd name="T12" fmla="*/ 405 w 512"/>
              <a:gd name="T13" fmla="*/ 373 h 512"/>
              <a:gd name="T14" fmla="*/ 106 w 512"/>
              <a:gd name="T15" fmla="*/ 373 h 512"/>
              <a:gd name="T16" fmla="*/ 96 w 512"/>
              <a:gd name="T17" fmla="*/ 362 h 512"/>
              <a:gd name="T18" fmla="*/ 96 w 512"/>
              <a:gd name="T19" fmla="*/ 149 h 512"/>
              <a:gd name="T20" fmla="*/ 106 w 512"/>
              <a:gd name="T21" fmla="*/ 138 h 512"/>
              <a:gd name="T22" fmla="*/ 405 w 512"/>
              <a:gd name="T23" fmla="*/ 138 h 512"/>
              <a:gd name="T24" fmla="*/ 416 w 512"/>
              <a:gd name="T25" fmla="*/ 149 h 512"/>
              <a:gd name="T26" fmla="*/ 416 w 512"/>
              <a:gd name="T27" fmla="*/ 362 h 512"/>
              <a:gd name="T28" fmla="*/ 117 w 512"/>
              <a:gd name="T29" fmla="*/ 160 h 512"/>
              <a:gd name="T30" fmla="*/ 394 w 512"/>
              <a:gd name="T31" fmla="*/ 160 h 512"/>
              <a:gd name="T32" fmla="*/ 394 w 512"/>
              <a:gd name="T33" fmla="*/ 181 h 512"/>
              <a:gd name="T34" fmla="*/ 117 w 512"/>
              <a:gd name="T35" fmla="*/ 181 h 512"/>
              <a:gd name="T36" fmla="*/ 117 w 512"/>
              <a:gd name="T37" fmla="*/ 160 h 512"/>
              <a:gd name="T38" fmla="*/ 117 w 512"/>
              <a:gd name="T39" fmla="*/ 352 h 512"/>
              <a:gd name="T40" fmla="*/ 394 w 512"/>
              <a:gd name="T41" fmla="*/ 352 h 512"/>
              <a:gd name="T42" fmla="*/ 394 w 512"/>
              <a:gd name="T43" fmla="*/ 224 h 512"/>
              <a:gd name="T44" fmla="*/ 117 w 512"/>
              <a:gd name="T45" fmla="*/ 224 h 512"/>
              <a:gd name="T46" fmla="*/ 117 w 512"/>
              <a:gd name="T47" fmla="*/ 352 h 512"/>
              <a:gd name="T48" fmla="*/ 149 w 512"/>
              <a:gd name="T49" fmla="*/ 309 h 512"/>
              <a:gd name="T50" fmla="*/ 256 w 512"/>
              <a:gd name="T51" fmla="*/ 309 h 512"/>
              <a:gd name="T52" fmla="*/ 266 w 512"/>
              <a:gd name="T53" fmla="*/ 320 h 512"/>
              <a:gd name="T54" fmla="*/ 256 w 512"/>
              <a:gd name="T55" fmla="*/ 330 h 512"/>
              <a:gd name="T56" fmla="*/ 149 w 512"/>
              <a:gd name="T57" fmla="*/ 330 h 512"/>
              <a:gd name="T58" fmla="*/ 138 w 512"/>
              <a:gd name="T59" fmla="*/ 320 h 512"/>
              <a:gd name="T60" fmla="*/ 149 w 512"/>
              <a:gd name="T61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62"/>
                </a:lnTo>
                <a:close/>
                <a:moveTo>
                  <a:pt x="117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117" y="181"/>
                  <a:pt x="117" y="181"/>
                  <a:pt x="117" y="181"/>
                </a:cubicBezTo>
                <a:lnTo>
                  <a:pt x="117" y="160"/>
                </a:lnTo>
                <a:close/>
                <a:moveTo>
                  <a:pt x="117" y="352"/>
                </a:moveTo>
                <a:cubicBezTo>
                  <a:pt x="394" y="352"/>
                  <a:pt x="394" y="352"/>
                  <a:pt x="394" y="352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117" y="224"/>
                  <a:pt x="117" y="224"/>
                  <a:pt x="117" y="224"/>
                </a:cubicBezTo>
                <a:lnTo>
                  <a:pt x="117" y="352"/>
                </a:lnTo>
                <a:close/>
                <a:moveTo>
                  <a:pt x="149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49" y="330"/>
                  <a:pt x="149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cubicBezTo>
                  <a:pt x="138" y="314"/>
                  <a:pt x="143" y="309"/>
                  <a:pt x="149" y="30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8" name="Group 117"/>
          <p:cNvGrpSpPr>
            <a:grpSpLocks noChangeAspect="1"/>
          </p:cNvGrpSpPr>
          <p:nvPr/>
        </p:nvGrpSpPr>
        <p:grpSpPr bwMode="auto">
          <a:xfrm>
            <a:off x="913212" y="3741594"/>
            <a:ext cx="367631" cy="367631"/>
            <a:chOff x="2594" y="955"/>
            <a:chExt cx="340" cy="340"/>
          </a:xfrm>
          <a:solidFill>
            <a:schemeClr val="accent2"/>
          </a:solidFill>
        </p:grpSpPr>
        <p:sp>
          <p:nvSpPr>
            <p:cNvPr id="339" name="Freeform 118"/>
            <p:cNvSpPr>
              <a:spLocks noEditPoints="1"/>
            </p:cNvSpPr>
            <p:nvPr/>
          </p:nvSpPr>
          <p:spPr bwMode="auto">
            <a:xfrm>
              <a:off x="2658" y="1047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22 h 235"/>
                <a:gd name="T20" fmla="*/ 298 w 320"/>
                <a:gd name="T21" fmla="*/ 43 h 235"/>
                <a:gd name="T22" fmla="*/ 21 w 320"/>
                <a:gd name="T23" fmla="*/ 43 h 235"/>
                <a:gd name="T24" fmla="*/ 21 w 320"/>
                <a:gd name="T25" fmla="*/ 22 h 235"/>
                <a:gd name="T26" fmla="*/ 298 w 320"/>
                <a:gd name="T27" fmla="*/ 22 h 235"/>
                <a:gd name="T28" fmla="*/ 21 w 320"/>
                <a:gd name="T29" fmla="*/ 214 h 235"/>
                <a:gd name="T30" fmla="*/ 21 w 320"/>
                <a:gd name="T31" fmla="*/ 86 h 235"/>
                <a:gd name="T32" fmla="*/ 298 w 320"/>
                <a:gd name="T33" fmla="*/ 86 h 235"/>
                <a:gd name="T34" fmla="*/ 298 w 320"/>
                <a:gd name="T35" fmla="*/ 214 h 235"/>
                <a:gd name="T36" fmla="*/ 21 w 320"/>
                <a:gd name="T37" fmla="*/ 214 h 235"/>
                <a:gd name="T38" fmla="*/ 170 w 320"/>
                <a:gd name="T39" fmla="*/ 182 h 235"/>
                <a:gd name="T40" fmla="*/ 160 w 320"/>
                <a:gd name="T41" fmla="*/ 192 h 235"/>
                <a:gd name="T42" fmla="*/ 53 w 320"/>
                <a:gd name="T43" fmla="*/ 192 h 235"/>
                <a:gd name="T44" fmla="*/ 42 w 320"/>
                <a:gd name="T45" fmla="*/ 182 h 235"/>
                <a:gd name="T46" fmla="*/ 53 w 320"/>
                <a:gd name="T47" fmla="*/ 171 h 235"/>
                <a:gd name="T48" fmla="*/ 160 w 320"/>
                <a:gd name="T49" fmla="*/ 171 h 235"/>
                <a:gd name="T50" fmla="*/ 170 w 320"/>
                <a:gd name="T51" fmla="*/ 18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2"/>
                  </a:moveTo>
                  <a:cubicBezTo>
                    <a:pt x="298" y="43"/>
                    <a:pt x="298" y="43"/>
                    <a:pt x="298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8" y="22"/>
                  </a:lnTo>
                  <a:close/>
                  <a:moveTo>
                    <a:pt x="21" y="214"/>
                  </a:moveTo>
                  <a:cubicBezTo>
                    <a:pt x="21" y="86"/>
                    <a:pt x="21" y="86"/>
                    <a:pt x="21" y="86"/>
                  </a:cubicBezTo>
                  <a:cubicBezTo>
                    <a:pt x="298" y="86"/>
                    <a:pt x="298" y="86"/>
                    <a:pt x="298" y="86"/>
                  </a:cubicBezTo>
                  <a:cubicBezTo>
                    <a:pt x="298" y="214"/>
                    <a:pt x="298" y="214"/>
                    <a:pt x="298" y="214"/>
                  </a:cubicBezTo>
                  <a:lnTo>
                    <a:pt x="21" y="214"/>
                  </a:lnTo>
                  <a:close/>
                  <a:moveTo>
                    <a:pt x="170" y="182"/>
                  </a:moveTo>
                  <a:cubicBezTo>
                    <a:pt x="170" y="188"/>
                    <a:pt x="166" y="192"/>
                    <a:pt x="16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47" y="192"/>
                    <a:pt x="42" y="188"/>
                    <a:pt x="42" y="182"/>
                  </a:cubicBezTo>
                  <a:cubicBezTo>
                    <a:pt x="42" y="176"/>
                    <a:pt x="47" y="171"/>
                    <a:pt x="53" y="171"/>
                  </a:cubicBezTo>
                  <a:cubicBezTo>
                    <a:pt x="160" y="171"/>
                    <a:pt x="160" y="171"/>
                    <a:pt x="160" y="171"/>
                  </a:cubicBezTo>
                  <a:cubicBezTo>
                    <a:pt x="166" y="171"/>
                    <a:pt x="170" y="176"/>
                    <a:pt x="170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119"/>
            <p:cNvSpPr>
              <a:spLocks noEditPoints="1"/>
            </p:cNvSpPr>
            <p:nvPr/>
          </p:nvSpPr>
          <p:spPr bwMode="auto">
            <a:xfrm>
              <a:off x="2594" y="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1" name="Freeform 586"/>
          <p:cNvSpPr>
            <a:spLocks noChangeAspect="1" noEditPoints="1"/>
          </p:cNvSpPr>
          <p:nvPr/>
        </p:nvSpPr>
        <p:spPr bwMode="auto">
          <a:xfrm>
            <a:off x="1396433" y="3741594"/>
            <a:ext cx="367631" cy="367631"/>
          </a:xfrm>
          <a:custGeom>
            <a:avLst/>
            <a:gdLst>
              <a:gd name="T0" fmla="*/ 149 w 512"/>
              <a:gd name="T1" fmla="*/ 352 h 512"/>
              <a:gd name="T2" fmla="*/ 298 w 512"/>
              <a:gd name="T3" fmla="*/ 352 h 512"/>
              <a:gd name="T4" fmla="*/ 298 w 512"/>
              <a:gd name="T5" fmla="*/ 362 h 512"/>
              <a:gd name="T6" fmla="*/ 292 w 512"/>
              <a:gd name="T7" fmla="*/ 373 h 512"/>
              <a:gd name="T8" fmla="*/ 155 w 512"/>
              <a:gd name="T9" fmla="*/ 373 h 512"/>
              <a:gd name="T10" fmla="*/ 149 w 512"/>
              <a:gd name="T11" fmla="*/ 362 h 512"/>
              <a:gd name="T12" fmla="*/ 149 w 512"/>
              <a:gd name="T13" fmla="*/ 352 h 512"/>
              <a:gd name="T14" fmla="*/ 163 w 512"/>
              <a:gd name="T15" fmla="*/ 245 h 512"/>
              <a:gd name="T16" fmla="*/ 284 w 512"/>
              <a:gd name="T17" fmla="*/ 245 h 512"/>
              <a:gd name="T18" fmla="*/ 224 w 512"/>
              <a:gd name="T19" fmla="*/ 224 h 512"/>
              <a:gd name="T20" fmla="*/ 163 w 512"/>
              <a:gd name="T21" fmla="*/ 245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5 w 512"/>
              <a:gd name="T33" fmla="*/ 171 h 512"/>
              <a:gd name="T34" fmla="*/ 402 w 512"/>
              <a:gd name="T35" fmla="*/ 163 h 512"/>
              <a:gd name="T36" fmla="*/ 394 w 512"/>
              <a:gd name="T37" fmla="*/ 160 h 512"/>
              <a:gd name="T38" fmla="*/ 329 w 512"/>
              <a:gd name="T39" fmla="*/ 160 h 512"/>
              <a:gd name="T40" fmla="*/ 320 w 512"/>
              <a:gd name="T41" fmla="*/ 105 h 512"/>
              <a:gd name="T42" fmla="*/ 315 w 512"/>
              <a:gd name="T43" fmla="*/ 97 h 512"/>
              <a:gd name="T44" fmla="*/ 306 w 512"/>
              <a:gd name="T45" fmla="*/ 96 h 512"/>
              <a:gd name="T46" fmla="*/ 242 w 512"/>
              <a:gd name="T47" fmla="*/ 118 h 512"/>
              <a:gd name="T48" fmla="*/ 235 w 512"/>
              <a:gd name="T49" fmla="*/ 131 h 512"/>
              <a:gd name="T50" fmla="*/ 248 w 512"/>
              <a:gd name="T51" fmla="*/ 138 h 512"/>
              <a:gd name="T52" fmla="*/ 301 w 512"/>
              <a:gd name="T53" fmla="*/ 120 h 512"/>
              <a:gd name="T54" fmla="*/ 307 w 512"/>
              <a:gd name="T55" fmla="*/ 160 h 512"/>
              <a:gd name="T56" fmla="*/ 245 w 512"/>
              <a:gd name="T57" fmla="*/ 160 h 512"/>
              <a:gd name="T58" fmla="*/ 237 w 512"/>
              <a:gd name="T59" fmla="*/ 163 h 512"/>
              <a:gd name="T60" fmla="*/ 234 w 512"/>
              <a:gd name="T61" fmla="*/ 171 h 512"/>
              <a:gd name="T62" fmla="*/ 238 w 512"/>
              <a:gd name="T63" fmla="*/ 203 h 512"/>
              <a:gd name="T64" fmla="*/ 224 w 512"/>
              <a:gd name="T65" fmla="*/ 202 h 512"/>
              <a:gd name="T66" fmla="*/ 130 w 512"/>
              <a:gd name="T67" fmla="*/ 249 h 512"/>
              <a:gd name="T68" fmla="*/ 129 w 512"/>
              <a:gd name="T69" fmla="*/ 260 h 512"/>
              <a:gd name="T70" fmla="*/ 138 w 512"/>
              <a:gd name="T71" fmla="*/ 266 h 512"/>
              <a:gd name="T72" fmla="*/ 309 w 512"/>
              <a:gd name="T73" fmla="*/ 266 h 512"/>
              <a:gd name="T74" fmla="*/ 309 w 512"/>
              <a:gd name="T75" fmla="*/ 266 h 512"/>
              <a:gd name="T76" fmla="*/ 319 w 512"/>
              <a:gd name="T77" fmla="*/ 260 h 512"/>
              <a:gd name="T78" fmla="*/ 318 w 512"/>
              <a:gd name="T79" fmla="*/ 249 h 512"/>
              <a:gd name="T80" fmla="*/ 259 w 512"/>
              <a:gd name="T81" fmla="*/ 208 h 512"/>
              <a:gd name="T82" fmla="*/ 257 w 512"/>
              <a:gd name="T83" fmla="*/ 181 h 512"/>
              <a:gd name="T84" fmla="*/ 383 w 512"/>
              <a:gd name="T85" fmla="*/ 181 h 512"/>
              <a:gd name="T86" fmla="*/ 363 w 512"/>
              <a:gd name="T87" fmla="*/ 373 h 512"/>
              <a:gd name="T88" fmla="*/ 318 w 512"/>
              <a:gd name="T89" fmla="*/ 373 h 512"/>
              <a:gd name="T90" fmla="*/ 320 w 512"/>
              <a:gd name="T91" fmla="*/ 362 h 512"/>
              <a:gd name="T92" fmla="*/ 320 w 512"/>
              <a:gd name="T93" fmla="*/ 341 h 512"/>
              <a:gd name="T94" fmla="*/ 309 w 512"/>
              <a:gd name="T95" fmla="*/ 330 h 512"/>
              <a:gd name="T96" fmla="*/ 138 w 512"/>
              <a:gd name="T97" fmla="*/ 330 h 512"/>
              <a:gd name="T98" fmla="*/ 128 w 512"/>
              <a:gd name="T99" fmla="*/ 341 h 512"/>
              <a:gd name="T100" fmla="*/ 128 w 512"/>
              <a:gd name="T101" fmla="*/ 362 h 512"/>
              <a:gd name="T102" fmla="*/ 155 w 512"/>
              <a:gd name="T103" fmla="*/ 394 h 512"/>
              <a:gd name="T104" fmla="*/ 373 w 512"/>
              <a:gd name="T105" fmla="*/ 394 h 512"/>
              <a:gd name="T106" fmla="*/ 384 w 512"/>
              <a:gd name="T107" fmla="*/ 385 h 512"/>
              <a:gd name="T108" fmla="*/ 405 w 512"/>
              <a:gd name="T109" fmla="*/ 171 h 512"/>
              <a:gd name="T110" fmla="*/ 138 w 512"/>
              <a:gd name="T111" fmla="*/ 309 h 512"/>
              <a:gd name="T112" fmla="*/ 309 w 512"/>
              <a:gd name="T113" fmla="*/ 309 h 512"/>
              <a:gd name="T114" fmla="*/ 320 w 512"/>
              <a:gd name="T115" fmla="*/ 298 h 512"/>
              <a:gd name="T116" fmla="*/ 309 w 512"/>
              <a:gd name="T117" fmla="*/ 288 h 512"/>
              <a:gd name="T118" fmla="*/ 138 w 512"/>
              <a:gd name="T119" fmla="*/ 288 h 512"/>
              <a:gd name="T120" fmla="*/ 128 w 512"/>
              <a:gd name="T121" fmla="*/ 298 h 512"/>
              <a:gd name="T122" fmla="*/ 138 w 512"/>
              <a:gd name="T123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149" y="352"/>
                </a:moveTo>
                <a:cubicBezTo>
                  <a:pt x="298" y="352"/>
                  <a:pt x="298" y="352"/>
                  <a:pt x="298" y="352"/>
                </a:cubicBezTo>
                <a:cubicBezTo>
                  <a:pt x="298" y="362"/>
                  <a:pt x="298" y="362"/>
                  <a:pt x="298" y="362"/>
                </a:cubicBezTo>
                <a:cubicBezTo>
                  <a:pt x="298" y="368"/>
                  <a:pt x="295" y="373"/>
                  <a:pt x="292" y="373"/>
                </a:cubicBezTo>
                <a:cubicBezTo>
                  <a:pt x="155" y="373"/>
                  <a:pt x="155" y="373"/>
                  <a:pt x="155" y="373"/>
                </a:cubicBezTo>
                <a:cubicBezTo>
                  <a:pt x="152" y="373"/>
                  <a:pt x="149" y="368"/>
                  <a:pt x="149" y="362"/>
                </a:cubicBezTo>
                <a:lnTo>
                  <a:pt x="149" y="352"/>
                </a:lnTo>
                <a:close/>
                <a:moveTo>
                  <a:pt x="163" y="245"/>
                </a:moveTo>
                <a:cubicBezTo>
                  <a:pt x="284" y="245"/>
                  <a:pt x="284" y="245"/>
                  <a:pt x="284" y="245"/>
                </a:cubicBezTo>
                <a:cubicBezTo>
                  <a:pt x="267" y="231"/>
                  <a:pt x="246" y="224"/>
                  <a:pt x="224" y="224"/>
                </a:cubicBezTo>
                <a:cubicBezTo>
                  <a:pt x="201" y="224"/>
                  <a:pt x="180" y="231"/>
                  <a:pt x="163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71"/>
                </a:moveTo>
                <a:cubicBezTo>
                  <a:pt x="405" y="168"/>
                  <a:pt x="404" y="165"/>
                  <a:pt x="402" y="163"/>
                </a:cubicBezTo>
                <a:cubicBezTo>
                  <a:pt x="400" y="161"/>
                  <a:pt x="397" y="160"/>
                  <a:pt x="394" y="160"/>
                </a:cubicBezTo>
                <a:cubicBezTo>
                  <a:pt x="329" y="160"/>
                  <a:pt x="329" y="160"/>
                  <a:pt x="329" y="160"/>
                </a:cubicBezTo>
                <a:cubicBezTo>
                  <a:pt x="320" y="105"/>
                  <a:pt x="320" y="105"/>
                  <a:pt x="320" y="105"/>
                </a:cubicBezTo>
                <a:cubicBezTo>
                  <a:pt x="319" y="101"/>
                  <a:pt x="317" y="99"/>
                  <a:pt x="315" y="97"/>
                </a:cubicBezTo>
                <a:cubicBezTo>
                  <a:pt x="312" y="96"/>
                  <a:pt x="309" y="95"/>
                  <a:pt x="306" y="96"/>
                </a:cubicBezTo>
                <a:cubicBezTo>
                  <a:pt x="242" y="118"/>
                  <a:pt x="242" y="118"/>
                  <a:pt x="242" y="118"/>
                </a:cubicBezTo>
                <a:cubicBezTo>
                  <a:pt x="236" y="119"/>
                  <a:pt x="233" y="125"/>
                  <a:pt x="235" y="131"/>
                </a:cubicBezTo>
                <a:cubicBezTo>
                  <a:pt x="237" y="137"/>
                  <a:pt x="243" y="140"/>
                  <a:pt x="248" y="138"/>
                </a:cubicBezTo>
                <a:cubicBezTo>
                  <a:pt x="301" y="120"/>
                  <a:pt x="301" y="120"/>
                  <a:pt x="301" y="120"/>
                </a:cubicBezTo>
                <a:cubicBezTo>
                  <a:pt x="307" y="160"/>
                  <a:pt x="307" y="160"/>
                  <a:pt x="307" y="160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42" y="160"/>
                  <a:pt x="239" y="161"/>
                  <a:pt x="237" y="163"/>
                </a:cubicBezTo>
                <a:cubicBezTo>
                  <a:pt x="235" y="165"/>
                  <a:pt x="234" y="168"/>
                  <a:pt x="234" y="171"/>
                </a:cubicBezTo>
                <a:cubicBezTo>
                  <a:pt x="238" y="203"/>
                  <a:pt x="238" y="203"/>
                  <a:pt x="238" y="203"/>
                </a:cubicBezTo>
                <a:cubicBezTo>
                  <a:pt x="233" y="203"/>
                  <a:pt x="228" y="202"/>
                  <a:pt x="224" y="202"/>
                </a:cubicBezTo>
                <a:cubicBezTo>
                  <a:pt x="186" y="202"/>
                  <a:pt x="152" y="219"/>
                  <a:pt x="130" y="249"/>
                </a:cubicBezTo>
                <a:cubicBezTo>
                  <a:pt x="127" y="252"/>
                  <a:pt x="127" y="257"/>
                  <a:pt x="129" y="260"/>
                </a:cubicBezTo>
                <a:cubicBezTo>
                  <a:pt x="131" y="264"/>
                  <a:pt x="134" y="266"/>
                  <a:pt x="138" y="266"/>
                </a:cubicBezTo>
                <a:cubicBezTo>
                  <a:pt x="309" y="266"/>
                  <a:pt x="309" y="266"/>
                  <a:pt x="309" y="266"/>
                </a:cubicBezTo>
                <a:cubicBezTo>
                  <a:pt x="309" y="266"/>
                  <a:pt x="309" y="266"/>
                  <a:pt x="309" y="266"/>
                </a:cubicBezTo>
                <a:cubicBezTo>
                  <a:pt x="313" y="266"/>
                  <a:pt x="317" y="264"/>
                  <a:pt x="319" y="260"/>
                </a:cubicBezTo>
                <a:cubicBezTo>
                  <a:pt x="320" y="257"/>
                  <a:pt x="320" y="253"/>
                  <a:pt x="318" y="249"/>
                </a:cubicBezTo>
                <a:cubicBezTo>
                  <a:pt x="303" y="229"/>
                  <a:pt x="282" y="215"/>
                  <a:pt x="259" y="208"/>
                </a:cubicBezTo>
                <a:cubicBezTo>
                  <a:pt x="257" y="181"/>
                  <a:pt x="257" y="181"/>
                  <a:pt x="257" y="181"/>
                </a:cubicBezTo>
                <a:cubicBezTo>
                  <a:pt x="383" y="181"/>
                  <a:pt x="383" y="181"/>
                  <a:pt x="383" y="181"/>
                </a:cubicBezTo>
                <a:cubicBezTo>
                  <a:pt x="363" y="373"/>
                  <a:pt x="363" y="373"/>
                  <a:pt x="363" y="373"/>
                </a:cubicBezTo>
                <a:cubicBezTo>
                  <a:pt x="318" y="373"/>
                  <a:pt x="318" y="373"/>
                  <a:pt x="318" y="373"/>
                </a:cubicBezTo>
                <a:cubicBezTo>
                  <a:pt x="319" y="370"/>
                  <a:pt x="320" y="366"/>
                  <a:pt x="320" y="362"/>
                </a:cubicBezTo>
                <a:cubicBezTo>
                  <a:pt x="320" y="341"/>
                  <a:pt x="320" y="341"/>
                  <a:pt x="320" y="341"/>
                </a:cubicBezTo>
                <a:cubicBezTo>
                  <a:pt x="320" y="335"/>
                  <a:pt x="315" y="330"/>
                  <a:pt x="309" y="330"/>
                </a:cubicBezTo>
                <a:cubicBezTo>
                  <a:pt x="138" y="330"/>
                  <a:pt x="138" y="330"/>
                  <a:pt x="138" y="330"/>
                </a:cubicBezTo>
                <a:cubicBezTo>
                  <a:pt x="132" y="330"/>
                  <a:pt x="128" y="335"/>
                  <a:pt x="128" y="341"/>
                </a:cubicBezTo>
                <a:cubicBezTo>
                  <a:pt x="128" y="362"/>
                  <a:pt x="128" y="362"/>
                  <a:pt x="128" y="362"/>
                </a:cubicBezTo>
                <a:cubicBezTo>
                  <a:pt x="128" y="380"/>
                  <a:pt x="140" y="394"/>
                  <a:pt x="155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8" y="394"/>
                  <a:pt x="383" y="390"/>
                  <a:pt x="384" y="385"/>
                </a:cubicBezTo>
                <a:lnTo>
                  <a:pt x="405" y="171"/>
                </a:lnTo>
                <a:close/>
                <a:moveTo>
                  <a:pt x="138" y="309"/>
                </a:moveTo>
                <a:cubicBezTo>
                  <a:pt x="309" y="309"/>
                  <a:pt x="309" y="309"/>
                  <a:pt x="309" y="309"/>
                </a:cubicBezTo>
                <a:cubicBezTo>
                  <a:pt x="315" y="309"/>
                  <a:pt x="320" y="304"/>
                  <a:pt x="320" y="298"/>
                </a:cubicBezTo>
                <a:cubicBezTo>
                  <a:pt x="320" y="292"/>
                  <a:pt x="315" y="288"/>
                  <a:pt x="309" y="288"/>
                </a:cubicBezTo>
                <a:cubicBezTo>
                  <a:pt x="138" y="288"/>
                  <a:pt x="138" y="288"/>
                  <a:pt x="138" y="288"/>
                </a:cubicBezTo>
                <a:cubicBezTo>
                  <a:pt x="132" y="288"/>
                  <a:pt x="128" y="292"/>
                  <a:pt x="128" y="298"/>
                </a:cubicBezTo>
                <a:cubicBezTo>
                  <a:pt x="128" y="304"/>
                  <a:pt x="132" y="309"/>
                  <a:pt x="138" y="30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2" name="Group 589"/>
          <p:cNvGrpSpPr>
            <a:grpSpLocks noChangeAspect="1"/>
          </p:cNvGrpSpPr>
          <p:nvPr/>
        </p:nvGrpSpPr>
        <p:grpSpPr bwMode="auto">
          <a:xfrm>
            <a:off x="1879654" y="3741594"/>
            <a:ext cx="367631" cy="367631"/>
            <a:chOff x="1174" y="2386"/>
            <a:chExt cx="340" cy="340"/>
          </a:xfrm>
          <a:solidFill>
            <a:schemeClr val="accent1"/>
          </a:solidFill>
        </p:grpSpPr>
        <p:sp>
          <p:nvSpPr>
            <p:cNvPr id="343" name="Freeform 590"/>
            <p:cNvSpPr>
              <a:spLocks noEditPoints="1"/>
            </p:cNvSpPr>
            <p:nvPr/>
          </p:nvSpPr>
          <p:spPr bwMode="auto">
            <a:xfrm>
              <a:off x="1258" y="2449"/>
              <a:ext cx="185" cy="199"/>
            </a:xfrm>
            <a:custGeom>
              <a:avLst/>
              <a:gdLst>
                <a:gd name="T0" fmla="*/ 275 w 278"/>
                <a:gd name="T1" fmla="*/ 68 h 299"/>
                <a:gd name="T2" fmla="*/ 267 w 278"/>
                <a:gd name="T3" fmla="*/ 65 h 299"/>
                <a:gd name="T4" fmla="*/ 202 w 278"/>
                <a:gd name="T5" fmla="*/ 65 h 299"/>
                <a:gd name="T6" fmla="*/ 193 w 278"/>
                <a:gd name="T7" fmla="*/ 10 h 299"/>
                <a:gd name="T8" fmla="*/ 188 w 278"/>
                <a:gd name="T9" fmla="*/ 2 h 299"/>
                <a:gd name="T10" fmla="*/ 179 w 278"/>
                <a:gd name="T11" fmla="*/ 1 h 299"/>
                <a:gd name="T12" fmla="*/ 115 w 278"/>
                <a:gd name="T13" fmla="*/ 23 h 299"/>
                <a:gd name="T14" fmla="*/ 108 w 278"/>
                <a:gd name="T15" fmla="*/ 36 h 299"/>
                <a:gd name="T16" fmla="*/ 121 w 278"/>
                <a:gd name="T17" fmla="*/ 43 h 299"/>
                <a:gd name="T18" fmla="*/ 174 w 278"/>
                <a:gd name="T19" fmla="*/ 25 h 299"/>
                <a:gd name="T20" fmla="*/ 180 w 278"/>
                <a:gd name="T21" fmla="*/ 65 h 299"/>
                <a:gd name="T22" fmla="*/ 118 w 278"/>
                <a:gd name="T23" fmla="*/ 65 h 299"/>
                <a:gd name="T24" fmla="*/ 110 w 278"/>
                <a:gd name="T25" fmla="*/ 68 h 299"/>
                <a:gd name="T26" fmla="*/ 107 w 278"/>
                <a:gd name="T27" fmla="*/ 76 h 299"/>
                <a:gd name="T28" fmla="*/ 111 w 278"/>
                <a:gd name="T29" fmla="*/ 108 h 299"/>
                <a:gd name="T30" fmla="*/ 97 w 278"/>
                <a:gd name="T31" fmla="*/ 107 h 299"/>
                <a:gd name="T32" fmla="*/ 3 w 278"/>
                <a:gd name="T33" fmla="*/ 154 h 299"/>
                <a:gd name="T34" fmla="*/ 2 w 278"/>
                <a:gd name="T35" fmla="*/ 165 h 299"/>
                <a:gd name="T36" fmla="*/ 11 w 278"/>
                <a:gd name="T37" fmla="*/ 171 h 299"/>
                <a:gd name="T38" fmla="*/ 182 w 278"/>
                <a:gd name="T39" fmla="*/ 171 h 299"/>
                <a:gd name="T40" fmla="*/ 182 w 278"/>
                <a:gd name="T41" fmla="*/ 171 h 299"/>
                <a:gd name="T42" fmla="*/ 192 w 278"/>
                <a:gd name="T43" fmla="*/ 165 h 299"/>
                <a:gd name="T44" fmla="*/ 191 w 278"/>
                <a:gd name="T45" fmla="*/ 154 h 299"/>
                <a:gd name="T46" fmla="*/ 132 w 278"/>
                <a:gd name="T47" fmla="*/ 113 h 299"/>
                <a:gd name="T48" fmla="*/ 130 w 278"/>
                <a:gd name="T49" fmla="*/ 86 h 299"/>
                <a:gd name="T50" fmla="*/ 256 w 278"/>
                <a:gd name="T51" fmla="*/ 86 h 299"/>
                <a:gd name="T52" fmla="*/ 236 w 278"/>
                <a:gd name="T53" fmla="*/ 278 h 299"/>
                <a:gd name="T54" fmla="*/ 191 w 278"/>
                <a:gd name="T55" fmla="*/ 278 h 299"/>
                <a:gd name="T56" fmla="*/ 193 w 278"/>
                <a:gd name="T57" fmla="*/ 267 h 299"/>
                <a:gd name="T58" fmla="*/ 193 w 278"/>
                <a:gd name="T59" fmla="*/ 246 h 299"/>
                <a:gd name="T60" fmla="*/ 182 w 278"/>
                <a:gd name="T61" fmla="*/ 235 h 299"/>
                <a:gd name="T62" fmla="*/ 11 w 278"/>
                <a:gd name="T63" fmla="*/ 235 h 299"/>
                <a:gd name="T64" fmla="*/ 1 w 278"/>
                <a:gd name="T65" fmla="*/ 246 h 299"/>
                <a:gd name="T66" fmla="*/ 1 w 278"/>
                <a:gd name="T67" fmla="*/ 267 h 299"/>
                <a:gd name="T68" fmla="*/ 28 w 278"/>
                <a:gd name="T69" fmla="*/ 299 h 299"/>
                <a:gd name="T70" fmla="*/ 246 w 278"/>
                <a:gd name="T71" fmla="*/ 299 h 299"/>
                <a:gd name="T72" fmla="*/ 257 w 278"/>
                <a:gd name="T73" fmla="*/ 290 h 299"/>
                <a:gd name="T74" fmla="*/ 278 w 278"/>
                <a:gd name="T75" fmla="*/ 76 h 299"/>
                <a:gd name="T76" fmla="*/ 275 w 278"/>
                <a:gd name="T77" fmla="*/ 68 h 299"/>
                <a:gd name="T78" fmla="*/ 36 w 278"/>
                <a:gd name="T79" fmla="*/ 150 h 299"/>
                <a:gd name="T80" fmla="*/ 97 w 278"/>
                <a:gd name="T81" fmla="*/ 129 h 299"/>
                <a:gd name="T82" fmla="*/ 157 w 278"/>
                <a:gd name="T83" fmla="*/ 150 h 299"/>
                <a:gd name="T84" fmla="*/ 36 w 278"/>
                <a:gd name="T85" fmla="*/ 150 h 299"/>
                <a:gd name="T86" fmla="*/ 22 w 278"/>
                <a:gd name="T87" fmla="*/ 267 h 299"/>
                <a:gd name="T88" fmla="*/ 22 w 278"/>
                <a:gd name="T89" fmla="*/ 257 h 299"/>
                <a:gd name="T90" fmla="*/ 171 w 278"/>
                <a:gd name="T91" fmla="*/ 257 h 299"/>
                <a:gd name="T92" fmla="*/ 171 w 278"/>
                <a:gd name="T93" fmla="*/ 267 h 299"/>
                <a:gd name="T94" fmla="*/ 165 w 278"/>
                <a:gd name="T95" fmla="*/ 278 h 299"/>
                <a:gd name="T96" fmla="*/ 28 w 278"/>
                <a:gd name="T97" fmla="*/ 278 h 299"/>
                <a:gd name="T98" fmla="*/ 22 w 278"/>
                <a:gd name="T99" fmla="*/ 267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8" h="299">
                  <a:moveTo>
                    <a:pt x="275" y="68"/>
                  </a:moveTo>
                  <a:cubicBezTo>
                    <a:pt x="273" y="66"/>
                    <a:pt x="270" y="65"/>
                    <a:pt x="267" y="65"/>
                  </a:cubicBezTo>
                  <a:cubicBezTo>
                    <a:pt x="202" y="65"/>
                    <a:pt x="202" y="65"/>
                    <a:pt x="202" y="65"/>
                  </a:cubicBezTo>
                  <a:cubicBezTo>
                    <a:pt x="193" y="10"/>
                    <a:pt x="193" y="10"/>
                    <a:pt x="193" y="10"/>
                  </a:cubicBezTo>
                  <a:cubicBezTo>
                    <a:pt x="192" y="6"/>
                    <a:pt x="190" y="4"/>
                    <a:pt x="188" y="2"/>
                  </a:cubicBezTo>
                  <a:cubicBezTo>
                    <a:pt x="185" y="1"/>
                    <a:pt x="182" y="0"/>
                    <a:pt x="179" y="1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09" y="24"/>
                    <a:pt x="106" y="30"/>
                    <a:pt x="108" y="36"/>
                  </a:cubicBezTo>
                  <a:cubicBezTo>
                    <a:pt x="110" y="42"/>
                    <a:pt x="116" y="45"/>
                    <a:pt x="121" y="43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80" y="65"/>
                    <a:pt x="180" y="65"/>
                    <a:pt x="180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5" y="65"/>
                    <a:pt x="112" y="66"/>
                    <a:pt x="110" y="68"/>
                  </a:cubicBezTo>
                  <a:cubicBezTo>
                    <a:pt x="108" y="70"/>
                    <a:pt x="107" y="73"/>
                    <a:pt x="107" y="76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06" y="108"/>
                    <a:pt x="101" y="107"/>
                    <a:pt x="97" y="107"/>
                  </a:cubicBezTo>
                  <a:cubicBezTo>
                    <a:pt x="59" y="107"/>
                    <a:pt x="25" y="124"/>
                    <a:pt x="3" y="154"/>
                  </a:cubicBezTo>
                  <a:cubicBezTo>
                    <a:pt x="0" y="157"/>
                    <a:pt x="0" y="162"/>
                    <a:pt x="2" y="165"/>
                  </a:cubicBezTo>
                  <a:cubicBezTo>
                    <a:pt x="4" y="169"/>
                    <a:pt x="7" y="171"/>
                    <a:pt x="11" y="171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82" y="171"/>
                    <a:pt x="182" y="171"/>
                    <a:pt x="182" y="171"/>
                  </a:cubicBezTo>
                  <a:cubicBezTo>
                    <a:pt x="186" y="171"/>
                    <a:pt x="190" y="169"/>
                    <a:pt x="192" y="165"/>
                  </a:cubicBezTo>
                  <a:cubicBezTo>
                    <a:pt x="193" y="162"/>
                    <a:pt x="193" y="158"/>
                    <a:pt x="191" y="154"/>
                  </a:cubicBezTo>
                  <a:cubicBezTo>
                    <a:pt x="176" y="134"/>
                    <a:pt x="155" y="120"/>
                    <a:pt x="132" y="113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256" y="86"/>
                    <a:pt x="256" y="86"/>
                    <a:pt x="256" y="86"/>
                  </a:cubicBezTo>
                  <a:cubicBezTo>
                    <a:pt x="236" y="278"/>
                    <a:pt x="236" y="278"/>
                    <a:pt x="236" y="278"/>
                  </a:cubicBezTo>
                  <a:cubicBezTo>
                    <a:pt x="191" y="278"/>
                    <a:pt x="191" y="278"/>
                    <a:pt x="191" y="278"/>
                  </a:cubicBezTo>
                  <a:cubicBezTo>
                    <a:pt x="192" y="275"/>
                    <a:pt x="193" y="271"/>
                    <a:pt x="193" y="267"/>
                  </a:cubicBezTo>
                  <a:cubicBezTo>
                    <a:pt x="193" y="246"/>
                    <a:pt x="193" y="246"/>
                    <a:pt x="193" y="246"/>
                  </a:cubicBezTo>
                  <a:cubicBezTo>
                    <a:pt x="193" y="240"/>
                    <a:pt x="188" y="235"/>
                    <a:pt x="182" y="235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5" y="235"/>
                    <a:pt x="1" y="240"/>
                    <a:pt x="1" y="246"/>
                  </a:cubicBezTo>
                  <a:cubicBezTo>
                    <a:pt x="1" y="267"/>
                    <a:pt x="1" y="267"/>
                    <a:pt x="1" y="267"/>
                  </a:cubicBezTo>
                  <a:cubicBezTo>
                    <a:pt x="1" y="285"/>
                    <a:pt x="13" y="299"/>
                    <a:pt x="28" y="299"/>
                  </a:cubicBezTo>
                  <a:cubicBezTo>
                    <a:pt x="246" y="299"/>
                    <a:pt x="246" y="299"/>
                    <a:pt x="246" y="299"/>
                  </a:cubicBezTo>
                  <a:cubicBezTo>
                    <a:pt x="251" y="299"/>
                    <a:pt x="256" y="295"/>
                    <a:pt x="257" y="290"/>
                  </a:cubicBezTo>
                  <a:cubicBezTo>
                    <a:pt x="278" y="76"/>
                    <a:pt x="278" y="76"/>
                    <a:pt x="278" y="76"/>
                  </a:cubicBezTo>
                  <a:cubicBezTo>
                    <a:pt x="278" y="73"/>
                    <a:pt x="277" y="70"/>
                    <a:pt x="275" y="68"/>
                  </a:cubicBezTo>
                  <a:close/>
                  <a:moveTo>
                    <a:pt x="36" y="150"/>
                  </a:moveTo>
                  <a:cubicBezTo>
                    <a:pt x="53" y="136"/>
                    <a:pt x="74" y="129"/>
                    <a:pt x="97" y="129"/>
                  </a:cubicBezTo>
                  <a:cubicBezTo>
                    <a:pt x="119" y="129"/>
                    <a:pt x="140" y="136"/>
                    <a:pt x="157" y="150"/>
                  </a:cubicBezTo>
                  <a:lnTo>
                    <a:pt x="36" y="150"/>
                  </a:lnTo>
                  <a:close/>
                  <a:moveTo>
                    <a:pt x="22" y="267"/>
                  </a:moveTo>
                  <a:cubicBezTo>
                    <a:pt x="22" y="257"/>
                    <a:pt x="22" y="257"/>
                    <a:pt x="22" y="257"/>
                  </a:cubicBezTo>
                  <a:cubicBezTo>
                    <a:pt x="171" y="257"/>
                    <a:pt x="171" y="257"/>
                    <a:pt x="171" y="257"/>
                  </a:cubicBezTo>
                  <a:cubicBezTo>
                    <a:pt x="171" y="267"/>
                    <a:pt x="171" y="267"/>
                    <a:pt x="171" y="267"/>
                  </a:cubicBezTo>
                  <a:cubicBezTo>
                    <a:pt x="171" y="273"/>
                    <a:pt x="168" y="278"/>
                    <a:pt x="165" y="278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5" y="278"/>
                    <a:pt x="22" y="273"/>
                    <a:pt x="22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591"/>
            <p:cNvSpPr>
              <a:spLocks/>
            </p:cNvSpPr>
            <p:nvPr/>
          </p:nvSpPr>
          <p:spPr bwMode="auto">
            <a:xfrm>
              <a:off x="1259" y="2577"/>
              <a:ext cx="127" cy="14"/>
            </a:xfrm>
            <a:custGeom>
              <a:avLst/>
              <a:gdLst>
                <a:gd name="T0" fmla="*/ 10 w 192"/>
                <a:gd name="T1" fmla="*/ 21 h 21"/>
                <a:gd name="T2" fmla="*/ 181 w 192"/>
                <a:gd name="T3" fmla="*/ 21 h 21"/>
                <a:gd name="T4" fmla="*/ 192 w 192"/>
                <a:gd name="T5" fmla="*/ 10 h 21"/>
                <a:gd name="T6" fmla="*/ 181 w 192"/>
                <a:gd name="T7" fmla="*/ 0 h 21"/>
                <a:gd name="T8" fmla="*/ 10 w 192"/>
                <a:gd name="T9" fmla="*/ 0 h 21"/>
                <a:gd name="T10" fmla="*/ 0 w 192"/>
                <a:gd name="T11" fmla="*/ 10 h 21"/>
                <a:gd name="T12" fmla="*/ 10 w 19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1">
                  <a:moveTo>
                    <a:pt x="10" y="21"/>
                  </a:moveTo>
                  <a:cubicBezTo>
                    <a:pt x="181" y="21"/>
                    <a:pt x="181" y="21"/>
                    <a:pt x="181" y="21"/>
                  </a:cubicBezTo>
                  <a:cubicBezTo>
                    <a:pt x="187" y="21"/>
                    <a:pt x="192" y="16"/>
                    <a:pt x="192" y="10"/>
                  </a:cubicBezTo>
                  <a:cubicBezTo>
                    <a:pt x="192" y="4"/>
                    <a:pt x="187" y="0"/>
                    <a:pt x="18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592"/>
            <p:cNvSpPr>
              <a:spLocks noEditPoints="1"/>
            </p:cNvSpPr>
            <p:nvPr/>
          </p:nvSpPr>
          <p:spPr bwMode="auto">
            <a:xfrm>
              <a:off x="1174" y="23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46" name="Group 449"/>
          <p:cNvGrpSpPr>
            <a:grpSpLocks noChangeAspect="1"/>
          </p:cNvGrpSpPr>
          <p:nvPr/>
        </p:nvGrpSpPr>
        <p:grpSpPr bwMode="auto">
          <a:xfrm>
            <a:off x="2848141" y="3741591"/>
            <a:ext cx="369676" cy="369676"/>
            <a:chOff x="2732" y="1561"/>
            <a:chExt cx="340" cy="340"/>
          </a:xfrm>
          <a:solidFill>
            <a:schemeClr val="accent5"/>
          </a:solidFill>
        </p:grpSpPr>
        <p:sp>
          <p:nvSpPr>
            <p:cNvPr id="347" name="Freeform 450"/>
            <p:cNvSpPr>
              <a:spLocks noEditPoints="1"/>
            </p:cNvSpPr>
            <p:nvPr/>
          </p:nvSpPr>
          <p:spPr bwMode="auto">
            <a:xfrm>
              <a:off x="2732" y="15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451"/>
            <p:cNvSpPr>
              <a:spLocks noEditPoints="1"/>
            </p:cNvSpPr>
            <p:nvPr/>
          </p:nvSpPr>
          <p:spPr bwMode="auto">
            <a:xfrm>
              <a:off x="2795" y="1630"/>
              <a:ext cx="211" cy="207"/>
            </a:xfrm>
            <a:custGeom>
              <a:avLst/>
              <a:gdLst>
                <a:gd name="T0" fmla="*/ 132 w 318"/>
                <a:gd name="T1" fmla="*/ 312 h 312"/>
                <a:gd name="T2" fmla="*/ 124 w 318"/>
                <a:gd name="T3" fmla="*/ 309 h 312"/>
                <a:gd name="T4" fmla="*/ 4 w 318"/>
                <a:gd name="T5" fmla="*/ 188 h 312"/>
                <a:gd name="T6" fmla="*/ 4 w 318"/>
                <a:gd name="T7" fmla="*/ 173 h 312"/>
                <a:gd name="T8" fmla="*/ 173 w 318"/>
                <a:gd name="T9" fmla="*/ 4 h 312"/>
                <a:gd name="T10" fmla="*/ 182 w 318"/>
                <a:gd name="T11" fmla="*/ 0 h 312"/>
                <a:gd name="T12" fmla="*/ 292 w 318"/>
                <a:gd name="T13" fmla="*/ 11 h 312"/>
                <a:gd name="T14" fmla="*/ 302 w 318"/>
                <a:gd name="T15" fmla="*/ 20 h 312"/>
                <a:gd name="T16" fmla="*/ 317 w 318"/>
                <a:gd name="T17" fmla="*/ 125 h 312"/>
                <a:gd name="T18" fmla="*/ 314 w 318"/>
                <a:gd name="T19" fmla="*/ 134 h 312"/>
                <a:gd name="T20" fmla="*/ 140 w 318"/>
                <a:gd name="T21" fmla="*/ 309 h 312"/>
                <a:gd name="T22" fmla="*/ 132 w 318"/>
                <a:gd name="T23" fmla="*/ 312 h 312"/>
                <a:gd name="T24" fmla="*/ 26 w 318"/>
                <a:gd name="T25" fmla="*/ 180 h 312"/>
                <a:gd name="T26" fmla="*/ 132 w 318"/>
                <a:gd name="T27" fmla="*/ 286 h 312"/>
                <a:gd name="T28" fmla="*/ 295 w 318"/>
                <a:gd name="T29" fmla="*/ 123 h 312"/>
                <a:gd name="T30" fmla="*/ 282 w 318"/>
                <a:gd name="T31" fmla="*/ 31 h 312"/>
                <a:gd name="T32" fmla="*/ 185 w 318"/>
                <a:gd name="T33" fmla="*/ 22 h 312"/>
                <a:gd name="T34" fmla="*/ 26 w 318"/>
                <a:gd name="T35" fmla="*/ 180 h 312"/>
                <a:gd name="T36" fmla="*/ 245 w 318"/>
                <a:gd name="T37" fmla="*/ 67 h 312"/>
                <a:gd name="T38" fmla="*/ 214 w 318"/>
                <a:gd name="T39" fmla="*/ 67 h 312"/>
                <a:gd name="T40" fmla="*/ 214 w 318"/>
                <a:gd name="T41" fmla="*/ 98 h 312"/>
                <a:gd name="T42" fmla="*/ 245 w 318"/>
                <a:gd name="T43" fmla="*/ 98 h 312"/>
                <a:gd name="T44" fmla="*/ 245 w 318"/>
                <a:gd name="T45" fmla="*/ 6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8" h="312">
                  <a:moveTo>
                    <a:pt x="132" y="312"/>
                  </a:moveTo>
                  <a:cubicBezTo>
                    <a:pt x="129" y="312"/>
                    <a:pt x="127" y="311"/>
                    <a:pt x="124" y="309"/>
                  </a:cubicBezTo>
                  <a:cubicBezTo>
                    <a:pt x="4" y="188"/>
                    <a:pt x="4" y="188"/>
                    <a:pt x="4" y="188"/>
                  </a:cubicBezTo>
                  <a:cubicBezTo>
                    <a:pt x="0" y="184"/>
                    <a:pt x="0" y="177"/>
                    <a:pt x="4" y="173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75" y="1"/>
                    <a:pt x="178" y="0"/>
                    <a:pt x="182" y="0"/>
                  </a:cubicBezTo>
                  <a:cubicBezTo>
                    <a:pt x="292" y="11"/>
                    <a:pt x="292" y="11"/>
                    <a:pt x="292" y="11"/>
                  </a:cubicBezTo>
                  <a:cubicBezTo>
                    <a:pt x="297" y="11"/>
                    <a:pt x="301" y="15"/>
                    <a:pt x="302" y="20"/>
                  </a:cubicBezTo>
                  <a:cubicBezTo>
                    <a:pt x="317" y="125"/>
                    <a:pt x="317" y="125"/>
                    <a:pt x="317" y="125"/>
                  </a:cubicBezTo>
                  <a:cubicBezTo>
                    <a:pt x="318" y="128"/>
                    <a:pt x="316" y="132"/>
                    <a:pt x="314" y="134"/>
                  </a:cubicBezTo>
                  <a:cubicBezTo>
                    <a:pt x="140" y="309"/>
                    <a:pt x="140" y="309"/>
                    <a:pt x="140" y="309"/>
                  </a:cubicBezTo>
                  <a:cubicBezTo>
                    <a:pt x="137" y="311"/>
                    <a:pt x="135" y="312"/>
                    <a:pt x="132" y="312"/>
                  </a:cubicBezTo>
                  <a:close/>
                  <a:moveTo>
                    <a:pt x="26" y="180"/>
                  </a:moveTo>
                  <a:cubicBezTo>
                    <a:pt x="132" y="286"/>
                    <a:pt x="132" y="286"/>
                    <a:pt x="132" y="286"/>
                  </a:cubicBezTo>
                  <a:cubicBezTo>
                    <a:pt x="295" y="123"/>
                    <a:pt x="295" y="123"/>
                    <a:pt x="295" y="123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185" y="22"/>
                    <a:pt x="185" y="22"/>
                    <a:pt x="185" y="22"/>
                  </a:cubicBezTo>
                  <a:lnTo>
                    <a:pt x="26" y="180"/>
                  </a:lnTo>
                  <a:close/>
                  <a:moveTo>
                    <a:pt x="245" y="67"/>
                  </a:moveTo>
                  <a:cubicBezTo>
                    <a:pt x="236" y="58"/>
                    <a:pt x="222" y="58"/>
                    <a:pt x="214" y="67"/>
                  </a:cubicBezTo>
                  <a:cubicBezTo>
                    <a:pt x="205" y="75"/>
                    <a:pt x="205" y="89"/>
                    <a:pt x="214" y="98"/>
                  </a:cubicBezTo>
                  <a:cubicBezTo>
                    <a:pt x="222" y="106"/>
                    <a:pt x="236" y="106"/>
                    <a:pt x="245" y="98"/>
                  </a:cubicBezTo>
                  <a:cubicBezTo>
                    <a:pt x="253" y="89"/>
                    <a:pt x="253" y="75"/>
                    <a:pt x="245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49" name="Group 454"/>
          <p:cNvGrpSpPr>
            <a:grpSpLocks noChangeAspect="1"/>
          </p:cNvGrpSpPr>
          <p:nvPr/>
        </p:nvGrpSpPr>
        <p:grpSpPr bwMode="auto">
          <a:xfrm>
            <a:off x="2362875" y="3741591"/>
            <a:ext cx="369676" cy="369676"/>
            <a:chOff x="2325" y="1565"/>
            <a:chExt cx="340" cy="340"/>
          </a:xfrm>
          <a:solidFill>
            <a:schemeClr val="accent5"/>
          </a:solidFill>
        </p:grpSpPr>
        <p:sp>
          <p:nvSpPr>
            <p:cNvPr id="350" name="Freeform 455"/>
            <p:cNvSpPr>
              <a:spLocks noEditPoints="1"/>
            </p:cNvSpPr>
            <p:nvPr/>
          </p:nvSpPr>
          <p:spPr bwMode="auto">
            <a:xfrm>
              <a:off x="2325" y="1565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9 w 512"/>
                <a:gd name="T11" fmla="*/ 238 h 512"/>
                <a:gd name="T12" fmla="*/ 235 w 512"/>
                <a:gd name="T13" fmla="*/ 413 h 512"/>
                <a:gd name="T14" fmla="*/ 227 w 512"/>
                <a:gd name="T15" fmla="*/ 416 h 512"/>
                <a:gd name="T16" fmla="*/ 219 w 512"/>
                <a:gd name="T17" fmla="*/ 413 h 512"/>
                <a:gd name="T18" fmla="*/ 99 w 512"/>
                <a:gd name="T19" fmla="*/ 292 h 512"/>
                <a:gd name="T20" fmla="*/ 99 w 512"/>
                <a:gd name="T21" fmla="*/ 277 h 512"/>
                <a:gd name="T22" fmla="*/ 268 w 512"/>
                <a:gd name="T23" fmla="*/ 108 h 512"/>
                <a:gd name="T24" fmla="*/ 277 w 512"/>
                <a:gd name="T25" fmla="*/ 104 h 512"/>
                <a:gd name="T26" fmla="*/ 387 w 512"/>
                <a:gd name="T27" fmla="*/ 115 h 512"/>
                <a:gd name="T28" fmla="*/ 397 w 512"/>
                <a:gd name="T29" fmla="*/ 124 h 512"/>
                <a:gd name="T30" fmla="*/ 412 w 512"/>
                <a:gd name="T31" fmla="*/ 229 h 512"/>
                <a:gd name="T32" fmla="*/ 409 w 512"/>
                <a:gd name="T33" fmla="*/ 23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9" y="238"/>
                  </a:moveTo>
                  <a:cubicBezTo>
                    <a:pt x="235" y="413"/>
                    <a:pt x="235" y="413"/>
                    <a:pt x="235" y="413"/>
                  </a:cubicBezTo>
                  <a:cubicBezTo>
                    <a:pt x="232" y="415"/>
                    <a:pt x="230" y="416"/>
                    <a:pt x="227" y="416"/>
                  </a:cubicBezTo>
                  <a:cubicBezTo>
                    <a:pt x="224" y="416"/>
                    <a:pt x="222" y="415"/>
                    <a:pt x="219" y="413"/>
                  </a:cubicBezTo>
                  <a:cubicBezTo>
                    <a:pt x="99" y="292"/>
                    <a:pt x="99" y="292"/>
                    <a:pt x="99" y="292"/>
                  </a:cubicBezTo>
                  <a:cubicBezTo>
                    <a:pt x="95" y="288"/>
                    <a:pt x="95" y="281"/>
                    <a:pt x="99" y="277"/>
                  </a:cubicBezTo>
                  <a:cubicBezTo>
                    <a:pt x="268" y="108"/>
                    <a:pt x="268" y="108"/>
                    <a:pt x="268" y="108"/>
                  </a:cubicBezTo>
                  <a:cubicBezTo>
                    <a:pt x="270" y="105"/>
                    <a:pt x="273" y="104"/>
                    <a:pt x="277" y="104"/>
                  </a:cubicBezTo>
                  <a:cubicBezTo>
                    <a:pt x="387" y="115"/>
                    <a:pt x="387" y="115"/>
                    <a:pt x="387" y="115"/>
                  </a:cubicBezTo>
                  <a:cubicBezTo>
                    <a:pt x="392" y="115"/>
                    <a:pt x="396" y="119"/>
                    <a:pt x="397" y="124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3" y="232"/>
                    <a:pt x="411" y="236"/>
                    <a:pt x="409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456"/>
            <p:cNvSpPr>
              <a:spLocks noEditPoints="1"/>
            </p:cNvSpPr>
            <p:nvPr/>
          </p:nvSpPr>
          <p:spPr bwMode="auto">
            <a:xfrm>
              <a:off x="2405" y="1649"/>
              <a:ext cx="179" cy="175"/>
            </a:xfrm>
            <a:custGeom>
              <a:avLst/>
              <a:gdLst>
                <a:gd name="T0" fmla="*/ 159 w 269"/>
                <a:gd name="T1" fmla="*/ 0 h 264"/>
                <a:gd name="T2" fmla="*/ 0 w 269"/>
                <a:gd name="T3" fmla="*/ 158 h 264"/>
                <a:gd name="T4" fmla="*/ 106 w 269"/>
                <a:gd name="T5" fmla="*/ 264 h 264"/>
                <a:gd name="T6" fmla="*/ 269 w 269"/>
                <a:gd name="T7" fmla="*/ 101 h 264"/>
                <a:gd name="T8" fmla="*/ 256 w 269"/>
                <a:gd name="T9" fmla="*/ 9 h 264"/>
                <a:gd name="T10" fmla="*/ 159 w 269"/>
                <a:gd name="T11" fmla="*/ 0 h 264"/>
                <a:gd name="T12" fmla="*/ 219 w 269"/>
                <a:gd name="T13" fmla="*/ 76 h 264"/>
                <a:gd name="T14" fmla="*/ 188 w 269"/>
                <a:gd name="T15" fmla="*/ 76 h 264"/>
                <a:gd name="T16" fmla="*/ 188 w 269"/>
                <a:gd name="T17" fmla="*/ 45 h 264"/>
                <a:gd name="T18" fmla="*/ 219 w 269"/>
                <a:gd name="T19" fmla="*/ 45 h 264"/>
                <a:gd name="T20" fmla="*/ 219 w 269"/>
                <a:gd name="T21" fmla="*/ 7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9" h="264">
                  <a:moveTo>
                    <a:pt x="159" y="0"/>
                  </a:moveTo>
                  <a:cubicBezTo>
                    <a:pt x="0" y="158"/>
                    <a:pt x="0" y="158"/>
                    <a:pt x="0" y="158"/>
                  </a:cubicBezTo>
                  <a:cubicBezTo>
                    <a:pt x="106" y="264"/>
                    <a:pt x="106" y="264"/>
                    <a:pt x="106" y="264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56" y="9"/>
                    <a:pt x="256" y="9"/>
                    <a:pt x="256" y="9"/>
                  </a:cubicBezTo>
                  <a:lnTo>
                    <a:pt x="159" y="0"/>
                  </a:lnTo>
                  <a:close/>
                  <a:moveTo>
                    <a:pt x="219" y="76"/>
                  </a:moveTo>
                  <a:cubicBezTo>
                    <a:pt x="210" y="84"/>
                    <a:pt x="196" y="84"/>
                    <a:pt x="188" y="76"/>
                  </a:cubicBezTo>
                  <a:cubicBezTo>
                    <a:pt x="179" y="67"/>
                    <a:pt x="179" y="53"/>
                    <a:pt x="188" y="45"/>
                  </a:cubicBezTo>
                  <a:cubicBezTo>
                    <a:pt x="196" y="36"/>
                    <a:pt x="210" y="36"/>
                    <a:pt x="219" y="45"/>
                  </a:cubicBezTo>
                  <a:cubicBezTo>
                    <a:pt x="227" y="53"/>
                    <a:pt x="227" y="67"/>
                    <a:pt x="21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2" name="Freeform 223"/>
          <p:cNvSpPr>
            <a:spLocks noChangeAspect="1" noEditPoints="1"/>
          </p:cNvSpPr>
          <p:nvPr/>
        </p:nvSpPr>
        <p:spPr bwMode="auto">
          <a:xfrm>
            <a:off x="3333407" y="3741594"/>
            <a:ext cx="367631" cy="367631"/>
          </a:xfrm>
          <a:custGeom>
            <a:avLst/>
            <a:gdLst>
              <a:gd name="T0" fmla="*/ 190 w 512"/>
              <a:gd name="T1" fmla="*/ 227 h 512"/>
              <a:gd name="T2" fmla="*/ 166 w 512"/>
              <a:gd name="T3" fmla="*/ 170 h 512"/>
              <a:gd name="T4" fmla="*/ 232 w 512"/>
              <a:gd name="T5" fmla="*/ 170 h 512"/>
              <a:gd name="T6" fmla="*/ 190 w 512"/>
              <a:gd name="T7" fmla="*/ 227 h 512"/>
              <a:gd name="T8" fmla="*/ 149 w 512"/>
              <a:gd name="T9" fmla="*/ 184 h 512"/>
              <a:gd name="T10" fmla="*/ 124 w 512"/>
              <a:gd name="T11" fmla="*/ 234 h 512"/>
              <a:gd name="T12" fmla="*/ 171 w 512"/>
              <a:gd name="T13" fmla="*/ 234 h 512"/>
              <a:gd name="T14" fmla="*/ 149 w 512"/>
              <a:gd name="T15" fmla="*/ 184 h 512"/>
              <a:gd name="T16" fmla="*/ 346 w 512"/>
              <a:gd name="T17" fmla="*/ 170 h 512"/>
              <a:gd name="T18" fmla="*/ 280 w 512"/>
              <a:gd name="T19" fmla="*/ 170 h 512"/>
              <a:gd name="T20" fmla="*/ 321 w 512"/>
              <a:gd name="T21" fmla="*/ 227 h 512"/>
              <a:gd name="T22" fmla="*/ 346 w 512"/>
              <a:gd name="T23" fmla="*/ 170 h 512"/>
              <a:gd name="T24" fmla="*/ 298 w 512"/>
              <a:gd name="T25" fmla="*/ 234 h 512"/>
              <a:gd name="T26" fmla="*/ 256 w 512"/>
              <a:gd name="T27" fmla="*/ 177 h 512"/>
              <a:gd name="T28" fmla="*/ 213 w 512"/>
              <a:gd name="T29" fmla="*/ 234 h 512"/>
              <a:gd name="T30" fmla="*/ 298 w 512"/>
              <a:gd name="T31" fmla="*/ 234 h 512"/>
              <a:gd name="T32" fmla="*/ 131 w 512"/>
              <a:gd name="T33" fmla="*/ 256 h 512"/>
              <a:gd name="T34" fmla="*/ 224 w 512"/>
              <a:gd name="T35" fmla="*/ 356 h 512"/>
              <a:gd name="T36" fmla="*/ 180 w 512"/>
              <a:gd name="T37" fmla="*/ 256 h 512"/>
              <a:gd name="T38" fmla="*/ 131 w 512"/>
              <a:gd name="T39" fmla="*/ 256 h 512"/>
              <a:gd name="T40" fmla="*/ 340 w 512"/>
              <a:gd name="T41" fmla="*/ 234 h 512"/>
              <a:gd name="T42" fmla="*/ 388 w 512"/>
              <a:gd name="T43" fmla="*/ 234 h 512"/>
              <a:gd name="T44" fmla="*/ 362 w 512"/>
              <a:gd name="T45" fmla="*/ 184 h 512"/>
              <a:gd name="T46" fmla="*/ 340 w 512"/>
              <a:gd name="T47" fmla="*/ 234 h 512"/>
              <a:gd name="T48" fmla="*/ 203 w 512"/>
              <a:gd name="T49" fmla="*/ 256 h 512"/>
              <a:gd name="T50" fmla="*/ 256 w 512"/>
              <a:gd name="T51" fmla="*/ 378 h 512"/>
              <a:gd name="T52" fmla="*/ 309 w 512"/>
              <a:gd name="T53" fmla="*/ 256 h 512"/>
              <a:gd name="T54" fmla="*/ 203 w 512"/>
              <a:gd name="T55" fmla="*/ 256 h 512"/>
              <a:gd name="T56" fmla="*/ 512 w 512"/>
              <a:gd name="T57" fmla="*/ 256 h 512"/>
              <a:gd name="T58" fmla="*/ 256 w 512"/>
              <a:gd name="T59" fmla="*/ 512 h 512"/>
              <a:gd name="T60" fmla="*/ 0 w 512"/>
              <a:gd name="T61" fmla="*/ 256 h 512"/>
              <a:gd name="T62" fmla="*/ 256 w 512"/>
              <a:gd name="T63" fmla="*/ 0 h 512"/>
              <a:gd name="T64" fmla="*/ 512 w 512"/>
              <a:gd name="T65" fmla="*/ 256 h 512"/>
              <a:gd name="T66" fmla="*/ 415 w 512"/>
              <a:gd name="T67" fmla="*/ 240 h 512"/>
              <a:gd name="T68" fmla="*/ 372 w 512"/>
              <a:gd name="T69" fmla="*/ 155 h 512"/>
              <a:gd name="T70" fmla="*/ 362 w 512"/>
              <a:gd name="T71" fmla="*/ 149 h 512"/>
              <a:gd name="T72" fmla="*/ 149 w 512"/>
              <a:gd name="T73" fmla="*/ 149 h 512"/>
              <a:gd name="T74" fmla="*/ 139 w 512"/>
              <a:gd name="T75" fmla="*/ 155 h 512"/>
              <a:gd name="T76" fmla="*/ 97 w 512"/>
              <a:gd name="T77" fmla="*/ 240 h 512"/>
              <a:gd name="T78" fmla="*/ 99 w 512"/>
              <a:gd name="T79" fmla="*/ 252 h 512"/>
              <a:gd name="T80" fmla="*/ 248 w 512"/>
              <a:gd name="T81" fmla="*/ 412 h 512"/>
              <a:gd name="T82" fmla="*/ 256 w 512"/>
              <a:gd name="T83" fmla="*/ 416 h 512"/>
              <a:gd name="T84" fmla="*/ 263 w 512"/>
              <a:gd name="T85" fmla="*/ 412 h 512"/>
              <a:gd name="T86" fmla="*/ 413 w 512"/>
              <a:gd name="T87" fmla="*/ 252 h 512"/>
              <a:gd name="T88" fmla="*/ 415 w 512"/>
              <a:gd name="T89" fmla="*/ 240 h 512"/>
              <a:gd name="T90" fmla="*/ 287 w 512"/>
              <a:gd name="T91" fmla="*/ 356 h 512"/>
              <a:gd name="T92" fmla="*/ 380 w 512"/>
              <a:gd name="T93" fmla="*/ 256 h 512"/>
              <a:gd name="T94" fmla="*/ 331 w 512"/>
              <a:gd name="T95" fmla="*/ 256 h 512"/>
              <a:gd name="T96" fmla="*/ 287 w 512"/>
              <a:gd name="T97" fmla="*/ 3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190" y="227"/>
                </a:moveTo>
                <a:cubicBezTo>
                  <a:pt x="166" y="170"/>
                  <a:pt x="166" y="170"/>
                  <a:pt x="166" y="170"/>
                </a:cubicBezTo>
                <a:cubicBezTo>
                  <a:pt x="232" y="170"/>
                  <a:pt x="232" y="170"/>
                  <a:pt x="232" y="170"/>
                </a:cubicBezTo>
                <a:lnTo>
                  <a:pt x="190" y="227"/>
                </a:lnTo>
                <a:close/>
                <a:moveTo>
                  <a:pt x="149" y="184"/>
                </a:moveTo>
                <a:cubicBezTo>
                  <a:pt x="124" y="234"/>
                  <a:pt x="124" y="234"/>
                  <a:pt x="124" y="234"/>
                </a:cubicBezTo>
                <a:cubicBezTo>
                  <a:pt x="171" y="234"/>
                  <a:pt x="171" y="234"/>
                  <a:pt x="171" y="234"/>
                </a:cubicBezTo>
                <a:lnTo>
                  <a:pt x="149" y="184"/>
                </a:lnTo>
                <a:close/>
                <a:moveTo>
                  <a:pt x="346" y="170"/>
                </a:moveTo>
                <a:cubicBezTo>
                  <a:pt x="280" y="170"/>
                  <a:pt x="280" y="170"/>
                  <a:pt x="280" y="170"/>
                </a:cubicBezTo>
                <a:cubicBezTo>
                  <a:pt x="321" y="227"/>
                  <a:pt x="321" y="227"/>
                  <a:pt x="321" y="227"/>
                </a:cubicBezTo>
                <a:lnTo>
                  <a:pt x="346" y="170"/>
                </a:lnTo>
                <a:close/>
                <a:moveTo>
                  <a:pt x="298" y="234"/>
                </a:moveTo>
                <a:cubicBezTo>
                  <a:pt x="256" y="177"/>
                  <a:pt x="256" y="177"/>
                  <a:pt x="256" y="177"/>
                </a:cubicBezTo>
                <a:cubicBezTo>
                  <a:pt x="213" y="234"/>
                  <a:pt x="213" y="234"/>
                  <a:pt x="213" y="234"/>
                </a:cubicBezTo>
                <a:lnTo>
                  <a:pt x="298" y="234"/>
                </a:lnTo>
                <a:close/>
                <a:moveTo>
                  <a:pt x="131" y="256"/>
                </a:moveTo>
                <a:cubicBezTo>
                  <a:pt x="224" y="356"/>
                  <a:pt x="224" y="356"/>
                  <a:pt x="224" y="356"/>
                </a:cubicBezTo>
                <a:cubicBezTo>
                  <a:pt x="180" y="256"/>
                  <a:pt x="180" y="256"/>
                  <a:pt x="180" y="256"/>
                </a:cubicBezTo>
                <a:lnTo>
                  <a:pt x="131" y="256"/>
                </a:lnTo>
                <a:close/>
                <a:moveTo>
                  <a:pt x="340" y="234"/>
                </a:moveTo>
                <a:cubicBezTo>
                  <a:pt x="388" y="234"/>
                  <a:pt x="388" y="234"/>
                  <a:pt x="388" y="234"/>
                </a:cubicBezTo>
                <a:cubicBezTo>
                  <a:pt x="362" y="184"/>
                  <a:pt x="362" y="184"/>
                  <a:pt x="362" y="184"/>
                </a:cubicBezTo>
                <a:lnTo>
                  <a:pt x="340" y="234"/>
                </a:lnTo>
                <a:close/>
                <a:moveTo>
                  <a:pt x="203" y="256"/>
                </a:moveTo>
                <a:cubicBezTo>
                  <a:pt x="256" y="378"/>
                  <a:pt x="256" y="378"/>
                  <a:pt x="256" y="378"/>
                </a:cubicBezTo>
                <a:cubicBezTo>
                  <a:pt x="309" y="256"/>
                  <a:pt x="309" y="256"/>
                  <a:pt x="309" y="256"/>
                </a:cubicBezTo>
                <a:lnTo>
                  <a:pt x="203" y="2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40"/>
                </a:moveTo>
                <a:cubicBezTo>
                  <a:pt x="372" y="155"/>
                  <a:pt x="372" y="155"/>
                  <a:pt x="372" y="155"/>
                </a:cubicBezTo>
                <a:cubicBezTo>
                  <a:pt x="370" y="151"/>
                  <a:pt x="366" y="149"/>
                  <a:pt x="362" y="149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45" y="149"/>
                  <a:pt x="141" y="151"/>
                  <a:pt x="139" y="155"/>
                </a:cubicBezTo>
                <a:cubicBezTo>
                  <a:pt x="97" y="240"/>
                  <a:pt x="97" y="240"/>
                  <a:pt x="97" y="240"/>
                </a:cubicBezTo>
                <a:cubicBezTo>
                  <a:pt x="95" y="244"/>
                  <a:pt x="95" y="249"/>
                  <a:pt x="99" y="252"/>
                </a:cubicBezTo>
                <a:cubicBezTo>
                  <a:pt x="248" y="412"/>
                  <a:pt x="248" y="412"/>
                  <a:pt x="248" y="412"/>
                </a:cubicBezTo>
                <a:cubicBezTo>
                  <a:pt x="250" y="414"/>
                  <a:pt x="253" y="416"/>
                  <a:pt x="256" y="416"/>
                </a:cubicBezTo>
                <a:cubicBezTo>
                  <a:pt x="259" y="416"/>
                  <a:pt x="261" y="414"/>
                  <a:pt x="263" y="412"/>
                </a:cubicBezTo>
                <a:cubicBezTo>
                  <a:pt x="413" y="252"/>
                  <a:pt x="413" y="252"/>
                  <a:pt x="413" y="252"/>
                </a:cubicBezTo>
                <a:cubicBezTo>
                  <a:pt x="416" y="249"/>
                  <a:pt x="417" y="244"/>
                  <a:pt x="415" y="240"/>
                </a:cubicBezTo>
                <a:close/>
                <a:moveTo>
                  <a:pt x="287" y="356"/>
                </a:moveTo>
                <a:cubicBezTo>
                  <a:pt x="380" y="256"/>
                  <a:pt x="380" y="256"/>
                  <a:pt x="380" y="256"/>
                </a:cubicBezTo>
                <a:cubicBezTo>
                  <a:pt x="331" y="256"/>
                  <a:pt x="331" y="256"/>
                  <a:pt x="331" y="256"/>
                </a:cubicBezTo>
                <a:lnTo>
                  <a:pt x="287" y="3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3" name="Group 226"/>
          <p:cNvGrpSpPr>
            <a:grpSpLocks noChangeAspect="1"/>
          </p:cNvGrpSpPr>
          <p:nvPr/>
        </p:nvGrpSpPr>
        <p:grpSpPr bwMode="auto">
          <a:xfrm>
            <a:off x="3816628" y="3741594"/>
            <a:ext cx="367631" cy="367631"/>
            <a:chOff x="2710" y="770"/>
            <a:chExt cx="340" cy="340"/>
          </a:xfrm>
          <a:solidFill>
            <a:schemeClr val="accent3"/>
          </a:solidFill>
        </p:grpSpPr>
        <p:sp>
          <p:nvSpPr>
            <p:cNvPr id="354" name="Freeform 227"/>
            <p:cNvSpPr>
              <a:spLocks noEditPoints="1"/>
            </p:cNvSpPr>
            <p:nvPr/>
          </p:nvSpPr>
          <p:spPr bwMode="auto">
            <a:xfrm>
              <a:off x="2710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228"/>
            <p:cNvSpPr>
              <a:spLocks noEditPoints="1"/>
            </p:cNvSpPr>
            <p:nvPr/>
          </p:nvSpPr>
          <p:spPr bwMode="auto">
            <a:xfrm>
              <a:off x="2773" y="869"/>
              <a:ext cx="214" cy="177"/>
            </a:xfrm>
            <a:custGeom>
              <a:avLst/>
              <a:gdLst>
                <a:gd name="T0" fmla="*/ 320 w 322"/>
                <a:gd name="T1" fmla="*/ 91 h 267"/>
                <a:gd name="T2" fmla="*/ 277 w 322"/>
                <a:gd name="T3" fmla="*/ 6 h 267"/>
                <a:gd name="T4" fmla="*/ 267 w 322"/>
                <a:gd name="T5" fmla="*/ 0 h 267"/>
                <a:gd name="T6" fmla="*/ 54 w 322"/>
                <a:gd name="T7" fmla="*/ 0 h 267"/>
                <a:gd name="T8" fmla="*/ 44 w 322"/>
                <a:gd name="T9" fmla="*/ 6 h 267"/>
                <a:gd name="T10" fmla="*/ 2 w 322"/>
                <a:gd name="T11" fmla="*/ 91 h 267"/>
                <a:gd name="T12" fmla="*/ 4 w 322"/>
                <a:gd name="T13" fmla="*/ 103 h 267"/>
                <a:gd name="T14" fmla="*/ 153 w 322"/>
                <a:gd name="T15" fmla="*/ 263 h 267"/>
                <a:gd name="T16" fmla="*/ 161 w 322"/>
                <a:gd name="T17" fmla="*/ 267 h 267"/>
                <a:gd name="T18" fmla="*/ 168 w 322"/>
                <a:gd name="T19" fmla="*/ 263 h 267"/>
                <a:gd name="T20" fmla="*/ 318 w 322"/>
                <a:gd name="T21" fmla="*/ 103 h 267"/>
                <a:gd name="T22" fmla="*/ 320 w 322"/>
                <a:gd name="T23" fmla="*/ 91 h 267"/>
                <a:gd name="T24" fmla="*/ 214 w 322"/>
                <a:gd name="T25" fmla="*/ 107 h 267"/>
                <a:gd name="T26" fmla="*/ 161 w 322"/>
                <a:gd name="T27" fmla="*/ 229 h 267"/>
                <a:gd name="T28" fmla="*/ 108 w 322"/>
                <a:gd name="T29" fmla="*/ 107 h 267"/>
                <a:gd name="T30" fmla="*/ 214 w 322"/>
                <a:gd name="T31" fmla="*/ 107 h 267"/>
                <a:gd name="T32" fmla="*/ 118 w 322"/>
                <a:gd name="T33" fmla="*/ 85 h 267"/>
                <a:gd name="T34" fmla="*/ 161 w 322"/>
                <a:gd name="T35" fmla="*/ 28 h 267"/>
                <a:gd name="T36" fmla="*/ 203 w 322"/>
                <a:gd name="T37" fmla="*/ 85 h 267"/>
                <a:gd name="T38" fmla="*/ 118 w 322"/>
                <a:gd name="T39" fmla="*/ 85 h 267"/>
                <a:gd name="T40" fmla="*/ 185 w 322"/>
                <a:gd name="T41" fmla="*/ 21 h 267"/>
                <a:gd name="T42" fmla="*/ 251 w 322"/>
                <a:gd name="T43" fmla="*/ 21 h 267"/>
                <a:gd name="T44" fmla="*/ 226 w 322"/>
                <a:gd name="T45" fmla="*/ 78 h 267"/>
                <a:gd name="T46" fmla="*/ 185 w 322"/>
                <a:gd name="T47" fmla="*/ 21 h 267"/>
                <a:gd name="T48" fmla="*/ 95 w 322"/>
                <a:gd name="T49" fmla="*/ 78 h 267"/>
                <a:gd name="T50" fmla="*/ 71 w 322"/>
                <a:gd name="T51" fmla="*/ 21 h 267"/>
                <a:gd name="T52" fmla="*/ 137 w 322"/>
                <a:gd name="T53" fmla="*/ 21 h 267"/>
                <a:gd name="T54" fmla="*/ 95 w 322"/>
                <a:gd name="T55" fmla="*/ 78 h 267"/>
                <a:gd name="T56" fmla="*/ 76 w 322"/>
                <a:gd name="T57" fmla="*/ 85 h 267"/>
                <a:gd name="T58" fmla="*/ 29 w 322"/>
                <a:gd name="T59" fmla="*/ 85 h 267"/>
                <a:gd name="T60" fmla="*/ 54 w 322"/>
                <a:gd name="T61" fmla="*/ 35 h 267"/>
                <a:gd name="T62" fmla="*/ 76 w 322"/>
                <a:gd name="T63" fmla="*/ 85 h 267"/>
                <a:gd name="T64" fmla="*/ 85 w 322"/>
                <a:gd name="T65" fmla="*/ 107 h 267"/>
                <a:gd name="T66" fmla="*/ 129 w 322"/>
                <a:gd name="T67" fmla="*/ 207 h 267"/>
                <a:gd name="T68" fmla="*/ 36 w 322"/>
                <a:gd name="T69" fmla="*/ 107 h 267"/>
                <a:gd name="T70" fmla="*/ 85 w 322"/>
                <a:gd name="T71" fmla="*/ 107 h 267"/>
                <a:gd name="T72" fmla="*/ 236 w 322"/>
                <a:gd name="T73" fmla="*/ 107 h 267"/>
                <a:gd name="T74" fmla="*/ 285 w 322"/>
                <a:gd name="T75" fmla="*/ 107 h 267"/>
                <a:gd name="T76" fmla="*/ 192 w 322"/>
                <a:gd name="T77" fmla="*/ 207 h 267"/>
                <a:gd name="T78" fmla="*/ 236 w 322"/>
                <a:gd name="T79" fmla="*/ 107 h 267"/>
                <a:gd name="T80" fmla="*/ 245 w 322"/>
                <a:gd name="T81" fmla="*/ 85 h 267"/>
                <a:gd name="T82" fmla="*/ 267 w 322"/>
                <a:gd name="T83" fmla="*/ 35 h 267"/>
                <a:gd name="T84" fmla="*/ 293 w 322"/>
                <a:gd name="T85" fmla="*/ 85 h 267"/>
                <a:gd name="T86" fmla="*/ 245 w 322"/>
                <a:gd name="T87" fmla="*/ 8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7">
                  <a:moveTo>
                    <a:pt x="320" y="91"/>
                  </a:moveTo>
                  <a:cubicBezTo>
                    <a:pt x="277" y="6"/>
                    <a:pt x="277" y="6"/>
                    <a:pt x="277" y="6"/>
                  </a:cubicBezTo>
                  <a:cubicBezTo>
                    <a:pt x="275" y="2"/>
                    <a:pt x="271" y="0"/>
                    <a:pt x="2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0"/>
                    <a:pt x="46" y="2"/>
                    <a:pt x="44" y="6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0" y="95"/>
                    <a:pt x="0" y="100"/>
                    <a:pt x="4" y="103"/>
                  </a:cubicBezTo>
                  <a:cubicBezTo>
                    <a:pt x="153" y="263"/>
                    <a:pt x="153" y="263"/>
                    <a:pt x="153" y="263"/>
                  </a:cubicBezTo>
                  <a:cubicBezTo>
                    <a:pt x="155" y="265"/>
                    <a:pt x="158" y="267"/>
                    <a:pt x="161" y="267"/>
                  </a:cubicBezTo>
                  <a:cubicBezTo>
                    <a:pt x="164" y="267"/>
                    <a:pt x="166" y="265"/>
                    <a:pt x="168" y="263"/>
                  </a:cubicBezTo>
                  <a:cubicBezTo>
                    <a:pt x="318" y="103"/>
                    <a:pt x="318" y="103"/>
                    <a:pt x="318" y="103"/>
                  </a:cubicBezTo>
                  <a:cubicBezTo>
                    <a:pt x="321" y="100"/>
                    <a:pt x="322" y="95"/>
                    <a:pt x="320" y="91"/>
                  </a:cubicBezTo>
                  <a:close/>
                  <a:moveTo>
                    <a:pt x="214" y="107"/>
                  </a:moveTo>
                  <a:cubicBezTo>
                    <a:pt x="161" y="229"/>
                    <a:pt x="161" y="229"/>
                    <a:pt x="161" y="229"/>
                  </a:cubicBezTo>
                  <a:cubicBezTo>
                    <a:pt x="108" y="107"/>
                    <a:pt x="108" y="107"/>
                    <a:pt x="108" y="107"/>
                  </a:cubicBezTo>
                  <a:lnTo>
                    <a:pt x="214" y="107"/>
                  </a:lnTo>
                  <a:close/>
                  <a:moveTo>
                    <a:pt x="118" y="85"/>
                  </a:moveTo>
                  <a:cubicBezTo>
                    <a:pt x="161" y="28"/>
                    <a:pt x="161" y="28"/>
                    <a:pt x="161" y="28"/>
                  </a:cubicBezTo>
                  <a:cubicBezTo>
                    <a:pt x="203" y="85"/>
                    <a:pt x="203" y="85"/>
                    <a:pt x="203" y="85"/>
                  </a:cubicBezTo>
                  <a:lnTo>
                    <a:pt x="118" y="85"/>
                  </a:lnTo>
                  <a:close/>
                  <a:moveTo>
                    <a:pt x="185" y="21"/>
                  </a:moveTo>
                  <a:cubicBezTo>
                    <a:pt x="251" y="21"/>
                    <a:pt x="251" y="21"/>
                    <a:pt x="251" y="21"/>
                  </a:cubicBezTo>
                  <a:cubicBezTo>
                    <a:pt x="226" y="78"/>
                    <a:pt x="226" y="78"/>
                    <a:pt x="226" y="78"/>
                  </a:cubicBezTo>
                  <a:lnTo>
                    <a:pt x="185" y="21"/>
                  </a:lnTo>
                  <a:close/>
                  <a:moveTo>
                    <a:pt x="95" y="7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137" y="21"/>
                    <a:pt x="137" y="21"/>
                    <a:pt x="137" y="21"/>
                  </a:cubicBezTo>
                  <a:lnTo>
                    <a:pt x="95" y="78"/>
                  </a:lnTo>
                  <a:close/>
                  <a:moveTo>
                    <a:pt x="76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54" y="35"/>
                    <a:pt x="54" y="35"/>
                    <a:pt x="54" y="35"/>
                  </a:cubicBezTo>
                  <a:lnTo>
                    <a:pt x="76" y="85"/>
                  </a:lnTo>
                  <a:close/>
                  <a:moveTo>
                    <a:pt x="85" y="107"/>
                  </a:moveTo>
                  <a:cubicBezTo>
                    <a:pt x="129" y="207"/>
                    <a:pt x="129" y="207"/>
                    <a:pt x="129" y="207"/>
                  </a:cubicBezTo>
                  <a:cubicBezTo>
                    <a:pt x="36" y="107"/>
                    <a:pt x="36" y="107"/>
                    <a:pt x="36" y="107"/>
                  </a:cubicBezTo>
                  <a:lnTo>
                    <a:pt x="85" y="107"/>
                  </a:lnTo>
                  <a:close/>
                  <a:moveTo>
                    <a:pt x="236" y="107"/>
                  </a:moveTo>
                  <a:cubicBezTo>
                    <a:pt x="285" y="107"/>
                    <a:pt x="285" y="107"/>
                    <a:pt x="285" y="107"/>
                  </a:cubicBezTo>
                  <a:cubicBezTo>
                    <a:pt x="192" y="207"/>
                    <a:pt x="192" y="207"/>
                    <a:pt x="192" y="207"/>
                  </a:cubicBezTo>
                  <a:lnTo>
                    <a:pt x="236" y="107"/>
                  </a:lnTo>
                  <a:close/>
                  <a:moveTo>
                    <a:pt x="245" y="85"/>
                  </a:moveTo>
                  <a:cubicBezTo>
                    <a:pt x="267" y="35"/>
                    <a:pt x="267" y="35"/>
                    <a:pt x="267" y="35"/>
                  </a:cubicBezTo>
                  <a:cubicBezTo>
                    <a:pt x="293" y="85"/>
                    <a:pt x="293" y="85"/>
                    <a:pt x="293" y="85"/>
                  </a:cubicBezTo>
                  <a:lnTo>
                    <a:pt x="24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6" name="Group 556"/>
          <p:cNvGrpSpPr>
            <a:grpSpLocks noChangeAspect="1"/>
          </p:cNvGrpSpPr>
          <p:nvPr/>
        </p:nvGrpSpPr>
        <p:grpSpPr bwMode="auto">
          <a:xfrm>
            <a:off x="4785115" y="3741591"/>
            <a:ext cx="370763" cy="369676"/>
            <a:chOff x="3513" y="1927"/>
            <a:chExt cx="341" cy="340"/>
          </a:xfrm>
          <a:solidFill>
            <a:schemeClr val="accent6"/>
          </a:solidFill>
        </p:grpSpPr>
        <p:sp>
          <p:nvSpPr>
            <p:cNvPr id="357" name="Freeform 557"/>
            <p:cNvSpPr>
              <a:spLocks noEditPoints="1"/>
            </p:cNvSpPr>
            <p:nvPr/>
          </p:nvSpPr>
          <p:spPr bwMode="auto">
            <a:xfrm>
              <a:off x="3513" y="192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Freeform 558"/>
            <p:cNvSpPr>
              <a:spLocks noEditPoints="1"/>
            </p:cNvSpPr>
            <p:nvPr/>
          </p:nvSpPr>
          <p:spPr bwMode="auto">
            <a:xfrm>
              <a:off x="3577" y="2019"/>
              <a:ext cx="206" cy="156"/>
            </a:xfrm>
            <a:custGeom>
              <a:avLst/>
              <a:gdLst>
                <a:gd name="T0" fmla="*/ 288 w 309"/>
                <a:gd name="T1" fmla="*/ 164 h 235"/>
                <a:gd name="T2" fmla="*/ 288 w 309"/>
                <a:gd name="T3" fmla="*/ 107 h 235"/>
                <a:gd name="T4" fmla="*/ 266 w 309"/>
                <a:gd name="T5" fmla="*/ 86 h 235"/>
                <a:gd name="T6" fmla="*/ 245 w 309"/>
                <a:gd name="T7" fmla="*/ 86 h 235"/>
                <a:gd name="T8" fmla="*/ 245 w 309"/>
                <a:gd name="T9" fmla="*/ 32 h 235"/>
                <a:gd name="T10" fmla="*/ 224 w 309"/>
                <a:gd name="T11" fmla="*/ 11 h 235"/>
                <a:gd name="T12" fmla="*/ 213 w 309"/>
                <a:gd name="T13" fmla="*/ 22 h 235"/>
                <a:gd name="T14" fmla="*/ 224 w 309"/>
                <a:gd name="T15" fmla="*/ 32 h 235"/>
                <a:gd name="T16" fmla="*/ 224 w 309"/>
                <a:gd name="T17" fmla="*/ 86 h 235"/>
                <a:gd name="T18" fmla="*/ 168 w 309"/>
                <a:gd name="T19" fmla="*/ 86 h 235"/>
                <a:gd name="T20" fmla="*/ 149 w 309"/>
                <a:gd name="T21" fmla="*/ 20 h 235"/>
                <a:gd name="T22" fmla="*/ 128 w 309"/>
                <a:gd name="T23" fmla="*/ 0 h 235"/>
                <a:gd name="T24" fmla="*/ 64 w 309"/>
                <a:gd name="T25" fmla="*/ 0 h 235"/>
                <a:gd name="T26" fmla="*/ 53 w 309"/>
                <a:gd name="T27" fmla="*/ 10 h 235"/>
                <a:gd name="T28" fmla="*/ 43 w 309"/>
                <a:gd name="T29" fmla="*/ 93 h 235"/>
                <a:gd name="T30" fmla="*/ 0 w 309"/>
                <a:gd name="T31" fmla="*/ 160 h 235"/>
                <a:gd name="T32" fmla="*/ 74 w 309"/>
                <a:gd name="T33" fmla="*/ 235 h 235"/>
                <a:gd name="T34" fmla="*/ 127 w 309"/>
                <a:gd name="T35" fmla="*/ 213 h 235"/>
                <a:gd name="T36" fmla="*/ 128 w 309"/>
                <a:gd name="T37" fmla="*/ 214 h 235"/>
                <a:gd name="T38" fmla="*/ 238 w 309"/>
                <a:gd name="T39" fmla="*/ 214 h 235"/>
                <a:gd name="T40" fmla="*/ 272 w 309"/>
                <a:gd name="T41" fmla="*/ 235 h 235"/>
                <a:gd name="T42" fmla="*/ 309 w 309"/>
                <a:gd name="T43" fmla="*/ 198 h 235"/>
                <a:gd name="T44" fmla="*/ 288 w 309"/>
                <a:gd name="T45" fmla="*/ 164 h 235"/>
                <a:gd name="T46" fmla="*/ 266 w 309"/>
                <a:gd name="T47" fmla="*/ 161 h 235"/>
                <a:gd name="T48" fmla="*/ 235 w 309"/>
                <a:gd name="T49" fmla="*/ 192 h 235"/>
                <a:gd name="T50" fmla="*/ 142 w 309"/>
                <a:gd name="T51" fmla="*/ 192 h 235"/>
                <a:gd name="T52" fmla="*/ 149 w 309"/>
                <a:gd name="T53" fmla="*/ 160 h 235"/>
                <a:gd name="T54" fmla="*/ 126 w 309"/>
                <a:gd name="T55" fmla="*/ 107 h 235"/>
                <a:gd name="T56" fmla="*/ 266 w 309"/>
                <a:gd name="T57" fmla="*/ 107 h 235"/>
                <a:gd name="T58" fmla="*/ 266 w 309"/>
                <a:gd name="T59" fmla="*/ 161 h 235"/>
                <a:gd name="T60" fmla="*/ 73 w 309"/>
                <a:gd name="T61" fmla="*/ 22 h 235"/>
                <a:gd name="T62" fmla="*/ 128 w 309"/>
                <a:gd name="T63" fmla="*/ 22 h 235"/>
                <a:gd name="T64" fmla="*/ 128 w 309"/>
                <a:gd name="T65" fmla="*/ 25 h 235"/>
                <a:gd name="T66" fmla="*/ 146 w 309"/>
                <a:gd name="T67" fmla="*/ 86 h 235"/>
                <a:gd name="T68" fmla="*/ 85 w 309"/>
                <a:gd name="T69" fmla="*/ 86 h 235"/>
                <a:gd name="T70" fmla="*/ 83 w 309"/>
                <a:gd name="T71" fmla="*/ 86 h 235"/>
                <a:gd name="T72" fmla="*/ 74 w 309"/>
                <a:gd name="T73" fmla="*/ 86 h 235"/>
                <a:gd name="T74" fmla="*/ 65 w 309"/>
                <a:gd name="T75" fmla="*/ 86 h 235"/>
                <a:gd name="T76" fmla="*/ 73 w 309"/>
                <a:gd name="T77" fmla="*/ 22 h 235"/>
                <a:gd name="T78" fmla="*/ 74 w 309"/>
                <a:gd name="T79" fmla="*/ 214 h 235"/>
                <a:gd name="T80" fmla="*/ 21 w 309"/>
                <a:gd name="T81" fmla="*/ 160 h 235"/>
                <a:gd name="T82" fmla="*/ 74 w 309"/>
                <a:gd name="T83" fmla="*/ 107 h 235"/>
                <a:gd name="T84" fmla="*/ 128 w 309"/>
                <a:gd name="T85" fmla="*/ 160 h 235"/>
                <a:gd name="T86" fmla="*/ 74 w 309"/>
                <a:gd name="T87" fmla="*/ 214 h 235"/>
                <a:gd name="T88" fmla="*/ 272 w 309"/>
                <a:gd name="T89" fmla="*/ 214 h 235"/>
                <a:gd name="T90" fmla="*/ 256 w 309"/>
                <a:gd name="T91" fmla="*/ 198 h 235"/>
                <a:gd name="T92" fmla="*/ 272 w 309"/>
                <a:gd name="T93" fmla="*/ 182 h 235"/>
                <a:gd name="T94" fmla="*/ 288 w 309"/>
                <a:gd name="T95" fmla="*/ 198 h 235"/>
                <a:gd name="T96" fmla="*/ 272 w 309"/>
                <a:gd name="T97" fmla="*/ 214 h 235"/>
                <a:gd name="T98" fmla="*/ 234 w 309"/>
                <a:gd name="T99" fmla="*/ 128 h 235"/>
                <a:gd name="T100" fmla="*/ 245 w 309"/>
                <a:gd name="T101" fmla="*/ 139 h 235"/>
                <a:gd name="T102" fmla="*/ 234 w 309"/>
                <a:gd name="T103" fmla="*/ 150 h 235"/>
                <a:gd name="T104" fmla="*/ 213 w 309"/>
                <a:gd name="T105" fmla="*/ 150 h 235"/>
                <a:gd name="T106" fmla="*/ 202 w 309"/>
                <a:gd name="T107" fmla="*/ 139 h 235"/>
                <a:gd name="T108" fmla="*/ 213 w 309"/>
                <a:gd name="T109" fmla="*/ 128 h 235"/>
                <a:gd name="T110" fmla="*/ 234 w 309"/>
                <a:gd name="T111" fmla="*/ 12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9" h="235">
                  <a:moveTo>
                    <a:pt x="288" y="164"/>
                  </a:moveTo>
                  <a:cubicBezTo>
                    <a:pt x="288" y="107"/>
                    <a:pt x="288" y="107"/>
                    <a:pt x="288" y="107"/>
                  </a:cubicBezTo>
                  <a:cubicBezTo>
                    <a:pt x="288" y="95"/>
                    <a:pt x="278" y="86"/>
                    <a:pt x="266" y="86"/>
                  </a:cubicBezTo>
                  <a:cubicBezTo>
                    <a:pt x="245" y="86"/>
                    <a:pt x="245" y="86"/>
                    <a:pt x="245" y="86"/>
                  </a:cubicBezTo>
                  <a:cubicBezTo>
                    <a:pt x="245" y="32"/>
                    <a:pt x="245" y="32"/>
                    <a:pt x="245" y="32"/>
                  </a:cubicBezTo>
                  <a:cubicBezTo>
                    <a:pt x="245" y="21"/>
                    <a:pt x="235" y="11"/>
                    <a:pt x="224" y="11"/>
                  </a:cubicBezTo>
                  <a:cubicBezTo>
                    <a:pt x="218" y="11"/>
                    <a:pt x="213" y="16"/>
                    <a:pt x="213" y="22"/>
                  </a:cubicBezTo>
                  <a:cubicBezTo>
                    <a:pt x="213" y="28"/>
                    <a:pt x="218" y="32"/>
                    <a:pt x="224" y="32"/>
                  </a:cubicBezTo>
                  <a:cubicBezTo>
                    <a:pt x="224" y="86"/>
                    <a:pt x="224" y="86"/>
                    <a:pt x="224" y="86"/>
                  </a:cubicBezTo>
                  <a:cubicBezTo>
                    <a:pt x="168" y="86"/>
                    <a:pt x="168" y="86"/>
                    <a:pt x="168" y="86"/>
                  </a:cubicBezTo>
                  <a:cubicBezTo>
                    <a:pt x="149" y="20"/>
                    <a:pt x="149" y="20"/>
                    <a:pt x="149" y="20"/>
                  </a:cubicBezTo>
                  <a:cubicBezTo>
                    <a:pt x="148" y="9"/>
                    <a:pt x="139" y="0"/>
                    <a:pt x="12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58" y="0"/>
                    <a:pt x="54" y="4"/>
                    <a:pt x="53" y="10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17" y="105"/>
                    <a:pt x="0" y="130"/>
                    <a:pt x="0" y="160"/>
                  </a:cubicBezTo>
                  <a:cubicBezTo>
                    <a:pt x="0" y="202"/>
                    <a:pt x="33" y="235"/>
                    <a:pt x="74" y="235"/>
                  </a:cubicBezTo>
                  <a:cubicBezTo>
                    <a:pt x="95" y="235"/>
                    <a:pt x="113" y="227"/>
                    <a:pt x="127" y="213"/>
                  </a:cubicBezTo>
                  <a:cubicBezTo>
                    <a:pt x="127" y="214"/>
                    <a:pt x="127" y="214"/>
                    <a:pt x="128" y="214"/>
                  </a:cubicBezTo>
                  <a:cubicBezTo>
                    <a:pt x="238" y="214"/>
                    <a:pt x="238" y="214"/>
                    <a:pt x="238" y="214"/>
                  </a:cubicBezTo>
                  <a:cubicBezTo>
                    <a:pt x="244" y="226"/>
                    <a:pt x="257" y="235"/>
                    <a:pt x="272" y="235"/>
                  </a:cubicBezTo>
                  <a:cubicBezTo>
                    <a:pt x="292" y="235"/>
                    <a:pt x="309" y="218"/>
                    <a:pt x="309" y="198"/>
                  </a:cubicBezTo>
                  <a:cubicBezTo>
                    <a:pt x="309" y="183"/>
                    <a:pt x="300" y="170"/>
                    <a:pt x="288" y="164"/>
                  </a:cubicBezTo>
                  <a:close/>
                  <a:moveTo>
                    <a:pt x="266" y="161"/>
                  </a:moveTo>
                  <a:cubicBezTo>
                    <a:pt x="250" y="163"/>
                    <a:pt x="237" y="176"/>
                    <a:pt x="235" y="192"/>
                  </a:cubicBezTo>
                  <a:cubicBezTo>
                    <a:pt x="142" y="192"/>
                    <a:pt x="142" y="192"/>
                    <a:pt x="142" y="192"/>
                  </a:cubicBezTo>
                  <a:cubicBezTo>
                    <a:pt x="146" y="183"/>
                    <a:pt x="149" y="172"/>
                    <a:pt x="149" y="160"/>
                  </a:cubicBezTo>
                  <a:cubicBezTo>
                    <a:pt x="149" y="139"/>
                    <a:pt x="140" y="121"/>
                    <a:pt x="126" y="107"/>
                  </a:cubicBezTo>
                  <a:cubicBezTo>
                    <a:pt x="266" y="107"/>
                    <a:pt x="266" y="107"/>
                    <a:pt x="266" y="107"/>
                  </a:cubicBezTo>
                  <a:lnTo>
                    <a:pt x="266" y="161"/>
                  </a:lnTo>
                  <a:close/>
                  <a:moveTo>
                    <a:pt x="73" y="22"/>
                  </a:moveTo>
                  <a:cubicBezTo>
                    <a:pt x="128" y="22"/>
                    <a:pt x="128" y="22"/>
                    <a:pt x="128" y="22"/>
                  </a:cubicBezTo>
                  <a:cubicBezTo>
                    <a:pt x="128" y="23"/>
                    <a:pt x="128" y="24"/>
                    <a:pt x="128" y="25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85" y="86"/>
                    <a:pt x="85" y="86"/>
                    <a:pt x="85" y="86"/>
                  </a:cubicBezTo>
                  <a:cubicBezTo>
                    <a:pt x="84" y="86"/>
                    <a:pt x="83" y="86"/>
                    <a:pt x="83" y="86"/>
                  </a:cubicBezTo>
                  <a:cubicBezTo>
                    <a:pt x="80" y="86"/>
                    <a:pt x="77" y="86"/>
                    <a:pt x="74" y="86"/>
                  </a:cubicBezTo>
                  <a:cubicBezTo>
                    <a:pt x="71" y="86"/>
                    <a:pt x="68" y="86"/>
                    <a:pt x="65" y="86"/>
                  </a:cubicBezTo>
                  <a:lnTo>
                    <a:pt x="73" y="22"/>
                  </a:lnTo>
                  <a:close/>
                  <a:moveTo>
                    <a:pt x="74" y="214"/>
                  </a:moveTo>
                  <a:cubicBezTo>
                    <a:pt x="45" y="214"/>
                    <a:pt x="21" y="190"/>
                    <a:pt x="21" y="160"/>
                  </a:cubicBezTo>
                  <a:cubicBezTo>
                    <a:pt x="21" y="131"/>
                    <a:pt x="45" y="107"/>
                    <a:pt x="74" y="107"/>
                  </a:cubicBezTo>
                  <a:cubicBezTo>
                    <a:pt x="104" y="107"/>
                    <a:pt x="128" y="131"/>
                    <a:pt x="128" y="160"/>
                  </a:cubicBezTo>
                  <a:cubicBezTo>
                    <a:pt x="128" y="190"/>
                    <a:pt x="104" y="214"/>
                    <a:pt x="74" y="214"/>
                  </a:cubicBezTo>
                  <a:close/>
                  <a:moveTo>
                    <a:pt x="272" y="214"/>
                  </a:moveTo>
                  <a:cubicBezTo>
                    <a:pt x="263" y="214"/>
                    <a:pt x="256" y="206"/>
                    <a:pt x="256" y="198"/>
                  </a:cubicBezTo>
                  <a:cubicBezTo>
                    <a:pt x="256" y="189"/>
                    <a:pt x="263" y="182"/>
                    <a:pt x="272" y="182"/>
                  </a:cubicBezTo>
                  <a:cubicBezTo>
                    <a:pt x="280" y="182"/>
                    <a:pt x="288" y="189"/>
                    <a:pt x="288" y="198"/>
                  </a:cubicBezTo>
                  <a:cubicBezTo>
                    <a:pt x="288" y="206"/>
                    <a:pt x="280" y="214"/>
                    <a:pt x="272" y="214"/>
                  </a:cubicBezTo>
                  <a:close/>
                  <a:moveTo>
                    <a:pt x="234" y="128"/>
                  </a:moveTo>
                  <a:cubicBezTo>
                    <a:pt x="240" y="128"/>
                    <a:pt x="245" y="133"/>
                    <a:pt x="245" y="139"/>
                  </a:cubicBezTo>
                  <a:cubicBezTo>
                    <a:pt x="245" y="145"/>
                    <a:pt x="240" y="150"/>
                    <a:pt x="234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07" y="150"/>
                    <a:pt x="202" y="145"/>
                    <a:pt x="202" y="139"/>
                  </a:cubicBezTo>
                  <a:cubicBezTo>
                    <a:pt x="202" y="133"/>
                    <a:pt x="207" y="128"/>
                    <a:pt x="213" y="128"/>
                  </a:cubicBezTo>
                  <a:lnTo>
                    <a:pt x="234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9" name="Freeform 562"/>
          <p:cNvSpPr>
            <a:spLocks noChangeAspect="1" noEditPoints="1"/>
          </p:cNvSpPr>
          <p:nvPr/>
        </p:nvSpPr>
        <p:spPr bwMode="auto">
          <a:xfrm>
            <a:off x="4299849" y="3741591"/>
            <a:ext cx="369676" cy="369676"/>
          </a:xfrm>
          <a:custGeom>
            <a:avLst/>
            <a:gdLst>
              <a:gd name="T0" fmla="*/ 362 w 512"/>
              <a:gd name="T1" fmla="*/ 245 h 512"/>
              <a:gd name="T2" fmla="*/ 222 w 512"/>
              <a:gd name="T3" fmla="*/ 245 h 512"/>
              <a:gd name="T4" fmla="*/ 245 w 512"/>
              <a:gd name="T5" fmla="*/ 298 h 512"/>
              <a:gd name="T6" fmla="*/ 238 w 512"/>
              <a:gd name="T7" fmla="*/ 330 h 512"/>
              <a:gd name="T8" fmla="*/ 331 w 512"/>
              <a:gd name="T9" fmla="*/ 330 h 512"/>
              <a:gd name="T10" fmla="*/ 362 w 512"/>
              <a:gd name="T11" fmla="*/ 299 h 512"/>
              <a:gd name="T12" fmla="*/ 362 w 512"/>
              <a:gd name="T13" fmla="*/ 245 h 512"/>
              <a:gd name="T14" fmla="*/ 330 w 512"/>
              <a:gd name="T15" fmla="*/ 288 h 512"/>
              <a:gd name="T16" fmla="*/ 309 w 512"/>
              <a:gd name="T17" fmla="*/ 288 h 512"/>
              <a:gd name="T18" fmla="*/ 298 w 512"/>
              <a:gd name="T19" fmla="*/ 277 h 512"/>
              <a:gd name="T20" fmla="*/ 309 w 512"/>
              <a:gd name="T21" fmla="*/ 266 h 512"/>
              <a:gd name="T22" fmla="*/ 330 w 512"/>
              <a:gd name="T23" fmla="*/ 266 h 512"/>
              <a:gd name="T24" fmla="*/ 341 w 512"/>
              <a:gd name="T25" fmla="*/ 277 h 512"/>
              <a:gd name="T26" fmla="*/ 330 w 512"/>
              <a:gd name="T27" fmla="*/ 288 h 512"/>
              <a:gd name="T28" fmla="*/ 224 w 512"/>
              <a:gd name="T29" fmla="*/ 298 h 512"/>
              <a:gd name="T30" fmla="*/ 170 w 512"/>
              <a:gd name="T31" fmla="*/ 352 h 512"/>
              <a:gd name="T32" fmla="*/ 117 w 512"/>
              <a:gd name="T33" fmla="*/ 298 h 512"/>
              <a:gd name="T34" fmla="*/ 170 w 512"/>
              <a:gd name="T35" fmla="*/ 245 h 512"/>
              <a:gd name="T36" fmla="*/ 224 w 512"/>
              <a:gd name="T37" fmla="*/ 298 h 512"/>
              <a:gd name="T38" fmla="*/ 170 w 512"/>
              <a:gd name="T39" fmla="*/ 224 h 512"/>
              <a:gd name="T40" fmla="*/ 161 w 512"/>
              <a:gd name="T41" fmla="*/ 224 h 512"/>
              <a:gd name="T42" fmla="*/ 169 w 512"/>
              <a:gd name="T43" fmla="*/ 160 h 512"/>
              <a:gd name="T44" fmla="*/ 224 w 512"/>
              <a:gd name="T45" fmla="*/ 160 h 512"/>
              <a:gd name="T46" fmla="*/ 224 w 512"/>
              <a:gd name="T47" fmla="*/ 163 h 512"/>
              <a:gd name="T48" fmla="*/ 242 w 512"/>
              <a:gd name="T49" fmla="*/ 224 h 512"/>
              <a:gd name="T50" fmla="*/ 181 w 512"/>
              <a:gd name="T51" fmla="*/ 224 h 512"/>
              <a:gd name="T52" fmla="*/ 179 w 512"/>
              <a:gd name="T53" fmla="*/ 224 h 512"/>
              <a:gd name="T54" fmla="*/ 170 w 512"/>
              <a:gd name="T55" fmla="*/ 224 h 512"/>
              <a:gd name="T56" fmla="*/ 256 w 512"/>
              <a:gd name="T57" fmla="*/ 0 h 512"/>
              <a:gd name="T58" fmla="*/ 0 w 512"/>
              <a:gd name="T59" fmla="*/ 256 h 512"/>
              <a:gd name="T60" fmla="*/ 256 w 512"/>
              <a:gd name="T61" fmla="*/ 512 h 512"/>
              <a:gd name="T62" fmla="*/ 512 w 512"/>
              <a:gd name="T63" fmla="*/ 256 h 512"/>
              <a:gd name="T64" fmla="*/ 256 w 512"/>
              <a:gd name="T65" fmla="*/ 0 h 512"/>
              <a:gd name="T66" fmla="*/ 368 w 512"/>
              <a:gd name="T67" fmla="*/ 373 h 512"/>
              <a:gd name="T68" fmla="*/ 334 w 512"/>
              <a:gd name="T69" fmla="*/ 352 h 512"/>
              <a:gd name="T70" fmla="*/ 224 w 512"/>
              <a:gd name="T71" fmla="*/ 352 h 512"/>
              <a:gd name="T72" fmla="*/ 223 w 512"/>
              <a:gd name="T73" fmla="*/ 351 h 512"/>
              <a:gd name="T74" fmla="*/ 170 w 512"/>
              <a:gd name="T75" fmla="*/ 373 h 512"/>
              <a:gd name="T76" fmla="*/ 96 w 512"/>
              <a:gd name="T77" fmla="*/ 298 h 512"/>
              <a:gd name="T78" fmla="*/ 139 w 512"/>
              <a:gd name="T79" fmla="*/ 231 h 512"/>
              <a:gd name="T80" fmla="*/ 149 w 512"/>
              <a:gd name="T81" fmla="*/ 148 h 512"/>
              <a:gd name="T82" fmla="*/ 160 w 512"/>
              <a:gd name="T83" fmla="*/ 138 h 512"/>
              <a:gd name="T84" fmla="*/ 224 w 512"/>
              <a:gd name="T85" fmla="*/ 138 h 512"/>
              <a:gd name="T86" fmla="*/ 245 w 512"/>
              <a:gd name="T87" fmla="*/ 158 h 512"/>
              <a:gd name="T88" fmla="*/ 264 w 512"/>
              <a:gd name="T89" fmla="*/ 224 h 512"/>
              <a:gd name="T90" fmla="*/ 320 w 512"/>
              <a:gd name="T91" fmla="*/ 224 h 512"/>
              <a:gd name="T92" fmla="*/ 320 w 512"/>
              <a:gd name="T93" fmla="*/ 170 h 512"/>
              <a:gd name="T94" fmla="*/ 309 w 512"/>
              <a:gd name="T95" fmla="*/ 160 h 512"/>
              <a:gd name="T96" fmla="*/ 320 w 512"/>
              <a:gd name="T97" fmla="*/ 149 h 512"/>
              <a:gd name="T98" fmla="*/ 341 w 512"/>
              <a:gd name="T99" fmla="*/ 170 h 512"/>
              <a:gd name="T100" fmla="*/ 341 w 512"/>
              <a:gd name="T101" fmla="*/ 224 h 512"/>
              <a:gd name="T102" fmla="*/ 362 w 512"/>
              <a:gd name="T103" fmla="*/ 224 h 512"/>
              <a:gd name="T104" fmla="*/ 384 w 512"/>
              <a:gd name="T105" fmla="*/ 245 h 512"/>
              <a:gd name="T106" fmla="*/ 384 w 512"/>
              <a:gd name="T107" fmla="*/ 302 h 512"/>
              <a:gd name="T108" fmla="*/ 405 w 512"/>
              <a:gd name="T109" fmla="*/ 336 h 512"/>
              <a:gd name="T110" fmla="*/ 368 w 512"/>
              <a:gd name="T111" fmla="*/ 373 h 512"/>
              <a:gd name="T112" fmla="*/ 384 w 512"/>
              <a:gd name="T113" fmla="*/ 336 h 512"/>
              <a:gd name="T114" fmla="*/ 368 w 512"/>
              <a:gd name="T115" fmla="*/ 352 h 512"/>
              <a:gd name="T116" fmla="*/ 352 w 512"/>
              <a:gd name="T117" fmla="*/ 336 h 512"/>
              <a:gd name="T118" fmla="*/ 368 w 512"/>
              <a:gd name="T119" fmla="*/ 320 h 512"/>
              <a:gd name="T120" fmla="*/ 384 w 512"/>
              <a:gd name="T121" fmla="*/ 33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362" y="245"/>
                </a:moveTo>
                <a:cubicBezTo>
                  <a:pt x="222" y="245"/>
                  <a:pt x="222" y="245"/>
                  <a:pt x="222" y="245"/>
                </a:cubicBezTo>
                <a:cubicBezTo>
                  <a:pt x="236" y="259"/>
                  <a:pt x="245" y="277"/>
                  <a:pt x="245" y="298"/>
                </a:cubicBezTo>
                <a:cubicBezTo>
                  <a:pt x="245" y="310"/>
                  <a:pt x="242" y="321"/>
                  <a:pt x="238" y="330"/>
                </a:cubicBezTo>
                <a:cubicBezTo>
                  <a:pt x="331" y="330"/>
                  <a:pt x="331" y="330"/>
                  <a:pt x="331" y="330"/>
                </a:cubicBezTo>
                <a:cubicBezTo>
                  <a:pt x="333" y="314"/>
                  <a:pt x="346" y="301"/>
                  <a:pt x="362" y="299"/>
                </a:cubicBezTo>
                <a:lnTo>
                  <a:pt x="362" y="245"/>
                </a:lnTo>
                <a:close/>
                <a:moveTo>
                  <a:pt x="330" y="288"/>
                </a:moveTo>
                <a:cubicBezTo>
                  <a:pt x="309" y="288"/>
                  <a:pt x="309" y="288"/>
                  <a:pt x="309" y="288"/>
                </a:cubicBezTo>
                <a:cubicBezTo>
                  <a:pt x="303" y="288"/>
                  <a:pt x="298" y="283"/>
                  <a:pt x="298" y="277"/>
                </a:cubicBezTo>
                <a:cubicBezTo>
                  <a:pt x="298" y="271"/>
                  <a:pt x="303" y="266"/>
                  <a:pt x="309" y="266"/>
                </a:cubicBezTo>
                <a:cubicBezTo>
                  <a:pt x="330" y="266"/>
                  <a:pt x="330" y="266"/>
                  <a:pt x="330" y="266"/>
                </a:cubicBezTo>
                <a:cubicBezTo>
                  <a:pt x="336" y="266"/>
                  <a:pt x="341" y="271"/>
                  <a:pt x="341" y="277"/>
                </a:cubicBezTo>
                <a:cubicBezTo>
                  <a:pt x="341" y="283"/>
                  <a:pt x="336" y="288"/>
                  <a:pt x="330" y="288"/>
                </a:cubicBezTo>
                <a:close/>
                <a:moveTo>
                  <a:pt x="224" y="298"/>
                </a:moveTo>
                <a:cubicBezTo>
                  <a:pt x="224" y="328"/>
                  <a:pt x="200" y="352"/>
                  <a:pt x="170" y="352"/>
                </a:cubicBezTo>
                <a:cubicBezTo>
                  <a:pt x="141" y="352"/>
                  <a:pt x="117" y="328"/>
                  <a:pt x="117" y="298"/>
                </a:cubicBezTo>
                <a:cubicBezTo>
                  <a:pt x="117" y="269"/>
                  <a:pt x="141" y="245"/>
                  <a:pt x="170" y="245"/>
                </a:cubicBezTo>
                <a:cubicBezTo>
                  <a:pt x="200" y="245"/>
                  <a:pt x="224" y="269"/>
                  <a:pt x="224" y="298"/>
                </a:cubicBezTo>
                <a:close/>
                <a:moveTo>
                  <a:pt x="170" y="224"/>
                </a:moveTo>
                <a:cubicBezTo>
                  <a:pt x="167" y="224"/>
                  <a:pt x="164" y="224"/>
                  <a:pt x="161" y="224"/>
                </a:cubicBezTo>
                <a:cubicBezTo>
                  <a:pt x="169" y="160"/>
                  <a:pt x="169" y="160"/>
                  <a:pt x="169" y="1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1"/>
                  <a:pt x="224" y="162"/>
                  <a:pt x="224" y="163"/>
                </a:cubicBezTo>
                <a:cubicBezTo>
                  <a:pt x="242" y="224"/>
                  <a:pt x="242" y="224"/>
                  <a:pt x="242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80" y="224"/>
                  <a:pt x="179" y="224"/>
                  <a:pt x="179" y="224"/>
                </a:cubicBezTo>
                <a:cubicBezTo>
                  <a:pt x="176" y="224"/>
                  <a:pt x="173" y="224"/>
                  <a:pt x="170" y="22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8" y="373"/>
                </a:moveTo>
                <a:cubicBezTo>
                  <a:pt x="353" y="373"/>
                  <a:pt x="340" y="364"/>
                  <a:pt x="334" y="352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223" y="352"/>
                  <a:pt x="223" y="352"/>
                  <a:pt x="223" y="351"/>
                </a:cubicBezTo>
                <a:cubicBezTo>
                  <a:pt x="209" y="365"/>
                  <a:pt x="191" y="373"/>
                  <a:pt x="170" y="373"/>
                </a:cubicBezTo>
                <a:cubicBezTo>
                  <a:pt x="129" y="373"/>
                  <a:pt x="96" y="340"/>
                  <a:pt x="96" y="298"/>
                </a:cubicBezTo>
                <a:cubicBezTo>
                  <a:pt x="96" y="268"/>
                  <a:pt x="113" y="243"/>
                  <a:pt x="139" y="231"/>
                </a:cubicBezTo>
                <a:cubicBezTo>
                  <a:pt x="149" y="148"/>
                  <a:pt x="149" y="148"/>
                  <a:pt x="149" y="148"/>
                </a:cubicBezTo>
                <a:cubicBezTo>
                  <a:pt x="150" y="142"/>
                  <a:pt x="154" y="138"/>
                  <a:pt x="160" y="138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35" y="138"/>
                  <a:pt x="244" y="147"/>
                  <a:pt x="245" y="158"/>
                </a:cubicBezTo>
                <a:cubicBezTo>
                  <a:pt x="264" y="224"/>
                  <a:pt x="264" y="224"/>
                  <a:pt x="264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20" y="170"/>
                  <a:pt x="320" y="170"/>
                  <a:pt x="320" y="170"/>
                </a:cubicBezTo>
                <a:cubicBezTo>
                  <a:pt x="314" y="170"/>
                  <a:pt x="309" y="166"/>
                  <a:pt x="309" y="160"/>
                </a:cubicBezTo>
                <a:cubicBezTo>
                  <a:pt x="309" y="154"/>
                  <a:pt x="314" y="149"/>
                  <a:pt x="320" y="149"/>
                </a:cubicBezTo>
                <a:cubicBezTo>
                  <a:pt x="331" y="149"/>
                  <a:pt x="341" y="159"/>
                  <a:pt x="341" y="170"/>
                </a:cubicBezTo>
                <a:cubicBezTo>
                  <a:pt x="341" y="224"/>
                  <a:pt x="341" y="224"/>
                  <a:pt x="341" y="224"/>
                </a:cubicBezTo>
                <a:cubicBezTo>
                  <a:pt x="362" y="224"/>
                  <a:pt x="362" y="224"/>
                  <a:pt x="362" y="224"/>
                </a:cubicBezTo>
                <a:cubicBezTo>
                  <a:pt x="374" y="224"/>
                  <a:pt x="384" y="233"/>
                  <a:pt x="384" y="245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96" y="308"/>
                  <a:pt x="405" y="321"/>
                  <a:pt x="405" y="336"/>
                </a:cubicBezTo>
                <a:cubicBezTo>
                  <a:pt x="405" y="356"/>
                  <a:pt x="388" y="373"/>
                  <a:pt x="368" y="373"/>
                </a:cubicBezTo>
                <a:close/>
                <a:moveTo>
                  <a:pt x="384" y="336"/>
                </a:moveTo>
                <a:cubicBezTo>
                  <a:pt x="384" y="344"/>
                  <a:pt x="376" y="352"/>
                  <a:pt x="368" y="352"/>
                </a:cubicBezTo>
                <a:cubicBezTo>
                  <a:pt x="359" y="352"/>
                  <a:pt x="352" y="344"/>
                  <a:pt x="352" y="336"/>
                </a:cubicBezTo>
                <a:cubicBezTo>
                  <a:pt x="352" y="327"/>
                  <a:pt x="359" y="320"/>
                  <a:pt x="368" y="320"/>
                </a:cubicBezTo>
                <a:cubicBezTo>
                  <a:pt x="376" y="320"/>
                  <a:pt x="384" y="327"/>
                  <a:pt x="384" y="3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39" name="Group 986"/>
          <p:cNvGrpSpPr>
            <a:grpSpLocks noChangeAspect="1"/>
          </p:cNvGrpSpPr>
          <p:nvPr/>
        </p:nvGrpSpPr>
        <p:grpSpPr bwMode="auto">
          <a:xfrm>
            <a:off x="6726386" y="3741594"/>
            <a:ext cx="369021" cy="369021"/>
            <a:chOff x="4274" y="3998"/>
            <a:chExt cx="340" cy="340"/>
          </a:xfrm>
          <a:solidFill>
            <a:schemeClr val="accent5"/>
          </a:solidFill>
        </p:grpSpPr>
        <p:sp>
          <p:nvSpPr>
            <p:cNvPr id="240" name="Freeform 987"/>
            <p:cNvSpPr>
              <a:spLocks noEditPoints="1"/>
            </p:cNvSpPr>
            <p:nvPr/>
          </p:nvSpPr>
          <p:spPr bwMode="auto">
            <a:xfrm>
              <a:off x="4338" y="4068"/>
              <a:ext cx="212" cy="192"/>
            </a:xfrm>
            <a:custGeom>
              <a:avLst/>
              <a:gdLst>
                <a:gd name="T0" fmla="*/ 85 w 320"/>
                <a:gd name="T1" fmla="*/ 236 h 289"/>
                <a:gd name="T2" fmla="*/ 85 w 320"/>
                <a:gd name="T3" fmla="*/ 151 h 289"/>
                <a:gd name="T4" fmla="*/ 96 w 320"/>
                <a:gd name="T5" fmla="*/ 140 h 289"/>
                <a:gd name="T6" fmla="*/ 106 w 320"/>
                <a:gd name="T7" fmla="*/ 151 h 289"/>
                <a:gd name="T8" fmla="*/ 106 w 320"/>
                <a:gd name="T9" fmla="*/ 236 h 289"/>
                <a:gd name="T10" fmla="*/ 96 w 320"/>
                <a:gd name="T11" fmla="*/ 247 h 289"/>
                <a:gd name="T12" fmla="*/ 85 w 320"/>
                <a:gd name="T13" fmla="*/ 236 h 289"/>
                <a:gd name="T14" fmla="*/ 138 w 320"/>
                <a:gd name="T15" fmla="*/ 247 h 289"/>
                <a:gd name="T16" fmla="*/ 149 w 320"/>
                <a:gd name="T17" fmla="*/ 236 h 289"/>
                <a:gd name="T18" fmla="*/ 149 w 320"/>
                <a:gd name="T19" fmla="*/ 151 h 289"/>
                <a:gd name="T20" fmla="*/ 138 w 320"/>
                <a:gd name="T21" fmla="*/ 140 h 289"/>
                <a:gd name="T22" fmla="*/ 128 w 320"/>
                <a:gd name="T23" fmla="*/ 151 h 289"/>
                <a:gd name="T24" fmla="*/ 128 w 320"/>
                <a:gd name="T25" fmla="*/ 236 h 289"/>
                <a:gd name="T26" fmla="*/ 138 w 320"/>
                <a:gd name="T27" fmla="*/ 247 h 289"/>
                <a:gd name="T28" fmla="*/ 181 w 320"/>
                <a:gd name="T29" fmla="*/ 247 h 289"/>
                <a:gd name="T30" fmla="*/ 192 w 320"/>
                <a:gd name="T31" fmla="*/ 236 h 289"/>
                <a:gd name="T32" fmla="*/ 192 w 320"/>
                <a:gd name="T33" fmla="*/ 151 h 289"/>
                <a:gd name="T34" fmla="*/ 181 w 320"/>
                <a:gd name="T35" fmla="*/ 140 h 289"/>
                <a:gd name="T36" fmla="*/ 170 w 320"/>
                <a:gd name="T37" fmla="*/ 151 h 289"/>
                <a:gd name="T38" fmla="*/ 170 w 320"/>
                <a:gd name="T39" fmla="*/ 236 h 289"/>
                <a:gd name="T40" fmla="*/ 181 w 320"/>
                <a:gd name="T41" fmla="*/ 247 h 289"/>
                <a:gd name="T42" fmla="*/ 224 w 320"/>
                <a:gd name="T43" fmla="*/ 247 h 289"/>
                <a:gd name="T44" fmla="*/ 234 w 320"/>
                <a:gd name="T45" fmla="*/ 236 h 289"/>
                <a:gd name="T46" fmla="*/ 234 w 320"/>
                <a:gd name="T47" fmla="*/ 151 h 289"/>
                <a:gd name="T48" fmla="*/ 224 w 320"/>
                <a:gd name="T49" fmla="*/ 140 h 289"/>
                <a:gd name="T50" fmla="*/ 213 w 320"/>
                <a:gd name="T51" fmla="*/ 151 h 289"/>
                <a:gd name="T52" fmla="*/ 213 w 320"/>
                <a:gd name="T53" fmla="*/ 236 h 289"/>
                <a:gd name="T54" fmla="*/ 224 w 320"/>
                <a:gd name="T55" fmla="*/ 247 h 289"/>
                <a:gd name="T56" fmla="*/ 320 w 320"/>
                <a:gd name="T57" fmla="*/ 108 h 289"/>
                <a:gd name="T58" fmla="*/ 309 w 320"/>
                <a:gd name="T59" fmla="*/ 119 h 289"/>
                <a:gd name="T60" fmla="*/ 307 w 320"/>
                <a:gd name="T61" fmla="*/ 119 h 289"/>
                <a:gd name="T62" fmla="*/ 277 w 320"/>
                <a:gd name="T63" fmla="*/ 281 h 289"/>
                <a:gd name="T64" fmla="*/ 266 w 320"/>
                <a:gd name="T65" fmla="*/ 289 h 289"/>
                <a:gd name="T66" fmla="*/ 53 w 320"/>
                <a:gd name="T67" fmla="*/ 289 h 289"/>
                <a:gd name="T68" fmla="*/ 43 w 320"/>
                <a:gd name="T69" fmla="*/ 281 h 289"/>
                <a:gd name="T70" fmla="*/ 12 w 320"/>
                <a:gd name="T71" fmla="*/ 119 h 289"/>
                <a:gd name="T72" fmla="*/ 10 w 320"/>
                <a:gd name="T73" fmla="*/ 119 h 289"/>
                <a:gd name="T74" fmla="*/ 0 w 320"/>
                <a:gd name="T75" fmla="*/ 108 h 289"/>
                <a:gd name="T76" fmla="*/ 10 w 320"/>
                <a:gd name="T77" fmla="*/ 97 h 289"/>
                <a:gd name="T78" fmla="*/ 47 w 320"/>
                <a:gd name="T79" fmla="*/ 97 h 289"/>
                <a:gd name="T80" fmla="*/ 108 w 320"/>
                <a:gd name="T81" fmla="*/ 6 h 289"/>
                <a:gd name="T82" fmla="*/ 123 w 320"/>
                <a:gd name="T83" fmla="*/ 3 h 289"/>
                <a:gd name="T84" fmla="*/ 126 w 320"/>
                <a:gd name="T85" fmla="*/ 18 h 289"/>
                <a:gd name="T86" fmla="*/ 73 w 320"/>
                <a:gd name="T87" fmla="*/ 97 h 289"/>
                <a:gd name="T88" fmla="*/ 246 w 320"/>
                <a:gd name="T89" fmla="*/ 97 h 289"/>
                <a:gd name="T90" fmla="*/ 193 w 320"/>
                <a:gd name="T91" fmla="*/ 18 h 289"/>
                <a:gd name="T92" fmla="*/ 196 w 320"/>
                <a:gd name="T93" fmla="*/ 3 h 289"/>
                <a:gd name="T94" fmla="*/ 211 w 320"/>
                <a:gd name="T95" fmla="*/ 6 h 289"/>
                <a:gd name="T96" fmla="*/ 272 w 320"/>
                <a:gd name="T97" fmla="*/ 97 h 289"/>
                <a:gd name="T98" fmla="*/ 309 w 320"/>
                <a:gd name="T99" fmla="*/ 97 h 289"/>
                <a:gd name="T100" fmla="*/ 320 w 320"/>
                <a:gd name="T101" fmla="*/ 108 h 289"/>
                <a:gd name="T102" fmla="*/ 285 w 320"/>
                <a:gd name="T103" fmla="*/ 119 h 289"/>
                <a:gd name="T104" fmla="*/ 34 w 320"/>
                <a:gd name="T105" fmla="*/ 119 h 289"/>
                <a:gd name="T106" fmla="*/ 62 w 320"/>
                <a:gd name="T107" fmla="*/ 268 h 289"/>
                <a:gd name="T108" fmla="*/ 257 w 320"/>
                <a:gd name="T109" fmla="*/ 268 h 289"/>
                <a:gd name="T110" fmla="*/ 285 w 320"/>
                <a:gd name="T111" fmla="*/ 11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89">
                  <a:moveTo>
                    <a:pt x="85" y="236"/>
                  </a:moveTo>
                  <a:cubicBezTo>
                    <a:pt x="85" y="151"/>
                    <a:pt x="85" y="151"/>
                    <a:pt x="85" y="151"/>
                  </a:cubicBezTo>
                  <a:cubicBezTo>
                    <a:pt x="85" y="145"/>
                    <a:pt x="90" y="140"/>
                    <a:pt x="96" y="140"/>
                  </a:cubicBezTo>
                  <a:cubicBezTo>
                    <a:pt x="102" y="140"/>
                    <a:pt x="106" y="145"/>
                    <a:pt x="106" y="151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42"/>
                    <a:pt x="102" y="247"/>
                    <a:pt x="96" y="247"/>
                  </a:cubicBezTo>
                  <a:cubicBezTo>
                    <a:pt x="90" y="247"/>
                    <a:pt x="85" y="242"/>
                    <a:pt x="85" y="236"/>
                  </a:cubicBezTo>
                  <a:close/>
                  <a:moveTo>
                    <a:pt x="138" y="247"/>
                  </a:moveTo>
                  <a:cubicBezTo>
                    <a:pt x="144" y="247"/>
                    <a:pt x="149" y="242"/>
                    <a:pt x="149" y="236"/>
                  </a:cubicBezTo>
                  <a:cubicBezTo>
                    <a:pt x="149" y="151"/>
                    <a:pt x="149" y="151"/>
                    <a:pt x="149" y="151"/>
                  </a:cubicBezTo>
                  <a:cubicBezTo>
                    <a:pt x="149" y="145"/>
                    <a:pt x="144" y="140"/>
                    <a:pt x="138" y="140"/>
                  </a:cubicBezTo>
                  <a:cubicBezTo>
                    <a:pt x="132" y="140"/>
                    <a:pt x="128" y="145"/>
                    <a:pt x="128" y="151"/>
                  </a:cubicBezTo>
                  <a:cubicBezTo>
                    <a:pt x="128" y="236"/>
                    <a:pt x="128" y="236"/>
                    <a:pt x="128" y="236"/>
                  </a:cubicBezTo>
                  <a:cubicBezTo>
                    <a:pt x="128" y="242"/>
                    <a:pt x="132" y="247"/>
                    <a:pt x="138" y="247"/>
                  </a:cubicBezTo>
                  <a:close/>
                  <a:moveTo>
                    <a:pt x="181" y="247"/>
                  </a:moveTo>
                  <a:cubicBezTo>
                    <a:pt x="187" y="247"/>
                    <a:pt x="192" y="242"/>
                    <a:pt x="192" y="236"/>
                  </a:cubicBezTo>
                  <a:cubicBezTo>
                    <a:pt x="192" y="151"/>
                    <a:pt x="192" y="151"/>
                    <a:pt x="192" y="151"/>
                  </a:cubicBezTo>
                  <a:cubicBezTo>
                    <a:pt x="192" y="145"/>
                    <a:pt x="187" y="140"/>
                    <a:pt x="181" y="140"/>
                  </a:cubicBezTo>
                  <a:cubicBezTo>
                    <a:pt x="175" y="140"/>
                    <a:pt x="170" y="145"/>
                    <a:pt x="170" y="151"/>
                  </a:cubicBezTo>
                  <a:cubicBezTo>
                    <a:pt x="170" y="236"/>
                    <a:pt x="170" y="236"/>
                    <a:pt x="170" y="236"/>
                  </a:cubicBezTo>
                  <a:cubicBezTo>
                    <a:pt x="170" y="242"/>
                    <a:pt x="175" y="247"/>
                    <a:pt x="181" y="247"/>
                  </a:cubicBezTo>
                  <a:close/>
                  <a:moveTo>
                    <a:pt x="224" y="247"/>
                  </a:moveTo>
                  <a:cubicBezTo>
                    <a:pt x="230" y="247"/>
                    <a:pt x="234" y="242"/>
                    <a:pt x="234" y="236"/>
                  </a:cubicBezTo>
                  <a:cubicBezTo>
                    <a:pt x="234" y="151"/>
                    <a:pt x="234" y="151"/>
                    <a:pt x="234" y="151"/>
                  </a:cubicBezTo>
                  <a:cubicBezTo>
                    <a:pt x="234" y="145"/>
                    <a:pt x="230" y="140"/>
                    <a:pt x="224" y="140"/>
                  </a:cubicBezTo>
                  <a:cubicBezTo>
                    <a:pt x="218" y="140"/>
                    <a:pt x="213" y="145"/>
                    <a:pt x="213" y="151"/>
                  </a:cubicBezTo>
                  <a:cubicBezTo>
                    <a:pt x="213" y="236"/>
                    <a:pt x="213" y="236"/>
                    <a:pt x="213" y="236"/>
                  </a:cubicBezTo>
                  <a:cubicBezTo>
                    <a:pt x="213" y="242"/>
                    <a:pt x="218" y="247"/>
                    <a:pt x="224" y="247"/>
                  </a:cubicBezTo>
                  <a:close/>
                  <a:moveTo>
                    <a:pt x="320" y="108"/>
                  </a:moveTo>
                  <a:cubicBezTo>
                    <a:pt x="320" y="114"/>
                    <a:pt x="315" y="119"/>
                    <a:pt x="309" y="119"/>
                  </a:cubicBezTo>
                  <a:cubicBezTo>
                    <a:pt x="307" y="119"/>
                    <a:pt x="307" y="119"/>
                    <a:pt x="307" y="119"/>
                  </a:cubicBezTo>
                  <a:cubicBezTo>
                    <a:pt x="277" y="281"/>
                    <a:pt x="277" y="281"/>
                    <a:pt x="277" y="281"/>
                  </a:cubicBezTo>
                  <a:cubicBezTo>
                    <a:pt x="276" y="286"/>
                    <a:pt x="271" y="289"/>
                    <a:pt x="266" y="289"/>
                  </a:cubicBezTo>
                  <a:cubicBezTo>
                    <a:pt x="53" y="289"/>
                    <a:pt x="53" y="289"/>
                    <a:pt x="53" y="289"/>
                  </a:cubicBezTo>
                  <a:cubicBezTo>
                    <a:pt x="48" y="289"/>
                    <a:pt x="43" y="286"/>
                    <a:pt x="43" y="281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4" y="119"/>
                    <a:pt x="0" y="114"/>
                    <a:pt x="0" y="108"/>
                  </a:cubicBezTo>
                  <a:cubicBezTo>
                    <a:pt x="0" y="102"/>
                    <a:pt x="4" y="97"/>
                    <a:pt x="10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11" y="1"/>
                    <a:pt x="118" y="0"/>
                    <a:pt x="123" y="3"/>
                  </a:cubicBezTo>
                  <a:cubicBezTo>
                    <a:pt x="128" y="6"/>
                    <a:pt x="129" y="13"/>
                    <a:pt x="126" y="1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246" y="97"/>
                    <a:pt x="246" y="97"/>
                    <a:pt x="246" y="9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0" y="13"/>
                    <a:pt x="192" y="6"/>
                    <a:pt x="196" y="3"/>
                  </a:cubicBezTo>
                  <a:cubicBezTo>
                    <a:pt x="201" y="0"/>
                    <a:pt x="208" y="1"/>
                    <a:pt x="211" y="6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309" y="97"/>
                    <a:pt x="309" y="97"/>
                    <a:pt x="309" y="97"/>
                  </a:cubicBezTo>
                  <a:cubicBezTo>
                    <a:pt x="315" y="97"/>
                    <a:pt x="320" y="102"/>
                    <a:pt x="320" y="108"/>
                  </a:cubicBezTo>
                  <a:close/>
                  <a:moveTo>
                    <a:pt x="285" y="119"/>
                  </a:moveTo>
                  <a:cubicBezTo>
                    <a:pt x="34" y="119"/>
                    <a:pt x="34" y="119"/>
                    <a:pt x="34" y="119"/>
                  </a:cubicBezTo>
                  <a:cubicBezTo>
                    <a:pt x="62" y="268"/>
                    <a:pt x="62" y="268"/>
                    <a:pt x="62" y="268"/>
                  </a:cubicBezTo>
                  <a:cubicBezTo>
                    <a:pt x="257" y="268"/>
                    <a:pt x="257" y="268"/>
                    <a:pt x="257" y="268"/>
                  </a:cubicBezTo>
                  <a:lnTo>
                    <a:pt x="285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Freeform 988"/>
            <p:cNvSpPr>
              <a:spLocks noEditPoints="1"/>
            </p:cNvSpPr>
            <p:nvPr/>
          </p:nvSpPr>
          <p:spPr bwMode="auto">
            <a:xfrm>
              <a:off x="4274" y="39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2" name="Freeform 992"/>
          <p:cNvSpPr>
            <a:spLocks noChangeAspect="1" noEditPoints="1"/>
          </p:cNvSpPr>
          <p:nvPr/>
        </p:nvSpPr>
        <p:spPr bwMode="auto">
          <a:xfrm>
            <a:off x="6241775" y="3741594"/>
            <a:ext cx="369021" cy="369021"/>
          </a:xfrm>
          <a:custGeom>
            <a:avLst/>
            <a:gdLst>
              <a:gd name="T0" fmla="*/ 158 w 512"/>
              <a:gd name="T1" fmla="*/ 373 h 512"/>
              <a:gd name="T2" fmla="*/ 353 w 512"/>
              <a:gd name="T3" fmla="*/ 373 h 512"/>
              <a:gd name="T4" fmla="*/ 381 w 512"/>
              <a:gd name="T5" fmla="*/ 224 h 512"/>
              <a:gd name="T6" fmla="*/ 130 w 512"/>
              <a:gd name="T7" fmla="*/ 224 h 512"/>
              <a:gd name="T8" fmla="*/ 158 w 512"/>
              <a:gd name="T9" fmla="*/ 373 h 512"/>
              <a:gd name="T10" fmla="*/ 309 w 512"/>
              <a:gd name="T11" fmla="*/ 256 h 512"/>
              <a:gd name="T12" fmla="*/ 320 w 512"/>
              <a:gd name="T13" fmla="*/ 245 h 512"/>
              <a:gd name="T14" fmla="*/ 330 w 512"/>
              <a:gd name="T15" fmla="*/ 256 h 512"/>
              <a:gd name="T16" fmla="*/ 330 w 512"/>
              <a:gd name="T17" fmla="*/ 341 h 512"/>
              <a:gd name="T18" fmla="*/ 320 w 512"/>
              <a:gd name="T19" fmla="*/ 352 h 512"/>
              <a:gd name="T20" fmla="*/ 309 w 512"/>
              <a:gd name="T21" fmla="*/ 341 h 512"/>
              <a:gd name="T22" fmla="*/ 309 w 512"/>
              <a:gd name="T23" fmla="*/ 256 h 512"/>
              <a:gd name="T24" fmla="*/ 266 w 512"/>
              <a:gd name="T25" fmla="*/ 256 h 512"/>
              <a:gd name="T26" fmla="*/ 277 w 512"/>
              <a:gd name="T27" fmla="*/ 245 h 512"/>
              <a:gd name="T28" fmla="*/ 288 w 512"/>
              <a:gd name="T29" fmla="*/ 256 h 512"/>
              <a:gd name="T30" fmla="*/ 288 w 512"/>
              <a:gd name="T31" fmla="*/ 341 h 512"/>
              <a:gd name="T32" fmla="*/ 277 w 512"/>
              <a:gd name="T33" fmla="*/ 352 h 512"/>
              <a:gd name="T34" fmla="*/ 266 w 512"/>
              <a:gd name="T35" fmla="*/ 341 h 512"/>
              <a:gd name="T36" fmla="*/ 266 w 512"/>
              <a:gd name="T37" fmla="*/ 256 h 512"/>
              <a:gd name="T38" fmla="*/ 224 w 512"/>
              <a:gd name="T39" fmla="*/ 256 h 512"/>
              <a:gd name="T40" fmla="*/ 234 w 512"/>
              <a:gd name="T41" fmla="*/ 245 h 512"/>
              <a:gd name="T42" fmla="*/ 245 w 512"/>
              <a:gd name="T43" fmla="*/ 256 h 512"/>
              <a:gd name="T44" fmla="*/ 245 w 512"/>
              <a:gd name="T45" fmla="*/ 341 h 512"/>
              <a:gd name="T46" fmla="*/ 234 w 512"/>
              <a:gd name="T47" fmla="*/ 352 h 512"/>
              <a:gd name="T48" fmla="*/ 224 w 512"/>
              <a:gd name="T49" fmla="*/ 341 h 512"/>
              <a:gd name="T50" fmla="*/ 224 w 512"/>
              <a:gd name="T51" fmla="*/ 256 h 512"/>
              <a:gd name="T52" fmla="*/ 181 w 512"/>
              <a:gd name="T53" fmla="*/ 256 h 512"/>
              <a:gd name="T54" fmla="*/ 192 w 512"/>
              <a:gd name="T55" fmla="*/ 245 h 512"/>
              <a:gd name="T56" fmla="*/ 202 w 512"/>
              <a:gd name="T57" fmla="*/ 256 h 512"/>
              <a:gd name="T58" fmla="*/ 202 w 512"/>
              <a:gd name="T59" fmla="*/ 341 h 512"/>
              <a:gd name="T60" fmla="*/ 192 w 512"/>
              <a:gd name="T61" fmla="*/ 352 h 512"/>
              <a:gd name="T62" fmla="*/ 181 w 512"/>
              <a:gd name="T63" fmla="*/ 341 h 512"/>
              <a:gd name="T64" fmla="*/ 181 w 512"/>
              <a:gd name="T65" fmla="*/ 256 h 512"/>
              <a:gd name="T66" fmla="*/ 256 w 512"/>
              <a:gd name="T67" fmla="*/ 0 h 512"/>
              <a:gd name="T68" fmla="*/ 0 w 512"/>
              <a:gd name="T69" fmla="*/ 256 h 512"/>
              <a:gd name="T70" fmla="*/ 256 w 512"/>
              <a:gd name="T71" fmla="*/ 512 h 512"/>
              <a:gd name="T72" fmla="*/ 512 w 512"/>
              <a:gd name="T73" fmla="*/ 256 h 512"/>
              <a:gd name="T74" fmla="*/ 256 w 512"/>
              <a:gd name="T75" fmla="*/ 0 h 512"/>
              <a:gd name="T76" fmla="*/ 405 w 512"/>
              <a:gd name="T77" fmla="*/ 224 h 512"/>
              <a:gd name="T78" fmla="*/ 403 w 512"/>
              <a:gd name="T79" fmla="*/ 224 h 512"/>
              <a:gd name="T80" fmla="*/ 373 w 512"/>
              <a:gd name="T81" fmla="*/ 386 h 512"/>
              <a:gd name="T82" fmla="*/ 362 w 512"/>
              <a:gd name="T83" fmla="*/ 394 h 512"/>
              <a:gd name="T84" fmla="*/ 149 w 512"/>
              <a:gd name="T85" fmla="*/ 394 h 512"/>
              <a:gd name="T86" fmla="*/ 139 w 512"/>
              <a:gd name="T87" fmla="*/ 386 h 512"/>
              <a:gd name="T88" fmla="*/ 108 w 512"/>
              <a:gd name="T89" fmla="*/ 224 h 512"/>
              <a:gd name="T90" fmla="*/ 106 w 512"/>
              <a:gd name="T91" fmla="*/ 224 h 512"/>
              <a:gd name="T92" fmla="*/ 96 w 512"/>
              <a:gd name="T93" fmla="*/ 213 h 512"/>
              <a:gd name="T94" fmla="*/ 106 w 512"/>
              <a:gd name="T95" fmla="*/ 202 h 512"/>
              <a:gd name="T96" fmla="*/ 143 w 512"/>
              <a:gd name="T97" fmla="*/ 202 h 512"/>
              <a:gd name="T98" fmla="*/ 204 w 512"/>
              <a:gd name="T99" fmla="*/ 111 h 512"/>
              <a:gd name="T100" fmla="*/ 219 w 512"/>
              <a:gd name="T101" fmla="*/ 108 h 512"/>
              <a:gd name="T102" fmla="*/ 222 w 512"/>
              <a:gd name="T103" fmla="*/ 123 h 512"/>
              <a:gd name="T104" fmla="*/ 169 w 512"/>
              <a:gd name="T105" fmla="*/ 202 h 512"/>
              <a:gd name="T106" fmla="*/ 342 w 512"/>
              <a:gd name="T107" fmla="*/ 202 h 512"/>
              <a:gd name="T108" fmla="*/ 289 w 512"/>
              <a:gd name="T109" fmla="*/ 123 h 512"/>
              <a:gd name="T110" fmla="*/ 292 w 512"/>
              <a:gd name="T111" fmla="*/ 108 h 512"/>
              <a:gd name="T112" fmla="*/ 307 w 512"/>
              <a:gd name="T113" fmla="*/ 111 h 512"/>
              <a:gd name="T114" fmla="*/ 368 w 512"/>
              <a:gd name="T115" fmla="*/ 202 h 512"/>
              <a:gd name="T116" fmla="*/ 405 w 512"/>
              <a:gd name="T117" fmla="*/ 202 h 512"/>
              <a:gd name="T118" fmla="*/ 416 w 512"/>
              <a:gd name="T119" fmla="*/ 213 h 512"/>
              <a:gd name="T120" fmla="*/ 405 w 512"/>
              <a:gd name="T121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58" y="373"/>
                </a:moveTo>
                <a:cubicBezTo>
                  <a:pt x="353" y="373"/>
                  <a:pt x="353" y="373"/>
                  <a:pt x="353" y="373"/>
                </a:cubicBezTo>
                <a:cubicBezTo>
                  <a:pt x="381" y="224"/>
                  <a:pt x="381" y="224"/>
                  <a:pt x="381" y="224"/>
                </a:cubicBezTo>
                <a:cubicBezTo>
                  <a:pt x="130" y="224"/>
                  <a:pt x="130" y="224"/>
                  <a:pt x="130" y="224"/>
                </a:cubicBezTo>
                <a:lnTo>
                  <a:pt x="158" y="373"/>
                </a:lnTo>
                <a:close/>
                <a:moveTo>
                  <a:pt x="309" y="256"/>
                </a:moveTo>
                <a:cubicBezTo>
                  <a:pt x="309" y="250"/>
                  <a:pt x="314" y="245"/>
                  <a:pt x="320" y="245"/>
                </a:cubicBezTo>
                <a:cubicBezTo>
                  <a:pt x="326" y="245"/>
                  <a:pt x="330" y="250"/>
                  <a:pt x="330" y="256"/>
                </a:cubicBezTo>
                <a:cubicBezTo>
                  <a:pt x="330" y="341"/>
                  <a:pt x="330" y="341"/>
                  <a:pt x="330" y="341"/>
                </a:cubicBezTo>
                <a:cubicBezTo>
                  <a:pt x="330" y="347"/>
                  <a:pt x="326" y="352"/>
                  <a:pt x="320" y="352"/>
                </a:cubicBezTo>
                <a:cubicBezTo>
                  <a:pt x="314" y="352"/>
                  <a:pt x="309" y="347"/>
                  <a:pt x="309" y="341"/>
                </a:cubicBezTo>
                <a:lnTo>
                  <a:pt x="309" y="256"/>
                </a:lnTo>
                <a:close/>
                <a:moveTo>
                  <a:pt x="266" y="256"/>
                </a:moveTo>
                <a:cubicBezTo>
                  <a:pt x="266" y="250"/>
                  <a:pt x="271" y="245"/>
                  <a:pt x="277" y="245"/>
                </a:cubicBezTo>
                <a:cubicBezTo>
                  <a:pt x="283" y="245"/>
                  <a:pt x="288" y="250"/>
                  <a:pt x="288" y="256"/>
                </a:cubicBezTo>
                <a:cubicBezTo>
                  <a:pt x="288" y="341"/>
                  <a:pt x="288" y="341"/>
                  <a:pt x="288" y="341"/>
                </a:cubicBezTo>
                <a:cubicBezTo>
                  <a:pt x="288" y="347"/>
                  <a:pt x="283" y="352"/>
                  <a:pt x="277" y="352"/>
                </a:cubicBezTo>
                <a:cubicBezTo>
                  <a:pt x="271" y="352"/>
                  <a:pt x="266" y="347"/>
                  <a:pt x="266" y="341"/>
                </a:cubicBezTo>
                <a:lnTo>
                  <a:pt x="266" y="256"/>
                </a:lnTo>
                <a:close/>
                <a:moveTo>
                  <a:pt x="224" y="256"/>
                </a:moveTo>
                <a:cubicBezTo>
                  <a:pt x="224" y="250"/>
                  <a:pt x="228" y="245"/>
                  <a:pt x="234" y="245"/>
                </a:cubicBezTo>
                <a:cubicBezTo>
                  <a:pt x="240" y="245"/>
                  <a:pt x="245" y="250"/>
                  <a:pt x="245" y="256"/>
                </a:cubicBezTo>
                <a:cubicBezTo>
                  <a:pt x="245" y="341"/>
                  <a:pt x="245" y="341"/>
                  <a:pt x="245" y="341"/>
                </a:cubicBezTo>
                <a:cubicBezTo>
                  <a:pt x="245" y="347"/>
                  <a:pt x="240" y="352"/>
                  <a:pt x="234" y="352"/>
                </a:cubicBezTo>
                <a:cubicBezTo>
                  <a:pt x="228" y="352"/>
                  <a:pt x="224" y="347"/>
                  <a:pt x="224" y="341"/>
                </a:cubicBezTo>
                <a:lnTo>
                  <a:pt x="224" y="256"/>
                </a:lnTo>
                <a:close/>
                <a:moveTo>
                  <a:pt x="181" y="256"/>
                </a:moveTo>
                <a:cubicBezTo>
                  <a:pt x="181" y="250"/>
                  <a:pt x="186" y="245"/>
                  <a:pt x="192" y="245"/>
                </a:cubicBezTo>
                <a:cubicBezTo>
                  <a:pt x="198" y="245"/>
                  <a:pt x="202" y="250"/>
                  <a:pt x="202" y="256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7"/>
                  <a:pt x="198" y="352"/>
                  <a:pt x="192" y="352"/>
                </a:cubicBezTo>
                <a:cubicBezTo>
                  <a:pt x="186" y="352"/>
                  <a:pt x="181" y="347"/>
                  <a:pt x="181" y="341"/>
                </a:cubicBezTo>
                <a:lnTo>
                  <a:pt x="181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24"/>
                </a:moveTo>
                <a:cubicBezTo>
                  <a:pt x="403" y="224"/>
                  <a:pt x="403" y="224"/>
                  <a:pt x="403" y="224"/>
                </a:cubicBezTo>
                <a:cubicBezTo>
                  <a:pt x="373" y="386"/>
                  <a:pt x="373" y="386"/>
                  <a:pt x="373" y="386"/>
                </a:cubicBezTo>
                <a:cubicBezTo>
                  <a:pt x="372" y="391"/>
                  <a:pt x="367" y="394"/>
                  <a:pt x="362" y="394"/>
                </a:cubicBezTo>
                <a:cubicBezTo>
                  <a:pt x="149" y="394"/>
                  <a:pt x="149" y="394"/>
                  <a:pt x="149" y="394"/>
                </a:cubicBezTo>
                <a:cubicBezTo>
                  <a:pt x="144" y="394"/>
                  <a:pt x="139" y="391"/>
                  <a:pt x="139" y="386"/>
                </a:cubicBezTo>
                <a:cubicBezTo>
                  <a:pt x="108" y="224"/>
                  <a:pt x="108" y="224"/>
                  <a:pt x="108" y="224"/>
                </a:cubicBezTo>
                <a:cubicBezTo>
                  <a:pt x="106" y="224"/>
                  <a:pt x="106" y="224"/>
                  <a:pt x="106" y="224"/>
                </a:cubicBezTo>
                <a:cubicBezTo>
                  <a:pt x="100" y="224"/>
                  <a:pt x="96" y="219"/>
                  <a:pt x="96" y="213"/>
                </a:cubicBezTo>
                <a:cubicBezTo>
                  <a:pt x="96" y="207"/>
                  <a:pt x="100" y="202"/>
                  <a:pt x="106" y="202"/>
                </a:cubicBezTo>
                <a:cubicBezTo>
                  <a:pt x="143" y="202"/>
                  <a:pt x="143" y="202"/>
                  <a:pt x="143" y="202"/>
                </a:cubicBezTo>
                <a:cubicBezTo>
                  <a:pt x="204" y="111"/>
                  <a:pt x="204" y="111"/>
                  <a:pt x="204" y="111"/>
                </a:cubicBezTo>
                <a:cubicBezTo>
                  <a:pt x="207" y="106"/>
                  <a:pt x="214" y="105"/>
                  <a:pt x="219" y="108"/>
                </a:cubicBezTo>
                <a:cubicBezTo>
                  <a:pt x="224" y="111"/>
                  <a:pt x="225" y="118"/>
                  <a:pt x="222" y="123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342" y="202"/>
                  <a:pt x="342" y="202"/>
                  <a:pt x="342" y="202"/>
                </a:cubicBezTo>
                <a:cubicBezTo>
                  <a:pt x="289" y="123"/>
                  <a:pt x="289" y="123"/>
                  <a:pt x="289" y="123"/>
                </a:cubicBezTo>
                <a:cubicBezTo>
                  <a:pt x="286" y="118"/>
                  <a:pt x="288" y="111"/>
                  <a:pt x="292" y="108"/>
                </a:cubicBezTo>
                <a:cubicBezTo>
                  <a:pt x="297" y="105"/>
                  <a:pt x="304" y="106"/>
                  <a:pt x="307" y="111"/>
                </a:cubicBezTo>
                <a:cubicBezTo>
                  <a:pt x="368" y="202"/>
                  <a:pt x="368" y="202"/>
                  <a:pt x="368" y="202"/>
                </a:cubicBezTo>
                <a:cubicBezTo>
                  <a:pt x="405" y="202"/>
                  <a:pt x="405" y="202"/>
                  <a:pt x="405" y="202"/>
                </a:cubicBezTo>
                <a:cubicBezTo>
                  <a:pt x="411" y="202"/>
                  <a:pt x="416" y="207"/>
                  <a:pt x="416" y="213"/>
                </a:cubicBezTo>
                <a:cubicBezTo>
                  <a:pt x="416" y="219"/>
                  <a:pt x="411" y="224"/>
                  <a:pt x="405" y="22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3" name="Freeform 996"/>
          <p:cNvSpPr>
            <a:spLocks noChangeAspect="1" noEditPoints="1"/>
          </p:cNvSpPr>
          <p:nvPr/>
        </p:nvSpPr>
        <p:spPr bwMode="auto">
          <a:xfrm>
            <a:off x="5756079" y="3741594"/>
            <a:ext cx="370106" cy="369021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  <a:gd name="T20" fmla="*/ 362 w 512"/>
              <a:gd name="T21" fmla="*/ 170 h 512"/>
              <a:gd name="T22" fmla="*/ 309 w 512"/>
              <a:gd name="T23" fmla="*/ 170 h 512"/>
              <a:gd name="T24" fmla="*/ 309 w 512"/>
              <a:gd name="T25" fmla="*/ 149 h 512"/>
              <a:gd name="T26" fmla="*/ 256 w 512"/>
              <a:gd name="T27" fmla="*/ 96 h 512"/>
              <a:gd name="T28" fmla="*/ 202 w 512"/>
              <a:gd name="T29" fmla="*/ 149 h 512"/>
              <a:gd name="T30" fmla="*/ 202 w 512"/>
              <a:gd name="T31" fmla="*/ 170 h 512"/>
              <a:gd name="T32" fmla="*/ 149 w 512"/>
              <a:gd name="T33" fmla="*/ 170 h 512"/>
              <a:gd name="T34" fmla="*/ 138 w 512"/>
              <a:gd name="T35" fmla="*/ 181 h 512"/>
              <a:gd name="T36" fmla="*/ 138 w 512"/>
              <a:gd name="T37" fmla="*/ 405 h 512"/>
              <a:gd name="T38" fmla="*/ 149 w 512"/>
              <a:gd name="T39" fmla="*/ 416 h 512"/>
              <a:gd name="T40" fmla="*/ 362 w 512"/>
              <a:gd name="T41" fmla="*/ 416 h 512"/>
              <a:gd name="T42" fmla="*/ 373 w 512"/>
              <a:gd name="T43" fmla="*/ 405 h 512"/>
              <a:gd name="T44" fmla="*/ 373 w 512"/>
              <a:gd name="T45" fmla="*/ 181 h 512"/>
              <a:gd name="T46" fmla="*/ 362 w 512"/>
              <a:gd name="T47" fmla="*/ 170 h 512"/>
              <a:gd name="T48" fmla="*/ 224 w 512"/>
              <a:gd name="T49" fmla="*/ 149 h 512"/>
              <a:gd name="T50" fmla="*/ 256 w 512"/>
              <a:gd name="T51" fmla="*/ 117 h 512"/>
              <a:gd name="T52" fmla="*/ 288 w 512"/>
              <a:gd name="T53" fmla="*/ 149 h 512"/>
              <a:gd name="T54" fmla="*/ 288 w 512"/>
              <a:gd name="T55" fmla="*/ 170 h 512"/>
              <a:gd name="T56" fmla="*/ 224 w 512"/>
              <a:gd name="T57" fmla="*/ 170 h 512"/>
              <a:gd name="T58" fmla="*/ 224 w 512"/>
              <a:gd name="T59" fmla="*/ 149 h 512"/>
              <a:gd name="T60" fmla="*/ 352 w 512"/>
              <a:gd name="T61" fmla="*/ 394 h 512"/>
              <a:gd name="T62" fmla="*/ 160 w 512"/>
              <a:gd name="T63" fmla="*/ 394 h 512"/>
              <a:gd name="T64" fmla="*/ 160 w 512"/>
              <a:gd name="T65" fmla="*/ 192 h 512"/>
              <a:gd name="T66" fmla="*/ 202 w 512"/>
              <a:gd name="T67" fmla="*/ 192 h 512"/>
              <a:gd name="T68" fmla="*/ 202 w 512"/>
              <a:gd name="T69" fmla="*/ 213 h 512"/>
              <a:gd name="T70" fmla="*/ 213 w 512"/>
              <a:gd name="T71" fmla="*/ 224 h 512"/>
              <a:gd name="T72" fmla="*/ 224 w 512"/>
              <a:gd name="T73" fmla="*/ 213 h 512"/>
              <a:gd name="T74" fmla="*/ 224 w 512"/>
              <a:gd name="T75" fmla="*/ 192 h 512"/>
              <a:gd name="T76" fmla="*/ 288 w 512"/>
              <a:gd name="T77" fmla="*/ 192 h 512"/>
              <a:gd name="T78" fmla="*/ 288 w 512"/>
              <a:gd name="T79" fmla="*/ 213 h 512"/>
              <a:gd name="T80" fmla="*/ 298 w 512"/>
              <a:gd name="T81" fmla="*/ 224 h 512"/>
              <a:gd name="T82" fmla="*/ 309 w 512"/>
              <a:gd name="T83" fmla="*/ 213 h 512"/>
              <a:gd name="T84" fmla="*/ 309 w 512"/>
              <a:gd name="T85" fmla="*/ 192 h 512"/>
              <a:gd name="T86" fmla="*/ 352 w 512"/>
              <a:gd name="T87" fmla="*/ 192 h 512"/>
              <a:gd name="T88" fmla="*/ 352 w 512"/>
              <a:gd name="T89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62" y="170"/>
                </a:moveTo>
                <a:cubicBezTo>
                  <a:pt x="309" y="170"/>
                  <a:pt x="309" y="170"/>
                  <a:pt x="309" y="170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20"/>
                  <a:pt x="285" y="96"/>
                  <a:pt x="256" y="96"/>
                </a:cubicBezTo>
                <a:cubicBezTo>
                  <a:pt x="226" y="96"/>
                  <a:pt x="202" y="120"/>
                  <a:pt x="202" y="149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49" y="170"/>
                  <a:pt x="149" y="170"/>
                  <a:pt x="149" y="170"/>
                </a:cubicBezTo>
                <a:cubicBezTo>
                  <a:pt x="143" y="170"/>
                  <a:pt x="138" y="175"/>
                  <a:pt x="138" y="181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81"/>
                  <a:pt x="373" y="181"/>
                  <a:pt x="373" y="181"/>
                </a:cubicBezTo>
                <a:cubicBezTo>
                  <a:pt x="373" y="175"/>
                  <a:pt x="368" y="170"/>
                  <a:pt x="362" y="170"/>
                </a:cubicBezTo>
                <a:close/>
                <a:moveTo>
                  <a:pt x="224" y="149"/>
                </a:moveTo>
                <a:cubicBezTo>
                  <a:pt x="224" y="131"/>
                  <a:pt x="238" y="117"/>
                  <a:pt x="256" y="117"/>
                </a:cubicBezTo>
                <a:cubicBezTo>
                  <a:pt x="273" y="117"/>
                  <a:pt x="288" y="131"/>
                  <a:pt x="288" y="149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24" y="170"/>
                  <a:pt x="224" y="170"/>
                  <a:pt x="224" y="170"/>
                </a:cubicBezTo>
                <a:lnTo>
                  <a:pt x="224" y="149"/>
                </a:lnTo>
                <a:close/>
                <a:moveTo>
                  <a:pt x="352" y="394"/>
                </a:moveTo>
                <a:cubicBezTo>
                  <a:pt x="160" y="394"/>
                  <a:pt x="160" y="394"/>
                  <a:pt x="160" y="394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19"/>
                  <a:pt x="207" y="224"/>
                  <a:pt x="213" y="224"/>
                </a:cubicBezTo>
                <a:cubicBezTo>
                  <a:pt x="219" y="224"/>
                  <a:pt x="224" y="219"/>
                  <a:pt x="224" y="213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04" y="224"/>
                  <a:pt x="309" y="219"/>
                  <a:pt x="309" y="213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52" y="192"/>
                  <a:pt x="352" y="192"/>
                  <a:pt x="352" y="192"/>
                </a:cubicBezTo>
                <a:lnTo>
                  <a:pt x="352" y="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4" name="Freeform 1000"/>
          <p:cNvSpPr>
            <a:spLocks noChangeAspect="1" noEditPoints="1"/>
          </p:cNvSpPr>
          <p:nvPr/>
        </p:nvSpPr>
        <p:spPr bwMode="auto">
          <a:xfrm>
            <a:off x="5271468" y="374159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3 w 512"/>
              <a:gd name="T11" fmla="*/ 405 h 512"/>
              <a:gd name="T12" fmla="*/ 362 w 512"/>
              <a:gd name="T13" fmla="*/ 416 h 512"/>
              <a:gd name="T14" fmla="*/ 149 w 512"/>
              <a:gd name="T15" fmla="*/ 416 h 512"/>
              <a:gd name="T16" fmla="*/ 138 w 512"/>
              <a:gd name="T17" fmla="*/ 405 h 512"/>
              <a:gd name="T18" fmla="*/ 138 w 512"/>
              <a:gd name="T19" fmla="*/ 181 h 512"/>
              <a:gd name="T20" fmla="*/ 149 w 512"/>
              <a:gd name="T21" fmla="*/ 170 h 512"/>
              <a:gd name="T22" fmla="*/ 202 w 512"/>
              <a:gd name="T23" fmla="*/ 170 h 512"/>
              <a:gd name="T24" fmla="*/ 202 w 512"/>
              <a:gd name="T25" fmla="*/ 149 h 512"/>
              <a:gd name="T26" fmla="*/ 256 w 512"/>
              <a:gd name="T27" fmla="*/ 96 h 512"/>
              <a:gd name="T28" fmla="*/ 309 w 512"/>
              <a:gd name="T29" fmla="*/ 149 h 512"/>
              <a:gd name="T30" fmla="*/ 309 w 512"/>
              <a:gd name="T31" fmla="*/ 170 h 512"/>
              <a:gd name="T32" fmla="*/ 362 w 512"/>
              <a:gd name="T33" fmla="*/ 170 h 512"/>
              <a:gd name="T34" fmla="*/ 373 w 512"/>
              <a:gd name="T35" fmla="*/ 181 h 512"/>
              <a:gd name="T36" fmla="*/ 373 w 512"/>
              <a:gd name="T37" fmla="*/ 405 h 512"/>
              <a:gd name="T38" fmla="*/ 288 w 512"/>
              <a:gd name="T39" fmla="*/ 170 h 512"/>
              <a:gd name="T40" fmla="*/ 224 w 512"/>
              <a:gd name="T41" fmla="*/ 170 h 512"/>
              <a:gd name="T42" fmla="*/ 224 w 512"/>
              <a:gd name="T43" fmla="*/ 149 h 512"/>
              <a:gd name="T44" fmla="*/ 256 w 512"/>
              <a:gd name="T45" fmla="*/ 117 h 512"/>
              <a:gd name="T46" fmla="*/ 288 w 512"/>
              <a:gd name="T47" fmla="*/ 149 h 512"/>
              <a:gd name="T48" fmla="*/ 288 w 512"/>
              <a:gd name="T49" fmla="*/ 170 h 512"/>
              <a:gd name="T50" fmla="*/ 309 w 512"/>
              <a:gd name="T51" fmla="*/ 192 h 512"/>
              <a:gd name="T52" fmla="*/ 352 w 512"/>
              <a:gd name="T53" fmla="*/ 192 h 512"/>
              <a:gd name="T54" fmla="*/ 352 w 512"/>
              <a:gd name="T55" fmla="*/ 394 h 512"/>
              <a:gd name="T56" fmla="*/ 160 w 512"/>
              <a:gd name="T57" fmla="*/ 394 h 512"/>
              <a:gd name="T58" fmla="*/ 160 w 512"/>
              <a:gd name="T59" fmla="*/ 192 h 512"/>
              <a:gd name="T60" fmla="*/ 202 w 512"/>
              <a:gd name="T61" fmla="*/ 192 h 512"/>
              <a:gd name="T62" fmla="*/ 202 w 512"/>
              <a:gd name="T63" fmla="*/ 213 h 512"/>
              <a:gd name="T64" fmla="*/ 213 w 512"/>
              <a:gd name="T65" fmla="*/ 224 h 512"/>
              <a:gd name="T66" fmla="*/ 224 w 512"/>
              <a:gd name="T67" fmla="*/ 213 h 512"/>
              <a:gd name="T68" fmla="*/ 224 w 512"/>
              <a:gd name="T69" fmla="*/ 192 h 512"/>
              <a:gd name="T70" fmla="*/ 288 w 512"/>
              <a:gd name="T71" fmla="*/ 192 h 512"/>
              <a:gd name="T72" fmla="*/ 288 w 512"/>
              <a:gd name="T73" fmla="*/ 213 h 512"/>
              <a:gd name="T74" fmla="*/ 298 w 512"/>
              <a:gd name="T75" fmla="*/ 224 h 512"/>
              <a:gd name="T76" fmla="*/ 309 w 512"/>
              <a:gd name="T77" fmla="*/ 213 h 512"/>
              <a:gd name="T78" fmla="*/ 309 w 512"/>
              <a:gd name="T79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8" y="175"/>
                  <a:pt x="143" y="170"/>
                  <a:pt x="149" y="170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2" y="120"/>
                  <a:pt x="226" y="96"/>
                  <a:pt x="256" y="96"/>
                </a:cubicBezTo>
                <a:cubicBezTo>
                  <a:pt x="285" y="96"/>
                  <a:pt x="309" y="120"/>
                  <a:pt x="309" y="149"/>
                </a:cubicBezTo>
                <a:cubicBezTo>
                  <a:pt x="309" y="170"/>
                  <a:pt x="309" y="170"/>
                  <a:pt x="309" y="170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8" y="170"/>
                  <a:pt x="373" y="175"/>
                  <a:pt x="373" y="181"/>
                </a:cubicBezTo>
                <a:lnTo>
                  <a:pt x="373" y="405"/>
                </a:lnTo>
                <a:close/>
                <a:moveTo>
                  <a:pt x="288" y="170"/>
                </a:moveTo>
                <a:cubicBezTo>
                  <a:pt x="224" y="170"/>
                  <a:pt x="224" y="170"/>
                  <a:pt x="224" y="170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24" y="131"/>
                  <a:pt x="238" y="117"/>
                  <a:pt x="256" y="117"/>
                </a:cubicBezTo>
                <a:cubicBezTo>
                  <a:pt x="273" y="117"/>
                  <a:pt x="288" y="131"/>
                  <a:pt x="288" y="149"/>
                </a:cubicBezTo>
                <a:lnTo>
                  <a:pt x="288" y="170"/>
                </a:lnTo>
                <a:close/>
                <a:moveTo>
                  <a:pt x="309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60" y="394"/>
                  <a:pt x="160" y="394"/>
                  <a:pt x="160" y="394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219"/>
                  <a:pt x="207" y="224"/>
                  <a:pt x="213" y="224"/>
                </a:cubicBezTo>
                <a:cubicBezTo>
                  <a:pt x="219" y="224"/>
                  <a:pt x="224" y="219"/>
                  <a:pt x="224" y="213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88" y="192"/>
                  <a:pt x="288" y="192"/>
                  <a:pt x="288" y="192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219"/>
                  <a:pt x="292" y="224"/>
                  <a:pt x="298" y="224"/>
                </a:cubicBezTo>
                <a:cubicBezTo>
                  <a:pt x="304" y="224"/>
                  <a:pt x="309" y="219"/>
                  <a:pt x="309" y="213"/>
                </a:cubicBezTo>
                <a:lnTo>
                  <a:pt x="309" y="19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2" name="TextBox 141"/>
          <p:cNvSpPr txBox="1"/>
          <p:nvPr/>
        </p:nvSpPr>
        <p:spPr>
          <a:xfrm>
            <a:off x="7235114" y="418608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Egg timer</a:t>
            </a:r>
          </a:p>
        </p:txBody>
      </p:sp>
      <p:sp>
        <p:nvSpPr>
          <p:cNvPr id="143" name="Freeform 444"/>
          <p:cNvSpPr>
            <a:spLocks noChangeAspect="1" noEditPoints="1"/>
          </p:cNvSpPr>
          <p:nvPr/>
        </p:nvSpPr>
        <p:spPr bwMode="auto">
          <a:xfrm>
            <a:off x="7210997" y="3741594"/>
            <a:ext cx="367631" cy="367631"/>
          </a:xfrm>
          <a:custGeom>
            <a:avLst/>
            <a:gdLst>
              <a:gd name="T0" fmla="*/ 281 w 512"/>
              <a:gd name="T1" fmla="*/ 209 h 512"/>
              <a:gd name="T2" fmla="*/ 266 w 512"/>
              <a:gd name="T3" fmla="*/ 256 h 512"/>
              <a:gd name="T4" fmla="*/ 271 w 512"/>
              <a:gd name="T5" fmla="*/ 282 h 512"/>
              <a:gd name="T6" fmla="*/ 271 w 512"/>
              <a:gd name="T7" fmla="*/ 283 h 512"/>
              <a:gd name="T8" fmla="*/ 274 w 512"/>
              <a:gd name="T9" fmla="*/ 291 h 512"/>
              <a:gd name="T10" fmla="*/ 281 w 512"/>
              <a:gd name="T11" fmla="*/ 304 h 512"/>
              <a:gd name="T12" fmla="*/ 290 w 512"/>
              <a:gd name="T13" fmla="*/ 320 h 512"/>
              <a:gd name="T14" fmla="*/ 222 w 512"/>
              <a:gd name="T15" fmla="*/ 320 h 512"/>
              <a:gd name="T16" fmla="*/ 230 w 512"/>
              <a:gd name="T17" fmla="*/ 304 h 512"/>
              <a:gd name="T18" fmla="*/ 237 w 512"/>
              <a:gd name="T19" fmla="*/ 291 h 512"/>
              <a:gd name="T20" fmla="*/ 240 w 512"/>
              <a:gd name="T21" fmla="*/ 283 h 512"/>
              <a:gd name="T22" fmla="*/ 241 w 512"/>
              <a:gd name="T23" fmla="*/ 282 h 512"/>
              <a:gd name="T24" fmla="*/ 245 w 512"/>
              <a:gd name="T25" fmla="*/ 256 h 512"/>
              <a:gd name="T26" fmla="*/ 231 w 512"/>
              <a:gd name="T27" fmla="*/ 209 h 512"/>
              <a:gd name="T28" fmla="*/ 202 w 512"/>
              <a:gd name="T29" fmla="*/ 149 h 512"/>
              <a:gd name="T30" fmla="*/ 202 w 512"/>
              <a:gd name="T31" fmla="*/ 117 h 512"/>
              <a:gd name="T32" fmla="*/ 309 w 512"/>
              <a:gd name="T33" fmla="*/ 117 h 512"/>
              <a:gd name="T34" fmla="*/ 309 w 512"/>
              <a:gd name="T35" fmla="*/ 149 h 512"/>
              <a:gd name="T36" fmla="*/ 281 w 512"/>
              <a:gd name="T37" fmla="*/ 209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288 w 512"/>
              <a:gd name="T49" fmla="*/ 256 h 512"/>
              <a:gd name="T50" fmla="*/ 299 w 512"/>
              <a:gd name="T51" fmla="*/ 220 h 512"/>
              <a:gd name="T52" fmla="*/ 330 w 512"/>
              <a:gd name="T53" fmla="*/ 149 h 512"/>
              <a:gd name="T54" fmla="*/ 330 w 512"/>
              <a:gd name="T55" fmla="*/ 117 h 512"/>
              <a:gd name="T56" fmla="*/ 341 w 512"/>
              <a:gd name="T57" fmla="*/ 106 h 512"/>
              <a:gd name="T58" fmla="*/ 330 w 512"/>
              <a:gd name="T59" fmla="*/ 96 h 512"/>
              <a:gd name="T60" fmla="*/ 181 w 512"/>
              <a:gd name="T61" fmla="*/ 96 h 512"/>
              <a:gd name="T62" fmla="*/ 170 w 512"/>
              <a:gd name="T63" fmla="*/ 106 h 512"/>
              <a:gd name="T64" fmla="*/ 181 w 512"/>
              <a:gd name="T65" fmla="*/ 117 h 512"/>
              <a:gd name="T66" fmla="*/ 181 w 512"/>
              <a:gd name="T67" fmla="*/ 149 h 512"/>
              <a:gd name="T68" fmla="*/ 213 w 512"/>
              <a:gd name="T69" fmla="*/ 220 h 512"/>
              <a:gd name="T70" fmla="*/ 224 w 512"/>
              <a:gd name="T71" fmla="*/ 256 h 512"/>
              <a:gd name="T72" fmla="*/ 212 w 512"/>
              <a:gd name="T73" fmla="*/ 293 h 512"/>
              <a:gd name="T74" fmla="*/ 181 w 512"/>
              <a:gd name="T75" fmla="*/ 362 h 512"/>
              <a:gd name="T76" fmla="*/ 181 w 512"/>
              <a:gd name="T77" fmla="*/ 394 h 512"/>
              <a:gd name="T78" fmla="*/ 170 w 512"/>
              <a:gd name="T79" fmla="*/ 405 h 512"/>
              <a:gd name="T80" fmla="*/ 181 w 512"/>
              <a:gd name="T81" fmla="*/ 416 h 512"/>
              <a:gd name="T82" fmla="*/ 330 w 512"/>
              <a:gd name="T83" fmla="*/ 416 h 512"/>
              <a:gd name="T84" fmla="*/ 341 w 512"/>
              <a:gd name="T85" fmla="*/ 405 h 512"/>
              <a:gd name="T86" fmla="*/ 330 w 512"/>
              <a:gd name="T87" fmla="*/ 394 h 512"/>
              <a:gd name="T88" fmla="*/ 330 w 512"/>
              <a:gd name="T89" fmla="*/ 362 h 512"/>
              <a:gd name="T90" fmla="*/ 299 w 512"/>
              <a:gd name="T91" fmla="*/ 293 h 512"/>
              <a:gd name="T92" fmla="*/ 288 w 512"/>
              <a:gd name="T93" fmla="*/ 256 h 512"/>
              <a:gd name="T94" fmla="*/ 202 w 512"/>
              <a:gd name="T95" fmla="*/ 363 h 512"/>
              <a:gd name="T96" fmla="*/ 202 w 512"/>
              <a:gd name="T97" fmla="*/ 394 h 512"/>
              <a:gd name="T98" fmla="*/ 309 w 512"/>
              <a:gd name="T99" fmla="*/ 394 h 512"/>
              <a:gd name="T100" fmla="*/ 309 w 512"/>
              <a:gd name="T101" fmla="*/ 363 h 512"/>
              <a:gd name="T102" fmla="*/ 300 w 512"/>
              <a:gd name="T103" fmla="*/ 341 h 512"/>
              <a:gd name="T104" fmla="*/ 211 w 512"/>
              <a:gd name="T105" fmla="*/ 341 h 512"/>
              <a:gd name="T106" fmla="*/ 202 w 512"/>
              <a:gd name="T107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81" y="209"/>
                </a:moveTo>
                <a:cubicBezTo>
                  <a:pt x="271" y="222"/>
                  <a:pt x="266" y="238"/>
                  <a:pt x="266" y="256"/>
                </a:cubicBezTo>
                <a:cubicBezTo>
                  <a:pt x="266" y="265"/>
                  <a:pt x="268" y="273"/>
                  <a:pt x="271" y="282"/>
                </a:cubicBezTo>
                <a:cubicBezTo>
                  <a:pt x="271" y="282"/>
                  <a:pt x="271" y="283"/>
                  <a:pt x="271" y="283"/>
                </a:cubicBezTo>
                <a:cubicBezTo>
                  <a:pt x="272" y="286"/>
                  <a:pt x="273" y="289"/>
                  <a:pt x="274" y="291"/>
                </a:cubicBezTo>
                <a:cubicBezTo>
                  <a:pt x="276" y="296"/>
                  <a:pt x="278" y="300"/>
                  <a:pt x="281" y="304"/>
                </a:cubicBezTo>
                <a:cubicBezTo>
                  <a:pt x="284" y="309"/>
                  <a:pt x="287" y="314"/>
                  <a:pt x="290" y="320"/>
                </a:cubicBezTo>
                <a:cubicBezTo>
                  <a:pt x="222" y="320"/>
                  <a:pt x="222" y="320"/>
                  <a:pt x="222" y="320"/>
                </a:cubicBezTo>
                <a:cubicBezTo>
                  <a:pt x="225" y="314"/>
                  <a:pt x="227" y="309"/>
                  <a:pt x="230" y="304"/>
                </a:cubicBezTo>
                <a:cubicBezTo>
                  <a:pt x="233" y="300"/>
                  <a:pt x="235" y="296"/>
                  <a:pt x="237" y="291"/>
                </a:cubicBezTo>
                <a:cubicBezTo>
                  <a:pt x="238" y="289"/>
                  <a:pt x="239" y="286"/>
                  <a:pt x="240" y="283"/>
                </a:cubicBezTo>
                <a:cubicBezTo>
                  <a:pt x="240" y="283"/>
                  <a:pt x="241" y="282"/>
                  <a:pt x="241" y="282"/>
                </a:cubicBezTo>
                <a:cubicBezTo>
                  <a:pt x="244" y="273"/>
                  <a:pt x="245" y="265"/>
                  <a:pt x="245" y="256"/>
                </a:cubicBezTo>
                <a:cubicBezTo>
                  <a:pt x="245" y="238"/>
                  <a:pt x="240" y="222"/>
                  <a:pt x="231" y="209"/>
                </a:cubicBezTo>
                <a:cubicBezTo>
                  <a:pt x="218" y="185"/>
                  <a:pt x="203" y="155"/>
                  <a:pt x="202" y="149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309" y="117"/>
                  <a:pt x="309" y="117"/>
                  <a:pt x="309" y="117"/>
                </a:cubicBezTo>
                <a:cubicBezTo>
                  <a:pt x="309" y="149"/>
                  <a:pt x="309" y="149"/>
                  <a:pt x="309" y="149"/>
                </a:cubicBezTo>
                <a:cubicBezTo>
                  <a:pt x="309" y="155"/>
                  <a:pt x="294" y="185"/>
                  <a:pt x="281" y="20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256"/>
                </a:moveTo>
                <a:cubicBezTo>
                  <a:pt x="288" y="243"/>
                  <a:pt x="292" y="230"/>
                  <a:pt x="299" y="220"/>
                </a:cubicBezTo>
                <a:cubicBezTo>
                  <a:pt x="313" y="193"/>
                  <a:pt x="330" y="160"/>
                  <a:pt x="330" y="149"/>
                </a:cubicBezTo>
                <a:cubicBezTo>
                  <a:pt x="330" y="117"/>
                  <a:pt x="330" y="117"/>
                  <a:pt x="330" y="117"/>
                </a:cubicBezTo>
                <a:cubicBezTo>
                  <a:pt x="336" y="117"/>
                  <a:pt x="341" y="112"/>
                  <a:pt x="341" y="106"/>
                </a:cubicBezTo>
                <a:cubicBezTo>
                  <a:pt x="341" y="100"/>
                  <a:pt x="336" y="96"/>
                  <a:pt x="330" y="96"/>
                </a:cubicBezTo>
                <a:cubicBezTo>
                  <a:pt x="181" y="96"/>
                  <a:pt x="181" y="96"/>
                  <a:pt x="181" y="96"/>
                </a:cubicBezTo>
                <a:cubicBezTo>
                  <a:pt x="175" y="96"/>
                  <a:pt x="170" y="100"/>
                  <a:pt x="170" y="106"/>
                </a:cubicBezTo>
                <a:cubicBezTo>
                  <a:pt x="170" y="112"/>
                  <a:pt x="175" y="117"/>
                  <a:pt x="181" y="117"/>
                </a:cubicBezTo>
                <a:cubicBezTo>
                  <a:pt x="181" y="149"/>
                  <a:pt x="181" y="149"/>
                  <a:pt x="181" y="149"/>
                </a:cubicBezTo>
                <a:cubicBezTo>
                  <a:pt x="181" y="160"/>
                  <a:pt x="198" y="193"/>
                  <a:pt x="213" y="220"/>
                </a:cubicBezTo>
                <a:cubicBezTo>
                  <a:pt x="220" y="230"/>
                  <a:pt x="224" y="243"/>
                  <a:pt x="224" y="256"/>
                </a:cubicBezTo>
                <a:cubicBezTo>
                  <a:pt x="224" y="256"/>
                  <a:pt x="220" y="281"/>
                  <a:pt x="212" y="293"/>
                </a:cubicBezTo>
                <a:cubicBezTo>
                  <a:pt x="198" y="319"/>
                  <a:pt x="181" y="352"/>
                  <a:pt x="181" y="362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75" y="394"/>
                  <a:pt x="170" y="399"/>
                  <a:pt x="170" y="405"/>
                </a:cubicBezTo>
                <a:cubicBezTo>
                  <a:pt x="170" y="411"/>
                  <a:pt x="175" y="416"/>
                  <a:pt x="181" y="416"/>
                </a:cubicBezTo>
                <a:cubicBezTo>
                  <a:pt x="330" y="416"/>
                  <a:pt x="330" y="416"/>
                  <a:pt x="330" y="416"/>
                </a:cubicBezTo>
                <a:cubicBezTo>
                  <a:pt x="336" y="416"/>
                  <a:pt x="341" y="411"/>
                  <a:pt x="341" y="405"/>
                </a:cubicBezTo>
                <a:cubicBezTo>
                  <a:pt x="341" y="399"/>
                  <a:pt x="336" y="394"/>
                  <a:pt x="330" y="394"/>
                </a:cubicBezTo>
                <a:cubicBezTo>
                  <a:pt x="330" y="362"/>
                  <a:pt x="330" y="362"/>
                  <a:pt x="330" y="362"/>
                </a:cubicBezTo>
                <a:cubicBezTo>
                  <a:pt x="330" y="352"/>
                  <a:pt x="313" y="319"/>
                  <a:pt x="299" y="293"/>
                </a:cubicBezTo>
                <a:cubicBezTo>
                  <a:pt x="292" y="281"/>
                  <a:pt x="288" y="256"/>
                  <a:pt x="288" y="256"/>
                </a:cubicBezTo>
                <a:close/>
                <a:moveTo>
                  <a:pt x="202" y="363"/>
                </a:moveTo>
                <a:cubicBezTo>
                  <a:pt x="202" y="394"/>
                  <a:pt x="202" y="394"/>
                  <a:pt x="202" y="394"/>
                </a:cubicBezTo>
                <a:cubicBezTo>
                  <a:pt x="309" y="394"/>
                  <a:pt x="309" y="394"/>
                  <a:pt x="309" y="394"/>
                </a:cubicBezTo>
                <a:cubicBezTo>
                  <a:pt x="309" y="363"/>
                  <a:pt x="309" y="363"/>
                  <a:pt x="309" y="363"/>
                </a:cubicBezTo>
                <a:cubicBezTo>
                  <a:pt x="309" y="360"/>
                  <a:pt x="305" y="351"/>
                  <a:pt x="300" y="341"/>
                </a:cubicBezTo>
                <a:cubicBezTo>
                  <a:pt x="211" y="341"/>
                  <a:pt x="211" y="341"/>
                  <a:pt x="211" y="341"/>
                </a:cubicBezTo>
                <a:cubicBezTo>
                  <a:pt x="206" y="351"/>
                  <a:pt x="203" y="360"/>
                  <a:pt x="202" y="36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4" name="Group 447"/>
          <p:cNvGrpSpPr>
            <a:grpSpLocks noChangeAspect="1"/>
          </p:cNvGrpSpPr>
          <p:nvPr/>
        </p:nvGrpSpPr>
        <p:grpSpPr bwMode="auto">
          <a:xfrm>
            <a:off x="7694225" y="3741594"/>
            <a:ext cx="367631" cy="367631"/>
            <a:chOff x="4988" y="1602"/>
            <a:chExt cx="340" cy="340"/>
          </a:xfrm>
          <a:solidFill>
            <a:schemeClr val="accent5"/>
          </a:solidFill>
        </p:grpSpPr>
        <p:sp>
          <p:nvSpPr>
            <p:cNvPr id="145" name="Freeform 448"/>
            <p:cNvSpPr>
              <a:spLocks noEditPoints="1"/>
            </p:cNvSpPr>
            <p:nvPr/>
          </p:nvSpPr>
          <p:spPr bwMode="auto">
            <a:xfrm>
              <a:off x="4988" y="160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Freeform 449"/>
            <p:cNvSpPr>
              <a:spLocks noEditPoints="1"/>
            </p:cNvSpPr>
            <p:nvPr/>
          </p:nvSpPr>
          <p:spPr bwMode="auto">
            <a:xfrm>
              <a:off x="5101" y="1666"/>
              <a:ext cx="113" cy="212"/>
            </a:xfrm>
            <a:custGeom>
              <a:avLst/>
              <a:gdLst>
                <a:gd name="T0" fmla="*/ 160 w 171"/>
                <a:gd name="T1" fmla="*/ 298 h 320"/>
                <a:gd name="T2" fmla="*/ 160 w 171"/>
                <a:gd name="T3" fmla="*/ 266 h 320"/>
                <a:gd name="T4" fmla="*/ 129 w 171"/>
                <a:gd name="T5" fmla="*/ 197 h 320"/>
                <a:gd name="T6" fmla="*/ 118 w 171"/>
                <a:gd name="T7" fmla="*/ 160 h 320"/>
                <a:gd name="T8" fmla="*/ 129 w 171"/>
                <a:gd name="T9" fmla="*/ 124 h 320"/>
                <a:gd name="T10" fmla="*/ 160 w 171"/>
                <a:gd name="T11" fmla="*/ 53 h 320"/>
                <a:gd name="T12" fmla="*/ 160 w 171"/>
                <a:gd name="T13" fmla="*/ 21 h 320"/>
                <a:gd name="T14" fmla="*/ 171 w 171"/>
                <a:gd name="T15" fmla="*/ 10 h 320"/>
                <a:gd name="T16" fmla="*/ 160 w 171"/>
                <a:gd name="T17" fmla="*/ 0 h 320"/>
                <a:gd name="T18" fmla="*/ 11 w 171"/>
                <a:gd name="T19" fmla="*/ 0 h 320"/>
                <a:gd name="T20" fmla="*/ 0 w 171"/>
                <a:gd name="T21" fmla="*/ 10 h 320"/>
                <a:gd name="T22" fmla="*/ 11 w 171"/>
                <a:gd name="T23" fmla="*/ 21 h 320"/>
                <a:gd name="T24" fmla="*/ 11 w 171"/>
                <a:gd name="T25" fmla="*/ 53 h 320"/>
                <a:gd name="T26" fmla="*/ 43 w 171"/>
                <a:gd name="T27" fmla="*/ 124 h 320"/>
                <a:gd name="T28" fmla="*/ 54 w 171"/>
                <a:gd name="T29" fmla="*/ 160 h 320"/>
                <a:gd name="T30" fmla="*/ 42 w 171"/>
                <a:gd name="T31" fmla="*/ 197 h 320"/>
                <a:gd name="T32" fmla="*/ 11 w 171"/>
                <a:gd name="T33" fmla="*/ 266 h 320"/>
                <a:gd name="T34" fmla="*/ 11 w 171"/>
                <a:gd name="T35" fmla="*/ 298 h 320"/>
                <a:gd name="T36" fmla="*/ 0 w 171"/>
                <a:gd name="T37" fmla="*/ 309 h 320"/>
                <a:gd name="T38" fmla="*/ 11 w 171"/>
                <a:gd name="T39" fmla="*/ 320 h 320"/>
                <a:gd name="T40" fmla="*/ 160 w 171"/>
                <a:gd name="T41" fmla="*/ 320 h 320"/>
                <a:gd name="T42" fmla="*/ 171 w 171"/>
                <a:gd name="T43" fmla="*/ 309 h 320"/>
                <a:gd name="T44" fmla="*/ 160 w 171"/>
                <a:gd name="T45" fmla="*/ 298 h 320"/>
                <a:gd name="T46" fmla="*/ 61 w 171"/>
                <a:gd name="T47" fmla="*/ 113 h 320"/>
                <a:gd name="T48" fmla="*/ 32 w 171"/>
                <a:gd name="T49" fmla="*/ 53 h 320"/>
                <a:gd name="T50" fmla="*/ 32 w 171"/>
                <a:gd name="T51" fmla="*/ 21 h 320"/>
                <a:gd name="T52" fmla="*/ 139 w 171"/>
                <a:gd name="T53" fmla="*/ 21 h 320"/>
                <a:gd name="T54" fmla="*/ 139 w 171"/>
                <a:gd name="T55" fmla="*/ 53 h 320"/>
                <a:gd name="T56" fmla="*/ 111 w 171"/>
                <a:gd name="T57" fmla="*/ 113 h 320"/>
                <a:gd name="T58" fmla="*/ 96 w 171"/>
                <a:gd name="T59" fmla="*/ 160 h 320"/>
                <a:gd name="T60" fmla="*/ 101 w 171"/>
                <a:gd name="T61" fmla="*/ 186 h 320"/>
                <a:gd name="T62" fmla="*/ 101 w 171"/>
                <a:gd name="T63" fmla="*/ 187 h 320"/>
                <a:gd name="T64" fmla="*/ 104 w 171"/>
                <a:gd name="T65" fmla="*/ 195 h 320"/>
                <a:gd name="T66" fmla="*/ 111 w 171"/>
                <a:gd name="T67" fmla="*/ 208 h 320"/>
                <a:gd name="T68" fmla="*/ 120 w 171"/>
                <a:gd name="T69" fmla="*/ 224 h 320"/>
                <a:gd name="T70" fmla="*/ 52 w 171"/>
                <a:gd name="T71" fmla="*/ 224 h 320"/>
                <a:gd name="T72" fmla="*/ 60 w 171"/>
                <a:gd name="T73" fmla="*/ 208 h 320"/>
                <a:gd name="T74" fmla="*/ 67 w 171"/>
                <a:gd name="T75" fmla="*/ 195 h 320"/>
                <a:gd name="T76" fmla="*/ 70 w 171"/>
                <a:gd name="T77" fmla="*/ 187 h 320"/>
                <a:gd name="T78" fmla="*/ 71 w 171"/>
                <a:gd name="T79" fmla="*/ 186 h 320"/>
                <a:gd name="T80" fmla="*/ 75 w 171"/>
                <a:gd name="T81" fmla="*/ 160 h 320"/>
                <a:gd name="T82" fmla="*/ 61 w 171"/>
                <a:gd name="T83" fmla="*/ 113 h 320"/>
                <a:gd name="T84" fmla="*/ 32 w 171"/>
                <a:gd name="T85" fmla="*/ 267 h 320"/>
                <a:gd name="T86" fmla="*/ 41 w 171"/>
                <a:gd name="T87" fmla="*/ 245 h 320"/>
                <a:gd name="T88" fmla="*/ 130 w 171"/>
                <a:gd name="T89" fmla="*/ 245 h 320"/>
                <a:gd name="T90" fmla="*/ 139 w 171"/>
                <a:gd name="T91" fmla="*/ 267 h 320"/>
                <a:gd name="T92" fmla="*/ 139 w 171"/>
                <a:gd name="T93" fmla="*/ 298 h 320"/>
                <a:gd name="T94" fmla="*/ 32 w 171"/>
                <a:gd name="T95" fmla="*/ 298 h 320"/>
                <a:gd name="T96" fmla="*/ 32 w 171"/>
                <a:gd name="T97" fmla="*/ 26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1" h="320">
                  <a:moveTo>
                    <a:pt x="160" y="298"/>
                  </a:moveTo>
                  <a:cubicBezTo>
                    <a:pt x="160" y="266"/>
                    <a:pt x="160" y="266"/>
                    <a:pt x="160" y="266"/>
                  </a:cubicBezTo>
                  <a:cubicBezTo>
                    <a:pt x="160" y="256"/>
                    <a:pt x="143" y="223"/>
                    <a:pt x="129" y="197"/>
                  </a:cubicBezTo>
                  <a:cubicBezTo>
                    <a:pt x="122" y="185"/>
                    <a:pt x="118" y="160"/>
                    <a:pt x="118" y="160"/>
                  </a:cubicBezTo>
                  <a:cubicBezTo>
                    <a:pt x="118" y="147"/>
                    <a:pt x="122" y="134"/>
                    <a:pt x="129" y="124"/>
                  </a:cubicBezTo>
                  <a:cubicBezTo>
                    <a:pt x="143" y="97"/>
                    <a:pt x="160" y="64"/>
                    <a:pt x="160" y="53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66" y="21"/>
                    <a:pt x="171" y="16"/>
                    <a:pt x="171" y="10"/>
                  </a:cubicBezTo>
                  <a:cubicBezTo>
                    <a:pt x="171" y="4"/>
                    <a:pt x="166" y="0"/>
                    <a:pt x="16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64"/>
                    <a:pt x="28" y="97"/>
                    <a:pt x="43" y="124"/>
                  </a:cubicBezTo>
                  <a:cubicBezTo>
                    <a:pt x="50" y="134"/>
                    <a:pt x="54" y="147"/>
                    <a:pt x="54" y="160"/>
                  </a:cubicBezTo>
                  <a:cubicBezTo>
                    <a:pt x="54" y="160"/>
                    <a:pt x="50" y="185"/>
                    <a:pt x="42" y="197"/>
                  </a:cubicBezTo>
                  <a:cubicBezTo>
                    <a:pt x="28" y="223"/>
                    <a:pt x="11" y="256"/>
                    <a:pt x="11" y="266"/>
                  </a:cubicBezTo>
                  <a:cubicBezTo>
                    <a:pt x="11" y="298"/>
                    <a:pt x="11" y="298"/>
                    <a:pt x="11" y="298"/>
                  </a:cubicBezTo>
                  <a:cubicBezTo>
                    <a:pt x="5" y="298"/>
                    <a:pt x="0" y="303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6" y="320"/>
                    <a:pt x="171" y="315"/>
                    <a:pt x="171" y="309"/>
                  </a:cubicBezTo>
                  <a:cubicBezTo>
                    <a:pt x="171" y="303"/>
                    <a:pt x="166" y="298"/>
                    <a:pt x="160" y="298"/>
                  </a:cubicBezTo>
                  <a:close/>
                  <a:moveTo>
                    <a:pt x="61" y="113"/>
                  </a:moveTo>
                  <a:cubicBezTo>
                    <a:pt x="48" y="89"/>
                    <a:pt x="33" y="59"/>
                    <a:pt x="32" y="53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59"/>
                    <a:pt x="124" y="89"/>
                    <a:pt x="111" y="113"/>
                  </a:cubicBezTo>
                  <a:cubicBezTo>
                    <a:pt x="101" y="126"/>
                    <a:pt x="96" y="142"/>
                    <a:pt x="96" y="160"/>
                  </a:cubicBezTo>
                  <a:cubicBezTo>
                    <a:pt x="96" y="169"/>
                    <a:pt x="98" y="177"/>
                    <a:pt x="101" y="186"/>
                  </a:cubicBezTo>
                  <a:cubicBezTo>
                    <a:pt x="101" y="186"/>
                    <a:pt x="101" y="187"/>
                    <a:pt x="101" y="187"/>
                  </a:cubicBezTo>
                  <a:cubicBezTo>
                    <a:pt x="102" y="190"/>
                    <a:pt x="103" y="193"/>
                    <a:pt x="104" y="195"/>
                  </a:cubicBezTo>
                  <a:cubicBezTo>
                    <a:pt x="106" y="200"/>
                    <a:pt x="108" y="204"/>
                    <a:pt x="111" y="208"/>
                  </a:cubicBezTo>
                  <a:cubicBezTo>
                    <a:pt x="114" y="213"/>
                    <a:pt x="117" y="218"/>
                    <a:pt x="120" y="224"/>
                  </a:cubicBezTo>
                  <a:cubicBezTo>
                    <a:pt x="52" y="224"/>
                    <a:pt x="52" y="224"/>
                    <a:pt x="52" y="224"/>
                  </a:cubicBezTo>
                  <a:cubicBezTo>
                    <a:pt x="55" y="218"/>
                    <a:pt x="57" y="213"/>
                    <a:pt x="60" y="208"/>
                  </a:cubicBezTo>
                  <a:cubicBezTo>
                    <a:pt x="63" y="204"/>
                    <a:pt x="65" y="200"/>
                    <a:pt x="67" y="195"/>
                  </a:cubicBezTo>
                  <a:cubicBezTo>
                    <a:pt x="68" y="193"/>
                    <a:pt x="69" y="190"/>
                    <a:pt x="70" y="187"/>
                  </a:cubicBezTo>
                  <a:cubicBezTo>
                    <a:pt x="70" y="187"/>
                    <a:pt x="71" y="186"/>
                    <a:pt x="71" y="186"/>
                  </a:cubicBezTo>
                  <a:cubicBezTo>
                    <a:pt x="74" y="177"/>
                    <a:pt x="75" y="169"/>
                    <a:pt x="75" y="160"/>
                  </a:cubicBezTo>
                  <a:cubicBezTo>
                    <a:pt x="75" y="142"/>
                    <a:pt x="70" y="126"/>
                    <a:pt x="61" y="113"/>
                  </a:cubicBezTo>
                  <a:close/>
                  <a:moveTo>
                    <a:pt x="32" y="267"/>
                  </a:moveTo>
                  <a:cubicBezTo>
                    <a:pt x="33" y="264"/>
                    <a:pt x="36" y="255"/>
                    <a:pt x="41" y="245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5" y="255"/>
                    <a:pt x="139" y="264"/>
                    <a:pt x="139" y="267"/>
                  </a:cubicBezTo>
                  <a:cubicBezTo>
                    <a:pt x="139" y="298"/>
                    <a:pt x="139" y="298"/>
                    <a:pt x="139" y="298"/>
                  </a:cubicBezTo>
                  <a:cubicBezTo>
                    <a:pt x="32" y="298"/>
                    <a:pt x="32" y="298"/>
                    <a:pt x="32" y="298"/>
                  </a:cubicBezTo>
                  <a:lnTo>
                    <a:pt x="32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5101396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Manufactur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1475144" y="2480349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lmet mining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2470065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elmet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480223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uler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3464986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crewdriver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6449749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ctory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5454828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ammer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4459907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mpass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9437688" y="2480346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rane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8439591" y="2480346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anner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64889" y="3365004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ork lift truck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2470065" y="336500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D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7444670" y="2480346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Factory 2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1542048" y="336500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oolbox</a:t>
            </a:r>
          </a:p>
        </p:txBody>
      </p:sp>
      <p:grpSp>
        <p:nvGrpSpPr>
          <p:cNvPr id="269" name="Group 806"/>
          <p:cNvGrpSpPr>
            <a:grpSpLocks noChangeAspect="1"/>
          </p:cNvGrpSpPr>
          <p:nvPr/>
        </p:nvGrpSpPr>
        <p:grpSpPr bwMode="auto">
          <a:xfrm>
            <a:off x="945844" y="2062069"/>
            <a:ext cx="369021" cy="369021"/>
            <a:chOff x="3458" y="3061"/>
            <a:chExt cx="340" cy="340"/>
          </a:xfrm>
          <a:solidFill>
            <a:schemeClr val="accent3"/>
          </a:solidFill>
        </p:grpSpPr>
        <p:sp>
          <p:nvSpPr>
            <p:cNvPr id="270" name="Freeform 807"/>
            <p:cNvSpPr>
              <a:spLocks noEditPoints="1"/>
            </p:cNvSpPr>
            <p:nvPr/>
          </p:nvSpPr>
          <p:spPr bwMode="auto">
            <a:xfrm>
              <a:off x="3522" y="3181"/>
              <a:ext cx="212" cy="99"/>
            </a:xfrm>
            <a:custGeom>
              <a:avLst/>
              <a:gdLst>
                <a:gd name="T0" fmla="*/ 309 w 320"/>
                <a:gd name="T1" fmla="*/ 0 h 149"/>
                <a:gd name="T2" fmla="*/ 10 w 320"/>
                <a:gd name="T3" fmla="*/ 0 h 149"/>
                <a:gd name="T4" fmla="*/ 0 w 320"/>
                <a:gd name="T5" fmla="*/ 11 h 149"/>
                <a:gd name="T6" fmla="*/ 0 w 320"/>
                <a:gd name="T7" fmla="*/ 139 h 149"/>
                <a:gd name="T8" fmla="*/ 10 w 320"/>
                <a:gd name="T9" fmla="*/ 149 h 149"/>
                <a:gd name="T10" fmla="*/ 309 w 320"/>
                <a:gd name="T11" fmla="*/ 149 h 149"/>
                <a:gd name="T12" fmla="*/ 320 w 320"/>
                <a:gd name="T13" fmla="*/ 139 h 149"/>
                <a:gd name="T14" fmla="*/ 320 w 320"/>
                <a:gd name="T15" fmla="*/ 11 h 149"/>
                <a:gd name="T16" fmla="*/ 309 w 320"/>
                <a:gd name="T17" fmla="*/ 0 h 149"/>
                <a:gd name="T18" fmla="*/ 298 w 320"/>
                <a:gd name="T19" fmla="*/ 128 h 149"/>
                <a:gd name="T20" fmla="*/ 21 w 320"/>
                <a:gd name="T21" fmla="*/ 128 h 149"/>
                <a:gd name="T22" fmla="*/ 21 w 320"/>
                <a:gd name="T23" fmla="*/ 21 h 149"/>
                <a:gd name="T24" fmla="*/ 42 w 320"/>
                <a:gd name="T25" fmla="*/ 21 h 149"/>
                <a:gd name="T26" fmla="*/ 42 w 320"/>
                <a:gd name="T27" fmla="*/ 53 h 149"/>
                <a:gd name="T28" fmla="*/ 53 w 320"/>
                <a:gd name="T29" fmla="*/ 64 h 149"/>
                <a:gd name="T30" fmla="*/ 64 w 320"/>
                <a:gd name="T31" fmla="*/ 53 h 149"/>
                <a:gd name="T32" fmla="*/ 64 w 320"/>
                <a:gd name="T33" fmla="*/ 21 h 149"/>
                <a:gd name="T34" fmla="*/ 85 w 320"/>
                <a:gd name="T35" fmla="*/ 21 h 149"/>
                <a:gd name="T36" fmla="*/ 85 w 320"/>
                <a:gd name="T37" fmla="*/ 85 h 149"/>
                <a:gd name="T38" fmla="*/ 96 w 320"/>
                <a:gd name="T39" fmla="*/ 96 h 149"/>
                <a:gd name="T40" fmla="*/ 106 w 320"/>
                <a:gd name="T41" fmla="*/ 85 h 149"/>
                <a:gd name="T42" fmla="*/ 106 w 320"/>
                <a:gd name="T43" fmla="*/ 21 h 149"/>
                <a:gd name="T44" fmla="*/ 128 w 320"/>
                <a:gd name="T45" fmla="*/ 21 h 149"/>
                <a:gd name="T46" fmla="*/ 128 w 320"/>
                <a:gd name="T47" fmla="*/ 53 h 149"/>
                <a:gd name="T48" fmla="*/ 138 w 320"/>
                <a:gd name="T49" fmla="*/ 64 h 149"/>
                <a:gd name="T50" fmla="*/ 149 w 320"/>
                <a:gd name="T51" fmla="*/ 53 h 149"/>
                <a:gd name="T52" fmla="*/ 149 w 320"/>
                <a:gd name="T53" fmla="*/ 21 h 149"/>
                <a:gd name="T54" fmla="*/ 170 w 320"/>
                <a:gd name="T55" fmla="*/ 21 h 149"/>
                <a:gd name="T56" fmla="*/ 170 w 320"/>
                <a:gd name="T57" fmla="*/ 85 h 149"/>
                <a:gd name="T58" fmla="*/ 181 w 320"/>
                <a:gd name="T59" fmla="*/ 96 h 149"/>
                <a:gd name="T60" fmla="*/ 192 w 320"/>
                <a:gd name="T61" fmla="*/ 85 h 149"/>
                <a:gd name="T62" fmla="*/ 192 w 320"/>
                <a:gd name="T63" fmla="*/ 21 h 149"/>
                <a:gd name="T64" fmla="*/ 213 w 320"/>
                <a:gd name="T65" fmla="*/ 21 h 149"/>
                <a:gd name="T66" fmla="*/ 213 w 320"/>
                <a:gd name="T67" fmla="*/ 53 h 149"/>
                <a:gd name="T68" fmla="*/ 224 w 320"/>
                <a:gd name="T69" fmla="*/ 64 h 149"/>
                <a:gd name="T70" fmla="*/ 234 w 320"/>
                <a:gd name="T71" fmla="*/ 53 h 149"/>
                <a:gd name="T72" fmla="*/ 234 w 320"/>
                <a:gd name="T73" fmla="*/ 21 h 149"/>
                <a:gd name="T74" fmla="*/ 256 w 320"/>
                <a:gd name="T75" fmla="*/ 21 h 149"/>
                <a:gd name="T76" fmla="*/ 256 w 320"/>
                <a:gd name="T77" fmla="*/ 85 h 149"/>
                <a:gd name="T78" fmla="*/ 266 w 320"/>
                <a:gd name="T79" fmla="*/ 96 h 149"/>
                <a:gd name="T80" fmla="*/ 277 w 320"/>
                <a:gd name="T81" fmla="*/ 85 h 149"/>
                <a:gd name="T82" fmla="*/ 277 w 320"/>
                <a:gd name="T83" fmla="*/ 21 h 149"/>
                <a:gd name="T84" fmla="*/ 298 w 320"/>
                <a:gd name="T85" fmla="*/ 21 h 149"/>
                <a:gd name="T86" fmla="*/ 298 w 320"/>
                <a:gd name="T87" fmla="*/ 12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0" h="149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5"/>
                    <a:pt x="4" y="149"/>
                    <a:pt x="10" y="149"/>
                  </a:cubicBezTo>
                  <a:cubicBezTo>
                    <a:pt x="309" y="149"/>
                    <a:pt x="309" y="149"/>
                    <a:pt x="309" y="149"/>
                  </a:cubicBezTo>
                  <a:cubicBezTo>
                    <a:pt x="315" y="149"/>
                    <a:pt x="320" y="145"/>
                    <a:pt x="320" y="139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28"/>
                  </a:moveTo>
                  <a:cubicBezTo>
                    <a:pt x="21" y="128"/>
                    <a:pt x="21" y="128"/>
                    <a:pt x="21" y="128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9"/>
                    <a:pt x="47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5" y="91"/>
                    <a:pt x="90" y="96"/>
                    <a:pt x="96" y="96"/>
                  </a:cubicBezTo>
                  <a:cubicBezTo>
                    <a:pt x="102" y="96"/>
                    <a:pt x="106" y="91"/>
                    <a:pt x="106" y="8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28" y="59"/>
                    <a:pt x="132" y="64"/>
                    <a:pt x="138" y="64"/>
                  </a:cubicBezTo>
                  <a:cubicBezTo>
                    <a:pt x="144" y="64"/>
                    <a:pt x="149" y="59"/>
                    <a:pt x="149" y="53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170" y="91"/>
                    <a:pt x="175" y="96"/>
                    <a:pt x="181" y="96"/>
                  </a:cubicBezTo>
                  <a:cubicBezTo>
                    <a:pt x="187" y="96"/>
                    <a:pt x="192" y="91"/>
                    <a:pt x="192" y="85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9"/>
                    <a:pt x="218" y="64"/>
                    <a:pt x="224" y="64"/>
                  </a:cubicBezTo>
                  <a:cubicBezTo>
                    <a:pt x="230" y="64"/>
                    <a:pt x="234" y="59"/>
                    <a:pt x="234" y="53"/>
                  </a:cubicBezTo>
                  <a:cubicBezTo>
                    <a:pt x="234" y="21"/>
                    <a:pt x="234" y="21"/>
                    <a:pt x="234" y="21"/>
                  </a:cubicBezTo>
                  <a:cubicBezTo>
                    <a:pt x="256" y="21"/>
                    <a:pt x="256" y="21"/>
                    <a:pt x="256" y="21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56" y="91"/>
                    <a:pt x="260" y="96"/>
                    <a:pt x="266" y="96"/>
                  </a:cubicBezTo>
                  <a:cubicBezTo>
                    <a:pt x="272" y="96"/>
                    <a:pt x="277" y="91"/>
                    <a:pt x="277" y="85"/>
                  </a:cubicBezTo>
                  <a:cubicBezTo>
                    <a:pt x="277" y="21"/>
                    <a:pt x="277" y="21"/>
                    <a:pt x="277" y="21"/>
                  </a:cubicBezTo>
                  <a:cubicBezTo>
                    <a:pt x="298" y="21"/>
                    <a:pt x="298" y="21"/>
                    <a:pt x="298" y="21"/>
                  </a:cubicBezTo>
                  <a:lnTo>
                    <a:pt x="298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808"/>
            <p:cNvSpPr>
              <a:spLocks noEditPoints="1"/>
            </p:cNvSpPr>
            <p:nvPr/>
          </p:nvSpPr>
          <p:spPr bwMode="auto">
            <a:xfrm>
              <a:off x="3458" y="30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812"/>
          <p:cNvSpPr>
            <a:spLocks noChangeAspect="1" noEditPoints="1"/>
          </p:cNvSpPr>
          <p:nvPr/>
        </p:nvSpPr>
        <p:spPr bwMode="auto">
          <a:xfrm>
            <a:off x="447071" y="2062065"/>
            <a:ext cx="369021" cy="370106"/>
          </a:xfrm>
          <a:custGeom>
            <a:avLst/>
            <a:gdLst>
              <a:gd name="T0" fmla="*/ 373 w 512"/>
              <a:gd name="T1" fmla="*/ 202 h 512"/>
              <a:gd name="T2" fmla="*/ 394 w 512"/>
              <a:gd name="T3" fmla="*/ 202 h 512"/>
              <a:gd name="T4" fmla="*/ 394 w 512"/>
              <a:gd name="T5" fmla="*/ 309 h 512"/>
              <a:gd name="T6" fmla="*/ 117 w 512"/>
              <a:gd name="T7" fmla="*/ 309 h 512"/>
              <a:gd name="T8" fmla="*/ 117 w 512"/>
              <a:gd name="T9" fmla="*/ 202 h 512"/>
              <a:gd name="T10" fmla="*/ 138 w 512"/>
              <a:gd name="T11" fmla="*/ 202 h 512"/>
              <a:gd name="T12" fmla="*/ 138 w 512"/>
              <a:gd name="T13" fmla="*/ 234 h 512"/>
              <a:gd name="T14" fmla="*/ 149 w 512"/>
              <a:gd name="T15" fmla="*/ 245 h 512"/>
              <a:gd name="T16" fmla="*/ 160 w 512"/>
              <a:gd name="T17" fmla="*/ 234 h 512"/>
              <a:gd name="T18" fmla="*/ 160 w 512"/>
              <a:gd name="T19" fmla="*/ 202 h 512"/>
              <a:gd name="T20" fmla="*/ 181 w 512"/>
              <a:gd name="T21" fmla="*/ 202 h 512"/>
              <a:gd name="T22" fmla="*/ 181 w 512"/>
              <a:gd name="T23" fmla="*/ 266 h 512"/>
              <a:gd name="T24" fmla="*/ 192 w 512"/>
              <a:gd name="T25" fmla="*/ 277 h 512"/>
              <a:gd name="T26" fmla="*/ 202 w 512"/>
              <a:gd name="T27" fmla="*/ 266 h 512"/>
              <a:gd name="T28" fmla="*/ 202 w 512"/>
              <a:gd name="T29" fmla="*/ 202 h 512"/>
              <a:gd name="T30" fmla="*/ 224 w 512"/>
              <a:gd name="T31" fmla="*/ 202 h 512"/>
              <a:gd name="T32" fmla="*/ 224 w 512"/>
              <a:gd name="T33" fmla="*/ 234 h 512"/>
              <a:gd name="T34" fmla="*/ 234 w 512"/>
              <a:gd name="T35" fmla="*/ 245 h 512"/>
              <a:gd name="T36" fmla="*/ 245 w 512"/>
              <a:gd name="T37" fmla="*/ 234 h 512"/>
              <a:gd name="T38" fmla="*/ 245 w 512"/>
              <a:gd name="T39" fmla="*/ 202 h 512"/>
              <a:gd name="T40" fmla="*/ 266 w 512"/>
              <a:gd name="T41" fmla="*/ 202 h 512"/>
              <a:gd name="T42" fmla="*/ 266 w 512"/>
              <a:gd name="T43" fmla="*/ 266 h 512"/>
              <a:gd name="T44" fmla="*/ 277 w 512"/>
              <a:gd name="T45" fmla="*/ 277 h 512"/>
              <a:gd name="T46" fmla="*/ 288 w 512"/>
              <a:gd name="T47" fmla="*/ 266 h 512"/>
              <a:gd name="T48" fmla="*/ 288 w 512"/>
              <a:gd name="T49" fmla="*/ 202 h 512"/>
              <a:gd name="T50" fmla="*/ 309 w 512"/>
              <a:gd name="T51" fmla="*/ 202 h 512"/>
              <a:gd name="T52" fmla="*/ 309 w 512"/>
              <a:gd name="T53" fmla="*/ 234 h 512"/>
              <a:gd name="T54" fmla="*/ 320 w 512"/>
              <a:gd name="T55" fmla="*/ 245 h 512"/>
              <a:gd name="T56" fmla="*/ 330 w 512"/>
              <a:gd name="T57" fmla="*/ 234 h 512"/>
              <a:gd name="T58" fmla="*/ 330 w 512"/>
              <a:gd name="T59" fmla="*/ 202 h 512"/>
              <a:gd name="T60" fmla="*/ 352 w 512"/>
              <a:gd name="T61" fmla="*/ 202 h 512"/>
              <a:gd name="T62" fmla="*/ 352 w 512"/>
              <a:gd name="T63" fmla="*/ 266 h 512"/>
              <a:gd name="T64" fmla="*/ 362 w 512"/>
              <a:gd name="T65" fmla="*/ 277 h 512"/>
              <a:gd name="T66" fmla="*/ 373 w 512"/>
              <a:gd name="T67" fmla="*/ 266 h 512"/>
              <a:gd name="T68" fmla="*/ 373 w 512"/>
              <a:gd name="T69" fmla="*/ 202 h 512"/>
              <a:gd name="T70" fmla="*/ 512 w 512"/>
              <a:gd name="T71" fmla="*/ 256 h 512"/>
              <a:gd name="T72" fmla="*/ 256 w 512"/>
              <a:gd name="T73" fmla="*/ 512 h 512"/>
              <a:gd name="T74" fmla="*/ 0 w 512"/>
              <a:gd name="T75" fmla="*/ 256 h 512"/>
              <a:gd name="T76" fmla="*/ 256 w 512"/>
              <a:gd name="T77" fmla="*/ 0 h 512"/>
              <a:gd name="T78" fmla="*/ 512 w 512"/>
              <a:gd name="T79" fmla="*/ 256 h 512"/>
              <a:gd name="T80" fmla="*/ 416 w 512"/>
              <a:gd name="T81" fmla="*/ 192 h 512"/>
              <a:gd name="T82" fmla="*/ 405 w 512"/>
              <a:gd name="T83" fmla="*/ 181 h 512"/>
              <a:gd name="T84" fmla="*/ 106 w 512"/>
              <a:gd name="T85" fmla="*/ 181 h 512"/>
              <a:gd name="T86" fmla="*/ 96 w 512"/>
              <a:gd name="T87" fmla="*/ 192 h 512"/>
              <a:gd name="T88" fmla="*/ 96 w 512"/>
              <a:gd name="T89" fmla="*/ 320 h 512"/>
              <a:gd name="T90" fmla="*/ 106 w 512"/>
              <a:gd name="T91" fmla="*/ 330 h 512"/>
              <a:gd name="T92" fmla="*/ 405 w 512"/>
              <a:gd name="T93" fmla="*/ 330 h 512"/>
              <a:gd name="T94" fmla="*/ 416 w 512"/>
              <a:gd name="T95" fmla="*/ 320 h 512"/>
              <a:gd name="T96" fmla="*/ 416 w 512"/>
              <a:gd name="T97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373" y="202"/>
                </a:moveTo>
                <a:cubicBezTo>
                  <a:pt x="394" y="202"/>
                  <a:pt x="394" y="202"/>
                  <a:pt x="394" y="202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117" y="309"/>
                  <a:pt x="117" y="309"/>
                  <a:pt x="117" y="309"/>
                </a:cubicBezTo>
                <a:cubicBezTo>
                  <a:pt x="117" y="202"/>
                  <a:pt x="117" y="202"/>
                  <a:pt x="117" y="202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234"/>
                  <a:pt x="138" y="234"/>
                  <a:pt x="138" y="234"/>
                </a:cubicBezTo>
                <a:cubicBezTo>
                  <a:pt x="138" y="240"/>
                  <a:pt x="143" y="245"/>
                  <a:pt x="149" y="245"/>
                </a:cubicBezTo>
                <a:cubicBezTo>
                  <a:pt x="155" y="245"/>
                  <a:pt x="160" y="240"/>
                  <a:pt x="160" y="234"/>
                </a:cubicBezTo>
                <a:cubicBezTo>
                  <a:pt x="160" y="202"/>
                  <a:pt x="160" y="202"/>
                  <a:pt x="160" y="202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266"/>
                  <a:pt x="181" y="266"/>
                  <a:pt x="181" y="266"/>
                </a:cubicBezTo>
                <a:cubicBezTo>
                  <a:pt x="181" y="272"/>
                  <a:pt x="186" y="277"/>
                  <a:pt x="192" y="277"/>
                </a:cubicBezTo>
                <a:cubicBezTo>
                  <a:pt x="198" y="277"/>
                  <a:pt x="202" y="272"/>
                  <a:pt x="202" y="266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24" y="240"/>
                  <a:pt x="228" y="245"/>
                  <a:pt x="234" y="245"/>
                </a:cubicBezTo>
                <a:cubicBezTo>
                  <a:pt x="240" y="245"/>
                  <a:pt x="245" y="240"/>
                  <a:pt x="245" y="234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66" y="202"/>
                  <a:pt x="266" y="202"/>
                  <a:pt x="266" y="202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272"/>
                  <a:pt x="271" y="277"/>
                  <a:pt x="277" y="277"/>
                </a:cubicBezTo>
                <a:cubicBezTo>
                  <a:pt x="283" y="277"/>
                  <a:pt x="288" y="272"/>
                  <a:pt x="288" y="266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309" y="202"/>
                  <a:pt x="309" y="202"/>
                  <a:pt x="309" y="202"/>
                </a:cubicBezTo>
                <a:cubicBezTo>
                  <a:pt x="309" y="234"/>
                  <a:pt x="309" y="234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26" y="245"/>
                  <a:pt x="330" y="240"/>
                  <a:pt x="330" y="234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52" y="272"/>
                  <a:pt x="356" y="277"/>
                  <a:pt x="362" y="277"/>
                </a:cubicBezTo>
                <a:cubicBezTo>
                  <a:pt x="368" y="277"/>
                  <a:pt x="373" y="272"/>
                  <a:pt x="373" y="266"/>
                </a:cubicBezTo>
                <a:lnTo>
                  <a:pt x="373" y="20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92"/>
                </a:moveTo>
                <a:cubicBezTo>
                  <a:pt x="416" y="186"/>
                  <a:pt x="411" y="181"/>
                  <a:pt x="405" y="181"/>
                </a:cubicBezTo>
                <a:cubicBezTo>
                  <a:pt x="106" y="181"/>
                  <a:pt x="106" y="181"/>
                  <a:pt x="106" y="181"/>
                </a:cubicBezTo>
                <a:cubicBezTo>
                  <a:pt x="100" y="181"/>
                  <a:pt x="96" y="186"/>
                  <a:pt x="96" y="192"/>
                </a:cubicBezTo>
                <a:cubicBezTo>
                  <a:pt x="96" y="320"/>
                  <a:pt x="96" y="320"/>
                  <a:pt x="96" y="320"/>
                </a:cubicBezTo>
                <a:cubicBezTo>
                  <a:pt x="96" y="326"/>
                  <a:pt x="100" y="330"/>
                  <a:pt x="106" y="330"/>
                </a:cubicBezTo>
                <a:cubicBezTo>
                  <a:pt x="405" y="330"/>
                  <a:pt x="405" y="330"/>
                  <a:pt x="405" y="330"/>
                </a:cubicBezTo>
                <a:cubicBezTo>
                  <a:pt x="411" y="330"/>
                  <a:pt x="416" y="326"/>
                  <a:pt x="416" y="320"/>
                </a:cubicBezTo>
                <a:lnTo>
                  <a:pt x="416" y="19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3" name="Freeform 270"/>
          <p:cNvSpPr>
            <a:spLocks noChangeAspect="1" noEditPoints="1"/>
          </p:cNvSpPr>
          <p:nvPr/>
        </p:nvSpPr>
        <p:spPr bwMode="auto">
          <a:xfrm>
            <a:off x="1444617" y="2062069"/>
            <a:ext cx="368120" cy="367041"/>
          </a:xfrm>
          <a:custGeom>
            <a:avLst/>
            <a:gdLst>
              <a:gd name="T0" fmla="*/ 266 w 512"/>
              <a:gd name="T1" fmla="*/ 288 h 512"/>
              <a:gd name="T2" fmla="*/ 245 w 512"/>
              <a:gd name="T3" fmla="*/ 288 h 512"/>
              <a:gd name="T4" fmla="*/ 192 w 512"/>
              <a:gd name="T5" fmla="*/ 288 h 512"/>
              <a:gd name="T6" fmla="*/ 320 w 512"/>
              <a:gd name="T7" fmla="*/ 288 h 512"/>
              <a:gd name="T8" fmla="*/ 362 w 512"/>
              <a:gd name="T9" fmla="*/ 294 h 512"/>
              <a:gd name="T10" fmla="*/ 341 w 512"/>
              <a:gd name="T11" fmla="*/ 192 h 512"/>
              <a:gd name="T12" fmla="*/ 330 w 512"/>
              <a:gd name="T13" fmla="*/ 261 h 512"/>
              <a:gd name="T14" fmla="*/ 320 w 512"/>
              <a:gd name="T15" fmla="*/ 157 h 512"/>
              <a:gd name="T16" fmla="*/ 288 w 512"/>
              <a:gd name="T17" fmla="*/ 142 h 512"/>
              <a:gd name="T18" fmla="*/ 295 w 512"/>
              <a:gd name="T19" fmla="*/ 197 h 512"/>
              <a:gd name="T20" fmla="*/ 277 w 512"/>
              <a:gd name="T21" fmla="*/ 208 h 512"/>
              <a:gd name="T22" fmla="*/ 266 w 512"/>
              <a:gd name="T23" fmla="*/ 189 h 512"/>
              <a:gd name="T24" fmla="*/ 266 w 512"/>
              <a:gd name="T25" fmla="*/ 128 h 512"/>
              <a:gd name="T26" fmla="*/ 245 w 512"/>
              <a:gd name="T27" fmla="*/ 128 h 512"/>
              <a:gd name="T28" fmla="*/ 245 w 512"/>
              <a:gd name="T29" fmla="*/ 189 h 512"/>
              <a:gd name="T30" fmla="*/ 235 w 512"/>
              <a:gd name="T31" fmla="*/ 208 h 512"/>
              <a:gd name="T32" fmla="*/ 217 w 512"/>
              <a:gd name="T33" fmla="*/ 197 h 512"/>
              <a:gd name="T34" fmla="*/ 224 w 512"/>
              <a:gd name="T35" fmla="*/ 142 h 512"/>
              <a:gd name="T36" fmla="*/ 192 w 512"/>
              <a:gd name="T37" fmla="*/ 157 h 512"/>
              <a:gd name="T38" fmla="*/ 181 w 512"/>
              <a:gd name="T39" fmla="*/ 261 h 512"/>
              <a:gd name="T40" fmla="*/ 170 w 512"/>
              <a:gd name="T41" fmla="*/ 192 h 512"/>
              <a:gd name="T42" fmla="*/ 149 w 512"/>
              <a:gd name="T43" fmla="*/ 294 h 512"/>
              <a:gd name="T44" fmla="*/ 192 w 512"/>
              <a:gd name="T45" fmla="*/ 288 h 512"/>
              <a:gd name="T46" fmla="*/ 256 w 512"/>
              <a:gd name="T47" fmla="*/ 512 h 512"/>
              <a:gd name="T48" fmla="*/ 256 w 512"/>
              <a:gd name="T49" fmla="*/ 0 h 512"/>
              <a:gd name="T50" fmla="*/ 414 w 512"/>
              <a:gd name="T51" fmla="*/ 289 h 512"/>
              <a:gd name="T52" fmla="*/ 384 w 512"/>
              <a:gd name="T53" fmla="*/ 273 h 512"/>
              <a:gd name="T54" fmla="*/ 341 w 512"/>
              <a:gd name="T55" fmla="*/ 156 h 512"/>
              <a:gd name="T56" fmla="*/ 335 w 512"/>
              <a:gd name="T57" fmla="*/ 141 h 512"/>
              <a:gd name="T58" fmla="*/ 288 w 512"/>
              <a:gd name="T59" fmla="*/ 120 h 512"/>
              <a:gd name="T60" fmla="*/ 277 w 512"/>
              <a:gd name="T61" fmla="*/ 106 h 512"/>
              <a:gd name="T62" fmla="*/ 224 w 512"/>
              <a:gd name="T63" fmla="*/ 117 h 512"/>
              <a:gd name="T64" fmla="*/ 187 w 512"/>
              <a:gd name="T65" fmla="*/ 135 h 512"/>
              <a:gd name="T66" fmla="*/ 170 w 512"/>
              <a:gd name="T67" fmla="*/ 150 h 512"/>
              <a:gd name="T68" fmla="*/ 128 w 512"/>
              <a:gd name="T69" fmla="*/ 260 h 512"/>
              <a:gd name="T70" fmla="*/ 104 w 512"/>
              <a:gd name="T71" fmla="*/ 281 h 512"/>
              <a:gd name="T72" fmla="*/ 96 w 512"/>
              <a:gd name="T73" fmla="*/ 324 h 512"/>
              <a:gd name="T74" fmla="*/ 119 w 512"/>
              <a:gd name="T75" fmla="*/ 370 h 512"/>
              <a:gd name="T76" fmla="*/ 393 w 512"/>
              <a:gd name="T77" fmla="*/ 370 h 512"/>
              <a:gd name="T78" fmla="*/ 415 w 512"/>
              <a:gd name="T79" fmla="*/ 324 h 512"/>
              <a:gd name="T80" fmla="*/ 256 w 512"/>
              <a:gd name="T81" fmla="*/ 245 h 512"/>
              <a:gd name="T82" fmla="*/ 256 w 512"/>
              <a:gd name="T83" fmla="*/ 330 h 512"/>
              <a:gd name="T84" fmla="*/ 256 w 512"/>
              <a:gd name="T85" fmla="*/ 245 h 512"/>
              <a:gd name="T86" fmla="*/ 224 w 512"/>
              <a:gd name="T87" fmla="*/ 288 h 512"/>
              <a:gd name="T88" fmla="*/ 288 w 512"/>
              <a:gd name="T89" fmla="*/ 288 h 512"/>
              <a:gd name="T90" fmla="*/ 384 w 512"/>
              <a:gd name="T91" fmla="*/ 296 h 512"/>
              <a:gd name="T92" fmla="*/ 382 w 512"/>
              <a:gd name="T93" fmla="*/ 304 h 512"/>
              <a:gd name="T94" fmla="*/ 303 w 512"/>
              <a:gd name="T95" fmla="*/ 330 h 512"/>
              <a:gd name="T96" fmla="*/ 256 w 512"/>
              <a:gd name="T97" fmla="*/ 352 h 512"/>
              <a:gd name="T98" fmla="*/ 208 w 512"/>
              <a:gd name="T99" fmla="*/ 330 h 512"/>
              <a:gd name="T100" fmla="*/ 130 w 512"/>
              <a:gd name="T101" fmla="*/ 304 h 512"/>
              <a:gd name="T102" fmla="*/ 128 w 512"/>
              <a:gd name="T103" fmla="*/ 296 h 512"/>
              <a:gd name="T104" fmla="*/ 117 w 512"/>
              <a:gd name="T105" fmla="*/ 319 h 512"/>
              <a:gd name="T106" fmla="*/ 256 w 512"/>
              <a:gd name="T107" fmla="*/ 362 h 512"/>
              <a:gd name="T108" fmla="*/ 394 w 512"/>
              <a:gd name="T109" fmla="*/ 319 h 512"/>
              <a:gd name="T110" fmla="*/ 384 w 512"/>
              <a:gd name="T111" fmla="*/ 29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256" y="277"/>
                </a:moveTo>
                <a:cubicBezTo>
                  <a:pt x="262" y="277"/>
                  <a:pt x="266" y="282"/>
                  <a:pt x="266" y="288"/>
                </a:cubicBezTo>
                <a:cubicBezTo>
                  <a:pt x="266" y="294"/>
                  <a:pt x="262" y="298"/>
                  <a:pt x="256" y="298"/>
                </a:cubicBezTo>
                <a:cubicBezTo>
                  <a:pt x="250" y="298"/>
                  <a:pt x="245" y="294"/>
                  <a:pt x="245" y="288"/>
                </a:cubicBezTo>
                <a:cubicBezTo>
                  <a:pt x="245" y="282"/>
                  <a:pt x="250" y="277"/>
                  <a:pt x="256" y="277"/>
                </a:cubicBezTo>
                <a:close/>
                <a:moveTo>
                  <a:pt x="192" y="288"/>
                </a:moveTo>
                <a:cubicBezTo>
                  <a:pt x="192" y="252"/>
                  <a:pt x="220" y="224"/>
                  <a:pt x="256" y="224"/>
                </a:cubicBezTo>
                <a:cubicBezTo>
                  <a:pt x="291" y="224"/>
                  <a:pt x="320" y="252"/>
                  <a:pt x="320" y="288"/>
                </a:cubicBezTo>
                <a:cubicBezTo>
                  <a:pt x="320" y="295"/>
                  <a:pt x="319" y="301"/>
                  <a:pt x="317" y="307"/>
                </a:cubicBezTo>
                <a:cubicBezTo>
                  <a:pt x="345" y="303"/>
                  <a:pt x="358" y="297"/>
                  <a:pt x="362" y="294"/>
                </a:cubicBezTo>
                <a:cubicBezTo>
                  <a:pt x="362" y="260"/>
                  <a:pt x="362" y="260"/>
                  <a:pt x="362" y="260"/>
                </a:cubicBezTo>
                <a:cubicBezTo>
                  <a:pt x="362" y="232"/>
                  <a:pt x="352" y="209"/>
                  <a:pt x="341" y="192"/>
                </a:cubicBezTo>
                <a:cubicBezTo>
                  <a:pt x="341" y="250"/>
                  <a:pt x="341" y="250"/>
                  <a:pt x="341" y="250"/>
                </a:cubicBezTo>
                <a:cubicBezTo>
                  <a:pt x="341" y="256"/>
                  <a:pt x="336" y="261"/>
                  <a:pt x="330" y="261"/>
                </a:cubicBezTo>
                <a:cubicBezTo>
                  <a:pt x="324" y="261"/>
                  <a:pt x="320" y="256"/>
                  <a:pt x="320" y="250"/>
                </a:cubicBezTo>
                <a:cubicBezTo>
                  <a:pt x="320" y="157"/>
                  <a:pt x="320" y="157"/>
                  <a:pt x="320" y="157"/>
                </a:cubicBezTo>
                <a:cubicBezTo>
                  <a:pt x="318" y="156"/>
                  <a:pt x="316" y="155"/>
                  <a:pt x="314" y="154"/>
                </a:cubicBezTo>
                <a:cubicBezTo>
                  <a:pt x="304" y="149"/>
                  <a:pt x="297" y="145"/>
                  <a:pt x="288" y="142"/>
                </a:cubicBezTo>
                <a:cubicBezTo>
                  <a:pt x="288" y="186"/>
                  <a:pt x="288" y="186"/>
                  <a:pt x="288" y="186"/>
                </a:cubicBezTo>
                <a:cubicBezTo>
                  <a:pt x="295" y="197"/>
                  <a:pt x="295" y="197"/>
                  <a:pt x="295" y="197"/>
                </a:cubicBezTo>
                <a:cubicBezTo>
                  <a:pt x="298" y="202"/>
                  <a:pt x="296" y="208"/>
                  <a:pt x="291" y="211"/>
                </a:cubicBezTo>
                <a:cubicBezTo>
                  <a:pt x="286" y="214"/>
                  <a:pt x="280" y="213"/>
                  <a:pt x="277" y="208"/>
                </a:cubicBezTo>
                <a:cubicBezTo>
                  <a:pt x="268" y="194"/>
                  <a:pt x="268" y="194"/>
                  <a:pt x="268" y="194"/>
                </a:cubicBezTo>
                <a:cubicBezTo>
                  <a:pt x="267" y="193"/>
                  <a:pt x="266" y="191"/>
                  <a:pt x="266" y="189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28"/>
                  <a:pt x="266" y="128"/>
                  <a:pt x="266" y="128"/>
                </a:cubicBezTo>
                <a:cubicBezTo>
                  <a:pt x="245" y="128"/>
                  <a:pt x="245" y="128"/>
                  <a:pt x="245" y="128"/>
                </a:cubicBezTo>
                <a:cubicBezTo>
                  <a:pt x="245" y="128"/>
                  <a:pt x="245" y="128"/>
                  <a:pt x="245" y="128"/>
                </a:cubicBezTo>
                <a:cubicBezTo>
                  <a:pt x="245" y="129"/>
                  <a:pt x="245" y="129"/>
                  <a:pt x="245" y="129"/>
                </a:cubicBezTo>
                <a:cubicBezTo>
                  <a:pt x="245" y="189"/>
                  <a:pt x="245" y="189"/>
                  <a:pt x="245" y="189"/>
                </a:cubicBezTo>
                <a:cubicBezTo>
                  <a:pt x="245" y="191"/>
                  <a:pt x="244" y="193"/>
                  <a:pt x="243" y="194"/>
                </a:cubicBezTo>
                <a:cubicBezTo>
                  <a:pt x="235" y="208"/>
                  <a:pt x="235" y="208"/>
                  <a:pt x="235" y="208"/>
                </a:cubicBezTo>
                <a:cubicBezTo>
                  <a:pt x="232" y="213"/>
                  <a:pt x="225" y="214"/>
                  <a:pt x="220" y="211"/>
                </a:cubicBezTo>
                <a:cubicBezTo>
                  <a:pt x="215" y="208"/>
                  <a:pt x="214" y="202"/>
                  <a:pt x="217" y="197"/>
                </a:cubicBezTo>
                <a:cubicBezTo>
                  <a:pt x="224" y="186"/>
                  <a:pt x="224" y="186"/>
                  <a:pt x="224" y="186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15" y="145"/>
                  <a:pt x="207" y="149"/>
                  <a:pt x="197" y="154"/>
                </a:cubicBezTo>
                <a:cubicBezTo>
                  <a:pt x="195" y="155"/>
                  <a:pt x="194" y="156"/>
                  <a:pt x="192" y="157"/>
                </a:cubicBezTo>
                <a:cubicBezTo>
                  <a:pt x="192" y="250"/>
                  <a:pt x="192" y="250"/>
                  <a:pt x="192" y="250"/>
                </a:cubicBezTo>
                <a:cubicBezTo>
                  <a:pt x="192" y="256"/>
                  <a:pt x="187" y="261"/>
                  <a:pt x="181" y="261"/>
                </a:cubicBezTo>
                <a:cubicBezTo>
                  <a:pt x="175" y="261"/>
                  <a:pt x="170" y="256"/>
                  <a:pt x="170" y="250"/>
                </a:cubicBezTo>
                <a:cubicBezTo>
                  <a:pt x="170" y="192"/>
                  <a:pt x="170" y="192"/>
                  <a:pt x="170" y="192"/>
                </a:cubicBezTo>
                <a:cubicBezTo>
                  <a:pt x="160" y="209"/>
                  <a:pt x="149" y="232"/>
                  <a:pt x="149" y="26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97"/>
                  <a:pt x="166" y="303"/>
                  <a:pt x="195" y="307"/>
                </a:cubicBezTo>
                <a:cubicBezTo>
                  <a:pt x="193" y="301"/>
                  <a:pt x="192" y="295"/>
                  <a:pt x="192" y="28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4" y="289"/>
                </a:moveTo>
                <a:cubicBezTo>
                  <a:pt x="414" y="285"/>
                  <a:pt x="411" y="282"/>
                  <a:pt x="407" y="281"/>
                </a:cubicBezTo>
                <a:cubicBezTo>
                  <a:pt x="384" y="273"/>
                  <a:pt x="384" y="273"/>
                  <a:pt x="384" y="273"/>
                </a:cubicBezTo>
                <a:cubicBezTo>
                  <a:pt x="384" y="260"/>
                  <a:pt x="384" y="260"/>
                  <a:pt x="384" y="260"/>
                </a:cubicBezTo>
                <a:cubicBezTo>
                  <a:pt x="384" y="225"/>
                  <a:pt x="368" y="186"/>
                  <a:pt x="341" y="156"/>
                </a:cubicBezTo>
                <a:cubicBezTo>
                  <a:pt x="341" y="150"/>
                  <a:pt x="341" y="150"/>
                  <a:pt x="341" y="150"/>
                </a:cubicBezTo>
                <a:cubicBezTo>
                  <a:pt x="341" y="146"/>
                  <a:pt x="339" y="143"/>
                  <a:pt x="335" y="141"/>
                </a:cubicBezTo>
                <a:cubicBezTo>
                  <a:pt x="331" y="139"/>
                  <a:pt x="327" y="137"/>
                  <a:pt x="324" y="135"/>
                </a:cubicBezTo>
                <a:cubicBezTo>
                  <a:pt x="312" y="129"/>
                  <a:pt x="302" y="123"/>
                  <a:pt x="288" y="120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11"/>
                  <a:pt x="283" y="106"/>
                  <a:pt x="277" y="106"/>
                </a:cubicBezTo>
                <a:cubicBezTo>
                  <a:pt x="234" y="106"/>
                  <a:pt x="234" y="106"/>
                  <a:pt x="234" y="106"/>
                </a:cubicBezTo>
                <a:cubicBezTo>
                  <a:pt x="228" y="106"/>
                  <a:pt x="224" y="111"/>
                  <a:pt x="224" y="117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10" y="123"/>
                  <a:pt x="200" y="129"/>
                  <a:pt x="187" y="135"/>
                </a:cubicBezTo>
                <a:cubicBezTo>
                  <a:pt x="184" y="137"/>
                  <a:pt x="180" y="139"/>
                  <a:pt x="176" y="141"/>
                </a:cubicBezTo>
                <a:cubicBezTo>
                  <a:pt x="173" y="143"/>
                  <a:pt x="170" y="146"/>
                  <a:pt x="170" y="150"/>
                </a:cubicBezTo>
                <a:cubicBezTo>
                  <a:pt x="170" y="156"/>
                  <a:pt x="170" y="156"/>
                  <a:pt x="170" y="156"/>
                </a:cubicBezTo>
                <a:cubicBezTo>
                  <a:pt x="144" y="186"/>
                  <a:pt x="128" y="225"/>
                  <a:pt x="128" y="260"/>
                </a:cubicBezTo>
                <a:cubicBezTo>
                  <a:pt x="128" y="273"/>
                  <a:pt x="128" y="273"/>
                  <a:pt x="128" y="273"/>
                </a:cubicBezTo>
                <a:cubicBezTo>
                  <a:pt x="104" y="281"/>
                  <a:pt x="104" y="281"/>
                  <a:pt x="104" y="281"/>
                </a:cubicBezTo>
                <a:cubicBezTo>
                  <a:pt x="100" y="282"/>
                  <a:pt x="98" y="285"/>
                  <a:pt x="97" y="289"/>
                </a:cubicBezTo>
                <a:cubicBezTo>
                  <a:pt x="96" y="291"/>
                  <a:pt x="93" y="310"/>
                  <a:pt x="96" y="324"/>
                </a:cubicBezTo>
                <a:cubicBezTo>
                  <a:pt x="100" y="338"/>
                  <a:pt x="115" y="365"/>
                  <a:pt x="117" y="368"/>
                </a:cubicBezTo>
                <a:cubicBezTo>
                  <a:pt x="118" y="369"/>
                  <a:pt x="118" y="369"/>
                  <a:pt x="119" y="370"/>
                </a:cubicBezTo>
                <a:cubicBezTo>
                  <a:pt x="129" y="381"/>
                  <a:pt x="199" y="384"/>
                  <a:pt x="256" y="384"/>
                </a:cubicBezTo>
                <a:cubicBezTo>
                  <a:pt x="312" y="384"/>
                  <a:pt x="382" y="381"/>
                  <a:pt x="393" y="370"/>
                </a:cubicBezTo>
                <a:cubicBezTo>
                  <a:pt x="393" y="369"/>
                  <a:pt x="394" y="369"/>
                  <a:pt x="394" y="368"/>
                </a:cubicBezTo>
                <a:cubicBezTo>
                  <a:pt x="396" y="365"/>
                  <a:pt x="411" y="338"/>
                  <a:pt x="415" y="324"/>
                </a:cubicBezTo>
                <a:cubicBezTo>
                  <a:pt x="419" y="310"/>
                  <a:pt x="415" y="291"/>
                  <a:pt x="414" y="289"/>
                </a:cubicBezTo>
                <a:close/>
                <a:moveTo>
                  <a:pt x="256" y="245"/>
                </a:moveTo>
                <a:cubicBezTo>
                  <a:pt x="279" y="245"/>
                  <a:pt x="298" y="264"/>
                  <a:pt x="298" y="288"/>
                </a:cubicBezTo>
                <a:cubicBezTo>
                  <a:pt x="298" y="311"/>
                  <a:pt x="279" y="330"/>
                  <a:pt x="256" y="330"/>
                </a:cubicBezTo>
                <a:cubicBezTo>
                  <a:pt x="232" y="330"/>
                  <a:pt x="213" y="311"/>
                  <a:pt x="213" y="288"/>
                </a:cubicBezTo>
                <a:cubicBezTo>
                  <a:pt x="213" y="264"/>
                  <a:pt x="232" y="245"/>
                  <a:pt x="256" y="245"/>
                </a:cubicBezTo>
                <a:close/>
                <a:moveTo>
                  <a:pt x="256" y="256"/>
                </a:moveTo>
                <a:cubicBezTo>
                  <a:pt x="238" y="256"/>
                  <a:pt x="224" y="270"/>
                  <a:pt x="224" y="288"/>
                </a:cubicBezTo>
                <a:cubicBezTo>
                  <a:pt x="224" y="305"/>
                  <a:pt x="238" y="320"/>
                  <a:pt x="256" y="320"/>
                </a:cubicBezTo>
                <a:cubicBezTo>
                  <a:pt x="273" y="320"/>
                  <a:pt x="288" y="305"/>
                  <a:pt x="288" y="288"/>
                </a:cubicBezTo>
                <a:cubicBezTo>
                  <a:pt x="288" y="270"/>
                  <a:pt x="273" y="256"/>
                  <a:pt x="256" y="256"/>
                </a:cubicBezTo>
                <a:close/>
                <a:moveTo>
                  <a:pt x="384" y="296"/>
                </a:moveTo>
                <a:cubicBezTo>
                  <a:pt x="384" y="298"/>
                  <a:pt x="384" y="298"/>
                  <a:pt x="384" y="298"/>
                </a:cubicBezTo>
                <a:cubicBezTo>
                  <a:pt x="384" y="301"/>
                  <a:pt x="383" y="303"/>
                  <a:pt x="382" y="304"/>
                </a:cubicBezTo>
                <a:cubicBezTo>
                  <a:pt x="379" y="308"/>
                  <a:pt x="365" y="324"/>
                  <a:pt x="305" y="330"/>
                </a:cubicBezTo>
                <a:cubicBezTo>
                  <a:pt x="304" y="330"/>
                  <a:pt x="304" y="330"/>
                  <a:pt x="303" y="330"/>
                </a:cubicBezTo>
                <a:cubicBezTo>
                  <a:pt x="303" y="330"/>
                  <a:pt x="303" y="330"/>
                  <a:pt x="303" y="330"/>
                </a:cubicBezTo>
                <a:cubicBezTo>
                  <a:pt x="292" y="343"/>
                  <a:pt x="275" y="352"/>
                  <a:pt x="256" y="352"/>
                </a:cubicBezTo>
                <a:cubicBezTo>
                  <a:pt x="237" y="352"/>
                  <a:pt x="220" y="343"/>
                  <a:pt x="208" y="330"/>
                </a:cubicBezTo>
                <a:cubicBezTo>
                  <a:pt x="208" y="330"/>
                  <a:pt x="208" y="330"/>
                  <a:pt x="208" y="330"/>
                </a:cubicBezTo>
                <a:cubicBezTo>
                  <a:pt x="208" y="330"/>
                  <a:pt x="207" y="330"/>
                  <a:pt x="207" y="330"/>
                </a:cubicBezTo>
                <a:cubicBezTo>
                  <a:pt x="146" y="324"/>
                  <a:pt x="132" y="308"/>
                  <a:pt x="130" y="304"/>
                </a:cubicBezTo>
                <a:cubicBezTo>
                  <a:pt x="128" y="303"/>
                  <a:pt x="128" y="301"/>
                  <a:pt x="128" y="298"/>
                </a:cubicBezTo>
                <a:cubicBezTo>
                  <a:pt x="128" y="296"/>
                  <a:pt x="128" y="296"/>
                  <a:pt x="128" y="296"/>
                </a:cubicBezTo>
                <a:cubicBezTo>
                  <a:pt x="117" y="299"/>
                  <a:pt x="117" y="299"/>
                  <a:pt x="117" y="299"/>
                </a:cubicBezTo>
                <a:cubicBezTo>
                  <a:pt x="116" y="305"/>
                  <a:pt x="116" y="313"/>
                  <a:pt x="117" y="319"/>
                </a:cubicBezTo>
                <a:cubicBezTo>
                  <a:pt x="119" y="327"/>
                  <a:pt x="129" y="345"/>
                  <a:pt x="134" y="355"/>
                </a:cubicBezTo>
                <a:cubicBezTo>
                  <a:pt x="140" y="357"/>
                  <a:pt x="167" y="362"/>
                  <a:pt x="256" y="362"/>
                </a:cubicBezTo>
                <a:cubicBezTo>
                  <a:pt x="345" y="362"/>
                  <a:pt x="371" y="357"/>
                  <a:pt x="377" y="355"/>
                </a:cubicBezTo>
                <a:cubicBezTo>
                  <a:pt x="382" y="345"/>
                  <a:pt x="392" y="327"/>
                  <a:pt x="394" y="319"/>
                </a:cubicBezTo>
                <a:cubicBezTo>
                  <a:pt x="396" y="313"/>
                  <a:pt x="395" y="305"/>
                  <a:pt x="395" y="299"/>
                </a:cubicBezTo>
                <a:lnTo>
                  <a:pt x="384" y="2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4" name="Group 273"/>
          <p:cNvGrpSpPr>
            <a:grpSpLocks noChangeAspect="1"/>
          </p:cNvGrpSpPr>
          <p:nvPr/>
        </p:nvGrpSpPr>
        <p:grpSpPr bwMode="auto">
          <a:xfrm>
            <a:off x="1942489" y="2062065"/>
            <a:ext cx="367041" cy="368120"/>
            <a:chOff x="6522" y="1505"/>
            <a:chExt cx="340" cy="341"/>
          </a:xfrm>
          <a:solidFill>
            <a:schemeClr val="accent3"/>
          </a:solidFill>
        </p:grpSpPr>
        <p:sp>
          <p:nvSpPr>
            <p:cNvPr id="275" name="Freeform 274"/>
            <p:cNvSpPr>
              <a:spLocks noEditPoints="1"/>
            </p:cNvSpPr>
            <p:nvPr/>
          </p:nvSpPr>
          <p:spPr bwMode="auto">
            <a:xfrm>
              <a:off x="6522" y="150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275"/>
            <p:cNvSpPr>
              <a:spLocks noEditPoints="1"/>
            </p:cNvSpPr>
            <p:nvPr/>
          </p:nvSpPr>
          <p:spPr bwMode="auto">
            <a:xfrm>
              <a:off x="6584" y="1576"/>
              <a:ext cx="216" cy="185"/>
            </a:xfrm>
            <a:custGeom>
              <a:avLst/>
              <a:gdLst>
                <a:gd name="T0" fmla="*/ 314 w 326"/>
                <a:gd name="T1" fmla="*/ 175 h 278"/>
                <a:gd name="T2" fmla="*/ 291 w 326"/>
                <a:gd name="T3" fmla="*/ 154 h 278"/>
                <a:gd name="T4" fmla="*/ 248 w 326"/>
                <a:gd name="T5" fmla="*/ 44 h 278"/>
                <a:gd name="T6" fmla="*/ 231 w 326"/>
                <a:gd name="T7" fmla="*/ 29 h 278"/>
                <a:gd name="T8" fmla="*/ 195 w 326"/>
                <a:gd name="T9" fmla="*/ 11 h 278"/>
                <a:gd name="T10" fmla="*/ 141 w 326"/>
                <a:gd name="T11" fmla="*/ 0 h 278"/>
                <a:gd name="T12" fmla="*/ 131 w 326"/>
                <a:gd name="T13" fmla="*/ 14 h 278"/>
                <a:gd name="T14" fmla="*/ 83 w 326"/>
                <a:gd name="T15" fmla="*/ 35 h 278"/>
                <a:gd name="T16" fmla="*/ 77 w 326"/>
                <a:gd name="T17" fmla="*/ 50 h 278"/>
                <a:gd name="T18" fmla="*/ 35 w 326"/>
                <a:gd name="T19" fmla="*/ 167 h 278"/>
                <a:gd name="T20" fmla="*/ 4 w 326"/>
                <a:gd name="T21" fmla="*/ 183 h 278"/>
                <a:gd name="T22" fmla="*/ 24 w 326"/>
                <a:gd name="T23" fmla="*/ 262 h 278"/>
                <a:gd name="T24" fmla="*/ 163 w 326"/>
                <a:gd name="T25" fmla="*/ 278 h 278"/>
                <a:gd name="T26" fmla="*/ 301 w 326"/>
                <a:gd name="T27" fmla="*/ 262 h 278"/>
                <a:gd name="T28" fmla="*/ 321 w 326"/>
                <a:gd name="T29" fmla="*/ 183 h 278"/>
                <a:gd name="T30" fmla="*/ 77 w 326"/>
                <a:gd name="T31" fmla="*/ 86 h 278"/>
                <a:gd name="T32" fmla="*/ 88 w 326"/>
                <a:gd name="T33" fmla="*/ 155 h 278"/>
                <a:gd name="T34" fmla="*/ 99 w 326"/>
                <a:gd name="T35" fmla="*/ 51 h 278"/>
                <a:gd name="T36" fmla="*/ 131 w 326"/>
                <a:gd name="T37" fmla="*/ 36 h 278"/>
                <a:gd name="T38" fmla="*/ 124 w 326"/>
                <a:gd name="T39" fmla="*/ 91 h 278"/>
                <a:gd name="T40" fmla="*/ 142 w 326"/>
                <a:gd name="T41" fmla="*/ 102 h 278"/>
                <a:gd name="T42" fmla="*/ 152 w 326"/>
                <a:gd name="T43" fmla="*/ 83 h 278"/>
                <a:gd name="T44" fmla="*/ 152 w 326"/>
                <a:gd name="T45" fmla="*/ 22 h 278"/>
                <a:gd name="T46" fmla="*/ 173 w 326"/>
                <a:gd name="T47" fmla="*/ 22 h 278"/>
                <a:gd name="T48" fmla="*/ 173 w 326"/>
                <a:gd name="T49" fmla="*/ 83 h 278"/>
                <a:gd name="T50" fmla="*/ 184 w 326"/>
                <a:gd name="T51" fmla="*/ 102 h 278"/>
                <a:gd name="T52" fmla="*/ 202 w 326"/>
                <a:gd name="T53" fmla="*/ 91 h 278"/>
                <a:gd name="T54" fmla="*/ 195 w 326"/>
                <a:gd name="T55" fmla="*/ 36 h 278"/>
                <a:gd name="T56" fmla="*/ 227 w 326"/>
                <a:gd name="T57" fmla="*/ 51 h 278"/>
                <a:gd name="T58" fmla="*/ 237 w 326"/>
                <a:gd name="T59" fmla="*/ 155 h 278"/>
                <a:gd name="T60" fmla="*/ 248 w 326"/>
                <a:gd name="T61" fmla="*/ 86 h 278"/>
                <a:gd name="T62" fmla="*/ 269 w 326"/>
                <a:gd name="T63" fmla="*/ 188 h 278"/>
                <a:gd name="T64" fmla="*/ 227 w 326"/>
                <a:gd name="T65" fmla="*/ 182 h 278"/>
                <a:gd name="T66" fmla="*/ 99 w 326"/>
                <a:gd name="T67" fmla="*/ 182 h 278"/>
                <a:gd name="T68" fmla="*/ 56 w 326"/>
                <a:gd name="T69" fmla="*/ 188 h 278"/>
                <a:gd name="T70" fmla="*/ 205 w 326"/>
                <a:gd name="T71" fmla="*/ 182 h 278"/>
                <a:gd name="T72" fmla="*/ 120 w 326"/>
                <a:gd name="T73" fmla="*/ 182 h 278"/>
                <a:gd name="T74" fmla="*/ 205 w 326"/>
                <a:gd name="T75" fmla="*/ 182 h 278"/>
                <a:gd name="T76" fmla="*/ 284 w 326"/>
                <a:gd name="T77" fmla="*/ 249 h 278"/>
                <a:gd name="T78" fmla="*/ 41 w 326"/>
                <a:gd name="T79" fmla="*/ 249 h 278"/>
                <a:gd name="T80" fmla="*/ 24 w 326"/>
                <a:gd name="T81" fmla="*/ 193 h 278"/>
                <a:gd name="T82" fmla="*/ 35 w 326"/>
                <a:gd name="T83" fmla="*/ 192 h 278"/>
                <a:gd name="T84" fmla="*/ 114 w 326"/>
                <a:gd name="T85" fmla="*/ 224 h 278"/>
                <a:gd name="T86" fmla="*/ 115 w 326"/>
                <a:gd name="T87" fmla="*/ 224 h 278"/>
                <a:gd name="T88" fmla="*/ 210 w 326"/>
                <a:gd name="T89" fmla="*/ 224 h 278"/>
                <a:gd name="T90" fmla="*/ 212 w 326"/>
                <a:gd name="T91" fmla="*/ 224 h 278"/>
                <a:gd name="T92" fmla="*/ 291 w 326"/>
                <a:gd name="T93" fmla="*/ 192 h 278"/>
                <a:gd name="T94" fmla="*/ 302 w 326"/>
                <a:gd name="T95" fmla="*/ 193 h 278"/>
                <a:gd name="T96" fmla="*/ 131 w 326"/>
                <a:gd name="T97" fmla="*/ 182 h 278"/>
                <a:gd name="T98" fmla="*/ 195 w 326"/>
                <a:gd name="T99" fmla="*/ 182 h 278"/>
                <a:gd name="T100" fmla="*/ 131 w 326"/>
                <a:gd name="T101" fmla="*/ 182 h 278"/>
                <a:gd name="T102" fmla="*/ 163 w 326"/>
                <a:gd name="T103" fmla="*/ 192 h 278"/>
                <a:gd name="T104" fmla="*/ 163 w 326"/>
                <a:gd name="T105" fmla="*/ 17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6" h="278">
                  <a:moveTo>
                    <a:pt x="321" y="183"/>
                  </a:moveTo>
                  <a:cubicBezTo>
                    <a:pt x="321" y="179"/>
                    <a:pt x="318" y="176"/>
                    <a:pt x="314" y="175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91" y="154"/>
                    <a:pt x="291" y="154"/>
                    <a:pt x="291" y="154"/>
                  </a:cubicBezTo>
                  <a:cubicBezTo>
                    <a:pt x="291" y="119"/>
                    <a:pt x="275" y="80"/>
                    <a:pt x="248" y="50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48" y="40"/>
                    <a:pt x="246" y="37"/>
                    <a:pt x="242" y="35"/>
                  </a:cubicBezTo>
                  <a:cubicBezTo>
                    <a:pt x="238" y="33"/>
                    <a:pt x="234" y="31"/>
                    <a:pt x="231" y="29"/>
                  </a:cubicBezTo>
                  <a:cubicBezTo>
                    <a:pt x="219" y="23"/>
                    <a:pt x="209" y="17"/>
                    <a:pt x="195" y="14"/>
                  </a:cubicBezTo>
                  <a:cubicBezTo>
                    <a:pt x="195" y="11"/>
                    <a:pt x="195" y="11"/>
                    <a:pt x="195" y="11"/>
                  </a:cubicBezTo>
                  <a:cubicBezTo>
                    <a:pt x="195" y="5"/>
                    <a:pt x="190" y="0"/>
                    <a:pt x="18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35" y="0"/>
                    <a:pt x="131" y="5"/>
                    <a:pt x="131" y="11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17" y="17"/>
                    <a:pt x="107" y="23"/>
                    <a:pt x="94" y="29"/>
                  </a:cubicBezTo>
                  <a:cubicBezTo>
                    <a:pt x="91" y="31"/>
                    <a:pt x="87" y="33"/>
                    <a:pt x="83" y="35"/>
                  </a:cubicBezTo>
                  <a:cubicBezTo>
                    <a:pt x="80" y="37"/>
                    <a:pt x="77" y="40"/>
                    <a:pt x="77" y="44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51" y="80"/>
                    <a:pt x="35" y="119"/>
                    <a:pt x="35" y="154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7" y="176"/>
                    <a:pt x="5" y="179"/>
                    <a:pt x="4" y="183"/>
                  </a:cubicBezTo>
                  <a:cubicBezTo>
                    <a:pt x="3" y="185"/>
                    <a:pt x="0" y="204"/>
                    <a:pt x="3" y="218"/>
                  </a:cubicBezTo>
                  <a:cubicBezTo>
                    <a:pt x="7" y="232"/>
                    <a:pt x="22" y="259"/>
                    <a:pt x="24" y="262"/>
                  </a:cubicBezTo>
                  <a:cubicBezTo>
                    <a:pt x="25" y="263"/>
                    <a:pt x="25" y="263"/>
                    <a:pt x="26" y="264"/>
                  </a:cubicBezTo>
                  <a:cubicBezTo>
                    <a:pt x="36" y="275"/>
                    <a:pt x="106" y="278"/>
                    <a:pt x="163" y="278"/>
                  </a:cubicBezTo>
                  <a:cubicBezTo>
                    <a:pt x="219" y="278"/>
                    <a:pt x="289" y="275"/>
                    <a:pt x="300" y="264"/>
                  </a:cubicBezTo>
                  <a:cubicBezTo>
                    <a:pt x="300" y="263"/>
                    <a:pt x="301" y="263"/>
                    <a:pt x="301" y="262"/>
                  </a:cubicBezTo>
                  <a:cubicBezTo>
                    <a:pt x="303" y="259"/>
                    <a:pt x="318" y="232"/>
                    <a:pt x="322" y="218"/>
                  </a:cubicBezTo>
                  <a:cubicBezTo>
                    <a:pt x="326" y="204"/>
                    <a:pt x="322" y="185"/>
                    <a:pt x="321" y="183"/>
                  </a:cubicBezTo>
                  <a:close/>
                  <a:moveTo>
                    <a:pt x="56" y="154"/>
                  </a:moveTo>
                  <a:cubicBezTo>
                    <a:pt x="56" y="126"/>
                    <a:pt x="67" y="103"/>
                    <a:pt x="77" y="86"/>
                  </a:cubicBezTo>
                  <a:cubicBezTo>
                    <a:pt x="77" y="144"/>
                    <a:pt x="77" y="144"/>
                    <a:pt x="77" y="144"/>
                  </a:cubicBezTo>
                  <a:cubicBezTo>
                    <a:pt x="77" y="150"/>
                    <a:pt x="82" y="155"/>
                    <a:pt x="88" y="155"/>
                  </a:cubicBezTo>
                  <a:cubicBezTo>
                    <a:pt x="94" y="155"/>
                    <a:pt x="99" y="150"/>
                    <a:pt x="99" y="144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101" y="50"/>
                    <a:pt x="102" y="49"/>
                    <a:pt x="104" y="48"/>
                  </a:cubicBezTo>
                  <a:cubicBezTo>
                    <a:pt x="114" y="43"/>
                    <a:pt x="122" y="39"/>
                    <a:pt x="131" y="36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1" y="96"/>
                    <a:pt x="122" y="102"/>
                    <a:pt x="127" y="105"/>
                  </a:cubicBezTo>
                  <a:cubicBezTo>
                    <a:pt x="132" y="108"/>
                    <a:pt x="139" y="107"/>
                    <a:pt x="142" y="102"/>
                  </a:cubicBezTo>
                  <a:cubicBezTo>
                    <a:pt x="150" y="88"/>
                    <a:pt x="150" y="88"/>
                    <a:pt x="150" y="88"/>
                  </a:cubicBezTo>
                  <a:cubicBezTo>
                    <a:pt x="151" y="87"/>
                    <a:pt x="152" y="85"/>
                    <a:pt x="152" y="83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2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73" y="22"/>
                    <a:pt x="173" y="22"/>
                    <a:pt x="173" y="22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83"/>
                    <a:pt x="173" y="83"/>
                    <a:pt x="173" y="83"/>
                  </a:cubicBezTo>
                  <a:cubicBezTo>
                    <a:pt x="173" y="85"/>
                    <a:pt x="174" y="87"/>
                    <a:pt x="175" y="88"/>
                  </a:cubicBezTo>
                  <a:cubicBezTo>
                    <a:pt x="184" y="102"/>
                    <a:pt x="184" y="102"/>
                    <a:pt x="184" y="102"/>
                  </a:cubicBezTo>
                  <a:cubicBezTo>
                    <a:pt x="187" y="107"/>
                    <a:pt x="193" y="108"/>
                    <a:pt x="198" y="105"/>
                  </a:cubicBezTo>
                  <a:cubicBezTo>
                    <a:pt x="203" y="102"/>
                    <a:pt x="205" y="96"/>
                    <a:pt x="202" y="91"/>
                  </a:cubicBezTo>
                  <a:cubicBezTo>
                    <a:pt x="195" y="80"/>
                    <a:pt x="195" y="80"/>
                    <a:pt x="195" y="80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204" y="39"/>
                    <a:pt x="211" y="43"/>
                    <a:pt x="221" y="48"/>
                  </a:cubicBezTo>
                  <a:cubicBezTo>
                    <a:pt x="223" y="49"/>
                    <a:pt x="225" y="50"/>
                    <a:pt x="227" y="51"/>
                  </a:cubicBezTo>
                  <a:cubicBezTo>
                    <a:pt x="227" y="144"/>
                    <a:pt x="227" y="144"/>
                    <a:pt x="227" y="144"/>
                  </a:cubicBezTo>
                  <a:cubicBezTo>
                    <a:pt x="227" y="150"/>
                    <a:pt x="231" y="155"/>
                    <a:pt x="237" y="155"/>
                  </a:cubicBezTo>
                  <a:cubicBezTo>
                    <a:pt x="243" y="155"/>
                    <a:pt x="248" y="150"/>
                    <a:pt x="248" y="144"/>
                  </a:cubicBezTo>
                  <a:cubicBezTo>
                    <a:pt x="248" y="86"/>
                    <a:pt x="248" y="86"/>
                    <a:pt x="248" y="86"/>
                  </a:cubicBezTo>
                  <a:cubicBezTo>
                    <a:pt x="259" y="103"/>
                    <a:pt x="269" y="126"/>
                    <a:pt x="269" y="154"/>
                  </a:cubicBezTo>
                  <a:cubicBezTo>
                    <a:pt x="269" y="188"/>
                    <a:pt x="269" y="188"/>
                    <a:pt x="269" y="188"/>
                  </a:cubicBezTo>
                  <a:cubicBezTo>
                    <a:pt x="265" y="191"/>
                    <a:pt x="252" y="197"/>
                    <a:pt x="224" y="201"/>
                  </a:cubicBezTo>
                  <a:cubicBezTo>
                    <a:pt x="226" y="195"/>
                    <a:pt x="227" y="189"/>
                    <a:pt x="227" y="182"/>
                  </a:cubicBezTo>
                  <a:cubicBezTo>
                    <a:pt x="227" y="146"/>
                    <a:pt x="198" y="118"/>
                    <a:pt x="163" y="118"/>
                  </a:cubicBezTo>
                  <a:cubicBezTo>
                    <a:pt x="127" y="118"/>
                    <a:pt x="99" y="146"/>
                    <a:pt x="99" y="182"/>
                  </a:cubicBezTo>
                  <a:cubicBezTo>
                    <a:pt x="99" y="189"/>
                    <a:pt x="100" y="195"/>
                    <a:pt x="102" y="201"/>
                  </a:cubicBezTo>
                  <a:cubicBezTo>
                    <a:pt x="73" y="197"/>
                    <a:pt x="60" y="191"/>
                    <a:pt x="56" y="188"/>
                  </a:cubicBezTo>
                  <a:lnTo>
                    <a:pt x="56" y="154"/>
                  </a:lnTo>
                  <a:close/>
                  <a:moveTo>
                    <a:pt x="205" y="182"/>
                  </a:moveTo>
                  <a:cubicBezTo>
                    <a:pt x="205" y="205"/>
                    <a:pt x="186" y="224"/>
                    <a:pt x="163" y="224"/>
                  </a:cubicBezTo>
                  <a:cubicBezTo>
                    <a:pt x="139" y="224"/>
                    <a:pt x="120" y="205"/>
                    <a:pt x="120" y="182"/>
                  </a:cubicBezTo>
                  <a:cubicBezTo>
                    <a:pt x="120" y="158"/>
                    <a:pt x="139" y="139"/>
                    <a:pt x="163" y="139"/>
                  </a:cubicBezTo>
                  <a:cubicBezTo>
                    <a:pt x="186" y="139"/>
                    <a:pt x="205" y="158"/>
                    <a:pt x="205" y="182"/>
                  </a:cubicBezTo>
                  <a:close/>
                  <a:moveTo>
                    <a:pt x="301" y="213"/>
                  </a:moveTo>
                  <a:cubicBezTo>
                    <a:pt x="299" y="221"/>
                    <a:pt x="289" y="239"/>
                    <a:pt x="284" y="249"/>
                  </a:cubicBezTo>
                  <a:cubicBezTo>
                    <a:pt x="278" y="251"/>
                    <a:pt x="252" y="256"/>
                    <a:pt x="163" y="256"/>
                  </a:cubicBezTo>
                  <a:cubicBezTo>
                    <a:pt x="74" y="256"/>
                    <a:pt x="47" y="251"/>
                    <a:pt x="41" y="249"/>
                  </a:cubicBezTo>
                  <a:cubicBezTo>
                    <a:pt x="36" y="239"/>
                    <a:pt x="26" y="221"/>
                    <a:pt x="24" y="213"/>
                  </a:cubicBezTo>
                  <a:cubicBezTo>
                    <a:pt x="23" y="207"/>
                    <a:pt x="23" y="199"/>
                    <a:pt x="24" y="193"/>
                  </a:cubicBezTo>
                  <a:cubicBezTo>
                    <a:pt x="35" y="190"/>
                    <a:pt x="35" y="190"/>
                    <a:pt x="35" y="190"/>
                  </a:cubicBezTo>
                  <a:cubicBezTo>
                    <a:pt x="35" y="192"/>
                    <a:pt x="35" y="192"/>
                    <a:pt x="35" y="192"/>
                  </a:cubicBezTo>
                  <a:cubicBezTo>
                    <a:pt x="35" y="195"/>
                    <a:pt x="35" y="197"/>
                    <a:pt x="37" y="198"/>
                  </a:cubicBezTo>
                  <a:cubicBezTo>
                    <a:pt x="39" y="202"/>
                    <a:pt x="53" y="218"/>
                    <a:pt x="114" y="224"/>
                  </a:cubicBezTo>
                  <a:cubicBezTo>
                    <a:pt x="114" y="224"/>
                    <a:pt x="115" y="224"/>
                    <a:pt x="115" y="224"/>
                  </a:cubicBezTo>
                  <a:cubicBezTo>
                    <a:pt x="115" y="224"/>
                    <a:pt x="115" y="224"/>
                    <a:pt x="115" y="224"/>
                  </a:cubicBezTo>
                  <a:cubicBezTo>
                    <a:pt x="127" y="237"/>
                    <a:pt x="144" y="246"/>
                    <a:pt x="163" y="246"/>
                  </a:cubicBezTo>
                  <a:cubicBezTo>
                    <a:pt x="182" y="246"/>
                    <a:pt x="199" y="237"/>
                    <a:pt x="210" y="224"/>
                  </a:cubicBezTo>
                  <a:cubicBezTo>
                    <a:pt x="210" y="224"/>
                    <a:pt x="210" y="224"/>
                    <a:pt x="210" y="224"/>
                  </a:cubicBezTo>
                  <a:cubicBezTo>
                    <a:pt x="211" y="224"/>
                    <a:pt x="211" y="224"/>
                    <a:pt x="212" y="224"/>
                  </a:cubicBezTo>
                  <a:cubicBezTo>
                    <a:pt x="272" y="218"/>
                    <a:pt x="286" y="202"/>
                    <a:pt x="289" y="198"/>
                  </a:cubicBezTo>
                  <a:cubicBezTo>
                    <a:pt x="290" y="197"/>
                    <a:pt x="291" y="195"/>
                    <a:pt x="291" y="192"/>
                  </a:cubicBezTo>
                  <a:cubicBezTo>
                    <a:pt x="291" y="190"/>
                    <a:pt x="291" y="190"/>
                    <a:pt x="291" y="190"/>
                  </a:cubicBezTo>
                  <a:cubicBezTo>
                    <a:pt x="302" y="193"/>
                    <a:pt x="302" y="193"/>
                    <a:pt x="302" y="193"/>
                  </a:cubicBezTo>
                  <a:cubicBezTo>
                    <a:pt x="302" y="199"/>
                    <a:pt x="303" y="207"/>
                    <a:pt x="301" y="213"/>
                  </a:cubicBezTo>
                  <a:close/>
                  <a:moveTo>
                    <a:pt x="131" y="182"/>
                  </a:moveTo>
                  <a:cubicBezTo>
                    <a:pt x="131" y="199"/>
                    <a:pt x="145" y="214"/>
                    <a:pt x="163" y="214"/>
                  </a:cubicBezTo>
                  <a:cubicBezTo>
                    <a:pt x="180" y="214"/>
                    <a:pt x="195" y="199"/>
                    <a:pt x="195" y="182"/>
                  </a:cubicBezTo>
                  <a:cubicBezTo>
                    <a:pt x="195" y="164"/>
                    <a:pt x="180" y="150"/>
                    <a:pt x="163" y="150"/>
                  </a:cubicBezTo>
                  <a:cubicBezTo>
                    <a:pt x="145" y="150"/>
                    <a:pt x="131" y="164"/>
                    <a:pt x="131" y="182"/>
                  </a:cubicBezTo>
                  <a:close/>
                  <a:moveTo>
                    <a:pt x="173" y="182"/>
                  </a:moveTo>
                  <a:cubicBezTo>
                    <a:pt x="173" y="188"/>
                    <a:pt x="169" y="192"/>
                    <a:pt x="163" y="192"/>
                  </a:cubicBezTo>
                  <a:cubicBezTo>
                    <a:pt x="157" y="192"/>
                    <a:pt x="152" y="188"/>
                    <a:pt x="152" y="182"/>
                  </a:cubicBezTo>
                  <a:cubicBezTo>
                    <a:pt x="152" y="176"/>
                    <a:pt x="157" y="171"/>
                    <a:pt x="163" y="171"/>
                  </a:cubicBezTo>
                  <a:cubicBezTo>
                    <a:pt x="169" y="171"/>
                    <a:pt x="173" y="176"/>
                    <a:pt x="173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7" name="Freeform 279"/>
          <p:cNvSpPr>
            <a:spLocks noChangeAspect="1" noEditPoints="1"/>
          </p:cNvSpPr>
          <p:nvPr/>
        </p:nvSpPr>
        <p:spPr bwMode="auto">
          <a:xfrm>
            <a:off x="2439282" y="2062069"/>
            <a:ext cx="367041" cy="367041"/>
          </a:xfrm>
          <a:custGeom>
            <a:avLst/>
            <a:gdLst>
              <a:gd name="T0" fmla="*/ 149 w 512"/>
              <a:gd name="T1" fmla="*/ 294 h 512"/>
              <a:gd name="T2" fmla="*/ 170 w 512"/>
              <a:gd name="T3" fmla="*/ 192 h 512"/>
              <a:gd name="T4" fmla="*/ 181 w 512"/>
              <a:gd name="T5" fmla="*/ 261 h 512"/>
              <a:gd name="T6" fmla="*/ 192 w 512"/>
              <a:gd name="T7" fmla="*/ 157 h 512"/>
              <a:gd name="T8" fmla="*/ 224 w 512"/>
              <a:gd name="T9" fmla="*/ 142 h 512"/>
              <a:gd name="T10" fmla="*/ 217 w 512"/>
              <a:gd name="T11" fmla="*/ 197 h 512"/>
              <a:gd name="T12" fmla="*/ 235 w 512"/>
              <a:gd name="T13" fmla="*/ 208 h 512"/>
              <a:gd name="T14" fmla="*/ 245 w 512"/>
              <a:gd name="T15" fmla="*/ 189 h 512"/>
              <a:gd name="T16" fmla="*/ 245 w 512"/>
              <a:gd name="T17" fmla="*/ 128 h 512"/>
              <a:gd name="T18" fmla="*/ 266 w 512"/>
              <a:gd name="T19" fmla="*/ 129 h 512"/>
              <a:gd name="T20" fmla="*/ 268 w 512"/>
              <a:gd name="T21" fmla="*/ 194 h 512"/>
              <a:gd name="T22" fmla="*/ 279 w 512"/>
              <a:gd name="T23" fmla="*/ 211 h 512"/>
              <a:gd name="T24" fmla="*/ 283 w 512"/>
              <a:gd name="T25" fmla="*/ 213 h 512"/>
              <a:gd name="T26" fmla="*/ 285 w 512"/>
              <a:gd name="T27" fmla="*/ 213 h 512"/>
              <a:gd name="T28" fmla="*/ 287 w 512"/>
              <a:gd name="T29" fmla="*/ 213 h 512"/>
              <a:gd name="T30" fmla="*/ 294 w 512"/>
              <a:gd name="T31" fmla="*/ 197 h 512"/>
              <a:gd name="T32" fmla="*/ 288 w 512"/>
              <a:gd name="T33" fmla="*/ 142 h 512"/>
              <a:gd name="T34" fmla="*/ 320 w 512"/>
              <a:gd name="T35" fmla="*/ 157 h 512"/>
              <a:gd name="T36" fmla="*/ 330 w 512"/>
              <a:gd name="T37" fmla="*/ 261 h 512"/>
              <a:gd name="T38" fmla="*/ 341 w 512"/>
              <a:gd name="T39" fmla="*/ 192 h 512"/>
              <a:gd name="T40" fmla="*/ 362 w 512"/>
              <a:gd name="T41" fmla="*/ 293 h 512"/>
              <a:gd name="T42" fmla="*/ 384 w 512"/>
              <a:gd name="T43" fmla="*/ 297 h 512"/>
              <a:gd name="T44" fmla="*/ 379 w 512"/>
              <a:gd name="T45" fmla="*/ 307 h 512"/>
              <a:gd name="T46" fmla="*/ 130 w 512"/>
              <a:gd name="T47" fmla="*/ 305 h 512"/>
              <a:gd name="T48" fmla="*/ 128 w 512"/>
              <a:gd name="T49" fmla="*/ 297 h 512"/>
              <a:gd name="T50" fmla="*/ 118 w 512"/>
              <a:gd name="T51" fmla="*/ 319 h 512"/>
              <a:gd name="T52" fmla="*/ 256 w 512"/>
              <a:gd name="T53" fmla="*/ 362 h 512"/>
              <a:gd name="T54" fmla="*/ 257 w 512"/>
              <a:gd name="T55" fmla="*/ 362 h 512"/>
              <a:gd name="T56" fmla="*/ 394 w 512"/>
              <a:gd name="T57" fmla="*/ 319 h 512"/>
              <a:gd name="T58" fmla="*/ 384 w 512"/>
              <a:gd name="T59" fmla="*/ 297 h 512"/>
              <a:gd name="T60" fmla="*/ 256 w 512"/>
              <a:gd name="T61" fmla="*/ 512 h 512"/>
              <a:gd name="T62" fmla="*/ 256 w 512"/>
              <a:gd name="T63" fmla="*/ 0 h 512"/>
              <a:gd name="T64" fmla="*/ 414 w 512"/>
              <a:gd name="T65" fmla="*/ 289 h 512"/>
              <a:gd name="T66" fmla="*/ 384 w 512"/>
              <a:gd name="T67" fmla="*/ 274 h 512"/>
              <a:gd name="T68" fmla="*/ 341 w 512"/>
              <a:gd name="T69" fmla="*/ 156 h 512"/>
              <a:gd name="T70" fmla="*/ 335 w 512"/>
              <a:gd name="T71" fmla="*/ 141 h 512"/>
              <a:gd name="T72" fmla="*/ 288 w 512"/>
              <a:gd name="T73" fmla="*/ 120 h 512"/>
              <a:gd name="T74" fmla="*/ 277 w 512"/>
              <a:gd name="T75" fmla="*/ 106 h 512"/>
              <a:gd name="T76" fmla="*/ 224 w 512"/>
              <a:gd name="T77" fmla="*/ 117 h 512"/>
              <a:gd name="T78" fmla="*/ 187 w 512"/>
              <a:gd name="T79" fmla="*/ 135 h 512"/>
              <a:gd name="T80" fmla="*/ 170 w 512"/>
              <a:gd name="T81" fmla="*/ 150 h 512"/>
              <a:gd name="T82" fmla="*/ 128 w 512"/>
              <a:gd name="T83" fmla="*/ 260 h 512"/>
              <a:gd name="T84" fmla="*/ 105 w 512"/>
              <a:gd name="T85" fmla="*/ 281 h 512"/>
              <a:gd name="T86" fmla="*/ 97 w 512"/>
              <a:gd name="T87" fmla="*/ 325 h 512"/>
              <a:gd name="T88" fmla="*/ 119 w 512"/>
              <a:gd name="T89" fmla="*/ 370 h 512"/>
              <a:gd name="T90" fmla="*/ 256 w 512"/>
              <a:gd name="T91" fmla="*/ 384 h 512"/>
              <a:gd name="T92" fmla="*/ 393 w 512"/>
              <a:gd name="T93" fmla="*/ 370 h 512"/>
              <a:gd name="T94" fmla="*/ 415 w 512"/>
              <a:gd name="T95" fmla="*/ 32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256" y="311"/>
                </a:moveTo>
                <a:cubicBezTo>
                  <a:pt x="182" y="311"/>
                  <a:pt x="160" y="298"/>
                  <a:pt x="149" y="294"/>
                </a:cubicBezTo>
                <a:cubicBezTo>
                  <a:pt x="149" y="260"/>
                  <a:pt x="149" y="260"/>
                  <a:pt x="149" y="260"/>
                </a:cubicBezTo>
                <a:cubicBezTo>
                  <a:pt x="149" y="232"/>
                  <a:pt x="160" y="209"/>
                  <a:pt x="170" y="192"/>
                </a:cubicBezTo>
                <a:cubicBezTo>
                  <a:pt x="170" y="250"/>
                  <a:pt x="170" y="250"/>
                  <a:pt x="170" y="250"/>
                </a:cubicBezTo>
                <a:cubicBezTo>
                  <a:pt x="170" y="256"/>
                  <a:pt x="175" y="261"/>
                  <a:pt x="181" y="261"/>
                </a:cubicBezTo>
                <a:cubicBezTo>
                  <a:pt x="187" y="261"/>
                  <a:pt x="192" y="256"/>
                  <a:pt x="192" y="250"/>
                </a:cubicBezTo>
                <a:cubicBezTo>
                  <a:pt x="192" y="157"/>
                  <a:pt x="192" y="157"/>
                  <a:pt x="192" y="157"/>
                </a:cubicBezTo>
                <a:cubicBezTo>
                  <a:pt x="192" y="156"/>
                  <a:pt x="195" y="155"/>
                  <a:pt x="197" y="154"/>
                </a:cubicBezTo>
                <a:cubicBezTo>
                  <a:pt x="207" y="149"/>
                  <a:pt x="213" y="145"/>
                  <a:pt x="224" y="142"/>
                </a:cubicBezTo>
                <a:cubicBezTo>
                  <a:pt x="224" y="186"/>
                  <a:pt x="224" y="186"/>
                  <a:pt x="224" y="186"/>
                </a:cubicBezTo>
                <a:cubicBezTo>
                  <a:pt x="217" y="197"/>
                  <a:pt x="217" y="197"/>
                  <a:pt x="217" y="197"/>
                </a:cubicBezTo>
                <a:cubicBezTo>
                  <a:pt x="214" y="202"/>
                  <a:pt x="215" y="208"/>
                  <a:pt x="220" y="211"/>
                </a:cubicBezTo>
                <a:cubicBezTo>
                  <a:pt x="225" y="214"/>
                  <a:pt x="232" y="213"/>
                  <a:pt x="235" y="208"/>
                </a:cubicBezTo>
                <a:cubicBezTo>
                  <a:pt x="243" y="194"/>
                  <a:pt x="243" y="194"/>
                  <a:pt x="243" y="194"/>
                </a:cubicBezTo>
                <a:cubicBezTo>
                  <a:pt x="244" y="193"/>
                  <a:pt x="245" y="191"/>
                  <a:pt x="245" y="189"/>
                </a:cubicBezTo>
                <a:cubicBezTo>
                  <a:pt x="245" y="129"/>
                  <a:pt x="245" y="129"/>
                  <a:pt x="245" y="129"/>
                </a:cubicBezTo>
                <a:cubicBezTo>
                  <a:pt x="245" y="128"/>
                  <a:pt x="245" y="128"/>
                  <a:pt x="245" y="128"/>
                </a:cubicBezTo>
                <a:cubicBezTo>
                  <a:pt x="266" y="128"/>
                  <a:pt x="266" y="128"/>
                  <a:pt x="266" y="128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89"/>
                  <a:pt x="266" y="189"/>
                  <a:pt x="266" y="189"/>
                </a:cubicBezTo>
                <a:cubicBezTo>
                  <a:pt x="266" y="191"/>
                  <a:pt x="267" y="193"/>
                  <a:pt x="268" y="194"/>
                </a:cubicBezTo>
                <a:cubicBezTo>
                  <a:pt x="276" y="208"/>
                  <a:pt x="276" y="208"/>
                  <a:pt x="276" y="208"/>
                </a:cubicBezTo>
                <a:cubicBezTo>
                  <a:pt x="277" y="209"/>
                  <a:pt x="278" y="210"/>
                  <a:pt x="279" y="211"/>
                </a:cubicBezTo>
                <a:cubicBezTo>
                  <a:pt x="279" y="211"/>
                  <a:pt x="279" y="211"/>
                  <a:pt x="279" y="211"/>
                </a:cubicBezTo>
                <a:cubicBezTo>
                  <a:pt x="280" y="212"/>
                  <a:pt x="281" y="212"/>
                  <a:pt x="283" y="213"/>
                </a:cubicBezTo>
                <a:cubicBezTo>
                  <a:pt x="283" y="213"/>
                  <a:pt x="283" y="213"/>
                  <a:pt x="283" y="213"/>
                </a:cubicBezTo>
                <a:cubicBezTo>
                  <a:pt x="284" y="213"/>
                  <a:pt x="284" y="213"/>
                  <a:pt x="285" y="213"/>
                </a:cubicBezTo>
                <a:cubicBezTo>
                  <a:pt x="286" y="213"/>
                  <a:pt x="286" y="213"/>
                  <a:pt x="286" y="213"/>
                </a:cubicBezTo>
                <a:cubicBezTo>
                  <a:pt x="287" y="213"/>
                  <a:pt x="287" y="213"/>
                  <a:pt x="287" y="213"/>
                </a:cubicBezTo>
                <a:cubicBezTo>
                  <a:pt x="288" y="213"/>
                  <a:pt x="290" y="212"/>
                  <a:pt x="291" y="211"/>
                </a:cubicBezTo>
                <a:cubicBezTo>
                  <a:pt x="296" y="208"/>
                  <a:pt x="297" y="202"/>
                  <a:pt x="294" y="197"/>
                </a:cubicBezTo>
                <a:cubicBezTo>
                  <a:pt x="288" y="186"/>
                  <a:pt x="288" y="186"/>
                  <a:pt x="288" y="186"/>
                </a:cubicBezTo>
                <a:cubicBezTo>
                  <a:pt x="288" y="142"/>
                  <a:pt x="288" y="142"/>
                  <a:pt x="288" y="142"/>
                </a:cubicBezTo>
                <a:cubicBezTo>
                  <a:pt x="298" y="145"/>
                  <a:pt x="304" y="149"/>
                  <a:pt x="314" y="154"/>
                </a:cubicBezTo>
                <a:cubicBezTo>
                  <a:pt x="316" y="155"/>
                  <a:pt x="320" y="156"/>
                  <a:pt x="320" y="157"/>
                </a:cubicBezTo>
                <a:cubicBezTo>
                  <a:pt x="320" y="250"/>
                  <a:pt x="320" y="250"/>
                  <a:pt x="320" y="250"/>
                </a:cubicBezTo>
                <a:cubicBezTo>
                  <a:pt x="320" y="256"/>
                  <a:pt x="324" y="261"/>
                  <a:pt x="330" y="261"/>
                </a:cubicBezTo>
                <a:cubicBezTo>
                  <a:pt x="336" y="261"/>
                  <a:pt x="341" y="256"/>
                  <a:pt x="341" y="250"/>
                </a:cubicBezTo>
                <a:cubicBezTo>
                  <a:pt x="341" y="192"/>
                  <a:pt x="341" y="192"/>
                  <a:pt x="341" y="192"/>
                </a:cubicBezTo>
                <a:cubicBezTo>
                  <a:pt x="352" y="209"/>
                  <a:pt x="362" y="232"/>
                  <a:pt x="362" y="260"/>
                </a:cubicBezTo>
                <a:cubicBezTo>
                  <a:pt x="362" y="293"/>
                  <a:pt x="362" y="293"/>
                  <a:pt x="362" y="293"/>
                </a:cubicBezTo>
                <a:cubicBezTo>
                  <a:pt x="352" y="298"/>
                  <a:pt x="329" y="311"/>
                  <a:pt x="256" y="311"/>
                </a:cubicBezTo>
                <a:close/>
                <a:moveTo>
                  <a:pt x="384" y="297"/>
                </a:moveTo>
                <a:cubicBezTo>
                  <a:pt x="384" y="298"/>
                  <a:pt x="384" y="298"/>
                  <a:pt x="384" y="298"/>
                </a:cubicBezTo>
                <a:cubicBezTo>
                  <a:pt x="384" y="302"/>
                  <a:pt x="382" y="305"/>
                  <a:pt x="379" y="307"/>
                </a:cubicBezTo>
                <a:cubicBezTo>
                  <a:pt x="371" y="314"/>
                  <a:pt x="343" y="332"/>
                  <a:pt x="256" y="332"/>
                </a:cubicBezTo>
                <a:cubicBezTo>
                  <a:pt x="155" y="332"/>
                  <a:pt x="133" y="309"/>
                  <a:pt x="130" y="305"/>
                </a:cubicBezTo>
                <a:cubicBezTo>
                  <a:pt x="128" y="303"/>
                  <a:pt x="128" y="301"/>
                  <a:pt x="128" y="298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18" y="300"/>
                  <a:pt x="118" y="300"/>
                  <a:pt x="118" y="300"/>
                </a:cubicBezTo>
                <a:cubicBezTo>
                  <a:pt x="117" y="306"/>
                  <a:pt x="116" y="314"/>
                  <a:pt x="118" y="319"/>
                </a:cubicBezTo>
                <a:cubicBezTo>
                  <a:pt x="120" y="328"/>
                  <a:pt x="130" y="346"/>
                  <a:pt x="135" y="355"/>
                </a:cubicBezTo>
                <a:cubicBezTo>
                  <a:pt x="141" y="357"/>
                  <a:pt x="167" y="362"/>
                  <a:pt x="256" y="362"/>
                </a:cubicBezTo>
                <a:cubicBezTo>
                  <a:pt x="256" y="362"/>
                  <a:pt x="256" y="362"/>
                  <a:pt x="256" y="362"/>
                </a:cubicBezTo>
                <a:cubicBezTo>
                  <a:pt x="256" y="362"/>
                  <a:pt x="256" y="362"/>
                  <a:pt x="257" y="362"/>
                </a:cubicBezTo>
                <a:cubicBezTo>
                  <a:pt x="345" y="362"/>
                  <a:pt x="371" y="357"/>
                  <a:pt x="377" y="355"/>
                </a:cubicBezTo>
                <a:cubicBezTo>
                  <a:pt x="383" y="346"/>
                  <a:pt x="392" y="328"/>
                  <a:pt x="394" y="319"/>
                </a:cubicBezTo>
                <a:cubicBezTo>
                  <a:pt x="396" y="314"/>
                  <a:pt x="395" y="306"/>
                  <a:pt x="395" y="300"/>
                </a:cubicBezTo>
                <a:lnTo>
                  <a:pt x="384" y="29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4" y="289"/>
                </a:moveTo>
                <a:cubicBezTo>
                  <a:pt x="414" y="286"/>
                  <a:pt x="411" y="282"/>
                  <a:pt x="407" y="281"/>
                </a:cubicBezTo>
                <a:cubicBezTo>
                  <a:pt x="384" y="274"/>
                  <a:pt x="384" y="274"/>
                  <a:pt x="384" y="274"/>
                </a:cubicBezTo>
                <a:cubicBezTo>
                  <a:pt x="384" y="260"/>
                  <a:pt x="384" y="260"/>
                  <a:pt x="384" y="260"/>
                </a:cubicBezTo>
                <a:cubicBezTo>
                  <a:pt x="384" y="225"/>
                  <a:pt x="373" y="186"/>
                  <a:pt x="341" y="156"/>
                </a:cubicBezTo>
                <a:cubicBezTo>
                  <a:pt x="341" y="150"/>
                  <a:pt x="341" y="150"/>
                  <a:pt x="341" y="150"/>
                </a:cubicBezTo>
                <a:cubicBezTo>
                  <a:pt x="341" y="146"/>
                  <a:pt x="339" y="143"/>
                  <a:pt x="335" y="141"/>
                </a:cubicBezTo>
                <a:cubicBezTo>
                  <a:pt x="331" y="139"/>
                  <a:pt x="327" y="137"/>
                  <a:pt x="324" y="135"/>
                </a:cubicBezTo>
                <a:cubicBezTo>
                  <a:pt x="312" y="129"/>
                  <a:pt x="301" y="123"/>
                  <a:pt x="288" y="120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11"/>
                  <a:pt x="283" y="106"/>
                  <a:pt x="277" y="106"/>
                </a:cubicBezTo>
                <a:cubicBezTo>
                  <a:pt x="234" y="106"/>
                  <a:pt x="234" y="106"/>
                  <a:pt x="234" y="106"/>
                </a:cubicBezTo>
                <a:cubicBezTo>
                  <a:pt x="228" y="106"/>
                  <a:pt x="224" y="111"/>
                  <a:pt x="224" y="117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10" y="123"/>
                  <a:pt x="200" y="129"/>
                  <a:pt x="187" y="135"/>
                </a:cubicBezTo>
                <a:cubicBezTo>
                  <a:pt x="184" y="137"/>
                  <a:pt x="180" y="139"/>
                  <a:pt x="176" y="141"/>
                </a:cubicBezTo>
                <a:cubicBezTo>
                  <a:pt x="173" y="143"/>
                  <a:pt x="170" y="146"/>
                  <a:pt x="170" y="150"/>
                </a:cubicBezTo>
                <a:cubicBezTo>
                  <a:pt x="170" y="156"/>
                  <a:pt x="170" y="156"/>
                  <a:pt x="170" y="156"/>
                </a:cubicBezTo>
                <a:cubicBezTo>
                  <a:pt x="138" y="186"/>
                  <a:pt x="128" y="225"/>
                  <a:pt x="128" y="260"/>
                </a:cubicBezTo>
                <a:cubicBezTo>
                  <a:pt x="128" y="274"/>
                  <a:pt x="128" y="274"/>
                  <a:pt x="128" y="274"/>
                </a:cubicBezTo>
                <a:cubicBezTo>
                  <a:pt x="105" y="281"/>
                  <a:pt x="105" y="281"/>
                  <a:pt x="105" y="281"/>
                </a:cubicBezTo>
                <a:cubicBezTo>
                  <a:pt x="101" y="283"/>
                  <a:pt x="99" y="286"/>
                  <a:pt x="98" y="289"/>
                </a:cubicBezTo>
                <a:cubicBezTo>
                  <a:pt x="97" y="291"/>
                  <a:pt x="94" y="310"/>
                  <a:pt x="97" y="325"/>
                </a:cubicBezTo>
                <a:cubicBezTo>
                  <a:pt x="101" y="339"/>
                  <a:pt x="116" y="365"/>
                  <a:pt x="118" y="368"/>
                </a:cubicBezTo>
                <a:cubicBezTo>
                  <a:pt x="118" y="369"/>
                  <a:pt x="119" y="370"/>
                  <a:pt x="119" y="370"/>
                </a:cubicBezTo>
                <a:cubicBezTo>
                  <a:pt x="128" y="379"/>
                  <a:pt x="174" y="384"/>
                  <a:pt x="256" y="384"/>
                </a:cubicBezTo>
                <a:cubicBezTo>
                  <a:pt x="256" y="384"/>
                  <a:pt x="256" y="384"/>
                  <a:pt x="256" y="384"/>
                </a:cubicBezTo>
                <a:cubicBezTo>
                  <a:pt x="256" y="384"/>
                  <a:pt x="256" y="384"/>
                  <a:pt x="257" y="384"/>
                </a:cubicBezTo>
                <a:cubicBezTo>
                  <a:pt x="338" y="384"/>
                  <a:pt x="384" y="379"/>
                  <a:pt x="393" y="370"/>
                </a:cubicBezTo>
                <a:cubicBezTo>
                  <a:pt x="393" y="370"/>
                  <a:pt x="394" y="369"/>
                  <a:pt x="394" y="368"/>
                </a:cubicBezTo>
                <a:cubicBezTo>
                  <a:pt x="396" y="365"/>
                  <a:pt x="411" y="339"/>
                  <a:pt x="415" y="325"/>
                </a:cubicBezTo>
                <a:cubicBezTo>
                  <a:pt x="419" y="310"/>
                  <a:pt x="415" y="291"/>
                  <a:pt x="414" y="28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8" name="Group 282"/>
          <p:cNvGrpSpPr>
            <a:grpSpLocks noChangeAspect="1"/>
          </p:cNvGrpSpPr>
          <p:nvPr/>
        </p:nvGrpSpPr>
        <p:grpSpPr bwMode="auto">
          <a:xfrm>
            <a:off x="2936075" y="2062069"/>
            <a:ext cx="367041" cy="367041"/>
            <a:chOff x="7007" y="1580"/>
            <a:chExt cx="340" cy="340"/>
          </a:xfrm>
          <a:solidFill>
            <a:schemeClr val="accent3"/>
          </a:solidFill>
        </p:grpSpPr>
        <p:sp>
          <p:nvSpPr>
            <p:cNvPr id="279" name="Freeform 278"/>
            <p:cNvSpPr>
              <a:spLocks noEditPoints="1"/>
            </p:cNvSpPr>
            <p:nvPr/>
          </p:nvSpPr>
          <p:spPr bwMode="auto">
            <a:xfrm>
              <a:off x="7007" y="15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279"/>
            <p:cNvSpPr>
              <a:spLocks noEditPoints="1"/>
            </p:cNvSpPr>
            <p:nvPr/>
          </p:nvSpPr>
          <p:spPr bwMode="auto">
            <a:xfrm>
              <a:off x="7069" y="1650"/>
              <a:ext cx="216" cy="185"/>
            </a:xfrm>
            <a:custGeom>
              <a:avLst/>
              <a:gdLst>
                <a:gd name="T0" fmla="*/ 313 w 325"/>
                <a:gd name="T1" fmla="*/ 175 h 278"/>
                <a:gd name="T2" fmla="*/ 290 w 325"/>
                <a:gd name="T3" fmla="*/ 154 h 278"/>
                <a:gd name="T4" fmla="*/ 247 w 325"/>
                <a:gd name="T5" fmla="*/ 44 h 278"/>
                <a:gd name="T6" fmla="*/ 230 w 325"/>
                <a:gd name="T7" fmla="*/ 29 h 278"/>
                <a:gd name="T8" fmla="*/ 194 w 325"/>
                <a:gd name="T9" fmla="*/ 11 h 278"/>
                <a:gd name="T10" fmla="*/ 140 w 325"/>
                <a:gd name="T11" fmla="*/ 0 h 278"/>
                <a:gd name="T12" fmla="*/ 130 w 325"/>
                <a:gd name="T13" fmla="*/ 14 h 278"/>
                <a:gd name="T14" fmla="*/ 82 w 325"/>
                <a:gd name="T15" fmla="*/ 35 h 278"/>
                <a:gd name="T16" fmla="*/ 76 w 325"/>
                <a:gd name="T17" fmla="*/ 50 h 278"/>
                <a:gd name="T18" fmla="*/ 34 w 325"/>
                <a:gd name="T19" fmla="*/ 168 h 278"/>
                <a:gd name="T20" fmla="*/ 4 w 325"/>
                <a:gd name="T21" fmla="*/ 183 h 278"/>
                <a:gd name="T22" fmla="*/ 24 w 325"/>
                <a:gd name="T23" fmla="*/ 262 h 278"/>
                <a:gd name="T24" fmla="*/ 162 w 325"/>
                <a:gd name="T25" fmla="*/ 278 h 278"/>
                <a:gd name="T26" fmla="*/ 163 w 325"/>
                <a:gd name="T27" fmla="*/ 278 h 278"/>
                <a:gd name="T28" fmla="*/ 300 w 325"/>
                <a:gd name="T29" fmla="*/ 262 h 278"/>
                <a:gd name="T30" fmla="*/ 320 w 325"/>
                <a:gd name="T31" fmla="*/ 183 h 278"/>
                <a:gd name="T32" fmla="*/ 76 w 325"/>
                <a:gd name="T33" fmla="*/ 86 h 278"/>
                <a:gd name="T34" fmla="*/ 87 w 325"/>
                <a:gd name="T35" fmla="*/ 155 h 278"/>
                <a:gd name="T36" fmla="*/ 98 w 325"/>
                <a:gd name="T37" fmla="*/ 51 h 278"/>
                <a:gd name="T38" fmla="*/ 130 w 325"/>
                <a:gd name="T39" fmla="*/ 36 h 278"/>
                <a:gd name="T40" fmla="*/ 123 w 325"/>
                <a:gd name="T41" fmla="*/ 91 h 278"/>
                <a:gd name="T42" fmla="*/ 141 w 325"/>
                <a:gd name="T43" fmla="*/ 102 h 278"/>
                <a:gd name="T44" fmla="*/ 151 w 325"/>
                <a:gd name="T45" fmla="*/ 83 h 278"/>
                <a:gd name="T46" fmla="*/ 151 w 325"/>
                <a:gd name="T47" fmla="*/ 22 h 278"/>
                <a:gd name="T48" fmla="*/ 172 w 325"/>
                <a:gd name="T49" fmla="*/ 23 h 278"/>
                <a:gd name="T50" fmla="*/ 174 w 325"/>
                <a:gd name="T51" fmla="*/ 88 h 278"/>
                <a:gd name="T52" fmla="*/ 185 w 325"/>
                <a:gd name="T53" fmla="*/ 105 h 278"/>
                <a:gd name="T54" fmla="*/ 189 w 325"/>
                <a:gd name="T55" fmla="*/ 107 h 278"/>
                <a:gd name="T56" fmla="*/ 191 w 325"/>
                <a:gd name="T57" fmla="*/ 107 h 278"/>
                <a:gd name="T58" fmla="*/ 193 w 325"/>
                <a:gd name="T59" fmla="*/ 107 h 278"/>
                <a:gd name="T60" fmla="*/ 200 w 325"/>
                <a:gd name="T61" fmla="*/ 91 h 278"/>
                <a:gd name="T62" fmla="*/ 194 w 325"/>
                <a:gd name="T63" fmla="*/ 36 h 278"/>
                <a:gd name="T64" fmla="*/ 226 w 325"/>
                <a:gd name="T65" fmla="*/ 51 h 278"/>
                <a:gd name="T66" fmla="*/ 236 w 325"/>
                <a:gd name="T67" fmla="*/ 155 h 278"/>
                <a:gd name="T68" fmla="*/ 247 w 325"/>
                <a:gd name="T69" fmla="*/ 86 h 278"/>
                <a:gd name="T70" fmla="*/ 268 w 325"/>
                <a:gd name="T71" fmla="*/ 187 h 278"/>
                <a:gd name="T72" fmla="*/ 55 w 325"/>
                <a:gd name="T73" fmla="*/ 188 h 278"/>
                <a:gd name="T74" fmla="*/ 300 w 325"/>
                <a:gd name="T75" fmla="*/ 213 h 278"/>
                <a:gd name="T76" fmla="*/ 163 w 325"/>
                <a:gd name="T77" fmla="*/ 256 h 278"/>
                <a:gd name="T78" fmla="*/ 162 w 325"/>
                <a:gd name="T79" fmla="*/ 256 h 278"/>
                <a:gd name="T80" fmla="*/ 24 w 325"/>
                <a:gd name="T81" fmla="*/ 213 h 278"/>
                <a:gd name="T82" fmla="*/ 34 w 325"/>
                <a:gd name="T83" fmla="*/ 191 h 278"/>
                <a:gd name="T84" fmla="*/ 36 w 325"/>
                <a:gd name="T85" fmla="*/ 199 h 278"/>
                <a:gd name="T86" fmla="*/ 285 w 325"/>
                <a:gd name="T87" fmla="*/ 201 h 278"/>
                <a:gd name="T88" fmla="*/ 290 w 325"/>
                <a:gd name="T89" fmla="*/ 191 h 278"/>
                <a:gd name="T90" fmla="*/ 300 w 325"/>
                <a:gd name="T91" fmla="*/ 213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5" h="278">
                  <a:moveTo>
                    <a:pt x="320" y="183"/>
                  </a:moveTo>
                  <a:cubicBezTo>
                    <a:pt x="320" y="180"/>
                    <a:pt x="317" y="176"/>
                    <a:pt x="313" y="175"/>
                  </a:cubicBezTo>
                  <a:cubicBezTo>
                    <a:pt x="290" y="168"/>
                    <a:pt x="290" y="168"/>
                    <a:pt x="290" y="168"/>
                  </a:cubicBezTo>
                  <a:cubicBezTo>
                    <a:pt x="290" y="154"/>
                    <a:pt x="290" y="154"/>
                    <a:pt x="290" y="154"/>
                  </a:cubicBezTo>
                  <a:cubicBezTo>
                    <a:pt x="290" y="119"/>
                    <a:pt x="279" y="80"/>
                    <a:pt x="247" y="50"/>
                  </a:cubicBezTo>
                  <a:cubicBezTo>
                    <a:pt x="247" y="44"/>
                    <a:pt x="247" y="44"/>
                    <a:pt x="247" y="44"/>
                  </a:cubicBezTo>
                  <a:cubicBezTo>
                    <a:pt x="247" y="40"/>
                    <a:pt x="245" y="37"/>
                    <a:pt x="241" y="35"/>
                  </a:cubicBezTo>
                  <a:cubicBezTo>
                    <a:pt x="237" y="33"/>
                    <a:pt x="233" y="31"/>
                    <a:pt x="230" y="29"/>
                  </a:cubicBezTo>
                  <a:cubicBezTo>
                    <a:pt x="218" y="23"/>
                    <a:pt x="207" y="17"/>
                    <a:pt x="194" y="14"/>
                  </a:cubicBezTo>
                  <a:cubicBezTo>
                    <a:pt x="194" y="11"/>
                    <a:pt x="194" y="11"/>
                    <a:pt x="194" y="11"/>
                  </a:cubicBezTo>
                  <a:cubicBezTo>
                    <a:pt x="194" y="5"/>
                    <a:pt x="189" y="0"/>
                    <a:pt x="183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4" y="0"/>
                    <a:pt x="130" y="5"/>
                    <a:pt x="130" y="11"/>
                  </a:cubicBezTo>
                  <a:cubicBezTo>
                    <a:pt x="130" y="14"/>
                    <a:pt x="130" y="14"/>
                    <a:pt x="130" y="14"/>
                  </a:cubicBezTo>
                  <a:cubicBezTo>
                    <a:pt x="116" y="17"/>
                    <a:pt x="106" y="23"/>
                    <a:pt x="93" y="29"/>
                  </a:cubicBezTo>
                  <a:cubicBezTo>
                    <a:pt x="90" y="31"/>
                    <a:pt x="86" y="33"/>
                    <a:pt x="82" y="35"/>
                  </a:cubicBezTo>
                  <a:cubicBezTo>
                    <a:pt x="79" y="37"/>
                    <a:pt x="76" y="40"/>
                    <a:pt x="76" y="44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44" y="80"/>
                    <a:pt x="34" y="119"/>
                    <a:pt x="34" y="154"/>
                  </a:cubicBezTo>
                  <a:cubicBezTo>
                    <a:pt x="34" y="168"/>
                    <a:pt x="34" y="168"/>
                    <a:pt x="34" y="168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7" y="177"/>
                    <a:pt x="5" y="180"/>
                    <a:pt x="4" y="183"/>
                  </a:cubicBezTo>
                  <a:cubicBezTo>
                    <a:pt x="3" y="185"/>
                    <a:pt x="0" y="204"/>
                    <a:pt x="3" y="219"/>
                  </a:cubicBezTo>
                  <a:cubicBezTo>
                    <a:pt x="7" y="233"/>
                    <a:pt x="22" y="259"/>
                    <a:pt x="24" y="262"/>
                  </a:cubicBezTo>
                  <a:cubicBezTo>
                    <a:pt x="24" y="263"/>
                    <a:pt x="25" y="264"/>
                    <a:pt x="25" y="264"/>
                  </a:cubicBezTo>
                  <a:cubicBezTo>
                    <a:pt x="34" y="273"/>
                    <a:pt x="80" y="278"/>
                    <a:pt x="162" y="278"/>
                  </a:cubicBezTo>
                  <a:cubicBezTo>
                    <a:pt x="162" y="278"/>
                    <a:pt x="162" y="278"/>
                    <a:pt x="162" y="278"/>
                  </a:cubicBezTo>
                  <a:cubicBezTo>
                    <a:pt x="162" y="278"/>
                    <a:pt x="162" y="278"/>
                    <a:pt x="163" y="278"/>
                  </a:cubicBezTo>
                  <a:cubicBezTo>
                    <a:pt x="244" y="278"/>
                    <a:pt x="290" y="273"/>
                    <a:pt x="299" y="264"/>
                  </a:cubicBezTo>
                  <a:cubicBezTo>
                    <a:pt x="299" y="264"/>
                    <a:pt x="300" y="263"/>
                    <a:pt x="300" y="262"/>
                  </a:cubicBezTo>
                  <a:cubicBezTo>
                    <a:pt x="302" y="259"/>
                    <a:pt x="317" y="233"/>
                    <a:pt x="321" y="219"/>
                  </a:cubicBezTo>
                  <a:cubicBezTo>
                    <a:pt x="325" y="204"/>
                    <a:pt x="321" y="185"/>
                    <a:pt x="320" y="183"/>
                  </a:cubicBezTo>
                  <a:close/>
                  <a:moveTo>
                    <a:pt x="55" y="154"/>
                  </a:moveTo>
                  <a:cubicBezTo>
                    <a:pt x="55" y="126"/>
                    <a:pt x="66" y="103"/>
                    <a:pt x="76" y="86"/>
                  </a:cubicBezTo>
                  <a:cubicBezTo>
                    <a:pt x="76" y="144"/>
                    <a:pt x="76" y="144"/>
                    <a:pt x="76" y="144"/>
                  </a:cubicBezTo>
                  <a:cubicBezTo>
                    <a:pt x="76" y="150"/>
                    <a:pt x="81" y="155"/>
                    <a:pt x="87" y="155"/>
                  </a:cubicBezTo>
                  <a:cubicBezTo>
                    <a:pt x="93" y="155"/>
                    <a:pt x="98" y="150"/>
                    <a:pt x="98" y="144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0"/>
                    <a:pt x="101" y="49"/>
                    <a:pt x="103" y="48"/>
                  </a:cubicBezTo>
                  <a:cubicBezTo>
                    <a:pt x="113" y="43"/>
                    <a:pt x="119" y="39"/>
                    <a:pt x="130" y="36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23" y="91"/>
                    <a:pt x="123" y="91"/>
                    <a:pt x="123" y="91"/>
                  </a:cubicBezTo>
                  <a:cubicBezTo>
                    <a:pt x="120" y="96"/>
                    <a:pt x="121" y="102"/>
                    <a:pt x="126" y="105"/>
                  </a:cubicBezTo>
                  <a:cubicBezTo>
                    <a:pt x="131" y="108"/>
                    <a:pt x="138" y="107"/>
                    <a:pt x="141" y="102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50" y="87"/>
                    <a:pt x="151" y="85"/>
                    <a:pt x="151" y="8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72" y="22"/>
                    <a:pt x="172" y="22"/>
                    <a:pt x="172" y="22"/>
                  </a:cubicBezTo>
                  <a:cubicBezTo>
                    <a:pt x="172" y="23"/>
                    <a:pt x="172" y="23"/>
                    <a:pt x="172" y="23"/>
                  </a:cubicBezTo>
                  <a:cubicBezTo>
                    <a:pt x="172" y="83"/>
                    <a:pt x="172" y="83"/>
                    <a:pt x="172" y="83"/>
                  </a:cubicBezTo>
                  <a:cubicBezTo>
                    <a:pt x="172" y="85"/>
                    <a:pt x="173" y="87"/>
                    <a:pt x="174" y="88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3" y="103"/>
                    <a:pt x="184" y="104"/>
                    <a:pt x="185" y="105"/>
                  </a:cubicBezTo>
                  <a:cubicBezTo>
                    <a:pt x="185" y="105"/>
                    <a:pt x="185" y="105"/>
                    <a:pt x="185" y="105"/>
                  </a:cubicBezTo>
                  <a:cubicBezTo>
                    <a:pt x="186" y="106"/>
                    <a:pt x="187" y="106"/>
                    <a:pt x="189" y="107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90" y="107"/>
                    <a:pt x="190" y="107"/>
                    <a:pt x="191" y="107"/>
                  </a:cubicBezTo>
                  <a:cubicBezTo>
                    <a:pt x="192" y="107"/>
                    <a:pt x="192" y="107"/>
                    <a:pt x="192" y="107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4" y="107"/>
                    <a:pt x="196" y="106"/>
                    <a:pt x="197" y="105"/>
                  </a:cubicBezTo>
                  <a:cubicBezTo>
                    <a:pt x="202" y="102"/>
                    <a:pt x="203" y="96"/>
                    <a:pt x="200" y="91"/>
                  </a:cubicBezTo>
                  <a:cubicBezTo>
                    <a:pt x="194" y="80"/>
                    <a:pt x="194" y="80"/>
                    <a:pt x="194" y="80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204" y="39"/>
                    <a:pt x="210" y="43"/>
                    <a:pt x="220" y="48"/>
                  </a:cubicBezTo>
                  <a:cubicBezTo>
                    <a:pt x="222" y="49"/>
                    <a:pt x="226" y="50"/>
                    <a:pt x="226" y="51"/>
                  </a:cubicBezTo>
                  <a:cubicBezTo>
                    <a:pt x="226" y="144"/>
                    <a:pt x="226" y="144"/>
                    <a:pt x="226" y="144"/>
                  </a:cubicBezTo>
                  <a:cubicBezTo>
                    <a:pt x="226" y="150"/>
                    <a:pt x="230" y="155"/>
                    <a:pt x="236" y="155"/>
                  </a:cubicBezTo>
                  <a:cubicBezTo>
                    <a:pt x="242" y="155"/>
                    <a:pt x="247" y="150"/>
                    <a:pt x="247" y="144"/>
                  </a:cubicBezTo>
                  <a:cubicBezTo>
                    <a:pt x="247" y="86"/>
                    <a:pt x="247" y="86"/>
                    <a:pt x="247" y="86"/>
                  </a:cubicBezTo>
                  <a:cubicBezTo>
                    <a:pt x="258" y="103"/>
                    <a:pt x="268" y="126"/>
                    <a:pt x="268" y="154"/>
                  </a:cubicBezTo>
                  <a:cubicBezTo>
                    <a:pt x="268" y="187"/>
                    <a:pt x="268" y="187"/>
                    <a:pt x="268" y="187"/>
                  </a:cubicBezTo>
                  <a:cubicBezTo>
                    <a:pt x="258" y="192"/>
                    <a:pt x="235" y="205"/>
                    <a:pt x="162" y="205"/>
                  </a:cubicBezTo>
                  <a:cubicBezTo>
                    <a:pt x="88" y="205"/>
                    <a:pt x="66" y="192"/>
                    <a:pt x="55" y="188"/>
                  </a:cubicBezTo>
                  <a:lnTo>
                    <a:pt x="55" y="154"/>
                  </a:lnTo>
                  <a:close/>
                  <a:moveTo>
                    <a:pt x="300" y="213"/>
                  </a:moveTo>
                  <a:cubicBezTo>
                    <a:pt x="298" y="222"/>
                    <a:pt x="289" y="240"/>
                    <a:pt x="283" y="249"/>
                  </a:cubicBezTo>
                  <a:cubicBezTo>
                    <a:pt x="277" y="251"/>
                    <a:pt x="251" y="256"/>
                    <a:pt x="163" y="256"/>
                  </a:cubicBezTo>
                  <a:cubicBezTo>
                    <a:pt x="162" y="256"/>
                    <a:pt x="162" y="256"/>
                    <a:pt x="162" y="256"/>
                  </a:cubicBezTo>
                  <a:cubicBezTo>
                    <a:pt x="162" y="256"/>
                    <a:pt x="162" y="256"/>
                    <a:pt x="162" y="256"/>
                  </a:cubicBezTo>
                  <a:cubicBezTo>
                    <a:pt x="73" y="256"/>
                    <a:pt x="47" y="251"/>
                    <a:pt x="41" y="249"/>
                  </a:cubicBezTo>
                  <a:cubicBezTo>
                    <a:pt x="36" y="240"/>
                    <a:pt x="26" y="222"/>
                    <a:pt x="24" y="213"/>
                  </a:cubicBezTo>
                  <a:cubicBezTo>
                    <a:pt x="22" y="208"/>
                    <a:pt x="23" y="200"/>
                    <a:pt x="24" y="194"/>
                  </a:cubicBezTo>
                  <a:cubicBezTo>
                    <a:pt x="34" y="191"/>
                    <a:pt x="34" y="191"/>
                    <a:pt x="34" y="191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34" y="195"/>
                    <a:pt x="34" y="197"/>
                    <a:pt x="36" y="199"/>
                  </a:cubicBezTo>
                  <a:cubicBezTo>
                    <a:pt x="39" y="203"/>
                    <a:pt x="61" y="226"/>
                    <a:pt x="162" y="226"/>
                  </a:cubicBezTo>
                  <a:cubicBezTo>
                    <a:pt x="249" y="226"/>
                    <a:pt x="277" y="208"/>
                    <a:pt x="285" y="201"/>
                  </a:cubicBezTo>
                  <a:cubicBezTo>
                    <a:pt x="288" y="199"/>
                    <a:pt x="290" y="196"/>
                    <a:pt x="290" y="192"/>
                  </a:cubicBezTo>
                  <a:cubicBezTo>
                    <a:pt x="290" y="191"/>
                    <a:pt x="290" y="191"/>
                    <a:pt x="290" y="191"/>
                  </a:cubicBezTo>
                  <a:cubicBezTo>
                    <a:pt x="301" y="194"/>
                    <a:pt x="301" y="194"/>
                    <a:pt x="301" y="194"/>
                  </a:cubicBezTo>
                  <a:cubicBezTo>
                    <a:pt x="301" y="200"/>
                    <a:pt x="302" y="208"/>
                    <a:pt x="300" y="2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1" name="Group 911"/>
          <p:cNvGrpSpPr>
            <a:grpSpLocks noChangeAspect="1"/>
          </p:cNvGrpSpPr>
          <p:nvPr/>
        </p:nvGrpSpPr>
        <p:grpSpPr bwMode="auto">
          <a:xfrm>
            <a:off x="3931641" y="2062069"/>
            <a:ext cx="369021" cy="369021"/>
            <a:chOff x="2629" y="3468"/>
            <a:chExt cx="340" cy="340"/>
          </a:xfrm>
          <a:solidFill>
            <a:schemeClr val="accent4"/>
          </a:solidFill>
        </p:grpSpPr>
        <p:sp>
          <p:nvSpPr>
            <p:cNvPr id="282" name="Freeform 912"/>
            <p:cNvSpPr>
              <a:spLocks noEditPoints="1"/>
            </p:cNvSpPr>
            <p:nvPr/>
          </p:nvSpPr>
          <p:spPr bwMode="auto">
            <a:xfrm>
              <a:off x="2629" y="346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913"/>
            <p:cNvSpPr>
              <a:spLocks noEditPoints="1"/>
            </p:cNvSpPr>
            <p:nvPr/>
          </p:nvSpPr>
          <p:spPr bwMode="auto">
            <a:xfrm>
              <a:off x="2770" y="3532"/>
              <a:ext cx="57" cy="212"/>
            </a:xfrm>
            <a:custGeom>
              <a:avLst/>
              <a:gdLst>
                <a:gd name="T0" fmla="*/ 43 w 85"/>
                <a:gd name="T1" fmla="*/ 0 h 320"/>
                <a:gd name="T2" fmla="*/ 0 w 85"/>
                <a:gd name="T3" fmla="*/ 42 h 320"/>
                <a:gd name="T4" fmla="*/ 0 w 85"/>
                <a:gd name="T5" fmla="*/ 160 h 320"/>
                <a:gd name="T6" fmla="*/ 11 w 85"/>
                <a:gd name="T7" fmla="*/ 170 h 320"/>
                <a:gd name="T8" fmla="*/ 32 w 85"/>
                <a:gd name="T9" fmla="*/ 170 h 320"/>
                <a:gd name="T10" fmla="*/ 32 w 85"/>
                <a:gd name="T11" fmla="*/ 277 h 320"/>
                <a:gd name="T12" fmla="*/ 23 w 85"/>
                <a:gd name="T13" fmla="*/ 282 h 320"/>
                <a:gd name="T14" fmla="*/ 22 w 85"/>
                <a:gd name="T15" fmla="*/ 292 h 320"/>
                <a:gd name="T16" fmla="*/ 33 w 85"/>
                <a:gd name="T17" fmla="*/ 314 h 320"/>
                <a:gd name="T18" fmla="*/ 43 w 85"/>
                <a:gd name="T19" fmla="*/ 320 h 320"/>
                <a:gd name="T20" fmla="*/ 52 w 85"/>
                <a:gd name="T21" fmla="*/ 314 h 320"/>
                <a:gd name="T22" fmla="*/ 63 w 85"/>
                <a:gd name="T23" fmla="*/ 292 h 320"/>
                <a:gd name="T24" fmla="*/ 62 w 85"/>
                <a:gd name="T25" fmla="*/ 282 h 320"/>
                <a:gd name="T26" fmla="*/ 53 w 85"/>
                <a:gd name="T27" fmla="*/ 277 h 320"/>
                <a:gd name="T28" fmla="*/ 53 w 85"/>
                <a:gd name="T29" fmla="*/ 170 h 320"/>
                <a:gd name="T30" fmla="*/ 75 w 85"/>
                <a:gd name="T31" fmla="*/ 170 h 320"/>
                <a:gd name="T32" fmla="*/ 85 w 85"/>
                <a:gd name="T33" fmla="*/ 160 h 320"/>
                <a:gd name="T34" fmla="*/ 85 w 85"/>
                <a:gd name="T35" fmla="*/ 42 h 320"/>
                <a:gd name="T36" fmla="*/ 43 w 85"/>
                <a:gd name="T37" fmla="*/ 0 h 320"/>
                <a:gd name="T38" fmla="*/ 64 w 85"/>
                <a:gd name="T39" fmla="*/ 149 h 320"/>
                <a:gd name="T40" fmla="*/ 21 w 85"/>
                <a:gd name="T41" fmla="*/ 149 h 320"/>
                <a:gd name="T42" fmla="*/ 21 w 85"/>
                <a:gd name="T43" fmla="*/ 42 h 320"/>
                <a:gd name="T44" fmla="*/ 43 w 85"/>
                <a:gd name="T45" fmla="*/ 21 h 320"/>
                <a:gd name="T46" fmla="*/ 64 w 85"/>
                <a:gd name="T47" fmla="*/ 42 h 320"/>
                <a:gd name="T48" fmla="*/ 64 w 85"/>
                <a:gd name="T49" fmla="*/ 14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320"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0"/>
                    <a:pt x="11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28" y="277"/>
                    <a:pt x="25" y="279"/>
                    <a:pt x="23" y="282"/>
                  </a:cubicBezTo>
                  <a:cubicBezTo>
                    <a:pt x="21" y="285"/>
                    <a:pt x="21" y="289"/>
                    <a:pt x="22" y="292"/>
                  </a:cubicBezTo>
                  <a:cubicBezTo>
                    <a:pt x="33" y="314"/>
                    <a:pt x="33" y="314"/>
                    <a:pt x="33" y="314"/>
                  </a:cubicBezTo>
                  <a:cubicBezTo>
                    <a:pt x="35" y="317"/>
                    <a:pt x="39" y="320"/>
                    <a:pt x="43" y="320"/>
                  </a:cubicBezTo>
                  <a:cubicBezTo>
                    <a:pt x="47" y="320"/>
                    <a:pt x="50" y="317"/>
                    <a:pt x="52" y="314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65" y="289"/>
                    <a:pt x="64" y="285"/>
                    <a:pt x="62" y="282"/>
                  </a:cubicBezTo>
                  <a:cubicBezTo>
                    <a:pt x="60" y="279"/>
                    <a:pt x="57" y="277"/>
                    <a:pt x="53" y="27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75" y="170"/>
                    <a:pt x="75" y="170"/>
                    <a:pt x="75" y="170"/>
                  </a:cubicBezTo>
                  <a:cubicBezTo>
                    <a:pt x="81" y="170"/>
                    <a:pt x="85" y="166"/>
                    <a:pt x="85" y="160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  <a:close/>
                  <a:moveTo>
                    <a:pt x="64" y="149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31"/>
                    <a:pt x="31" y="21"/>
                    <a:pt x="43" y="21"/>
                  </a:cubicBezTo>
                  <a:cubicBezTo>
                    <a:pt x="54" y="21"/>
                    <a:pt x="64" y="31"/>
                    <a:pt x="64" y="42"/>
                  </a:cubicBezTo>
                  <a:lnTo>
                    <a:pt x="64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4" name="Freeform 917"/>
          <p:cNvSpPr>
            <a:spLocks noChangeAspect="1" noEditPoints="1"/>
          </p:cNvSpPr>
          <p:nvPr/>
        </p:nvSpPr>
        <p:spPr bwMode="auto">
          <a:xfrm>
            <a:off x="3432868" y="2062066"/>
            <a:ext cx="369021" cy="370106"/>
          </a:xfrm>
          <a:custGeom>
            <a:avLst/>
            <a:gdLst>
              <a:gd name="T0" fmla="*/ 277 w 512"/>
              <a:gd name="T1" fmla="*/ 138 h 512"/>
              <a:gd name="T2" fmla="*/ 277 w 512"/>
              <a:gd name="T3" fmla="*/ 245 h 512"/>
              <a:gd name="T4" fmla="*/ 234 w 512"/>
              <a:gd name="T5" fmla="*/ 245 h 512"/>
              <a:gd name="T6" fmla="*/ 234 w 512"/>
              <a:gd name="T7" fmla="*/ 138 h 512"/>
              <a:gd name="T8" fmla="*/ 256 w 512"/>
              <a:gd name="T9" fmla="*/ 117 h 512"/>
              <a:gd name="T10" fmla="*/ 277 w 512"/>
              <a:gd name="T11" fmla="*/ 138 h 512"/>
              <a:gd name="T12" fmla="*/ 512 w 512"/>
              <a:gd name="T13" fmla="*/ 256 h 512"/>
              <a:gd name="T14" fmla="*/ 256 w 512"/>
              <a:gd name="T15" fmla="*/ 512 h 512"/>
              <a:gd name="T16" fmla="*/ 0 w 512"/>
              <a:gd name="T17" fmla="*/ 256 h 512"/>
              <a:gd name="T18" fmla="*/ 256 w 512"/>
              <a:gd name="T19" fmla="*/ 0 h 512"/>
              <a:gd name="T20" fmla="*/ 512 w 512"/>
              <a:gd name="T21" fmla="*/ 256 h 512"/>
              <a:gd name="T22" fmla="*/ 298 w 512"/>
              <a:gd name="T23" fmla="*/ 138 h 512"/>
              <a:gd name="T24" fmla="*/ 256 w 512"/>
              <a:gd name="T25" fmla="*/ 96 h 512"/>
              <a:gd name="T26" fmla="*/ 213 w 512"/>
              <a:gd name="T27" fmla="*/ 138 h 512"/>
              <a:gd name="T28" fmla="*/ 213 w 512"/>
              <a:gd name="T29" fmla="*/ 256 h 512"/>
              <a:gd name="T30" fmla="*/ 224 w 512"/>
              <a:gd name="T31" fmla="*/ 266 h 512"/>
              <a:gd name="T32" fmla="*/ 245 w 512"/>
              <a:gd name="T33" fmla="*/ 266 h 512"/>
              <a:gd name="T34" fmla="*/ 245 w 512"/>
              <a:gd name="T35" fmla="*/ 373 h 512"/>
              <a:gd name="T36" fmla="*/ 236 w 512"/>
              <a:gd name="T37" fmla="*/ 378 h 512"/>
              <a:gd name="T38" fmla="*/ 235 w 512"/>
              <a:gd name="T39" fmla="*/ 388 h 512"/>
              <a:gd name="T40" fmla="*/ 246 w 512"/>
              <a:gd name="T41" fmla="*/ 410 h 512"/>
              <a:gd name="T42" fmla="*/ 256 w 512"/>
              <a:gd name="T43" fmla="*/ 416 h 512"/>
              <a:gd name="T44" fmla="*/ 265 w 512"/>
              <a:gd name="T45" fmla="*/ 410 h 512"/>
              <a:gd name="T46" fmla="*/ 276 w 512"/>
              <a:gd name="T47" fmla="*/ 388 h 512"/>
              <a:gd name="T48" fmla="*/ 275 w 512"/>
              <a:gd name="T49" fmla="*/ 378 h 512"/>
              <a:gd name="T50" fmla="*/ 266 w 512"/>
              <a:gd name="T51" fmla="*/ 373 h 512"/>
              <a:gd name="T52" fmla="*/ 266 w 512"/>
              <a:gd name="T53" fmla="*/ 266 h 512"/>
              <a:gd name="T54" fmla="*/ 288 w 512"/>
              <a:gd name="T55" fmla="*/ 266 h 512"/>
              <a:gd name="T56" fmla="*/ 298 w 512"/>
              <a:gd name="T57" fmla="*/ 256 h 512"/>
              <a:gd name="T58" fmla="*/ 298 w 512"/>
              <a:gd name="T59" fmla="*/ 13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277" y="138"/>
                </a:moveTo>
                <a:cubicBezTo>
                  <a:pt x="277" y="245"/>
                  <a:pt x="277" y="245"/>
                  <a:pt x="277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98" y="138"/>
                </a:move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3" y="262"/>
                  <a:pt x="218" y="266"/>
                  <a:pt x="224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1" y="373"/>
                  <a:pt x="238" y="375"/>
                  <a:pt x="236" y="378"/>
                </a:cubicBezTo>
                <a:cubicBezTo>
                  <a:pt x="234" y="381"/>
                  <a:pt x="234" y="385"/>
                  <a:pt x="235" y="388"/>
                </a:cubicBezTo>
                <a:cubicBezTo>
                  <a:pt x="246" y="410"/>
                  <a:pt x="246" y="410"/>
                  <a:pt x="246" y="410"/>
                </a:cubicBezTo>
                <a:cubicBezTo>
                  <a:pt x="248" y="413"/>
                  <a:pt x="252" y="416"/>
                  <a:pt x="256" y="416"/>
                </a:cubicBezTo>
                <a:cubicBezTo>
                  <a:pt x="260" y="416"/>
                  <a:pt x="263" y="413"/>
                  <a:pt x="265" y="410"/>
                </a:cubicBezTo>
                <a:cubicBezTo>
                  <a:pt x="276" y="388"/>
                  <a:pt x="276" y="388"/>
                  <a:pt x="276" y="388"/>
                </a:cubicBezTo>
                <a:cubicBezTo>
                  <a:pt x="278" y="385"/>
                  <a:pt x="277" y="381"/>
                  <a:pt x="275" y="378"/>
                </a:cubicBezTo>
                <a:cubicBezTo>
                  <a:pt x="273" y="375"/>
                  <a:pt x="270" y="373"/>
                  <a:pt x="266" y="373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62"/>
                  <a:pt x="298" y="256"/>
                </a:cubicBezTo>
                <a:lnTo>
                  <a:pt x="298" y="1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5" name="Freeform 75"/>
          <p:cNvSpPr>
            <a:spLocks noChangeAspect="1" noEditPoints="1"/>
          </p:cNvSpPr>
          <p:nvPr/>
        </p:nvSpPr>
        <p:spPr bwMode="auto">
          <a:xfrm>
            <a:off x="4430414" y="2062069"/>
            <a:ext cx="367631" cy="367631"/>
          </a:xfrm>
          <a:custGeom>
            <a:avLst/>
            <a:gdLst>
              <a:gd name="T0" fmla="*/ 267 w 512"/>
              <a:gd name="T1" fmla="*/ 200 h 512"/>
              <a:gd name="T2" fmla="*/ 290 w 512"/>
              <a:gd name="T3" fmla="*/ 256 h 512"/>
              <a:gd name="T4" fmla="*/ 266 w 512"/>
              <a:gd name="T5" fmla="*/ 256 h 512"/>
              <a:gd name="T6" fmla="*/ 266 w 512"/>
              <a:gd name="T7" fmla="*/ 245 h 512"/>
              <a:gd name="T8" fmla="*/ 256 w 512"/>
              <a:gd name="T9" fmla="*/ 234 h 512"/>
              <a:gd name="T10" fmla="*/ 245 w 512"/>
              <a:gd name="T11" fmla="*/ 245 h 512"/>
              <a:gd name="T12" fmla="*/ 245 w 512"/>
              <a:gd name="T13" fmla="*/ 256 h 512"/>
              <a:gd name="T14" fmla="*/ 222 w 512"/>
              <a:gd name="T15" fmla="*/ 256 h 512"/>
              <a:gd name="T16" fmla="*/ 244 w 512"/>
              <a:gd name="T17" fmla="*/ 200 h 512"/>
              <a:gd name="T18" fmla="*/ 238 w 512"/>
              <a:gd name="T19" fmla="*/ 187 h 512"/>
              <a:gd name="T20" fmla="*/ 224 w 512"/>
              <a:gd name="T21" fmla="*/ 192 h 512"/>
              <a:gd name="T22" fmla="*/ 224 w 512"/>
              <a:gd name="T23" fmla="*/ 194 h 512"/>
              <a:gd name="T24" fmla="*/ 220 w 512"/>
              <a:gd name="T25" fmla="*/ 178 h 512"/>
              <a:gd name="T26" fmla="*/ 256 w 512"/>
              <a:gd name="T27" fmla="*/ 143 h 512"/>
              <a:gd name="T28" fmla="*/ 291 w 512"/>
              <a:gd name="T29" fmla="*/ 178 h 512"/>
              <a:gd name="T30" fmla="*/ 287 w 512"/>
              <a:gd name="T31" fmla="*/ 194 h 512"/>
              <a:gd name="T32" fmla="*/ 287 w 512"/>
              <a:gd name="T33" fmla="*/ 192 h 512"/>
              <a:gd name="T34" fmla="*/ 273 w 512"/>
              <a:gd name="T35" fmla="*/ 187 h 512"/>
              <a:gd name="T36" fmla="*/ 267 w 512"/>
              <a:gd name="T37" fmla="*/ 200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372 w 512"/>
              <a:gd name="T49" fmla="*/ 401 h 512"/>
              <a:gd name="T50" fmla="*/ 321 w 512"/>
              <a:gd name="T51" fmla="*/ 277 h 512"/>
              <a:gd name="T52" fmla="*/ 341 w 512"/>
              <a:gd name="T53" fmla="*/ 277 h 512"/>
              <a:gd name="T54" fmla="*/ 352 w 512"/>
              <a:gd name="T55" fmla="*/ 266 h 512"/>
              <a:gd name="T56" fmla="*/ 341 w 512"/>
              <a:gd name="T57" fmla="*/ 256 h 512"/>
              <a:gd name="T58" fmla="*/ 313 w 512"/>
              <a:gd name="T59" fmla="*/ 256 h 512"/>
              <a:gd name="T60" fmla="*/ 297 w 512"/>
              <a:gd name="T61" fmla="*/ 217 h 512"/>
              <a:gd name="T62" fmla="*/ 312 w 512"/>
              <a:gd name="T63" fmla="*/ 178 h 512"/>
              <a:gd name="T64" fmla="*/ 266 w 512"/>
              <a:gd name="T65" fmla="*/ 123 h 512"/>
              <a:gd name="T66" fmla="*/ 266 w 512"/>
              <a:gd name="T67" fmla="*/ 106 h 512"/>
              <a:gd name="T68" fmla="*/ 256 w 512"/>
              <a:gd name="T69" fmla="*/ 96 h 512"/>
              <a:gd name="T70" fmla="*/ 245 w 512"/>
              <a:gd name="T71" fmla="*/ 106 h 512"/>
              <a:gd name="T72" fmla="*/ 245 w 512"/>
              <a:gd name="T73" fmla="*/ 123 h 512"/>
              <a:gd name="T74" fmla="*/ 199 w 512"/>
              <a:gd name="T75" fmla="*/ 178 h 512"/>
              <a:gd name="T76" fmla="*/ 214 w 512"/>
              <a:gd name="T77" fmla="*/ 217 h 512"/>
              <a:gd name="T78" fmla="*/ 199 w 512"/>
              <a:gd name="T79" fmla="*/ 256 h 512"/>
              <a:gd name="T80" fmla="*/ 170 w 512"/>
              <a:gd name="T81" fmla="*/ 256 h 512"/>
              <a:gd name="T82" fmla="*/ 160 w 512"/>
              <a:gd name="T83" fmla="*/ 266 h 512"/>
              <a:gd name="T84" fmla="*/ 170 w 512"/>
              <a:gd name="T85" fmla="*/ 277 h 512"/>
              <a:gd name="T86" fmla="*/ 190 w 512"/>
              <a:gd name="T87" fmla="*/ 277 h 512"/>
              <a:gd name="T88" fmla="*/ 139 w 512"/>
              <a:gd name="T89" fmla="*/ 401 h 512"/>
              <a:gd name="T90" fmla="*/ 145 w 512"/>
              <a:gd name="T91" fmla="*/ 415 h 512"/>
              <a:gd name="T92" fmla="*/ 149 w 512"/>
              <a:gd name="T93" fmla="*/ 416 h 512"/>
              <a:gd name="T94" fmla="*/ 159 w 512"/>
              <a:gd name="T95" fmla="*/ 409 h 512"/>
              <a:gd name="T96" fmla="*/ 213 w 512"/>
              <a:gd name="T97" fmla="*/ 277 h 512"/>
              <a:gd name="T98" fmla="*/ 245 w 512"/>
              <a:gd name="T99" fmla="*/ 277 h 512"/>
              <a:gd name="T100" fmla="*/ 245 w 512"/>
              <a:gd name="T101" fmla="*/ 288 h 512"/>
              <a:gd name="T102" fmla="*/ 256 w 512"/>
              <a:gd name="T103" fmla="*/ 298 h 512"/>
              <a:gd name="T104" fmla="*/ 266 w 512"/>
              <a:gd name="T105" fmla="*/ 288 h 512"/>
              <a:gd name="T106" fmla="*/ 266 w 512"/>
              <a:gd name="T107" fmla="*/ 277 h 512"/>
              <a:gd name="T108" fmla="*/ 298 w 512"/>
              <a:gd name="T109" fmla="*/ 277 h 512"/>
              <a:gd name="T110" fmla="*/ 352 w 512"/>
              <a:gd name="T111" fmla="*/ 409 h 512"/>
              <a:gd name="T112" fmla="*/ 362 w 512"/>
              <a:gd name="T113" fmla="*/ 416 h 512"/>
              <a:gd name="T114" fmla="*/ 366 w 512"/>
              <a:gd name="T115" fmla="*/ 415 h 512"/>
              <a:gd name="T116" fmla="*/ 372 w 512"/>
              <a:gd name="T117" fmla="*/ 40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267" y="200"/>
                </a:moveTo>
                <a:cubicBezTo>
                  <a:pt x="290" y="256"/>
                  <a:pt x="290" y="256"/>
                  <a:pt x="290" y="256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239"/>
                  <a:pt x="262" y="234"/>
                  <a:pt x="256" y="234"/>
                </a:cubicBezTo>
                <a:cubicBezTo>
                  <a:pt x="250" y="234"/>
                  <a:pt x="245" y="239"/>
                  <a:pt x="245" y="245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22" y="256"/>
                  <a:pt x="222" y="256"/>
                  <a:pt x="222" y="256"/>
                </a:cubicBezTo>
                <a:cubicBezTo>
                  <a:pt x="244" y="200"/>
                  <a:pt x="244" y="200"/>
                  <a:pt x="244" y="200"/>
                </a:cubicBezTo>
                <a:cubicBezTo>
                  <a:pt x="246" y="195"/>
                  <a:pt x="244" y="189"/>
                  <a:pt x="238" y="187"/>
                </a:cubicBezTo>
                <a:cubicBezTo>
                  <a:pt x="233" y="184"/>
                  <a:pt x="227" y="187"/>
                  <a:pt x="224" y="192"/>
                </a:cubicBezTo>
                <a:cubicBezTo>
                  <a:pt x="224" y="194"/>
                  <a:pt x="224" y="194"/>
                  <a:pt x="224" y="194"/>
                </a:cubicBezTo>
                <a:cubicBezTo>
                  <a:pt x="222" y="189"/>
                  <a:pt x="220" y="184"/>
                  <a:pt x="220" y="178"/>
                </a:cubicBezTo>
                <a:cubicBezTo>
                  <a:pt x="220" y="159"/>
                  <a:pt x="236" y="143"/>
                  <a:pt x="256" y="143"/>
                </a:cubicBezTo>
                <a:cubicBezTo>
                  <a:pt x="275" y="143"/>
                  <a:pt x="291" y="159"/>
                  <a:pt x="291" y="178"/>
                </a:cubicBezTo>
                <a:cubicBezTo>
                  <a:pt x="291" y="184"/>
                  <a:pt x="290" y="189"/>
                  <a:pt x="287" y="194"/>
                </a:cubicBezTo>
                <a:cubicBezTo>
                  <a:pt x="287" y="192"/>
                  <a:pt x="287" y="192"/>
                  <a:pt x="287" y="192"/>
                </a:cubicBezTo>
                <a:cubicBezTo>
                  <a:pt x="285" y="187"/>
                  <a:pt x="278" y="184"/>
                  <a:pt x="273" y="187"/>
                </a:cubicBezTo>
                <a:cubicBezTo>
                  <a:pt x="268" y="189"/>
                  <a:pt x="265" y="195"/>
                  <a:pt x="267" y="20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2" y="401"/>
                </a:moveTo>
                <a:cubicBezTo>
                  <a:pt x="321" y="277"/>
                  <a:pt x="321" y="277"/>
                  <a:pt x="321" y="277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347" y="277"/>
                  <a:pt x="352" y="272"/>
                  <a:pt x="352" y="266"/>
                </a:cubicBezTo>
                <a:cubicBezTo>
                  <a:pt x="352" y="260"/>
                  <a:pt x="347" y="256"/>
                  <a:pt x="341" y="256"/>
                </a:cubicBezTo>
                <a:cubicBezTo>
                  <a:pt x="313" y="256"/>
                  <a:pt x="313" y="256"/>
                  <a:pt x="313" y="256"/>
                </a:cubicBezTo>
                <a:cubicBezTo>
                  <a:pt x="297" y="217"/>
                  <a:pt x="297" y="217"/>
                  <a:pt x="297" y="217"/>
                </a:cubicBezTo>
                <a:cubicBezTo>
                  <a:pt x="307" y="207"/>
                  <a:pt x="312" y="193"/>
                  <a:pt x="312" y="178"/>
                </a:cubicBezTo>
                <a:cubicBezTo>
                  <a:pt x="312" y="151"/>
                  <a:pt x="293" y="128"/>
                  <a:pt x="266" y="123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23"/>
                  <a:pt x="245" y="123"/>
                  <a:pt x="245" y="123"/>
                </a:cubicBezTo>
                <a:cubicBezTo>
                  <a:pt x="219" y="128"/>
                  <a:pt x="199" y="151"/>
                  <a:pt x="199" y="178"/>
                </a:cubicBezTo>
                <a:cubicBezTo>
                  <a:pt x="199" y="193"/>
                  <a:pt x="204" y="207"/>
                  <a:pt x="214" y="217"/>
                </a:cubicBezTo>
                <a:cubicBezTo>
                  <a:pt x="199" y="256"/>
                  <a:pt x="199" y="256"/>
                  <a:pt x="199" y="256"/>
                </a:cubicBezTo>
                <a:cubicBezTo>
                  <a:pt x="170" y="256"/>
                  <a:pt x="170" y="256"/>
                  <a:pt x="170" y="256"/>
                </a:cubicBezTo>
                <a:cubicBezTo>
                  <a:pt x="164" y="256"/>
                  <a:pt x="160" y="260"/>
                  <a:pt x="160" y="266"/>
                </a:cubicBezTo>
                <a:cubicBezTo>
                  <a:pt x="160" y="272"/>
                  <a:pt x="164" y="277"/>
                  <a:pt x="170" y="277"/>
                </a:cubicBezTo>
                <a:cubicBezTo>
                  <a:pt x="190" y="277"/>
                  <a:pt x="190" y="277"/>
                  <a:pt x="190" y="277"/>
                </a:cubicBezTo>
                <a:cubicBezTo>
                  <a:pt x="139" y="401"/>
                  <a:pt x="139" y="401"/>
                  <a:pt x="139" y="401"/>
                </a:cubicBezTo>
                <a:cubicBezTo>
                  <a:pt x="137" y="406"/>
                  <a:pt x="140" y="413"/>
                  <a:pt x="145" y="415"/>
                </a:cubicBezTo>
                <a:cubicBezTo>
                  <a:pt x="146" y="415"/>
                  <a:pt x="148" y="416"/>
                  <a:pt x="149" y="416"/>
                </a:cubicBezTo>
                <a:cubicBezTo>
                  <a:pt x="153" y="416"/>
                  <a:pt x="157" y="413"/>
                  <a:pt x="159" y="409"/>
                </a:cubicBezTo>
                <a:cubicBezTo>
                  <a:pt x="213" y="277"/>
                  <a:pt x="213" y="277"/>
                  <a:pt x="213" y="277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50" y="298"/>
                  <a:pt x="256" y="298"/>
                </a:cubicBezTo>
                <a:cubicBezTo>
                  <a:pt x="262" y="298"/>
                  <a:pt x="266" y="294"/>
                  <a:pt x="266" y="288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98" y="277"/>
                  <a:pt x="298" y="277"/>
                  <a:pt x="298" y="277"/>
                </a:cubicBezTo>
                <a:cubicBezTo>
                  <a:pt x="352" y="409"/>
                  <a:pt x="352" y="409"/>
                  <a:pt x="352" y="409"/>
                </a:cubicBezTo>
                <a:cubicBezTo>
                  <a:pt x="354" y="413"/>
                  <a:pt x="358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2" y="413"/>
                  <a:pt x="374" y="406"/>
                  <a:pt x="372" y="4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6" name="Freeform 79"/>
          <p:cNvSpPr>
            <a:spLocks noChangeAspect="1" noEditPoints="1"/>
          </p:cNvSpPr>
          <p:nvPr/>
        </p:nvSpPr>
        <p:spPr bwMode="auto">
          <a:xfrm>
            <a:off x="4927797" y="2062069"/>
            <a:ext cx="367631" cy="367631"/>
          </a:xfrm>
          <a:custGeom>
            <a:avLst/>
            <a:gdLst>
              <a:gd name="T0" fmla="*/ 341 w 512"/>
              <a:gd name="T1" fmla="*/ 277 h 512"/>
              <a:gd name="T2" fmla="*/ 341 w 512"/>
              <a:gd name="T3" fmla="*/ 256 h 512"/>
              <a:gd name="T4" fmla="*/ 297 w 512"/>
              <a:gd name="T5" fmla="*/ 217 h 512"/>
              <a:gd name="T6" fmla="*/ 266 w 512"/>
              <a:gd name="T7" fmla="*/ 123 h 512"/>
              <a:gd name="T8" fmla="*/ 256 w 512"/>
              <a:gd name="T9" fmla="*/ 96 h 512"/>
              <a:gd name="T10" fmla="*/ 245 w 512"/>
              <a:gd name="T11" fmla="*/ 123 h 512"/>
              <a:gd name="T12" fmla="*/ 214 w 512"/>
              <a:gd name="T13" fmla="*/ 217 h 512"/>
              <a:gd name="T14" fmla="*/ 170 w 512"/>
              <a:gd name="T15" fmla="*/ 256 h 512"/>
              <a:gd name="T16" fmla="*/ 170 w 512"/>
              <a:gd name="T17" fmla="*/ 277 h 512"/>
              <a:gd name="T18" fmla="*/ 139 w 512"/>
              <a:gd name="T19" fmla="*/ 401 h 512"/>
              <a:gd name="T20" fmla="*/ 149 w 512"/>
              <a:gd name="T21" fmla="*/ 416 h 512"/>
              <a:gd name="T22" fmla="*/ 213 w 512"/>
              <a:gd name="T23" fmla="*/ 277 h 512"/>
              <a:gd name="T24" fmla="*/ 245 w 512"/>
              <a:gd name="T25" fmla="*/ 288 h 512"/>
              <a:gd name="T26" fmla="*/ 266 w 512"/>
              <a:gd name="T27" fmla="*/ 288 h 512"/>
              <a:gd name="T28" fmla="*/ 298 w 512"/>
              <a:gd name="T29" fmla="*/ 277 h 512"/>
              <a:gd name="T30" fmla="*/ 362 w 512"/>
              <a:gd name="T31" fmla="*/ 416 h 512"/>
              <a:gd name="T32" fmla="*/ 372 w 512"/>
              <a:gd name="T33" fmla="*/ 401 h 512"/>
              <a:gd name="T34" fmla="*/ 266 w 512"/>
              <a:gd name="T35" fmla="*/ 256 h 512"/>
              <a:gd name="T36" fmla="*/ 256 w 512"/>
              <a:gd name="T37" fmla="*/ 234 h 512"/>
              <a:gd name="T38" fmla="*/ 245 w 512"/>
              <a:gd name="T39" fmla="*/ 256 h 512"/>
              <a:gd name="T40" fmla="*/ 244 w 512"/>
              <a:gd name="T41" fmla="*/ 200 h 512"/>
              <a:gd name="T42" fmla="*/ 224 w 512"/>
              <a:gd name="T43" fmla="*/ 192 h 512"/>
              <a:gd name="T44" fmla="*/ 220 w 512"/>
              <a:gd name="T45" fmla="*/ 178 h 512"/>
              <a:gd name="T46" fmla="*/ 291 w 512"/>
              <a:gd name="T47" fmla="*/ 178 h 512"/>
              <a:gd name="T48" fmla="*/ 287 w 512"/>
              <a:gd name="T49" fmla="*/ 192 h 512"/>
              <a:gd name="T50" fmla="*/ 267 w 512"/>
              <a:gd name="T51" fmla="*/ 200 h 512"/>
              <a:gd name="T52" fmla="*/ 266 w 512"/>
              <a:gd name="T53" fmla="*/ 256 h 512"/>
              <a:gd name="T54" fmla="*/ 0 w 512"/>
              <a:gd name="T55" fmla="*/ 256 h 512"/>
              <a:gd name="T56" fmla="*/ 512 w 512"/>
              <a:gd name="T57" fmla="*/ 256 h 512"/>
              <a:gd name="T58" fmla="*/ 256 w 512"/>
              <a:gd name="T59" fmla="*/ 490 h 512"/>
              <a:gd name="T60" fmla="*/ 256 w 512"/>
              <a:gd name="T61" fmla="*/ 21 h 512"/>
              <a:gd name="T62" fmla="*/ 256 w 512"/>
              <a:gd name="T63" fmla="*/ 49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321" y="277"/>
                </a:moveTo>
                <a:cubicBezTo>
                  <a:pt x="341" y="277"/>
                  <a:pt x="341" y="277"/>
                  <a:pt x="341" y="277"/>
                </a:cubicBezTo>
                <a:cubicBezTo>
                  <a:pt x="347" y="277"/>
                  <a:pt x="352" y="272"/>
                  <a:pt x="352" y="266"/>
                </a:cubicBezTo>
                <a:cubicBezTo>
                  <a:pt x="352" y="260"/>
                  <a:pt x="347" y="256"/>
                  <a:pt x="341" y="256"/>
                </a:cubicBezTo>
                <a:cubicBezTo>
                  <a:pt x="313" y="256"/>
                  <a:pt x="313" y="256"/>
                  <a:pt x="313" y="256"/>
                </a:cubicBezTo>
                <a:cubicBezTo>
                  <a:pt x="297" y="217"/>
                  <a:pt x="297" y="217"/>
                  <a:pt x="297" y="217"/>
                </a:cubicBezTo>
                <a:cubicBezTo>
                  <a:pt x="307" y="207"/>
                  <a:pt x="312" y="193"/>
                  <a:pt x="312" y="178"/>
                </a:cubicBezTo>
                <a:cubicBezTo>
                  <a:pt x="312" y="151"/>
                  <a:pt x="293" y="128"/>
                  <a:pt x="266" y="123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23"/>
                  <a:pt x="245" y="123"/>
                  <a:pt x="245" y="123"/>
                </a:cubicBezTo>
                <a:cubicBezTo>
                  <a:pt x="219" y="128"/>
                  <a:pt x="199" y="151"/>
                  <a:pt x="199" y="178"/>
                </a:cubicBezTo>
                <a:cubicBezTo>
                  <a:pt x="199" y="193"/>
                  <a:pt x="204" y="207"/>
                  <a:pt x="214" y="217"/>
                </a:cubicBezTo>
                <a:cubicBezTo>
                  <a:pt x="199" y="256"/>
                  <a:pt x="199" y="256"/>
                  <a:pt x="199" y="256"/>
                </a:cubicBezTo>
                <a:cubicBezTo>
                  <a:pt x="170" y="256"/>
                  <a:pt x="170" y="256"/>
                  <a:pt x="170" y="256"/>
                </a:cubicBezTo>
                <a:cubicBezTo>
                  <a:pt x="164" y="256"/>
                  <a:pt x="160" y="260"/>
                  <a:pt x="160" y="266"/>
                </a:cubicBezTo>
                <a:cubicBezTo>
                  <a:pt x="160" y="272"/>
                  <a:pt x="164" y="277"/>
                  <a:pt x="170" y="277"/>
                </a:cubicBezTo>
                <a:cubicBezTo>
                  <a:pt x="190" y="277"/>
                  <a:pt x="190" y="277"/>
                  <a:pt x="190" y="277"/>
                </a:cubicBezTo>
                <a:cubicBezTo>
                  <a:pt x="139" y="401"/>
                  <a:pt x="139" y="401"/>
                  <a:pt x="139" y="401"/>
                </a:cubicBezTo>
                <a:cubicBezTo>
                  <a:pt x="137" y="406"/>
                  <a:pt x="140" y="413"/>
                  <a:pt x="145" y="415"/>
                </a:cubicBezTo>
                <a:cubicBezTo>
                  <a:pt x="146" y="415"/>
                  <a:pt x="148" y="416"/>
                  <a:pt x="149" y="416"/>
                </a:cubicBezTo>
                <a:cubicBezTo>
                  <a:pt x="153" y="416"/>
                  <a:pt x="157" y="413"/>
                  <a:pt x="159" y="409"/>
                </a:cubicBezTo>
                <a:cubicBezTo>
                  <a:pt x="213" y="277"/>
                  <a:pt x="213" y="277"/>
                  <a:pt x="213" y="277"/>
                </a:cubicBezTo>
                <a:cubicBezTo>
                  <a:pt x="245" y="277"/>
                  <a:pt x="245" y="277"/>
                  <a:pt x="245" y="277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50" y="298"/>
                  <a:pt x="256" y="298"/>
                </a:cubicBezTo>
                <a:cubicBezTo>
                  <a:pt x="262" y="298"/>
                  <a:pt x="266" y="294"/>
                  <a:pt x="266" y="288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98" y="277"/>
                  <a:pt x="298" y="277"/>
                  <a:pt x="298" y="277"/>
                </a:cubicBezTo>
                <a:cubicBezTo>
                  <a:pt x="352" y="409"/>
                  <a:pt x="352" y="409"/>
                  <a:pt x="352" y="409"/>
                </a:cubicBezTo>
                <a:cubicBezTo>
                  <a:pt x="354" y="413"/>
                  <a:pt x="358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2" y="413"/>
                  <a:pt x="374" y="406"/>
                  <a:pt x="372" y="401"/>
                </a:cubicBezTo>
                <a:lnTo>
                  <a:pt x="321" y="277"/>
                </a:lnTo>
                <a:close/>
                <a:moveTo>
                  <a:pt x="266" y="256"/>
                </a:moveTo>
                <a:cubicBezTo>
                  <a:pt x="266" y="245"/>
                  <a:pt x="266" y="245"/>
                  <a:pt x="266" y="245"/>
                </a:cubicBezTo>
                <a:cubicBezTo>
                  <a:pt x="266" y="239"/>
                  <a:pt x="262" y="234"/>
                  <a:pt x="256" y="234"/>
                </a:cubicBezTo>
                <a:cubicBezTo>
                  <a:pt x="250" y="234"/>
                  <a:pt x="245" y="239"/>
                  <a:pt x="245" y="245"/>
                </a:cubicBezTo>
                <a:cubicBezTo>
                  <a:pt x="245" y="256"/>
                  <a:pt x="245" y="256"/>
                  <a:pt x="245" y="256"/>
                </a:cubicBezTo>
                <a:cubicBezTo>
                  <a:pt x="222" y="256"/>
                  <a:pt x="222" y="256"/>
                  <a:pt x="222" y="256"/>
                </a:cubicBezTo>
                <a:cubicBezTo>
                  <a:pt x="244" y="200"/>
                  <a:pt x="244" y="200"/>
                  <a:pt x="244" y="200"/>
                </a:cubicBezTo>
                <a:cubicBezTo>
                  <a:pt x="246" y="195"/>
                  <a:pt x="244" y="189"/>
                  <a:pt x="238" y="187"/>
                </a:cubicBezTo>
                <a:cubicBezTo>
                  <a:pt x="233" y="184"/>
                  <a:pt x="227" y="187"/>
                  <a:pt x="224" y="192"/>
                </a:cubicBezTo>
                <a:cubicBezTo>
                  <a:pt x="224" y="194"/>
                  <a:pt x="224" y="194"/>
                  <a:pt x="224" y="194"/>
                </a:cubicBezTo>
                <a:cubicBezTo>
                  <a:pt x="222" y="189"/>
                  <a:pt x="220" y="184"/>
                  <a:pt x="220" y="178"/>
                </a:cubicBezTo>
                <a:cubicBezTo>
                  <a:pt x="220" y="159"/>
                  <a:pt x="236" y="143"/>
                  <a:pt x="256" y="143"/>
                </a:cubicBezTo>
                <a:cubicBezTo>
                  <a:pt x="275" y="143"/>
                  <a:pt x="291" y="159"/>
                  <a:pt x="291" y="178"/>
                </a:cubicBezTo>
                <a:cubicBezTo>
                  <a:pt x="291" y="184"/>
                  <a:pt x="290" y="189"/>
                  <a:pt x="287" y="194"/>
                </a:cubicBezTo>
                <a:cubicBezTo>
                  <a:pt x="287" y="192"/>
                  <a:pt x="287" y="192"/>
                  <a:pt x="287" y="192"/>
                </a:cubicBezTo>
                <a:cubicBezTo>
                  <a:pt x="285" y="187"/>
                  <a:pt x="278" y="184"/>
                  <a:pt x="273" y="187"/>
                </a:cubicBezTo>
                <a:cubicBezTo>
                  <a:pt x="268" y="189"/>
                  <a:pt x="265" y="195"/>
                  <a:pt x="267" y="200"/>
                </a:cubicBezTo>
                <a:cubicBezTo>
                  <a:pt x="290" y="256"/>
                  <a:pt x="290" y="256"/>
                  <a:pt x="290" y="256"/>
                </a:cubicBezTo>
                <a:lnTo>
                  <a:pt x="266" y="256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90"/>
                </a:move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7" name="Freeform 134"/>
          <p:cNvSpPr>
            <a:spLocks noChangeAspect="1" noEditPoints="1"/>
          </p:cNvSpPr>
          <p:nvPr/>
        </p:nvSpPr>
        <p:spPr bwMode="auto">
          <a:xfrm>
            <a:off x="5425180" y="2062065"/>
            <a:ext cx="367041" cy="368120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8" name="Group 137"/>
          <p:cNvGrpSpPr>
            <a:grpSpLocks noChangeAspect="1"/>
          </p:cNvGrpSpPr>
          <p:nvPr/>
        </p:nvGrpSpPr>
        <p:grpSpPr bwMode="auto">
          <a:xfrm>
            <a:off x="5921973" y="2062069"/>
            <a:ext cx="367041" cy="367041"/>
            <a:chOff x="4032" y="1187"/>
            <a:chExt cx="340" cy="340"/>
          </a:xfrm>
          <a:solidFill>
            <a:schemeClr val="accent2"/>
          </a:solidFill>
        </p:grpSpPr>
        <p:sp>
          <p:nvSpPr>
            <p:cNvPr id="289" name="Freeform 138"/>
            <p:cNvSpPr>
              <a:spLocks noEditPoints="1"/>
            </p:cNvSpPr>
            <p:nvPr/>
          </p:nvSpPr>
          <p:spPr bwMode="auto">
            <a:xfrm>
              <a:off x="4032" y="118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139"/>
            <p:cNvSpPr>
              <a:spLocks noEditPoints="1"/>
            </p:cNvSpPr>
            <p:nvPr/>
          </p:nvSpPr>
          <p:spPr bwMode="auto">
            <a:xfrm>
              <a:off x="4117" y="1251"/>
              <a:ext cx="163" cy="212"/>
            </a:xfrm>
            <a:custGeom>
              <a:avLst/>
              <a:gdLst>
                <a:gd name="T0" fmla="*/ 234 w 245"/>
                <a:gd name="T1" fmla="*/ 10 h 320"/>
                <a:gd name="T2" fmla="*/ 192 w 245"/>
                <a:gd name="T3" fmla="*/ 10 h 320"/>
                <a:gd name="T4" fmla="*/ 181 w 245"/>
                <a:gd name="T5" fmla="*/ 21 h 320"/>
                <a:gd name="T6" fmla="*/ 181 w 245"/>
                <a:gd name="T7" fmla="*/ 32 h 320"/>
                <a:gd name="T8" fmla="*/ 149 w 245"/>
                <a:gd name="T9" fmla="*/ 32 h 320"/>
                <a:gd name="T10" fmla="*/ 149 w 245"/>
                <a:gd name="T11" fmla="*/ 10 h 320"/>
                <a:gd name="T12" fmla="*/ 138 w 245"/>
                <a:gd name="T13" fmla="*/ 0 h 320"/>
                <a:gd name="T14" fmla="*/ 96 w 245"/>
                <a:gd name="T15" fmla="*/ 0 h 320"/>
                <a:gd name="T16" fmla="*/ 85 w 245"/>
                <a:gd name="T17" fmla="*/ 10 h 320"/>
                <a:gd name="T18" fmla="*/ 85 w 245"/>
                <a:gd name="T19" fmla="*/ 32 h 320"/>
                <a:gd name="T20" fmla="*/ 64 w 245"/>
                <a:gd name="T21" fmla="*/ 32 h 320"/>
                <a:gd name="T22" fmla="*/ 53 w 245"/>
                <a:gd name="T23" fmla="*/ 42 h 320"/>
                <a:gd name="T24" fmla="*/ 49 w 245"/>
                <a:gd name="T25" fmla="*/ 53 h 320"/>
                <a:gd name="T26" fmla="*/ 10 w 245"/>
                <a:gd name="T27" fmla="*/ 64 h 320"/>
                <a:gd name="T28" fmla="*/ 3 w 245"/>
                <a:gd name="T29" fmla="*/ 67 h 320"/>
                <a:gd name="T30" fmla="*/ 0 w 245"/>
                <a:gd name="T31" fmla="*/ 74 h 320"/>
                <a:gd name="T32" fmla="*/ 0 w 245"/>
                <a:gd name="T33" fmla="*/ 106 h 320"/>
                <a:gd name="T34" fmla="*/ 10 w 245"/>
                <a:gd name="T35" fmla="*/ 117 h 320"/>
                <a:gd name="T36" fmla="*/ 85 w 245"/>
                <a:gd name="T37" fmla="*/ 117 h 320"/>
                <a:gd name="T38" fmla="*/ 85 w 245"/>
                <a:gd name="T39" fmla="*/ 309 h 320"/>
                <a:gd name="T40" fmla="*/ 96 w 245"/>
                <a:gd name="T41" fmla="*/ 320 h 320"/>
                <a:gd name="T42" fmla="*/ 138 w 245"/>
                <a:gd name="T43" fmla="*/ 320 h 320"/>
                <a:gd name="T44" fmla="*/ 149 w 245"/>
                <a:gd name="T45" fmla="*/ 309 h 320"/>
                <a:gd name="T46" fmla="*/ 149 w 245"/>
                <a:gd name="T47" fmla="*/ 117 h 320"/>
                <a:gd name="T48" fmla="*/ 181 w 245"/>
                <a:gd name="T49" fmla="*/ 117 h 320"/>
                <a:gd name="T50" fmla="*/ 181 w 245"/>
                <a:gd name="T51" fmla="*/ 128 h 320"/>
                <a:gd name="T52" fmla="*/ 192 w 245"/>
                <a:gd name="T53" fmla="*/ 138 h 320"/>
                <a:gd name="T54" fmla="*/ 234 w 245"/>
                <a:gd name="T55" fmla="*/ 138 h 320"/>
                <a:gd name="T56" fmla="*/ 245 w 245"/>
                <a:gd name="T57" fmla="*/ 128 h 320"/>
                <a:gd name="T58" fmla="*/ 245 w 245"/>
                <a:gd name="T59" fmla="*/ 21 h 320"/>
                <a:gd name="T60" fmla="*/ 234 w 245"/>
                <a:gd name="T61" fmla="*/ 10 h 320"/>
                <a:gd name="T62" fmla="*/ 106 w 245"/>
                <a:gd name="T63" fmla="*/ 21 h 320"/>
                <a:gd name="T64" fmla="*/ 128 w 245"/>
                <a:gd name="T65" fmla="*/ 21 h 320"/>
                <a:gd name="T66" fmla="*/ 128 w 245"/>
                <a:gd name="T67" fmla="*/ 32 h 320"/>
                <a:gd name="T68" fmla="*/ 106 w 245"/>
                <a:gd name="T69" fmla="*/ 32 h 320"/>
                <a:gd name="T70" fmla="*/ 106 w 245"/>
                <a:gd name="T71" fmla="*/ 21 h 320"/>
                <a:gd name="T72" fmla="*/ 128 w 245"/>
                <a:gd name="T73" fmla="*/ 298 h 320"/>
                <a:gd name="T74" fmla="*/ 106 w 245"/>
                <a:gd name="T75" fmla="*/ 298 h 320"/>
                <a:gd name="T76" fmla="*/ 106 w 245"/>
                <a:gd name="T77" fmla="*/ 117 h 320"/>
                <a:gd name="T78" fmla="*/ 128 w 245"/>
                <a:gd name="T79" fmla="*/ 117 h 320"/>
                <a:gd name="T80" fmla="*/ 128 w 245"/>
                <a:gd name="T81" fmla="*/ 298 h 320"/>
                <a:gd name="T82" fmla="*/ 170 w 245"/>
                <a:gd name="T83" fmla="*/ 96 h 320"/>
                <a:gd name="T84" fmla="*/ 21 w 245"/>
                <a:gd name="T85" fmla="*/ 96 h 320"/>
                <a:gd name="T86" fmla="*/ 21 w 245"/>
                <a:gd name="T87" fmla="*/ 84 h 320"/>
                <a:gd name="T88" fmla="*/ 64 w 245"/>
                <a:gd name="T89" fmla="*/ 68 h 320"/>
                <a:gd name="T90" fmla="*/ 73 w 245"/>
                <a:gd name="T91" fmla="*/ 53 h 320"/>
                <a:gd name="T92" fmla="*/ 170 w 245"/>
                <a:gd name="T93" fmla="*/ 53 h 320"/>
                <a:gd name="T94" fmla="*/ 170 w 245"/>
                <a:gd name="T95" fmla="*/ 96 h 320"/>
                <a:gd name="T96" fmla="*/ 224 w 245"/>
                <a:gd name="T97" fmla="*/ 117 h 320"/>
                <a:gd name="T98" fmla="*/ 202 w 245"/>
                <a:gd name="T99" fmla="*/ 117 h 320"/>
                <a:gd name="T100" fmla="*/ 202 w 245"/>
                <a:gd name="T101" fmla="*/ 32 h 320"/>
                <a:gd name="T102" fmla="*/ 224 w 245"/>
                <a:gd name="T103" fmla="*/ 32 h 320"/>
                <a:gd name="T104" fmla="*/ 224 w 245"/>
                <a:gd name="T105" fmla="*/ 11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5" h="320">
                  <a:moveTo>
                    <a:pt x="234" y="10"/>
                  </a:moveTo>
                  <a:cubicBezTo>
                    <a:pt x="192" y="10"/>
                    <a:pt x="192" y="10"/>
                    <a:pt x="192" y="10"/>
                  </a:cubicBezTo>
                  <a:cubicBezTo>
                    <a:pt x="186" y="10"/>
                    <a:pt x="181" y="15"/>
                    <a:pt x="181" y="21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4" y="0"/>
                    <a:pt x="13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0" y="0"/>
                    <a:pt x="85" y="4"/>
                    <a:pt x="85" y="10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58" y="32"/>
                    <a:pt x="53" y="36"/>
                    <a:pt x="53" y="42"/>
                  </a:cubicBezTo>
                  <a:cubicBezTo>
                    <a:pt x="53" y="47"/>
                    <a:pt x="52" y="50"/>
                    <a:pt x="49" y="53"/>
                  </a:cubicBezTo>
                  <a:cubicBezTo>
                    <a:pt x="39" y="62"/>
                    <a:pt x="18" y="64"/>
                    <a:pt x="10" y="64"/>
                  </a:cubicBezTo>
                  <a:cubicBezTo>
                    <a:pt x="8" y="64"/>
                    <a:pt x="5" y="65"/>
                    <a:pt x="3" y="67"/>
                  </a:cubicBezTo>
                  <a:cubicBezTo>
                    <a:pt x="1" y="69"/>
                    <a:pt x="0" y="71"/>
                    <a:pt x="0" y="74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12"/>
                    <a:pt x="4" y="117"/>
                    <a:pt x="10" y="117"/>
                  </a:cubicBezTo>
                  <a:cubicBezTo>
                    <a:pt x="85" y="117"/>
                    <a:pt x="85" y="117"/>
                    <a:pt x="85" y="117"/>
                  </a:cubicBezTo>
                  <a:cubicBezTo>
                    <a:pt x="85" y="309"/>
                    <a:pt x="85" y="309"/>
                    <a:pt x="85" y="309"/>
                  </a:cubicBezTo>
                  <a:cubicBezTo>
                    <a:pt x="85" y="315"/>
                    <a:pt x="90" y="320"/>
                    <a:pt x="96" y="320"/>
                  </a:cubicBezTo>
                  <a:cubicBezTo>
                    <a:pt x="138" y="320"/>
                    <a:pt x="138" y="320"/>
                    <a:pt x="138" y="320"/>
                  </a:cubicBezTo>
                  <a:cubicBezTo>
                    <a:pt x="144" y="320"/>
                    <a:pt x="149" y="315"/>
                    <a:pt x="149" y="309"/>
                  </a:cubicBezTo>
                  <a:cubicBezTo>
                    <a:pt x="149" y="117"/>
                    <a:pt x="149" y="117"/>
                    <a:pt x="149" y="117"/>
                  </a:cubicBezTo>
                  <a:cubicBezTo>
                    <a:pt x="181" y="117"/>
                    <a:pt x="181" y="117"/>
                    <a:pt x="181" y="117"/>
                  </a:cubicBezTo>
                  <a:cubicBezTo>
                    <a:pt x="181" y="128"/>
                    <a:pt x="181" y="128"/>
                    <a:pt x="181" y="128"/>
                  </a:cubicBezTo>
                  <a:cubicBezTo>
                    <a:pt x="181" y="134"/>
                    <a:pt x="186" y="138"/>
                    <a:pt x="192" y="138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40" y="138"/>
                    <a:pt x="245" y="134"/>
                    <a:pt x="245" y="128"/>
                  </a:cubicBezTo>
                  <a:cubicBezTo>
                    <a:pt x="245" y="21"/>
                    <a:pt x="245" y="21"/>
                    <a:pt x="245" y="21"/>
                  </a:cubicBezTo>
                  <a:cubicBezTo>
                    <a:pt x="245" y="15"/>
                    <a:pt x="240" y="10"/>
                    <a:pt x="234" y="10"/>
                  </a:cubicBezTo>
                  <a:close/>
                  <a:moveTo>
                    <a:pt x="106" y="21"/>
                  </a:moveTo>
                  <a:cubicBezTo>
                    <a:pt x="128" y="21"/>
                    <a:pt x="128" y="21"/>
                    <a:pt x="128" y="21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06" y="32"/>
                    <a:pt x="106" y="32"/>
                    <a:pt x="106" y="32"/>
                  </a:cubicBezTo>
                  <a:lnTo>
                    <a:pt x="106" y="21"/>
                  </a:lnTo>
                  <a:close/>
                  <a:moveTo>
                    <a:pt x="128" y="298"/>
                  </a:moveTo>
                  <a:cubicBezTo>
                    <a:pt x="106" y="298"/>
                    <a:pt x="106" y="298"/>
                    <a:pt x="106" y="298"/>
                  </a:cubicBezTo>
                  <a:cubicBezTo>
                    <a:pt x="106" y="117"/>
                    <a:pt x="106" y="117"/>
                    <a:pt x="106" y="117"/>
                  </a:cubicBezTo>
                  <a:cubicBezTo>
                    <a:pt x="128" y="117"/>
                    <a:pt x="128" y="117"/>
                    <a:pt x="128" y="117"/>
                  </a:cubicBezTo>
                  <a:lnTo>
                    <a:pt x="128" y="298"/>
                  </a:lnTo>
                  <a:close/>
                  <a:moveTo>
                    <a:pt x="170" y="96"/>
                  </a:moveTo>
                  <a:cubicBezTo>
                    <a:pt x="21" y="96"/>
                    <a:pt x="21" y="96"/>
                    <a:pt x="21" y="96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33" y="83"/>
                    <a:pt x="52" y="80"/>
                    <a:pt x="64" y="68"/>
                  </a:cubicBezTo>
                  <a:cubicBezTo>
                    <a:pt x="68" y="64"/>
                    <a:pt x="71" y="59"/>
                    <a:pt x="73" y="53"/>
                  </a:cubicBezTo>
                  <a:cubicBezTo>
                    <a:pt x="170" y="53"/>
                    <a:pt x="170" y="53"/>
                    <a:pt x="170" y="53"/>
                  </a:cubicBezTo>
                  <a:lnTo>
                    <a:pt x="170" y="96"/>
                  </a:lnTo>
                  <a:close/>
                  <a:moveTo>
                    <a:pt x="224" y="117"/>
                  </a:moveTo>
                  <a:cubicBezTo>
                    <a:pt x="202" y="117"/>
                    <a:pt x="202" y="117"/>
                    <a:pt x="202" y="117"/>
                  </a:cubicBezTo>
                  <a:cubicBezTo>
                    <a:pt x="202" y="32"/>
                    <a:pt x="202" y="32"/>
                    <a:pt x="202" y="32"/>
                  </a:cubicBezTo>
                  <a:cubicBezTo>
                    <a:pt x="224" y="32"/>
                    <a:pt x="224" y="32"/>
                    <a:pt x="224" y="32"/>
                  </a:cubicBezTo>
                  <a:lnTo>
                    <a:pt x="224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1" name="Freeform 566"/>
          <p:cNvSpPr>
            <a:spLocks noChangeAspect="1" noEditPoints="1"/>
          </p:cNvSpPr>
          <p:nvPr/>
        </p:nvSpPr>
        <p:spPr bwMode="auto">
          <a:xfrm>
            <a:off x="6418766" y="2062069"/>
            <a:ext cx="367631" cy="367631"/>
          </a:xfrm>
          <a:custGeom>
            <a:avLst/>
            <a:gdLst>
              <a:gd name="T0" fmla="*/ 364 w 512"/>
              <a:gd name="T1" fmla="*/ 138 h 512"/>
              <a:gd name="T2" fmla="*/ 393 w 512"/>
              <a:gd name="T3" fmla="*/ 352 h 512"/>
              <a:gd name="T4" fmla="*/ 310 w 512"/>
              <a:gd name="T5" fmla="*/ 352 h 512"/>
              <a:gd name="T6" fmla="*/ 329 w 512"/>
              <a:gd name="T7" fmla="*/ 138 h 512"/>
              <a:gd name="T8" fmla="*/ 364 w 512"/>
              <a:gd name="T9" fmla="*/ 138 h 512"/>
              <a:gd name="T10" fmla="*/ 213 w 512"/>
              <a:gd name="T11" fmla="*/ 233 h 512"/>
              <a:gd name="T12" fmla="*/ 213 w 512"/>
              <a:gd name="T13" fmla="*/ 352 h 512"/>
              <a:gd name="T14" fmla="*/ 289 w 512"/>
              <a:gd name="T15" fmla="*/ 352 h 512"/>
              <a:gd name="T16" fmla="*/ 294 w 512"/>
              <a:gd name="T17" fmla="*/ 287 h 512"/>
              <a:gd name="T18" fmla="*/ 292 w 512"/>
              <a:gd name="T19" fmla="*/ 286 h 512"/>
              <a:gd name="T20" fmla="*/ 213 w 512"/>
              <a:gd name="T21" fmla="*/ 233 h 512"/>
              <a:gd name="T22" fmla="*/ 117 w 512"/>
              <a:gd name="T23" fmla="*/ 352 h 512"/>
              <a:gd name="T24" fmla="*/ 192 w 512"/>
              <a:gd name="T25" fmla="*/ 352 h 512"/>
              <a:gd name="T26" fmla="*/ 192 w 512"/>
              <a:gd name="T27" fmla="*/ 283 h 512"/>
              <a:gd name="T28" fmla="*/ 117 w 512"/>
              <a:gd name="T29" fmla="*/ 233 h 512"/>
              <a:gd name="T30" fmla="*/ 117 w 512"/>
              <a:gd name="T31" fmla="*/ 352 h 512"/>
              <a:gd name="T32" fmla="*/ 512 w 512"/>
              <a:gd name="T33" fmla="*/ 256 h 512"/>
              <a:gd name="T34" fmla="*/ 256 w 512"/>
              <a:gd name="T35" fmla="*/ 512 h 512"/>
              <a:gd name="T36" fmla="*/ 0 w 512"/>
              <a:gd name="T37" fmla="*/ 256 h 512"/>
              <a:gd name="T38" fmla="*/ 256 w 512"/>
              <a:gd name="T39" fmla="*/ 0 h 512"/>
              <a:gd name="T40" fmla="*/ 512 w 512"/>
              <a:gd name="T41" fmla="*/ 256 h 512"/>
              <a:gd name="T42" fmla="*/ 416 w 512"/>
              <a:gd name="T43" fmla="*/ 361 h 512"/>
              <a:gd name="T44" fmla="*/ 384 w 512"/>
              <a:gd name="T45" fmla="*/ 126 h 512"/>
              <a:gd name="T46" fmla="*/ 373 w 512"/>
              <a:gd name="T47" fmla="*/ 117 h 512"/>
              <a:gd name="T48" fmla="*/ 320 w 512"/>
              <a:gd name="T49" fmla="*/ 117 h 512"/>
              <a:gd name="T50" fmla="*/ 309 w 512"/>
              <a:gd name="T51" fmla="*/ 127 h 512"/>
              <a:gd name="T52" fmla="*/ 297 w 512"/>
              <a:gd name="T53" fmla="*/ 263 h 512"/>
              <a:gd name="T54" fmla="*/ 208 w 512"/>
              <a:gd name="T55" fmla="*/ 204 h 512"/>
              <a:gd name="T56" fmla="*/ 197 w 512"/>
              <a:gd name="T57" fmla="*/ 204 h 512"/>
              <a:gd name="T58" fmla="*/ 192 w 512"/>
              <a:gd name="T59" fmla="*/ 213 h 512"/>
              <a:gd name="T60" fmla="*/ 192 w 512"/>
              <a:gd name="T61" fmla="*/ 257 h 512"/>
              <a:gd name="T62" fmla="*/ 112 w 512"/>
              <a:gd name="T63" fmla="*/ 204 h 512"/>
              <a:gd name="T64" fmla="*/ 101 w 512"/>
              <a:gd name="T65" fmla="*/ 204 h 512"/>
              <a:gd name="T66" fmla="*/ 96 w 512"/>
              <a:gd name="T67" fmla="*/ 213 h 512"/>
              <a:gd name="T68" fmla="*/ 96 w 512"/>
              <a:gd name="T69" fmla="*/ 362 h 512"/>
              <a:gd name="T70" fmla="*/ 106 w 512"/>
              <a:gd name="T71" fmla="*/ 373 h 512"/>
              <a:gd name="T72" fmla="*/ 405 w 512"/>
              <a:gd name="T73" fmla="*/ 373 h 512"/>
              <a:gd name="T74" fmla="*/ 413 w 512"/>
              <a:gd name="T75" fmla="*/ 369 h 512"/>
              <a:gd name="T76" fmla="*/ 416 w 512"/>
              <a:gd name="T77" fmla="*/ 3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64" y="138"/>
                </a:moveTo>
                <a:cubicBezTo>
                  <a:pt x="393" y="352"/>
                  <a:pt x="393" y="352"/>
                  <a:pt x="393" y="352"/>
                </a:cubicBezTo>
                <a:cubicBezTo>
                  <a:pt x="310" y="352"/>
                  <a:pt x="310" y="352"/>
                  <a:pt x="310" y="352"/>
                </a:cubicBezTo>
                <a:cubicBezTo>
                  <a:pt x="329" y="138"/>
                  <a:pt x="329" y="138"/>
                  <a:pt x="329" y="138"/>
                </a:cubicBezTo>
                <a:lnTo>
                  <a:pt x="364" y="138"/>
                </a:lnTo>
                <a:close/>
                <a:moveTo>
                  <a:pt x="213" y="233"/>
                </a:moveTo>
                <a:cubicBezTo>
                  <a:pt x="213" y="352"/>
                  <a:pt x="213" y="352"/>
                  <a:pt x="213" y="352"/>
                </a:cubicBezTo>
                <a:cubicBezTo>
                  <a:pt x="289" y="352"/>
                  <a:pt x="289" y="352"/>
                  <a:pt x="289" y="352"/>
                </a:cubicBezTo>
                <a:cubicBezTo>
                  <a:pt x="294" y="287"/>
                  <a:pt x="294" y="287"/>
                  <a:pt x="294" y="287"/>
                </a:cubicBezTo>
                <a:cubicBezTo>
                  <a:pt x="294" y="286"/>
                  <a:pt x="293" y="286"/>
                  <a:pt x="292" y="286"/>
                </a:cubicBezTo>
                <a:lnTo>
                  <a:pt x="213" y="233"/>
                </a:ln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283"/>
                  <a:pt x="192" y="283"/>
                  <a:pt x="192" y="283"/>
                </a:cubicBezTo>
                <a:cubicBezTo>
                  <a:pt x="117" y="233"/>
                  <a:pt x="117" y="233"/>
                  <a:pt x="117" y="233"/>
                </a:cubicBezTo>
                <a:lnTo>
                  <a:pt x="117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361"/>
                </a:moveTo>
                <a:cubicBezTo>
                  <a:pt x="384" y="126"/>
                  <a:pt x="384" y="126"/>
                  <a:pt x="384" y="126"/>
                </a:cubicBezTo>
                <a:cubicBezTo>
                  <a:pt x="383" y="121"/>
                  <a:pt x="378" y="117"/>
                  <a:pt x="373" y="117"/>
                </a:cubicBezTo>
                <a:cubicBezTo>
                  <a:pt x="320" y="117"/>
                  <a:pt x="320" y="117"/>
                  <a:pt x="320" y="117"/>
                </a:cubicBezTo>
                <a:cubicBezTo>
                  <a:pt x="314" y="117"/>
                  <a:pt x="310" y="121"/>
                  <a:pt x="309" y="127"/>
                </a:cubicBezTo>
                <a:cubicBezTo>
                  <a:pt x="297" y="263"/>
                  <a:pt x="297" y="263"/>
                  <a:pt x="297" y="263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5" y="202"/>
                  <a:pt x="201" y="202"/>
                  <a:pt x="197" y="204"/>
                </a:cubicBezTo>
                <a:cubicBezTo>
                  <a:pt x="194" y="205"/>
                  <a:pt x="192" y="209"/>
                  <a:pt x="192" y="213"/>
                </a:cubicBezTo>
                <a:cubicBezTo>
                  <a:pt x="192" y="257"/>
                  <a:pt x="192" y="257"/>
                  <a:pt x="192" y="257"/>
                </a:cubicBezTo>
                <a:cubicBezTo>
                  <a:pt x="112" y="204"/>
                  <a:pt x="112" y="204"/>
                  <a:pt x="112" y="204"/>
                </a:cubicBezTo>
                <a:cubicBezTo>
                  <a:pt x="109" y="202"/>
                  <a:pt x="105" y="202"/>
                  <a:pt x="101" y="204"/>
                </a:cubicBezTo>
                <a:cubicBezTo>
                  <a:pt x="98" y="205"/>
                  <a:pt x="96" y="209"/>
                  <a:pt x="96" y="213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4"/>
                  <a:pt x="416" y="36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2" name="Group 569"/>
          <p:cNvGrpSpPr>
            <a:grpSpLocks noChangeAspect="1"/>
          </p:cNvGrpSpPr>
          <p:nvPr/>
        </p:nvGrpSpPr>
        <p:grpSpPr bwMode="auto">
          <a:xfrm>
            <a:off x="6916149" y="2062069"/>
            <a:ext cx="367631" cy="367631"/>
            <a:chOff x="5648" y="3248"/>
            <a:chExt cx="340" cy="340"/>
          </a:xfrm>
          <a:solidFill>
            <a:schemeClr val="accent6"/>
          </a:solidFill>
        </p:grpSpPr>
        <p:sp>
          <p:nvSpPr>
            <p:cNvPr id="293" name="Freeform 570"/>
            <p:cNvSpPr>
              <a:spLocks noEditPoints="1"/>
            </p:cNvSpPr>
            <p:nvPr/>
          </p:nvSpPr>
          <p:spPr bwMode="auto">
            <a:xfrm>
              <a:off x="5712" y="3326"/>
              <a:ext cx="212" cy="170"/>
            </a:xfrm>
            <a:custGeom>
              <a:avLst/>
              <a:gdLst>
                <a:gd name="T0" fmla="*/ 288 w 320"/>
                <a:gd name="T1" fmla="*/ 9 h 256"/>
                <a:gd name="T2" fmla="*/ 277 w 320"/>
                <a:gd name="T3" fmla="*/ 0 h 256"/>
                <a:gd name="T4" fmla="*/ 224 w 320"/>
                <a:gd name="T5" fmla="*/ 0 h 256"/>
                <a:gd name="T6" fmla="*/ 213 w 320"/>
                <a:gd name="T7" fmla="*/ 10 h 256"/>
                <a:gd name="T8" fmla="*/ 201 w 320"/>
                <a:gd name="T9" fmla="*/ 146 h 256"/>
                <a:gd name="T10" fmla="*/ 112 w 320"/>
                <a:gd name="T11" fmla="*/ 87 h 256"/>
                <a:gd name="T12" fmla="*/ 101 w 320"/>
                <a:gd name="T13" fmla="*/ 87 h 256"/>
                <a:gd name="T14" fmla="*/ 96 w 320"/>
                <a:gd name="T15" fmla="*/ 96 h 256"/>
                <a:gd name="T16" fmla="*/ 96 w 320"/>
                <a:gd name="T17" fmla="*/ 140 h 256"/>
                <a:gd name="T18" fmla="*/ 16 w 320"/>
                <a:gd name="T19" fmla="*/ 87 h 256"/>
                <a:gd name="T20" fmla="*/ 5 w 320"/>
                <a:gd name="T21" fmla="*/ 87 h 256"/>
                <a:gd name="T22" fmla="*/ 0 w 320"/>
                <a:gd name="T23" fmla="*/ 96 h 256"/>
                <a:gd name="T24" fmla="*/ 0 w 320"/>
                <a:gd name="T25" fmla="*/ 245 h 256"/>
                <a:gd name="T26" fmla="*/ 10 w 320"/>
                <a:gd name="T27" fmla="*/ 256 h 256"/>
                <a:gd name="T28" fmla="*/ 309 w 320"/>
                <a:gd name="T29" fmla="*/ 256 h 256"/>
                <a:gd name="T30" fmla="*/ 317 w 320"/>
                <a:gd name="T31" fmla="*/ 252 h 256"/>
                <a:gd name="T32" fmla="*/ 320 w 320"/>
                <a:gd name="T33" fmla="*/ 244 h 256"/>
                <a:gd name="T34" fmla="*/ 288 w 320"/>
                <a:gd name="T35" fmla="*/ 9 h 256"/>
                <a:gd name="T36" fmla="*/ 196 w 320"/>
                <a:gd name="T37" fmla="*/ 169 h 256"/>
                <a:gd name="T38" fmla="*/ 198 w 320"/>
                <a:gd name="T39" fmla="*/ 170 h 256"/>
                <a:gd name="T40" fmla="*/ 193 w 320"/>
                <a:gd name="T41" fmla="*/ 235 h 256"/>
                <a:gd name="T42" fmla="*/ 117 w 320"/>
                <a:gd name="T43" fmla="*/ 235 h 256"/>
                <a:gd name="T44" fmla="*/ 117 w 320"/>
                <a:gd name="T45" fmla="*/ 116 h 256"/>
                <a:gd name="T46" fmla="*/ 196 w 320"/>
                <a:gd name="T47" fmla="*/ 169 h 256"/>
                <a:gd name="T48" fmla="*/ 96 w 320"/>
                <a:gd name="T49" fmla="*/ 166 h 256"/>
                <a:gd name="T50" fmla="*/ 96 w 320"/>
                <a:gd name="T51" fmla="*/ 235 h 256"/>
                <a:gd name="T52" fmla="*/ 21 w 320"/>
                <a:gd name="T53" fmla="*/ 235 h 256"/>
                <a:gd name="T54" fmla="*/ 21 w 320"/>
                <a:gd name="T55" fmla="*/ 116 h 256"/>
                <a:gd name="T56" fmla="*/ 96 w 320"/>
                <a:gd name="T57" fmla="*/ 166 h 256"/>
                <a:gd name="T58" fmla="*/ 214 w 320"/>
                <a:gd name="T59" fmla="*/ 235 h 256"/>
                <a:gd name="T60" fmla="*/ 233 w 320"/>
                <a:gd name="T61" fmla="*/ 21 h 256"/>
                <a:gd name="T62" fmla="*/ 268 w 320"/>
                <a:gd name="T63" fmla="*/ 21 h 256"/>
                <a:gd name="T64" fmla="*/ 297 w 320"/>
                <a:gd name="T65" fmla="*/ 235 h 256"/>
                <a:gd name="T66" fmla="*/ 214 w 320"/>
                <a:gd name="T67" fmla="*/ 23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0" h="256">
                  <a:moveTo>
                    <a:pt x="288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18" y="0"/>
                    <a:pt x="214" y="4"/>
                    <a:pt x="213" y="10"/>
                  </a:cubicBezTo>
                  <a:cubicBezTo>
                    <a:pt x="201" y="146"/>
                    <a:pt x="201" y="146"/>
                    <a:pt x="201" y="146"/>
                  </a:cubicBezTo>
                  <a:cubicBezTo>
                    <a:pt x="112" y="87"/>
                    <a:pt x="112" y="87"/>
                    <a:pt x="112" y="87"/>
                  </a:cubicBezTo>
                  <a:cubicBezTo>
                    <a:pt x="109" y="85"/>
                    <a:pt x="105" y="85"/>
                    <a:pt x="101" y="87"/>
                  </a:cubicBezTo>
                  <a:cubicBezTo>
                    <a:pt x="98" y="88"/>
                    <a:pt x="96" y="92"/>
                    <a:pt x="96" y="96"/>
                  </a:cubicBezTo>
                  <a:cubicBezTo>
                    <a:pt x="96" y="140"/>
                    <a:pt x="96" y="140"/>
                    <a:pt x="96" y="140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3" y="85"/>
                    <a:pt x="9" y="85"/>
                    <a:pt x="5" y="87"/>
                  </a:cubicBezTo>
                  <a:cubicBezTo>
                    <a:pt x="2" y="88"/>
                    <a:pt x="0" y="92"/>
                    <a:pt x="0" y="96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51"/>
                    <a:pt x="4" y="256"/>
                    <a:pt x="10" y="256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12" y="256"/>
                    <a:pt x="315" y="255"/>
                    <a:pt x="317" y="252"/>
                  </a:cubicBezTo>
                  <a:cubicBezTo>
                    <a:pt x="319" y="250"/>
                    <a:pt x="320" y="247"/>
                    <a:pt x="320" y="244"/>
                  </a:cubicBezTo>
                  <a:lnTo>
                    <a:pt x="288" y="9"/>
                  </a:lnTo>
                  <a:close/>
                  <a:moveTo>
                    <a:pt x="196" y="169"/>
                  </a:moveTo>
                  <a:cubicBezTo>
                    <a:pt x="197" y="169"/>
                    <a:pt x="198" y="169"/>
                    <a:pt x="198" y="170"/>
                  </a:cubicBezTo>
                  <a:cubicBezTo>
                    <a:pt x="193" y="235"/>
                    <a:pt x="193" y="235"/>
                    <a:pt x="193" y="235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17" y="116"/>
                    <a:pt x="117" y="116"/>
                    <a:pt x="117" y="116"/>
                  </a:cubicBezTo>
                  <a:lnTo>
                    <a:pt x="196" y="169"/>
                  </a:lnTo>
                  <a:close/>
                  <a:moveTo>
                    <a:pt x="96" y="166"/>
                  </a:moveTo>
                  <a:cubicBezTo>
                    <a:pt x="96" y="235"/>
                    <a:pt x="96" y="235"/>
                    <a:pt x="96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116"/>
                    <a:pt x="21" y="116"/>
                    <a:pt x="21" y="116"/>
                  </a:cubicBezTo>
                  <a:lnTo>
                    <a:pt x="96" y="166"/>
                  </a:lnTo>
                  <a:close/>
                  <a:moveTo>
                    <a:pt x="214" y="235"/>
                  </a:moveTo>
                  <a:cubicBezTo>
                    <a:pt x="233" y="21"/>
                    <a:pt x="233" y="21"/>
                    <a:pt x="233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7" y="235"/>
                    <a:pt x="297" y="235"/>
                    <a:pt x="297" y="235"/>
                  </a:cubicBezTo>
                  <a:lnTo>
                    <a:pt x="214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Freeform 571"/>
            <p:cNvSpPr>
              <a:spLocks noEditPoints="1"/>
            </p:cNvSpPr>
            <p:nvPr/>
          </p:nvSpPr>
          <p:spPr bwMode="auto">
            <a:xfrm>
              <a:off x="5648" y="3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5" name="Freeform 105"/>
          <p:cNvSpPr>
            <a:spLocks noChangeAspect="1" noEditPoints="1"/>
          </p:cNvSpPr>
          <p:nvPr/>
        </p:nvSpPr>
        <p:spPr bwMode="auto">
          <a:xfrm>
            <a:off x="9408452" y="2062069"/>
            <a:ext cx="367631" cy="367631"/>
          </a:xfrm>
          <a:custGeom>
            <a:avLst/>
            <a:gdLst>
              <a:gd name="T0" fmla="*/ 330 w 512"/>
              <a:gd name="T1" fmla="*/ 345 h 512"/>
              <a:gd name="T2" fmla="*/ 362 w 512"/>
              <a:gd name="T3" fmla="*/ 306 h 512"/>
              <a:gd name="T4" fmla="*/ 362 w 512"/>
              <a:gd name="T5" fmla="*/ 352 h 512"/>
              <a:gd name="T6" fmla="*/ 330 w 512"/>
              <a:gd name="T7" fmla="*/ 352 h 512"/>
              <a:gd name="T8" fmla="*/ 330 w 512"/>
              <a:gd name="T9" fmla="*/ 345 h 512"/>
              <a:gd name="T10" fmla="*/ 117 w 512"/>
              <a:gd name="T11" fmla="*/ 288 h 512"/>
              <a:gd name="T12" fmla="*/ 181 w 512"/>
              <a:gd name="T13" fmla="*/ 288 h 512"/>
              <a:gd name="T14" fmla="*/ 181 w 512"/>
              <a:gd name="T15" fmla="*/ 256 h 512"/>
              <a:gd name="T16" fmla="*/ 117 w 512"/>
              <a:gd name="T17" fmla="*/ 256 h 512"/>
              <a:gd name="T18" fmla="*/ 117 w 512"/>
              <a:gd name="T19" fmla="*/ 288 h 512"/>
              <a:gd name="T20" fmla="*/ 330 w 512"/>
              <a:gd name="T21" fmla="*/ 121 h 512"/>
              <a:gd name="T22" fmla="*/ 175 w 512"/>
              <a:gd name="T23" fmla="*/ 170 h 512"/>
              <a:gd name="T24" fmla="*/ 330 w 512"/>
              <a:gd name="T25" fmla="*/ 170 h 512"/>
              <a:gd name="T26" fmla="*/ 330 w 512"/>
              <a:gd name="T27" fmla="*/ 121 h 512"/>
              <a:gd name="T28" fmla="*/ 330 w 512"/>
              <a:gd name="T29" fmla="*/ 312 h 512"/>
              <a:gd name="T30" fmla="*/ 362 w 512"/>
              <a:gd name="T31" fmla="*/ 273 h 512"/>
              <a:gd name="T32" fmla="*/ 362 w 512"/>
              <a:gd name="T33" fmla="*/ 232 h 512"/>
              <a:gd name="T34" fmla="*/ 330 w 512"/>
              <a:gd name="T35" fmla="*/ 270 h 512"/>
              <a:gd name="T36" fmla="*/ 330 w 512"/>
              <a:gd name="T37" fmla="*/ 312 h 512"/>
              <a:gd name="T38" fmla="*/ 330 w 512"/>
              <a:gd name="T39" fmla="*/ 237 h 512"/>
              <a:gd name="T40" fmla="*/ 362 w 512"/>
              <a:gd name="T41" fmla="*/ 198 h 512"/>
              <a:gd name="T42" fmla="*/ 362 w 512"/>
              <a:gd name="T43" fmla="*/ 192 h 512"/>
              <a:gd name="T44" fmla="*/ 330 w 512"/>
              <a:gd name="T45" fmla="*/ 192 h 512"/>
              <a:gd name="T46" fmla="*/ 330 w 512"/>
              <a:gd name="T47" fmla="*/ 237 h 512"/>
              <a:gd name="T48" fmla="*/ 352 w 512"/>
              <a:gd name="T49" fmla="*/ 170 h 512"/>
              <a:gd name="T50" fmla="*/ 382 w 512"/>
              <a:gd name="T51" fmla="*/ 170 h 512"/>
              <a:gd name="T52" fmla="*/ 352 w 512"/>
              <a:gd name="T53" fmla="*/ 135 h 512"/>
              <a:gd name="T54" fmla="*/ 352 w 512"/>
              <a:gd name="T55" fmla="*/ 170 h 512"/>
              <a:gd name="T56" fmla="*/ 512 w 512"/>
              <a:gd name="T57" fmla="*/ 256 h 512"/>
              <a:gd name="T58" fmla="*/ 256 w 512"/>
              <a:gd name="T59" fmla="*/ 512 h 512"/>
              <a:gd name="T60" fmla="*/ 0 w 512"/>
              <a:gd name="T61" fmla="*/ 256 h 512"/>
              <a:gd name="T62" fmla="*/ 256 w 512"/>
              <a:gd name="T63" fmla="*/ 0 h 512"/>
              <a:gd name="T64" fmla="*/ 512 w 512"/>
              <a:gd name="T65" fmla="*/ 256 h 512"/>
              <a:gd name="T66" fmla="*/ 413 w 512"/>
              <a:gd name="T67" fmla="*/ 174 h 512"/>
              <a:gd name="T68" fmla="*/ 349 w 512"/>
              <a:gd name="T69" fmla="*/ 99 h 512"/>
              <a:gd name="T70" fmla="*/ 338 w 512"/>
              <a:gd name="T71" fmla="*/ 96 h 512"/>
              <a:gd name="T72" fmla="*/ 103 w 512"/>
              <a:gd name="T73" fmla="*/ 171 h 512"/>
              <a:gd name="T74" fmla="*/ 96 w 512"/>
              <a:gd name="T75" fmla="*/ 183 h 512"/>
              <a:gd name="T76" fmla="*/ 106 w 512"/>
              <a:gd name="T77" fmla="*/ 192 h 512"/>
              <a:gd name="T78" fmla="*/ 138 w 512"/>
              <a:gd name="T79" fmla="*/ 192 h 512"/>
              <a:gd name="T80" fmla="*/ 138 w 512"/>
              <a:gd name="T81" fmla="*/ 234 h 512"/>
              <a:gd name="T82" fmla="*/ 106 w 512"/>
              <a:gd name="T83" fmla="*/ 234 h 512"/>
              <a:gd name="T84" fmla="*/ 96 w 512"/>
              <a:gd name="T85" fmla="*/ 245 h 512"/>
              <a:gd name="T86" fmla="*/ 96 w 512"/>
              <a:gd name="T87" fmla="*/ 298 h 512"/>
              <a:gd name="T88" fmla="*/ 106 w 512"/>
              <a:gd name="T89" fmla="*/ 309 h 512"/>
              <a:gd name="T90" fmla="*/ 192 w 512"/>
              <a:gd name="T91" fmla="*/ 309 h 512"/>
              <a:gd name="T92" fmla="*/ 202 w 512"/>
              <a:gd name="T93" fmla="*/ 298 h 512"/>
              <a:gd name="T94" fmla="*/ 202 w 512"/>
              <a:gd name="T95" fmla="*/ 245 h 512"/>
              <a:gd name="T96" fmla="*/ 192 w 512"/>
              <a:gd name="T97" fmla="*/ 234 h 512"/>
              <a:gd name="T98" fmla="*/ 160 w 512"/>
              <a:gd name="T99" fmla="*/ 234 h 512"/>
              <a:gd name="T100" fmla="*/ 160 w 512"/>
              <a:gd name="T101" fmla="*/ 192 h 512"/>
              <a:gd name="T102" fmla="*/ 309 w 512"/>
              <a:gd name="T103" fmla="*/ 192 h 512"/>
              <a:gd name="T104" fmla="*/ 309 w 512"/>
              <a:gd name="T105" fmla="*/ 352 h 512"/>
              <a:gd name="T106" fmla="*/ 128 w 512"/>
              <a:gd name="T107" fmla="*/ 352 h 512"/>
              <a:gd name="T108" fmla="*/ 117 w 512"/>
              <a:gd name="T109" fmla="*/ 362 h 512"/>
              <a:gd name="T110" fmla="*/ 128 w 512"/>
              <a:gd name="T111" fmla="*/ 373 h 512"/>
              <a:gd name="T112" fmla="*/ 384 w 512"/>
              <a:gd name="T113" fmla="*/ 373 h 512"/>
              <a:gd name="T114" fmla="*/ 394 w 512"/>
              <a:gd name="T115" fmla="*/ 362 h 512"/>
              <a:gd name="T116" fmla="*/ 384 w 512"/>
              <a:gd name="T117" fmla="*/ 352 h 512"/>
              <a:gd name="T118" fmla="*/ 384 w 512"/>
              <a:gd name="T119" fmla="*/ 192 h 512"/>
              <a:gd name="T120" fmla="*/ 405 w 512"/>
              <a:gd name="T121" fmla="*/ 192 h 512"/>
              <a:gd name="T122" fmla="*/ 415 w 512"/>
              <a:gd name="T123" fmla="*/ 185 h 512"/>
              <a:gd name="T124" fmla="*/ 413 w 512"/>
              <a:gd name="T125" fmla="*/ 17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30" y="345"/>
                </a:moveTo>
                <a:cubicBezTo>
                  <a:pt x="362" y="306"/>
                  <a:pt x="362" y="306"/>
                  <a:pt x="362" y="306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30" y="352"/>
                  <a:pt x="330" y="352"/>
                  <a:pt x="330" y="352"/>
                </a:cubicBezTo>
                <a:lnTo>
                  <a:pt x="330" y="345"/>
                </a:lnTo>
                <a:close/>
                <a:moveTo>
                  <a:pt x="117" y="288"/>
                </a:moveTo>
                <a:cubicBezTo>
                  <a:pt x="181" y="288"/>
                  <a:pt x="181" y="288"/>
                  <a:pt x="181" y="288"/>
                </a:cubicBezTo>
                <a:cubicBezTo>
                  <a:pt x="181" y="256"/>
                  <a:pt x="181" y="256"/>
                  <a:pt x="181" y="256"/>
                </a:cubicBezTo>
                <a:cubicBezTo>
                  <a:pt x="117" y="256"/>
                  <a:pt x="117" y="256"/>
                  <a:pt x="117" y="256"/>
                </a:cubicBezTo>
                <a:lnTo>
                  <a:pt x="117" y="288"/>
                </a:lnTo>
                <a:close/>
                <a:moveTo>
                  <a:pt x="330" y="121"/>
                </a:moveTo>
                <a:cubicBezTo>
                  <a:pt x="175" y="170"/>
                  <a:pt x="175" y="170"/>
                  <a:pt x="175" y="170"/>
                </a:cubicBezTo>
                <a:cubicBezTo>
                  <a:pt x="330" y="170"/>
                  <a:pt x="330" y="170"/>
                  <a:pt x="330" y="170"/>
                </a:cubicBezTo>
                <a:lnTo>
                  <a:pt x="330" y="121"/>
                </a:lnTo>
                <a:close/>
                <a:moveTo>
                  <a:pt x="330" y="312"/>
                </a:moveTo>
                <a:cubicBezTo>
                  <a:pt x="362" y="273"/>
                  <a:pt x="362" y="273"/>
                  <a:pt x="362" y="273"/>
                </a:cubicBezTo>
                <a:cubicBezTo>
                  <a:pt x="362" y="232"/>
                  <a:pt x="362" y="232"/>
                  <a:pt x="362" y="232"/>
                </a:cubicBezTo>
                <a:cubicBezTo>
                  <a:pt x="330" y="270"/>
                  <a:pt x="330" y="270"/>
                  <a:pt x="330" y="270"/>
                </a:cubicBezTo>
                <a:lnTo>
                  <a:pt x="330" y="312"/>
                </a:lnTo>
                <a:close/>
                <a:moveTo>
                  <a:pt x="330" y="237"/>
                </a:moveTo>
                <a:cubicBezTo>
                  <a:pt x="362" y="198"/>
                  <a:pt x="362" y="198"/>
                  <a:pt x="362" y="198"/>
                </a:cubicBezTo>
                <a:cubicBezTo>
                  <a:pt x="362" y="192"/>
                  <a:pt x="362" y="192"/>
                  <a:pt x="362" y="192"/>
                </a:cubicBezTo>
                <a:cubicBezTo>
                  <a:pt x="330" y="192"/>
                  <a:pt x="330" y="192"/>
                  <a:pt x="330" y="192"/>
                </a:cubicBezTo>
                <a:lnTo>
                  <a:pt x="330" y="237"/>
                </a:lnTo>
                <a:close/>
                <a:moveTo>
                  <a:pt x="352" y="170"/>
                </a:moveTo>
                <a:cubicBezTo>
                  <a:pt x="382" y="170"/>
                  <a:pt x="382" y="170"/>
                  <a:pt x="382" y="170"/>
                </a:cubicBezTo>
                <a:cubicBezTo>
                  <a:pt x="352" y="135"/>
                  <a:pt x="352" y="135"/>
                  <a:pt x="352" y="135"/>
                </a:cubicBezTo>
                <a:lnTo>
                  <a:pt x="352" y="17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3" y="174"/>
                </a:moveTo>
                <a:cubicBezTo>
                  <a:pt x="349" y="99"/>
                  <a:pt x="349" y="99"/>
                  <a:pt x="349" y="99"/>
                </a:cubicBezTo>
                <a:cubicBezTo>
                  <a:pt x="346" y="96"/>
                  <a:pt x="342" y="95"/>
                  <a:pt x="338" y="96"/>
                </a:cubicBezTo>
                <a:cubicBezTo>
                  <a:pt x="103" y="171"/>
                  <a:pt x="103" y="171"/>
                  <a:pt x="103" y="171"/>
                </a:cubicBezTo>
                <a:cubicBezTo>
                  <a:pt x="98" y="172"/>
                  <a:pt x="95" y="177"/>
                  <a:pt x="96" y="183"/>
                </a:cubicBezTo>
                <a:cubicBezTo>
                  <a:pt x="97" y="188"/>
                  <a:pt x="101" y="192"/>
                  <a:pt x="106" y="192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8" y="234"/>
                  <a:pt x="138" y="234"/>
                  <a:pt x="138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0" y="234"/>
                  <a:pt x="96" y="239"/>
                  <a:pt x="96" y="245"/>
                </a:cubicBezTo>
                <a:cubicBezTo>
                  <a:pt x="96" y="298"/>
                  <a:pt x="96" y="298"/>
                  <a:pt x="96" y="298"/>
                </a:cubicBezTo>
                <a:cubicBezTo>
                  <a:pt x="96" y="304"/>
                  <a:pt x="100" y="309"/>
                  <a:pt x="106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8" y="309"/>
                  <a:pt x="202" y="304"/>
                  <a:pt x="202" y="298"/>
                </a:cubicBezTo>
                <a:cubicBezTo>
                  <a:pt x="202" y="245"/>
                  <a:pt x="202" y="245"/>
                  <a:pt x="202" y="245"/>
                </a:cubicBezTo>
                <a:cubicBezTo>
                  <a:pt x="202" y="239"/>
                  <a:pt x="198" y="234"/>
                  <a:pt x="192" y="234"/>
                </a:cubicBezTo>
                <a:cubicBezTo>
                  <a:pt x="160" y="234"/>
                  <a:pt x="160" y="234"/>
                  <a:pt x="160" y="234"/>
                </a:cubicBezTo>
                <a:cubicBezTo>
                  <a:pt x="160" y="192"/>
                  <a:pt x="160" y="192"/>
                  <a:pt x="160" y="192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09" y="352"/>
                  <a:pt x="309" y="352"/>
                  <a:pt x="309" y="352"/>
                </a:cubicBezTo>
                <a:cubicBezTo>
                  <a:pt x="128" y="352"/>
                  <a:pt x="128" y="352"/>
                  <a:pt x="128" y="352"/>
                </a:cubicBezTo>
                <a:cubicBezTo>
                  <a:pt x="122" y="352"/>
                  <a:pt x="117" y="356"/>
                  <a:pt x="117" y="362"/>
                </a:cubicBezTo>
                <a:cubicBezTo>
                  <a:pt x="117" y="368"/>
                  <a:pt x="122" y="373"/>
                  <a:pt x="128" y="373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390" y="373"/>
                  <a:pt x="394" y="368"/>
                  <a:pt x="394" y="362"/>
                </a:cubicBezTo>
                <a:cubicBezTo>
                  <a:pt x="394" y="356"/>
                  <a:pt x="390" y="352"/>
                  <a:pt x="384" y="352"/>
                </a:cubicBezTo>
                <a:cubicBezTo>
                  <a:pt x="384" y="192"/>
                  <a:pt x="384" y="192"/>
                  <a:pt x="384" y="192"/>
                </a:cubicBezTo>
                <a:cubicBezTo>
                  <a:pt x="405" y="192"/>
                  <a:pt x="405" y="192"/>
                  <a:pt x="405" y="192"/>
                </a:cubicBezTo>
                <a:cubicBezTo>
                  <a:pt x="409" y="192"/>
                  <a:pt x="413" y="189"/>
                  <a:pt x="415" y="185"/>
                </a:cubicBezTo>
                <a:cubicBezTo>
                  <a:pt x="416" y="182"/>
                  <a:pt x="416" y="177"/>
                  <a:pt x="413" y="17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6" name="Group 108"/>
          <p:cNvGrpSpPr>
            <a:grpSpLocks noChangeAspect="1"/>
          </p:cNvGrpSpPr>
          <p:nvPr/>
        </p:nvGrpSpPr>
        <p:grpSpPr bwMode="auto">
          <a:xfrm>
            <a:off x="9905829" y="2062065"/>
            <a:ext cx="367631" cy="367631"/>
            <a:chOff x="655" y="442"/>
            <a:chExt cx="340" cy="340"/>
          </a:xfrm>
          <a:solidFill>
            <a:schemeClr val="accent2"/>
          </a:solidFill>
        </p:grpSpPr>
        <p:sp>
          <p:nvSpPr>
            <p:cNvPr id="297" name="Freeform 109"/>
            <p:cNvSpPr>
              <a:spLocks noEditPoints="1"/>
            </p:cNvSpPr>
            <p:nvPr/>
          </p:nvSpPr>
          <p:spPr bwMode="auto">
            <a:xfrm>
              <a:off x="655" y="44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110"/>
            <p:cNvSpPr>
              <a:spLocks noEditPoints="1"/>
            </p:cNvSpPr>
            <p:nvPr/>
          </p:nvSpPr>
          <p:spPr bwMode="auto">
            <a:xfrm>
              <a:off x="718" y="505"/>
              <a:ext cx="213" cy="185"/>
            </a:xfrm>
            <a:custGeom>
              <a:avLst/>
              <a:gdLst>
                <a:gd name="T0" fmla="*/ 318 w 321"/>
                <a:gd name="T1" fmla="*/ 79 h 278"/>
                <a:gd name="T2" fmla="*/ 254 w 321"/>
                <a:gd name="T3" fmla="*/ 4 h 278"/>
                <a:gd name="T4" fmla="*/ 243 w 321"/>
                <a:gd name="T5" fmla="*/ 1 h 278"/>
                <a:gd name="T6" fmla="*/ 8 w 321"/>
                <a:gd name="T7" fmla="*/ 76 h 278"/>
                <a:gd name="T8" fmla="*/ 1 w 321"/>
                <a:gd name="T9" fmla="*/ 88 h 278"/>
                <a:gd name="T10" fmla="*/ 11 w 321"/>
                <a:gd name="T11" fmla="*/ 97 h 278"/>
                <a:gd name="T12" fmla="*/ 43 w 321"/>
                <a:gd name="T13" fmla="*/ 97 h 278"/>
                <a:gd name="T14" fmla="*/ 43 w 321"/>
                <a:gd name="T15" fmla="*/ 139 h 278"/>
                <a:gd name="T16" fmla="*/ 11 w 321"/>
                <a:gd name="T17" fmla="*/ 139 h 278"/>
                <a:gd name="T18" fmla="*/ 1 w 321"/>
                <a:gd name="T19" fmla="*/ 150 h 278"/>
                <a:gd name="T20" fmla="*/ 1 w 321"/>
                <a:gd name="T21" fmla="*/ 203 h 278"/>
                <a:gd name="T22" fmla="*/ 11 w 321"/>
                <a:gd name="T23" fmla="*/ 214 h 278"/>
                <a:gd name="T24" fmla="*/ 97 w 321"/>
                <a:gd name="T25" fmla="*/ 214 h 278"/>
                <a:gd name="T26" fmla="*/ 107 w 321"/>
                <a:gd name="T27" fmla="*/ 203 h 278"/>
                <a:gd name="T28" fmla="*/ 107 w 321"/>
                <a:gd name="T29" fmla="*/ 150 h 278"/>
                <a:gd name="T30" fmla="*/ 97 w 321"/>
                <a:gd name="T31" fmla="*/ 139 h 278"/>
                <a:gd name="T32" fmla="*/ 65 w 321"/>
                <a:gd name="T33" fmla="*/ 139 h 278"/>
                <a:gd name="T34" fmla="*/ 65 w 321"/>
                <a:gd name="T35" fmla="*/ 97 h 278"/>
                <a:gd name="T36" fmla="*/ 214 w 321"/>
                <a:gd name="T37" fmla="*/ 97 h 278"/>
                <a:gd name="T38" fmla="*/ 214 w 321"/>
                <a:gd name="T39" fmla="*/ 257 h 278"/>
                <a:gd name="T40" fmla="*/ 33 w 321"/>
                <a:gd name="T41" fmla="*/ 257 h 278"/>
                <a:gd name="T42" fmla="*/ 22 w 321"/>
                <a:gd name="T43" fmla="*/ 267 h 278"/>
                <a:gd name="T44" fmla="*/ 33 w 321"/>
                <a:gd name="T45" fmla="*/ 278 h 278"/>
                <a:gd name="T46" fmla="*/ 289 w 321"/>
                <a:gd name="T47" fmla="*/ 278 h 278"/>
                <a:gd name="T48" fmla="*/ 299 w 321"/>
                <a:gd name="T49" fmla="*/ 267 h 278"/>
                <a:gd name="T50" fmla="*/ 289 w 321"/>
                <a:gd name="T51" fmla="*/ 257 h 278"/>
                <a:gd name="T52" fmla="*/ 289 w 321"/>
                <a:gd name="T53" fmla="*/ 97 h 278"/>
                <a:gd name="T54" fmla="*/ 310 w 321"/>
                <a:gd name="T55" fmla="*/ 97 h 278"/>
                <a:gd name="T56" fmla="*/ 320 w 321"/>
                <a:gd name="T57" fmla="*/ 90 h 278"/>
                <a:gd name="T58" fmla="*/ 318 w 321"/>
                <a:gd name="T59" fmla="*/ 79 h 278"/>
                <a:gd name="T60" fmla="*/ 86 w 321"/>
                <a:gd name="T61" fmla="*/ 161 h 278"/>
                <a:gd name="T62" fmla="*/ 86 w 321"/>
                <a:gd name="T63" fmla="*/ 193 h 278"/>
                <a:gd name="T64" fmla="*/ 22 w 321"/>
                <a:gd name="T65" fmla="*/ 193 h 278"/>
                <a:gd name="T66" fmla="*/ 22 w 321"/>
                <a:gd name="T67" fmla="*/ 161 h 278"/>
                <a:gd name="T68" fmla="*/ 86 w 321"/>
                <a:gd name="T69" fmla="*/ 161 h 278"/>
                <a:gd name="T70" fmla="*/ 257 w 321"/>
                <a:gd name="T71" fmla="*/ 75 h 278"/>
                <a:gd name="T72" fmla="*/ 257 w 321"/>
                <a:gd name="T73" fmla="*/ 40 h 278"/>
                <a:gd name="T74" fmla="*/ 287 w 321"/>
                <a:gd name="T75" fmla="*/ 75 h 278"/>
                <a:gd name="T76" fmla="*/ 257 w 321"/>
                <a:gd name="T77" fmla="*/ 75 h 278"/>
                <a:gd name="T78" fmla="*/ 235 w 321"/>
                <a:gd name="T79" fmla="*/ 26 h 278"/>
                <a:gd name="T80" fmla="*/ 235 w 321"/>
                <a:gd name="T81" fmla="*/ 75 h 278"/>
                <a:gd name="T82" fmla="*/ 80 w 321"/>
                <a:gd name="T83" fmla="*/ 75 h 278"/>
                <a:gd name="T84" fmla="*/ 235 w 321"/>
                <a:gd name="T85" fmla="*/ 26 h 278"/>
                <a:gd name="T86" fmla="*/ 267 w 321"/>
                <a:gd name="T87" fmla="*/ 178 h 278"/>
                <a:gd name="T88" fmla="*/ 235 w 321"/>
                <a:gd name="T89" fmla="*/ 217 h 278"/>
                <a:gd name="T90" fmla="*/ 235 w 321"/>
                <a:gd name="T91" fmla="*/ 175 h 278"/>
                <a:gd name="T92" fmla="*/ 267 w 321"/>
                <a:gd name="T93" fmla="*/ 137 h 278"/>
                <a:gd name="T94" fmla="*/ 267 w 321"/>
                <a:gd name="T95" fmla="*/ 178 h 278"/>
                <a:gd name="T96" fmla="*/ 235 w 321"/>
                <a:gd name="T97" fmla="*/ 257 h 278"/>
                <a:gd name="T98" fmla="*/ 235 w 321"/>
                <a:gd name="T99" fmla="*/ 250 h 278"/>
                <a:gd name="T100" fmla="*/ 267 w 321"/>
                <a:gd name="T101" fmla="*/ 211 h 278"/>
                <a:gd name="T102" fmla="*/ 267 w 321"/>
                <a:gd name="T103" fmla="*/ 257 h 278"/>
                <a:gd name="T104" fmla="*/ 235 w 321"/>
                <a:gd name="T105" fmla="*/ 257 h 278"/>
                <a:gd name="T106" fmla="*/ 267 w 321"/>
                <a:gd name="T107" fmla="*/ 103 h 278"/>
                <a:gd name="T108" fmla="*/ 235 w 321"/>
                <a:gd name="T109" fmla="*/ 142 h 278"/>
                <a:gd name="T110" fmla="*/ 235 w 321"/>
                <a:gd name="T111" fmla="*/ 97 h 278"/>
                <a:gd name="T112" fmla="*/ 267 w 321"/>
                <a:gd name="T113" fmla="*/ 97 h 278"/>
                <a:gd name="T114" fmla="*/ 267 w 321"/>
                <a:gd name="T115" fmla="*/ 103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1" h="278">
                  <a:moveTo>
                    <a:pt x="318" y="79"/>
                  </a:moveTo>
                  <a:cubicBezTo>
                    <a:pt x="254" y="4"/>
                    <a:pt x="254" y="4"/>
                    <a:pt x="254" y="4"/>
                  </a:cubicBezTo>
                  <a:cubicBezTo>
                    <a:pt x="251" y="1"/>
                    <a:pt x="247" y="0"/>
                    <a:pt x="243" y="1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3" y="77"/>
                    <a:pt x="0" y="82"/>
                    <a:pt x="1" y="88"/>
                  </a:cubicBezTo>
                  <a:cubicBezTo>
                    <a:pt x="2" y="93"/>
                    <a:pt x="6" y="97"/>
                    <a:pt x="11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139"/>
                    <a:pt x="43" y="139"/>
                    <a:pt x="43" y="139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5" y="139"/>
                    <a:pt x="1" y="144"/>
                    <a:pt x="1" y="150"/>
                  </a:cubicBezTo>
                  <a:cubicBezTo>
                    <a:pt x="1" y="203"/>
                    <a:pt x="1" y="203"/>
                    <a:pt x="1" y="203"/>
                  </a:cubicBezTo>
                  <a:cubicBezTo>
                    <a:pt x="1" y="209"/>
                    <a:pt x="5" y="214"/>
                    <a:pt x="11" y="214"/>
                  </a:cubicBezTo>
                  <a:cubicBezTo>
                    <a:pt x="97" y="214"/>
                    <a:pt x="97" y="214"/>
                    <a:pt x="97" y="214"/>
                  </a:cubicBezTo>
                  <a:cubicBezTo>
                    <a:pt x="103" y="214"/>
                    <a:pt x="107" y="209"/>
                    <a:pt x="107" y="203"/>
                  </a:cubicBezTo>
                  <a:cubicBezTo>
                    <a:pt x="107" y="150"/>
                    <a:pt x="107" y="150"/>
                    <a:pt x="107" y="150"/>
                  </a:cubicBezTo>
                  <a:cubicBezTo>
                    <a:pt x="107" y="144"/>
                    <a:pt x="103" y="139"/>
                    <a:pt x="97" y="139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214" y="97"/>
                    <a:pt x="214" y="97"/>
                    <a:pt x="214" y="97"/>
                  </a:cubicBezTo>
                  <a:cubicBezTo>
                    <a:pt x="214" y="257"/>
                    <a:pt x="214" y="257"/>
                    <a:pt x="214" y="257"/>
                  </a:cubicBezTo>
                  <a:cubicBezTo>
                    <a:pt x="33" y="257"/>
                    <a:pt x="33" y="257"/>
                    <a:pt x="33" y="257"/>
                  </a:cubicBezTo>
                  <a:cubicBezTo>
                    <a:pt x="27" y="257"/>
                    <a:pt x="22" y="261"/>
                    <a:pt x="22" y="267"/>
                  </a:cubicBezTo>
                  <a:cubicBezTo>
                    <a:pt x="22" y="273"/>
                    <a:pt x="27" y="278"/>
                    <a:pt x="33" y="278"/>
                  </a:cubicBezTo>
                  <a:cubicBezTo>
                    <a:pt x="289" y="278"/>
                    <a:pt x="289" y="278"/>
                    <a:pt x="289" y="278"/>
                  </a:cubicBezTo>
                  <a:cubicBezTo>
                    <a:pt x="295" y="278"/>
                    <a:pt x="299" y="273"/>
                    <a:pt x="299" y="267"/>
                  </a:cubicBezTo>
                  <a:cubicBezTo>
                    <a:pt x="299" y="261"/>
                    <a:pt x="295" y="257"/>
                    <a:pt x="289" y="257"/>
                  </a:cubicBezTo>
                  <a:cubicBezTo>
                    <a:pt x="289" y="97"/>
                    <a:pt x="289" y="97"/>
                    <a:pt x="289" y="97"/>
                  </a:cubicBezTo>
                  <a:cubicBezTo>
                    <a:pt x="310" y="97"/>
                    <a:pt x="310" y="97"/>
                    <a:pt x="310" y="97"/>
                  </a:cubicBezTo>
                  <a:cubicBezTo>
                    <a:pt x="314" y="97"/>
                    <a:pt x="318" y="94"/>
                    <a:pt x="320" y="90"/>
                  </a:cubicBezTo>
                  <a:cubicBezTo>
                    <a:pt x="321" y="87"/>
                    <a:pt x="321" y="82"/>
                    <a:pt x="318" y="79"/>
                  </a:cubicBezTo>
                  <a:close/>
                  <a:moveTo>
                    <a:pt x="86" y="161"/>
                  </a:moveTo>
                  <a:cubicBezTo>
                    <a:pt x="86" y="193"/>
                    <a:pt x="86" y="193"/>
                    <a:pt x="86" y="193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61"/>
                    <a:pt x="22" y="161"/>
                    <a:pt x="22" y="161"/>
                  </a:cubicBezTo>
                  <a:lnTo>
                    <a:pt x="86" y="161"/>
                  </a:lnTo>
                  <a:close/>
                  <a:moveTo>
                    <a:pt x="257" y="75"/>
                  </a:moveTo>
                  <a:cubicBezTo>
                    <a:pt x="257" y="40"/>
                    <a:pt x="257" y="40"/>
                    <a:pt x="257" y="40"/>
                  </a:cubicBezTo>
                  <a:cubicBezTo>
                    <a:pt x="287" y="75"/>
                    <a:pt x="287" y="75"/>
                    <a:pt x="287" y="75"/>
                  </a:cubicBezTo>
                  <a:lnTo>
                    <a:pt x="257" y="75"/>
                  </a:lnTo>
                  <a:close/>
                  <a:moveTo>
                    <a:pt x="235" y="26"/>
                  </a:moveTo>
                  <a:cubicBezTo>
                    <a:pt x="235" y="75"/>
                    <a:pt x="235" y="75"/>
                    <a:pt x="235" y="75"/>
                  </a:cubicBezTo>
                  <a:cubicBezTo>
                    <a:pt x="80" y="75"/>
                    <a:pt x="80" y="75"/>
                    <a:pt x="80" y="75"/>
                  </a:cubicBezTo>
                  <a:lnTo>
                    <a:pt x="235" y="26"/>
                  </a:lnTo>
                  <a:close/>
                  <a:moveTo>
                    <a:pt x="267" y="178"/>
                  </a:moveTo>
                  <a:cubicBezTo>
                    <a:pt x="235" y="217"/>
                    <a:pt x="235" y="217"/>
                    <a:pt x="235" y="217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67" y="137"/>
                    <a:pt x="267" y="137"/>
                    <a:pt x="267" y="137"/>
                  </a:cubicBezTo>
                  <a:lnTo>
                    <a:pt x="267" y="178"/>
                  </a:lnTo>
                  <a:close/>
                  <a:moveTo>
                    <a:pt x="235" y="257"/>
                  </a:moveTo>
                  <a:cubicBezTo>
                    <a:pt x="235" y="250"/>
                    <a:pt x="235" y="250"/>
                    <a:pt x="235" y="250"/>
                  </a:cubicBezTo>
                  <a:cubicBezTo>
                    <a:pt x="267" y="211"/>
                    <a:pt x="267" y="211"/>
                    <a:pt x="267" y="211"/>
                  </a:cubicBezTo>
                  <a:cubicBezTo>
                    <a:pt x="267" y="257"/>
                    <a:pt x="267" y="257"/>
                    <a:pt x="267" y="257"/>
                  </a:cubicBezTo>
                  <a:lnTo>
                    <a:pt x="235" y="257"/>
                  </a:lnTo>
                  <a:close/>
                  <a:moveTo>
                    <a:pt x="267" y="103"/>
                  </a:moveTo>
                  <a:cubicBezTo>
                    <a:pt x="235" y="142"/>
                    <a:pt x="235" y="142"/>
                    <a:pt x="235" y="14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67" y="97"/>
                    <a:pt x="267" y="97"/>
                    <a:pt x="267" y="97"/>
                  </a:cubicBezTo>
                  <a:lnTo>
                    <a:pt x="267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9" name="Group 285"/>
          <p:cNvGrpSpPr>
            <a:grpSpLocks noChangeAspect="1"/>
          </p:cNvGrpSpPr>
          <p:nvPr/>
        </p:nvGrpSpPr>
        <p:grpSpPr bwMode="auto">
          <a:xfrm>
            <a:off x="8907937" y="2062066"/>
            <a:ext cx="370763" cy="369676"/>
            <a:chOff x="388" y="758"/>
            <a:chExt cx="341" cy="340"/>
          </a:xfrm>
          <a:solidFill>
            <a:schemeClr val="accent3"/>
          </a:solidFill>
        </p:grpSpPr>
        <p:sp>
          <p:nvSpPr>
            <p:cNvPr id="300" name="Freeform 286"/>
            <p:cNvSpPr>
              <a:spLocks noEditPoints="1"/>
            </p:cNvSpPr>
            <p:nvPr/>
          </p:nvSpPr>
          <p:spPr bwMode="auto">
            <a:xfrm>
              <a:off x="462" y="834"/>
              <a:ext cx="192" cy="192"/>
            </a:xfrm>
            <a:custGeom>
              <a:avLst/>
              <a:gdLst>
                <a:gd name="T0" fmla="*/ 43 w 289"/>
                <a:gd name="T1" fmla="*/ 289 h 289"/>
                <a:gd name="T2" fmla="*/ 13 w 289"/>
                <a:gd name="T3" fmla="*/ 276 h 289"/>
                <a:gd name="T4" fmla="*/ 0 w 289"/>
                <a:gd name="T5" fmla="*/ 246 h 289"/>
                <a:gd name="T6" fmla="*/ 13 w 289"/>
                <a:gd name="T7" fmla="*/ 216 h 289"/>
                <a:gd name="T8" fmla="*/ 118 w 289"/>
                <a:gd name="T9" fmla="*/ 111 h 289"/>
                <a:gd name="T10" fmla="*/ 140 w 289"/>
                <a:gd name="T11" fmla="*/ 29 h 289"/>
                <a:gd name="T12" fmla="*/ 156 w 289"/>
                <a:gd name="T13" fmla="*/ 16 h 289"/>
                <a:gd name="T14" fmla="*/ 229 w 289"/>
                <a:gd name="T15" fmla="*/ 9 h 289"/>
                <a:gd name="T16" fmla="*/ 235 w 289"/>
                <a:gd name="T17" fmla="*/ 16 h 289"/>
                <a:gd name="T18" fmla="*/ 233 w 289"/>
                <a:gd name="T19" fmla="*/ 26 h 289"/>
                <a:gd name="T20" fmla="*/ 194 w 289"/>
                <a:gd name="T21" fmla="*/ 65 h 289"/>
                <a:gd name="T22" fmla="*/ 208 w 289"/>
                <a:gd name="T23" fmla="*/ 81 h 289"/>
                <a:gd name="T24" fmla="*/ 224 w 289"/>
                <a:gd name="T25" fmla="*/ 95 h 289"/>
                <a:gd name="T26" fmla="*/ 263 w 289"/>
                <a:gd name="T27" fmla="*/ 56 h 289"/>
                <a:gd name="T28" fmla="*/ 273 w 289"/>
                <a:gd name="T29" fmla="*/ 54 h 289"/>
                <a:gd name="T30" fmla="*/ 280 w 289"/>
                <a:gd name="T31" fmla="*/ 60 h 289"/>
                <a:gd name="T32" fmla="*/ 273 w 289"/>
                <a:gd name="T33" fmla="*/ 133 h 289"/>
                <a:gd name="T34" fmla="*/ 273 w 289"/>
                <a:gd name="T35" fmla="*/ 133 h 289"/>
                <a:gd name="T36" fmla="*/ 260 w 289"/>
                <a:gd name="T37" fmla="*/ 149 h 289"/>
                <a:gd name="T38" fmla="*/ 178 w 289"/>
                <a:gd name="T39" fmla="*/ 171 h 289"/>
                <a:gd name="T40" fmla="*/ 73 w 289"/>
                <a:gd name="T41" fmla="*/ 276 h 289"/>
                <a:gd name="T42" fmla="*/ 43 w 289"/>
                <a:gd name="T43" fmla="*/ 289 h 289"/>
                <a:gd name="T44" fmla="*/ 200 w 289"/>
                <a:gd name="T45" fmla="*/ 25 h 289"/>
                <a:gd name="T46" fmla="*/ 167 w 289"/>
                <a:gd name="T47" fmla="*/ 34 h 289"/>
                <a:gd name="T48" fmla="*/ 155 w 289"/>
                <a:gd name="T49" fmla="*/ 44 h 289"/>
                <a:gd name="T50" fmla="*/ 140 w 289"/>
                <a:gd name="T51" fmla="*/ 110 h 289"/>
                <a:gd name="T52" fmla="*/ 137 w 289"/>
                <a:gd name="T53" fmla="*/ 122 h 289"/>
                <a:gd name="T54" fmla="*/ 28 w 289"/>
                <a:gd name="T55" fmla="*/ 231 h 289"/>
                <a:gd name="T56" fmla="*/ 22 w 289"/>
                <a:gd name="T57" fmla="*/ 246 h 289"/>
                <a:gd name="T58" fmla="*/ 28 w 289"/>
                <a:gd name="T59" fmla="*/ 261 h 289"/>
                <a:gd name="T60" fmla="*/ 58 w 289"/>
                <a:gd name="T61" fmla="*/ 261 h 289"/>
                <a:gd name="T62" fmla="*/ 167 w 289"/>
                <a:gd name="T63" fmla="*/ 152 h 289"/>
                <a:gd name="T64" fmla="*/ 179 w 289"/>
                <a:gd name="T65" fmla="*/ 149 h 289"/>
                <a:gd name="T66" fmla="*/ 245 w 289"/>
                <a:gd name="T67" fmla="*/ 134 h 289"/>
                <a:gd name="T68" fmla="*/ 255 w 289"/>
                <a:gd name="T69" fmla="*/ 122 h 289"/>
                <a:gd name="T70" fmla="*/ 255 w 289"/>
                <a:gd name="T71" fmla="*/ 122 h 289"/>
                <a:gd name="T72" fmla="*/ 264 w 289"/>
                <a:gd name="T73" fmla="*/ 85 h 289"/>
                <a:gd name="T74" fmla="*/ 232 w 289"/>
                <a:gd name="T75" fmla="*/ 117 h 289"/>
                <a:gd name="T76" fmla="*/ 219 w 289"/>
                <a:gd name="T77" fmla="*/ 118 h 289"/>
                <a:gd name="T78" fmla="*/ 192 w 289"/>
                <a:gd name="T79" fmla="*/ 96 h 289"/>
                <a:gd name="T80" fmla="*/ 171 w 289"/>
                <a:gd name="T81" fmla="*/ 70 h 289"/>
                <a:gd name="T82" fmla="*/ 172 w 289"/>
                <a:gd name="T83" fmla="*/ 56 h 289"/>
                <a:gd name="T84" fmla="*/ 204 w 289"/>
                <a:gd name="T85" fmla="*/ 25 h 289"/>
                <a:gd name="T86" fmla="*/ 200 w 289"/>
                <a:gd name="T87" fmla="*/ 2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9" h="289">
                  <a:moveTo>
                    <a:pt x="43" y="289"/>
                  </a:moveTo>
                  <a:cubicBezTo>
                    <a:pt x="32" y="289"/>
                    <a:pt x="21" y="284"/>
                    <a:pt x="13" y="276"/>
                  </a:cubicBezTo>
                  <a:cubicBezTo>
                    <a:pt x="5" y="268"/>
                    <a:pt x="0" y="257"/>
                    <a:pt x="0" y="246"/>
                  </a:cubicBezTo>
                  <a:cubicBezTo>
                    <a:pt x="0" y="235"/>
                    <a:pt x="5" y="224"/>
                    <a:pt x="13" y="216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0" y="82"/>
                    <a:pt x="118" y="50"/>
                    <a:pt x="140" y="29"/>
                  </a:cubicBezTo>
                  <a:cubicBezTo>
                    <a:pt x="144" y="24"/>
                    <a:pt x="150" y="20"/>
                    <a:pt x="156" y="16"/>
                  </a:cubicBezTo>
                  <a:cubicBezTo>
                    <a:pt x="178" y="3"/>
                    <a:pt x="204" y="0"/>
                    <a:pt x="229" y="9"/>
                  </a:cubicBezTo>
                  <a:cubicBezTo>
                    <a:pt x="232" y="10"/>
                    <a:pt x="235" y="13"/>
                    <a:pt x="235" y="16"/>
                  </a:cubicBezTo>
                  <a:cubicBezTo>
                    <a:pt x="236" y="20"/>
                    <a:pt x="235" y="24"/>
                    <a:pt x="233" y="26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1"/>
                    <a:pt x="203" y="76"/>
                    <a:pt x="208" y="81"/>
                  </a:cubicBezTo>
                  <a:cubicBezTo>
                    <a:pt x="213" y="86"/>
                    <a:pt x="218" y="91"/>
                    <a:pt x="224" y="95"/>
                  </a:cubicBezTo>
                  <a:cubicBezTo>
                    <a:pt x="263" y="56"/>
                    <a:pt x="263" y="56"/>
                    <a:pt x="263" y="56"/>
                  </a:cubicBezTo>
                  <a:cubicBezTo>
                    <a:pt x="265" y="54"/>
                    <a:pt x="269" y="53"/>
                    <a:pt x="273" y="54"/>
                  </a:cubicBezTo>
                  <a:cubicBezTo>
                    <a:pt x="276" y="54"/>
                    <a:pt x="279" y="57"/>
                    <a:pt x="280" y="60"/>
                  </a:cubicBezTo>
                  <a:cubicBezTo>
                    <a:pt x="289" y="85"/>
                    <a:pt x="286" y="111"/>
                    <a:pt x="273" y="133"/>
                  </a:cubicBezTo>
                  <a:cubicBezTo>
                    <a:pt x="273" y="133"/>
                    <a:pt x="273" y="133"/>
                    <a:pt x="273" y="133"/>
                  </a:cubicBezTo>
                  <a:cubicBezTo>
                    <a:pt x="269" y="139"/>
                    <a:pt x="265" y="145"/>
                    <a:pt x="260" y="149"/>
                  </a:cubicBezTo>
                  <a:cubicBezTo>
                    <a:pt x="239" y="171"/>
                    <a:pt x="207" y="179"/>
                    <a:pt x="178" y="171"/>
                  </a:cubicBezTo>
                  <a:cubicBezTo>
                    <a:pt x="73" y="276"/>
                    <a:pt x="73" y="276"/>
                    <a:pt x="73" y="276"/>
                  </a:cubicBezTo>
                  <a:cubicBezTo>
                    <a:pt x="65" y="284"/>
                    <a:pt x="54" y="289"/>
                    <a:pt x="43" y="289"/>
                  </a:cubicBezTo>
                  <a:close/>
                  <a:moveTo>
                    <a:pt x="200" y="25"/>
                  </a:moveTo>
                  <a:cubicBezTo>
                    <a:pt x="188" y="25"/>
                    <a:pt x="177" y="28"/>
                    <a:pt x="167" y="34"/>
                  </a:cubicBezTo>
                  <a:cubicBezTo>
                    <a:pt x="162" y="37"/>
                    <a:pt x="158" y="40"/>
                    <a:pt x="155" y="44"/>
                  </a:cubicBezTo>
                  <a:cubicBezTo>
                    <a:pt x="137" y="61"/>
                    <a:pt x="132" y="87"/>
                    <a:pt x="140" y="110"/>
                  </a:cubicBezTo>
                  <a:cubicBezTo>
                    <a:pt x="141" y="114"/>
                    <a:pt x="140" y="119"/>
                    <a:pt x="137" y="122"/>
                  </a:cubicBezTo>
                  <a:cubicBezTo>
                    <a:pt x="28" y="231"/>
                    <a:pt x="28" y="231"/>
                    <a:pt x="28" y="231"/>
                  </a:cubicBezTo>
                  <a:cubicBezTo>
                    <a:pt x="24" y="235"/>
                    <a:pt x="22" y="240"/>
                    <a:pt x="22" y="246"/>
                  </a:cubicBezTo>
                  <a:cubicBezTo>
                    <a:pt x="22" y="252"/>
                    <a:pt x="24" y="257"/>
                    <a:pt x="28" y="261"/>
                  </a:cubicBezTo>
                  <a:cubicBezTo>
                    <a:pt x="36" y="269"/>
                    <a:pt x="50" y="269"/>
                    <a:pt x="58" y="261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70" y="149"/>
                    <a:pt x="175" y="148"/>
                    <a:pt x="179" y="149"/>
                  </a:cubicBezTo>
                  <a:cubicBezTo>
                    <a:pt x="202" y="157"/>
                    <a:pt x="228" y="152"/>
                    <a:pt x="245" y="134"/>
                  </a:cubicBezTo>
                  <a:cubicBezTo>
                    <a:pt x="249" y="131"/>
                    <a:pt x="252" y="127"/>
                    <a:pt x="255" y="122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61" y="111"/>
                    <a:pt x="265" y="98"/>
                    <a:pt x="264" y="85"/>
                  </a:cubicBezTo>
                  <a:cubicBezTo>
                    <a:pt x="232" y="117"/>
                    <a:pt x="232" y="117"/>
                    <a:pt x="232" y="117"/>
                  </a:cubicBezTo>
                  <a:cubicBezTo>
                    <a:pt x="229" y="120"/>
                    <a:pt x="223" y="121"/>
                    <a:pt x="219" y="118"/>
                  </a:cubicBezTo>
                  <a:cubicBezTo>
                    <a:pt x="210" y="112"/>
                    <a:pt x="201" y="105"/>
                    <a:pt x="192" y="96"/>
                  </a:cubicBezTo>
                  <a:cubicBezTo>
                    <a:pt x="184" y="88"/>
                    <a:pt x="177" y="79"/>
                    <a:pt x="171" y="70"/>
                  </a:cubicBezTo>
                  <a:cubicBezTo>
                    <a:pt x="168" y="66"/>
                    <a:pt x="169" y="60"/>
                    <a:pt x="172" y="56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2" y="25"/>
                    <a:pt x="201" y="25"/>
                    <a:pt x="20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287"/>
            <p:cNvSpPr>
              <a:spLocks noEditPoints="1"/>
            </p:cNvSpPr>
            <p:nvPr/>
          </p:nvSpPr>
          <p:spPr bwMode="auto">
            <a:xfrm>
              <a:off x="388" y="75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2" name="Freeform 5"/>
          <p:cNvSpPr>
            <a:spLocks noChangeAspect="1" noEditPoints="1"/>
          </p:cNvSpPr>
          <p:nvPr/>
        </p:nvSpPr>
        <p:spPr bwMode="auto">
          <a:xfrm>
            <a:off x="8408298" y="2062065"/>
            <a:ext cx="369887" cy="369888"/>
          </a:xfrm>
          <a:custGeom>
            <a:avLst/>
            <a:gdLst>
              <a:gd name="T0" fmla="*/ 341 w 512"/>
              <a:gd name="T1" fmla="*/ 232 h 512"/>
              <a:gd name="T2" fmla="*/ 373 w 512"/>
              <a:gd name="T3" fmla="*/ 200 h 512"/>
              <a:gd name="T4" fmla="*/ 364 w 512"/>
              <a:gd name="T5" fmla="*/ 237 h 512"/>
              <a:gd name="T6" fmla="*/ 364 w 512"/>
              <a:gd name="T7" fmla="*/ 237 h 512"/>
              <a:gd name="T8" fmla="*/ 354 w 512"/>
              <a:gd name="T9" fmla="*/ 249 h 512"/>
              <a:gd name="T10" fmla="*/ 288 w 512"/>
              <a:gd name="T11" fmla="*/ 264 h 512"/>
              <a:gd name="T12" fmla="*/ 276 w 512"/>
              <a:gd name="T13" fmla="*/ 267 h 512"/>
              <a:gd name="T14" fmla="*/ 167 w 512"/>
              <a:gd name="T15" fmla="*/ 376 h 512"/>
              <a:gd name="T16" fmla="*/ 137 w 512"/>
              <a:gd name="T17" fmla="*/ 376 h 512"/>
              <a:gd name="T18" fmla="*/ 131 w 512"/>
              <a:gd name="T19" fmla="*/ 361 h 512"/>
              <a:gd name="T20" fmla="*/ 137 w 512"/>
              <a:gd name="T21" fmla="*/ 346 h 512"/>
              <a:gd name="T22" fmla="*/ 246 w 512"/>
              <a:gd name="T23" fmla="*/ 237 h 512"/>
              <a:gd name="T24" fmla="*/ 249 w 512"/>
              <a:gd name="T25" fmla="*/ 225 h 512"/>
              <a:gd name="T26" fmla="*/ 264 w 512"/>
              <a:gd name="T27" fmla="*/ 159 h 512"/>
              <a:gd name="T28" fmla="*/ 276 w 512"/>
              <a:gd name="T29" fmla="*/ 149 h 512"/>
              <a:gd name="T30" fmla="*/ 309 w 512"/>
              <a:gd name="T31" fmla="*/ 140 h 512"/>
              <a:gd name="T32" fmla="*/ 312 w 512"/>
              <a:gd name="T33" fmla="*/ 140 h 512"/>
              <a:gd name="T34" fmla="*/ 281 w 512"/>
              <a:gd name="T35" fmla="*/ 171 h 512"/>
              <a:gd name="T36" fmla="*/ 280 w 512"/>
              <a:gd name="T37" fmla="*/ 185 h 512"/>
              <a:gd name="T38" fmla="*/ 301 w 512"/>
              <a:gd name="T39" fmla="*/ 211 h 512"/>
              <a:gd name="T40" fmla="*/ 328 w 512"/>
              <a:gd name="T41" fmla="*/ 233 h 512"/>
              <a:gd name="T42" fmla="*/ 341 w 512"/>
              <a:gd name="T43" fmla="*/ 23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89 w 512"/>
              <a:gd name="T55" fmla="*/ 175 h 512"/>
              <a:gd name="T56" fmla="*/ 382 w 512"/>
              <a:gd name="T57" fmla="*/ 169 h 512"/>
              <a:gd name="T58" fmla="*/ 372 w 512"/>
              <a:gd name="T59" fmla="*/ 171 h 512"/>
              <a:gd name="T60" fmla="*/ 333 w 512"/>
              <a:gd name="T61" fmla="*/ 210 h 512"/>
              <a:gd name="T62" fmla="*/ 317 w 512"/>
              <a:gd name="T63" fmla="*/ 196 h 512"/>
              <a:gd name="T64" fmla="*/ 303 w 512"/>
              <a:gd name="T65" fmla="*/ 180 h 512"/>
              <a:gd name="T66" fmla="*/ 342 w 512"/>
              <a:gd name="T67" fmla="*/ 141 h 512"/>
              <a:gd name="T68" fmla="*/ 344 w 512"/>
              <a:gd name="T69" fmla="*/ 131 h 512"/>
              <a:gd name="T70" fmla="*/ 338 w 512"/>
              <a:gd name="T71" fmla="*/ 124 h 512"/>
              <a:gd name="T72" fmla="*/ 265 w 512"/>
              <a:gd name="T73" fmla="*/ 131 h 512"/>
              <a:gd name="T74" fmla="*/ 249 w 512"/>
              <a:gd name="T75" fmla="*/ 144 h 512"/>
              <a:gd name="T76" fmla="*/ 227 w 512"/>
              <a:gd name="T77" fmla="*/ 226 h 512"/>
              <a:gd name="T78" fmla="*/ 122 w 512"/>
              <a:gd name="T79" fmla="*/ 331 h 512"/>
              <a:gd name="T80" fmla="*/ 109 w 512"/>
              <a:gd name="T81" fmla="*/ 361 h 512"/>
              <a:gd name="T82" fmla="*/ 122 w 512"/>
              <a:gd name="T83" fmla="*/ 391 h 512"/>
              <a:gd name="T84" fmla="*/ 152 w 512"/>
              <a:gd name="T85" fmla="*/ 404 h 512"/>
              <a:gd name="T86" fmla="*/ 182 w 512"/>
              <a:gd name="T87" fmla="*/ 391 h 512"/>
              <a:gd name="T88" fmla="*/ 287 w 512"/>
              <a:gd name="T89" fmla="*/ 286 h 512"/>
              <a:gd name="T90" fmla="*/ 369 w 512"/>
              <a:gd name="T91" fmla="*/ 264 h 512"/>
              <a:gd name="T92" fmla="*/ 382 w 512"/>
              <a:gd name="T93" fmla="*/ 248 h 512"/>
              <a:gd name="T94" fmla="*/ 389 w 512"/>
              <a:gd name="T95" fmla="*/ 17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41" y="232"/>
                </a:moveTo>
                <a:cubicBezTo>
                  <a:pt x="373" y="200"/>
                  <a:pt x="373" y="200"/>
                  <a:pt x="373" y="200"/>
                </a:cubicBezTo>
                <a:cubicBezTo>
                  <a:pt x="374" y="213"/>
                  <a:pt x="370" y="226"/>
                  <a:pt x="364" y="237"/>
                </a:cubicBezTo>
                <a:cubicBezTo>
                  <a:pt x="364" y="237"/>
                  <a:pt x="364" y="237"/>
                  <a:pt x="364" y="237"/>
                </a:cubicBezTo>
                <a:cubicBezTo>
                  <a:pt x="361" y="242"/>
                  <a:pt x="358" y="246"/>
                  <a:pt x="354" y="249"/>
                </a:cubicBezTo>
                <a:cubicBezTo>
                  <a:pt x="337" y="267"/>
                  <a:pt x="311" y="272"/>
                  <a:pt x="288" y="264"/>
                </a:cubicBezTo>
                <a:cubicBezTo>
                  <a:pt x="284" y="263"/>
                  <a:pt x="279" y="264"/>
                  <a:pt x="276" y="267"/>
                </a:cubicBezTo>
                <a:cubicBezTo>
                  <a:pt x="167" y="376"/>
                  <a:pt x="167" y="376"/>
                  <a:pt x="167" y="376"/>
                </a:cubicBezTo>
                <a:cubicBezTo>
                  <a:pt x="159" y="384"/>
                  <a:pt x="145" y="384"/>
                  <a:pt x="137" y="376"/>
                </a:cubicBezTo>
                <a:cubicBezTo>
                  <a:pt x="133" y="372"/>
                  <a:pt x="131" y="367"/>
                  <a:pt x="131" y="361"/>
                </a:cubicBezTo>
                <a:cubicBezTo>
                  <a:pt x="131" y="355"/>
                  <a:pt x="133" y="350"/>
                  <a:pt x="137" y="346"/>
                </a:cubicBezTo>
                <a:cubicBezTo>
                  <a:pt x="246" y="237"/>
                  <a:pt x="246" y="237"/>
                  <a:pt x="246" y="237"/>
                </a:cubicBezTo>
                <a:cubicBezTo>
                  <a:pt x="249" y="234"/>
                  <a:pt x="250" y="229"/>
                  <a:pt x="249" y="225"/>
                </a:cubicBezTo>
                <a:cubicBezTo>
                  <a:pt x="241" y="202"/>
                  <a:pt x="246" y="176"/>
                  <a:pt x="264" y="159"/>
                </a:cubicBezTo>
                <a:cubicBezTo>
                  <a:pt x="267" y="155"/>
                  <a:pt x="271" y="152"/>
                  <a:pt x="276" y="149"/>
                </a:cubicBezTo>
                <a:cubicBezTo>
                  <a:pt x="286" y="143"/>
                  <a:pt x="297" y="140"/>
                  <a:pt x="309" y="140"/>
                </a:cubicBezTo>
                <a:cubicBezTo>
                  <a:pt x="310" y="140"/>
                  <a:pt x="311" y="140"/>
                  <a:pt x="312" y="140"/>
                </a:cubicBezTo>
                <a:cubicBezTo>
                  <a:pt x="281" y="171"/>
                  <a:pt x="281" y="171"/>
                  <a:pt x="281" y="171"/>
                </a:cubicBezTo>
                <a:cubicBezTo>
                  <a:pt x="277" y="175"/>
                  <a:pt x="277" y="181"/>
                  <a:pt x="280" y="185"/>
                </a:cubicBezTo>
                <a:cubicBezTo>
                  <a:pt x="286" y="194"/>
                  <a:pt x="293" y="203"/>
                  <a:pt x="301" y="211"/>
                </a:cubicBezTo>
                <a:cubicBezTo>
                  <a:pt x="310" y="220"/>
                  <a:pt x="318" y="227"/>
                  <a:pt x="328" y="233"/>
                </a:cubicBezTo>
                <a:cubicBezTo>
                  <a:pt x="332" y="236"/>
                  <a:pt x="338" y="235"/>
                  <a:pt x="341" y="23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4"/>
                  <a:pt x="115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175"/>
                </a:moveTo>
                <a:cubicBezTo>
                  <a:pt x="388" y="172"/>
                  <a:pt x="385" y="169"/>
                  <a:pt x="382" y="169"/>
                </a:cubicBezTo>
                <a:cubicBezTo>
                  <a:pt x="378" y="168"/>
                  <a:pt x="374" y="169"/>
                  <a:pt x="372" y="171"/>
                </a:cubicBezTo>
                <a:cubicBezTo>
                  <a:pt x="333" y="210"/>
                  <a:pt x="333" y="210"/>
                  <a:pt x="333" y="210"/>
                </a:cubicBezTo>
                <a:cubicBezTo>
                  <a:pt x="327" y="206"/>
                  <a:pt x="322" y="201"/>
                  <a:pt x="317" y="196"/>
                </a:cubicBezTo>
                <a:cubicBezTo>
                  <a:pt x="311" y="191"/>
                  <a:pt x="307" y="186"/>
                  <a:pt x="303" y="180"/>
                </a:cubicBezTo>
                <a:cubicBezTo>
                  <a:pt x="342" y="141"/>
                  <a:pt x="342" y="141"/>
                  <a:pt x="342" y="141"/>
                </a:cubicBezTo>
                <a:cubicBezTo>
                  <a:pt x="344" y="139"/>
                  <a:pt x="345" y="135"/>
                  <a:pt x="344" y="131"/>
                </a:cubicBezTo>
                <a:cubicBezTo>
                  <a:pt x="344" y="128"/>
                  <a:pt x="341" y="125"/>
                  <a:pt x="338" y="124"/>
                </a:cubicBezTo>
                <a:cubicBezTo>
                  <a:pt x="313" y="115"/>
                  <a:pt x="287" y="118"/>
                  <a:pt x="265" y="131"/>
                </a:cubicBezTo>
                <a:cubicBezTo>
                  <a:pt x="259" y="135"/>
                  <a:pt x="253" y="139"/>
                  <a:pt x="249" y="144"/>
                </a:cubicBezTo>
                <a:cubicBezTo>
                  <a:pt x="227" y="165"/>
                  <a:pt x="219" y="197"/>
                  <a:pt x="227" y="226"/>
                </a:cubicBezTo>
                <a:cubicBezTo>
                  <a:pt x="122" y="331"/>
                  <a:pt x="122" y="331"/>
                  <a:pt x="122" y="331"/>
                </a:cubicBezTo>
                <a:cubicBezTo>
                  <a:pt x="114" y="339"/>
                  <a:pt x="109" y="350"/>
                  <a:pt x="109" y="361"/>
                </a:cubicBezTo>
                <a:cubicBezTo>
                  <a:pt x="109" y="372"/>
                  <a:pt x="114" y="383"/>
                  <a:pt x="122" y="391"/>
                </a:cubicBezTo>
                <a:cubicBezTo>
                  <a:pt x="130" y="399"/>
                  <a:pt x="140" y="404"/>
                  <a:pt x="152" y="404"/>
                </a:cubicBezTo>
                <a:cubicBezTo>
                  <a:pt x="163" y="404"/>
                  <a:pt x="174" y="399"/>
                  <a:pt x="182" y="391"/>
                </a:cubicBezTo>
                <a:cubicBezTo>
                  <a:pt x="287" y="286"/>
                  <a:pt x="287" y="286"/>
                  <a:pt x="287" y="286"/>
                </a:cubicBezTo>
                <a:cubicBezTo>
                  <a:pt x="316" y="294"/>
                  <a:pt x="348" y="286"/>
                  <a:pt x="369" y="264"/>
                </a:cubicBezTo>
                <a:cubicBezTo>
                  <a:pt x="374" y="260"/>
                  <a:pt x="378" y="254"/>
                  <a:pt x="382" y="248"/>
                </a:cubicBezTo>
                <a:cubicBezTo>
                  <a:pt x="395" y="226"/>
                  <a:pt x="398" y="200"/>
                  <a:pt x="389" y="17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7" name="Freeform 575"/>
          <p:cNvSpPr>
            <a:spLocks noChangeAspect="1" noEditPoints="1"/>
          </p:cNvSpPr>
          <p:nvPr/>
        </p:nvSpPr>
        <p:spPr bwMode="auto">
          <a:xfrm>
            <a:off x="7413532" y="2062069"/>
            <a:ext cx="367631" cy="367631"/>
          </a:xfrm>
          <a:custGeom>
            <a:avLst/>
            <a:gdLst>
              <a:gd name="T0" fmla="*/ 213 w 512"/>
              <a:gd name="T1" fmla="*/ 265 h 512"/>
              <a:gd name="T2" fmla="*/ 283 w 512"/>
              <a:gd name="T3" fmla="*/ 312 h 512"/>
              <a:gd name="T4" fmla="*/ 278 w 512"/>
              <a:gd name="T5" fmla="*/ 352 h 512"/>
              <a:gd name="T6" fmla="*/ 213 w 512"/>
              <a:gd name="T7" fmla="*/ 352 h 512"/>
              <a:gd name="T8" fmla="*/ 213 w 512"/>
              <a:gd name="T9" fmla="*/ 265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47 w 512"/>
              <a:gd name="T21" fmla="*/ 117 h 512"/>
              <a:gd name="T22" fmla="*/ 355 w 512"/>
              <a:gd name="T23" fmla="*/ 135 h 512"/>
              <a:gd name="T24" fmla="*/ 355 w 512"/>
              <a:gd name="T25" fmla="*/ 141 h 512"/>
              <a:gd name="T26" fmla="*/ 355 w 512"/>
              <a:gd name="T27" fmla="*/ 156 h 512"/>
              <a:gd name="T28" fmla="*/ 362 w 512"/>
              <a:gd name="T29" fmla="*/ 160 h 512"/>
              <a:gd name="T30" fmla="*/ 370 w 512"/>
              <a:gd name="T31" fmla="*/ 157 h 512"/>
              <a:gd name="T32" fmla="*/ 378 w 512"/>
              <a:gd name="T33" fmla="*/ 138 h 512"/>
              <a:gd name="T34" fmla="*/ 370 w 512"/>
              <a:gd name="T35" fmla="*/ 120 h 512"/>
              <a:gd name="T36" fmla="*/ 370 w 512"/>
              <a:gd name="T37" fmla="*/ 114 h 512"/>
              <a:gd name="T38" fmla="*/ 370 w 512"/>
              <a:gd name="T39" fmla="*/ 99 h 512"/>
              <a:gd name="T40" fmla="*/ 355 w 512"/>
              <a:gd name="T41" fmla="*/ 99 h 512"/>
              <a:gd name="T42" fmla="*/ 347 w 512"/>
              <a:gd name="T43" fmla="*/ 117 h 512"/>
              <a:gd name="T44" fmla="*/ 304 w 512"/>
              <a:gd name="T45" fmla="*/ 117 h 512"/>
              <a:gd name="T46" fmla="*/ 312 w 512"/>
              <a:gd name="T47" fmla="*/ 135 h 512"/>
              <a:gd name="T48" fmla="*/ 312 w 512"/>
              <a:gd name="T49" fmla="*/ 141 h 512"/>
              <a:gd name="T50" fmla="*/ 312 w 512"/>
              <a:gd name="T51" fmla="*/ 156 h 512"/>
              <a:gd name="T52" fmla="*/ 320 w 512"/>
              <a:gd name="T53" fmla="*/ 160 h 512"/>
              <a:gd name="T54" fmla="*/ 327 w 512"/>
              <a:gd name="T55" fmla="*/ 157 h 512"/>
              <a:gd name="T56" fmla="*/ 335 w 512"/>
              <a:gd name="T57" fmla="*/ 138 h 512"/>
              <a:gd name="T58" fmla="*/ 327 w 512"/>
              <a:gd name="T59" fmla="*/ 120 h 512"/>
              <a:gd name="T60" fmla="*/ 327 w 512"/>
              <a:gd name="T61" fmla="*/ 114 h 512"/>
              <a:gd name="T62" fmla="*/ 327 w 512"/>
              <a:gd name="T63" fmla="*/ 99 h 512"/>
              <a:gd name="T64" fmla="*/ 312 w 512"/>
              <a:gd name="T65" fmla="*/ 99 h 512"/>
              <a:gd name="T66" fmla="*/ 304 w 512"/>
              <a:gd name="T67" fmla="*/ 117 h 512"/>
              <a:gd name="T68" fmla="*/ 415 w 512"/>
              <a:gd name="T69" fmla="*/ 360 h 512"/>
              <a:gd name="T70" fmla="*/ 383 w 512"/>
              <a:gd name="T71" fmla="*/ 190 h 512"/>
              <a:gd name="T72" fmla="*/ 373 w 512"/>
              <a:gd name="T73" fmla="*/ 181 h 512"/>
              <a:gd name="T74" fmla="*/ 309 w 512"/>
              <a:gd name="T75" fmla="*/ 181 h 512"/>
              <a:gd name="T76" fmla="*/ 298 w 512"/>
              <a:gd name="T77" fmla="*/ 190 h 512"/>
              <a:gd name="T78" fmla="*/ 286 w 512"/>
              <a:gd name="T79" fmla="*/ 288 h 512"/>
              <a:gd name="T80" fmla="*/ 208 w 512"/>
              <a:gd name="T81" fmla="*/ 236 h 512"/>
              <a:gd name="T82" fmla="*/ 197 w 512"/>
              <a:gd name="T83" fmla="*/ 236 h 512"/>
              <a:gd name="T84" fmla="*/ 192 w 512"/>
              <a:gd name="T85" fmla="*/ 245 h 512"/>
              <a:gd name="T86" fmla="*/ 192 w 512"/>
              <a:gd name="T87" fmla="*/ 289 h 512"/>
              <a:gd name="T88" fmla="*/ 112 w 512"/>
              <a:gd name="T89" fmla="*/ 236 h 512"/>
              <a:gd name="T90" fmla="*/ 101 w 512"/>
              <a:gd name="T91" fmla="*/ 236 h 512"/>
              <a:gd name="T92" fmla="*/ 96 w 512"/>
              <a:gd name="T93" fmla="*/ 245 h 512"/>
              <a:gd name="T94" fmla="*/ 96 w 512"/>
              <a:gd name="T95" fmla="*/ 362 h 512"/>
              <a:gd name="T96" fmla="*/ 106 w 512"/>
              <a:gd name="T97" fmla="*/ 373 h 512"/>
              <a:gd name="T98" fmla="*/ 405 w 512"/>
              <a:gd name="T99" fmla="*/ 373 h 512"/>
              <a:gd name="T100" fmla="*/ 413 w 512"/>
              <a:gd name="T101" fmla="*/ 369 h 512"/>
              <a:gd name="T102" fmla="*/ 415 w 512"/>
              <a:gd name="T103" fmla="*/ 360 h 512"/>
              <a:gd name="T104" fmla="*/ 117 w 512"/>
              <a:gd name="T105" fmla="*/ 352 h 512"/>
              <a:gd name="T106" fmla="*/ 192 w 512"/>
              <a:gd name="T107" fmla="*/ 352 h 512"/>
              <a:gd name="T108" fmla="*/ 192 w 512"/>
              <a:gd name="T109" fmla="*/ 315 h 512"/>
              <a:gd name="T110" fmla="*/ 117 w 512"/>
              <a:gd name="T111" fmla="*/ 265 h 512"/>
              <a:gd name="T112" fmla="*/ 117 w 512"/>
              <a:gd name="T113" fmla="*/ 352 h 512"/>
              <a:gd name="T114" fmla="*/ 318 w 512"/>
              <a:gd name="T115" fmla="*/ 202 h 512"/>
              <a:gd name="T116" fmla="*/ 300 w 512"/>
              <a:gd name="T117" fmla="*/ 352 h 512"/>
              <a:gd name="T118" fmla="*/ 392 w 512"/>
              <a:gd name="T119" fmla="*/ 352 h 512"/>
              <a:gd name="T120" fmla="*/ 364 w 512"/>
              <a:gd name="T121" fmla="*/ 202 h 512"/>
              <a:gd name="T122" fmla="*/ 318 w 512"/>
              <a:gd name="T123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213" y="265"/>
                </a:moveTo>
                <a:cubicBezTo>
                  <a:pt x="283" y="312"/>
                  <a:pt x="283" y="312"/>
                  <a:pt x="283" y="312"/>
                </a:cubicBezTo>
                <a:cubicBezTo>
                  <a:pt x="278" y="352"/>
                  <a:pt x="278" y="352"/>
                  <a:pt x="278" y="352"/>
                </a:cubicBezTo>
                <a:cubicBezTo>
                  <a:pt x="213" y="352"/>
                  <a:pt x="213" y="352"/>
                  <a:pt x="213" y="352"/>
                </a:cubicBezTo>
                <a:lnTo>
                  <a:pt x="213" y="26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7" y="117"/>
                </a:moveTo>
                <a:cubicBezTo>
                  <a:pt x="347" y="122"/>
                  <a:pt x="348" y="129"/>
                  <a:pt x="355" y="135"/>
                </a:cubicBezTo>
                <a:cubicBezTo>
                  <a:pt x="356" y="136"/>
                  <a:pt x="358" y="138"/>
                  <a:pt x="355" y="141"/>
                </a:cubicBezTo>
                <a:cubicBezTo>
                  <a:pt x="351" y="145"/>
                  <a:pt x="351" y="152"/>
                  <a:pt x="355" y="156"/>
                </a:cubicBezTo>
                <a:cubicBezTo>
                  <a:pt x="357" y="159"/>
                  <a:pt x="360" y="160"/>
                  <a:pt x="362" y="160"/>
                </a:cubicBezTo>
                <a:cubicBezTo>
                  <a:pt x="365" y="160"/>
                  <a:pt x="368" y="159"/>
                  <a:pt x="370" y="157"/>
                </a:cubicBezTo>
                <a:cubicBezTo>
                  <a:pt x="371" y="155"/>
                  <a:pt x="378" y="148"/>
                  <a:pt x="378" y="138"/>
                </a:cubicBezTo>
                <a:cubicBezTo>
                  <a:pt x="378" y="134"/>
                  <a:pt x="377" y="127"/>
                  <a:pt x="370" y="120"/>
                </a:cubicBezTo>
                <a:cubicBezTo>
                  <a:pt x="369" y="119"/>
                  <a:pt x="367" y="117"/>
                  <a:pt x="370" y="114"/>
                </a:cubicBezTo>
                <a:cubicBezTo>
                  <a:pt x="374" y="110"/>
                  <a:pt x="374" y="103"/>
                  <a:pt x="370" y="99"/>
                </a:cubicBezTo>
                <a:cubicBezTo>
                  <a:pt x="366" y="95"/>
                  <a:pt x="359" y="95"/>
                  <a:pt x="355" y="99"/>
                </a:cubicBezTo>
                <a:cubicBezTo>
                  <a:pt x="354" y="100"/>
                  <a:pt x="347" y="107"/>
                  <a:pt x="347" y="117"/>
                </a:cubicBezTo>
                <a:close/>
                <a:moveTo>
                  <a:pt x="304" y="117"/>
                </a:moveTo>
                <a:cubicBezTo>
                  <a:pt x="304" y="122"/>
                  <a:pt x="306" y="129"/>
                  <a:pt x="312" y="135"/>
                </a:cubicBezTo>
                <a:cubicBezTo>
                  <a:pt x="313" y="136"/>
                  <a:pt x="315" y="138"/>
                  <a:pt x="312" y="141"/>
                </a:cubicBezTo>
                <a:cubicBezTo>
                  <a:pt x="308" y="145"/>
                  <a:pt x="308" y="152"/>
                  <a:pt x="312" y="156"/>
                </a:cubicBezTo>
                <a:cubicBezTo>
                  <a:pt x="314" y="159"/>
                  <a:pt x="317" y="160"/>
                  <a:pt x="320" y="160"/>
                </a:cubicBezTo>
                <a:cubicBezTo>
                  <a:pt x="322" y="160"/>
                  <a:pt x="325" y="159"/>
                  <a:pt x="327" y="157"/>
                </a:cubicBezTo>
                <a:cubicBezTo>
                  <a:pt x="328" y="155"/>
                  <a:pt x="335" y="148"/>
                  <a:pt x="335" y="138"/>
                </a:cubicBezTo>
                <a:cubicBezTo>
                  <a:pt x="335" y="134"/>
                  <a:pt x="334" y="127"/>
                  <a:pt x="327" y="120"/>
                </a:cubicBezTo>
                <a:cubicBezTo>
                  <a:pt x="326" y="119"/>
                  <a:pt x="324" y="117"/>
                  <a:pt x="327" y="114"/>
                </a:cubicBezTo>
                <a:cubicBezTo>
                  <a:pt x="331" y="110"/>
                  <a:pt x="331" y="103"/>
                  <a:pt x="327" y="99"/>
                </a:cubicBezTo>
                <a:cubicBezTo>
                  <a:pt x="323" y="95"/>
                  <a:pt x="316" y="95"/>
                  <a:pt x="312" y="99"/>
                </a:cubicBezTo>
                <a:cubicBezTo>
                  <a:pt x="311" y="100"/>
                  <a:pt x="304" y="107"/>
                  <a:pt x="304" y="117"/>
                </a:cubicBezTo>
                <a:close/>
                <a:moveTo>
                  <a:pt x="415" y="360"/>
                </a:moveTo>
                <a:cubicBezTo>
                  <a:pt x="383" y="190"/>
                  <a:pt x="383" y="190"/>
                  <a:pt x="383" y="190"/>
                </a:cubicBezTo>
                <a:cubicBezTo>
                  <a:pt x="383" y="185"/>
                  <a:pt x="378" y="181"/>
                  <a:pt x="373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04" y="181"/>
                  <a:pt x="299" y="185"/>
                  <a:pt x="298" y="190"/>
                </a:cubicBezTo>
                <a:cubicBezTo>
                  <a:pt x="286" y="288"/>
                  <a:pt x="286" y="288"/>
                  <a:pt x="286" y="288"/>
                </a:cubicBezTo>
                <a:cubicBezTo>
                  <a:pt x="208" y="236"/>
                  <a:pt x="208" y="236"/>
                  <a:pt x="208" y="236"/>
                </a:cubicBezTo>
                <a:cubicBezTo>
                  <a:pt x="205" y="234"/>
                  <a:pt x="201" y="234"/>
                  <a:pt x="197" y="236"/>
                </a:cubicBezTo>
                <a:cubicBezTo>
                  <a:pt x="194" y="237"/>
                  <a:pt x="192" y="241"/>
                  <a:pt x="192" y="245"/>
                </a:cubicBezTo>
                <a:cubicBezTo>
                  <a:pt x="192" y="289"/>
                  <a:pt x="192" y="289"/>
                  <a:pt x="192" y="289"/>
                </a:cubicBezTo>
                <a:cubicBezTo>
                  <a:pt x="112" y="236"/>
                  <a:pt x="112" y="236"/>
                  <a:pt x="112" y="236"/>
                </a:cubicBezTo>
                <a:cubicBezTo>
                  <a:pt x="109" y="234"/>
                  <a:pt x="105" y="234"/>
                  <a:pt x="101" y="236"/>
                </a:cubicBezTo>
                <a:cubicBezTo>
                  <a:pt x="98" y="237"/>
                  <a:pt x="96" y="241"/>
                  <a:pt x="96" y="245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08" y="373"/>
                  <a:pt x="411" y="372"/>
                  <a:pt x="413" y="369"/>
                </a:cubicBezTo>
                <a:cubicBezTo>
                  <a:pt x="415" y="367"/>
                  <a:pt x="416" y="363"/>
                  <a:pt x="415" y="360"/>
                </a:cubicBezTo>
                <a:close/>
                <a:moveTo>
                  <a:pt x="117" y="352"/>
                </a:moveTo>
                <a:cubicBezTo>
                  <a:pt x="192" y="352"/>
                  <a:pt x="192" y="352"/>
                  <a:pt x="192" y="352"/>
                </a:cubicBezTo>
                <a:cubicBezTo>
                  <a:pt x="192" y="315"/>
                  <a:pt x="192" y="315"/>
                  <a:pt x="192" y="315"/>
                </a:cubicBezTo>
                <a:cubicBezTo>
                  <a:pt x="117" y="265"/>
                  <a:pt x="117" y="265"/>
                  <a:pt x="117" y="265"/>
                </a:cubicBezTo>
                <a:lnTo>
                  <a:pt x="117" y="352"/>
                </a:lnTo>
                <a:close/>
                <a:moveTo>
                  <a:pt x="318" y="202"/>
                </a:moveTo>
                <a:cubicBezTo>
                  <a:pt x="300" y="352"/>
                  <a:pt x="300" y="352"/>
                  <a:pt x="300" y="352"/>
                </a:cubicBezTo>
                <a:cubicBezTo>
                  <a:pt x="392" y="352"/>
                  <a:pt x="392" y="352"/>
                  <a:pt x="392" y="352"/>
                </a:cubicBezTo>
                <a:cubicBezTo>
                  <a:pt x="364" y="202"/>
                  <a:pt x="364" y="202"/>
                  <a:pt x="364" y="202"/>
                </a:cubicBezTo>
                <a:lnTo>
                  <a:pt x="318" y="2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8" name="Group 578"/>
          <p:cNvGrpSpPr>
            <a:grpSpLocks noChangeAspect="1"/>
          </p:cNvGrpSpPr>
          <p:nvPr/>
        </p:nvGrpSpPr>
        <p:grpSpPr bwMode="auto">
          <a:xfrm>
            <a:off x="7910915" y="2062068"/>
            <a:ext cx="367631" cy="368713"/>
            <a:chOff x="399" y="2382"/>
            <a:chExt cx="340" cy="341"/>
          </a:xfrm>
          <a:solidFill>
            <a:schemeClr val="accent1"/>
          </a:solidFill>
        </p:grpSpPr>
        <p:sp>
          <p:nvSpPr>
            <p:cNvPr id="309" name="Freeform 579"/>
            <p:cNvSpPr>
              <a:spLocks noEditPoints="1"/>
            </p:cNvSpPr>
            <p:nvPr/>
          </p:nvSpPr>
          <p:spPr bwMode="auto">
            <a:xfrm>
              <a:off x="463" y="2503"/>
              <a:ext cx="212" cy="127"/>
            </a:xfrm>
            <a:custGeom>
              <a:avLst/>
              <a:gdLst>
                <a:gd name="T0" fmla="*/ 287 w 320"/>
                <a:gd name="T1" fmla="*/ 9 h 192"/>
                <a:gd name="T2" fmla="*/ 277 w 320"/>
                <a:gd name="T3" fmla="*/ 0 h 192"/>
                <a:gd name="T4" fmla="*/ 213 w 320"/>
                <a:gd name="T5" fmla="*/ 0 h 192"/>
                <a:gd name="T6" fmla="*/ 202 w 320"/>
                <a:gd name="T7" fmla="*/ 9 h 192"/>
                <a:gd name="T8" fmla="*/ 190 w 320"/>
                <a:gd name="T9" fmla="*/ 107 h 192"/>
                <a:gd name="T10" fmla="*/ 112 w 320"/>
                <a:gd name="T11" fmla="*/ 55 h 192"/>
                <a:gd name="T12" fmla="*/ 101 w 320"/>
                <a:gd name="T13" fmla="*/ 55 h 192"/>
                <a:gd name="T14" fmla="*/ 96 w 320"/>
                <a:gd name="T15" fmla="*/ 64 h 192"/>
                <a:gd name="T16" fmla="*/ 96 w 320"/>
                <a:gd name="T17" fmla="*/ 108 h 192"/>
                <a:gd name="T18" fmla="*/ 16 w 320"/>
                <a:gd name="T19" fmla="*/ 55 h 192"/>
                <a:gd name="T20" fmla="*/ 5 w 320"/>
                <a:gd name="T21" fmla="*/ 55 h 192"/>
                <a:gd name="T22" fmla="*/ 0 w 320"/>
                <a:gd name="T23" fmla="*/ 64 h 192"/>
                <a:gd name="T24" fmla="*/ 0 w 320"/>
                <a:gd name="T25" fmla="*/ 181 h 192"/>
                <a:gd name="T26" fmla="*/ 10 w 320"/>
                <a:gd name="T27" fmla="*/ 192 h 192"/>
                <a:gd name="T28" fmla="*/ 309 w 320"/>
                <a:gd name="T29" fmla="*/ 192 h 192"/>
                <a:gd name="T30" fmla="*/ 317 w 320"/>
                <a:gd name="T31" fmla="*/ 188 h 192"/>
                <a:gd name="T32" fmla="*/ 319 w 320"/>
                <a:gd name="T33" fmla="*/ 179 h 192"/>
                <a:gd name="T34" fmla="*/ 287 w 320"/>
                <a:gd name="T35" fmla="*/ 9 h 192"/>
                <a:gd name="T36" fmla="*/ 187 w 320"/>
                <a:gd name="T37" fmla="*/ 131 h 192"/>
                <a:gd name="T38" fmla="*/ 182 w 320"/>
                <a:gd name="T39" fmla="*/ 171 h 192"/>
                <a:gd name="T40" fmla="*/ 117 w 320"/>
                <a:gd name="T41" fmla="*/ 171 h 192"/>
                <a:gd name="T42" fmla="*/ 117 w 320"/>
                <a:gd name="T43" fmla="*/ 84 h 192"/>
                <a:gd name="T44" fmla="*/ 187 w 320"/>
                <a:gd name="T45" fmla="*/ 131 h 192"/>
                <a:gd name="T46" fmla="*/ 96 w 320"/>
                <a:gd name="T47" fmla="*/ 134 h 192"/>
                <a:gd name="T48" fmla="*/ 96 w 320"/>
                <a:gd name="T49" fmla="*/ 171 h 192"/>
                <a:gd name="T50" fmla="*/ 21 w 320"/>
                <a:gd name="T51" fmla="*/ 171 h 192"/>
                <a:gd name="T52" fmla="*/ 21 w 320"/>
                <a:gd name="T53" fmla="*/ 84 h 192"/>
                <a:gd name="T54" fmla="*/ 96 w 320"/>
                <a:gd name="T55" fmla="*/ 134 h 192"/>
                <a:gd name="T56" fmla="*/ 204 w 320"/>
                <a:gd name="T57" fmla="*/ 171 h 192"/>
                <a:gd name="T58" fmla="*/ 222 w 320"/>
                <a:gd name="T59" fmla="*/ 21 h 192"/>
                <a:gd name="T60" fmla="*/ 268 w 320"/>
                <a:gd name="T61" fmla="*/ 21 h 192"/>
                <a:gd name="T62" fmla="*/ 296 w 320"/>
                <a:gd name="T63" fmla="*/ 171 h 192"/>
                <a:gd name="T64" fmla="*/ 204 w 320"/>
                <a:gd name="T65" fmla="*/ 1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192">
                  <a:moveTo>
                    <a:pt x="287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08" y="0"/>
                    <a:pt x="203" y="4"/>
                    <a:pt x="202" y="9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09" y="53"/>
                    <a:pt x="105" y="53"/>
                    <a:pt x="101" y="55"/>
                  </a:cubicBezTo>
                  <a:cubicBezTo>
                    <a:pt x="98" y="56"/>
                    <a:pt x="96" y="60"/>
                    <a:pt x="96" y="64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3"/>
                    <a:pt x="9" y="53"/>
                    <a:pt x="5" y="55"/>
                  </a:cubicBezTo>
                  <a:cubicBezTo>
                    <a:pt x="2" y="56"/>
                    <a:pt x="0" y="60"/>
                    <a:pt x="0" y="6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2" y="192"/>
                    <a:pt x="315" y="191"/>
                    <a:pt x="317" y="188"/>
                  </a:cubicBezTo>
                  <a:cubicBezTo>
                    <a:pt x="319" y="186"/>
                    <a:pt x="320" y="182"/>
                    <a:pt x="319" y="179"/>
                  </a:cubicBezTo>
                  <a:lnTo>
                    <a:pt x="287" y="9"/>
                  </a:lnTo>
                  <a:close/>
                  <a:moveTo>
                    <a:pt x="187" y="131"/>
                  </a:moveTo>
                  <a:cubicBezTo>
                    <a:pt x="182" y="171"/>
                    <a:pt x="182" y="171"/>
                    <a:pt x="182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84"/>
                    <a:pt x="117" y="84"/>
                    <a:pt x="117" y="84"/>
                  </a:cubicBezTo>
                  <a:lnTo>
                    <a:pt x="187" y="131"/>
                  </a:lnTo>
                  <a:close/>
                  <a:moveTo>
                    <a:pt x="96" y="134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84"/>
                    <a:pt x="21" y="84"/>
                    <a:pt x="21" y="84"/>
                  </a:cubicBezTo>
                  <a:lnTo>
                    <a:pt x="96" y="134"/>
                  </a:lnTo>
                  <a:close/>
                  <a:moveTo>
                    <a:pt x="204" y="171"/>
                  </a:moveTo>
                  <a:cubicBezTo>
                    <a:pt x="222" y="21"/>
                    <a:pt x="222" y="21"/>
                    <a:pt x="222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6" y="171"/>
                    <a:pt x="296" y="171"/>
                    <a:pt x="296" y="171"/>
                  </a:cubicBezTo>
                  <a:lnTo>
                    <a:pt x="20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Freeform 580"/>
            <p:cNvSpPr>
              <a:spLocks/>
            </p:cNvSpPr>
            <p:nvPr/>
          </p:nvSpPr>
          <p:spPr bwMode="auto">
            <a:xfrm>
              <a:off x="601" y="2445"/>
              <a:ext cx="20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6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6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2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581"/>
            <p:cNvSpPr>
              <a:spLocks/>
            </p:cNvSpPr>
            <p:nvPr/>
          </p:nvSpPr>
          <p:spPr bwMode="auto">
            <a:xfrm>
              <a:off x="629" y="2445"/>
              <a:ext cx="21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5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5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1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582"/>
            <p:cNvSpPr>
              <a:spLocks noEditPoints="1"/>
            </p:cNvSpPr>
            <p:nvPr/>
          </p:nvSpPr>
          <p:spPr bwMode="auto">
            <a:xfrm>
              <a:off x="399" y="23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3" name="Freeform 933"/>
          <p:cNvSpPr>
            <a:spLocks noChangeAspect="1" noEditPoints="1"/>
          </p:cNvSpPr>
          <p:nvPr/>
        </p:nvSpPr>
        <p:spPr bwMode="auto">
          <a:xfrm>
            <a:off x="427661" y="2922686"/>
            <a:ext cx="367631" cy="367631"/>
          </a:xfrm>
          <a:custGeom>
            <a:avLst/>
            <a:gdLst>
              <a:gd name="T0" fmla="*/ 288 w 512"/>
              <a:gd name="T1" fmla="*/ 373 h 512"/>
              <a:gd name="T2" fmla="*/ 288 w 512"/>
              <a:gd name="T3" fmla="*/ 352 h 512"/>
              <a:gd name="T4" fmla="*/ 170 w 512"/>
              <a:gd name="T5" fmla="*/ 352 h 512"/>
              <a:gd name="T6" fmla="*/ 170 w 512"/>
              <a:gd name="T7" fmla="*/ 373 h 512"/>
              <a:gd name="T8" fmla="*/ 170 w 512"/>
              <a:gd name="T9" fmla="*/ 352 h 512"/>
              <a:gd name="T10" fmla="*/ 256 w 512"/>
              <a:gd name="T11" fmla="*/ 512 h 512"/>
              <a:gd name="T12" fmla="*/ 256 w 512"/>
              <a:gd name="T13" fmla="*/ 0 h 512"/>
              <a:gd name="T14" fmla="*/ 405 w 512"/>
              <a:gd name="T15" fmla="*/ 362 h 512"/>
              <a:gd name="T16" fmla="*/ 341 w 512"/>
              <a:gd name="T17" fmla="*/ 352 h 512"/>
              <a:gd name="T18" fmla="*/ 341 w 512"/>
              <a:gd name="T19" fmla="*/ 160 h 512"/>
              <a:gd name="T20" fmla="*/ 320 w 512"/>
              <a:gd name="T21" fmla="*/ 160 h 512"/>
              <a:gd name="T22" fmla="*/ 306 w 512"/>
              <a:gd name="T23" fmla="*/ 298 h 512"/>
              <a:gd name="T24" fmla="*/ 245 w 512"/>
              <a:gd name="T25" fmla="*/ 161 h 512"/>
              <a:gd name="T26" fmla="*/ 174 w 512"/>
              <a:gd name="T27" fmla="*/ 163 h 512"/>
              <a:gd name="T28" fmla="*/ 170 w 512"/>
              <a:gd name="T29" fmla="*/ 266 h 512"/>
              <a:gd name="T30" fmla="*/ 106 w 512"/>
              <a:gd name="T31" fmla="*/ 277 h 512"/>
              <a:gd name="T32" fmla="*/ 117 w 512"/>
              <a:gd name="T33" fmla="*/ 373 h 512"/>
              <a:gd name="T34" fmla="*/ 170 w 512"/>
              <a:gd name="T35" fmla="*/ 394 h 512"/>
              <a:gd name="T36" fmla="*/ 258 w 512"/>
              <a:gd name="T37" fmla="*/ 373 h 512"/>
              <a:gd name="T38" fmla="*/ 318 w 512"/>
              <a:gd name="T39" fmla="*/ 373 h 512"/>
              <a:gd name="T40" fmla="*/ 330 w 512"/>
              <a:gd name="T41" fmla="*/ 373 h 512"/>
              <a:gd name="T42" fmla="*/ 405 w 512"/>
              <a:gd name="T43" fmla="*/ 362 h 512"/>
              <a:gd name="T44" fmla="*/ 189 w 512"/>
              <a:gd name="T45" fmla="*/ 288 h 512"/>
              <a:gd name="T46" fmla="*/ 128 w 512"/>
              <a:gd name="T47" fmla="*/ 352 h 512"/>
              <a:gd name="T48" fmla="*/ 170 w 512"/>
              <a:gd name="T49" fmla="*/ 330 h 512"/>
              <a:gd name="T50" fmla="*/ 258 w 512"/>
              <a:gd name="T51" fmla="*/ 352 h 512"/>
              <a:gd name="T52" fmla="*/ 318 w 512"/>
              <a:gd name="T53" fmla="*/ 352 h 512"/>
              <a:gd name="T54" fmla="*/ 320 w 512"/>
              <a:gd name="T55" fmla="*/ 320 h 512"/>
              <a:gd name="T56" fmla="*/ 240 w 512"/>
              <a:gd name="T57" fmla="*/ 318 h 512"/>
              <a:gd name="T58" fmla="*/ 283 w 512"/>
              <a:gd name="T59" fmla="*/ 298 h 512"/>
              <a:gd name="T60" fmla="*/ 192 w 512"/>
              <a:gd name="T61" fmla="*/ 181 h 512"/>
              <a:gd name="T62" fmla="*/ 197 w 512"/>
              <a:gd name="T63" fmla="*/ 26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98" y="362"/>
                </a:moveTo>
                <a:cubicBezTo>
                  <a:pt x="298" y="368"/>
                  <a:pt x="294" y="373"/>
                  <a:pt x="288" y="373"/>
                </a:cubicBezTo>
                <a:cubicBezTo>
                  <a:pt x="282" y="373"/>
                  <a:pt x="277" y="368"/>
                  <a:pt x="277" y="362"/>
                </a:cubicBezTo>
                <a:cubicBezTo>
                  <a:pt x="277" y="356"/>
                  <a:pt x="282" y="352"/>
                  <a:pt x="288" y="352"/>
                </a:cubicBezTo>
                <a:cubicBezTo>
                  <a:pt x="294" y="352"/>
                  <a:pt x="298" y="356"/>
                  <a:pt x="298" y="362"/>
                </a:cubicBezTo>
                <a:close/>
                <a:moveTo>
                  <a:pt x="170" y="352"/>
                </a:moveTo>
                <a:cubicBezTo>
                  <a:pt x="164" y="352"/>
                  <a:pt x="160" y="356"/>
                  <a:pt x="160" y="362"/>
                </a:cubicBezTo>
                <a:cubicBezTo>
                  <a:pt x="160" y="368"/>
                  <a:pt x="164" y="373"/>
                  <a:pt x="170" y="373"/>
                </a:cubicBezTo>
                <a:cubicBezTo>
                  <a:pt x="176" y="373"/>
                  <a:pt x="181" y="368"/>
                  <a:pt x="181" y="362"/>
                </a:cubicBezTo>
                <a:cubicBezTo>
                  <a:pt x="181" y="356"/>
                  <a:pt x="176" y="352"/>
                  <a:pt x="170" y="35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362"/>
                </a:moveTo>
                <a:cubicBezTo>
                  <a:pt x="405" y="356"/>
                  <a:pt x="400" y="352"/>
                  <a:pt x="394" y="352"/>
                </a:cubicBezTo>
                <a:cubicBezTo>
                  <a:pt x="341" y="352"/>
                  <a:pt x="341" y="352"/>
                  <a:pt x="341" y="352"/>
                </a:cubicBezTo>
                <a:cubicBezTo>
                  <a:pt x="341" y="309"/>
                  <a:pt x="341" y="309"/>
                  <a:pt x="341" y="309"/>
                </a:cubicBezTo>
                <a:cubicBezTo>
                  <a:pt x="341" y="160"/>
                  <a:pt x="341" y="160"/>
                  <a:pt x="341" y="160"/>
                </a:cubicBezTo>
                <a:cubicBezTo>
                  <a:pt x="341" y="154"/>
                  <a:pt x="336" y="149"/>
                  <a:pt x="330" y="149"/>
                </a:cubicBezTo>
                <a:cubicBezTo>
                  <a:pt x="324" y="149"/>
                  <a:pt x="320" y="154"/>
                  <a:pt x="320" y="160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06" y="298"/>
                  <a:pt x="306" y="298"/>
                  <a:pt x="306" y="298"/>
                </a:cubicBezTo>
                <a:cubicBezTo>
                  <a:pt x="255" y="167"/>
                  <a:pt x="255" y="167"/>
                  <a:pt x="255" y="167"/>
                </a:cubicBezTo>
                <a:cubicBezTo>
                  <a:pt x="253" y="163"/>
                  <a:pt x="250" y="161"/>
                  <a:pt x="245" y="161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8" y="160"/>
                  <a:pt x="176" y="161"/>
                  <a:pt x="174" y="163"/>
                </a:cubicBezTo>
                <a:cubicBezTo>
                  <a:pt x="171" y="165"/>
                  <a:pt x="170" y="167"/>
                  <a:pt x="170" y="170"/>
                </a:cubicBezTo>
                <a:cubicBezTo>
                  <a:pt x="170" y="266"/>
                  <a:pt x="170" y="266"/>
                  <a:pt x="170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1" y="266"/>
                  <a:pt x="106" y="271"/>
                  <a:pt x="106" y="277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6" y="368"/>
                  <a:pt x="111" y="373"/>
                  <a:pt x="117" y="373"/>
                </a:cubicBezTo>
                <a:cubicBezTo>
                  <a:pt x="140" y="373"/>
                  <a:pt x="140" y="373"/>
                  <a:pt x="140" y="373"/>
                </a:cubicBezTo>
                <a:cubicBezTo>
                  <a:pt x="145" y="385"/>
                  <a:pt x="156" y="394"/>
                  <a:pt x="170" y="394"/>
                </a:cubicBezTo>
                <a:cubicBezTo>
                  <a:pt x="184" y="394"/>
                  <a:pt x="196" y="385"/>
                  <a:pt x="200" y="373"/>
                </a:cubicBezTo>
                <a:cubicBezTo>
                  <a:pt x="258" y="373"/>
                  <a:pt x="258" y="373"/>
                  <a:pt x="258" y="373"/>
                </a:cubicBezTo>
                <a:cubicBezTo>
                  <a:pt x="262" y="385"/>
                  <a:pt x="274" y="394"/>
                  <a:pt x="288" y="394"/>
                </a:cubicBezTo>
                <a:cubicBezTo>
                  <a:pt x="302" y="394"/>
                  <a:pt x="314" y="385"/>
                  <a:pt x="318" y="373"/>
                </a:cubicBezTo>
                <a:cubicBezTo>
                  <a:pt x="318" y="373"/>
                  <a:pt x="319" y="373"/>
                  <a:pt x="320" y="373"/>
                </a:cubicBezTo>
                <a:cubicBezTo>
                  <a:pt x="330" y="373"/>
                  <a:pt x="330" y="373"/>
                  <a:pt x="330" y="373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400" y="373"/>
                  <a:pt x="405" y="368"/>
                  <a:pt x="405" y="362"/>
                </a:cubicBezTo>
                <a:close/>
                <a:moveTo>
                  <a:pt x="240" y="318"/>
                </a:moveTo>
                <a:cubicBezTo>
                  <a:pt x="189" y="288"/>
                  <a:pt x="189" y="288"/>
                  <a:pt x="189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8" y="352"/>
                  <a:pt x="128" y="352"/>
                  <a:pt x="128" y="352"/>
                </a:cubicBezTo>
                <a:cubicBezTo>
                  <a:pt x="140" y="352"/>
                  <a:pt x="140" y="352"/>
                  <a:pt x="140" y="352"/>
                </a:cubicBezTo>
                <a:cubicBezTo>
                  <a:pt x="145" y="339"/>
                  <a:pt x="156" y="330"/>
                  <a:pt x="170" y="330"/>
                </a:cubicBezTo>
                <a:cubicBezTo>
                  <a:pt x="184" y="330"/>
                  <a:pt x="196" y="339"/>
                  <a:pt x="200" y="352"/>
                </a:cubicBezTo>
                <a:cubicBezTo>
                  <a:pt x="258" y="352"/>
                  <a:pt x="258" y="352"/>
                  <a:pt x="258" y="352"/>
                </a:cubicBezTo>
                <a:cubicBezTo>
                  <a:pt x="262" y="339"/>
                  <a:pt x="274" y="330"/>
                  <a:pt x="288" y="330"/>
                </a:cubicBezTo>
                <a:cubicBezTo>
                  <a:pt x="302" y="330"/>
                  <a:pt x="313" y="339"/>
                  <a:pt x="318" y="352"/>
                </a:cubicBezTo>
                <a:cubicBezTo>
                  <a:pt x="318" y="352"/>
                  <a:pt x="318" y="352"/>
                  <a:pt x="320" y="352"/>
                </a:cubicBezTo>
                <a:cubicBezTo>
                  <a:pt x="320" y="320"/>
                  <a:pt x="320" y="320"/>
                  <a:pt x="320" y="320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3" y="320"/>
                  <a:pt x="241" y="319"/>
                  <a:pt x="240" y="318"/>
                </a:cubicBezTo>
                <a:close/>
                <a:moveTo>
                  <a:pt x="248" y="298"/>
                </a:moveTo>
                <a:cubicBezTo>
                  <a:pt x="283" y="298"/>
                  <a:pt x="283" y="298"/>
                  <a:pt x="283" y="298"/>
                </a:cubicBezTo>
                <a:cubicBezTo>
                  <a:pt x="238" y="182"/>
                  <a:pt x="238" y="182"/>
                  <a:pt x="238" y="182"/>
                </a:cubicBezTo>
                <a:cubicBezTo>
                  <a:pt x="192" y="181"/>
                  <a:pt x="192" y="181"/>
                  <a:pt x="192" y="181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93" y="266"/>
                  <a:pt x="195" y="267"/>
                  <a:pt x="197" y="268"/>
                </a:cubicBezTo>
                <a:lnTo>
                  <a:pt x="248" y="29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4" name="Group 936"/>
          <p:cNvGrpSpPr>
            <a:grpSpLocks noChangeAspect="1"/>
          </p:cNvGrpSpPr>
          <p:nvPr/>
        </p:nvGrpSpPr>
        <p:grpSpPr bwMode="auto">
          <a:xfrm>
            <a:off x="928050" y="2922686"/>
            <a:ext cx="367631" cy="367631"/>
            <a:chOff x="4256" y="3585"/>
            <a:chExt cx="340" cy="340"/>
          </a:xfrm>
          <a:solidFill>
            <a:schemeClr val="accent4"/>
          </a:solidFill>
        </p:grpSpPr>
        <p:sp>
          <p:nvSpPr>
            <p:cNvPr id="315" name="Freeform 937"/>
            <p:cNvSpPr>
              <a:spLocks noEditPoints="1"/>
            </p:cNvSpPr>
            <p:nvPr/>
          </p:nvSpPr>
          <p:spPr bwMode="auto">
            <a:xfrm>
              <a:off x="4256" y="35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938"/>
            <p:cNvSpPr>
              <a:spLocks noEditPoints="1"/>
            </p:cNvSpPr>
            <p:nvPr/>
          </p:nvSpPr>
          <p:spPr bwMode="auto">
            <a:xfrm>
              <a:off x="4326" y="3684"/>
              <a:ext cx="199" cy="163"/>
            </a:xfrm>
            <a:custGeom>
              <a:avLst/>
              <a:gdLst>
                <a:gd name="T0" fmla="*/ 288 w 299"/>
                <a:gd name="T1" fmla="*/ 203 h 245"/>
                <a:gd name="T2" fmla="*/ 235 w 299"/>
                <a:gd name="T3" fmla="*/ 203 h 245"/>
                <a:gd name="T4" fmla="*/ 235 w 299"/>
                <a:gd name="T5" fmla="*/ 160 h 245"/>
                <a:gd name="T6" fmla="*/ 235 w 299"/>
                <a:gd name="T7" fmla="*/ 11 h 245"/>
                <a:gd name="T8" fmla="*/ 224 w 299"/>
                <a:gd name="T9" fmla="*/ 0 h 245"/>
                <a:gd name="T10" fmla="*/ 214 w 299"/>
                <a:gd name="T11" fmla="*/ 11 h 245"/>
                <a:gd name="T12" fmla="*/ 214 w 299"/>
                <a:gd name="T13" fmla="*/ 149 h 245"/>
                <a:gd name="T14" fmla="*/ 200 w 299"/>
                <a:gd name="T15" fmla="*/ 149 h 245"/>
                <a:gd name="T16" fmla="*/ 149 w 299"/>
                <a:gd name="T17" fmla="*/ 18 h 245"/>
                <a:gd name="T18" fmla="*/ 139 w 299"/>
                <a:gd name="T19" fmla="*/ 12 h 245"/>
                <a:gd name="T20" fmla="*/ 75 w 299"/>
                <a:gd name="T21" fmla="*/ 11 h 245"/>
                <a:gd name="T22" fmla="*/ 68 w 299"/>
                <a:gd name="T23" fmla="*/ 14 h 245"/>
                <a:gd name="T24" fmla="*/ 64 w 299"/>
                <a:gd name="T25" fmla="*/ 21 h 245"/>
                <a:gd name="T26" fmla="*/ 64 w 299"/>
                <a:gd name="T27" fmla="*/ 117 h 245"/>
                <a:gd name="T28" fmla="*/ 11 w 299"/>
                <a:gd name="T29" fmla="*/ 117 h 245"/>
                <a:gd name="T30" fmla="*/ 0 w 299"/>
                <a:gd name="T31" fmla="*/ 128 h 245"/>
                <a:gd name="T32" fmla="*/ 0 w 299"/>
                <a:gd name="T33" fmla="*/ 213 h 245"/>
                <a:gd name="T34" fmla="*/ 11 w 299"/>
                <a:gd name="T35" fmla="*/ 224 h 245"/>
                <a:gd name="T36" fmla="*/ 34 w 299"/>
                <a:gd name="T37" fmla="*/ 224 h 245"/>
                <a:gd name="T38" fmla="*/ 64 w 299"/>
                <a:gd name="T39" fmla="*/ 245 h 245"/>
                <a:gd name="T40" fmla="*/ 94 w 299"/>
                <a:gd name="T41" fmla="*/ 224 h 245"/>
                <a:gd name="T42" fmla="*/ 152 w 299"/>
                <a:gd name="T43" fmla="*/ 224 h 245"/>
                <a:gd name="T44" fmla="*/ 182 w 299"/>
                <a:gd name="T45" fmla="*/ 245 h 245"/>
                <a:gd name="T46" fmla="*/ 212 w 299"/>
                <a:gd name="T47" fmla="*/ 224 h 245"/>
                <a:gd name="T48" fmla="*/ 214 w 299"/>
                <a:gd name="T49" fmla="*/ 224 h 245"/>
                <a:gd name="T50" fmla="*/ 224 w 299"/>
                <a:gd name="T51" fmla="*/ 224 h 245"/>
                <a:gd name="T52" fmla="*/ 288 w 299"/>
                <a:gd name="T53" fmla="*/ 224 h 245"/>
                <a:gd name="T54" fmla="*/ 299 w 299"/>
                <a:gd name="T55" fmla="*/ 213 h 245"/>
                <a:gd name="T56" fmla="*/ 288 w 299"/>
                <a:gd name="T57" fmla="*/ 203 h 245"/>
                <a:gd name="T58" fmla="*/ 86 w 299"/>
                <a:gd name="T59" fmla="*/ 32 h 245"/>
                <a:gd name="T60" fmla="*/ 132 w 299"/>
                <a:gd name="T61" fmla="*/ 33 h 245"/>
                <a:gd name="T62" fmla="*/ 177 w 299"/>
                <a:gd name="T63" fmla="*/ 149 h 245"/>
                <a:gd name="T64" fmla="*/ 142 w 299"/>
                <a:gd name="T65" fmla="*/ 149 h 245"/>
                <a:gd name="T66" fmla="*/ 91 w 299"/>
                <a:gd name="T67" fmla="*/ 119 h 245"/>
                <a:gd name="T68" fmla="*/ 86 w 299"/>
                <a:gd name="T69" fmla="*/ 117 h 245"/>
                <a:gd name="T70" fmla="*/ 86 w 299"/>
                <a:gd name="T71" fmla="*/ 32 h 245"/>
                <a:gd name="T72" fmla="*/ 22 w 299"/>
                <a:gd name="T73" fmla="*/ 139 h 245"/>
                <a:gd name="T74" fmla="*/ 83 w 299"/>
                <a:gd name="T75" fmla="*/ 139 h 245"/>
                <a:gd name="T76" fmla="*/ 134 w 299"/>
                <a:gd name="T77" fmla="*/ 169 h 245"/>
                <a:gd name="T78" fmla="*/ 139 w 299"/>
                <a:gd name="T79" fmla="*/ 171 h 245"/>
                <a:gd name="T80" fmla="*/ 214 w 299"/>
                <a:gd name="T81" fmla="*/ 171 h 245"/>
                <a:gd name="T82" fmla="*/ 214 w 299"/>
                <a:gd name="T83" fmla="*/ 203 h 245"/>
                <a:gd name="T84" fmla="*/ 212 w 299"/>
                <a:gd name="T85" fmla="*/ 203 h 245"/>
                <a:gd name="T86" fmla="*/ 182 w 299"/>
                <a:gd name="T87" fmla="*/ 181 h 245"/>
                <a:gd name="T88" fmla="*/ 152 w 299"/>
                <a:gd name="T89" fmla="*/ 203 h 245"/>
                <a:gd name="T90" fmla="*/ 94 w 299"/>
                <a:gd name="T91" fmla="*/ 203 h 245"/>
                <a:gd name="T92" fmla="*/ 64 w 299"/>
                <a:gd name="T93" fmla="*/ 181 h 245"/>
                <a:gd name="T94" fmla="*/ 34 w 299"/>
                <a:gd name="T95" fmla="*/ 203 h 245"/>
                <a:gd name="T96" fmla="*/ 22 w 299"/>
                <a:gd name="T97" fmla="*/ 203 h 245"/>
                <a:gd name="T98" fmla="*/ 22 w 299"/>
                <a:gd name="T99" fmla="*/ 139 h 245"/>
                <a:gd name="T100" fmla="*/ 64 w 299"/>
                <a:gd name="T101" fmla="*/ 224 h 245"/>
                <a:gd name="T102" fmla="*/ 54 w 299"/>
                <a:gd name="T103" fmla="*/ 213 h 245"/>
                <a:gd name="T104" fmla="*/ 64 w 299"/>
                <a:gd name="T105" fmla="*/ 203 h 245"/>
                <a:gd name="T106" fmla="*/ 75 w 299"/>
                <a:gd name="T107" fmla="*/ 213 h 245"/>
                <a:gd name="T108" fmla="*/ 64 w 299"/>
                <a:gd name="T109" fmla="*/ 224 h 245"/>
                <a:gd name="T110" fmla="*/ 182 w 299"/>
                <a:gd name="T111" fmla="*/ 224 h 245"/>
                <a:gd name="T112" fmla="*/ 171 w 299"/>
                <a:gd name="T113" fmla="*/ 213 h 245"/>
                <a:gd name="T114" fmla="*/ 182 w 299"/>
                <a:gd name="T115" fmla="*/ 203 h 245"/>
                <a:gd name="T116" fmla="*/ 192 w 299"/>
                <a:gd name="T117" fmla="*/ 213 h 245"/>
                <a:gd name="T118" fmla="*/ 182 w 299"/>
                <a:gd name="T119" fmla="*/ 22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" h="245">
                  <a:moveTo>
                    <a:pt x="288" y="203"/>
                  </a:moveTo>
                  <a:cubicBezTo>
                    <a:pt x="235" y="203"/>
                    <a:pt x="235" y="203"/>
                    <a:pt x="235" y="20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218" y="0"/>
                    <a:pt x="214" y="5"/>
                    <a:pt x="214" y="11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00" y="149"/>
                    <a:pt x="200" y="149"/>
                    <a:pt x="200" y="149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7" y="14"/>
                    <a:pt x="144" y="12"/>
                    <a:pt x="139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2" y="11"/>
                    <a:pt x="70" y="12"/>
                    <a:pt x="68" y="14"/>
                  </a:cubicBezTo>
                  <a:cubicBezTo>
                    <a:pt x="65" y="16"/>
                    <a:pt x="64" y="18"/>
                    <a:pt x="64" y="21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9"/>
                    <a:pt x="5" y="224"/>
                    <a:pt x="11" y="224"/>
                  </a:cubicBezTo>
                  <a:cubicBezTo>
                    <a:pt x="34" y="224"/>
                    <a:pt x="34" y="224"/>
                    <a:pt x="34" y="224"/>
                  </a:cubicBezTo>
                  <a:cubicBezTo>
                    <a:pt x="39" y="236"/>
                    <a:pt x="50" y="245"/>
                    <a:pt x="64" y="245"/>
                  </a:cubicBezTo>
                  <a:cubicBezTo>
                    <a:pt x="78" y="245"/>
                    <a:pt x="90" y="236"/>
                    <a:pt x="94" y="224"/>
                  </a:cubicBezTo>
                  <a:cubicBezTo>
                    <a:pt x="152" y="224"/>
                    <a:pt x="152" y="224"/>
                    <a:pt x="152" y="224"/>
                  </a:cubicBezTo>
                  <a:cubicBezTo>
                    <a:pt x="156" y="236"/>
                    <a:pt x="168" y="245"/>
                    <a:pt x="182" y="245"/>
                  </a:cubicBezTo>
                  <a:cubicBezTo>
                    <a:pt x="196" y="245"/>
                    <a:pt x="208" y="236"/>
                    <a:pt x="212" y="224"/>
                  </a:cubicBezTo>
                  <a:cubicBezTo>
                    <a:pt x="212" y="224"/>
                    <a:pt x="213" y="224"/>
                    <a:pt x="214" y="224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88" y="224"/>
                    <a:pt x="288" y="224"/>
                    <a:pt x="288" y="224"/>
                  </a:cubicBezTo>
                  <a:cubicBezTo>
                    <a:pt x="294" y="224"/>
                    <a:pt x="299" y="219"/>
                    <a:pt x="299" y="213"/>
                  </a:cubicBezTo>
                  <a:cubicBezTo>
                    <a:pt x="299" y="207"/>
                    <a:pt x="294" y="203"/>
                    <a:pt x="288" y="203"/>
                  </a:cubicBezTo>
                  <a:close/>
                  <a:moveTo>
                    <a:pt x="86" y="32"/>
                  </a:moveTo>
                  <a:cubicBezTo>
                    <a:pt x="132" y="33"/>
                    <a:pt x="132" y="33"/>
                    <a:pt x="132" y="33"/>
                  </a:cubicBezTo>
                  <a:cubicBezTo>
                    <a:pt x="177" y="149"/>
                    <a:pt x="177" y="149"/>
                    <a:pt x="177" y="149"/>
                  </a:cubicBezTo>
                  <a:cubicBezTo>
                    <a:pt x="142" y="149"/>
                    <a:pt x="142" y="149"/>
                    <a:pt x="142" y="149"/>
                  </a:cubicBezTo>
                  <a:cubicBezTo>
                    <a:pt x="91" y="119"/>
                    <a:pt x="91" y="119"/>
                    <a:pt x="91" y="119"/>
                  </a:cubicBezTo>
                  <a:cubicBezTo>
                    <a:pt x="89" y="118"/>
                    <a:pt x="87" y="117"/>
                    <a:pt x="86" y="117"/>
                  </a:cubicBezTo>
                  <a:lnTo>
                    <a:pt x="86" y="32"/>
                  </a:lnTo>
                  <a:close/>
                  <a:moveTo>
                    <a:pt x="22" y="139"/>
                  </a:moveTo>
                  <a:cubicBezTo>
                    <a:pt x="83" y="139"/>
                    <a:pt x="83" y="139"/>
                    <a:pt x="83" y="139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5" y="170"/>
                    <a:pt x="137" y="171"/>
                    <a:pt x="139" y="171"/>
                  </a:cubicBezTo>
                  <a:cubicBezTo>
                    <a:pt x="214" y="171"/>
                    <a:pt x="214" y="171"/>
                    <a:pt x="214" y="171"/>
                  </a:cubicBezTo>
                  <a:cubicBezTo>
                    <a:pt x="214" y="203"/>
                    <a:pt x="214" y="203"/>
                    <a:pt x="214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07" y="190"/>
                    <a:pt x="196" y="181"/>
                    <a:pt x="182" y="181"/>
                  </a:cubicBezTo>
                  <a:cubicBezTo>
                    <a:pt x="168" y="181"/>
                    <a:pt x="156" y="190"/>
                    <a:pt x="152" y="203"/>
                  </a:cubicBezTo>
                  <a:cubicBezTo>
                    <a:pt x="94" y="203"/>
                    <a:pt x="94" y="203"/>
                    <a:pt x="94" y="203"/>
                  </a:cubicBezTo>
                  <a:cubicBezTo>
                    <a:pt x="90" y="190"/>
                    <a:pt x="78" y="181"/>
                    <a:pt x="64" y="181"/>
                  </a:cubicBezTo>
                  <a:cubicBezTo>
                    <a:pt x="50" y="181"/>
                    <a:pt x="39" y="190"/>
                    <a:pt x="34" y="203"/>
                  </a:cubicBezTo>
                  <a:cubicBezTo>
                    <a:pt x="22" y="203"/>
                    <a:pt x="22" y="203"/>
                    <a:pt x="22" y="203"/>
                  </a:cubicBezTo>
                  <a:lnTo>
                    <a:pt x="22" y="139"/>
                  </a:lnTo>
                  <a:close/>
                  <a:moveTo>
                    <a:pt x="64" y="224"/>
                  </a:moveTo>
                  <a:cubicBezTo>
                    <a:pt x="58" y="224"/>
                    <a:pt x="54" y="219"/>
                    <a:pt x="54" y="213"/>
                  </a:cubicBezTo>
                  <a:cubicBezTo>
                    <a:pt x="54" y="207"/>
                    <a:pt x="58" y="203"/>
                    <a:pt x="64" y="203"/>
                  </a:cubicBezTo>
                  <a:cubicBezTo>
                    <a:pt x="70" y="203"/>
                    <a:pt x="75" y="207"/>
                    <a:pt x="75" y="213"/>
                  </a:cubicBezTo>
                  <a:cubicBezTo>
                    <a:pt x="75" y="219"/>
                    <a:pt x="70" y="224"/>
                    <a:pt x="64" y="224"/>
                  </a:cubicBezTo>
                  <a:close/>
                  <a:moveTo>
                    <a:pt x="182" y="224"/>
                  </a:moveTo>
                  <a:cubicBezTo>
                    <a:pt x="176" y="224"/>
                    <a:pt x="171" y="219"/>
                    <a:pt x="171" y="213"/>
                  </a:cubicBezTo>
                  <a:cubicBezTo>
                    <a:pt x="171" y="207"/>
                    <a:pt x="176" y="203"/>
                    <a:pt x="182" y="203"/>
                  </a:cubicBezTo>
                  <a:cubicBezTo>
                    <a:pt x="188" y="203"/>
                    <a:pt x="192" y="207"/>
                    <a:pt x="192" y="213"/>
                  </a:cubicBezTo>
                  <a:cubicBezTo>
                    <a:pt x="192" y="219"/>
                    <a:pt x="188" y="224"/>
                    <a:pt x="182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7" name="Freeform 751"/>
          <p:cNvSpPr>
            <a:spLocks noChangeAspect="1" noEditPoints="1"/>
          </p:cNvSpPr>
          <p:nvPr/>
        </p:nvSpPr>
        <p:spPr bwMode="auto">
          <a:xfrm>
            <a:off x="2434394" y="2922682"/>
            <a:ext cx="367982" cy="367982"/>
          </a:xfrm>
          <a:custGeom>
            <a:avLst/>
            <a:gdLst>
              <a:gd name="T0" fmla="*/ 256 w 512"/>
              <a:gd name="T1" fmla="*/ 512 h 512"/>
              <a:gd name="T2" fmla="*/ 165 w 512"/>
              <a:gd name="T3" fmla="*/ 158 h 512"/>
              <a:gd name="T4" fmla="*/ 207 w 512"/>
              <a:gd name="T5" fmla="*/ 162 h 512"/>
              <a:gd name="T6" fmla="*/ 160 w 512"/>
              <a:gd name="T7" fmla="*/ 172 h 512"/>
              <a:gd name="T8" fmla="*/ 174 w 512"/>
              <a:gd name="T9" fmla="*/ 206 h 512"/>
              <a:gd name="T10" fmla="*/ 203 w 512"/>
              <a:gd name="T11" fmla="*/ 242 h 512"/>
              <a:gd name="T12" fmla="*/ 160 w 512"/>
              <a:gd name="T13" fmla="*/ 212 h 512"/>
              <a:gd name="T14" fmla="*/ 128 w 512"/>
              <a:gd name="T15" fmla="*/ 245 h 512"/>
              <a:gd name="T16" fmla="*/ 106 w 512"/>
              <a:gd name="T17" fmla="*/ 277 h 512"/>
              <a:gd name="T18" fmla="*/ 136 w 512"/>
              <a:gd name="T19" fmla="*/ 351 h 512"/>
              <a:gd name="T20" fmla="*/ 106 w 512"/>
              <a:gd name="T21" fmla="*/ 330 h 512"/>
              <a:gd name="T22" fmla="*/ 128 w 512"/>
              <a:gd name="T23" fmla="*/ 309 h 512"/>
              <a:gd name="T24" fmla="*/ 145 w 512"/>
              <a:gd name="T25" fmla="*/ 346 h 512"/>
              <a:gd name="T26" fmla="*/ 132 w 512"/>
              <a:gd name="T27" fmla="*/ 210 h 512"/>
              <a:gd name="T28" fmla="*/ 117 w 512"/>
              <a:gd name="T29" fmla="*/ 224 h 512"/>
              <a:gd name="T30" fmla="*/ 113 w 512"/>
              <a:gd name="T31" fmla="*/ 182 h 512"/>
              <a:gd name="T32" fmla="*/ 142 w 512"/>
              <a:gd name="T33" fmla="*/ 192 h 512"/>
              <a:gd name="T34" fmla="*/ 203 w 512"/>
              <a:gd name="T35" fmla="*/ 387 h 512"/>
              <a:gd name="T36" fmla="*/ 160 w 512"/>
              <a:gd name="T37" fmla="*/ 354 h 512"/>
              <a:gd name="T38" fmla="*/ 213 w 512"/>
              <a:gd name="T39" fmla="*/ 382 h 512"/>
              <a:gd name="T40" fmla="*/ 260 w 512"/>
              <a:gd name="T41" fmla="*/ 415 h 512"/>
              <a:gd name="T42" fmla="*/ 232 w 512"/>
              <a:gd name="T43" fmla="*/ 404 h 512"/>
              <a:gd name="T44" fmla="*/ 245 w 512"/>
              <a:gd name="T45" fmla="*/ 387 h 512"/>
              <a:gd name="T46" fmla="*/ 266 w 512"/>
              <a:gd name="T47" fmla="*/ 384 h 512"/>
              <a:gd name="T48" fmla="*/ 285 w 512"/>
              <a:gd name="T49" fmla="*/ 392 h 512"/>
              <a:gd name="T50" fmla="*/ 245 w 512"/>
              <a:gd name="T51" fmla="*/ 320 h 512"/>
              <a:gd name="T52" fmla="*/ 266 w 512"/>
              <a:gd name="T53" fmla="*/ 352 h 512"/>
              <a:gd name="T54" fmla="*/ 280 w 512"/>
              <a:gd name="T55" fmla="*/ 256 h 512"/>
              <a:gd name="T56" fmla="*/ 256 w 512"/>
              <a:gd name="T57" fmla="*/ 288 h 512"/>
              <a:gd name="T58" fmla="*/ 232 w 512"/>
              <a:gd name="T59" fmla="*/ 256 h 512"/>
              <a:gd name="T60" fmla="*/ 256 w 512"/>
              <a:gd name="T61" fmla="*/ 244 h 512"/>
              <a:gd name="T62" fmla="*/ 280 w 512"/>
              <a:gd name="T63" fmla="*/ 256 h 512"/>
              <a:gd name="T64" fmla="*/ 271 w 512"/>
              <a:gd name="T65" fmla="*/ 146 h 512"/>
              <a:gd name="T66" fmla="*/ 227 w 512"/>
              <a:gd name="T67" fmla="*/ 141 h 512"/>
              <a:gd name="T68" fmla="*/ 260 w 512"/>
              <a:gd name="T69" fmla="*/ 118 h 512"/>
              <a:gd name="T70" fmla="*/ 346 w 512"/>
              <a:gd name="T71" fmla="*/ 375 h 512"/>
              <a:gd name="T72" fmla="*/ 299 w 512"/>
              <a:gd name="T73" fmla="*/ 385 h 512"/>
              <a:gd name="T74" fmla="*/ 351 w 512"/>
              <a:gd name="T75" fmla="*/ 361 h 512"/>
              <a:gd name="T76" fmla="*/ 313 w 512"/>
              <a:gd name="T77" fmla="*/ 241 h 512"/>
              <a:gd name="T78" fmla="*/ 304 w 512"/>
              <a:gd name="T79" fmla="*/ 222 h 512"/>
              <a:gd name="T80" fmla="*/ 346 w 512"/>
              <a:gd name="T81" fmla="*/ 226 h 512"/>
              <a:gd name="T82" fmla="*/ 337 w 512"/>
              <a:gd name="T83" fmla="*/ 177 h 512"/>
              <a:gd name="T84" fmla="*/ 313 w 512"/>
              <a:gd name="T85" fmla="*/ 142 h 512"/>
              <a:gd name="T86" fmla="*/ 405 w 512"/>
              <a:gd name="T87" fmla="*/ 341 h 512"/>
              <a:gd name="T88" fmla="*/ 375 w 512"/>
              <a:gd name="T89" fmla="*/ 361 h 512"/>
              <a:gd name="T90" fmla="*/ 384 w 512"/>
              <a:gd name="T91" fmla="*/ 334 h 512"/>
              <a:gd name="T92" fmla="*/ 405 w 512"/>
              <a:gd name="T93" fmla="*/ 320 h 512"/>
              <a:gd name="T94" fmla="*/ 394 w 512"/>
              <a:gd name="T95" fmla="*/ 298 h 512"/>
              <a:gd name="T96" fmla="*/ 394 w 512"/>
              <a:gd name="T97" fmla="*/ 245 h 512"/>
              <a:gd name="T98" fmla="*/ 405 w 512"/>
              <a:gd name="T99" fmla="*/ 213 h 512"/>
              <a:gd name="T100" fmla="*/ 384 w 512"/>
              <a:gd name="T101" fmla="*/ 208 h 512"/>
              <a:gd name="T102" fmla="*/ 365 w 512"/>
              <a:gd name="T103" fmla="*/ 205 h 512"/>
              <a:gd name="T104" fmla="*/ 379 w 512"/>
              <a:gd name="T105" fmla="*/ 173 h 512"/>
              <a:gd name="T106" fmla="*/ 405 w 512"/>
              <a:gd name="T107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65" y="158"/>
                </a:moveTo>
                <a:cubicBezTo>
                  <a:pt x="199" y="142"/>
                  <a:pt x="199" y="142"/>
                  <a:pt x="199" y="142"/>
                </a:cubicBezTo>
                <a:cubicBezTo>
                  <a:pt x="204" y="140"/>
                  <a:pt x="210" y="142"/>
                  <a:pt x="213" y="148"/>
                </a:cubicBezTo>
                <a:cubicBezTo>
                  <a:pt x="215" y="153"/>
                  <a:pt x="213" y="159"/>
                  <a:pt x="207" y="162"/>
                </a:cubicBezTo>
                <a:cubicBezTo>
                  <a:pt x="174" y="177"/>
                  <a:pt x="174" y="177"/>
                  <a:pt x="174" y="177"/>
                </a:cubicBezTo>
                <a:cubicBezTo>
                  <a:pt x="173" y="178"/>
                  <a:pt x="171" y="178"/>
                  <a:pt x="170" y="178"/>
                </a:cubicBezTo>
                <a:cubicBezTo>
                  <a:pt x="166" y="178"/>
                  <a:pt x="162" y="176"/>
                  <a:pt x="160" y="172"/>
                </a:cubicBezTo>
                <a:cubicBezTo>
                  <a:pt x="158" y="166"/>
                  <a:pt x="160" y="160"/>
                  <a:pt x="165" y="158"/>
                </a:cubicBezTo>
                <a:close/>
                <a:moveTo>
                  <a:pt x="160" y="212"/>
                </a:moveTo>
                <a:cubicBezTo>
                  <a:pt x="162" y="206"/>
                  <a:pt x="169" y="204"/>
                  <a:pt x="174" y="206"/>
                </a:cubicBezTo>
                <a:cubicBezTo>
                  <a:pt x="207" y="222"/>
                  <a:pt x="207" y="222"/>
                  <a:pt x="207" y="222"/>
                </a:cubicBezTo>
                <a:cubicBezTo>
                  <a:pt x="213" y="224"/>
                  <a:pt x="215" y="230"/>
                  <a:pt x="213" y="236"/>
                </a:cubicBezTo>
                <a:cubicBezTo>
                  <a:pt x="211" y="240"/>
                  <a:pt x="207" y="242"/>
                  <a:pt x="203" y="242"/>
                </a:cubicBezTo>
                <a:cubicBezTo>
                  <a:pt x="201" y="242"/>
                  <a:pt x="200" y="242"/>
                  <a:pt x="199" y="241"/>
                </a:cubicBezTo>
                <a:cubicBezTo>
                  <a:pt x="165" y="226"/>
                  <a:pt x="165" y="226"/>
                  <a:pt x="165" y="226"/>
                </a:cubicBezTo>
                <a:cubicBezTo>
                  <a:pt x="160" y="223"/>
                  <a:pt x="158" y="217"/>
                  <a:pt x="160" y="212"/>
                </a:cubicBezTo>
                <a:close/>
                <a:moveTo>
                  <a:pt x="106" y="245"/>
                </a:moveTo>
                <a:cubicBezTo>
                  <a:pt x="106" y="239"/>
                  <a:pt x="111" y="234"/>
                  <a:pt x="117" y="234"/>
                </a:cubicBezTo>
                <a:cubicBezTo>
                  <a:pt x="123" y="234"/>
                  <a:pt x="128" y="239"/>
                  <a:pt x="128" y="245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8" y="283"/>
                  <a:pt x="123" y="288"/>
                  <a:pt x="117" y="288"/>
                </a:cubicBezTo>
                <a:cubicBezTo>
                  <a:pt x="111" y="288"/>
                  <a:pt x="106" y="283"/>
                  <a:pt x="106" y="277"/>
                </a:cubicBezTo>
                <a:lnTo>
                  <a:pt x="106" y="245"/>
                </a:lnTo>
                <a:close/>
                <a:moveTo>
                  <a:pt x="145" y="346"/>
                </a:moveTo>
                <a:cubicBezTo>
                  <a:pt x="143" y="349"/>
                  <a:pt x="140" y="351"/>
                  <a:pt x="136" y="351"/>
                </a:cubicBezTo>
                <a:cubicBezTo>
                  <a:pt x="134" y="351"/>
                  <a:pt x="132" y="351"/>
                  <a:pt x="131" y="350"/>
                </a:cubicBezTo>
                <a:cubicBezTo>
                  <a:pt x="112" y="340"/>
                  <a:pt x="112" y="340"/>
                  <a:pt x="112" y="340"/>
                </a:cubicBezTo>
                <a:cubicBezTo>
                  <a:pt x="108" y="338"/>
                  <a:pt x="106" y="334"/>
                  <a:pt x="106" y="330"/>
                </a:cubicBezTo>
                <a:cubicBezTo>
                  <a:pt x="106" y="309"/>
                  <a:pt x="106" y="309"/>
                  <a:pt x="106" y="309"/>
                </a:cubicBezTo>
                <a:cubicBezTo>
                  <a:pt x="106" y="303"/>
                  <a:pt x="111" y="298"/>
                  <a:pt x="117" y="298"/>
                </a:cubicBezTo>
                <a:cubicBezTo>
                  <a:pt x="123" y="298"/>
                  <a:pt x="128" y="303"/>
                  <a:pt x="128" y="309"/>
                </a:cubicBezTo>
                <a:cubicBezTo>
                  <a:pt x="128" y="324"/>
                  <a:pt x="128" y="324"/>
                  <a:pt x="128" y="324"/>
                </a:cubicBezTo>
                <a:cubicBezTo>
                  <a:pt x="141" y="331"/>
                  <a:pt x="141" y="331"/>
                  <a:pt x="141" y="331"/>
                </a:cubicBezTo>
                <a:cubicBezTo>
                  <a:pt x="146" y="334"/>
                  <a:pt x="148" y="340"/>
                  <a:pt x="145" y="346"/>
                </a:cubicBezTo>
                <a:close/>
                <a:moveTo>
                  <a:pt x="146" y="205"/>
                </a:moveTo>
                <a:cubicBezTo>
                  <a:pt x="144" y="209"/>
                  <a:pt x="140" y="211"/>
                  <a:pt x="136" y="211"/>
                </a:cubicBezTo>
                <a:cubicBezTo>
                  <a:pt x="135" y="211"/>
                  <a:pt x="133" y="211"/>
                  <a:pt x="132" y="210"/>
                </a:cubicBezTo>
                <a:cubicBezTo>
                  <a:pt x="128" y="208"/>
                  <a:pt x="128" y="208"/>
                  <a:pt x="128" y="208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8" y="219"/>
                  <a:pt x="123" y="224"/>
                  <a:pt x="117" y="224"/>
                </a:cubicBezTo>
                <a:cubicBezTo>
                  <a:pt x="111" y="224"/>
                  <a:pt x="106" y="219"/>
                  <a:pt x="106" y="213"/>
                </a:cubicBezTo>
                <a:cubicBezTo>
                  <a:pt x="106" y="192"/>
                  <a:pt x="106" y="192"/>
                  <a:pt x="106" y="192"/>
                </a:cubicBezTo>
                <a:cubicBezTo>
                  <a:pt x="106" y="188"/>
                  <a:pt x="109" y="184"/>
                  <a:pt x="113" y="182"/>
                </a:cubicBezTo>
                <a:cubicBezTo>
                  <a:pt x="132" y="173"/>
                  <a:pt x="132" y="173"/>
                  <a:pt x="132" y="173"/>
                </a:cubicBezTo>
                <a:cubicBezTo>
                  <a:pt x="137" y="171"/>
                  <a:pt x="144" y="173"/>
                  <a:pt x="146" y="178"/>
                </a:cubicBezTo>
                <a:cubicBezTo>
                  <a:pt x="148" y="183"/>
                  <a:pt x="147" y="189"/>
                  <a:pt x="142" y="192"/>
                </a:cubicBezTo>
                <a:cubicBezTo>
                  <a:pt x="147" y="195"/>
                  <a:pt x="148" y="200"/>
                  <a:pt x="146" y="205"/>
                </a:cubicBezTo>
                <a:close/>
                <a:moveTo>
                  <a:pt x="213" y="382"/>
                </a:moveTo>
                <a:cubicBezTo>
                  <a:pt x="211" y="385"/>
                  <a:pt x="207" y="387"/>
                  <a:pt x="203" y="387"/>
                </a:cubicBezTo>
                <a:cubicBezTo>
                  <a:pt x="201" y="387"/>
                  <a:pt x="200" y="387"/>
                  <a:pt x="198" y="386"/>
                </a:cubicBezTo>
                <a:cubicBezTo>
                  <a:pt x="164" y="368"/>
                  <a:pt x="164" y="368"/>
                  <a:pt x="164" y="368"/>
                </a:cubicBezTo>
                <a:cubicBezTo>
                  <a:pt x="159" y="365"/>
                  <a:pt x="157" y="359"/>
                  <a:pt x="160" y="354"/>
                </a:cubicBezTo>
                <a:cubicBezTo>
                  <a:pt x="163" y="348"/>
                  <a:pt x="169" y="346"/>
                  <a:pt x="175" y="349"/>
                </a:cubicBezTo>
                <a:cubicBezTo>
                  <a:pt x="208" y="367"/>
                  <a:pt x="208" y="367"/>
                  <a:pt x="208" y="367"/>
                </a:cubicBezTo>
                <a:cubicBezTo>
                  <a:pt x="213" y="370"/>
                  <a:pt x="215" y="377"/>
                  <a:pt x="213" y="382"/>
                </a:cubicBezTo>
                <a:close/>
                <a:moveTo>
                  <a:pt x="280" y="406"/>
                </a:moveTo>
                <a:cubicBezTo>
                  <a:pt x="260" y="415"/>
                  <a:pt x="260" y="415"/>
                  <a:pt x="260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259" y="415"/>
                  <a:pt x="257" y="416"/>
                  <a:pt x="256" y="416"/>
                </a:cubicBezTo>
                <a:cubicBezTo>
                  <a:pt x="254" y="416"/>
                  <a:pt x="252" y="415"/>
                  <a:pt x="251" y="414"/>
                </a:cubicBezTo>
                <a:cubicBezTo>
                  <a:pt x="232" y="404"/>
                  <a:pt x="232" y="404"/>
                  <a:pt x="232" y="404"/>
                </a:cubicBezTo>
                <a:cubicBezTo>
                  <a:pt x="227" y="401"/>
                  <a:pt x="225" y="395"/>
                  <a:pt x="227" y="390"/>
                </a:cubicBezTo>
                <a:cubicBezTo>
                  <a:pt x="230" y="385"/>
                  <a:pt x="237" y="383"/>
                  <a:pt x="242" y="385"/>
                </a:cubicBezTo>
                <a:cubicBezTo>
                  <a:pt x="245" y="387"/>
                  <a:pt x="245" y="387"/>
                  <a:pt x="245" y="387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ubicBezTo>
                  <a:pt x="266" y="388"/>
                  <a:pt x="266" y="388"/>
                  <a:pt x="266" y="388"/>
                </a:cubicBezTo>
                <a:cubicBezTo>
                  <a:pt x="271" y="386"/>
                  <a:pt x="271" y="386"/>
                  <a:pt x="271" y="386"/>
                </a:cubicBezTo>
                <a:cubicBezTo>
                  <a:pt x="276" y="384"/>
                  <a:pt x="282" y="386"/>
                  <a:pt x="285" y="392"/>
                </a:cubicBezTo>
                <a:cubicBezTo>
                  <a:pt x="287" y="397"/>
                  <a:pt x="285" y="403"/>
                  <a:pt x="280" y="406"/>
                </a:cubicBezTo>
                <a:close/>
                <a:moveTo>
                  <a:pt x="245" y="352"/>
                </a:moveTo>
                <a:cubicBezTo>
                  <a:pt x="245" y="320"/>
                  <a:pt x="245" y="320"/>
                  <a:pt x="245" y="320"/>
                </a:cubicBezTo>
                <a:cubicBezTo>
                  <a:pt x="245" y="314"/>
                  <a:pt x="250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66" y="358"/>
                  <a:pt x="262" y="362"/>
                  <a:pt x="256" y="362"/>
                </a:cubicBezTo>
                <a:cubicBezTo>
                  <a:pt x="250" y="362"/>
                  <a:pt x="245" y="358"/>
                  <a:pt x="245" y="352"/>
                </a:cubicBezTo>
                <a:close/>
                <a:moveTo>
                  <a:pt x="280" y="256"/>
                </a:moveTo>
                <a:cubicBezTo>
                  <a:pt x="266" y="262"/>
                  <a:pt x="266" y="262"/>
                  <a:pt x="266" y="262"/>
                </a:cubicBezTo>
                <a:cubicBezTo>
                  <a:pt x="266" y="277"/>
                  <a:pt x="266" y="277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250" y="288"/>
                  <a:pt x="245" y="283"/>
                  <a:pt x="245" y="277"/>
                </a:cubicBezTo>
                <a:cubicBezTo>
                  <a:pt x="245" y="262"/>
                  <a:pt x="245" y="262"/>
                  <a:pt x="245" y="262"/>
                </a:cubicBezTo>
                <a:cubicBezTo>
                  <a:pt x="232" y="256"/>
                  <a:pt x="232" y="256"/>
                  <a:pt x="232" y="256"/>
                </a:cubicBezTo>
                <a:cubicBezTo>
                  <a:pt x="226" y="254"/>
                  <a:pt x="224" y="248"/>
                  <a:pt x="227" y="242"/>
                </a:cubicBezTo>
                <a:cubicBezTo>
                  <a:pt x="229" y="237"/>
                  <a:pt x="235" y="235"/>
                  <a:pt x="241" y="237"/>
                </a:cubicBezTo>
                <a:cubicBezTo>
                  <a:pt x="256" y="244"/>
                  <a:pt x="256" y="244"/>
                  <a:pt x="256" y="244"/>
                </a:cubicBezTo>
                <a:cubicBezTo>
                  <a:pt x="271" y="237"/>
                  <a:pt x="271" y="237"/>
                  <a:pt x="271" y="237"/>
                </a:cubicBezTo>
                <a:cubicBezTo>
                  <a:pt x="276" y="235"/>
                  <a:pt x="282" y="237"/>
                  <a:pt x="285" y="242"/>
                </a:cubicBezTo>
                <a:cubicBezTo>
                  <a:pt x="287" y="248"/>
                  <a:pt x="285" y="254"/>
                  <a:pt x="280" y="256"/>
                </a:cubicBezTo>
                <a:close/>
                <a:moveTo>
                  <a:pt x="285" y="141"/>
                </a:moveTo>
                <a:cubicBezTo>
                  <a:pt x="283" y="145"/>
                  <a:pt x="279" y="147"/>
                  <a:pt x="275" y="147"/>
                </a:cubicBezTo>
                <a:cubicBezTo>
                  <a:pt x="274" y="147"/>
                  <a:pt x="272" y="147"/>
                  <a:pt x="271" y="146"/>
                </a:cubicBezTo>
                <a:cubicBezTo>
                  <a:pt x="256" y="139"/>
                  <a:pt x="256" y="139"/>
                  <a:pt x="256" y="139"/>
                </a:cubicBezTo>
                <a:cubicBezTo>
                  <a:pt x="241" y="146"/>
                  <a:pt x="241" y="146"/>
                  <a:pt x="241" y="146"/>
                </a:cubicBezTo>
                <a:cubicBezTo>
                  <a:pt x="235" y="149"/>
                  <a:pt x="229" y="146"/>
                  <a:pt x="227" y="141"/>
                </a:cubicBezTo>
                <a:cubicBezTo>
                  <a:pt x="224" y="136"/>
                  <a:pt x="226" y="129"/>
                  <a:pt x="232" y="127"/>
                </a:cubicBezTo>
                <a:cubicBezTo>
                  <a:pt x="251" y="118"/>
                  <a:pt x="251" y="118"/>
                  <a:pt x="251" y="118"/>
                </a:cubicBezTo>
                <a:cubicBezTo>
                  <a:pt x="254" y="117"/>
                  <a:pt x="257" y="117"/>
                  <a:pt x="260" y="118"/>
                </a:cubicBezTo>
                <a:cubicBezTo>
                  <a:pt x="280" y="127"/>
                  <a:pt x="280" y="127"/>
                  <a:pt x="280" y="127"/>
                </a:cubicBezTo>
                <a:cubicBezTo>
                  <a:pt x="285" y="129"/>
                  <a:pt x="287" y="136"/>
                  <a:pt x="285" y="141"/>
                </a:cubicBezTo>
                <a:close/>
                <a:moveTo>
                  <a:pt x="346" y="375"/>
                </a:moveTo>
                <a:cubicBezTo>
                  <a:pt x="313" y="390"/>
                  <a:pt x="313" y="390"/>
                  <a:pt x="313" y="390"/>
                </a:cubicBezTo>
                <a:cubicBezTo>
                  <a:pt x="311" y="391"/>
                  <a:pt x="310" y="391"/>
                  <a:pt x="308" y="391"/>
                </a:cubicBezTo>
                <a:cubicBezTo>
                  <a:pt x="304" y="391"/>
                  <a:pt x="300" y="389"/>
                  <a:pt x="299" y="385"/>
                </a:cubicBezTo>
                <a:cubicBezTo>
                  <a:pt x="296" y="380"/>
                  <a:pt x="299" y="373"/>
                  <a:pt x="304" y="371"/>
                </a:cubicBezTo>
                <a:cubicBezTo>
                  <a:pt x="337" y="356"/>
                  <a:pt x="337" y="356"/>
                  <a:pt x="337" y="356"/>
                </a:cubicBezTo>
                <a:cubicBezTo>
                  <a:pt x="343" y="353"/>
                  <a:pt x="349" y="355"/>
                  <a:pt x="351" y="361"/>
                </a:cubicBezTo>
                <a:cubicBezTo>
                  <a:pt x="354" y="366"/>
                  <a:pt x="351" y="373"/>
                  <a:pt x="346" y="375"/>
                </a:cubicBezTo>
                <a:close/>
                <a:moveTo>
                  <a:pt x="346" y="226"/>
                </a:moveTo>
                <a:cubicBezTo>
                  <a:pt x="313" y="241"/>
                  <a:pt x="313" y="241"/>
                  <a:pt x="313" y="241"/>
                </a:cubicBezTo>
                <a:cubicBezTo>
                  <a:pt x="311" y="242"/>
                  <a:pt x="310" y="242"/>
                  <a:pt x="308" y="242"/>
                </a:cubicBezTo>
                <a:cubicBezTo>
                  <a:pt x="304" y="242"/>
                  <a:pt x="300" y="240"/>
                  <a:pt x="299" y="236"/>
                </a:cubicBezTo>
                <a:cubicBezTo>
                  <a:pt x="296" y="230"/>
                  <a:pt x="299" y="224"/>
                  <a:pt x="304" y="222"/>
                </a:cubicBezTo>
                <a:cubicBezTo>
                  <a:pt x="337" y="206"/>
                  <a:pt x="337" y="206"/>
                  <a:pt x="337" y="206"/>
                </a:cubicBezTo>
                <a:cubicBezTo>
                  <a:pt x="343" y="204"/>
                  <a:pt x="349" y="206"/>
                  <a:pt x="351" y="212"/>
                </a:cubicBezTo>
                <a:cubicBezTo>
                  <a:pt x="354" y="217"/>
                  <a:pt x="351" y="223"/>
                  <a:pt x="346" y="226"/>
                </a:cubicBezTo>
                <a:close/>
                <a:moveTo>
                  <a:pt x="351" y="172"/>
                </a:moveTo>
                <a:cubicBezTo>
                  <a:pt x="350" y="176"/>
                  <a:pt x="346" y="178"/>
                  <a:pt x="342" y="178"/>
                </a:cubicBezTo>
                <a:cubicBezTo>
                  <a:pt x="340" y="178"/>
                  <a:pt x="339" y="178"/>
                  <a:pt x="337" y="177"/>
                </a:cubicBezTo>
                <a:cubicBezTo>
                  <a:pt x="304" y="162"/>
                  <a:pt x="304" y="162"/>
                  <a:pt x="304" y="162"/>
                </a:cubicBezTo>
                <a:cubicBezTo>
                  <a:pt x="299" y="159"/>
                  <a:pt x="296" y="153"/>
                  <a:pt x="299" y="148"/>
                </a:cubicBezTo>
                <a:cubicBezTo>
                  <a:pt x="301" y="142"/>
                  <a:pt x="307" y="140"/>
                  <a:pt x="313" y="142"/>
                </a:cubicBezTo>
                <a:cubicBezTo>
                  <a:pt x="346" y="158"/>
                  <a:pt x="346" y="158"/>
                  <a:pt x="346" y="158"/>
                </a:cubicBezTo>
                <a:cubicBezTo>
                  <a:pt x="351" y="160"/>
                  <a:pt x="354" y="166"/>
                  <a:pt x="351" y="172"/>
                </a:cubicBezTo>
                <a:close/>
                <a:moveTo>
                  <a:pt x="405" y="341"/>
                </a:moveTo>
                <a:cubicBezTo>
                  <a:pt x="405" y="345"/>
                  <a:pt x="403" y="349"/>
                  <a:pt x="399" y="351"/>
                </a:cubicBezTo>
                <a:cubicBezTo>
                  <a:pt x="379" y="360"/>
                  <a:pt x="379" y="360"/>
                  <a:pt x="379" y="360"/>
                </a:cubicBezTo>
                <a:cubicBezTo>
                  <a:pt x="378" y="360"/>
                  <a:pt x="376" y="361"/>
                  <a:pt x="375" y="361"/>
                </a:cubicBezTo>
                <a:cubicBezTo>
                  <a:pt x="371" y="361"/>
                  <a:pt x="367" y="358"/>
                  <a:pt x="365" y="354"/>
                </a:cubicBezTo>
                <a:cubicBezTo>
                  <a:pt x="363" y="349"/>
                  <a:pt x="365" y="343"/>
                  <a:pt x="370" y="340"/>
                </a:cubicBezTo>
                <a:cubicBezTo>
                  <a:pt x="384" y="334"/>
                  <a:pt x="384" y="334"/>
                  <a:pt x="384" y="334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384" y="314"/>
                  <a:pt x="388" y="309"/>
                  <a:pt x="394" y="309"/>
                </a:cubicBezTo>
                <a:cubicBezTo>
                  <a:pt x="400" y="309"/>
                  <a:pt x="405" y="314"/>
                  <a:pt x="405" y="320"/>
                </a:cubicBezTo>
                <a:lnTo>
                  <a:pt x="405" y="341"/>
                </a:lnTo>
                <a:close/>
                <a:moveTo>
                  <a:pt x="405" y="288"/>
                </a:moveTo>
                <a:cubicBezTo>
                  <a:pt x="405" y="294"/>
                  <a:pt x="400" y="298"/>
                  <a:pt x="394" y="298"/>
                </a:cubicBezTo>
                <a:cubicBezTo>
                  <a:pt x="388" y="298"/>
                  <a:pt x="384" y="294"/>
                  <a:pt x="384" y="288"/>
                </a:cubicBezTo>
                <a:cubicBezTo>
                  <a:pt x="384" y="256"/>
                  <a:pt x="384" y="256"/>
                  <a:pt x="384" y="256"/>
                </a:cubicBezTo>
                <a:cubicBezTo>
                  <a:pt x="384" y="250"/>
                  <a:pt x="388" y="245"/>
                  <a:pt x="394" y="245"/>
                </a:cubicBezTo>
                <a:cubicBezTo>
                  <a:pt x="400" y="245"/>
                  <a:pt x="405" y="250"/>
                  <a:pt x="405" y="256"/>
                </a:cubicBezTo>
                <a:lnTo>
                  <a:pt x="405" y="288"/>
                </a:lnTo>
                <a:close/>
                <a:moveTo>
                  <a:pt x="405" y="213"/>
                </a:moveTo>
                <a:cubicBezTo>
                  <a:pt x="405" y="219"/>
                  <a:pt x="400" y="224"/>
                  <a:pt x="394" y="224"/>
                </a:cubicBezTo>
                <a:cubicBezTo>
                  <a:pt x="388" y="224"/>
                  <a:pt x="384" y="219"/>
                  <a:pt x="384" y="213"/>
                </a:cubicBezTo>
                <a:cubicBezTo>
                  <a:pt x="384" y="208"/>
                  <a:pt x="384" y="208"/>
                  <a:pt x="384" y="208"/>
                </a:cubicBezTo>
                <a:cubicBezTo>
                  <a:pt x="379" y="210"/>
                  <a:pt x="379" y="210"/>
                  <a:pt x="379" y="210"/>
                </a:cubicBezTo>
                <a:cubicBezTo>
                  <a:pt x="378" y="211"/>
                  <a:pt x="376" y="211"/>
                  <a:pt x="375" y="211"/>
                </a:cubicBezTo>
                <a:cubicBezTo>
                  <a:pt x="371" y="211"/>
                  <a:pt x="367" y="209"/>
                  <a:pt x="365" y="205"/>
                </a:cubicBezTo>
                <a:cubicBezTo>
                  <a:pt x="363" y="200"/>
                  <a:pt x="365" y="195"/>
                  <a:pt x="369" y="192"/>
                </a:cubicBezTo>
                <a:cubicBezTo>
                  <a:pt x="365" y="189"/>
                  <a:pt x="363" y="183"/>
                  <a:pt x="365" y="178"/>
                </a:cubicBezTo>
                <a:cubicBezTo>
                  <a:pt x="368" y="173"/>
                  <a:pt x="374" y="171"/>
                  <a:pt x="379" y="173"/>
                </a:cubicBezTo>
                <a:cubicBezTo>
                  <a:pt x="399" y="182"/>
                  <a:pt x="399" y="182"/>
                  <a:pt x="399" y="182"/>
                </a:cubicBezTo>
                <a:cubicBezTo>
                  <a:pt x="403" y="184"/>
                  <a:pt x="405" y="188"/>
                  <a:pt x="405" y="192"/>
                </a:cubicBezTo>
                <a:lnTo>
                  <a:pt x="405" y="2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8" name="Group 754"/>
          <p:cNvGrpSpPr>
            <a:grpSpLocks noChangeAspect="1"/>
          </p:cNvGrpSpPr>
          <p:nvPr/>
        </p:nvGrpSpPr>
        <p:grpSpPr bwMode="auto">
          <a:xfrm>
            <a:off x="2935133" y="2922682"/>
            <a:ext cx="367983" cy="369064"/>
            <a:chOff x="2832" y="3277"/>
            <a:chExt cx="340" cy="341"/>
          </a:xfrm>
          <a:solidFill>
            <a:schemeClr val="accent3"/>
          </a:solidFill>
        </p:grpSpPr>
        <p:sp>
          <p:nvSpPr>
            <p:cNvPr id="319" name="Freeform 755"/>
            <p:cNvSpPr>
              <a:spLocks noEditPoints="1"/>
            </p:cNvSpPr>
            <p:nvPr/>
          </p:nvSpPr>
          <p:spPr bwMode="auto">
            <a:xfrm>
              <a:off x="2832" y="327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756"/>
            <p:cNvSpPr>
              <a:spLocks noEditPoints="1"/>
            </p:cNvSpPr>
            <p:nvPr/>
          </p:nvSpPr>
          <p:spPr bwMode="auto">
            <a:xfrm>
              <a:off x="2902" y="3355"/>
              <a:ext cx="199" cy="199"/>
            </a:xfrm>
            <a:custGeom>
              <a:avLst/>
              <a:gdLst>
                <a:gd name="T0" fmla="*/ 165 w 299"/>
                <a:gd name="T1" fmla="*/ 29 h 299"/>
                <a:gd name="T2" fmla="*/ 121 w 299"/>
                <a:gd name="T3" fmla="*/ 24 h 299"/>
                <a:gd name="T4" fmla="*/ 154 w 299"/>
                <a:gd name="T5" fmla="*/ 1 h 299"/>
                <a:gd name="T6" fmla="*/ 64 w 299"/>
                <a:gd name="T7" fmla="*/ 61 h 299"/>
                <a:gd name="T8" fmla="*/ 107 w 299"/>
                <a:gd name="T9" fmla="*/ 31 h 299"/>
                <a:gd name="T10" fmla="*/ 54 w 299"/>
                <a:gd name="T11" fmla="*/ 55 h 299"/>
                <a:gd name="T12" fmla="*/ 26 w 299"/>
                <a:gd name="T13" fmla="*/ 56 h 299"/>
                <a:gd name="T14" fmla="*/ 0 w 299"/>
                <a:gd name="T15" fmla="*/ 96 h 299"/>
                <a:gd name="T16" fmla="*/ 22 w 299"/>
                <a:gd name="T17" fmla="*/ 91 h 299"/>
                <a:gd name="T18" fmla="*/ 40 w 299"/>
                <a:gd name="T19" fmla="*/ 88 h 299"/>
                <a:gd name="T20" fmla="*/ 59 w 299"/>
                <a:gd name="T21" fmla="*/ 109 h 299"/>
                <a:gd name="T22" fmla="*/ 107 w 299"/>
                <a:gd name="T23" fmla="*/ 119 h 299"/>
                <a:gd name="T24" fmla="*/ 54 w 299"/>
                <a:gd name="T25" fmla="*/ 95 h 299"/>
                <a:gd name="T26" fmla="*/ 150 w 299"/>
                <a:gd name="T27" fmla="*/ 127 h 299"/>
                <a:gd name="T28" fmla="*/ 126 w 299"/>
                <a:gd name="T29" fmla="*/ 139 h 299"/>
                <a:gd name="T30" fmla="*/ 150 w 299"/>
                <a:gd name="T31" fmla="*/ 171 h 299"/>
                <a:gd name="T32" fmla="*/ 174 w 299"/>
                <a:gd name="T33" fmla="*/ 139 h 299"/>
                <a:gd name="T34" fmla="*/ 231 w 299"/>
                <a:gd name="T35" fmla="*/ 89 h 299"/>
                <a:gd name="T36" fmla="*/ 202 w 299"/>
                <a:gd name="T37" fmla="*/ 125 h 299"/>
                <a:gd name="T38" fmla="*/ 245 w 299"/>
                <a:gd name="T39" fmla="*/ 95 h 299"/>
                <a:gd name="T40" fmla="*/ 273 w 299"/>
                <a:gd name="T41" fmla="*/ 56 h 299"/>
                <a:gd name="T42" fmla="*/ 259 w 299"/>
                <a:gd name="T43" fmla="*/ 88 h 299"/>
                <a:gd name="T44" fmla="*/ 278 w 299"/>
                <a:gd name="T45" fmla="*/ 91 h 299"/>
                <a:gd name="T46" fmla="*/ 299 w 299"/>
                <a:gd name="T47" fmla="*/ 96 h 299"/>
                <a:gd name="T48" fmla="*/ 240 w 299"/>
                <a:gd name="T49" fmla="*/ 41 h 299"/>
                <a:gd name="T50" fmla="*/ 198 w 299"/>
                <a:gd name="T51" fmla="*/ 45 h 299"/>
                <a:gd name="T52" fmla="*/ 245 w 299"/>
                <a:gd name="T53" fmla="*/ 55 h 299"/>
                <a:gd name="T54" fmla="*/ 22 w 299"/>
                <a:gd name="T55" fmla="*/ 160 h 299"/>
                <a:gd name="T56" fmla="*/ 0 w 299"/>
                <a:gd name="T57" fmla="*/ 128 h 299"/>
                <a:gd name="T58" fmla="*/ 35 w 299"/>
                <a:gd name="T59" fmla="*/ 214 h 299"/>
                <a:gd name="T60" fmla="*/ 11 w 299"/>
                <a:gd name="T61" fmla="*/ 181 h 299"/>
                <a:gd name="T62" fmla="*/ 6 w 299"/>
                <a:gd name="T63" fmla="*/ 223 h 299"/>
                <a:gd name="T64" fmla="*/ 39 w 299"/>
                <a:gd name="T65" fmla="*/ 229 h 299"/>
                <a:gd name="T66" fmla="*/ 69 w 299"/>
                <a:gd name="T67" fmla="*/ 232 h 299"/>
                <a:gd name="T68" fmla="*/ 92 w 299"/>
                <a:gd name="T69" fmla="*/ 269 h 299"/>
                <a:gd name="T70" fmla="*/ 102 w 299"/>
                <a:gd name="T71" fmla="*/ 250 h 299"/>
                <a:gd name="T72" fmla="*/ 160 w 299"/>
                <a:gd name="T73" fmla="*/ 203 h 299"/>
                <a:gd name="T74" fmla="*/ 139 w 299"/>
                <a:gd name="T75" fmla="*/ 235 h 299"/>
                <a:gd name="T76" fmla="*/ 160 w 299"/>
                <a:gd name="T77" fmla="*/ 271 h 299"/>
                <a:gd name="T78" fmla="*/ 139 w 299"/>
                <a:gd name="T79" fmla="*/ 267 h 299"/>
                <a:gd name="T80" fmla="*/ 121 w 299"/>
                <a:gd name="T81" fmla="*/ 273 h 299"/>
                <a:gd name="T82" fmla="*/ 150 w 299"/>
                <a:gd name="T83" fmla="*/ 299 h 299"/>
                <a:gd name="T84" fmla="*/ 174 w 299"/>
                <a:gd name="T85" fmla="*/ 289 h 299"/>
                <a:gd name="T86" fmla="*/ 231 w 299"/>
                <a:gd name="T87" fmla="*/ 239 h 299"/>
                <a:gd name="T88" fmla="*/ 202 w 299"/>
                <a:gd name="T89" fmla="*/ 274 h 299"/>
                <a:gd name="T90" fmla="*/ 245 w 299"/>
                <a:gd name="T91" fmla="*/ 244 h 299"/>
                <a:gd name="T92" fmla="*/ 278 w 299"/>
                <a:gd name="T93" fmla="*/ 203 h 299"/>
                <a:gd name="T94" fmla="*/ 259 w 299"/>
                <a:gd name="T95" fmla="*/ 237 h 299"/>
                <a:gd name="T96" fmla="*/ 293 w 299"/>
                <a:gd name="T97" fmla="*/ 234 h 299"/>
                <a:gd name="T98" fmla="*/ 288 w 299"/>
                <a:gd name="T99" fmla="*/ 192 h 299"/>
                <a:gd name="T100" fmla="*/ 278 w 299"/>
                <a:gd name="T101" fmla="*/ 171 h 299"/>
                <a:gd name="T102" fmla="*/ 299 w 299"/>
                <a:gd name="T103" fmla="*/ 13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9" h="299">
                  <a:moveTo>
                    <a:pt x="179" y="24"/>
                  </a:moveTo>
                  <a:cubicBezTo>
                    <a:pt x="177" y="28"/>
                    <a:pt x="173" y="30"/>
                    <a:pt x="169" y="30"/>
                  </a:cubicBezTo>
                  <a:cubicBezTo>
                    <a:pt x="168" y="30"/>
                    <a:pt x="166" y="30"/>
                    <a:pt x="165" y="29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29" y="32"/>
                    <a:pt x="123" y="29"/>
                    <a:pt x="121" y="24"/>
                  </a:cubicBezTo>
                  <a:cubicBezTo>
                    <a:pt x="118" y="19"/>
                    <a:pt x="120" y="12"/>
                    <a:pt x="126" y="10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8" y="0"/>
                    <a:pt x="151" y="0"/>
                    <a:pt x="154" y="1"/>
                  </a:cubicBezTo>
                  <a:cubicBezTo>
                    <a:pt x="174" y="10"/>
                    <a:pt x="174" y="10"/>
                    <a:pt x="174" y="10"/>
                  </a:cubicBezTo>
                  <a:cubicBezTo>
                    <a:pt x="179" y="12"/>
                    <a:pt x="181" y="19"/>
                    <a:pt x="179" y="24"/>
                  </a:cubicBezTo>
                  <a:close/>
                  <a:moveTo>
                    <a:pt x="64" y="61"/>
                  </a:moveTo>
                  <a:cubicBezTo>
                    <a:pt x="65" y="61"/>
                    <a:pt x="67" y="61"/>
                    <a:pt x="68" y="60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7" y="42"/>
                    <a:pt x="109" y="36"/>
                    <a:pt x="107" y="31"/>
                  </a:cubicBezTo>
                  <a:cubicBezTo>
                    <a:pt x="104" y="25"/>
                    <a:pt x="98" y="23"/>
                    <a:pt x="93" y="25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4" y="43"/>
                    <a:pt x="52" y="49"/>
                    <a:pt x="54" y="55"/>
                  </a:cubicBezTo>
                  <a:cubicBezTo>
                    <a:pt x="56" y="59"/>
                    <a:pt x="60" y="61"/>
                    <a:pt x="64" y="61"/>
                  </a:cubicBezTo>
                  <a:close/>
                  <a:moveTo>
                    <a:pt x="40" y="61"/>
                  </a:moveTo>
                  <a:cubicBezTo>
                    <a:pt x="38" y="56"/>
                    <a:pt x="31" y="54"/>
                    <a:pt x="26" y="56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3" y="67"/>
                    <a:pt x="0" y="71"/>
                    <a:pt x="0" y="75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7"/>
                    <a:pt x="11" y="107"/>
                  </a:cubicBezTo>
                  <a:cubicBezTo>
                    <a:pt x="17" y="107"/>
                    <a:pt x="22" y="102"/>
                    <a:pt x="22" y="96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7" y="94"/>
                    <a:pt x="29" y="94"/>
                    <a:pt x="30" y="94"/>
                  </a:cubicBezTo>
                  <a:cubicBezTo>
                    <a:pt x="34" y="94"/>
                    <a:pt x="38" y="92"/>
                    <a:pt x="40" y="88"/>
                  </a:cubicBezTo>
                  <a:cubicBezTo>
                    <a:pt x="42" y="83"/>
                    <a:pt x="41" y="78"/>
                    <a:pt x="36" y="75"/>
                  </a:cubicBezTo>
                  <a:cubicBezTo>
                    <a:pt x="41" y="72"/>
                    <a:pt x="42" y="66"/>
                    <a:pt x="40" y="61"/>
                  </a:cubicBezTo>
                  <a:close/>
                  <a:moveTo>
                    <a:pt x="59" y="109"/>
                  </a:moveTo>
                  <a:cubicBezTo>
                    <a:pt x="93" y="124"/>
                    <a:pt x="93" y="124"/>
                    <a:pt x="93" y="124"/>
                  </a:cubicBezTo>
                  <a:cubicBezTo>
                    <a:pt x="94" y="125"/>
                    <a:pt x="95" y="125"/>
                    <a:pt x="97" y="125"/>
                  </a:cubicBezTo>
                  <a:cubicBezTo>
                    <a:pt x="101" y="125"/>
                    <a:pt x="105" y="123"/>
                    <a:pt x="107" y="119"/>
                  </a:cubicBezTo>
                  <a:cubicBezTo>
                    <a:pt x="109" y="113"/>
                    <a:pt x="107" y="107"/>
                    <a:pt x="101" y="105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3" y="87"/>
                    <a:pt x="56" y="89"/>
                    <a:pt x="54" y="95"/>
                  </a:cubicBezTo>
                  <a:cubicBezTo>
                    <a:pt x="52" y="100"/>
                    <a:pt x="54" y="106"/>
                    <a:pt x="59" y="109"/>
                  </a:cubicBezTo>
                  <a:close/>
                  <a:moveTo>
                    <a:pt x="165" y="120"/>
                  </a:moveTo>
                  <a:cubicBezTo>
                    <a:pt x="150" y="127"/>
                    <a:pt x="150" y="127"/>
                    <a:pt x="150" y="127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29" y="118"/>
                    <a:pt x="123" y="120"/>
                    <a:pt x="121" y="125"/>
                  </a:cubicBezTo>
                  <a:cubicBezTo>
                    <a:pt x="118" y="131"/>
                    <a:pt x="120" y="137"/>
                    <a:pt x="126" y="139"/>
                  </a:cubicBezTo>
                  <a:cubicBezTo>
                    <a:pt x="139" y="145"/>
                    <a:pt x="139" y="145"/>
                    <a:pt x="139" y="145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9" y="166"/>
                    <a:pt x="144" y="171"/>
                    <a:pt x="150" y="171"/>
                  </a:cubicBezTo>
                  <a:cubicBezTo>
                    <a:pt x="156" y="171"/>
                    <a:pt x="160" y="166"/>
                    <a:pt x="160" y="160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9" y="137"/>
                    <a:pt x="181" y="131"/>
                    <a:pt x="179" y="125"/>
                  </a:cubicBezTo>
                  <a:cubicBezTo>
                    <a:pt x="176" y="120"/>
                    <a:pt x="170" y="118"/>
                    <a:pt x="165" y="120"/>
                  </a:cubicBezTo>
                  <a:close/>
                  <a:moveTo>
                    <a:pt x="231" y="89"/>
                  </a:moveTo>
                  <a:cubicBezTo>
                    <a:pt x="198" y="105"/>
                    <a:pt x="198" y="105"/>
                    <a:pt x="198" y="105"/>
                  </a:cubicBezTo>
                  <a:cubicBezTo>
                    <a:pt x="193" y="107"/>
                    <a:pt x="190" y="113"/>
                    <a:pt x="193" y="119"/>
                  </a:cubicBezTo>
                  <a:cubicBezTo>
                    <a:pt x="194" y="123"/>
                    <a:pt x="198" y="125"/>
                    <a:pt x="202" y="125"/>
                  </a:cubicBezTo>
                  <a:cubicBezTo>
                    <a:pt x="204" y="125"/>
                    <a:pt x="205" y="125"/>
                    <a:pt x="207" y="124"/>
                  </a:cubicBezTo>
                  <a:cubicBezTo>
                    <a:pt x="240" y="109"/>
                    <a:pt x="240" y="109"/>
                    <a:pt x="240" y="109"/>
                  </a:cubicBezTo>
                  <a:cubicBezTo>
                    <a:pt x="245" y="106"/>
                    <a:pt x="248" y="100"/>
                    <a:pt x="245" y="95"/>
                  </a:cubicBezTo>
                  <a:cubicBezTo>
                    <a:pt x="243" y="89"/>
                    <a:pt x="237" y="87"/>
                    <a:pt x="231" y="89"/>
                  </a:cubicBezTo>
                  <a:close/>
                  <a:moveTo>
                    <a:pt x="293" y="65"/>
                  </a:moveTo>
                  <a:cubicBezTo>
                    <a:pt x="273" y="56"/>
                    <a:pt x="273" y="56"/>
                    <a:pt x="273" y="56"/>
                  </a:cubicBezTo>
                  <a:cubicBezTo>
                    <a:pt x="268" y="54"/>
                    <a:pt x="262" y="56"/>
                    <a:pt x="259" y="61"/>
                  </a:cubicBezTo>
                  <a:cubicBezTo>
                    <a:pt x="257" y="66"/>
                    <a:pt x="259" y="72"/>
                    <a:pt x="263" y="75"/>
                  </a:cubicBezTo>
                  <a:cubicBezTo>
                    <a:pt x="259" y="78"/>
                    <a:pt x="257" y="83"/>
                    <a:pt x="259" y="88"/>
                  </a:cubicBezTo>
                  <a:cubicBezTo>
                    <a:pt x="261" y="92"/>
                    <a:pt x="265" y="94"/>
                    <a:pt x="269" y="94"/>
                  </a:cubicBezTo>
                  <a:cubicBezTo>
                    <a:pt x="270" y="94"/>
                    <a:pt x="272" y="94"/>
                    <a:pt x="273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78" y="96"/>
                    <a:pt x="278" y="96"/>
                    <a:pt x="278" y="96"/>
                  </a:cubicBezTo>
                  <a:cubicBezTo>
                    <a:pt x="278" y="102"/>
                    <a:pt x="282" y="107"/>
                    <a:pt x="288" y="107"/>
                  </a:cubicBezTo>
                  <a:cubicBezTo>
                    <a:pt x="294" y="107"/>
                    <a:pt x="299" y="102"/>
                    <a:pt x="299" y="96"/>
                  </a:cubicBezTo>
                  <a:cubicBezTo>
                    <a:pt x="299" y="75"/>
                    <a:pt x="299" y="75"/>
                    <a:pt x="299" y="75"/>
                  </a:cubicBezTo>
                  <a:cubicBezTo>
                    <a:pt x="299" y="71"/>
                    <a:pt x="297" y="67"/>
                    <a:pt x="293" y="65"/>
                  </a:cubicBezTo>
                  <a:close/>
                  <a:moveTo>
                    <a:pt x="240" y="41"/>
                  </a:moveTo>
                  <a:cubicBezTo>
                    <a:pt x="207" y="25"/>
                    <a:pt x="207" y="25"/>
                    <a:pt x="207" y="25"/>
                  </a:cubicBezTo>
                  <a:cubicBezTo>
                    <a:pt x="201" y="23"/>
                    <a:pt x="195" y="25"/>
                    <a:pt x="193" y="31"/>
                  </a:cubicBezTo>
                  <a:cubicBezTo>
                    <a:pt x="190" y="36"/>
                    <a:pt x="193" y="42"/>
                    <a:pt x="198" y="45"/>
                  </a:cubicBezTo>
                  <a:cubicBezTo>
                    <a:pt x="231" y="60"/>
                    <a:pt x="231" y="60"/>
                    <a:pt x="231" y="60"/>
                  </a:cubicBezTo>
                  <a:cubicBezTo>
                    <a:pt x="233" y="61"/>
                    <a:pt x="234" y="61"/>
                    <a:pt x="236" y="61"/>
                  </a:cubicBezTo>
                  <a:cubicBezTo>
                    <a:pt x="240" y="61"/>
                    <a:pt x="244" y="59"/>
                    <a:pt x="245" y="55"/>
                  </a:cubicBezTo>
                  <a:cubicBezTo>
                    <a:pt x="248" y="49"/>
                    <a:pt x="245" y="43"/>
                    <a:pt x="240" y="41"/>
                  </a:cubicBezTo>
                  <a:close/>
                  <a:moveTo>
                    <a:pt x="11" y="171"/>
                  </a:moveTo>
                  <a:cubicBezTo>
                    <a:pt x="17" y="171"/>
                    <a:pt x="22" y="166"/>
                    <a:pt x="22" y="16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2"/>
                    <a:pt x="17" y="117"/>
                    <a:pt x="11" y="117"/>
                  </a:cubicBezTo>
                  <a:cubicBezTo>
                    <a:pt x="5" y="117"/>
                    <a:pt x="0" y="122"/>
                    <a:pt x="0" y="128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35" y="214"/>
                  </a:moveTo>
                  <a:cubicBezTo>
                    <a:pt x="22" y="207"/>
                    <a:pt x="22" y="207"/>
                    <a:pt x="22" y="207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22" y="186"/>
                    <a:pt x="17" y="181"/>
                    <a:pt x="11" y="181"/>
                  </a:cubicBezTo>
                  <a:cubicBezTo>
                    <a:pt x="5" y="181"/>
                    <a:pt x="0" y="186"/>
                    <a:pt x="0" y="192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7"/>
                    <a:pt x="2" y="221"/>
                    <a:pt x="6" y="223"/>
                  </a:cubicBezTo>
                  <a:cubicBezTo>
                    <a:pt x="25" y="233"/>
                    <a:pt x="25" y="233"/>
                    <a:pt x="25" y="233"/>
                  </a:cubicBezTo>
                  <a:cubicBezTo>
                    <a:pt x="26" y="234"/>
                    <a:pt x="28" y="234"/>
                    <a:pt x="30" y="234"/>
                  </a:cubicBezTo>
                  <a:cubicBezTo>
                    <a:pt x="34" y="234"/>
                    <a:pt x="37" y="232"/>
                    <a:pt x="39" y="229"/>
                  </a:cubicBezTo>
                  <a:cubicBezTo>
                    <a:pt x="42" y="223"/>
                    <a:pt x="40" y="217"/>
                    <a:pt x="35" y="214"/>
                  </a:cubicBezTo>
                  <a:close/>
                  <a:moveTo>
                    <a:pt x="102" y="250"/>
                  </a:moveTo>
                  <a:cubicBezTo>
                    <a:pt x="69" y="232"/>
                    <a:pt x="69" y="232"/>
                    <a:pt x="69" y="232"/>
                  </a:cubicBezTo>
                  <a:cubicBezTo>
                    <a:pt x="63" y="229"/>
                    <a:pt x="57" y="231"/>
                    <a:pt x="54" y="237"/>
                  </a:cubicBezTo>
                  <a:cubicBezTo>
                    <a:pt x="51" y="242"/>
                    <a:pt x="53" y="248"/>
                    <a:pt x="58" y="251"/>
                  </a:cubicBezTo>
                  <a:cubicBezTo>
                    <a:pt x="92" y="269"/>
                    <a:pt x="92" y="269"/>
                    <a:pt x="92" y="269"/>
                  </a:cubicBezTo>
                  <a:cubicBezTo>
                    <a:pt x="94" y="270"/>
                    <a:pt x="95" y="270"/>
                    <a:pt x="97" y="270"/>
                  </a:cubicBezTo>
                  <a:cubicBezTo>
                    <a:pt x="101" y="270"/>
                    <a:pt x="105" y="268"/>
                    <a:pt x="107" y="265"/>
                  </a:cubicBezTo>
                  <a:cubicBezTo>
                    <a:pt x="109" y="260"/>
                    <a:pt x="107" y="253"/>
                    <a:pt x="102" y="250"/>
                  </a:cubicBezTo>
                  <a:close/>
                  <a:moveTo>
                    <a:pt x="150" y="245"/>
                  </a:moveTo>
                  <a:cubicBezTo>
                    <a:pt x="156" y="245"/>
                    <a:pt x="160" y="241"/>
                    <a:pt x="160" y="235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60" y="197"/>
                    <a:pt x="156" y="192"/>
                    <a:pt x="150" y="192"/>
                  </a:cubicBezTo>
                  <a:cubicBezTo>
                    <a:pt x="144" y="192"/>
                    <a:pt x="139" y="197"/>
                    <a:pt x="139" y="203"/>
                  </a:cubicBezTo>
                  <a:cubicBezTo>
                    <a:pt x="139" y="235"/>
                    <a:pt x="139" y="235"/>
                    <a:pt x="139" y="235"/>
                  </a:cubicBezTo>
                  <a:cubicBezTo>
                    <a:pt x="139" y="241"/>
                    <a:pt x="144" y="245"/>
                    <a:pt x="150" y="245"/>
                  </a:cubicBezTo>
                  <a:close/>
                  <a:moveTo>
                    <a:pt x="165" y="269"/>
                  </a:moveTo>
                  <a:cubicBezTo>
                    <a:pt x="160" y="271"/>
                    <a:pt x="160" y="271"/>
                    <a:pt x="160" y="271"/>
                  </a:cubicBezTo>
                  <a:cubicBezTo>
                    <a:pt x="160" y="267"/>
                    <a:pt x="160" y="267"/>
                    <a:pt x="160" y="267"/>
                  </a:cubicBezTo>
                  <a:cubicBezTo>
                    <a:pt x="160" y="261"/>
                    <a:pt x="156" y="256"/>
                    <a:pt x="150" y="256"/>
                  </a:cubicBezTo>
                  <a:cubicBezTo>
                    <a:pt x="144" y="256"/>
                    <a:pt x="139" y="261"/>
                    <a:pt x="139" y="267"/>
                  </a:cubicBezTo>
                  <a:cubicBezTo>
                    <a:pt x="139" y="270"/>
                    <a:pt x="139" y="270"/>
                    <a:pt x="139" y="270"/>
                  </a:cubicBezTo>
                  <a:cubicBezTo>
                    <a:pt x="136" y="268"/>
                    <a:pt x="136" y="268"/>
                    <a:pt x="136" y="268"/>
                  </a:cubicBezTo>
                  <a:cubicBezTo>
                    <a:pt x="131" y="266"/>
                    <a:pt x="124" y="268"/>
                    <a:pt x="121" y="273"/>
                  </a:cubicBezTo>
                  <a:cubicBezTo>
                    <a:pt x="119" y="278"/>
                    <a:pt x="121" y="284"/>
                    <a:pt x="126" y="287"/>
                  </a:cubicBezTo>
                  <a:cubicBezTo>
                    <a:pt x="145" y="297"/>
                    <a:pt x="145" y="297"/>
                    <a:pt x="145" y="297"/>
                  </a:cubicBezTo>
                  <a:cubicBezTo>
                    <a:pt x="146" y="298"/>
                    <a:pt x="148" y="299"/>
                    <a:pt x="150" y="299"/>
                  </a:cubicBezTo>
                  <a:cubicBezTo>
                    <a:pt x="151" y="299"/>
                    <a:pt x="153" y="298"/>
                    <a:pt x="154" y="298"/>
                  </a:cubicBezTo>
                  <a:cubicBezTo>
                    <a:pt x="154" y="298"/>
                    <a:pt x="154" y="298"/>
                    <a:pt x="154" y="298"/>
                  </a:cubicBezTo>
                  <a:cubicBezTo>
                    <a:pt x="174" y="289"/>
                    <a:pt x="174" y="289"/>
                    <a:pt x="174" y="289"/>
                  </a:cubicBezTo>
                  <a:cubicBezTo>
                    <a:pt x="179" y="286"/>
                    <a:pt x="181" y="280"/>
                    <a:pt x="179" y="275"/>
                  </a:cubicBezTo>
                  <a:cubicBezTo>
                    <a:pt x="176" y="269"/>
                    <a:pt x="170" y="267"/>
                    <a:pt x="165" y="269"/>
                  </a:cubicBezTo>
                  <a:close/>
                  <a:moveTo>
                    <a:pt x="231" y="239"/>
                  </a:moveTo>
                  <a:cubicBezTo>
                    <a:pt x="198" y="254"/>
                    <a:pt x="198" y="254"/>
                    <a:pt x="198" y="254"/>
                  </a:cubicBezTo>
                  <a:cubicBezTo>
                    <a:pt x="193" y="256"/>
                    <a:pt x="190" y="263"/>
                    <a:pt x="193" y="268"/>
                  </a:cubicBezTo>
                  <a:cubicBezTo>
                    <a:pt x="194" y="272"/>
                    <a:pt x="198" y="274"/>
                    <a:pt x="202" y="274"/>
                  </a:cubicBezTo>
                  <a:cubicBezTo>
                    <a:pt x="204" y="274"/>
                    <a:pt x="205" y="274"/>
                    <a:pt x="207" y="273"/>
                  </a:cubicBezTo>
                  <a:cubicBezTo>
                    <a:pt x="240" y="258"/>
                    <a:pt x="240" y="258"/>
                    <a:pt x="240" y="258"/>
                  </a:cubicBezTo>
                  <a:cubicBezTo>
                    <a:pt x="245" y="256"/>
                    <a:pt x="248" y="249"/>
                    <a:pt x="245" y="244"/>
                  </a:cubicBezTo>
                  <a:cubicBezTo>
                    <a:pt x="243" y="238"/>
                    <a:pt x="237" y="236"/>
                    <a:pt x="231" y="239"/>
                  </a:cubicBezTo>
                  <a:close/>
                  <a:moveTo>
                    <a:pt x="288" y="192"/>
                  </a:moveTo>
                  <a:cubicBezTo>
                    <a:pt x="282" y="192"/>
                    <a:pt x="278" y="197"/>
                    <a:pt x="278" y="203"/>
                  </a:cubicBezTo>
                  <a:cubicBezTo>
                    <a:pt x="278" y="217"/>
                    <a:pt x="278" y="217"/>
                    <a:pt x="278" y="217"/>
                  </a:cubicBezTo>
                  <a:cubicBezTo>
                    <a:pt x="264" y="223"/>
                    <a:pt x="264" y="223"/>
                    <a:pt x="264" y="223"/>
                  </a:cubicBezTo>
                  <a:cubicBezTo>
                    <a:pt x="259" y="226"/>
                    <a:pt x="257" y="232"/>
                    <a:pt x="259" y="237"/>
                  </a:cubicBezTo>
                  <a:cubicBezTo>
                    <a:pt x="261" y="241"/>
                    <a:pt x="265" y="244"/>
                    <a:pt x="269" y="244"/>
                  </a:cubicBezTo>
                  <a:cubicBezTo>
                    <a:pt x="270" y="244"/>
                    <a:pt x="272" y="243"/>
                    <a:pt x="273" y="243"/>
                  </a:cubicBezTo>
                  <a:cubicBezTo>
                    <a:pt x="293" y="234"/>
                    <a:pt x="293" y="234"/>
                    <a:pt x="293" y="234"/>
                  </a:cubicBezTo>
                  <a:cubicBezTo>
                    <a:pt x="297" y="232"/>
                    <a:pt x="299" y="228"/>
                    <a:pt x="299" y="224"/>
                  </a:cubicBezTo>
                  <a:cubicBezTo>
                    <a:pt x="299" y="203"/>
                    <a:pt x="299" y="203"/>
                    <a:pt x="299" y="203"/>
                  </a:cubicBezTo>
                  <a:cubicBezTo>
                    <a:pt x="299" y="197"/>
                    <a:pt x="294" y="192"/>
                    <a:pt x="288" y="192"/>
                  </a:cubicBezTo>
                  <a:close/>
                  <a:moveTo>
                    <a:pt x="288" y="128"/>
                  </a:moveTo>
                  <a:cubicBezTo>
                    <a:pt x="282" y="128"/>
                    <a:pt x="278" y="133"/>
                    <a:pt x="278" y="139"/>
                  </a:cubicBezTo>
                  <a:cubicBezTo>
                    <a:pt x="278" y="171"/>
                    <a:pt x="278" y="171"/>
                    <a:pt x="278" y="171"/>
                  </a:cubicBezTo>
                  <a:cubicBezTo>
                    <a:pt x="278" y="177"/>
                    <a:pt x="282" y="181"/>
                    <a:pt x="288" y="181"/>
                  </a:cubicBezTo>
                  <a:cubicBezTo>
                    <a:pt x="294" y="181"/>
                    <a:pt x="299" y="177"/>
                    <a:pt x="299" y="171"/>
                  </a:cubicBezTo>
                  <a:cubicBezTo>
                    <a:pt x="299" y="139"/>
                    <a:pt x="299" y="139"/>
                    <a:pt x="299" y="139"/>
                  </a:cubicBezTo>
                  <a:cubicBezTo>
                    <a:pt x="299" y="133"/>
                    <a:pt x="294" y="128"/>
                    <a:pt x="288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16" name="Group 574"/>
          <p:cNvGrpSpPr>
            <a:grpSpLocks noChangeAspect="1"/>
          </p:cNvGrpSpPr>
          <p:nvPr/>
        </p:nvGrpSpPr>
        <p:grpSpPr bwMode="auto">
          <a:xfrm>
            <a:off x="1931960" y="2922686"/>
            <a:ext cx="369676" cy="370763"/>
            <a:chOff x="1921" y="1949"/>
            <a:chExt cx="340" cy="341"/>
          </a:xfrm>
          <a:solidFill>
            <a:schemeClr val="accent6"/>
          </a:solidFill>
        </p:grpSpPr>
        <p:sp>
          <p:nvSpPr>
            <p:cNvPr id="217" name="Freeform 575"/>
            <p:cNvSpPr>
              <a:spLocks noEditPoints="1"/>
            </p:cNvSpPr>
            <p:nvPr/>
          </p:nvSpPr>
          <p:spPr bwMode="auto">
            <a:xfrm>
              <a:off x="1921" y="194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Freeform 576"/>
            <p:cNvSpPr>
              <a:spLocks noEditPoints="1"/>
            </p:cNvSpPr>
            <p:nvPr/>
          </p:nvSpPr>
          <p:spPr bwMode="auto">
            <a:xfrm>
              <a:off x="1985" y="2041"/>
              <a:ext cx="212" cy="156"/>
            </a:xfrm>
            <a:custGeom>
              <a:avLst/>
              <a:gdLst>
                <a:gd name="T0" fmla="*/ 309 w 320"/>
                <a:gd name="T1" fmla="*/ 43 h 235"/>
                <a:gd name="T2" fmla="*/ 234 w 320"/>
                <a:gd name="T3" fmla="*/ 43 h 235"/>
                <a:gd name="T4" fmla="*/ 192 w 320"/>
                <a:gd name="T5" fmla="*/ 0 h 235"/>
                <a:gd name="T6" fmla="*/ 128 w 320"/>
                <a:gd name="T7" fmla="*/ 0 h 235"/>
                <a:gd name="T8" fmla="*/ 85 w 320"/>
                <a:gd name="T9" fmla="*/ 43 h 235"/>
                <a:gd name="T10" fmla="*/ 10 w 320"/>
                <a:gd name="T11" fmla="*/ 43 h 235"/>
                <a:gd name="T12" fmla="*/ 0 w 320"/>
                <a:gd name="T13" fmla="*/ 54 h 235"/>
                <a:gd name="T14" fmla="*/ 0 w 320"/>
                <a:gd name="T15" fmla="*/ 118 h 235"/>
                <a:gd name="T16" fmla="*/ 10 w 320"/>
                <a:gd name="T17" fmla="*/ 128 h 235"/>
                <a:gd name="T18" fmla="*/ 21 w 320"/>
                <a:gd name="T19" fmla="*/ 128 h 235"/>
                <a:gd name="T20" fmla="*/ 21 w 320"/>
                <a:gd name="T21" fmla="*/ 224 h 235"/>
                <a:gd name="T22" fmla="*/ 32 w 320"/>
                <a:gd name="T23" fmla="*/ 235 h 235"/>
                <a:gd name="T24" fmla="*/ 288 w 320"/>
                <a:gd name="T25" fmla="*/ 235 h 235"/>
                <a:gd name="T26" fmla="*/ 298 w 320"/>
                <a:gd name="T27" fmla="*/ 224 h 235"/>
                <a:gd name="T28" fmla="*/ 298 w 320"/>
                <a:gd name="T29" fmla="*/ 128 h 235"/>
                <a:gd name="T30" fmla="*/ 309 w 320"/>
                <a:gd name="T31" fmla="*/ 128 h 235"/>
                <a:gd name="T32" fmla="*/ 320 w 320"/>
                <a:gd name="T33" fmla="*/ 118 h 235"/>
                <a:gd name="T34" fmla="*/ 320 w 320"/>
                <a:gd name="T35" fmla="*/ 54 h 235"/>
                <a:gd name="T36" fmla="*/ 309 w 320"/>
                <a:gd name="T37" fmla="*/ 43 h 235"/>
                <a:gd name="T38" fmla="*/ 128 w 320"/>
                <a:gd name="T39" fmla="*/ 22 h 235"/>
                <a:gd name="T40" fmla="*/ 192 w 320"/>
                <a:gd name="T41" fmla="*/ 22 h 235"/>
                <a:gd name="T42" fmla="*/ 213 w 320"/>
                <a:gd name="T43" fmla="*/ 43 h 235"/>
                <a:gd name="T44" fmla="*/ 106 w 320"/>
                <a:gd name="T45" fmla="*/ 43 h 235"/>
                <a:gd name="T46" fmla="*/ 128 w 320"/>
                <a:gd name="T47" fmla="*/ 22 h 235"/>
                <a:gd name="T48" fmla="*/ 277 w 320"/>
                <a:gd name="T49" fmla="*/ 214 h 235"/>
                <a:gd name="T50" fmla="*/ 42 w 320"/>
                <a:gd name="T51" fmla="*/ 214 h 235"/>
                <a:gd name="T52" fmla="*/ 42 w 320"/>
                <a:gd name="T53" fmla="*/ 128 h 235"/>
                <a:gd name="T54" fmla="*/ 128 w 320"/>
                <a:gd name="T55" fmla="*/ 128 h 235"/>
                <a:gd name="T56" fmla="*/ 128 w 320"/>
                <a:gd name="T57" fmla="*/ 139 h 235"/>
                <a:gd name="T58" fmla="*/ 138 w 320"/>
                <a:gd name="T59" fmla="*/ 150 h 235"/>
                <a:gd name="T60" fmla="*/ 181 w 320"/>
                <a:gd name="T61" fmla="*/ 150 h 235"/>
                <a:gd name="T62" fmla="*/ 192 w 320"/>
                <a:gd name="T63" fmla="*/ 139 h 235"/>
                <a:gd name="T64" fmla="*/ 192 w 320"/>
                <a:gd name="T65" fmla="*/ 128 h 235"/>
                <a:gd name="T66" fmla="*/ 277 w 320"/>
                <a:gd name="T67" fmla="*/ 128 h 235"/>
                <a:gd name="T68" fmla="*/ 277 w 320"/>
                <a:gd name="T69" fmla="*/ 214 h 235"/>
                <a:gd name="T70" fmla="*/ 170 w 320"/>
                <a:gd name="T71" fmla="*/ 128 h 235"/>
                <a:gd name="T72" fmla="*/ 149 w 320"/>
                <a:gd name="T73" fmla="*/ 128 h 235"/>
                <a:gd name="T74" fmla="*/ 149 w 320"/>
                <a:gd name="T75" fmla="*/ 107 h 235"/>
                <a:gd name="T76" fmla="*/ 170 w 320"/>
                <a:gd name="T77" fmla="*/ 107 h 235"/>
                <a:gd name="T78" fmla="*/ 170 w 320"/>
                <a:gd name="T79" fmla="*/ 128 h 235"/>
                <a:gd name="T80" fmla="*/ 298 w 320"/>
                <a:gd name="T81" fmla="*/ 107 h 235"/>
                <a:gd name="T82" fmla="*/ 192 w 320"/>
                <a:gd name="T83" fmla="*/ 107 h 235"/>
                <a:gd name="T84" fmla="*/ 192 w 320"/>
                <a:gd name="T85" fmla="*/ 96 h 235"/>
                <a:gd name="T86" fmla="*/ 181 w 320"/>
                <a:gd name="T87" fmla="*/ 86 h 235"/>
                <a:gd name="T88" fmla="*/ 138 w 320"/>
                <a:gd name="T89" fmla="*/ 86 h 235"/>
                <a:gd name="T90" fmla="*/ 128 w 320"/>
                <a:gd name="T91" fmla="*/ 96 h 235"/>
                <a:gd name="T92" fmla="*/ 128 w 320"/>
                <a:gd name="T93" fmla="*/ 107 h 235"/>
                <a:gd name="T94" fmla="*/ 21 w 320"/>
                <a:gd name="T95" fmla="*/ 107 h 235"/>
                <a:gd name="T96" fmla="*/ 21 w 320"/>
                <a:gd name="T97" fmla="*/ 64 h 235"/>
                <a:gd name="T98" fmla="*/ 298 w 320"/>
                <a:gd name="T99" fmla="*/ 64 h 235"/>
                <a:gd name="T100" fmla="*/ 298 w 320"/>
                <a:gd name="T101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235">
                  <a:moveTo>
                    <a:pt x="309" y="43"/>
                  </a:moveTo>
                  <a:cubicBezTo>
                    <a:pt x="234" y="43"/>
                    <a:pt x="234" y="43"/>
                    <a:pt x="234" y="43"/>
                  </a:cubicBezTo>
                  <a:cubicBezTo>
                    <a:pt x="234" y="19"/>
                    <a:pt x="215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04" y="0"/>
                    <a:pt x="85" y="19"/>
                    <a:pt x="85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4" y="43"/>
                    <a:pt x="0" y="48"/>
                    <a:pt x="0" y="5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4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288" y="235"/>
                    <a:pt x="288" y="235"/>
                    <a:pt x="288" y="235"/>
                  </a:cubicBezTo>
                  <a:cubicBezTo>
                    <a:pt x="294" y="235"/>
                    <a:pt x="298" y="230"/>
                    <a:pt x="298" y="224"/>
                  </a:cubicBezTo>
                  <a:cubicBezTo>
                    <a:pt x="298" y="128"/>
                    <a:pt x="298" y="128"/>
                    <a:pt x="298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4"/>
                    <a:pt x="320" y="118"/>
                  </a:cubicBezTo>
                  <a:cubicBezTo>
                    <a:pt x="320" y="54"/>
                    <a:pt x="320" y="54"/>
                    <a:pt x="320" y="54"/>
                  </a:cubicBezTo>
                  <a:cubicBezTo>
                    <a:pt x="320" y="48"/>
                    <a:pt x="315" y="43"/>
                    <a:pt x="309" y="43"/>
                  </a:cubicBezTo>
                  <a:close/>
                  <a:moveTo>
                    <a:pt x="128" y="22"/>
                  </a:moveTo>
                  <a:cubicBezTo>
                    <a:pt x="192" y="22"/>
                    <a:pt x="192" y="22"/>
                    <a:pt x="192" y="22"/>
                  </a:cubicBezTo>
                  <a:cubicBezTo>
                    <a:pt x="203" y="22"/>
                    <a:pt x="213" y="31"/>
                    <a:pt x="213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31"/>
                    <a:pt x="116" y="22"/>
                    <a:pt x="128" y="22"/>
                  </a:cubicBezTo>
                  <a:close/>
                  <a:moveTo>
                    <a:pt x="277" y="214"/>
                  </a:moveTo>
                  <a:cubicBezTo>
                    <a:pt x="42" y="214"/>
                    <a:pt x="42" y="214"/>
                    <a:pt x="42" y="21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8" y="145"/>
                    <a:pt x="132" y="150"/>
                    <a:pt x="138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187" y="150"/>
                    <a:pt x="192" y="145"/>
                    <a:pt x="192" y="139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277" y="128"/>
                    <a:pt x="277" y="128"/>
                    <a:pt x="277" y="128"/>
                  </a:cubicBezTo>
                  <a:lnTo>
                    <a:pt x="277" y="214"/>
                  </a:lnTo>
                  <a:close/>
                  <a:moveTo>
                    <a:pt x="170" y="128"/>
                  </a:moveTo>
                  <a:cubicBezTo>
                    <a:pt x="149" y="128"/>
                    <a:pt x="149" y="128"/>
                    <a:pt x="149" y="128"/>
                  </a:cubicBezTo>
                  <a:cubicBezTo>
                    <a:pt x="149" y="107"/>
                    <a:pt x="149" y="107"/>
                    <a:pt x="149" y="107"/>
                  </a:cubicBezTo>
                  <a:cubicBezTo>
                    <a:pt x="170" y="107"/>
                    <a:pt x="170" y="107"/>
                    <a:pt x="170" y="107"/>
                  </a:cubicBezTo>
                  <a:lnTo>
                    <a:pt x="170" y="128"/>
                  </a:lnTo>
                  <a:close/>
                  <a:moveTo>
                    <a:pt x="298" y="107"/>
                  </a:moveTo>
                  <a:cubicBezTo>
                    <a:pt x="192" y="107"/>
                    <a:pt x="192" y="107"/>
                    <a:pt x="192" y="107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92" y="90"/>
                    <a:pt x="187" y="86"/>
                    <a:pt x="181" y="86"/>
                  </a:cubicBezTo>
                  <a:cubicBezTo>
                    <a:pt x="138" y="86"/>
                    <a:pt x="138" y="86"/>
                    <a:pt x="138" y="86"/>
                  </a:cubicBezTo>
                  <a:cubicBezTo>
                    <a:pt x="132" y="86"/>
                    <a:pt x="128" y="90"/>
                    <a:pt x="128" y="96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9" name="Freeform 580"/>
          <p:cNvSpPr>
            <a:spLocks noChangeAspect="1" noEditPoints="1"/>
          </p:cNvSpPr>
          <p:nvPr/>
        </p:nvSpPr>
        <p:spPr bwMode="auto">
          <a:xfrm>
            <a:off x="1428439" y="2922683"/>
            <a:ext cx="370763" cy="369676"/>
          </a:xfrm>
          <a:custGeom>
            <a:avLst/>
            <a:gdLst>
              <a:gd name="T0" fmla="*/ 288 w 512"/>
              <a:gd name="T1" fmla="*/ 266 h 512"/>
              <a:gd name="T2" fmla="*/ 373 w 512"/>
              <a:gd name="T3" fmla="*/ 266 h 512"/>
              <a:gd name="T4" fmla="*/ 373 w 512"/>
              <a:gd name="T5" fmla="*/ 352 h 512"/>
              <a:gd name="T6" fmla="*/ 138 w 512"/>
              <a:gd name="T7" fmla="*/ 352 h 512"/>
              <a:gd name="T8" fmla="*/ 138 w 512"/>
              <a:gd name="T9" fmla="*/ 266 h 512"/>
              <a:gd name="T10" fmla="*/ 224 w 512"/>
              <a:gd name="T11" fmla="*/ 266 h 512"/>
              <a:gd name="T12" fmla="*/ 224 w 512"/>
              <a:gd name="T13" fmla="*/ 277 h 512"/>
              <a:gd name="T14" fmla="*/ 234 w 512"/>
              <a:gd name="T15" fmla="*/ 288 h 512"/>
              <a:gd name="T16" fmla="*/ 277 w 512"/>
              <a:gd name="T17" fmla="*/ 288 h 512"/>
              <a:gd name="T18" fmla="*/ 288 w 512"/>
              <a:gd name="T19" fmla="*/ 277 h 512"/>
              <a:gd name="T20" fmla="*/ 288 w 512"/>
              <a:gd name="T21" fmla="*/ 266 h 512"/>
              <a:gd name="T22" fmla="*/ 245 w 512"/>
              <a:gd name="T23" fmla="*/ 245 h 512"/>
              <a:gd name="T24" fmla="*/ 245 w 512"/>
              <a:gd name="T25" fmla="*/ 266 h 512"/>
              <a:gd name="T26" fmla="*/ 266 w 512"/>
              <a:gd name="T27" fmla="*/ 266 h 512"/>
              <a:gd name="T28" fmla="*/ 266 w 512"/>
              <a:gd name="T29" fmla="*/ 245 h 512"/>
              <a:gd name="T30" fmla="*/ 245 w 512"/>
              <a:gd name="T31" fmla="*/ 245 h 512"/>
              <a:gd name="T32" fmla="*/ 288 w 512"/>
              <a:gd name="T33" fmla="*/ 160 h 512"/>
              <a:gd name="T34" fmla="*/ 224 w 512"/>
              <a:gd name="T35" fmla="*/ 160 h 512"/>
              <a:gd name="T36" fmla="*/ 202 w 512"/>
              <a:gd name="T37" fmla="*/ 181 h 512"/>
              <a:gd name="T38" fmla="*/ 309 w 512"/>
              <a:gd name="T39" fmla="*/ 181 h 512"/>
              <a:gd name="T40" fmla="*/ 288 w 512"/>
              <a:gd name="T41" fmla="*/ 160 h 512"/>
              <a:gd name="T42" fmla="*/ 512 w 512"/>
              <a:gd name="T43" fmla="*/ 256 h 512"/>
              <a:gd name="T44" fmla="*/ 256 w 512"/>
              <a:gd name="T45" fmla="*/ 512 h 512"/>
              <a:gd name="T46" fmla="*/ 0 w 512"/>
              <a:gd name="T47" fmla="*/ 256 h 512"/>
              <a:gd name="T48" fmla="*/ 256 w 512"/>
              <a:gd name="T49" fmla="*/ 0 h 512"/>
              <a:gd name="T50" fmla="*/ 512 w 512"/>
              <a:gd name="T51" fmla="*/ 256 h 512"/>
              <a:gd name="T52" fmla="*/ 416 w 512"/>
              <a:gd name="T53" fmla="*/ 192 h 512"/>
              <a:gd name="T54" fmla="*/ 405 w 512"/>
              <a:gd name="T55" fmla="*/ 181 h 512"/>
              <a:gd name="T56" fmla="*/ 330 w 512"/>
              <a:gd name="T57" fmla="*/ 181 h 512"/>
              <a:gd name="T58" fmla="*/ 288 w 512"/>
              <a:gd name="T59" fmla="*/ 138 h 512"/>
              <a:gd name="T60" fmla="*/ 224 w 512"/>
              <a:gd name="T61" fmla="*/ 138 h 512"/>
              <a:gd name="T62" fmla="*/ 181 w 512"/>
              <a:gd name="T63" fmla="*/ 181 h 512"/>
              <a:gd name="T64" fmla="*/ 106 w 512"/>
              <a:gd name="T65" fmla="*/ 181 h 512"/>
              <a:gd name="T66" fmla="*/ 96 w 512"/>
              <a:gd name="T67" fmla="*/ 192 h 512"/>
              <a:gd name="T68" fmla="*/ 96 w 512"/>
              <a:gd name="T69" fmla="*/ 256 h 512"/>
              <a:gd name="T70" fmla="*/ 106 w 512"/>
              <a:gd name="T71" fmla="*/ 266 h 512"/>
              <a:gd name="T72" fmla="*/ 117 w 512"/>
              <a:gd name="T73" fmla="*/ 266 h 512"/>
              <a:gd name="T74" fmla="*/ 117 w 512"/>
              <a:gd name="T75" fmla="*/ 362 h 512"/>
              <a:gd name="T76" fmla="*/ 128 w 512"/>
              <a:gd name="T77" fmla="*/ 373 h 512"/>
              <a:gd name="T78" fmla="*/ 384 w 512"/>
              <a:gd name="T79" fmla="*/ 373 h 512"/>
              <a:gd name="T80" fmla="*/ 394 w 512"/>
              <a:gd name="T81" fmla="*/ 362 h 512"/>
              <a:gd name="T82" fmla="*/ 394 w 512"/>
              <a:gd name="T83" fmla="*/ 266 h 512"/>
              <a:gd name="T84" fmla="*/ 405 w 512"/>
              <a:gd name="T85" fmla="*/ 266 h 512"/>
              <a:gd name="T86" fmla="*/ 416 w 512"/>
              <a:gd name="T87" fmla="*/ 256 h 512"/>
              <a:gd name="T88" fmla="*/ 416 w 512"/>
              <a:gd name="T89" fmla="*/ 192 h 512"/>
              <a:gd name="T90" fmla="*/ 117 w 512"/>
              <a:gd name="T91" fmla="*/ 245 h 512"/>
              <a:gd name="T92" fmla="*/ 224 w 512"/>
              <a:gd name="T93" fmla="*/ 245 h 512"/>
              <a:gd name="T94" fmla="*/ 224 w 512"/>
              <a:gd name="T95" fmla="*/ 234 h 512"/>
              <a:gd name="T96" fmla="*/ 234 w 512"/>
              <a:gd name="T97" fmla="*/ 224 h 512"/>
              <a:gd name="T98" fmla="*/ 277 w 512"/>
              <a:gd name="T99" fmla="*/ 224 h 512"/>
              <a:gd name="T100" fmla="*/ 288 w 512"/>
              <a:gd name="T101" fmla="*/ 234 h 512"/>
              <a:gd name="T102" fmla="*/ 288 w 512"/>
              <a:gd name="T103" fmla="*/ 245 h 512"/>
              <a:gd name="T104" fmla="*/ 394 w 512"/>
              <a:gd name="T105" fmla="*/ 245 h 512"/>
              <a:gd name="T106" fmla="*/ 394 w 512"/>
              <a:gd name="T107" fmla="*/ 202 h 512"/>
              <a:gd name="T108" fmla="*/ 117 w 512"/>
              <a:gd name="T109" fmla="*/ 202 h 512"/>
              <a:gd name="T110" fmla="*/ 117 w 512"/>
              <a:gd name="T111" fmla="*/ 24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288" y="266"/>
                </a:moveTo>
                <a:cubicBezTo>
                  <a:pt x="373" y="266"/>
                  <a:pt x="373" y="266"/>
                  <a:pt x="373" y="266"/>
                </a:cubicBezTo>
                <a:cubicBezTo>
                  <a:pt x="373" y="352"/>
                  <a:pt x="373" y="352"/>
                  <a:pt x="373" y="352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224" y="266"/>
                  <a:pt x="224" y="266"/>
                  <a:pt x="224" y="266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4" y="283"/>
                  <a:pt x="228" y="288"/>
                  <a:pt x="234" y="288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83" y="288"/>
                  <a:pt x="288" y="283"/>
                  <a:pt x="288" y="277"/>
                </a:cubicBezTo>
                <a:lnTo>
                  <a:pt x="288" y="266"/>
                </a:lnTo>
                <a:close/>
                <a:moveTo>
                  <a:pt x="245" y="245"/>
                </a:moveTo>
                <a:cubicBezTo>
                  <a:pt x="245" y="266"/>
                  <a:pt x="245" y="266"/>
                  <a:pt x="245" y="266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66" y="245"/>
                  <a:pt x="266" y="245"/>
                  <a:pt x="266" y="245"/>
                </a:cubicBezTo>
                <a:lnTo>
                  <a:pt x="245" y="245"/>
                </a:lnTo>
                <a:close/>
                <a:moveTo>
                  <a:pt x="288" y="160"/>
                </a:moveTo>
                <a:cubicBezTo>
                  <a:pt x="224" y="160"/>
                  <a:pt x="224" y="160"/>
                  <a:pt x="224" y="160"/>
                </a:cubicBezTo>
                <a:cubicBezTo>
                  <a:pt x="212" y="160"/>
                  <a:pt x="202" y="169"/>
                  <a:pt x="202" y="181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09" y="169"/>
                  <a:pt x="299" y="160"/>
                  <a:pt x="288" y="16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92"/>
                </a:moveTo>
                <a:cubicBezTo>
                  <a:pt x="416" y="186"/>
                  <a:pt x="411" y="181"/>
                  <a:pt x="405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30" y="157"/>
                  <a:pt x="311" y="138"/>
                  <a:pt x="288" y="138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00" y="138"/>
                  <a:pt x="181" y="157"/>
                  <a:pt x="181" y="181"/>
                </a:cubicBezTo>
                <a:cubicBezTo>
                  <a:pt x="106" y="181"/>
                  <a:pt x="106" y="181"/>
                  <a:pt x="106" y="181"/>
                </a:cubicBezTo>
                <a:cubicBezTo>
                  <a:pt x="100" y="181"/>
                  <a:pt x="96" y="186"/>
                  <a:pt x="96" y="192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7" y="362"/>
                  <a:pt x="117" y="362"/>
                  <a:pt x="117" y="362"/>
                </a:cubicBezTo>
                <a:cubicBezTo>
                  <a:pt x="117" y="368"/>
                  <a:pt x="122" y="373"/>
                  <a:pt x="128" y="373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390" y="373"/>
                  <a:pt x="394" y="368"/>
                  <a:pt x="394" y="362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lnTo>
                  <a:pt x="416" y="192"/>
                </a:lnTo>
                <a:close/>
                <a:moveTo>
                  <a:pt x="117" y="245"/>
                </a:moveTo>
                <a:cubicBezTo>
                  <a:pt x="224" y="245"/>
                  <a:pt x="224" y="245"/>
                  <a:pt x="224" y="245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24" y="228"/>
                  <a:pt x="228" y="224"/>
                  <a:pt x="234" y="224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83" y="224"/>
                  <a:pt x="288" y="228"/>
                  <a:pt x="288" y="234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202"/>
                  <a:pt x="394" y="202"/>
                  <a:pt x="394" y="202"/>
                </a:cubicBezTo>
                <a:cubicBezTo>
                  <a:pt x="117" y="202"/>
                  <a:pt x="117" y="202"/>
                  <a:pt x="117" y="202"/>
                </a:cubicBezTo>
                <a:lnTo>
                  <a:pt x="117" y="24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769541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Tra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47659" y="2452885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Anchor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33090" y="247015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cycle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33338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idge 1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4427484" y="2470154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idge 1 over water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3430411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idge 2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404381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on’t walk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407309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Walk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68924" y="3350299"/>
            <a:ext cx="8191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ffic signal EU</a:t>
            </a:r>
          </a:p>
        </p:txBody>
      </p:sp>
      <p:sp>
        <p:nvSpPr>
          <p:cNvPr id="473" name="TextBox 472"/>
          <p:cNvSpPr txBox="1"/>
          <p:nvPr/>
        </p:nvSpPr>
        <p:spPr>
          <a:xfrm>
            <a:off x="1452586" y="336756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ffic signal</a:t>
            </a:r>
          </a:p>
        </p:txBody>
      </p:sp>
      <p:sp>
        <p:nvSpPr>
          <p:cNvPr id="474" name="TextBox 473"/>
          <p:cNvSpPr txBox="1"/>
          <p:nvPr/>
        </p:nvSpPr>
        <p:spPr>
          <a:xfrm>
            <a:off x="2451065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ain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4441673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iefcase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5436977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r</a:t>
            </a:r>
          </a:p>
        </p:txBody>
      </p:sp>
      <p:sp>
        <p:nvSpPr>
          <p:cNvPr id="477" name="TextBox 476"/>
          <p:cNvSpPr txBox="1"/>
          <p:nvPr/>
        </p:nvSpPr>
        <p:spPr>
          <a:xfrm>
            <a:off x="3446369" y="336756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ridge 2 over water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6432281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ar share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9418189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p pin</a:t>
            </a:r>
          </a:p>
        </p:txBody>
      </p:sp>
      <p:sp>
        <p:nvSpPr>
          <p:cNvPr id="480" name="TextBox 479"/>
          <p:cNvSpPr txBox="1"/>
          <p:nvPr/>
        </p:nvSpPr>
        <p:spPr>
          <a:xfrm>
            <a:off x="8422889" y="336756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Direction sign</a:t>
            </a:r>
          </a:p>
        </p:txBody>
      </p:sp>
      <p:sp>
        <p:nvSpPr>
          <p:cNvPr id="481" name="TextBox 480"/>
          <p:cNvSpPr txBox="1"/>
          <p:nvPr/>
        </p:nvSpPr>
        <p:spPr>
          <a:xfrm>
            <a:off x="7427585" y="336756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ed</a:t>
            </a:r>
          </a:p>
        </p:txBody>
      </p:sp>
      <p:sp>
        <p:nvSpPr>
          <p:cNvPr id="522" name="TextBox 521"/>
          <p:cNvSpPr txBox="1"/>
          <p:nvPr/>
        </p:nvSpPr>
        <p:spPr>
          <a:xfrm>
            <a:off x="468924" y="4099186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lane </a:t>
            </a:r>
          </a:p>
        </p:txBody>
      </p:sp>
      <p:sp>
        <p:nvSpPr>
          <p:cNvPr id="523" name="TextBox 522"/>
          <p:cNvSpPr txBox="1"/>
          <p:nvPr/>
        </p:nvSpPr>
        <p:spPr>
          <a:xfrm>
            <a:off x="1446522" y="4116452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ail boat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2438937" y="411645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 err="1"/>
              <a:t>Chequered</a:t>
            </a:r>
            <a:r>
              <a:rPr lang="en-US" sz="1000" dirty="0"/>
              <a:t> flag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4417417" y="41164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Petrol can</a:t>
            </a:r>
          </a:p>
        </p:txBody>
      </p:sp>
      <p:sp>
        <p:nvSpPr>
          <p:cNvPr id="526" name="TextBox 525"/>
          <p:cNvSpPr txBox="1"/>
          <p:nvPr/>
        </p:nvSpPr>
        <p:spPr>
          <a:xfrm>
            <a:off x="5406657" y="4116455"/>
            <a:ext cx="8307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elf drive car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3428177" y="41164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hip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6395897" y="41164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Truck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8374377" y="4116452"/>
            <a:ext cx="8815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peedometer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7385137" y="41164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Binoculars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427603" y="5002174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uitcase</a:t>
            </a:r>
          </a:p>
        </p:txBody>
      </p:sp>
      <p:sp>
        <p:nvSpPr>
          <p:cNvPr id="623" name="TextBox 622"/>
          <p:cNvSpPr txBox="1"/>
          <p:nvPr/>
        </p:nvSpPr>
        <p:spPr>
          <a:xfrm>
            <a:off x="1455993" y="5019440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Map</a:t>
            </a:r>
          </a:p>
        </p:txBody>
      </p:sp>
      <p:sp>
        <p:nvSpPr>
          <p:cNvPr id="624" name="TextBox 623"/>
          <p:cNvSpPr txBox="1"/>
          <p:nvPr/>
        </p:nvSpPr>
        <p:spPr>
          <a:xfrm>
            <a:off x="2415747" y="5019440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GV</a:t>
            </a:r>
          </a:p>
        </p:txBody>
      </p:sp>
      <p:sp>
        <p:nvSpPr>
          <p:cNvPr id="627" name="TextBox 626"/>
          <p:cNvSpPr txBox="1"/>
          <p:nvPr/>
        </p:nvSpPr>
        <p:spPr>
          <a:xfrm>
            <a:off x="9414416" y="4116452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Compass</a:t>
            </a:r>
          </a:p>
        </p:txBody>
      </p:sp>
      <p:sp>
        <p:nvSpPr>
          <p:cNvPr id="256" name="Freeform 55"/>
          <p:cNvSpPr>
            <a:spLocks noChangeAspect="1" noEditPoints="1"/>
          </p:cNvSpPr>
          <p:nvPr/>
        </p:nvSpPr>
        <p:spPr bwMode="auto">
          <a:xfrm>
            <a:off x="427132" y="2051050"/>
            <a:ext cx="368253" cy="368152"/>
          </a:xfrm>
          <a:custGeom>
            <a:avLst/>
            <a:gdLst>
              <a:gd name="T0" fmla="*/ 256 w 512"/>
              <a:gd name="T1" fmla="*/ 160 h 512"/>
              <a:gd name="T2" fmla="*/ 234 w 512"/>
              <a:gd name="T3" fmla="*/ 138 h 512"/>
              <a:gd name="T4" fmla="*/ 256 w 512"/>
              <a:gd name="T5" fmla="*/ 117 h 512"/>
              <a:gd name="T6" fmla="*/ 277 w 512"/>
              <a:gd name="T7" fmla="*/ 138 h 512"/>
              <a:gd name="T8" fmla="*/ 256 w 512"/>
              <a:gd name="T9" fmla="*/ 160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93 w 512"/>
              <a:gd name="T21" fmla="*/ 347 h 512"/>
              <a:gd name="T22" fmla="*/ 383 w 512"/>
              <a:gd name="T23" fmla="*/ 326 h 512"/>
              <a:gd name="T24" fmla="*/ 373 w 512"/>
              <a:gd name="T25" fmla="*/ 320 h 512"/>
              <a:gd name="T26" fmla="*/ 352 w 512"/>
              <a:gd name="T27" fmla="*/ 320 h 512"/>
              <a:gd name="T28" fmla="*/ 341 w 512"/>
              <a:gd name="T29" fmla="*/ 330 h 512"/>
              <a:gd name="T30" fmla="*/ 352 w 512"/>
              <a:gd name="T31" fmla="*/ 341 h 512"/>
              <a:gd name="T32" fmla="*/ 354 w 512"/>
              <a:gd name="T33" fmla="*/ 341 h 512"/>
              <a:gd name="T34" fmla="*/ 266 w 512"/>
              <a:gd name="T35" fmla="*/ 394 h 512"/>
              <a:gd name="T36" fmla="*/ 266 w 512"/>
              <a:gd name="T37" fmla="*/ 234 h 512"/>
              <a:gd name="T38" fmla="*/ 288 w 512"/>
              <a:gd name="T39" fmla="*/ 234 h 512"/>
              <a:gd name="T40" fmla="*/ 298 w 512"/>
              <a:gd name="T41" fmla="*/ 224 h 512"/>
              <a:gd name="T42" fmla="*/ 288 w 512"/>
              <a:gd name="T43" fmla="*/ 213 h 512"/>
              <a:gd name="T44" fmla="*/ 266 w 512"/>
              <a:gd name="T45" fmla="*/ 213 h 512"/>
              <a:gd name="T46" fmla="*/ 266 w 512"/>
              <a:gd name="T47" fmla="*/ 179 h 512"/>
              <a:gd name="T48" fmla="*/ 298 w 512"/>
              <a:gd name="T49" fmla="*/ 138 h 512"/>
              <a:gd name="T50" fmla="*/ 256 w 512"/>
              <a:gd name="T51" fmla="*/ 96 h 512"/>
              <a:gd name="T52" fmla="*/ 213 w 512"/>
              <a:gd name="T53" fmla="*/ 138 h 512"/>
              <a:gd name="T54" fmla="*/ 245 w 512"/>
              <a:gd name="T55" fmla="*/ 179 h 512"/>
              <a:gd name="T56" fmla="*/ 245 w 512"/>
              <a:gd name="T57" fmla="*/ 213 h 512"/>
              <a:gd name="T58" fmla="*/ 224 w 512"/>
              <a:gd name="T59" fmla="*/ 213 h 512"/>
              <a:gd name="T60" fmla="*/ 213 w 512"/>
              <a:gd name="T61" fmla="*/ 224 h 512"/>
              <a:gd name="T62" fmla="*/ 224 w 512"/>
              <a:gd name="T63" fmla="*/ 234 h 512"/>
              <a:gd name="T64" fmla="*/ 245 w 512"/>
              <a:gd name="T65" fmla="*/ 234 h 512"/>
              <a:gd name="T66" fmla="*/ 245 w 512"/>
              <a:gd name="T67" fmla="*/ 394 h 512"/>
              <a:gd name="T68" fmla="*/ 157 w 512"/>
              <a:gd name="T69" fmla="*/ 341 h 512"/>
              <a:gd name="T70" fmla="*/ 160 w 512"/>
              <a:gd name="T71" fmla="*/ 341 h 512"/>
              <a:gd name="T72" fmla="*/ 170 w 512"/>
              <a:gd name="T73" fmla="*/ 330 h 512"/>
              <a:gd name="T74" fmla="*/ 160 w 512"/>
              <a:gd name="T75" fmla="*/ 320 h 512"/>
              <a:gd name="T76" fmla="*/ 139 w 512"/>
              <a:gd name="T77" fmla="*/ 320 h 512"/>
              <a:gd name="T78" fmla="*/ 139 w 512"/>
              <a:gd name="T79" fmla="*/ 320 h 512"/>
              <a:gd name="T80" fmla="*/ 138 w 512"/>
              <a:gd name="T81" fmla="*/ 320 h 512"/>
              <a:gd name="T82" fmla="*/ 129 w 512"/>
              <a:gd name="T83" fmla="*/ 326 h 512"/>
              <a:gd name="T84" fmla="*/ 118 w 512"/>
              <a:gd name="T85" fmla="*/ 347 h 512"/>
              <a:gd name="T86" fmla="*/ 123 w 512"/>
              <a:gd name="T87" fmla="*/ 361 h 512"/>
              <a:gd name="T88" fmla="*/ 128 w 512"/>
              <a:gd name="T89" fmla="*/ 362 h 512"/>
              <a:gd name="T90" fmla="*/ 137 w 512"/>
              <a:gd name="T91" fmla="*/ 356 h 512"/>
              <a:gd name="T92" fmla="*/ 139 w 512"/>
              <a:gd name="T93" fmla="*/ 352 h 512"/>
              <a:gd name="T94" fmla="*/ 256 w 512"/>
              <a:gd name="T95" fmla="*/ 416 h 512"/>
              <a:gd name="T96" fmla="*/ 372 w 512"/>
              <a:gd name="T97" fmla="*/ 352 h 512"/>
              <a:gd name="T98" fmla="*/ 374 w 512"/>
              <a:gd name="T99" fmla="*/ 356 h 512"/>
              <a:gd name="T100" fmla="*/ 384 w 512"/>
              <a:gd name="T101" fmla="*/ 362 h 512"/>
              <a:gd name="T102" fmla="*/ 388 w 512"/>
              <a:gd name="T103" fmla="*/ 361 h 512"/>
              <a:gd name="T104" fmla="*/ 393 w 512"/>
              <a:gd name="T105" fmla="*/ 34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160"/>
                </a:moveTo>
                <a:cubicBezTo>
                  <a:pt x="244" y="160"/>
                  <a:pt x="234" y="150"/>
                  <a:pt x="234" y="138"/>
                </a:cubicBezTo>
                <a:cubicBezTo>
                  <a:pt x="234" y="127"/>
                  <a:pt x="244" y="117"/>
                  <a:pt x="256" y="117"/>
                </a:cubicBezTo>
                <a:cubicBezTo>
                  <a:pt x="267" y="117"/>
                  <a:pt x="277" y="127"/>
                  <a:pt x="277" y="138"/>
                </a:cubicBezTo>
                <a:cubicBezTo>
                  <a:pt x="277" y="150"/>
                  <a:pt x="267" y="160"/>
                  <a:pt x="256" y="16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3" y="347"/>
                </a:moveTo>
                <a:cubicBezTo>
                  <a:pt x="383" y="326"/>
                  <a:pt x="383" y="326"/>
                  <a:pt x="383" y="326"/>
                </a:cubicBezTo>
                <a:cubicBezTo>
                  <a:pt x="381" y="322"/>
                  <a:pt x="377" y="320"/>
                  <a:pt x="373" y="320"/>
                </a:cubicBezTo>
                <a:cubicBezTo>
                  <a:pt x="352" y="320"/>
                  <a:pt x="352" y="320"/>
                  <a:pt x="352" y="320"/>
                </a:cubicBezTo>
                <a:cubicBezTo>
                  <a:pt x="346" y="320"/>
                  <a:pt x="341" y="324"/>
                  <a:pt x="341" y="330"/>
                </a:cubicBezTo>
                <a:cubicBezTo>
                  <a:pt x="341" y="336"/>
                  <a:pt x="346" y="341"/>
                  <a:pt x="352" y="341"/>
                </a:cubicBezTo>
                <a:cubicBezTo>
                  <a:pt x="354" y="341"/>
                  <a:pt x="354" y="341"/>
                  <a:pt x="354" y="341"/>
                </a:cubicBezTo>
                <a:cubicBezTo>
                  <a:pt x="334" y="371"/>
                  <a:pt x="302" y="390"/>
                  <a:pt x="266" y="394"/>
                </a:cubicBezTo>
                <a:cubicBezTo>
                  <a:pt x="266" y="234"/>
                  <a:pt x="266" y="234"/>
                  <a:pt x="266" y="234"/>
                </a:cubicBezTo>
                <a:cubicBezTo>
                  <a:pt x="288" y="234"/>
                  <a:pt x="288" y="234"/>
                  <a:pt x="288" y="234"/>
                </a:cubicBezTo>
                <a:cubicBezTo>
                  <a:pt x="294" y="234"/>
                  <a:pt x="298" y="230"/>
                  <a:pt x="298" y="224"/>
                </a:cubicBezTo>
                <a:cubicBezTo>
                  <a:pt x="298" y="218"/>
                  <a:pt x="294" y="213"/>
                  <a:pt x="288" y="213"/>
                </a:cubicBezTo>
                <a:cubicBezTo>
                  <a:pt x="266" y="213"/>
                  <a:pt x="266" y="213"/>
                  <a:pt x="266" y="213"/>
                </a:cubicBezTo>
                <a:cubicBezTo>
                  <a:pt x="266" y="179"/>
                  <a:pt x="266" y="179"/>
                  <a:pt x="266" y="179"/>
                </a:cubicBezTo>
                <a:cubicBezTo>
                  <a:pt x="285" y="175"/>
                  <a:pt x="298" y="158"/>
                  <a:pt x="298" y="138"/>
                </a:cubicBezTo>
                <a:cubicBezTo>
                  <a:pt x="298" y="115"/>
                  <a:pt x="279" y="96"/>
                  <a:pt x="256" y="96"/>
                </a:cubicBezTo>
                <a:cubicBezTo>
                  <a:pt x="232" y="96"/>
                  <a:pt x="213" y="115"/>
                  <a:pt x="213" y="138"/>
                </a:cubicBezTo>
                <a:cubicBezTo>
                  <a:pt x="213" y="158"/>
                  <a:pt x="226" y="175"/>
                  <a:pt x="245" y="179"/>
                </a:cubicBezTo>
                <a:cubicBezTo>
                  <a:pt x="245" y="213"/>
                  <a:pt x="245" y="213"/>
                  <a:pt x="245" y="213"/>
                </a:cubicBezTo>
                <a:cubicBezTo>
                  <a:pt x="224" y="213"/>
                  <a:pt x="224" y="213"/>
                  <a:pt x="224" y="213"/>
                </a:cubicBezTo>
                <a:cubicBezTo>
                  <a:pt x="218" y="213"/>
                  <a:pt x="213" y="218"/>
                  <a:pt x="213" y="224"/>
                </a:cubicBezTo>
                <a:cubicBezTo>
                  <a:pt x="213" y="230"/>
                  <a:pt x="218" y="234"/>
                  <a:pt x="224" y="234"/>
                </a:cubicBezTo>
                <a:cubicBezTo>
                  <a:pt x="245" y="234"/>
                  <a:pt x="245" y="234"/>
                  <a:pt x="245" y="234"/>
                </a:cubicBezTo>
                <a:cubicBezTo>
                  <a:pt x="245" y="394"/>
                  <a:pt x="245" y="394"/>
                  <a:pt x="245" y="394"/>
                </a:cubicBezTo>
                <a:cubicBezTo>
                  <a:pt x="209" y="390"/>
                  <a:pt x="177" y="371"/>
                  <a:pt x="157" y="341"/>
                </a:cubicBezTo>
                <a:cubicBezTo>
                  <a:pt x="160" y="341"/>
                  <a:pt x="160" y="341"/>
                  <a:pt x="160" y="341"/>
                </a:cubicBezTo>
                <a:cubicBezTo>
                  <a:pt x="166" y="341"/>
                  <a:pt x="170" y="336"/>
                  <a:pt x="170" y="330"/>
                </a:cubicBezTo>
                <a:cubicBezTo>
                  <a:pt x="170" y="324"/>
                  <a:pt x="166" y="320"/>
                  <a:pt x="160" y="320"/>
                </a:cubicBezTo>
                <a:cubicBezTo>
                  <a:pt x="139" y="320"/>
                  <a:pt x="139" y="320"/>
                  <a:pt x="139" y="320"/>
                </a:cubicBezTo>
                <a:cubicBezTo>
                  <a:pt x="139" y="320"/>
                  <a:pt x="139" y="320"/>
                  <a:pt x="139" y="320"/>
                </a:cubicBezTo>
                <a:cubicBezTo>
                  <a:pt x="138" y="320"/>
                  <a:pt x="138" y="320"/>
                  <a:pt x="138" y="320"/>
                </a:cubicBezTo>
                <a:cubicBezTo>
                  <a:pt x="134" y="320"/>
                  <a:pt x="131" y="322"/>
                  <a:pt x="129" y="326"/>
                </a:cubicBezTo>
                <a:cubicBezTo>
                  <a:pt x="118" y="347"/>
                  <a:pt x="118" y="347"/>
                  <a:pt x="118" y="347"/>
                </a:cubicBezTo>
                <a:cubicBezTo>
                  <a:pt x="115" y="352"/>
                  <a:pt x="118" y="359"/>
                  <a:pt x="123" y="361"/>
                </a:cubicBezTo>
                <a:cubicBezTo>
                  <a:pt x="124" y="362"/>
                  <a:pt x="126" y="362"/>
                  <a:pt x="128" y="362"/>
                </a:cubicBezTo>
                <a:cubicBezTo>
                  <a:pt x="132" y="362"/>
                  <a:pt x="135" y="360"/>
                  <a:pt x="137" y="356"/>
                </a:cubicBezTo>
                <a:cubicBezTo>
                  <a:pt x="139" y="352"/>
                  <a:pt x="139" y="352"/>
                  <a:pt x="139" y="352"/>
                </a:cubicBezTo>
                <a:cubicBezTo>
                  <a:pt x="165" y="391"/>
                  <a:pt x="208" y="416"/>
                  <a:pt x="256" y="416"/>
                </a:cubicBezTo>
                <a:cubicBezTo>
                  <a:pt x="303" y="416"/>
                  <a:pt x="347" y="391"/>
                  <a:pt x="372" y="352"/>
                </a:cubicBezTo>
                <a:cubicBezTo>
                  <a:pt x="374" y="356"/>
                  <a:pt x="374" y="356"/>
                  <a:pt x="374" y="356"/>
                </a:cubicBezTo>
                <a:cubicBezTo>
                  <a:pt x="376" y="360"/>
                  <a:pt x="380" y="362"/>
                  <a:pt x="384" y="362"/>
                </a:cubicBezTo>
                <a:cubicBezTo>
                  <a:pt x="385" y="362"/>
                  <a:pt x="387" y="362"/>
                  <a:pt x="388" y="361"/>
                </a:cubicBezTo>
                <a:cubicBezTo>
                  <a:pt x="394" y="359"/>
                  <a:pt x="396" y="352"/>
                  <a:pt x="393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57" name="Group 58"/>
          <p:cNvGrpSpPr>
            <a:grpSpLocks noChangeAspect="1"/>
          </p:cNvGrpSpPr>
          <p:nvPr/>
        </p:nvGrpSpPr>
        <p:grpSpPr bwMode="auto">
          <a:xfrm>
            <a:off x="924421" y="2051051"/>
            <a:ext cx="368254" cy="368152"/>
            <a:chOff x="1785" y="567"/>
            <a:chExt cx="3636" cy="3635"/>
          </a:xfrm>
          <a:solidFill>
            <a:schemeClr val="accent1"/>
          </a:solidFill>
        </p:grpSpPr>
        <p:sp>
          <p:nvSpPr>
            <p:cNvPr id="258" name="Freeform 257"/>
            <p:cNvSpPr>
              <a:spLocks noEditPoints="1"/>
            </p:cNvSpPr>
            <p:nvPr/>
          </p:nvSpPr>
          <p:spPr bwMode="auto">
            <a:xfrm>
              <a:off x="1785" y="567"/>
              <a:ext cx="3636" cy="3635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258"/>
            <p:cNvSpPr>
              <a:spLocks noEditPoints="1"/>
            </p:cNvSpPr>
            <p:nvPr/>
          </p:nvSpPr>
          <p:spPr bwMode="auto">
            <a:xfrm>
              <a:off x="2602" y="1248"/>
              <a:ext cx="1995" cy="2272"/>
            </a:xfrm>
            <a:custGeom>
              <a:avLst/>
              <a:gdLst>
                <a:gd name="T0" fmla="*/ 278 w 281"/>
                <a:gd name="T1" fmla="*/ 251 h 320"/>
                <a:gd name="T2" fmla="*/ 268 w 281"/>
                <a:gd name="T3" fmla="*/ 230 h 320"/>
                <a:gd name="T4" fmla="*/ 258 w 281"/>
                <a:gd name="T5" fmla="*/ 224 h 320"/>
                <a:gd name="T6" fmla="*/ 237 w 281"/>
                <a:gd name="T7" fmla="*/ 224 h 320"/>
                <a:gd name="T8" fmla="*/ 226 w 281"/>
                <a:gd name="T9" fmla="*/ 234 h 320"/>
                <a:gd name="T10" fmla="*/ 237 w 281"/>
                <a:gd name="T11" fmla="*/ 245 h 320"/>
                <a:gd name="T12" fmla="*/ 239 w 281"/>
                <a:gd name="T13" fmla="*/ 245 h 320"/>
                <a:gd name="T14" fmla="*/ 151 w 281"/>
                <a:gd name="T15" fmla="*/ 298 h 320"/>
                <a:gd name="T16" fmla="*/ 151 w 281"/>
                <a:gd name="T17" fmla="*/ 138 h 320"/>
                <a:gd name="T18" fmla="*/ 173 w 281"/>
                <a:gd name="T19" fmla="*/ 138 h 320"/>
                <a:gd name="T20" fmla="*/ 183 w 281"/>
                <a:gd name="T21" fmla="*/ 128 h 320"/>
                <a:gd name="T22" fmla="*/ 173 w 281"/>
                <a:gd name="T23" fmla="*/ 117 h 320"/>
                <a:gd name="T24" fmla="*/ 151 w 281"/>
                <a:gd name="T25" fmla="*/ 117 h 320"/>
                <a:gd name="T26" fmla="*/ 151 w 281"/>
                <a:gd name="T27" fmla="*/ 83 h 320"/>
                <a:gd name="T28" fmla="*/ 183 w 281"/>
                <a:gd name="T29" fmla="*/ 42 h 320"/>
                <a:gd name="T30" fmla="*/ 141 w 281"/>
                <a:gd name="T31" fmla="*/ 0 h 320"/>
                <a:gd name="T32" fmla="*/ 98 w 281"/>
                <a:gd name="T33" fmla="*/ 42 h 320"/>
                <a:gd name="T34" fmla="*/ 130 w 281"/>
                <a:gd name="T35" fmla="*/ 83 h 320"/>
                <a:gd name="T36" fmla="*/ 130 w 281"/>
                <a:gd name="T37" fmla="*/ 117 h 320"/>
                <a:gd name="T38" fmla="*/ 109 w 281"/>
                <a:gd name="T39" fmla="*/ 117 h 320"/>
                <a:gd name="T40" fmla="*/ 98 w 281"/>
                <a:gd name="T41" fmla="*/ 128 h 320"/>
                <a:gd name="T42" fmla="*/ 109 w 281"/>
                <a:gd name="T43" fmla="*/ 138 h 320"/>
                <a:gd name="T44" fmla="*/ 130 w 281"/>
                <a:gd name="T45" fmla="*/ 138 h 320"/>
                <a:gd name="T46" fmla="*/ 130 w 281"/>
                <a:gd name="T47" fmla="*/ 298 h 320"/>
                <a:gd name="T48" fmla="*/ 42 w 281"/>
                <a:gd name="T49" fmla="*/ 245 h 320"/>
                <a:gd name="T50" fmla="*/ 45 w 281"/>
                <a:gd name="T51" fmla="*/ 245 h 320"/>
                <a:gd name="T52" fmla="*/ 55 w 281"/>
                <a:gd name="T53" fmla="*/ 234 h 320"/>
                <a:gd name="T54" fmla="*/ 45 w 281"/>
                <a:gd name="T55" fmla="*/ 224 h 320"/>
                <a:gd name="T56" fmla="*/ 24 w 281"/>
                <a:gd name="T57" fmla="*/ 224 h 320"/>
                <a:gd name="T58" fmla="*/ 24 w 281"/>
                <a:gd name="T59" fmla="*/ 224 h 320"/>
                <a:gd name="T60" fmla="*/ 23 w 281"/>
                <a:gd name="T61" fmla="*/ 224 h 320"/>
                <a:gd name="T62" fmla="*/ 14 w 281"/>
                <a:gd name="T63" fmla="*/ 230 h 320"/>
                <a:gd name="T64" fmla="*/ 3 w 281"/>
                <a:gd name="T65" fmla="*/ 251 h 320"/>
                <a:gd name="T66" fmla="*/ 8 w 281"/>
                <a:gd name="T67" fmla="*/ 265 h 320"/>
                <a:gd name="T68" fmla="*/ 13 w 281"/>
                <a:gd name="T69" fmla="*/ 266 h 320"/>
                <a:gd name="T70" fmla="*/ 22 w 281"/>
                <a:gd name="T71" fmla="*/ 260 h 320"/>
                <a:gd name="T72" fmla="*/ 24 w 281"/>
                <a:gd name="T73" fmla="*/ 256 h 320"/>
                <a:gd name="T74" fmla="*/ 141 w 281"/>
                <a:gd name="T75" fmla="*/ 320 h 320"/>
                <a:gd name="T76" fmla="*/ 257 w 281"/>
                <a:gd name="T77" fmla="*/ 256 h 320"/>
                <a:gd name="T78" fmla="*/ 259 w 281"/>
                <a:gd name="T79" fmla="*/ 260 h 320"/>
                <a:gd name="T80" fmla="*/ 269 w 281"/>
                <a:gd name="T81" fmla="*/ 266 h 320"/>
                <a:gd name="T82" fmla="*/ 273 w 281"/>
                <a:gd name="T83" fmla="*/ 265 h 320"/>
                <a:gd name="T84" fmla="*/ 278 w 281"/>
                <a:gd name="T85" fmla="*/ 251 h 320"/>
                <a:gd name="T86" fmla="*/ 119 w 281"/>
                <a:gd name="T87" fmla="*/ 42 h 320"/>
                <a:gd name="T88" fmla="*/ 141 w 281"/>
                <a:gd name="T89" fmla="*/ 21 h 320"/>
                <a:gd name="T90" fmla="*/ 162 w 281"/>
                <a:gd name="T91" fmla="*/ 42 h 320"/>
                <a:gd name="T92" fmla="*/ 141 w 281"/>
                <a:gd name="T93" fmla="*/ 64 h 320"/>
                <a:gd name="T94" fmla="*/ 119 w 281"/>
                <a:gd name="T95" fmla="*/ 4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1" h="320">
                  <a:moveTo>
                    <a:pt x="278" y="251"/>
                  </a:moveTo>
                  <a:cubicBezTo>
                    <a:pt x="268" y="230"/>
                    <a:pt x="268" y="230"/>
                    <a:pt x="268" y="230"/>
                  </a:cubicBezTo>
                  <a:cubicBezTo>
                    <a:pt x="266" y="226"/>
                    <a:pt x="262" y="224"/>
                    <a:pt x="258" y="224"/>
                  </a:cubicBezTo>
                  <a:cubicBezTo>
                    <a:pt x="237" y="224"/>
                    <a:pt x="237" y="224"/>
                    <a:pt x="237" y="224"/>
                  </a:cubicBezTo>
                  <a:cubicBezTo>
                    <a:pt x="231" y="224"/>
                    <a:pt x="226" y="228"/>
                    <a:pt x="226" y="234"/>
                  </a:cubicBezTo>
                  <a:cubicBezTo>
                    <a:pt x="226" y="240"/>
                    <a:pt x="231" y="245"/>
                    <a:pt x="237" y="245"/>
                  </a:cubicBezTo>
                  <a:cubicBezTo>
                    <a:pt x="239" y="245"/>
                    <a:pt x="239" y="245"/>
                    <a:pt x="239" y="245"/>
                  </a:cubicBezTo>
                  <a:cubicBezTo>
                    <a:pt x="219" y="275"/>
                    <a:pt x="187" y="294"/>
                    <a:pt x="151" y="29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73" y="138"/>
                    <a:pt x="173" y="138"/>
                    <a:pt x="173" y="138"/>
                  </a:cubicBezTo>
                  <a:cubicBezTo>
                    <a:pt x="179" y="138"/>
                    <a:pt x="183" y="134"/>
                    <a:pt x="183" y="128"/>
                  </a:cubicBezTo>
                  <a:cubicBezTo>
                    <a:pt x="183" y="122"/>
                    <a:pt x="179" y="117"/>
                    <a:pt x="173" y="117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51" y="83"/>
                    <a:pt x="151" y="83"/>
                    <a:pt x="151" y="83"/>
                  </a:cubicBezTo>
                  <a:cubicBezTo>
                    <a:pt x="170" y="79"/>
                    <a:pt x="183" y="62"/>
                    <a:pt x="183" y="42"/>
                  </a:cubicBezTo>
                  <a:cubicBezTo>
                    <a:pt x="183" y="19"/>
                    <a:pt x="164" y="0"/>
                    <a:pt x="141" y="0"/>
                  </a:cubicBezTo>
                  <a:cubicBezTo>
                    <a:pt x="117" y="0"/>
                    <a:pt x="98" y="19"/>
                    <a:pt x="98" y="42"/>
                  </a:cubicBezTo>
                  <a:cubicBezTo>
                    <a:pt x="98" y="62"/>
                    <a:pt x="111" y="79"/>
                    <a:pt x="130" y="83"/>
                  </a:cubicBezTo>
                  <a:cubicBezTo>
                    <a:pt x="130" y="117"/>
                    <a:pt x="130" y="117"/>
                    <a:pt x="130" y="117"/>
                  </a:cubicBezTo>
                  <a:cubicBezTo>
                    <a:pt x="109" y="117"/>
                    <a:pt x="109" y="117"/>
                    <a:pt x="109" y="117"/>
                  </a:cubicBezTo>
                  <a:cubicBezTo>
                    <a:pt x="103" y="117"/>
                    <a:pt x="98" y="122"/>
                    <a:pt x="98" y="128"/>
                  </a:cubicBezTo>
                  <a:cubicBezTo>
                    <a:pt x="98" y="134"/>
                    <a:pt x="103" y="138"/>
                    <a:pt x="109" y="138"/>
                  </a:cubicBezTo>
                  <a:cubicBezTo>
                    <a:pt x="130" y="138"/>
                    <a:pt x="130" y="138"/>
                    <a:pt x="130" y="138"/>
                  </a:cubicBezTo>
                  <a:cubicBezTo>
                    <a:pt x="130" y="298"/>
                    <a:pt x="130" y="298"/>
                    <a:pt x="130" y="298"/>
                  </a:cubicBezTo>
                  <a:cubicBezTo>
                    <a:pt x="94" y="294"/>
                    <a:pt x="62" y="275"/>
                    <a:pt x="42" y="245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51" y="245"/>
                    <a:pt x="55" y="240"/>
                    <a:pt x="55" y="234"/>
                  </a:cubicBezTo>
                  <a:cubicBezTo>
                    <a:pt x="55" y="228"/>
                    <a:pt x="51" y="224"/>
                    <a:pt x="45" y="224"/>
                  </a:cubicBezTo>
                  <a:cubicBezTo>
                    <a:pt x="24" y="224"/>
                    <a:pt x="24" y="224"/>
                    <a:pt x="24" y="224"/>
                  </a:cubicBezTo>
                  <a:cubicBezTo>
                    <a:pt x="24" y="224"/>
                    <a:pt x="24" y="224"/>
                    <a:pt x="24" y="224"/>
                  </a:cubicBezTo>
                  <a:cubicBezTo>
                    <a:pt x="23" y="224"/>
                    <a:pt x="23" y="224"/>
                    <a:pt x="23" y="224"/>
                  </a:cubicBezTo>
                  <a:cubicBezTo>
                    <a:pt x="19" y="224"/>
                    <a:pt x="16" y="226"/>
                    <a:pt x="14" y="230"/>
                  </a:cubicBezTo>
                  <a:cubicBezTo>
                    <a:pt x="3" y="251"/>
                    <a:pt x="3" y="251"/>
                    <a:pt x="3" y="251"/>
                  </a:cubicBezTo>
                  <a:cubicBezTo>
                    <a:pt x="0" y="256"/>
                    <a:pt x="3" y="263"/>
                    <a:pt x="8" y="265"/>
                  </a:cubicBezTo>
                  <a:cubicBezTo>
                    <a:pt x="9" y="266"/>
                    <a:pt x="11" y="266"/>
                    <a:pt x="13" y="266"/>
                  </a:cubicBezTo>
                  <a:cubicBezTo>
                    <a:pt x="17" y="266"/>
                    <a:pt x="20" y="264"/>
                    <a:pt x="22" y="260"/>
                  </a:cubicBezTo>
                  <a:cubicBezTo>
                    <a:pt x="24" y="256"/>
                    <a:pt x="24" y="256"/>
                    <a:pt x="24" y="256"/>
                  </a:cubicBezTo>
                  <a:cubicBezTo>
                    <a:pt x="50" y="295"/>
                    <a:pt x="93" y="320"/>
                    <a:pt x="141" y="320"/>
                  </a:cubicBezTo>
                  <a:cubicBezTo>
                    <a:pt x="188" y="320"/>
                    <a:pt x="232" y="295"/>
                    <a:pt x="257" y="256"/>
                  </a:cubicBezTo>
                  <a:cubicBezTo>
                    <a:pt x="259" y="260"/>
                    <a:pt x="259" y="260"/>
                    <a:pt x="259" y="260"/>
                  </a:cubicBezTo>
                  <a:cubicBezTo>
                    <a:pt x="261" y="264"/>
                    <a:pt x="265" y="266"/>
                    <a:pt x="269" y="266"/>
                  </a:cubicBezTo>
                  <a:cubicBezTo>
                    <a:pt x="270" y="266"/>
                    <a:pt x="272" y="266"/>
                    <a:pt x="273" y="265"/>
                  </a:cubicBezTo>
                  <a:cubicBezTo>
                    <a:pt x="279" y="263"/>
                    <a:pt x="281" y="256"/>
                    <a:pt x="278" y="251"/>
                  </a:cubicBezTo>
                  <a:close/>
                  <a:moveTo>
                    <a:pt x="119" y="42"/>
                  </a:moveTo>
                  <a:cubicBezTo>
                    <a:pt x="119" y="31"/>
                    <a:pt x="129" y="21"/>
                    <a:pt x="141" y="21"/>
                  </a:cubicBezTo>
                  <a:cubicBezTo>
                    <a:pt x="152" y="21"/>
                    <a:pt x="162" y="31"/>
                    <a:pt x="162" y="42"/>
                  </a:cubicBezTo>
                  <a:cubicBezTo>
                    <a:pt x="162" y="54"/>
                    <a:pt x="152" y="64"/>
                    <a:pt x="141" y="64"/>
                  </a:cubicBezTo>
                  <a:cubicBezTo>
                    <a:pt x="129" y="64"/>
                    <a:pt x="119" y="54"/>
                    <a:pt x="119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0" name="Freeform 498"/>
          <p:cNvSpPr>
            <a:spLocks noChangeAspect="1" noEditPoints="1"/>
          </p:cNvSpPr>
          <p:nvPr/>
        </p:nvSpPr>
        <p:spPr bwMode="auto">
          <a:xfrm>
            <a:off x="1421711" y="2051050"/>
            <a:ext cx="367982" cy="367982"/>
          </a:xfrm>
          <a:custGeom>
            <a:avLst/>
            <a:gdLst>
              <a:gd name="T0" fmla="*/ 289 w 512"/>
              <a:gd name="T1" fmla="*/ 288 h 512"/>
              <a:gd name="T2" fmla="*/ 298 w 512"/>
              <a:gd name="T3" fmla="*/ 224 h 512"/>
              <a:gd name="T4" fmla="*/ 212 w 512"/>
              <a:gd name="T5" fmla="*/ 213 h 512"/>
              <a:gd name="T6" fmla="*/ 280 w 512"/>
              <a:gd name="T7" fmla="*/ 213 h 512"/>
              <a:gd name="T8" fmla="*/ 334 w 512"/>
              <a:gd name="T9" fmla="*/ 288 h 512"/>
              <a:gd name="T10" fmla="*/ 311 w 512"/>
              <a:gd name="T11" fmla="*/ 288 h 512"/>
              <a:gd name="T12" fmla="*/ 170 w 512"/>
              <a:gd name="T13" fmla="*/ 301 h 512"/>
              <a:gd name="T14" fmla="*/ 157 w 512"/>
              <a:gd name="T15" fmla="*/ 309 h 512"/>
              <a:gd name="T16" fmla="*/ 162 w 512"/>
              <a:gd name="T17" fmla="*/ 256 h 512"/>
              <a:gd name="T18" fmla="*/ 117 w 512"/>
              <a:gd name="T19" fmla="*/ 298 h 512"/>
              <a:gd name="T20" fmla="*/ 202 w 512"/>
              <a:gd name="T21" fmla="*/ 298 h 512"/>
              <a:gd name="T22" fmla="*/ 170 w 512"/>
              <a:gd name="T23" fmla="*/ 301 h 512"/>
              <a:gd name="T24" fmla="*/ 256 w 512"/>
              <a:gd name="T25" fmla="*/ 512 h 512"/>
              <a:gd name="T26" fmla="*/ 256 w 512"/>
              <a:gd name="T27" fmla="*/ 0 h 512"/>
              <a:gd name="T28" fmla="*/ 416 w 512"/>
              <a:gd name="T29" fmla="*/ 298 h 512"/>
              <a:gd name="T30" fmla="*/ 330 w 512"/>
              <a:gd name="T31" fmla="*/ 238 h 512"/>
              <a:gd name="T32" fmla="*/ 316 w 512"/>
              <a:gd name="T33" fmla="*/ 181 h 512"/>
              <a:gd name="T34" fmla="*/ 341 w 512"/>
              <a:gd name="T35" fmla="*/ 170 h 512"/>
              <a:gd name="T36" fmla="*/ 288 w 512"/>
              <a:gd name="T37" fmla="*/ 160 h 512"/>
              <a:gd name="T38" fmla="*/ 288 w 512"/>
              <a:gd name="T39" fmla="*/ 181 h 512"/>
              <a:gd name="T40" fmla="*/ 289 w 512"/>
              <a:gd name="T41" fmla="*/ 192 h 512"/>
              <a:gd name="T42" fmla="*/ 210 w 512"/>
              <a:gd name="T43" fmla="*/ 170 h 512"/>
              <a:gd name="T44" fmla="*/ 234 w 512"/>
              <a:gd name="T45" fmla="*/ 160 h 512"/>
              <a:gd name="T46" fmla="*/ 202 w 512"/>
              <a:gd name="T47" fmla="*/ 149 h 512"/>
              <a:gd name="T48" fmla="*/ 168 w 512"/>
              <a:gd name="T49" fmla="*/ 235 h 512"/>
              <a:gd name="T50" fmla="*/ 96 w 512"/>
              <a:gd name="T51" fmla="*/ 298 h 512"/>
              <a:gd name="T52" fmla="*/ 224 w 512"/>
              <a:gd name="T53" fmla="*/ 298 h 512"/>
              <a:gd name="T54" fmla="*/ 194 w 512"/>
              <a:gd name="T55" fmla="*/ 224 h 512"/>
              <a:gd name="T56" fmla="*/ 256 w 512"/>
              <a:gd name="T57" fmla="*/ 309 h 512"/>
              <a:gd name="T58" fmla="*/ 289 w 512"/>
              <a:gd name="T59" fmla="*/ 309 h 512"/>
              <a:gd name="T60" fmla="*/ 416 w 512"/>
              <a:gd name="T61" fmla="*/ 298 h 512"/>
              <a:gd name="T62" fmla="*/ 341 w 512"/>
              <a:gd name="T63" fmla="*/ 257 h 512"/>
              <a:gd name="T64" fmla="*/ 361 w 512"/>
              <a:gd name="T65" fmla="*/ 304 h 512"/>
              <a:gd name="T66" fmla="*/ 311 w 512"/>
              <a:gd name="T67" fmla="*/ 309 h 512"/>
              <a:gd name="T68" fmla="*/ 394 w 512"/>
              <a:gd name="T69" fmla="*/ 2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312" y="248"/>
                </a:moveTo>
                <a:cubicBezTo>
                  <a:pt x="300" y="258"/>
                  <a:pt x="291" y="272"/>
                  <a:pt x="289" y="288"/>
                </a:cubicBezTo>
                <a:cubicBezTo>
                  <a:pt x="272" y="288"/>
                  <a:pt x="272" y="288"/>
                  <a:pt x="272" y="288"/>
                </a:cubicBezTo>
                <a:cubicBezTo>
                  <a:pt x="298" y="224"/>
                  <a:pt x="298" y="224"/>
                  <a:pt x="298" y="224"/>
                </a:cubicBezTo>
                <a:lnTo>
                  <a:pt x="312" y="248"/>
                </a:lnTo>
                <a:close/>
                <a:moveTo>
                  <a:pt x="212" y="213"/>
                </a:moveTo>
                <a:cubicBezTo>
                  <a:pt x="253" y="276"/>
                  <a:pt x="253" y="276"/>
                  <a:pt x="253" y="276"/>
                </a:cubicBezTo>
                <a:cubicBezTo>
                  <a:pt x="280" y="213"/>
                  <a:pt x="280" y="213"/>
                  <a:pt x="280" y="213"/>
                </a:cubicBezTo>
                <a:lnTo>
                  <a:pt x="212" y="213"/>
                </a:lnTo>
                <a:close/>
                <a:moveTo>
                  <a:pt x="334" y="288"/>
                </a:moveTo>
                <a:cubicBezTo>
                  <a:pt x="322" y="267"/>
                  <a:pt x="322" y="267"/>
                  <a:pt x="322" y="267"/>
                </a:cubicBezTo>
                <a:cubicBezTo>
                  <a:pt x="317" y="273"/>
                  <a:pt x="313" y="280"/>
                  <a:pt x="311" y="288"/>
                </a:cubicBezTo>
                <a:lnTo>
                  <a:pt x="334" y="288"/>
                </a:lnTo>
                <a:close/>
                <a:moveTo>
                  <a:pt x="170" y="301"/>
                </a:moveTo>
                <a:cubicBezTo>
                  <a:pt x="168" y="306"/>
                  <a:pt x="164" y="309"/>
                  <a:pt x="160" y="309"/>
                </a:cubicBezTo>
                <a:cubicBezTo>
                  <a:pt x="159" y="309"/>
                  <a:pt x="158" y="309"/>
                  <a:pt x="157" y="309"/>
                </a:cubicBezTo>
                <a:cubicBezTo>
                  <a:pt x="151" y="307"/>
                  <a:pt x="148" y="301"/>
                  <a:pt x="149" y="295"/>
                </a:cubicBezTo>
                <a:cubicBezTo>
                  <a:pt x="162" y="256"/>
                  <a:pt x="162" y="256"/>
                  <a:pt x="162" y="256"/>
                </a:cubicBezTo>
                <a:cubicBezTo>
                  <a:pt x="161" y="256"/>
                  <a:pt x="160" y="256"/>
                  <a:pt x="160" y="256"/>
                </a:cubicBezTo>
                <a:cubicBezTo>
                  <a:pt x="136" y="256"/>
                  <a:pt x="117" y="275"/>
                  <a:pt x="117" y="298"/>
                </a:cubicBezTo>
                <a:cubicBezTo>
                  <a:pt x="117" y="322"/>
                  <a:pt x="136" y="341"/>
                  <a:pt x="160" y="341"/>
                </a:cubicBezTo>
                <a:cubicBezTo>
                  <a:pt x="183" y="341"/>
                  <a:pt x="202" y="322"/>
                  <a:pt x="202" y="298"/>
                </a:cubicBezTo>
                <a:cubicBezTo>
                  <a:pt x="202" y="283"/>
                  <a:pt x="194" y="270"/>
                  <a:pt x="182" y="262"/>
                </a:cubicBezTo>
                <a:lnTo>
                  <a:pt x="170" y="30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98"/>
                </a:moveTo>
                <a:cubicBezTo>
                  <a:pt x="416" y="263"/>
                  <a:pt x="387" y="234"/>
                  <a:pt x="352" y="234"/>
                </a:cubicBezTo>
                <a:cubicBezTo>
                  <a:pt x="344" y="234"/>
                  <a:pt x="337" y="236"/>
                  <a:pt x="330" y="238"/>
                </a:cubicBezTo>
                <a:cubicBezTo>
                  <a:pt x="309" y="199"/>
                  <a:pt x="309" y="199"/>
                  <a:pt x="309" y="199"/>
                </a:cubicBezTo>
                <a:cubicBezTo>
                  <a:pt x="316" y="181"/>
                  <a:pt x="316" y="181"/>
                  <a:pt x="316" y="181"/>
                </a:cubicBezTo>
                <a:cubicBezTo>
                  <a:pt x="330" y="181"/>
                  <a:pt x="330" y="181"/>
                  <a:pt x="330" y="181"/>
                </a:cubicBezTo>
                <a:cubicBezTo>
                  <a:pt x="336" y="181"/>
                  <a:pt x="341" y="176"/>
                  <a:pt x="341" y="170"/>
                </a:cubicBezTo>
                <a:cubicBezTo>
                  <a:pt x="341" y="164"/>
                  <a:pt x="336" y="160"/>
                  <a:pt x="330" y="160"/>
                </a:cubicBezTo>
                <a:cubicBezTo>
                  <a:pt x="288" y="160"/>
                  <a:pt x="288" y="160"/>
                  <a:pt x="288" y="160"/>
                </a:cubicBezTo>
                <a:cubicBezTo>
                  <a:pt x="282" y="160"/>
                  <a:pt x="277" y="164"/>
                  <a:pt x="277" y="170"/>
                </a:cubicBezTo>
                <a:cubicBezTo>
                  <a:pt x="277" y="176"/>
                  <a:pt x="282" y="181"/>
                  <a:pt x="288" y="181"/>
                </a:cubicBezTo>
                <a:cubicBezTo>
                  <a:pt x="293" y="181"/>
                  <a:pt x="293" y="181"/>
                  <a:pt x="293" y="181"/>
                </a:cubicBezTo>
                <a:cubicBezTo>
                  <a:pt x="289" y="192"/>
                  <a:pt x="289" y="192"/>
                  <a:pt x="289" y="192"/>
                </a:cubicBezTo>
                <a:cubicBezTo>
                  <a:pt x="204" y="192"/>
                  <a:pt x="204" y="192"/>
                  <a:pt x="204" y="192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24" y="170"/>
                  <a:pt x="224" y="170"/>
                  <a:pt x="224" y="170"/>
                </a:cubicBezTo>
                <a:cubicBezTo>
                  <a:pt x="230" y="170"/>
                  <a:pt x="234" y="166"/>
                  <a:pt x="234" y="160"/>
                </a:cubicBezTo>
                <a:cubicBezTo>
                  <a:pt x="234" y="154"/>
                  <a:pt x="230" y="149"/>
                  <a:pt x="224" y="149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198" y="149"/>
                  <a:pt x="194" y="152"/>
                  <a:pt x="192" y="157"/>
                </a:cubicBezTo>
                <a:cubicBezTo>
                  <a:pt x="168" y="235"/>
                  <a:pt x="168" y="235"/>
                  <a:pt x="168" y="235"/>
                </a:cubicBezTo>
                <a:cubicBezTo>
                  <a:pt x="165" y="235"/>
                  <a:pt x="163" y="234"/>
                  <a:pt x="160" y="234"/>
                </a:cubicBezTo>
                <a:cubicBezTo>
                  <a:pt x="124" y="234"/>
                  <a:pt x="96" y="263"/>
                  <a:pt x="96" y="298"/>
                </a:cubicBezTo>
                <a:cubicBezTo>
                  <a:pt x="96" y="334"/>
                  <a:pt x="124" y="362"/>
                  <a:pt x="160" y="362"/>
                </a:cubicBezTo>
                <a:cubicBezTo>
                  <a:pt x="195" y="362"/>
                  <a:pt x="224" y="334"/>
                  <a:pt x="224" y="298"/>
                </a:cubicBezTo>
                <a:cubicBezTo>
                  <a:pt x="224" y="273"/>
                  <a:pt x="209" y="252"/>
                  <a:pt x="188" y="241"/>
                </a:cubicBezTo>
                <a:cubicBezTo>
                  <a:pt x="194" y="224"/>
                  <a:pt x="194" y="224"/>
                  <a:pt x="194" y="224"/>
                </a:cubicBezTo>
                <a:cubicBezTo>
                  <a:pt x="247" y="304"/>
                  <a:pt x="247" y="304"/>
                  <a:pt x="247" y="304"/>
                </a:cubicBezTo>
                <a:cubicBezTo>
                  <a:pt x="249" y="307"/>
                  <a:pt x="252" y="309"/>
                  <a:pt x="256" y="309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89" y="309"/>
                  <a:pt x="289" y="309"/>
                  <a:pt x="289" y="309"/>
                </a:cubicBezTo>
                <a:cubicBezTo>
                  <a:pt x="294" y="339"/>
                  <a:pt x="320" y="362"/>
                  <a:pt x="352" y="362"/>
                </a:cubicBezTo>
                <a:cubicBezTo>
                  <a:pt x="387" y="362"/>
                  <a:pt x="416" y="334"/>
                  <a:pt x="416" y="298"/>
                </a:cubicBezTo>
                <a:close/>
                <a:moveTo>
                  <a:pt x="352" y="256"/>
                </a:moveTo>
                <a:cubicBezTo>
                  <a:pt x="348" y="256"/>
                  <a:pt x="344" y="256"/>
                  <a:pt x="341" y="257"/>
                </a:cubicBezTo>
                <a:cubicBezTo>
                  <a:pt x="361" y="293"/>
                  <a:pt x="361" y="293"/>
                  <a:pt x="361" y="293"/>
                </a:cubicBezTo>
                <a:cubicBezTo>
                  <a:pt x="363" y="296"/>
                  <a:pt x="363" y="300"/>
                  <a:pt x="361" y="304"/>
                </a:cubicBezTo>
                <a:cubicBezTo>
                  <a:pt x="359" y="307"/>
                  <a:pt x="355" y="309"/>
                  <a:pt x="352" y="309"/>
                </a:cubicBezTo>
                <a:cubicBezTo>
                  <a:pt x="311" y="309"/>
                  <a:pt x="311" y="309"/>
                  <a:pt x="311" y="309"/>
                </a:cubicBezTo>
                <a:cubicBezTo>
                  <a:pt x="315" y="327"/>
                  <a:pt x="332" y="341"/>
                  <a:pt x="352" y="341"/>
                </a:cubicBezTo>
                <a:cubicBezTo>
                  <a:pt x="375" y="341"/>
                  <a:pt x="394" y="322"/>
                  <a:pt x="394" y="298"/>
                </a:cubicBezTo>
                <a:cubicBezTo>
                  <a:pt x="394" y="275"/>
                  <a:pt x="375" y="256"/>
                  <a:pt x="352" y="25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1" name="Group 501"/>
          <p:cNvGrpSpPr>
            <a:grpSpLocks noChangeAspect="1"/>
          </p:cNvGrpSpPr>
          <p:nvPr/>
        </p:nvGrpSpPr>
        <p:grpSpPr bwMode="auto">
          <a:xfrm>
            <a:off x="1918729" y="2051050"/>
            <a:ext cx="367982" cy="367982"/>
            <a:chOff x="3419" y="2995"/>
            <a:chExt cx="340" cy="340"/>
          </a:xfrm>
          <a:solidFill>
            <a:schemeClr val="accent6"/>
          </a:solidFill>
        </p:grpSpPr>
        <p:sp>
          <p:nvSpPr>
            <p:cNvPr id="262" name="Freeform 502"/>
            <p:cNvSpPr>
              <a:spLocks noEditPoints="1"/>
            </p:cNvSpPr>
            <p:nvPr/>
          </p:nvSpPr>
          <p:spPr bwMode="auto">
            <a:xfrm>
              <a:off x="3419" y="299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503"/>
            <p:cNvSpPr>
              <a:spLocks noEditPoints="1"/>
            </p:cNvSpPr>
            <p:nvPr/>
          </p:nvSpPr>
          <p:spPr bwMode="auto">
            <a:xfrm>
              <a:off x="3483" y="3094"/>
              <a:ext cx="212" cy="141"/>
            </a:xfrm>
            <a:custGeom>
              <a:avLst/>
              <a:gdLst>
                <a:gd name="T0" fmla="*/ 234 w 320"/>
                <a:gd name="T1" fmla="*/ 89 h 213"/>
                <a:gd name="T2" fmla="*/ 220 w 320"/>
                <a:gd name="T3" fmla="*/ 32 h 213"/>
                <a:gd name="T4" fmla="*/ 245 w 320"/>
                <a:gd name="T5" fmla="*/ 21 h 213"/>
                <a:gd name="T6" fmla="*/ 192 w 320"/>
                <a:gd name="T7" fmla="*/ 11 h 213"/>
                <a:gd name="T8" fmla="*/ 192 w 320"/>
                <a:gd name="T9" fmla="*/ 32 h 213"/>
                <a:gd name="T10" fmla="*/ 193 w 320"/>
                <a:gd name="T11" fmla="*/ 43 h 213"/>
                <a:gd name="T12" fmla="*/ 114 w 320"/>
                <a:gd name="T13" fmla="*/ 21 h 213"/>
                <a:gd name="T14" fmla="*/ 138 w 320"/>
                <a:gd name="T15" fmla="*/ 11 h 213"/>
                <a:gd name="T16" fmla="*/ 106 w 320"/>
                <a:gd name="T17" fmla="*/ 0 h 213"/>
                <a:gd name="T18" fmla="*/ 72 w 320"/>
                <a:gd name="T19" fmla="*/ 86 h 213"/>
                <a:gd name="T20" fmla="*/ 0 w 320"/>
                <a:gd name="T21" fmla="*/ 149 h 213"/>
                <a:gd name="T22" fmla="*/ 128 w 320"/>
                <a:gd name="T23" fmla="*/ 149 h 213"/>
                <a:gd name="T24" fmla="*/ 98 w 320"/>
                <a:gd name="T25" fmla="*/ 75 h 213"/>
                <a:gd name="T26" fmla="*/ 160 w 320"/>
                <a:gd name="T27" fmla="*/ 160 h 213"/>
                <a:gd name="T28" fmla="*/ 193 w 320"/>
                <a:gd name="T29" fmla="*/ 160 h 213"/>
                <a:gd name="T30" fmla="*/ 320 w 320"/>
                <a:gd name="T31" fmla="*/ 149 h 213"/>
                <a:gd name="T32" fmla="*/ 106 w 320"/>
                <a:gd name="T33" fmla="*/ 149 h 213"/>
                <a:gd name="T34" fmla="*/ 21 w 320"/>
                <a:gd name="T35" fmla="*/ 149 h 213"/>
                <a:gd name="T36" fmla="*/ 66 w 320"/>
                <a:gd name="T37" fmla="*/ 107 h 213"/>
                <a:gd name="T38" fmla="*/ 61 w 320"/>
                <a:gd name="T39" fmla="*/ 160 h 213"/>
                <a:gd name="T40" fmla="*/ 74 w 320"/>
                <a:gd name="T41" fmla="*/ 152 h 213"/>
                <a:gd name="T42" fmla="*/ 106 w 320"/>
                <a:gd name="T43" fmla="*/ 149 h 213"/>
                <a:gd name="T44" fmla="*/ 193 w 320"/>
                <a:gd name="T45" fmla="*/ 139 h 213"/>
                <a:gd name="T46" fmla="*/ 202 w 320"/>
                <a:gd name="T47" fmla="*/ 75 h 213"/>
                <a:gd name="T48" fmla="*/ 238 w 320"/>
                <a:gd name="T49" fmla="*/ 139 h 213"/>
                <a:gd name="T50" fmla="*/ 226 w 320"/>
                <a:gd name="T51" fmla="*/ 118 h 213"/>
                <a:gd name="T52" fmla="*/ 157 w 320"/>
                <a:gd name="T53" fmla="*/ 127 h 213"/>
                <a:gd name="T54" fmla="*/ 184 w 320"/>
                <a:gd name="T55" fmla="*/ 64 h 213"/>
                <a:gd name="T56" fmla="*/ 256 w 320"/>
                <a:gd name="T57" fmla="*/ 192 h 213"/>
                <a:gd name="T58" fmla="*/ 256 w 320"/>
                <a:gd name="T59" fmla="*/ 160 h 213"/>
                <a:gd name="T60" fmla="*/ 265 w 320"/>
                <a:gd name="T61" fmla="*/ 144 h 213"/>
                <a:gd name="T62" fmla="*/ 256 w 320"/>
                <a:gd name="T63" fmla="*/ 107 h 213"/>
                <a:gd name="T64" fmla="*/ 256 w 320"/>
                <a:gd name="T65" fmla="*/ 19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213">
                  <a:moveTo>
                    <a:pt x="256" y="85"/>
                  </a:moveTo>
                  <a:cubicBezTo>
                    <a:pt x="248" y="85"/>
                    <a:pt x="241" y="87"/>
                    <a:pt x="234" y="89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220" y="32"/>
                    <a:pt x="220" y="32"/>
                    <a:pt x="220" y="3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40" y="32"/>
                    <a:pt x="245" y="27"/>
                    <a:pt x="245" y="21"/>
                  </a:cubicBezTo>
                  <a:cubicBezTo>
                    <a:pt x="245" y="15"/>
                    <a:pt x="240" y="11"/>
                    <a:pt x="234" y="11"/>
                  </a:cubicBezTo>
                  <a:cubicBezTo>
                    <a:pt x="192" y="11"/>
                    <a:pt x="192" y="11"/>
                    <a:pt x="192" y="11"/>
                  </a:cubicBezTo>
                  <a:cubicBezTo>
                    <a:pt x="186" y="11"/>
                    <a:pt x="181" y="15"/>
                    <a:pt x="181" y="21"/>
                  </a:cubicBezTo>
                  <a:cubicBezTo>
                    <a:pt x="181" y="27"/>
                    <a:pt x="186" y="32"/>
                    <a:pt x="192" y="32"/>
                  </a:cubicBezTo>
                  <a:cubicBezTo>
                    <a:pt x="197" y="32"/>
                    <a:pt x="197" y="32"/>
                    <a:pt x="197" y="32"/>
                  </a:cubicBezTo>
                  <a:cubicBezTo>
                    <a:pt x="193" y="43"/>
                    <a:pt x="193" y="43"/>
                    <a:pt x="193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34" y="21"/>
                    <a:pt x="138" y="17"/>
                    <a:pt x="138" y="11"/>
                  </a:cubicBezTo>
                  <a:cubicBezTo>
                    <a:pt x="138" y="5"/>
                    <a:pt x="134" y="0"/>
                    <a:pt x="128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2" y="0"/>
                    <a:pt x="98" y="3"/>
                    <a:pt x="96" y="8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69" y="86"/>
                    <a:pt x="67" y="85"/>
                    <a:pt x="64" y="85"/>
                  </a:cubicBezTo>
                  <a:cubicBezTo>
                    <a:pt x="28" y="85"/>
                    <a:pt x="0" y="114"/>
                    <a:pt x="0" y="149"/>
                  </a:cubicBezTo>
                  <a:cubicBezTo>
                    <a:pt x="0" y="185"/>
                    <a:pt x="28" y="213"/>
                    <a:pt x="64" y="213"/>
                  </a:cubicBezTo>
                  <a:cubicBezTo>
                    <a:pt x="99" y="213"/>
                    <a:pt x="128" y="185"/>
                    <a:pt x="128" y="149"/>
                  </a:cubicBezTo>
                  <a:cubicBezTo>
                    <a:pt x="128" y="124"/>
                    <a:pt x="113" y="103"/>
                    <a:pt x="92" y="92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3" y="158"/>
                    <a:pt x="156" y="160"/>
                    <a:pt x="160" y="160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93" y="160"/>
                    <a:pt x="193" y="160"/>
                    <a:pt x="193" y="160"/>
                  </a:cubicBezTo>
                  <a:cubicBezTo>
                    <a:pt x="198" y="190"/>
                    <a:pt x="224" y="213"/>
                    <a:pt x="256" y="213"/>
                  </a:cubicBezTo>
                  <a:cubicBezTo>
                    <a:pt x="291" y="213"/>
                    <a:pt x="320" y="185"/>
                    <a:pt x="320" y="149"/>
                  </a:cubicBezTo>
                  <a:cubicBezTo>
                    <a:pt x="320" y="114"/>
                    <a:pt x="291" y="85"/>
                    <a:pt x="256" y="85"/>
                  </a:cubicBezTo>
                  <a:close/>
                  <a:moveTo>
                    <a:pt x="106" y="149"/>
                  </a:moveTo>
                  <a:cubicBezTo>
                    <a:pt x="106" y="173"/>
                    <a:pt x="87" y="192"/>
                    <a:pt x="64" y="192"/>
                  </a:cubicBezTo>
                  <a:cubicBezTo>
                    <a:pt x="40" y="192"/>
                    <a:pt x="21" y="173"/>
                    <a:pt x="21" y="149"/>
                  </a:cubicBezTo>
                  <a:cubicBezTo>
                    <a:pt x="21" y="126"/>
                    <a:pt x="40" y="107"/>
                    <a:pt x="64" y="107"/>
                  </a:cubicBezTo>
                  <a:cubicBezTo>
                    <a:pt x="64" y="107"/>
                    <a:pt x="65" y="107"/>
                    <a:pt x="66" y="107"/>
                  </a:cubicBezTo>
                  <a:cubicBezTo>
                    <a:pt x="53" y="146"/>
                    <a:pt x="53" y="146"/>
                    <a:pt x="53" y="146"/>
                  </a:cubicBezTo>
                  <a:cubicBezTo>
                    <a:pt x="52" y="152"/>
                    <a:pt x="55" y="158"/>
                    <a:pt x="61" y="160"/>
                  </a:cubicBezTo>
                  <a:cubicBezTo>
                    <a:pt x="62" y="160"/>
                    <a:pt x="63" y="160"/>
                    <a:pt x="64" y="160"/>
                  </a:cubicBezTo>
                  <a:cubicBezTo>
                    <a:pt x="68" y="160"/>
                    <a:pt x="72" y="157"/>
                    <a:pt x="74" y="152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98" y="121"/>
                    <a:pt x="106" y="134"/>
                    <a:pt x="106" y="149"/>
                  </a:cubicBezTo>
                  <a:close/>
                  <a:moveTo>
                    <a:pt x="216" y="99"/>
                  </a:moveTo>
                  <a:cubicBezTo>
                    <a:pt x="204" y="109"/>
                    <a:pt x="195" y="123"/>
                    <a:pt x="193" y="139"/>
                  </a:cubicBezTo>
                  <a:cubicBezTo>
                    <a:pt x="176" y="139"/>
                    <a:pt x="176" y="139"/>
                    <a:pt x="176" y="139"/>
                  </a:cubicBezTo>
                  <a:cubicBezTo>
                    <a:pt x="202" y="75"/>
                    <a:pt x="202" y="75"/>
                    <a:pt x="202" y="75"/>
                  </a:cubicBezTo>
                  <a:lnTo>
                    <a:pt x="216" y="99"/>
                  </a:lnTo>
                  <a:close/>
                  <a:moveTo>
                    <a:pt x="238" y="139"/>
                  </a:moveTo>
                  <a:cubicBezTo>
                    <a:pt x="215" y="139"/>
                    <a:pt x="215" y="139"/>
                    <a:pt x="215" y="139"/>
                  </a:cubicBezTo>
                  <a:cubicBezTo>
                    <a:pt x="217" y="131"/>
                    <a:pt x="221" y="124"/>
                    <a:pt x="226" y="118"/>
                  </a:cubicBezTo>
                  <a:lnTo>
                    <a:pt x="238" y="139"/>
                  </a:lnTo>
                  <a:close/>
                  <a:moveTo>
                    <a:pt x="157" y="127"/>
                  </a:moveTo>
                  <a:cubicBezTo>
                    <a:pt x="116" y="64"/>
                    <a:pt x="116" y="64"/>
                    <a:pt x="116" y="64"/>
                  </a:cubicBezTo>
                  <a:cubicBezTo>
                    <a:pt x="184" y="64"/>
                    <a:pt x="184" y="64"/>
                    <a:pt x="184" y="64"/>
                  </a:cubicBezTo>
                  <a:lnTo>
                    <a:pt x="157" y="127"/>
                  </a:lnTo>
                  <a:close/>
                  <a:moveTo>
                    <a:pt x="256" y="192"/>
                  </a:moveTo>
                  <a:cubicBezTo>
                    <a:pt x="236" y="192"/>
                    <a:pt x="219" y="178"/>
                    <a:pt x="215" y="160"/>
                  </a:cubicBezTo>
                  <a:cubicBezTo>
                    <a:pt x="256" y="160"/>
                    <a:pt x="256" y="160"/>
                    <a:pt x="256" y="160"/>
                  </a:cubicBezTo>
                  <a:cubicBezTo>
                    <a:pt x="259" y="160"/>
                    <a:pt x="263" y="158"/>
                    <a:pt x="265" y="155"/>
                  </a:cubicBezTo>
                  <a:cubicBezTo>
                    <a:pt x="267" y="151"/>
                    <a:pt x="267" y="147"/>
                    <a:pt x="265" y="144"/>
                  </a:cubicBezTo>
                  <a:cubicBezTo>
                    <a:pt x="245" y="108"/>
                    <a:pt x="245" y="108"/>
                    <a:pt x="245" y="108"/>
                  </a:cubicBezTo>
                  <a:cubicBezTo>
                    <a:pt x="248" y="107"/>
                    <a:pt x="252" y="107"/>
                    <a:pt x="256" y="107"/>
                  </a:cubicBezTo>
                  <a:cubicBezTo>
                    <a:pt x="279" y="107"/>
                    <a:pt x="298" y="126"/>
                    <a:pt x="298" y="149"/>
                  </a:cubicBezTo>
                  <a:cubicBezTo>
                    <a:pt x="298" y="173"/>
                    <a:pt x="279" y="192"/>
                    <a:pt x="25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4" name="Freeform 633"/>
          <p:cNvSpPr>
            <a:spLocks noChangeAspect="1" noEditPoints="1"/>
          </p:cNvSpPr>
          <p:nvPr/>
        </p:nvSpPr>
        <p:spPr bwMode="auto">
          <a:xfrm>
            <a:off x="2415747" y="2051050"/>
            <a:ext cx="367982" cy="367982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5 w 512"/>
              <a:gd name="T11" fmla="*/ 277 h 512"/>
              <a:gd name="T12" fmla="*/ 416 w 512"/>
              <a:gd name="T13" fmla="*/ 288 h 512"/>
              <a:gd name="T14" fmla="*/ 405 w 512"/>
              <a:gd name="T15" fmla="*/ 298 h 512"/>
              <a:gd name="T16" fmla="*/ 362 w 512"/>
              <a:gd name="T17" fmla="*/ 298 h 512"/>
              <a:gd name="T18" fmla="*/ 362 w 512"/>
              <a:gd name="T19" fmla="*/ 341 h 512"/>
              <a:gd name="T20" fmla="*/ 351 w 512"/>
              <a:gd name="T21" fmla="*/ 352 h 512"/>
              <a:gd name="T22" fmla="*/ 340 w 512"/>
              <a:gd name="T23" fmla="*/ 341 h 512"/>
              <a:gd name="T24" fmla="*/ 340 w 512"/>
              <a:gd name="T25" fmla="*/ 298 h 512"/>
              <a:gd name="T26" fmla="*/ 170 w 512"/>
              <a:gd name="T27" fmla="*/ 298 h 512"/>
              <a:gd name="T28" fmla="*/ 170 w 512"/>
              <a:gd name="T29" fmla="*/ 341 h 512"/>
              <a:gd name="T30" fmla="*/ 159 w 512"/>
              <a:gd name="T31" fmla="*/ 352 h 512"/>
              <a:gd name="T32" fmla="*/ 148 w 512"/>
              <a:gd name="T33" fmla="*/ 341 h 512"/>
              <a:gd name="T34" fmla="*/ 148 w 512"/>
              <a:gd name="T35" fmla="*/ 298 h 512"/>
              <a:gd name="T36" fmla="*/ 106 w 512"/>
              <a:gd name="T37" fmla="*/ 298 h 512"/>
              <a:gd name="T38" fmla="*/ 96 w 512"/>
              <a:gd name="T39" fmla="*/ 288 h 512"/>
              <a:gd name="T40" fmla="*/ 106 w 512"/>
              <a:gd name="T41" fmla="*/ 277 h 512"/>
              <a:gd name="T42" fmla="*/ 148 w 512"/>
              <a:gd name="T43" fmla="*/ 277 h 512"/>
              <a:gd name="T44" fmla="*/ 148 w 512"/>
              <a:gd name="T45" fmla="*/ 218 h 512"/>
              <a:gd name="T46" fmla="*/ 110 w 512"/>
              <a:gd name="T47" fmla="*/ 242 h 512"/>
              <a:gd name="T48" fmla="*/ 106 w 512"/>
              <a:gd name="T49" fmla="*/ 242 h 512"/>
              <a:gd name="T50" fmla="*/ 96 w 512"/>
              <a:gd name="T51" fmla="*/ 236 h 512"/>
              <a:gd name="T52" fmla="*/ 102 w 512"/>
              <a:gd name="T53" fmla="*/ 222 h 512"/>
              <a:gd name="T54" fmla="*/ 148 w 512"/>
              <a:gd name="T55" fmla="*/ 188 h 512"/>
              <a:gd name="T56" fmla="*/ 148 w 512"/>
              <a:gd name="T57" fmla="*/ 170 h 512"/>
              <a:gd name="T58" fmla="*/ 159 w 512"/>
              <a:gd name="T59" fmla="*/ 160 h 512"/>
              <a:gd name="T60" fmla="*/ 170 w 512"/>
              <a:gd name="T61" fmla="*/ 170 h 512"/>
              <a:gd name="T62" fmla="*/ 170 w 512"/>
              <a:gd name="T63" fmla="*/ 188 h 512"/>
              <a:gd name="T64" fmla="*/ 255 w 512"/>
              <a:gd name="T65" fmla="*/ 229 h 512"/>
              <a:gd name="T66" fmla="*/ 340 w 512"/>
              <a:gd name="T67" fmla="*/ 188 h 512"/>
              <a:gd name="T68" fmla="*/ 340 w 512"/>
              <a:gd name="T69" fmla="*/ 170 h 512"/>
              <a:gd name="T70" fmla="*/ 351 w 512"/>
              <a:gd name="T71" fmla="*/ 160 h 512"/>
              <a:gd name="T72" fmla="*/ 362 w 512"/>
              <a:gd name="T73" fmla="*/ 170 h 512"/>
              <a:gd name="T74" fmla="*/ 362 w 512"/>
              <a:gd name="T75" fmla="*/ 188 h 512"/>
              <a:gd name="T76" fmla="*/ 409 w 512"/>
              <a:gd name="T77" fmla="*/ 222 h 512"/>
              <a:gd name="T78" fmla="*/ 415 w 512"/>
              <a:gd name="T79" fmla="*/ 236 h 512"/>
              <a:gd name="T80" fmla="*/ 405 w 512"/>
              <a:gd name="T81" fmla="*/ 242 h 512"/>
              <a:gd name="T82" fmla="*/ 401 w 512"/>
              <a:gd name="T83" fmla="*/ 242 h 512"/>
              <a:gd name="T84" fmla="*/ 362 w 512"/>
              <a:gd name="T85" fmla="*/ 219 h 512"/>
              <a:gd name="T86" fmla="*/ 362 w 512"/>
              <a:gd name="T87" fmla="*/ 277 h 512"/>
              <a:gd name="T88" fmla="*/ 405 w 512"/>
              <a:gd name="T89" fmla="*/ 277 h 512"/>
              <a:gd name="T90" fmla="*/ 255 w 512"/>
              <a:gd name="T91" fmla="*/ 250 h 512"/>
              <a:gd name="T92" fmla="*/ 340 w 512"/>
              <a:gd name="T93" fmla="*/ 219 h 512"/>
              <a:gd name="T94" fmla="*/ 340 w 512"/>
              <a:gd name="T95" fmla="*/ 277 h 512"/>
              <a:gd name="T96" fmla="*/ 170 w 512"/>
              <a:gd name="T97" fmla="*/ 277 h 512"/>
              <a:gd name="T98" fmla="*/ 170 w 512"/>
              <a:gd name="T99" fmla="*/ 219 h 512"/>
              <a:gd name="T100" fmla="*/ 255 w 512"/>
              <a:gd name="T101" fmla="*/ 25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77"/>
                </a:moveTo>
                <a:cubicBezTo>
                  <a:pt x="411" y="277"/>
                  <a:pt x="416" y="282"/>
                  <a:pt x="416" y="288"/>
                </a:cubicBezTo>
                <a:cubicBezTo>
                  <a:pt x="416" y="294"/>
                  <a:pt x="411" y="298"/>
                  <a:pt x="405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2" y="347"/>
                  <a:pt x="357" y="352"/>
                  <a:pt x="351" y="352"/>
                </a:cubicBezTo>
                <a:cubicBezTo>
                  <a:pt x="345" y="352"/>
                  <a:pt x="340" y="347"/>
                  <a:pt x="340" y="341"/>
                </a:cubicBezTo>
                <a:cubicBezTo>
                  <a:pt x="340" y="298"/>
                  <a:pt x="340" y="298"/>
                  <a:pt x="340" y="298"/>
                </a:cubicBezTo>
                <a:cubicBezTo>
                  <a:pt x="170" y="298"/>
                  <a:pt x="170" y="298"/>
                  <a:pt x="170" y="298"/>
                </a:cubicBezTo>
                <a:cubicBezTo>
                  <a:pt x="170" y="341"/>
                  <a:pt x="170" y="341"/>
                  <a:pt x="170" y="341"/>
                </a:cubicBezTo>
                <a:cubicBezTo>
                  <a:pt x="170" y="347"/>
                  <a:pt x="165" y="352"/>
                  <a:pt x="159" y="352"/>
                </a:cubicBezTo>
                <a:cubicBezTo>
                  <a:pt x="153" y="352"/>
                  <a:pt x="148" y="347"/>
                  <a:pt x="148" y="341"/>
                </a:cubicBezTo>
                <a:cubicBezTo>
                  <a:pt x="148" y="298"/>
                  <a:pt x="148" y="298"/>
                  <a:pt x="148" y="298"/>
                </a:cubicBezTo>
                <a:cubicBezTo>
                  <a:pt x="106" y="298"/>
                  <a:pt x="106" y="298"/>
                  <a:pt x="106" y="298"/>
                </a:cubicBezTo>
                <a:cubicBezTo>
                  <a:pt x="100" y="298"/>
                  <a:pt x="96" y="294"/>
                  <a:pt x="96" y="288"/>
                </a:cubicBezTo>
                <a:cubicBezTo>
                  <a:pt x="96" y="282"/>
                  <a:pt x="100" y="277"/>
                  <a:pt x="106" y="277"/>
                </a:cubicBezTo>
                <a:cubicBezTo>
                  <a:pt x="148" y="277"/>
                  <a:pt x="148" y="277"/>
                  <a:pt x="148" y="277"/>
                </a:cubicBezTo>
                <a:cubicBezTo>
                  <a:pt x="148" y="218"/>
                  <a:pt x="148" y="218"/>
                  <a:pt x="148" y="218"/>
                </a:cubicBezTo>
                <a:cubicBezTo>
                  <a:pt x="138" y="228"/>
                  <a:pt x="124" y="236"/>
                  <a:pt x="110" y="242"/>
                </a:cubicBezTo>
                <a:cubicBezTo>
                  <a:pt x="109" y="242"/>
                  <a:pt x="107" y="242"/>
                  <a:pt x="106" y="242"/>
                </a:cubicBezTo>
                <a:cubicBezTo>
                  <a:pt x="102" y="242"/>
                  <a:pt x="98" y="240"/>
                  <a:pt x="96" y="236"/>
                </a:cubicBezTo>
                <a:cubicBezTo>
                  <a:pt x="94" y="230"/>
                  <a:pt x="97" y="224"/>
                  <a:pt x="102" y="222"/>
                </a:cubicBezTo>
                <a:cubicBezTo>
                  <a:pt x="121" y="214"/>
                  <a:pt x="138" y="202"/>
                  <a:pt x="148" y="188"/>
                </a:cubicBezTo>
                <a:cubicBezTo>
                  <a:pt x="148" y="170"/>
                  <a:pt x="148" y="170"/>
                  <a:pt x="148" y="170"/>
                </a:cubicBezTo>
                <a:cubicBezTo>
                  <a:pt x="148" y="164"/>
                  <a:pt x="153" y="160"/>
                  <a:pt x="159" y="160"/>
                </a:cubicBezTo>
                <a:cubicBezTo>
                  <a:pt x="165" y="160"/>
                  <a:pt x="170" y="164"/>
                  <a:pt x="170" y="170"/>
                </a:cubicBezTo>
                <a:cubicBezTo>
                  <a:pt x="170" y="188"/>
                  <a:pt x="170" y="188"/>
                  <a:pt x="170" y="188"/>
                </a:cubicBezTo>
                <a:cubicBezTo>
                  <a:pt x="190" y="214"/>
                  <a:pt x="220" y="229"/>
                  <a:pt x="255" y="229"/>
                </a:cubicBezTo>
                <a:cubicBezTo>
                  <a:pt x="289" y="229"/>
                  <a:pt x="320" y="214"/>
                  <a:pt x="340" y="188"/>
                </a:cubicBezTo>
                <a:cubicBezTo>
                  <a:pt x="340" y="170"/>
                  <a:pt x="340" y="170"/>
                  <a:pt x="340" y="170"/>
                </a:cubicBezTo>
                <a:cubicBezTo>
                  <a:pt x="340" y="164"/>
                  <a:pt x="345" y="160"/>
                  <a:pt x="351" y="160"/>
                </a:cubicBezTo>
                <a:cubicBezTo>
                  <a:pt x="357" y="160"/>
                  <a:pt x="362" y="164"/>
                  <a:pt x="362" y="170"/>
                </a:cubicBezTo>
                <a:cubicBezTo>
                  <a:pt x="362" y="188"/>
                  <a:pt x="362" y="188"/>
                  <a:pt x="362" y="188"/>
                </a:cubicBezTo>
                <a:cubicBezTo>
                  <a:pt x="374" y="202"/>
                  <a:pt x="389" y="214"/>
                  <a:pt x="409" y="222"/>
                </a:cubicBezTo>
                <a:cubicBezTo>
                  <a:pt x="414" y="224"/>
                  <a:pt x="417" y="230"/>
                  <a:pt x="415" y="236"/>
                </a:cubicBezTo>
                <a:cubicBezTo>
                  <a:pt x="413" y="240"/>
                  <a:pt x="409" y="242"/>
                  <a:pt x="405" y="242"/>
                </a:cubicBezTo>
                <a:cubicBezTo>
                  <a:pt x="404" y="242"/>
                  <a:pt x="402" y="242"/>
                  <a:pt x="401" y="242"/>
                </a:cubicBezTo>
                <a:cubicBezTo>
                  <a:pt x="386" y="236"/>
                  <a:pt x="374" y="228"/>
                  <a:pt x="362" y="219"/>
                </a:cubicBezTo>
                <a:cubicBezTo>
                  <a:pt x="362" y="277"/>
                  <a:pt x="362" y="277"/>
                  <a:pt x="362" y="277"/>
                </a:cubicBezTo>
                <a:lnTo>
                  <a:pt x="405" y="277"/>
                </a:lnTo>
                <a:close/>
                <a:moveTo>
                  <a:pt x="255" y="250"/>
                </a:moveTo>
                <a:cubicBezTo>
                  <a:pt x="287" y="250"/>
                  <a:pt x="318" y="239"/>
                  <a:pt x="340" y="219"/>
                </a:cubicBezTo>
                <a:cubicBezTo>
                  <a:pt x="340" y="277"/>
                  <a:pt x="340" y="277"/>
                  <a:pt x="340" y="277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19"/>
                  <a:pt x="170" y="219"/>
                  <a:pt x="170" y="219"/>
                </a:cubicBezTo>
                <a:cubicBezTo>
                  <a:pt x="194" y="239"/>
                  <a:pt x="222" y="250"/>
                  <a:pt x="255" y="2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5" name="Group 636"/>
          <p:cNvGrpSpPr>
            <a:grpSpLocks noChangeAspect="1"/>
          </p:cNvGrpSpPr>
          <p:nvPr/>
        </p:nvGrpSpPr>
        <p:grpSpPr bwMode="auto">
          <a:xfrm>
            <a:off x="2912765" y="2051050"/>
            <a:ext cx="367982" cy="369064"/>
            <a:chOff x="5261" y="2857"/>
            <a:chExt cx="340" cy="341"/>
          </a:xfrm>
          <a:solidFill>
            <a:schemeClr val="accent1"/>
          </a:solidFill>
        </p:grpSpPr>
        <p:sp>
          <p:nvSpPr>
            <p:cNvPr id="266" name="Freeform 637"/>
            <p:cNvSpPr>
              <a:spLocks noEditPoints="1"/>
            </p:cNvSpPr>
            <p:nvPr/>
          </p:nvSpPr>
          <p:spPr bwMode="auto">
            <a:xfrm>
              <a:off x="5261" y="28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638"/>
            <p:cNvSpPr>
              <a:spLocks noEditPoints="1"/>
            </p:cNvSpPr>
            <p:nvPr/>
          </p:nvSpPr>
          <p:spPr bwMode="auto">
            <a:xfrm>
              <a:off x="5323" y="2964"/>
              <a:ext cx="215" cy="127"/>
            </a:xfrm>
            <a:custGeom>
              <a:avLst/>
              <a:gdLst>
                <a:gd name="T0" fmla="*/ 311 w 323"/>
                <a:gd name="T1" fmla="*/ 117 h 192"/>
                <a:gd name="T2" fmla="*/ 268 w 323"/>
                <a:gd name="T3" fmla="*/ 117 h 192"/>
                <a:gd name="T4" fmla="*/ 268 w 323"/>
                <a:gd name="T5" fmla="*/ 59 h 192"/>
                <a:gd name="T6" fmla="*/ 307 w 323"/>
                <a:gd name="T7" fmla="*/ 82 h 192"/>
                <a:gd name="T8" fmla="*/ 311 w 323"/>
                <a:gd name="T9" fmla="*/ 82 h 192"/>
                <a:gd name="T10" fmla="*/ 321 w 323"/>
                <a:gd name="T11" fmla="*/ 76 h 192"/>
                <a:gd name="T12" fmla="*/ 315 w 323"/>
                <a:gd name="T13" fmla="*/ 62 h 192"/>
                <a:gd name="T14" fmla="*/ 268 w 323"/>
                <a:gd name="T15" fmla="*/ 28 h 192"/>
                <a:gd name="T16" fmla="*/ 268 w 323"/>
                <a:gd name="T17" fmla="*/ 10 h 192"/>
                <a:gd name="T18" fmla="*/ 257 w 323"/>
                <a:gd name="T19" fmla="*/ 0 h 192"/>
                <a:gd name="T20" fmla="*/ 246 w 323"/>
                <a:gd name="T21" fmla="*/ 10 h 192"/>
                <a:gd name="T22" fmla="*/ 246 w 323"/>
                <a:gd name="T23" fmla="*/ 28 h 192"/>
                <a:gd name="T24" fmla="*/ 161 w 323"/>
                <a:gd name="T25" fmla="*/ 69 h 192"/>
                <a:gd name="T26" fmla="*/ 76 w 323"/>
                <a:gd name="T27" fmla="*/ 28 h 192"/>
                <a:gd name="T28" fmla="*/ 76 w 323"/>
                <a:gd name="T29" fmla="*/ 10 h 192"/>
                <a:gd name="T30" fmla="*/ 65 w 323"/>
                <a:gd name="T31" fmla="*/ 0 h 192"/>
                <a:gd name="T32" fmla="*/ 54 w 323"/>
                <a:gd name="T33" fmla="*/ 10 h 192"/>
                <a:gd name="T34" fmla="*/ 54 w 323"/>
                <a:gd name="T35" fmla="*/ 28 h 192"/>
                <a:gd name="T36" fmla="*/ 8 w 323"/>
                <a:gd name="T37" fmla="*/ 62 h 192"/>
                <a:gd name="T38" fmla="*/ 2 w 323"/>
                <a:gd name="T39" fmla="*/ 76 h 192"/>
                <a:gd name="T40" fmla="*/ 12 w 323"/>
                <a:gd name="T41" fmla="*/ 82 h 192"/>
                <a:gd name="T42" fmla="*/ 16 w 323"/>
                <a:gd name="T43" fmla="*/ 82 h 192"/>
                <a:gd name="T44" fmla="*/ 54 w 323"/>
                <a:gd name="T45" fmla="*/ 58 h 192"/>
                <a:gd name="T46" fmla="*/ 54 w 323"/>
                <a:gd name="T47" fmla="*/ 117 h 192"/>
                <a:gd name="T48" fmla="*/ 12 w 323"/>
                <a:gd name="T49" fmla="*/ 117 h 192"/>
                <a:gd name="T50" fmla="*/ 2 w 323"/>
                <a:gd name="T51" fmla="*/ 128 h 192"/>
                <a:gd name="T52" fmla="*/ 12 w 323"/>
                <a:gd name="T53" fmla="*/ 138 h 192"/>
                <a:gd name="T54" fmla="*/ 54 w 323"/>
                <a:gd name="T55" fmla="*/ 138 h 192"/>
                <a:gd name="T56" fmla="*/ 54 w 323"/>
                <a:gd name="T57" fmla="*/ 181 h 192"/>
                <a:gd name="T58" fmla="*/ 65 w 323"/>
                <a:gd name="T59" fmla="*/ 192 h 192"/>
                <a:gd name="T60" fmla="*/ 76 w 323"/>
                <a:gd name="T61" fmla="*/ 181 h 192"/>
                <a:gd name="T62" fmla="*/ 76 w 323"/>
                <a:gd name="T63" fmla="*/ 138 h 192"/>
                <a:gd name="T64" fmla="*/ 246 w 323"/>
                <a:gd name="T65" fmla="*/ 138 h 192"/>
                <a:gd name="T66" fmla="*/ 246 w 323"/>
                <a:gd name="T67" fmla="*/ 181 h 192"/>
                <a:gd name="T68" fmla="*/ 257 w 323"/>
                <a:gd name="T69" fmla="*/ 192 h 192"/>
                <a:gd name="T70" fmla="*/ 268 w 323"/>
                <a:gd name="T71" fmla="*/ 181 h 192"/>
                <a:gd name="T72" fmla="*/ 268 w 323"/>
                <a:gd name="T73" fmla="*/ 138 h 192"/>
                <a:gd name="T74" fmla="*/ 311 w 323"/>
                <a:gd name="T75" fmla="*/ 138 h 192"/>
                <a:gd name="T76" fmla="*/ 322 w 323"/>
                <a:gd name="T77" fmla="*/ 128 h 192"/>
                <a:gd name="T78" fmla="*/ 311 w 323"/>
                <a:gd name="T79" fmla="*/ 117 h 192"/>
                <a:gd name="T80" fmla="*/ 76 w 323"/>
                <a:gd name="T81" fmla="*/ 117 h 192"/>
                <a:gd name="T82" fmla="*/ 76 w 323"/>
                <a:gd name="T83" fmla="*/ 59 h 192"/>
                <a:gd name="T84" fmla="*/ 161 w 323"/>
                <a:gd name="T85" fmla="*/ 90 h 192"/>
                <a:gd name="T86" fmla="*/ 246 w 323"/>
                <a:gd name="T87" fmla="*/ 59 h 192"/>
                <a:gd name="T88" fmla="*/ 246 w 323"/>
                <a:gd name="T89" fmla="*/ 117 h 192"/>
                <a:gd name="T90" fmla="*/ 76 w 323"/>
                <a:gd name="T91" fmla="*/ 1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3" h="192">
                  <a:moveTo>
                    <a:pt x="311" y="117"/>
                  </a:moveTo>
                  <a:cubicBezTo>
                    <a:pt x="268" y="117"/>
                    <a:pt x="268" y="117"/>
                    <a:pt x="268" y="117"/>
                  </a:cubicBezTo>
                  <a:cubicBezTo>
                    <a:pt x="268" y="59"/>
                    <a:pt x="268" y="59"/>
                    <a:pt x="268" y="59"/>
                  </a:cubicBezTo>
                  <a:cubicBezTo>
                    <a:pt x="280" y="68"/>
                    <a:pt x="292" y="76"/>
                    <a:pt x="307" y="82"/>
                  </a:cubicBezTo>
                  <a:cubicBezTo>
                    <a:pt x="308" y="82"/>
                    <a:pt x="310" y="82"/>
                    <a:pt x="311" y="82"/>
                  </a:cubicBezTo>
                  <a:cubicBezTo>
                    <a:pt x="315" y="82"/>
                    <a:pt x="319" y="80"/>
                    <a:pt x="321" y="76"/>
                  </a:cubicBezTo>
                  <a:cubicBezTo>
                    <a:pt x="323" y="70"/>
                    <a:pt x="320" y="64"/>
                    <a:pt x="315" y="62"/>
                  </a:cubicBezTo>
                  <a:cubicBezTo>
                    <a:pt x="295" y="54"/>
                    <a:pt x="280" y="42"/>
                    <a:pt x="268" y="28"/>
                  </a:cubicBezTo>
                  <a:cubicBezTo>
                    <a:pt x="268" y="10"/>
                    <a:pt x="268" y="10"/>
                    <a:pt x="268" y="10"/>
                  </a:cubicBezTo>
                  <a:cubicBezTo>
                    <a:pt x="268" y="4"/>
                    <a:pt x="263" y="0"/>
                    <a:pt x="257" y="0"/>
                  </a:cubicBezTo>
                  <a:cubicBezTo>
                    <a:pt x="251" y="0"/>
                    <a:pt x="246" y="4"/>
                    <a:pt x="246" y="10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26" y="54"/>
                    <a:pt x="195" y="69"/>
                    <a:pt x="161" y="69"/>
                  </a:cubicBezTo>
                  <a:cubicBezTo>
                    <a:pt x="126" y="69"/>
                    <a:pt x="96" y="54"/>
                    <a:pt x="76" y="28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4"/>
                    <a:pt x="71" y="0"/>
                    <a:pt x="65" y="0"/>
                  </a:cubicBezTo>
                  <a:cubicBezTo>
                    <a:pt x="59" y="0"/>
                    <a:pt x="54" y="4"/>
                    <a:pt x="54" y="10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44" y="42"/>
                    <a:pt x="27" y="54"/>
                    <a:pt x="8" y="62"/>
                  </a:cubicBezTo>
                  <a:cubicBezTo>
                    <a:pt x="3" y="64"/>
                    <a:pt x="0" y="70"/>
                    <a:pt x="2" y="76"/>
                  </a:cubicBezTo>
                  <a:cubicBezTo>
                    <a:pt x="4" y="80"/>
                    <a:pt x="8" y="82"/>
                    <a:pt x="12" y="82"/>
                  </a:cubicBezTo>
                  <a:cubicBezTo>
                    <a:pt x="14" y="82"/>
                    <a:pt x="15" y="82"/>
                    <a:pt x="16" y="82"/>
                  </a:cubicBezTo>
                  <a:cubicBezTo>
                    <a:pt x="30" y="76"/>
                    <a:pt x="44" y="68"/>
                    <a:pt x="54" y="58"/>
                  </a:cubicBezTo>
                  <a:cubicBezTo>
                    <a:pt x="54" y="117"/>
                    <a:pt x="54" y="117"/>
                    <a:pt x="54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6" y="117"/>
                    <a:pt x="2" y="122"/>
                    <a:pt x="2" y="128"/>
                  </a:cubicBezTo>
                  <a:cubicBezTo>
                    <a:pt x="2" y="134"/>
                    <a:pt x="6" y="138"/>
                    <a:pt x="12" y="138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54" y="187"/>
                    <a:pt x="59" y="192"/>
                    <a:pt x="65" y="192"/>
                  </a:cubicBezTo>
                  <a:cubicBezTo>
                    <a:pt x="71" y="192"/>
                    <a:pt x="76" y="187"/>
                    <a:pt x="76" y="181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246" y="138"/>
                    <a:pt x="246" y="138"/>
                    <a:pt x="246" y="138"/>
                  </a:cubicBezTo>
                  <a:cubicBezTo>
                    <a:pt x="246" y="181"/>
                    <a:pt x="246" y="181"/>
                    <a:pt x="246" y="181"/>
                  </a:cubicBezTo>
                  <a:cubicBezTo>
                    <a:pt x="246" y="187"/>
                    <a:pt x="251" y="192"/>
                    <a:pt x="257" y="192"/>
                  </a:cubicBezTo>
                  <a:cubicBezTo>
                    <a:pt x="263" y="192"/>
                    <a:pt x="268" y="187"/>
                    <a:pt x="268" y="181"/>
                  </a:cubicBezTo>
                  <a:cubicBezTo>
                    <a:pt x="268" y="138"/>
                    <a:pt x="268" y="138"/>
                    <a:pt x="268" y="138"/>
                  </a:cubicBezTo>
                  <a:cubicBezTo>
                    <a:pt x="311" y="138"/>
                    <a:pt x="311" y="138"/>
                    <a:pt x="311" y="138"/>
                  </a:cubicBezTo>
                  <a:cubicBezTo>
                    <a:pt x="317" y="138"/>
                    <a:pt x="322" y="134"/>
                    <a:pt x="322" y="128"/>
                  </a:cubicBezTo>
                  <a:cubicBezTo>
                    <a:pt x="322" y="122"/>
                    <a:pt x="317" y="117"/>
                    <a:pt x="311" y="117"/>
                  </a:cubicBezTo>
                  <a:close/>
                  <a:moveTo>
                    <a:pt x="76" y="117"/>
                  </a:moveTo>
                  <a:cubicBezTo>
                    <a:pt x="76" y="59"/>
                    <a:pt x="76" y="59"/>
                    <a:pt x="76" y="59"/>
                  </a:cubicBezTo>
                  <a:cubicBezTo>
                    <a:pt x="100" y="79"/>
                    <a:pt x="128" y="90"/>
                    <a:pt x="161" y="90"/>
                  </a:cubicBezTo>
                  <a:cubicBezTo>
                    <a:pt x="193" y="90"/>
                    <a:pt x="224" y="79"/>
                    <a:pt x="246" y="59"/>
                  </a:cubicBezTo>
                  <a:cubicBezTo>
                    <a:pt x="246" y="117"/>
                    <a:pt x="246" y="117"/>
                    <a:pt x="246" y="117"/>
                  </a:cubicBezTo>
                  <a:lnTo>
                    <a:pt x="76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8" name="Freeform 642"/>
          <p:cNvSpPr>
            <a:spLocks noChangeAspect="1" noEditPoints="1"/>
          </p:cNvSpPr>
          <p:nvPr/>
        </p:nvSpPr>
        <p:spPr bwMode="auto">
          <a:xfrm>
            <a:off x="3409783" y="2051050"/>
            <a:ext cx="367982" cy="367982"/>
          </a:xfrm>
          <a:custGeom>
            <a:avLst/>
            <a:gdLst>
              <a:gd name="T0" fmla="*/ 213 w 512"/>
              <a:gd name="T1" fmla="*/ 202 h 512"/>
              <a:gd name="T2" fmla="*/ 213 w 512"/>
              <a:gd name="T3" fmla="*/ 245 h 512"/>
              <a:gd name="T4" fmla="*/ 245 w 512"/>
              <a:gd name="T5" fmla="*/ 245 h 512"/>
              <a:gd name="T6" fmla="*/ 245 w 512"/>
              <a:gd name="T7" fmla="*/ 192 h 512"/>
              <a:gd name="T8" fmla="*/ 213 w 512"/>
              <a:gd name="T9" fmla="*/ 202 h 512"/>
              <a:gd name="T10" fmla="*/ 213 w 512"/>
              <a:gd name="T11" fmla="*/ 202 h 512"/>
              <a:gd name="T12" fmla="*/ 159 w 512"/>
              <a:gd name="T13" fmla="*/ 245 h 512"/>
              <a:gd name="T14" fmla="*/ 192 w 512"/>
              <a:gd name="T15" fmla="*/ 245 h 512"/>
              <a:gd name="T16" fmla="*/ 192 w 512"/>
              <a:gd name="T17" fmla="*/ 214 h 512"/>
              <a:gd name="T18" fmla="*/ 159 w 512"/>
              <a:gd name="T19" fmla="*/ 245 h 512"/>
              <a:gd name="T20" fmla="*/ 266 w 512"/>
              <a:gd name="T21" fmla="*/ 245 h 512"/>
              <a:gd name="T22" fmla="*/ 298 w 512"/>
              <a:gd name="T23" fmla="*/ 245 h 512"/>
              <a:gd name="T24" fmla="*/ 298 w 512"/>
              <a:gd name="T25" fmla="*/ 202 h 512"/>
              <a:gd name="T26" fmla="*/ 298 w 512"/>
              <a:gd name="T27" fmla="*/ 202 h 512"/>
              <a:gd name="T28" fmla="*/ 266 w 512"/>
              <a:gd name="T29" fmla="*/ 192 h 512"/>
              <a:gd name="T30" fmla="*/ 266 w 512"/>
              <a:gd name="T31" fmla="*/ 245 h 512"/>
              <a:gd name="T32" fmla="*/ 320 w 512"/>
              <a:gd name="T33" fmla="*/ 214 h 512"/>
              <a:gd name="T34" fmla="*/ 320 w 512"/>
              <a:gd name="T35" fmla="*/ 245 h 512"/>
              <a:gd name="T36" fmla="*/ 352 w 512"/>
              <a:gd name="T37" fmla="*/ 245 h 512"/>
              <a:gd name="T38" fmla="*/ 320 w 512"/>
              <a:gd name="T39" fmla="*/ 214 h 512"/>
              <a:gd name="T40" fmla="*/ 256 w 512"/>
              <a:gd name="T41" fmla="*/ 0 h 512"/>
              <a:gd name="T42" fmla="*/ 0 w 512"/>
              <a:gd name="T43" fmla="*/ 256 h 512"/>
              <a:gd name="T44" fmla="*/ 256 w 512"/>
              <a:gd name="T45" fmla="*/ 512 h 512"/>
              <a:gd name="T46" fmla="*/ 512 w 512"/>
              <a:gd name="T47" fmla="*/ 256 h 512"/>
              <a:gd name="T48" fmla="*/ 256 w 512"/>
              <a:gd name="T49" fmla="*/ 0 h 512"/>
              <a:gd name="T50" fmla="*/ 405 w 512"/>
              <a:gd name="T51" fmla="*/ 266 h 512"/>
              <a:gd name="T52" fmla="*/ 394 w 512"/>
              <a:gd name="T53" fmla="*/ 266 h 512"/>
              <a:gd name="T54" fmla="*/ 394 w 512"/>
              <a:gd name="T55" fmla="*/ 309 h 512"/>
              <a:gd name="T56" fmla="*/ 384 w 512"/>
              <a:gd name="T57" fmla="*/ 320 h 512"/>
              <a:gd name="T58" fmla="*/ 373 w 512"/>
              <a:gd name="T59" fmla="*/ 309 h 512"/>
              <a:gd name="T60" fmla="*/ 373 w 512"/>
              <a:gd name="T61" fmla="*/ 266 h 512"/>
              <a:gd name="T62" fmla="*/ 138 w 512"/>
              <a:gd name="T63" fmla="*/ 266 h 512"/>
              <a:gd name="T64" fmla="*/ 138 w 512"/>
              <a:gd name="T65" fmla="*/ 309 h 512"/>
              <a:gd name="T66" fmla="*/ 128 w 512"/>
              <a:gd name="T67" fmla="*/ 320 h 512"/>
              <a:gd name="T68" fmla="*/ 117 w 512"/>
              <a:gd name="T69" fmla="*/ 309 h 512"/>
              <a:gd name="T70" fmla="*/ 117 w 512"/>
              <a:gd name="T71" fmla="*/ 266 h 512"/>
              <a:gd name="T72" fmla="*/ 106 w 512"/>
              <a:gd name="T73" fmla="*/ 266 h 512"/>
              <a:gd name="T74" fmla="*/ 96 w 512"/>
              <a:gd name="T75" fmla="*/ 256 h 512"/>
              <a:gd name="T76" fmla="*/ 106 w 512"/>
              <a:gd name="T77" fmla="*/ 245 h 512"/>
              <a:gd name="T78" fmla="*/ 117 w 512"/>
              <a:gd name="T79" fmla="*/ 245 h 512"/>
              <a:gd name="T80" fmla="*/ 117 w 512"/>
              <a:gd name="T81" fmla="*/ 224 h 512"/>
              <a:gd name="T82" fmla="*/ 128 w 512"/>
              <a:gd name="T83" fmla="*/ 213 h 512"/>
              <a:gd name="T84" fmla="*/ 138 w 512"/>
              <a:gd name="T85" fmla="*/ 224 h 512"/>
              <a:gd name="T86" fmla="*/ 138 w 512"/>
              <a:gd name="T87" fmla="*/ 237 h 512"/>
              <a:gd name="T88" fmla="*/ 256 w 512"/>
              <a:gd name="T89" fmla="*/ 170 h 512"/>
              <a:gd name="T90" fmla="*/ 373 w 512"/>
              <a:gd name="T91" fmla="*/ 237 h 512"/>
              <a:gd name="T92" fmla="*/ 373 w 512"/>
              <a:gd name="T93" fmla="*/ 224 h 512"/>
              <a:gd name="T94" fmla="*/ 384 w 512"/>
              <a:gd name="T95" fmla="*/ 213 h 512"/>
              <a:gd name="T96" fmla="*/ 394 w 512"/>
              <a:gd name="T97" fmla="*/ 224 h 512"/>
              <a:gd name="T98" fmla="*/ 394 w 512"/>
              <a:gd name="T99" fmla="*/ 245 h 512"/>
              <a:gd name="T100" fmla="*/ 405 w 512"/>
              <a:gd name="T101" fmla="*/ 245 h 512"/>
              <a:gd name="T102" fmla="*/ 416 w 512"/>
              <a:gd name="T103" fmla="*/ 256 h 512"/>
              <a:gd name="T104" fmla="*/ 405 w 512"/>
              <a:gd name="T105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13" y="202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34" y="194"/>
                  <a:pt x="223" y="197"/>
                  <a:pt x="213" y="202"/>
                </a:cubicBezTo>
                <a:cubicBezTo>
                  <a:pt x="213" y="202"/>
                  <a:pt x="213" y="202"/>
                  <a:pt x="213" y="202"/>
                </a:cubicBezTo>
                <a:close/>
                <a:moveTo>
                  <a:pt x="159" y="245"/>
                </a:moveTo>
                <a:cubicBezTo>
                  <a:pt x="192" y="245"/>
                  <a:pt x="192" y="245"/>
                  <a:pt x="192" y="245"/>
                </a:cubicBezTo>
                <a:cubicBezTo>
                  <a:pt x="192" y="214"/>
                  <a:pt x="192" y="214"/>
                  <a:pt x="192" y="214"/>
                </a:cubicBezTo>
                <a:cubicBezTo>
                  <a:pt x="180" y="222"/>
                  <a:pt x="169" y="233"/>
                  <a:pt x="159" y="245"/>
                </a:cubicBezTo>
                <a:close/>
                <a:moveTo>
                  <a:pt x="266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288" y="197"/>
                  <a:pt x="277" y="194"/>
                  <a:pt x="266" y="192"/>
                </a:cubicBezTo>
                <a:lnTo>
                  <a:pt x="266" y="245"/>
                </a:lnTo>
                <a:close/>
                <a:moveTo>
                  <a:pt x="320" y="214"/>
                </a:moveTo>
                <a:cubicBezTo>
                  <a:pt x="320" y="245"/>
                  <a:pt x="320" y="245"/>
                  <a:pt x="320" y="245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342" y="233"/>
                  <a:pt x="331" y="222"/>
                  <a:pt x="320" y="21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266"/>
                </a:moveTo>
                <a:cubicBezTo>
                  <a:pt x="394" y="266"/>
                  <a:pt x="394" y="266"/>
                  <a:pt x="394" y="266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315"/>
                  <a:pt x="390" y="320"/>
                  <a:pt x="384" y="320"/>
                </a:cubicBezTo>
                <a:cubicBezTo>
                  <a:pt x="378" y="320"/>
                  <a:pt x="373" y="315"/>
                  <a:pt x="373" y="309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38" y="309"/>
                  <a:pt x="138" y="309"/>
                  <a:pt x="138" y="309"/>
                </a:cubicBezTo>
                <a:cubicBezTo>
                  <a:pt x="138" y="315"/>
                  <a:pt x="134" y="320"/>
                  <a:pt x="128" y="320"/>
                </a:cubicBezTo>
                <a:cubicBezTo>
                  <a:pt x="122" y="320"/>
                  <a:pt x="117" y="315"/>
                  <a:pt x="117" y="309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18"/>
                  <a:pt x="122" y="213"/>
                  <a:pt x="128" y="213"/>
                </a:cubicBezTo>
                <a:cubicBezTo>
                  <a:pt x="134" y="213"/>
                  <a:pt x="138" y="218"/>
                  <a:pt x="138" y="224"/>
                </a:cubicBezTo>
                <a:cubicBezTo>
                  <a:pt x="138" y="237"/>
                  <a:pt x="138" y="237"/>
                  <a:pt x="138" y="237"/>
                </a:cubicBezTo>
                <a:cubicBezTo>
                  <a:pt x="172" y="194"/>
                  <a:pt x="213" y="170"/>
                  <a:pt x="256" y="170"/>
                </a:cubicBezTo>
                <a:cubicBezTo>
                  <a:pt x="298" y="170"/>
                  <a:pt x="340" y="194"/>
                  <a:pt x="373" y="237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73" y="218"/>
                  <a:pt x="378" y="213"/>
                  <a:pt x="384" y="213"/>
                </a:cubicBezTo>
                <a:cubicBezTo>
                  <a:pt x="390" y="213"/>
                  <a:pt x="394" y="218"/>
                  <a:pt x="394" y="224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9" name="Group 645"/>
          <p:cNvGrpSpPr>
            <a:grpSpLocks noChangeAspect="1"/>
          </p:cNvGrpSpPr>
          <p:nvPr/>
        </p:nvGrpSpPr>
        <p:grpSpPr bwMode="auto">
          <a:xfrm>
            <a:off x="3906801" y="2051050"/>
            <a:ext cx="367982" cy="367982"/>
            <a:chOff x="5306" y="3201"/>
            <a:chExt cx="340" cy="340"/>
          </a:xfrm>
          <a:solidFill>
            <a:schemeClr val="accent1"/>
          </a:solidFill>
        </p:grpSpPr>
        <p:sp>
          <p:nvSpPr>
            <p:cNvPr id="270" name="Freeform 646"/>
            <p:cNvSpPr>
              <a:spLocks noEditPoints="1"/>
            </p:cNvSpPr>
            <p:nvPr/>
          </p:nvSpPr>
          <p:spPr bwMode="auto">
            <a:xfrm>
              <a:off x="5306" y="320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647"/>
            <p:cNvSpPr>
              <a:spLocks noEditPoints="1"/>
            </p:cNvSpPr>
            <p:nvPr/>
          </p:nvSpPr>
          <p:spPr bwMode="auto">
            <a:xfrm>
              <a:off x="5370" y="3314"/>
              <a:ext cx="212" cy="99"/>
            </a:xfrm>
            <a:custGeom>
              <a:avLst/>
              <a:gdLst>
                <a:gd name="T0" fmla="*/ 309 w 320"/>
                <a:gd name="T1" fmla="*/ 75 h 150"/>
                <a:gd name="T2" fmla="*/ 298 w 320"/>
                <a:gd name="T3" fmla="*/ 75 h 150"/>
                <a:gd name="T4" fmla="*/ 298 w 320"/>
                <a:gd name="T5" fmla="*/ 54 h 150"/>
                <a:gd name="T6" fmla="*/ 288 w 320"/>
                <a:gd name="T7" fmla="*/ 43 h 150"/>
                <a:gd name="T8" fmla="*/ 277 w 320"/>
                <a:gd name="T9" fmla="*/ 54 h 150"/>
                <a:gd name="T10" fmla="*/ 277 w 320"/>
                <a:gd name="T11" fmla="*/ 67 h 150"/>
                <a:gd name="T12" fmla="*/ 160 w 320"/>
                <a:gd name="T13" fmla="*/ 0 h 150"/>
                <a:gd name="T14" fmla="*/ 42 w 320"/>
                <a:gd name="T15" fmla="*/ 67 h 150"/>
                <a:gd name="T16" fmla="*/ 42 w 320"/>
                <a:gd name="T17" fmla="*/ 54 h 150"/>
                <a:gd name="T18" fmla="*/ 32 w 320"/>
                <a:gd name="T19" fmla="*/ 43 h 150"/>
                <a:gd name="T20" fmla="*/ 21 w 320"/>
                <a:gd name="T21" fmla="*/ 54 h 150"/>
                <a:gd name="T22" fmla="*/ 21 w 320"/>
                <a:gd name="T23" fmla="*/ 75 h 150"/>
                <a:gd name="T24" fmla="*/ 10 w 320"/>
                <a:gd name="T25" fmla="*/ 75 h 150"/>
                <a:gd name="T26" fmla="*/ 0 w 320"/>
                <a:gd name="T27" fmla="*/ 86 h 150"/>
                <a:gd name="T28" fmla="*/ 10 w 320"/>
                <a:gd name="T29" fmla="*/ 96 h 150"/>
                <a:gd name="T30" fmla="*/ 21 w 320"/>
                <a:gd name="T31" fmla="*/ 96 h 150"/>
                <a:gd name="T32" fmla="*/ 21 w 320"/>
                <a:gd name="T33" fmla="*/ 139 h 150"/>
                <a:gd name="T34" fmla="*/ 32 w 320"/>
                <a:gd name="T35" fmla="*/ 150 h 150"/>
                <a:gd name="T36" fmla="*/ 42 w 320"/>
                <a:gd name="T37" fmla="*/ 139 h 150"/>
                <a:gd name="T38" fmla="*/ 42 w 320"/>
                <a:gd name="T39" fmla="*/ 96 h 150"/>
                <a:gd name="T40" fmla="*/ 277 w 320"/>
                <a:gd name="T41" fmla="*/ 96 h 150"/>
                <a:gd name="T42" fmla="*/ 277 w 320"/>
                <a:gd name="T43" fmla="*/ 139 h 150"/>
                <a:gd name="T44" fmla="*/ 288 w 320"/>
                <a:gd name="T45" fmla="*/ 150 h 150"/>
                <a:gd name="T46" fmla="*/ 298 w 320"/>
                <a:gd name="T47" fmla="*/ 139 h 150"/>
                <a:gd name="T48" fmla="*/ 298 w 320"/>
                <a:gd name="T49" fmla="*/ 96 h 150"/>
                <a:gd name="T50" fmla="*/ 309 w 320"/>
                <a:gd name="T51" fmla="*/ 96 h 150"/>
                <a:gd name="T52" fmla="*/ 320 w 320"/>
                <a:gd name="T53" fmla="*/ 86 h 150"/>
                <a:gd name="T54" fmla="*/ 309 w 320"/>
                <a:gd name="T55" fmla="*/ 75 h 150"/>
                <a:gd name="T56" fmla="*/ 202 w 320"/>
                <a:gd name="T57" fmla="*/ 75 h 150"/>
                <a:gd name="T58" fmla="*/ 170 w 320"/>
                <a:gd name="T59" fmla="*/ 75 h 150"/>
                <a:gd name="T60" fmla="*/ 170 w 320"/>
                <a:gd name="T61" fmla="*/ 22 h 150"/>
                <a:gd name="T62" fmla="*/ 202 w 320"/>
                <a:gd name="T63" fmla="*/ 32 h 150"/>
                <a:gd name="T64" fmla="*/ 202 w 320"/>
                <a:gd name="T65" fmla="*/ 32 h 150"/>
                <a:gd name="T66" fmla="*/ 202 w 320"/>
                <a:gd name="T67" fmla="*/ 75 h 150"/>
                <a:gd name="T68" fmla="*/ 149 w 320"/>
                <a:gd name="T69" fmla="*/ 75 h 150"/>
                <a:gd name="T70" fmla="*/ 117 w 320"/>
                <a:gd name="T71" fmla="*/ 75 h 150"/>
                <a:gd name="T72" fmla="*/ 117 w 320"/>
                <a:gd name="T73" fmla="*/ 32 h 150"/>
                <a:gd name="T74" fmla="*/ 117 w 320"/>
                <a:gd name="T75" fmla="*/ 32 h 150"/>
                <a:gd name="T76" fmla="*/ 149 w 320"/>
                <a:gd name="T77" fmla="*/ 22 h 150"/>
                <a:gd name="T78" fmla="*/ 149 w 320"/>
                <a:gd name="T79" fmla="*/ 75 h 150"/>
                <a:gd name="T80" fmla="*/ 96 w 320"/>
                <a:gd name="T81" fmla="*/ 44 h 150"/>
                <a:gd name="T82" fmla="*/ 96 w 320"/>
                <a:gd name="T83" fmla="*/ 75 h 150"/>
                <a:gd name="T84" fmla="*/ 63 w 320"/>
                <a:gd name="T85" fmla="*/ 75 h 150"/>
                <a:gd name="T86" fmla="*/ 96 w 320"/>
                <a:gd name="T87" fmla="*/ 44 h 150"/>
                <a:gd name="T88" fmla="*/ 224 w 320"/>
                <a:gd name="T89" fmla="*/ 75 h 150"/>
                <a:gd name="T90" fmla="*/ 224 w 320"/>
                <a:gd name="T91" fmla="*/ 44 h 150"/>
                <a:gd name="T92" fmla="*/ 256 w 320"/>
                <a:gd name="T93" fmla="*/ 75 h 150"/>
                <a:gd name="T94" fmla="*/ 224 w 320"/>
                <a:gd name="T95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0" h="150">
                  <a:moveTo>
                    <a:pt x="309" y="75"/>
                  </a:moveTo>
                  <a:cubicBezTo>
                    <a:pt x="298" y="75"/>
                    <a:pt x="298" y="75"/>
                    <a:pt x="298" y="75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8" y="48"/>
                    <a:pt x="294" y="43"/>
                    <a:pt x="288" y="43"/>
                  </a:cubicBezTo>
                  <a:cubicBezTo>
                    <a:pt x="282" y="43"/>
                    <a:pt x="277" y="48"/>
                    <a:pt x="277" y="54"/>
                  </a:cubicBezTo>
                  <a:cubicBezTo>
                    <a:pt x="277" y="67"/>
                    <a:pt x="277" y="67"/>
                    <a:pt x="277" y="67"/>
                  </a:cubicBezTo>
                  <a:cubicBezTo>
                    <a:pt x="244" y="24"/>
                    <a:pt x="202" y="0"/>
                    <a:pt x="160" y="0"/>
                  </a:cubicBezTo>
                  <a:cubicBezTo>
                    <a:pt x="117" y="0"/>
                    <a:pt x="76" y="24"/>
                    <a:pt x="42" y="67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48"/>
                    <a:pt x="38" y="43"/>
                    <a:pt x="32" y="43"/>
                  </a:cubicBezTo>
                  <a:cubicBezTo>
                    <a:pt x="26" y="43"/>
                    <a:pt x="21" y="48"/>
                    <a:pt x="21" y="54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4" y="75"/>
                    <a:pt x="0" y="80"/>
                    <a:pt x="0" y="86"/>
                  </a:cubicBezTo>
                  <a:cubicBezTo>
                    <a:pt x="0" y="92"/>
                    <a:pt x="4" y="96"/>
                    <a:pt x="1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1" y="139"/>
                    <a:pt x="21" y="139"/>
                    <a:pt x="21" y="139"/>
                  </a:cubicBezTo>
                  <a:cubicBezTo>
                    <a:pt x="21" y="145"/>
                    <a:pt x="26" y="150"/>
                    <a:pt x="32" y="150"/>
                  </a:cubicBezTo>
                  <a:cubicBezTo>
                    <a:pt x="38" y="150"/>
                    <a:pt x="42" y="145"/>
                    <a:pt x="42" y="139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277" y="96"/>
                    <a:pt x="277" y="96"/>
                    <a:pt x="277" y="96"/>
                  </a:cubicBezTo>
                  <a:cubicBezTo>
                    <a:pt x="277" y="139"/>
                    <a:pt x="277" y="139"/>
                    <a:pt x="277" y="139"/>
                  </a:cubicBezTo>
                  <a:cubicBezTo>
                    <a:pt x="277" y="145"/>
                    <a:pt x="282" y="150"/>
                    <a:pt x="288" y="150"/>
                  </a:cubicBezTo>
                  <a:cubicBezTo>
                    <a:pt x="294" y="150"/>
                    <a:pt x="298" y="145"/>
                    <a:pt x="298" y="139"/>
                  </a:cubicBezTo>
                  <a:cubicBezTo>
                    <a:pt x="298" y="96"/>
                    <a:pt x="298" y="96"/>
                    <a:pt x="298" y="96"/>
                  </a:cubicBezTo>
                  <a:cubicBezTo>
                    <a:pt x="309" y="96"/>
                    <a:pt x="309" y="96"/>
                    <a:pt x="309" y="96"/>
                  </a:cubicBezTo>
                  <a:cubicBezTo>
                    <a:pt x="315" y="96"/>
                    <a:pt x="320" y="92"/>
                    <a:pt x="320" y="86"/>
                  </a:cubicBezTo>
                  <a:cubicBezTo>
                    <a:pt x="320" y="80"/>
                    <a:pt x="315" y="75"/>
                    <a:pt x="309" y="75"/>
                  </a:cubicBezTo>
                  <a:close/>
                  <a:moveTo>
                    <a:pt x="202" y="75"/>
                  </a:moveTo>
                  <a:cubicBezTo>
                    <a:pt x="170" y="75"/>
                    <a:pt x="170" y="75"/>
                    <a:pt x="170" y="75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81" y="24"/>
                    <a:pt x="192" y="27"/>
                    <a:pt x="202" y="32"/>
                  </a:cubicBezTo>
                  <a:cubicBezTo>
                    <a:pt x="202" y="32"/>
                    <a:pt x="202" y="32"/>
                    <a:pt x="202" y="32"/>
                  </a:cubicBezTo>
                  <a:lnTo>
                    <a:pt x="202" y="75"/>
                  </a:lnTo>
                  <a:close/>
                  <a:moveTo>
                    <a:pt x="149" y="75"/>
                  </a:moveTo>
                  <a:cubicBezTo>
                    <a:pt x="117" y="75"/>
                    <a:pt x="117" y="75"/>
                    <a:pt x="117" y="75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27" y="27"/>
                    <a:pt x="138" y="24"/>
                    <a:pt x="149" y="22"/>
                  </a:cubicBezTo>
                  <a:lnTo>
                    <a:pt x="149" y="75"/>
                  </a:lnTo>
                  <a:close/>
                  <a:moveTo>
                    <a:pt x="96" y="44"/>
                  </a:moveTo>
                  <a:cubicBezTo>
                    <a:pt x="96" y="75"/>
                    <a:pt x="96" y="75"/>
                    <a:pt x="96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73" y="63"/>
                    <a:pt x="84" y="52"/>
                    <a:pt x="96" y="44"/>
                  </a:cubicBezTo>
                  <a:close/>
                  <a:moveTo>
                    <a:pt x="224" y="75"/>
                  </a:moveTo>
                  <a:cubicBezTo>
                    <a:pt x="224" y="44"/>
                    <a:pt x="224" y="44"/>
                    <a:pt x="224" y="44"/>
                  </a:cubicBezTo>
                  <a:cubicBezTo>
                    <a:pt x="235" y="52"/>
                    <a:pt x="246" y="63"/>
                    <a:pt x="256" y="75"/>
                  </a:cubicBezTo>
                  <a:lnTo>
                    <a:pt x="22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651"/>
          <p:cNvSpPr>
            <a:spLocks noChangeAspect="1" noEditPoints="1"/>
          </p:cNvSpPr>
          <p:nvPr/>
        </p:nvSpPr>
        <p:spPr bwMode="auto">
          <a:xfrm>
            <a:off x="4403819" y="2051050"/>
            <a:ext cx="367982" cy="367982"/>
          </a:xfrm>
          <a:custGeom>
            <a:avLst/>
            <a:gdLst>
              <a:gd name="T0" fmla="*/ 341 w 512"/>
              <a:gd name="T1" fmla="*/ 219 h 512"/>
              <a:gd name="T2" fmla="*/ 170 w 512"/>
              <a:gd name="T3" fmla="*/ 277 h 512"/>
              <a:gd name="T4" fmla="*/ 256 w 512"/>
              <a:gd name="T5" fmla="*/ 250 h 512"/>
              <a:gd name="T6" fmla="*/ 170 w 512"/>
              <a:gd name="T7" fmla="*/ 341 h 512"/>
              <a:gd name="T8" fmla="*/ 184 w 512"/>
              <a:gd name="T9" fmla="*/ 333 h 512"/>
              <a:gd name="T10" fmla="*/ 200 w 512"/>
              <a:gd name="T11" fmla="*/ 334 h 512"/>
              <a:gd name="T12" fmla="*/ 248 w 512"/>
              <a:gd name="T13" fmla="*/ 333 h 512"/>
              <a:gd name="T14" fmla="*/ 264 w 512"/>
              <a:gd name="T15" fmla="*/ 334 h 512"/>
              <a:gd name="T16" fmla="*/ 312 w 512"/>
              <a:gd name="T17" fmla="*/ 333 h 512"/>
              <a:gd name="T18" fmla="*/ 328 w 512"/>
              <a:gd name="T19" fmla="*/ 334 h 512"/>
              <a:gd name="T20" fmla="*/ 341 w 512"/>
              <a:gd name="T21" fmla="*/ 341 h 512"/>
              <a:gd name="T22" fmla="*/ 341 w 512"/>
              <a:gd name="T23" fmla="*/ 298 h 512"/>
              <a:gd name="T24" fmla="*/ 170 w 512"/>
              <a:gd name="T25" fmla="*/ 320 h 512"/>
              <a:gd name="T26" fmla="*/ 256 w 512"/>
              <a:gd name="T27" fmla="*/ 512 h 512"/>
              <a:gd name="T28" fmla="*/ 256 w 512"/>
              <a:gd name="T29" fmla="*/ 0 h 512"/>
              <a:gd name="T30" fmla="*/ 362 w 512"/>
              <a:gd name="T31" fmla="*/ 277 h 512"/>
              <a:gd name="T32" fmla="*/ 401 w 512"/>
              <a:gd name="T33" fmla="*/ 242 h 512"/>
              <a:gd name="T34" fmla="*/ 415 w 512"/>
              <a:gd name="T35" fmla="*/ 236 h 512"/>
              <a:gd name="T36" fmla="*/ 362 w 512"/>
              <a:gd name="T37" fmla="*/ 188 h 512"/>
              <a:gd name="T38" fmla="*/ 352 w 512"/>
              <a:gd name="T39" fmla="*/ 160 h 512"/>
              <a:gd name="T40" fmla="*/ 341 w 512"/>
              <a:gd name="T41" fmla="*/ 188 h 512"/>
              <a:gd name="T42" fmla="*/ 170 w 512"/>
              <a:gd name="T43" fmla="*/ 188 h 512"/>
              <a:gd name="T44" fmla="*/ 160 w 512"/>
              <a:gd name="T45" fmla="*/ 160 h 512"/>
              <a:gd name="T46" fmla="*/ 149 w 512"/>
              <a:gd name="T47" fmla="*/ 188 h 512"/>
              <a:gd name="T48" fmla="*/ 96 w 512"/>
              <a:gd name="T49" fmla="*/ 236 h 512"/>
              <a:gd name="T50" fmla="*/ 110 w 512"/>
              <a:gd name="T51" fmla="*/ 242 h 512"/>
              <a:gd name="T52" fmla="*/ 149 w 512"/>
              <a:gd name="T53" fmla="*/ 277 h 512"/>
              <a:gd name="T54" fmla="*/ 96 w 512"/>
              <a:gd name="T55" fmla="*/ 288 h 512"/>
              <a:gd name="T56" fmla="*/ 149 w 512"/>
              <a:gd name="T57" fmla="*/ 298 h 512"/>
              <a:gd name="T58" fmla="*/ 149 w 512"/>
              <a:gd name="T59" fmla="*/ 341 h 512"/>
              <a:gd name="T60" fmla="*/ 136 w 512"/>
              <a:gd name="T61" fmla="*/ 334 h 512"/>
              <a:gd name="T62" fmla="*/ 120 w 512"/>
              <a:gd name="T63" fmla="*/ 333 h 512"/>
              <a:gd name="T64" fmla="*/ 96 w 512"/>
              <a:gd name="T65" fmla="*/ 358 h 512"/>
              <a:gd name="T66" fmla="*/ 127 w 512"/>
              <a:gd name="T67" fmla="*/ 355 h 512"/>
              <a:gd name="T68" fmla="*/ 191 w 512"/>
              <a:gd name="T69" fmla="*/ 356 h 512"/>
              <a:gd name="T70" fmla="*/ 255 w 512"/>
              <a:gd name="T71" fmla="*/ 356 h 512"/>
              <a:gd name="T72" fmla="*/ 319 w 512"/>
              <a:gd name="T73" fmla="*/ 356 h 512"/>
              <a:gd name="T74" fmla="*/ 351 w 512"/>
              <a:gd name="T75" fmla="*/ 368 h 512"/>
              <a:gd name="T76" fmla="*/ 402 w 512"/>
              <a:gd name="T77" fmla="*/ 366 h 512"/>
              <a:gd name="T78" fmla="*/ 408 w 512"/>
              <a:gd name="T79" fmla="*/ 345 h 512"/>
              <a:gd name="T80" fmla="*/ 384 w 512"/>
              <a:gd name="T81" fmla="*/ 330 h 512"/>
              <a:gd name="T82" fmla="*/ 362 w 512"/>
              <a:gd name="T83" fmla="*/ 343 h 512"/>
              <a:gd name="T84" fmla="*/ 362 w 512"/>
              <a:gd name="T85" fmla="*/ 330 h 512"/>
              <a:gd name="T86" fmla="*/ 405 w 512"/>
              <a:gd name="T87" fmla="*/ 298 h 512"/>
              <a:gd name="T88" fmla="*/ 405 w 512"/>
              <a:gd name="T8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256" y="250"/>
                </a:moveTo>
                <a:cubicBezTo>
                  <a:pt x="287" y="250"/>
                  <a:pt x="318" y="239"/>
                  <a:pt x="341" y="219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19"/>
                  <a:pt x="170" y="219"/>
                  <a:pt x="170" y="219"/>
                </a:cubicBezTo>
                <a:cubicBezTo>
                  <a:pt x="193" y="239"/>
                  <a:pt x="223" y="250"/>
                  <a:pt x="256" y="250"/>
                </a:cubicBezTo>
                <a:close/>
                <a:moveTo>
                  <a:pt x="170" y="320"/>
                </a:moveTo>
                <a:cubicBezTo>
                  <a:pt x="170" y="341"/>
                  <a:pt x="170" y="341"/>
                  <a:pt x="170" y="341"/>
                </a:cubicBezTo>
                <a:cubicBezTo>
                  <a:pt x="170" y="343"/>
                  <a:pt x="170" y="343"/>
                  <a:pt x="170" y="343"/>
                </a:cubicBezTo>
                <a:cubicBezTo>
                  <a:pt x="175" y="341"/>
                  <a:pt x="179" y="338"/>
                  <a:pt x="184" y="333"/>
                </a:cubicBezTo>
                <a:cubicBezTo>
                  <a:pt x="186" y="331"/>
                  <a:pt x="189" y="330"/>
                  <a:pt x="192" y="330"/>
                </a:cubicBezTo>
                <a:cubicBezTo>
                  <a:pt x="195" y="331"/>
                  <a:pt x="198" y="332"/>
                  <a:pt x="200" y="334"/>
                </a:cubicBezTo>
                <a:cubicBezTo>
                  <a:pt x="200" y="334"/>
                  <a:pt x="209" y="346"/>
                  <a:pt x="222" y="346"/>
                </a:cubicBezTo>
                <a:cubicBezTo>
                  <a:pt x="230" y="347"/>
                  <a:pt x="239" y="342"/>
                  <a:pt x="248" y="333"/>
                </a:cubicBezTo>
                <a:cubicBezTo>
                  <a:pt x="250" y="331"/>
                  <a:pt x="253" y="330"/>
                  <a:pt x="256" y="330"/>
                </a:cubicBezTo>
                <a:cubicBezTo>
                  <a:pt x="259" y="331"/>
                  <a:pt x="262" y="332"/>
                  <a:pt x="264" y="334"/>
                </a:cubicBezTo>
                <a:cubicBezTo>
                  <a:pt x="264" y="334"/>
                  <a:pt x="273" y="346"/>
                  <a:pt x="286" y="346"/>
                </a:cubicBezTo>
                <a:cubicBezTo>
                  <a:pt x="294" y="347"/>
                  <a:pt x="303" y="342"/>
                  <a:pt x="312" y="333"/>
                </a:cubicBezTo>
                <a:cubicBezTo>
                  <a:pt x="314" y="331"/>
                  <a:pt x="317" y="330"/>
                  <a:pt x="320" y="330"/>
                </a:cubicBezTo>
                <a:cubicBezTo>
                  <a:pt x="323" y="331"/>
                  <a:pt x="326" y="332"/>
                  <a:pt x="328" y="334"/>
                </a:cubicBezTo>
                <a:cubicBezTo>
                  <a:pt x="328" y="334"/>
                  <a:pt x="333" y="341"/>
                  <a:pt x="341" y="344"/>
                </a:cubicBezTo>
                <a:cubicBezTo>
                  <a:pt x="341" y="341"/>
                  <a:pt x="341" y="341"/>
                  <a:pt x="341" y="341"/>
                </a:cubicBezTo>
                <a:cubicBezTo>
                  <a:pt x="341" y="330"/>
                  <a:pt x="341" y="330"/>
                  <a:pt x="341" y="330"/>
                </a:cubicBezTo>
                <a:cubicBezTo>
                  <a:pt x="341" y="298"/>
                  <a:pt x="341" y="298"/>
                  <a:pt x="341" y="298"/>
                </a:cubicBezTo>
                <a:cubicBezTo>
                  <a:pt x="170" y="298"/>
                  <a:pt x="170" y="298"/>
                  <a:pt x="170" y="298"/>
                </a:cubicBezTo>
                <a:lnTo>
                  <a:pt x="170" y="32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2" y="277"/>
                </a:moveTo>
                <a:cubicBezTo>
                  <a:pt x="362" y="219"/>
                  <a:pt x="362" y="219"/>
                  <a:pt x="362" y="219"/>
                </a:cubicBezTo>
                <a:cubicBezTo>
                  <a:pt x="373" y="228"/>
                  <a:pt x="386" y="236"/>
                  <a:pt x="401" y="242"/>
                </a:cubicBezTo>
                <a:cubicBezTo>
                  <a:pt x="402" y="242"/>
                  <a:pt x="404" y="242"/>
                  <a:pt x="405" y="242"/>
                </a:cubicBezTo>
                <a:cubicBezTo>
                  <a:pt x="409" y="242"/>
                  <a:pt x="413" y="240"/>
                  <a:pt x="415" y="236"/>
                </a:cubicBezTo>
                <a:cubicBezTo>
                  <a:pt x="417" y="230"/>
                  <a:pt x="414" y="224"/>
                  <a:pt x="409" y="222"/>
                </a:cubicBezTo>
                <a:cubicBezTo>
                  <a:pt x="389" y="214"/>
                  <a:pt x="373" y="202"/>
                  <a:pt x="362" y="188"/>
                </a:cubicBezTo>
                <a:cubicBezTo>
                  <a:pt x="362" y="170"/>
                  <a:pt x="362" y="170"/>
                  <a:pt x="362" y="170"/>
                </a:cubicBezTo>
                <a:cubicBezTo>
                  <a:pt x="362" y="164"/>
                  <a:pt x="358" y="160"/>
                  <a:pt x="352" y="160"/>
                </a:cubicBezTo>
                <a:cubicBezTo>
                  <a:pt x="346" y="160"/>
                  <a:pt x="341" y="164"/>
                  <a:pt x="341" y="170"/>
                </a:cubicBezTo>
                <a:cubicBezTo>
                  <a:pt x="341" y="188"/>
                  <a:pt x="341" y="188"/>
                  <a:pt x="341" y="188"/>
                </a:cubicBezTo>
                <a:cubicBezTo>
                  <a:pt x="321" y="214"/>
                  <a:pt x="289" y="229"/>
                  <a:pt x="256" y="229"/>
                </a:cubicBezTo>
                <a:cubicBezTo>
                  <a:pt x="221" y="229"/>
                  <a:pt x="190" y="214"/>
                  <a:pt x="170" y="188"/>
                </a:cubicBezTo>
                <a:cubicBezTo>
                  <a:pt x="170" y="170"/>
                  <a:pt x="170" y="170"/>
                  <a:pt x="170" y="170"/>
                </a:cubicBezTo>
                <a:cubicBezTo>
                  <a:pt x="170" y="164"/>
                  <a:pt x="166" y="160"/>
                  <a:pt x="160" y="160"/>
                </a:cubicBezTo>
                <a:cubicBezTo>
                  <a:pt x="154" y="160"/>
                  <a:pt x="149" y="164"/>
                  <a:pt x="149" y="170"/>
                </a:cubicBezTo>
                <a:cubicBezTo>
                  <a:pt x="149" y="188"/>
                  <a:pt x="149" y="188"/>
                  <a:pt x="149" y="188"/>
                </a:cubicBezTo>
                <a:cubicBezTo>
                  <a:pt x="138" y="202"/>
                  <a:pt x="121" y="214"/>
                  <a:pt x="102" y="222"/>
                </a:cubicBezTo>
                <a:cubicBezTo>
                  <a:pt x="97" y="224"/>
                  <a:pt x="94" y="230"/>
                  <a:pt x="96" y="236"/>
                </a:cubicBezTo>
                <a:cubicBezTo>
                  <a:pt x="98" y="240"/>
                  <a:pt x="102" y="242"/>
                  <a:pt x="106" y="242"/>
                </a:cubicBezTo>
                <a:cubicBezTo>
                  <a:pt x="108" y="242"/>
                  <a:pt x="109" y="242"/>
                  <a:pt x="110" y="242"/>
                </a:cubicBezTo>
                <a:cubicBezTo>
                  <a:pt x="125" y="236"/>
                  <a:pt x="138" y="228"/>
                  <a:pt x="149" y="218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82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49" y="298"/>
                  <a:pt x="149" y="298"/>
                  <a:pt x="149" y="298"/>
                </a:cubicBezTo>
                <a:cubicBezTo>
                  <a:pt x="149" y="320"/>
                  <a:pt x="149" y="320"/>
                  <a:pt x="149" y="320"/>
                </a:cubicBezTo>
                <a:cubicBezTo>
                  <a:pt x="149" y="341"/>
                  <a:pt x="149" y="341"/>
                  <a:pt x="149" y="341"/>
                </a:cubicBezTo>
                <a:cubicBezTo>
                  <a:pt x="149" y="344"/>
                  <a:pt x="149" y="344"/>
                  <a:pt x="149" y="344"/>
                </a:cubicBezTo>
                <a:cubicBezTo>
                  <a:pt x="141" y="341"/>
                  <a:pt x="136" y="334"/>
                  <a:pt x="136" y="334"/>
                </a:cubicBezTo>
                <a:cubicBezTo>
                  <a:pt x="134" y="332"/>
                  <a:pt x="131" y="331"/>
                  <a:pt x="128" y="330"/>
                </a:cubicBezTo>
                <a:cubicBezTo>
                  <a:pt x="125" y="330"/>
                  <a:pt x="122" y="331"/>
                  <a:pt x="120" y="333"/>
                </a:cubicBezTo>
                <a:cubicBezTo>
                  <a:pt x="114" y="339"/>
                  <a:pt x="109" y="343"/>
                  <a:pt x="103" y="345"/>
                </a:cubicBezTo>
                <a:cubicBezTo>
                  <a:pt x="97" y="347"/>
                  <a:pt x="94" y="353"/>
                  <a:pt x="96" y="358"/>
                </a:cubicBezTo>
                <a:cubicBezTo>
                  <a:pt x="98" y="364"/>
                  <a:pt x="104" y="367"/>
                  <a:pt x="110" y="365"/>
                </a:cubicBezTo>
                <a:cubicBezTo>
                  <a:pt x="116" y="363"/>
                  <a:pt x="122" y="360"/>
                  <a:pt x="127" y="355"/>
                </a:cubicBezTo>
                <a:cubicBezTo>
                  <a:pt x="134" y="361"/>
                  <a:pt x="144" y="367"/>
                  <a:pt x="156" y="368"/>
                </a:cubicBezTo>
                <a:cubicBezTo>
                  <a:pt x="168" y="368"/>
                  <a:pt x="180" y="364"/>
                  <a:pt x="191" y="356"/>
                </a:cubicBezTo>
                <a:cubicBezTo>
                  <a:pt x="198" y="361"/>
                  <a:pt x="208" y="367"/>
                  <a:pt x="220" y="368"/>
                </a:cubicBezTo>
                <a:cubicBezTo>
                  <a:pt x="232" y="368"/>
                  <a:pt x="244" y="364"/>
                  <a:pt x="255" y="356"/>
                </a:cubicBezTo>
                <a:cubicBezTo>
                  <a:pt x="262" y="361"/>
                  <a:pt x="272" y="367"/>
                  <a:pt x="284" y="368"/>
                </a:cubicBezTo>
                <a:cubicBezTo>
                  <a:pt x="296" y="368"/>
                  <a:pt x="308" y="364"/>
                  <a:pt x="319" y="356"/>
                </a:cubicBezTo>
                <a:cubicBezTo>
                  <a:pt x="326" y="361"/>
                  <a:pt x="336" y="367"/>
                  <a:pt x="348" y="368"/>
                </a:cubicBezTo>
                <a:cubicBezTo>
                  <a:pt x="349" y="368"/>
                  <a:pt x="350" y="368"/>
                  <a:pt x="351" y="368"/>
                </a:cubicBezTo>
                <a:cubicBezTo>
                  <a:pt x="362" y="368"/>
                  <a:pt x="373" y="364"/>
                  <a:pt x="383" y="356"/>
                </a:cubicBezTo>
                <a:cubicBezTo>
                  <a:pt x="388" y="359"/>
                  <a:pt x="394" y="363"/>
                  <a:pt x="402" y="366"/>
                </a:cubicBezTo>
                <a:cubicBezTo>
                  <a:pt x="408" y="367"/>
                  <a:pt x="413" y="364"/>
                  <a:pt x="415" y="358"/>
                </a:cubicBezTo>
                <a:cubicBezTo>
                  <a:pt x="417" y="353"/>
                  <a:pt x="414" y="347"/>
                  <a:pt x="408" y="345"/>
                </a:cubicBezTo>
                <a:cubicBezTo>
                  <a:pt x="398" y="342"/>
                  <a:pt x="392" y="334"/>
                  <a:pt x="392" y="334"/>
                </a:cubicBezTo>
                <a:cubicBezTo>
                  <a:pt x="390" y="332"/>
                  <a:pt x="387" y="331"/>
                  <a:pt x="384" y="330"/>
                </a:cubicBezTo>
                <a:cubicBezTo>
                  <a:pt x="381" y="330"/>
                  <a:pt x="378" y="331"/>
                  <a:pt x="376" y="333"/>
                </a:cubicBezTo>
                <a:cubicBezTo>
                  <a:pt x="371" y="338"/>
                  <a:pt x="367" y="341"/>
                  <a:pt x="362" y="343"/>
                </a:cubicBezTo>
                <a:cubicBezTo>
                  <a:pt x="362" y="341"/>
                  <a:pt x="362" y="341"/>
                  <a:pt x="362" y="341"/>
                </a:cubicBezTo>
                <a:cubicBezTo>
                  <a:pt x="362" y="330"/>
                  <a:pt x="362" y="330"/>
                  <a:pt x="362" y="330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ubicBezTo>
                  <a:pt x="416" y="282"/>
                  <a:pt x="411" y="277"/>
                  <a:pt x="405" y="277"/>
                </a:cubicBezTo>
                <a:lnTo>
                  <a:pt x="362" y="27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3" name="Group 654"/>
          <p:cNvGrpSpPr>
            <a:grpSpLocks noChangeAspect="1"/>
          </p:cNvGrpSpPr>
          <p:nvPr/>
        </p:nvGrpSpPr>
        <p:grpSpPr bwMode="auto">
          <a:xfrm>
            <a:off x="4900837" y="2051050"/>
            <a:ext cx="367982" cy="369064"/>
            <a:chOff x="6105" y="3542"/>
            <a:chExt cx="340" cy="341"/>
          </a:xfrm>
          <a:solidFill>
            <a:schemeClr val="accent1"/>
          </a:solidFill>
        </p:grpSpPr>
        <p:sp>
          <p:nvSpPr>
            <p:cNvPr id="274" name="Freeform 273"/>
            <p:cNvSpPr>
              <a:spLocks noEditPoints="1"/>
            </p:cNvSpPr>
            <p:nvPr/>
          </p:nvSpPr>
          <p:spPr bwMode="auto">
            <a:xfrm>
              <a:off x="6105" y="354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274"/>
            <p:cNvSpPr>
              <a:spLocks noEditPoints="1"/>
            </p:cNvSpPr>
            <p:nvPr/>
          </p:nvSpPr>
          <p:spPr bwMode="auto">
            <a:xfrm>
              <a:off x="6167" y="3649"/>
              <a:ext cx="215" cy="138"/>
            </a:xfrm>
            <a:custGeom>
              <a:avLst/>
              <a:gdLst>
                <a:gd name="T0" fmla="*/ 268 w 323"/>
                <a:gd name="T1" fmla="*/ 138 h 208"/>
                <a:gd name="T2" fmla="*/ 322 w 323"/>
                <a:gd name="T3" fmla="*/ 128 h 208"/>
                <a:gd name="T4" fmla="*/ 268 w 323"/>
                <a:gd name="T5" fmla="*/ 117 h 208"/>
                <a:gd name="T6" fmla="*/ 307 w 323"/>
                <a:gd name="T7" fmla="*/ 82 h 208"/>
                <a:gd name="T8" fmla="*/ 321 w 323"/>
                <a:gd name="T9" fmla="*/ 76 h 208"/>
                <a:gd name="T10" fmla="*/ 268 w 323"/>
                <a:gd name="T11" fmla="*/ 28 h 208"/>
                <a:gd name="T12" fmla="*/ 258 w 323"/>
                <a:gd name="T13" fmla="*/ 0 h 208"/>
                <a:gd name="T14" fmla="*/ 247 w 323"/>
                <a:gd name="T15" fmla="*/ 28 h 208"/>
                <a:gd name="T16" fmla="*/ 76 w 323"/>
                <a:gd name="T17" fmla="*/ 28 h 208"/>
                <a:gd name="T18" fmla="*/ 66 w 323"/>
                <a:gd name="T19" fmla="*/ 0 h 208"/>
                <a:gd name="T20" fmla="*/ 55 w 323"/>
                <a:gd name="T21" fmla="*/ 28 h 208"/>
                <a:gd name="T22" fmla="*/ 2 w 323"/>
                <a:gd name="T23" fmla="*/ 76 h 208"/>
                <a:gd name="T24" fmla="*/ 16 w 323"/>
                <a:gd name="T25" fmla="*/ 82 h 208"/>
                <a:gd name="T26" fmla="*/ 55 w 323"/>
                <a:gd name="T27" fmla="*/ 117 h 208"/>
                <a:gd name="T28" fmla="*/ 2 w 323"/>
                <a:gd name="T29" fmla="*/ 128 h 208"/>
                <a:gd name="T30" fmla="*/ 55 w 323"/>
                <a:gd name="T31" fmla="*/ 138 h 208"/>
                <a:gd name="T32" fmla="*/ 55 w 323"/>
                <a:gd name="T33" fmla="*/ 181 h 208"/>
                <a:gd name="T34" fmla="*/ 42 w 323"/>
                <a:gd name="T35" fmla="*/ 174 h 208"/>
                <a:gd name="T36" fmla="*/ 26 w 323"/>
                <a:gd name="T37" fmla="*/ 173 h 208"/>
                <a:gd name="T38" fmla="*/ 2 w 323"/>
                <a:gd name="T39" fmla="*/ 198 h 208"/>
                <a:gd name="T40" fmla="*/ 33 w 323"/>
                <a:gd name="T41" fmla="*/ 195 h 208"/>
                <a:gd name="T42" fmla="*/ 97 w 323"/>
                <a:gd name="T43" fmla="*/ 196 h 208"/>
                <a:gd name="T44" fmla="*/ 161 w 323"/>
                <a:gd name="T45" fmla="*/ 196 h 208"/>
                <a:gd name="T46" fmla="*/ 225 w 323"/>
                <a:gd name="T47" fmla="*/ 196 h 208"/>
                <a:gd name="T48" fmla="*/ 257 w 323"/>
                <a:gd name="T49" fmla="*/ 208 h 208"/>
                <a:gd name="T50" fmla="*/ 308 w 323"/>
                <a:gd name="T51" fmla="*/ 206 h 208"/>
                <a:gd name="T52" fmla="*/ 314 w 323"/>
                <a:gd name="T53" fmla="*/ 185 h 208"/>
                <a:gd name="T54" fmla="*/ 290 w 323"/>
                <a:gd name="T55" fmla="*/ 170 h 208"/>
                <a:gd name="T56" fmla="*/ 268 w 323"/>
                <a:gd name="T57" fmla="*/ 183 h 208"/>
                <a:gd name="T58" fmla="*/ 268 w 323"/>
                <a:gd name="T59" fmla="*/ 170 h 208"/>
                <a:gd name="T60" fmla="*/ 162 w 323"/>
                <a:gd name="T61" fmla="*/ 90 h 208"/>
                <a:gd name="T62" fmla="*/ 247 w 323"/>
                <a:gd name="T63" fmla="*/ 117 h 208"/>
                <a:gd name="T64" fmla="*/ 76 w 323"/>
                <a:gd name="T65" fmla="*/ 59 h 208"/>
                <a:gd name="T66" fmla="*/ 226 w 323"/>
                <a:gd name="T67" fmla="*/ 170 h 208"/>
                <a:gd name="T68" fmla="*/ 192 w 323"/>
                <a:gd name="T69" fmla="*/ 186 h 208"/>
                <a:gd name="T70" fmla="*/ 162 w 323"/>
                <a:gd name="T71" fmla="*/ 170 h 208"/>
                <a:gd name="T72" fmla="*/ 128 w 323"/>
                <a:gd name="T73" fmla="*/ 186 h 208"/>
                <a:gd name="T74" fmla="*/ 98 w 323"/>
                <a:gd name="T75" fmla="*/ 170 h 208"/>
                <a:gd name="T76" fmla="*/ 76 w 323"/>
                <a:gd name="T77" fmla="*/ 183 h 208"/>
                <a:gd name="T78" fmla="*/ 76 w 323"/>
                <a:gd name="T79" fmla="*/ 170 h 208"/>
                <a:gd name="T80" fmla="*/ 247 w 323"/>
                <a:gd name="T81" fmla="*/ 138 h 208"/>
                <a:gd name="T82" fmla="*/ 247 w 323"/>
                <a:gd name="T83" fmla="*/ 181 h 208"/>
                <a:gd name="T84" fmla="*/ 234 w 323"/>
                <a:gd name="T85" fmla="*/ 17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3" h="208">
                  <a:moveTo>
                    <a:pt x="268" y="170"/>
                  </a:moveTo>
                  <a:cubicBezTo>
                    <a:pt x="268" y="138"/>
                    <a:pt x="268" y="138"/>
                    <a:pt x="268" y="138"/>
                  </a:cubicBezTo>
                  <a:cubicBezTo>
                    <a:pt x="311" y="138"/>
                    <a:pt x="311" y="138"/>
                    <a:pt x="311" y="138"/>
                  </a:cubicBezTo>
                  <a:cubicBezTo>
                    <a:pt x="317" y="138"/>
                    <a:pt x="322" y="134"/>
                    <a:pt x="322" y="128"/>
                  </a:cubicBezTo>
                  <a:cubicBezTo>
                    <a:pt x="322" y="122"/>
                    <a:pt x="317" y="117"/>
                    <a:pt x="311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59"/>
                    <a:pt x="268" y="59"/>
                    <a:pt x="268" y="59"/>
                  </a:cubicBezTo>
                  <a:cubicBezTo>
                    <a:pt x="279" y="68"/>
                    <a:pt x="292" y="76"/>
                    <a:pt x="307" y="82"/>
                  </a:cubicBezTo>
                  <a:cubicBezTo>
                    <a:pt x="308" y="82"/>
                    <a:pt x="310" y="82"/>
                    <a:pt x="311" y="82"/>
                  </a:cubicBezTo>
                  <a:cubicBezTo>
                    <a:pt x="315" y="82"/>
                    <a:pt x="319" y="80"/>
                    <a:pt x="321" y="76"/>
                  </a:cubicBezTo>
                  <a:cubicBezTo>
                    <a:pt x="323" y="70"/>
                    <a:pt x="320" y="64"/>
                    <a:pt x="315" y="62"/>
                  </a:cubicBezTo>
                  <a:cubicBezTo>
                    <a:pt x="295" y="54"/>
                    <a:pt x="279" y="42"/>
                    <a:pt x="268" y="28"/>
                  </a:cubicBezTo>
                  <a:cubicBezTo>
                    <a:pt x="268" y="10"/>
                    <a:pt x="268" y="10"/>
                    <a:pt x="268" y="10"/>
                  </a:cubicBezTo>
                  <a:cubicBezTo>
                    <a:pt x="268" y="4"/>
                    <a:pt x="264" y="0"/>
                    <a:pt x="258" y="0"/>
                  </a:cubicBezTo>
                  <a:cubicBezTo>
                    <a:pt x="252" y="0"/>
                    <a:pt x="247" y="4"/>
                    <a:pt x="247" y="1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27" y="54"/>
                    <a:pt x="195" y="69"/>
                    <a:pt x="162" y="69"/>
                  </a:cubicBezTo>
                  <a:cubicBezTo>
                    <a:pt x="127" y="69"/>
                    <a:pt x="96" y="54"/>
                    <a:pt x="76" y="28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4"/>
                    <a:pt x="72" y="0"/>
                    <a:pt x="66" y="0"/>
                  </a:cubicBezTo>
                  <a:cubicBezTo>
                    <a:pt x="60" y="0"/>
                    <a:pt x="55" y="4"/>
                    <a:pt x="55" y="10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44" y="42"/>
                    <a:pt x="27" y="54"/>
                    <a:pt x="8" y="62"/>
                  </a:cubicBezTo>
                  <a:cubicBezTo>
                    <a:pt x="3" y="64"/>
                    <a:pt x="0" y="70"/>
                    <a:pt x="2" y="76"/>
                  </a:cubicBezTo>
                  <a:cubicBezTo>
                    <a:pt x="4" y="80"/>
                    <a:pt x="8" y="82"/>
                    <a:pt x="12" y="82"/>
                  </a:cubicBezTo>
                  <a:cubicBezTo>
                    <a:pt x="14" y="82"/>
                    <a:pt x="15" y="82"/>
                    <a:pt x="16" y="82"/>
                  </a:cubicBezTo>
                  <a:cubicBezTo>
                    <a:pt x="31" y="76"/>
                    <a:pt x="44" y="68"/>
                    <a:pt x="55" y="58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6" y="117"/>
                    <a:pt x="2" y="122"/>
                    <a:pt x="2" y="128"/>
                  </a:cubicBezTo>
                  <a:cubicBezTo>
                    <a:pt x="2" y="134"/>
                    <a:pt x="6" y="138"/>
                    <a:pt x="1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70"/>
                    <a:pt x="55" y="170"/>
                    <a:pt x="55" y="170"/>
                  </a:cubicBezTo>
                  <a:cubicBezTo>
                    <a:pt x="55" y="181"/>
                    <a:pt x="55" y="181"/>
                    <a:pt x="55" y="181"/>
                  </a:cubicBezTo>
                  <a:cubicBezTo>
                    <a:pt x="55" y="184"/>
                    <a:pt x="55" y="184"/>
                    <a:pt x="55" y="184"/>
                  </a:cubicBezTo>
                  <a:cubicBezTo>
                    <a:pt x="47" y="181"/>
                    <a:pt x="42" y="174"/>
                    <a:pt x="42" y="174"/>
                  </a:cubicBezTo>
                  <a:cubicBezTo>
                    <a:pt x="40" y="172"/>
                    <a:pt x="37" y="171"/>
                    <a:pt x="34" y="170"/>
                  </a:cubicBezTo>
                  <a:cubicBezTo>
                    <a:pt x="31" y="170"/>
                    <a:pt x="28" y="171"/>
                    <a:pt x="26" y="173"/>
                  </a:cubicBezTo>
                  <a:cubicBezTo>
                    <a:pt x="20" y="179"/>
                    <a:pt x="15" y="183"/>
                    <a:pt x="9" y="185"/>
                  </a:cubicBezTo>
                  <a:cubicBezTo>
                    <a:pt x="3" y="187"/>
                    <a:pt x="0" y="193"/>
                    <a:pt x="2" y="198"/>
                  </a:cubicBezTo>
                  <a:cubicBezTo>
                    <a:pt x="4" y="204"/>
                    <a:pt x="10" y="207"/>
                    <a:pt x="16" y="205"/>
                  </a:cubicBezTo>
                  <a:cubicBezTo>
                    <a:pt x="22" y="203"/>
                    <a:pt x="28" y="200"/>
                    <a:pt x="33" y="195"/>
                  </a:cubicBezTo>
                  <a:cubicBezTo>
                    <a:pt x="40" y="201"/>
                    <a:pt x="50" y="207"/>
                    <a:pt x="62" y="208"/>
                  </a:cubicBezTo>
                  <a:cubicBezTo>
                    <a:pt x="74" y="208"/>
                    <a:pt x="86" y="204"/>
                    <a:pt x="97" y="196"/>
                  </a:cubicBezTo>
                  <a:cubicBezTo>
                    <a:pt x="104" y="201"/>
                    <a:pt x="114" y="207"/>
                    <a:pt x="126" y="208"/>
                  </a:cubicBezTo>
                  <a:cubicBezTo>
                    <a:pt x="138" y="208"/>
                    <a:pt x="150" y="204"/>
                    <a:pt x="161" y="196"/>
                  </a:cubicBezTo>
                  <a:cubicBezTo>
                    <a:pt x="168" y="201"/>
                    <a:pt x="178" y="207"/>
                    <a:pt x="190" y="208"/>
                  </a:cubicBezTo>
                  <a:cubicBezTo>
                    <a:pt x="202" y="208"/>
                    <a:pt x="214" y="204"/>
                    <a:pt x="225" y="196"/>
                  </a:cubicBezTo>
                  <a:cubicBezTo>
                    <a:pt x="232" y="201"/>
                    <a:pt x="242" y="207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68" y="208"/>
                    <a:pt x="279" y="204"/>
                    <a:pt x="289" y="196"/>
                  </a:cubicBezTo>
                  <a:cubicBezTo>
                    <a:pt x="294" y="199"/>
                    <a:pt x="300" y="203"/>
                    <a:pt x="308" y="206"/>
                  </a:cubicBezTo>
                  <a:cubicBezTo>
                    <a:pt x="314" y="207"/>
                    <a:pt x="319" y="204"/>
                    <a:pt x="321" y="198"/>
                  </a:cubicBezTo>
                  <a:cubicBezTo>
                    <a:pt x="323" y="193"/>
                    <a:pt x="320" y="187"/>
                    <a:pt x="314" y="185"/>
                  </a:cubicBezTo>
                  <a:cubicBezTo>
                    <a:pt x="304" y="182"/>
                    <a:pt x="298" y="174"/>
                    <a:pt x="298" y="174"/>
                  </a:cubicBezTo>
                  <a:cubicBezTo>
                    <a:pt x="296" y="172"/>
                    <a:pt x="293" y="171"/>
                    <a:pt x="290" y="170"/>
                  </a:cubicBezTo>
                  <a:cubicBezTo>
                    <a:pt x="287" y="170"/>
                    <a:pt x="284" y="171"/>
                    <a:pt x="282" y="173"/>
                  </a:cubicBezTo>
                  <a:cubicBezTo>
                    <a:pt x="277" y="178"/>
                    <a:pt x="273" y="181"/>
                    <a:pt x="268" y="183"/>
                  </a:cubicBezTo>
                  <a:cubicBezTo>
                    <a:pt x="268" y="181"/>
                    <a:pt x="268" y="181"/>
                    <a:pt x="268" y="181"/>
                  </a:cubicBezTo>
                  <a:lnTo>
                    <a:pt x="268" y="170"/>
                  </a:lnTo>
                  <a:close/>
                  <a:moveTo>
                    <a:pt x="76" y="59"/>
                  </a:moveTo>
                  <a:cubicBezTo>
                    <a:pt x="99" y="79"/>
                    <a:pt x="129" y="90"/>
                    <a:pt x="162" y="90"/>
                  </a:cubicBezTo>
                  <a:cubicBezTo>
                    <a:pt x="193" y="90"/>
                    <a:pt x="224" y="79"/>
                    <a:pt x="247" y="59"/>
                  </a:cubicBezTo>
                  <a:cubicBezTo>
                    <a:pt x="247" y="117"/>
                    <a:pt x="247" y="117"/>
                    <a:pt x="247" y="117"/>
                  </a:cubicBezTo>
                  <a:cubicBezTo>
                    <a:pt x="76" y="117"/>
                    <a:pt x="76" y="117"/>
                    <a:pt x="76" y="117"/>
                  </a:cubicBezTo>
                  <a:lnTo>
                    <a:pt x="76" y="59"/>
                  </a:lnTo>
                  <a:close/>
                  <a:moveTo>
                    <a:pt x="234" y="174"/>
                  </a:moveTo>
                  <a:cubicBezTo>
                    <a:pt x="232" y="172"/>
                    <a:pt x="229" y="171"/>
                    <a:pt x="226" y="170"/>
                  </a:cubicBezTo>
                  <a:cubicBezTo>
                    <a:pt x="223" y="170"/>
                    <a:pt x="220" y="171"/>
                    <a:pt x="218" y="173"/>
                  </a:cubicBezTo>
                  <a:cubicBezTo>
                    <a:pt x="209" y="182"/>
                    <a:pt x="200" y="187"/>
                    <a:pt x="192" y="186"/>
                  </a:cubicBezTo>
                  <a:cubicBezTo>
                    <a:pt x="179" y="186"/>
                    <a:pt x="170" y="174"/>
                    <a:pt x="170" y="174"/>
                  </a:cubicBezTo>
                  <a:cubicBezTo>
                    <a:pt x="168" y="172"/>
                    <a:pt x="165" y="171"/>
                    <a:pt x="162" y="170"/>
                  </a:cubicBezTo>
                  <a:cubicBezTo>
                    <a:pt x="159" y="170"/>
                    <a:pt x="156" y="171"/>
                    <a:pt x="154" y="173"/>
                  </a:cubicBezTo>
                  <a:cubicBezTo>
                    <a:pt x="145" y="182"/>
                    <a:pt x="136" y="187"/>
                    <a:pt x="128" y="186"/>
                  </a:cubicBezTo>
                  <a:cubicBezTo>
                    <a:pt x="115" y="186"/>
                    <a:pt x="106" y="174"/>
                    <a:pt x="106" y="174"/>
                  </a:cubicBezTo>
                  <a:cubicBezTo>
                    <a:pt x="104" y="172"/>
                    <a:pt x="101" y="171"/>
                    <a:pt x="98" y="170"/>
                  </a:cubicBezTo>
                  <a:cubicBezTo>
                    <a:pt x="95" y="170"/>
                    <a:pt x="92" y="171"/>
                    <a:pt x="90" y="173"/>
                  </a:cubicBezTo>
                  <a:cubicBezTo>
                    <a:pt x="85" y="178"/>
                    <a:pt x="81" y="181"/>
                    <a:pt x="76" y="183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170"/>
                    <a:pt x="76" y="170"/>
                    <a:pt x="76" y="170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70"/>
                    <a:pt x="247" y="170"/>
                    <a:pt x="247" y="170"/>
                  </a:cubicBezTo>
                  <a:cubicBezTo>
                    <a:pt x="247" y="181"/>
                    <a:pt x="247" y="181"/>
                    <a:pt x="247" y="181"/>
                  </a:cubicBezTo>
                  <a:cubicBezTo>
                    <a:pt x="247" y="184"/>
                    <a:pt x="247" y="184"/>
                    <a:pt x="247" y="184"/>
                  </a:cubicBezTo>
                  <a:cubicBezTo>
                    <a:pt x="239" y="181"/>
                    <a:pt x="234" y="174"/>
                    <a:pt x="234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6" name="TextBox 275"/>
          <p:cNvSpPr txBox="1"/>
          <p:nvPr/>
        </p:nvSpPr>
        <p:spPr>
          <a:xfrm>
            <a:off x="5424557" y="2470151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ail bridge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6409988" y="2470151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iver bridge</a:t>
            </a:r>
          </a:p>
        </p:txBody>
      </p:sp>
      <p:grpSp>
        <p:nvGrpSpPr>
          <p:cNvPr id="278" name="Group 620"/>
          <p:cNvGrpSpPr>
            <a:grpSpLocks noChangeAspect="1"/>
          </p:cNvGrpSpPr>
          <p:nvPr/>
        </p:nvGrpSpPr>
        <p:grpSpPr bwMode="auto">
          <a:xfrm>
            <a:off x="5896997" y="2051054"/>
            <a:ext cx="369021" cy="369021"/>
            <a:chOff x="3459" y="2357"/>
            <a:chExt cx="340" cy="340"/>
          </a:xfrm>
          <a:solidFill>
            <a:schemeClr val="accent1"/>
          </a:solidFill>
        </p:grpSpPr>
        <p:sp>
          <p:nvSpPr>
            <p:cNvPr id="279" name="Freeform 621"/>
            <p:cNvSpPr>
              <a:spLocks noEditPoints="1"/>
            </p:cNvSpPr>
            <p:nvPr/>
          </p:nvSpPr>
          <p:spPr bwMode="auto">
            <a:xfrm>
              <a:off x="3459" y="235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622"/>
            <p:cNvSpPr>
              <a:spLocks noEditPoints="1"/>
            </p:cNvSpPr>
            <p:nvPr/>
          </p:nvSpPr>
          <p:spPr bwMode="auto">
            <a:xfrm>
              <a:off x="3523" y="2448"/>
              <a:ext cx="85" cy="157"/>
            </a:xfrm>
            <a:custGeom>
              <a:avLst/>
              <a:gdLst>
                <a:gd name="T0" fmla="*/ 93 w 128"/>
                <a:gd name="T1" fmla="*/ 4 h 236"/>
                <a:gd name="T2" fmla="*/ 77 w 128"/>
                <a:gd name="T3" fmla="*/ 4 h 236"/>
                <a:gd name="T4" fmla="*/ 77 w 128"/>
                <a:gd name="T5" fmla="*/ 20 h 236"/>
                <a:gd name="T6" fmla="*/ 106 w 128"/>
                <a:gd name="T7" fmla="*/ 48 h 236"/>
                <a:gd name="T8" fmla="*/ 106 w 128"/>
                <a:gd name="T9" fmla="*/ 76 h 236"/>
                <a:gd name="T10" fmla="*/ 85 w 128"/>
                <a:gd name="T11" fmla="*/ 76 h 236"/>
                <a:gd name="T12" fmla="*/ 74 w 128"/>
                <a:gd name="T13" fmla="*/ 65 h 236"/>
                <a:gd name="T14" fmla="*/ 64 w 128"/>
                <a:gd name="T15" fmla="*/ 76 h 236"/>
                <a:gd name="T16" fmla="*/ 42 w 128"/>
                <a:gd name="T17" fmla="*/ 76 h 236"/>
                <a:gd name="T18" fmla="*/ 32 w 128"/>
                <a:gd name="T19" fmla="*/ 65 h 236"/>
                <a:gd name="T20" fmla="*/ 21 w 128"/>
                <a:gd name="T21" fmla="*/ 76 h 236"/>
                <a:gd name="T22" fmla="*/ 10 w 128"/>
                <a:gd name="T23" fmla="*/ 76 h 236"/>
                <a:gd name="T24" fmla="*/ 0 w 128"/>
                <a:gd name="T25" fmla="*/ 87 h 236"/>
                <a:gd name="T26" fmla="*/ 10 w 128"/>
                <a:gd name="T27" fmla="*/ 97 h 236"/>
                <a:gd name="T28" fmla="*/ 21 w 128"/>
                <a:gd name="T29" fmla="*/ 97 h 236"/>
                <a:gd name="T30" fmla="*/ 21 w 128"/>
                <a:gd name="T31" fmla="*/ 140 h 236"/>
                <a:gd name="T32" fmla="*/ 10 w 128"/>
                <a:gd name="T33" fmla="*/ 140 h 236"/>
                <a:gd name="T34" fmla="*/ 0 w 128"/>
                <a:gd name="T35" fmla="*/ 151 h 236"/>
                <a:gd name="T36" fmla="*/ 10 w 128"/>
                <a:gd name="T37" fmla="*/ 161 h 236"/>
                <a:gd name="T38" fmla="*/ 21 w 128"/>
                <a:gd name="T39" fmla="*/ 161 h 236"/>
                <a:gd name="T40" fmla="*/ 32 w 128"/>
                <a:gd name="T41" fmla="*/ 172 h 236"/>
                <a:gd name="T42" fmla="*/ 42 w 128"/>
                <a:gd name="T43" fmla="*/ 161 h 236"/>
                <a:gd name="T44" fmla="*/ 64 w 128"/>
                <a:gd name="T45" fmla="*/ 161 h 236"/>
                <a:gd name="T46" fmla="*/ 74 w 128"/>
                <a:gd name="T47" fmla="*/ 172 h 236"/>
                <a:gd name="T48" fmla="*/ 85 w 128"/>
                <a:gd name="T49" fmla="*/ 161 h 236"/>
                <a:gd name="T50" fmla="*/ 106 w 128"/>
                <a:gd name="T51" fmla="*/ 161 h 236"/>
                <a:gd name="T52" fmla="*/ 106 w 128"/>
                <a:gd name="T53" fmla="*/ 189 h 236"/>
                <a:gd name="T54" fmla="*/ 77 w 128"/>
                <a:gd name="T55" fmla="*/ 218 h 236"/>
                <a:gd name="T56" fmla="*/ 77 w 128"/>
                <a:gd name="T57" fmla="*/ 233 h 236"/>
                <a:gd name="T58" fmla="*/ 85 w 128"/>
                <a:gd name="T59" fmla="*/ 236 h 236"/>
                <a:gd name="T60" fmla="*/ 93 w 128"/>
                <a:gd name="T61" fmla="*/ 233 h 236"/>
                <a:gd name="T62" fmla="*/ 125 w 128"/>
                <a:gd name="T63" fmla="*/ 201 h 236"/>
                <a:gd name="T64" fmla="*/ 128 w 128"/>
                <a:gd name="T65" fmla="*/ 193 h 236"/>
                <a:gd name="T66" fmla="*/ 128 w 128"/>
                <a:gd name="T67" fmla="*/ 44 h 236"/>
                <a:gd name="T68" fmla="*/ 125 w 128"/>
                <a:gd name="T69" fmla="*/ 36 h 236"/>
                <a:gd name="T70" fmla="*/ 93 w 128"/>
                <a:gd name="T71" fmla="*/ 4 h 236"/>
                <a:gd name="T72" fmla="*/ 42 w 128"/>
                <a:gd name="T73" fmla="*/ 140 h 236"/>
                <a:gd name="T74" fmla="*/ 42 w 128"/>
                <a:gd name="T75" fmla="*/ 97 h 236"/>
                <a:gd name="T76" fmla="*/ 64 w 128"/>
                <a:gd name="T77" fmla="*/ 97 h 236"/>
                <a:gd name="T78" fmla="*/ 64 w 128"/>
                <a:gd name="T79" fmla="*/ 140 h 236"/>
                <a:gd name="T80" fmla="*/ 42 w 128"/>
                <a:gd name="T81" fmla="*/ 140 h 236"/>
                <a:gd name="T82" fmla="*/ 85 w 128"/>
                <a:gd name="T83" fmla="*/ 140 h 236"/>
                <a:gd name="T84" fmla="*/ 85 w 128"/>
                <a:gd name="T85" fmla="*/ 97 h 236"/>
                <a:gd name="T86" fmla="*/ 106 w 128"/>
                <a:gd name="T87" fmla="*/ 97 h 236"/>
                <a:gd name="T88" fmla="*/ 106 w 128"/>
                <a:gd name="T89" fmla="*/ 140 h 236"/>
                <a:gd name="T90" fmla="*/ 85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93" y="4"/>
                  </a:moveTo>
                  <a:cubicBezTo>
                    <a:pt x="88" y="0"/>
                    <a:pt x="82" y="0"/>
                    <a:pt x="77" y="4"/>
                  </a:cubicBezTo>
                  <a:cubicBezTo>
                    <a:pt x="73" y="9"/>
                    <a:pt x="73" y="15"/>
                    <a:pt x="77" y="20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70"/>
                    <a:pt x="80" y="65"/>
                    <a:pt x="74" y="65"/>
                  </a:cubicBezTo>
                  <a:cubicBezTo>
                    <a:pt x="68" y="65"/>
                    <a:pt x="64" y="70"/>
                    <a:pt x="64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0"/>
                    <a:pt x="38" y="65"/>
                    <a:pt x="32" y="65"/>
                  </a:cubicBezTo>
                  <a:cubicBezTo>
                    <a:pt x="26" y="65"/>
                    <a:pt x="21" y="70"/>
                    <a:pt x="21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4" y="76"/>
                    <a:pt x="0" y="81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140"/>
                    <a:pt x="21" y="140"/>
                    <a:pt x="21" y="140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4" y="140"/>
                    <a:pt x="0" y="145"/>
                    <a:pt x="0" y="151"/>
                  </a:cubicBezTo>
                  <a:cubicBezTo>
                    <a:pt x="0" y="157"/>
                    <a:pt x="4" y="161"/>
                    <a:pt x="10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7"/>
                    <a:pt x="26" y="172"/>
                    <a:pt x="32" y="172"/>
                  </a:cubicBezTo>
                  <a:cubicBezTo>
                    <a:pt x="38" y="172"/>
                    <a:pt x="42" y="167"/>
                    <a:pt x="42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7"/>
                    <a:pt x="68" y="172"/>
                    <a:pt x="74" y="172"/>
                  </a:cubicBezTo>
                  <a:cubicBezTo>
                    <a:pt x="80" y="172"/>
                    <a:pt x="85" y="167"/>
                    <a:pt x="85" y="161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77" y="218"/>
                    <a:pt x="77" y="218"/>
                    <a:pt x="77" y="218"/>
                  </a:cubicBezTo>
                  <a:cubicBezTo>
                    <a:pt x="73" y="222"/>
                    <a:pt x="73" y="229"/>
                    <a:pt x="77" y="233"/>
                  </a:cubicBezTo>
                  <a:cubicBezTo>
                    <a:pt x="80" y="235"/>
                    <a:pt x="82" y="236"/>
                    <a:pt x="85" y="236"/>
                  </a:cubicBezTo>
                  <a:cubicBezTo>
                    <a:pt x="88" y="236"/>
                    <a:pt x="90" y="235"/>
                    <a:pt x="93" y="233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7" y="199"/>
                    <a:pt x="128" y="196"/>
                    <a:pt x="128" y="193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1"/>
                    <a:pt x="127" y="38"/>
                    <a:pt x="125" y="36"/>
                  </a:cubicBezTo>
                  <a:lnTo>
                    <a:pt x="93" y="4"/>
                  </a:lnTo>
                  <a:close/>
                  <a:moveTo>
                    <a:pt x="42" y="140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140"/>
                    <a:pt x="64" y="140"/>
                    <a:pt x="64" y="140"/>
                  </a:cubicBezTo>
                  <a:lnTo>
                    <a:pt x="42" y="140"/>
                  </a:lnTo>
                  <a:close/>
                  <a:moveTo>
                    <a:pt x="85" y="140"/>
                  </a:moveTo>
                  <a:cubicBezTo>
                    <a:pt x="85" y="97"/>
                    <a:pt x="85" y="97"/>
                    <a:pt x="85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140"/>
                    <a:pt x="106" y="140"/>
                    <a:pt x="106" y="140"/>
                  </a:cubicBezTo>
                  <a:lnTo>
                    <a:pt x="8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623"/>
            <p:cNvSpPr>
              <a:spLocks noEditPoints="1"/>
            </p:cNvSpPr>
            <p:nvPr/>
          </p:nvSpPr>
          <p:spPr bwMode="auto">
            <a:xfrm>
              <a:off x="3650" y="2448"/>
              <a:ext cx="85" cy="157"/>
            </a:xfrm>
            <a:custGeom>
              <a:avLst/>
              <a:gdLst>
                <a:gd name="T0" fmla="*/ 117 w 128"/>
                <a:gd name="T1" fmla="*/ 140 h 236"/>
                <a:gd name="T2" fmla="*/ 106 w 128"/>
                <a:gd name="T3" fmla="*/ 140 h 236"/>
                <a:gd name="T4" fmla="*/ 106 w 128"/>
                <a:gd name="T5" fmla="*/ 97 h 236"/>
                <a:gd name="T6" fmla="*/ 117 w 128"/>
                <a:gd name="T7" fmla="*/ 97 h 236"/>
                <a:gd name="T8" fmla="*/ 128 w 128"/>
                <a:gd name="T9" fmla="*/ 87 h 236"/>
                <a:gd name="T10" fmla="*/ 117 w 128"/>
                <a:gd name="T11" fmla="*/ 76 h 236"/>
                <a:gd name="T12" fmla="*/ 106 w 128"/>
                <a:gd name="T13" fmla="*/ 76 h 236"/>
                <a:gd name="T14" fmla="*/ 96 w 128"/>
                <a:gd name="T15" fmla="*/ 65 h 236"/>
                <a:gd name="T16" fmla="*/ 85 w 128"/>
                <a:gd name="T17" fmla="*/ 76 h 236"/>
                <a:gd name="T18" fmla="*/ 64 w 128"/>
                <a:gd name="T19" fmla="*/ 76 h 236"/>
                <a:gd name="T20" fmla="*/ 53 w 128"/>
                <a:gd name="T21" fmla="*/ 65 h 236"/>
                <a:gd name="T22" fmla="*/ 42 w 128"/>
                <a:gd name="T23" fmla="*/ 76 h 236"/>
                <a:gd name="T24" fmla="*/ 21 w 128"/>
                <a:gd name="T25" fmla="*/ 76 h 236"/>
                <a:gd name="T26" fmla="*/ 21 w 128"/>
                <a:gd name="T27" fmla="*/ 48 h 236"/>
                <a:gd name="T28" fmla="*/ 50 w 128"/>
                <a:gd name="T29" fmla="*/ 20 h 236"/>
                <a:gd name="T30" fmla="*/ 50 w 128"/>
                <a:gd name="T31" fmla="*/ 4 h 236"/>
                <a:gd name="T32" fmla="*/ 35 w 128"/>
                <a:gd name="T33" fmla="*/ 4 h 236"/>
                <a:gd name="T34" fmla="*/ 3 w 128"/>
                <a:gd name="T35" fmla="*/ 36 h 236"/>
                <a:gd name="T36" fmla="*/ 0 w 128"/>
                <a:gd name="T37" fmla="*/ 44 h 236"/>
                <a:gd name="T38" fmla="*/ 0 w 128"/>
                <a:gd name="T39" fmla="*/ 193 h 236"/>
                <a:gd name="T40" fmla="*/ 3 w 128"/>
                <a:gd name="T41" fmla="*/ 201 h 236"/>
                <a:gd name="T42" fmla="*/ 35 w 128"/>
                <a:gd name="T43" fmla="*/ 233 h 236"/>
                <a:gd name="T44" fmla="*/ 42 w 128"/>
                <a:gd name="T45" fmla="*/ 236 h 236"/>
                <a:gd name="T46" fmla="*/ 50 w 128"/>
                <a:gd name="T47" fmla="*/ 233 h 236"/>
                <a:gd name="T48" fmla="*/ 50 w 128"/>
                <a:gd name="T49" fmla="*/ 218 h 236"/>
                <a:gd name="T50" fmla="*/ 21 w 128"/>
                <a:gd name="T51" fmla="*/ 189 h 236"/>
                <a:gd name="T52" fmla="*/ 21 w 128"/>
                <a:gd name="T53" fmla="*/ 161 h 236"/>
                <a:gd name="T54" fmla="*/ 42 w 128"/>
                <a:gd name="T55" fmla="*/ 161 h 236"/>
                <a:gd name="T56" fmla="*/ 53 w 128"/>
                <a:gd name="T57" fmla="*/ 172 h 236"/>
                <a:gd name="T58" fmla="*/ 64 w 128"/>
                <a:gd name="T59" fmla="*/ 161 h 236"/>
                <a:gd name="T60" fmla="*/ 85 w 128"/>
                <a:gd name="T61" fmla="*/ 161 h 236"/>
                <a:gd name="T62" fmla="*/ 96 w 128"/>
                <a:gd name="T63" fmla="*/ 172 h 236"/>
                <a:gd name="T64" fmla="*/ 106 w 128"/>
                <a:gd name="T65" fmla="*/ 161 h 236"/>
                <a:gd name="T66" fmla="*/ 117 w 128"/>
                <a:gd name="T67" fmla="*/ 161 h 236"/>
                <a:gd name="T68" fmla="*/ 128 w 128"/>
                <a:gd name="T69" fmla="*/ 151 h 236"/>
                <a:gd name="T70" fmla="*/ 117 w 128"/>
                <a:gd name="T71" fmla="*/ 140 h 236"/>
                <a:gd name="T72" fmla="*/ 21 w 128"/>
                <a:gd name="T73" fmla="*/ 140 h 236"/>
                <a:gd name="T74" fmla="*/ 21 w 128"/>
                <a:gd name="T75" fmla="*/ 97 h 236"/>
                <a:gd name="T76" fmla="*/ 42 w 128"/>
                <a:gd name="T77" fmla="*/ 97 h 236"/>
                <a:gd name="T78" fmla="*/ 42 w 128"/>
                <a:gd name="T79" fmla="*/ 140 h 236"/>
                <a:gd name="T80" fmla="*/ 21 w 128"/>
                <a:gd name="T81" fmla="*/ 140 h 236"/>
                <a:gd name="T82" fmla="*/ 64 w 128"/>
                <a:gd name="T83" fmla="*/ 140 h 236"/>
                <a:gd name="T84" fmla="*/ 64 w 128"/>
                <a:gd name="T85" fmla="*/ 97 h 236"/>
                <a:gd name="T86" fmla="*/ 85 w 128"/>
                <a:gd name="T87" fmla="*/ 97 h 236"/>
                <a:gd name="T88" fmla="*/ 85 w 128"/>
                <a:gd name="T89" fmla="*/ 140 h 236"/>
                <a:gd name="T90" fmla="*/ 64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117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23" y="97"/>
                    <a:pt x="128" y="93"/>
                    <a:pt x="128" y="87"/>
                  </a:cubicBezTo>
                  <a:cubicBezTo>
                    <a:pt x="128" y="81"/>
                    <a:pt x="123" y="76"/>
                    <a:pt x="11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0"/>
                    <a:pt x="102" y="65"/>
                    <a:pt x="96" y="65"/>
                  </a:cubicBezTo>
                  <a:cubicBezTo>
                    <a:pt x="90" y="65"/>
                    <a:pt x="85" y="70"/>
                    <a:pt x="85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0"/>
                    <a:pt x="59" y="65"/>
                    <a:pt x="53" y="65"/>
                  </a:cubicBezTo>
                  <a:cubicBezTo>
                    <a:pt x="47" y="65"/>
                    <a:pt x="42" y="70"/>
                    <a:pt x="42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4" y="15"/>
                    <a:pt x="54" y="9"/>
                    <a:pt x="50" y="4"/>
                  </a:cubicBezTo>
                  <a:cubicBezTo>
                    <a:pt x="46" y="0"/>
                    <a:pt x="39" y="0"/>
                    <a:pt x="35" y="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8"/>
                    <a:pt x="0" y="41"/>
                    <a:pt x="0" y="44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6"/>
                    <a:pt x="1" y="199"/>
                    <a:pt x="3" y="201"/>
                  </a:cubicBezTo>
                  <a:cubicBezTo>
                    <a:pt x="35" y="233"/>
                    <a:pt x="35" y="233"/>
                    <a:pt x="35" y="233"/>
                  </a:cubicBezTo>
                  <a:cubicBezTo>
                    <a:pt x="37" y="235"/>
                    <a:pt x="40" y="236"/>
                    <a:pt x="42" y="236"/>
                  </a:cubicBezTo>
                  <a:cubicBezTo>
                    <a:pt x="45" y="236"/>
                    <a:pt x="48" y="235"/>
                    <a:pt x="50" y="233"/>
                  </a:cubicBezTo>
                  <a:cubicBezTo>
                    <a:pt x="54" y="229"/>
                    <a:pt x="54" y="222"/>
                    <a:pt x="50" y="21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42" y="161"/>
                    <a:pt x="42" y="161"/>
                    <a:pt x="42" y="161"/>
                  </a:cubicBezTo>
                  <a:cubicBezTo>
                    <a:pt x="42" y="167"/>
                    <a:pt x="47" y="172"/>
                    <a:pt x="53" y="172"/>
                  </a:cubicBezTo>
                  <a:cubicBezTo>
                    <a:pt x="59" y="172"/>
                    <a:pt x="64" y="167"/>
                    <a:pt x="64" y="161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5" y="167"/>
                    <a:pt x="90" y="172"/>
                    <a:pt x="96" y="172"/>
                  </a:cubicBezTo>
                  <a:cubicBezTo>
                    <a:pt x="102" y="172"/>
                    <a:pt x="106" y="167"/>
                    <a:pt x="106" y="161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23" y="161"/>
                    <a:pt x="128" y="157"/>
                    <a:pt x="128" y="151"/>
                  </a:cubicBezTo>
                  <a:cubicBezTo>
                    <a:pt x="128" y="145"/>
                    <a:pt x="123" y="140"/>
                    <a:pt x="117" y="140"/>
                  </a:cubicBezTo>
                  <a:close/>
                  <a:moveTo>
                    <a:pt x="21" y="14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40"/>
                    <a:pt x="42" y="140"/>
                    <a:pt x="42" y="140"/>
                  </a:cubicBezTo>
                  <a:lnTo>
                    <a:pt x="21" y="140"/>
                  </a:lnTo>
                  <a:close/>
                  <a:moveTo>
                    <a:pt x="64" y="140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64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2" name="Freeform 627"/>
          <p:cNvSpPr>
            <a:spLocks noChangeAspect="1" noEditPoints="1"/>
          </p:cNvSpPr>
          <p:nvPr/>
        </p:nvSpPr>
        <p:spPr bwMode="auto">
          <a:xfrm>
            <a:off x="5397855" y="2051054"/>
            <a:ext cx="370106" cy="369021"/>
          </a:xfrm>
          <a:custGeom>
            <a:avLst/>
            <a:gdLst>
              <a:gd name="T0" fmla="*/ 202 w 512"/>
              <a:gd name="T1" fmla="*/ 234 h 512"/>
              <a:gd name="T2" fmla="*/ 181 w 512"/>
              <a:gd name="T3" fmla="*/ 277 h 512"/>
              <a:gd name="T4" fmla="*/ 352 w 512"/>
              <a:gd name="T5" fmla="*/ 277 h 512"/>
              <a:gd name="T6" fmla="*/ 373 w 512"/>
              <a:gd name="T7" fmla="*/ 234 h 512"/>
              <a:gd name="T8" fmla="*/ 352 w 512"/>
              <a:gd name="T9" fmla="*/ 277 h 512"/>
              <a:gd name="T10" fmla="*/ 330 w 512"/>
              <a:gd name="T11" fmla="*/ 277 h 512"/>
              <a:gd name="T12" fmla="*/ 309 w 512"/>
              <a:gd name="T13" fmla="*/ 234 h 512"/>
              <a:gd name="T14" fmla="*/ 512 w 512"/>
              <a:gd name="T15" fmla="*/ 256 h 512"/>
              <a:gd name="T16" fmla="*/ 0 w 512"/>
              <a:gd name="T17" fmla="*/ 256 h 512"/>
              <a:gd name="T18" fmla="*/ 512 w 512"/>
              <a:gd name="T19" fmla="*/ 256 h 512"/>
              <a:gd name="T20" fmla="*/ 221 w 512"/>
              <a:gd name="T21" fmla="*/ 173 h 512"/>
              <a:gd name="T22" fmla="*/ 173 w 512"/>
              <a:gd name="T23" fmla="*/ 141 h 512"/>
              <a:gd name="T24" fmla="*/ 202 w 512"/>
              <a:gd name="T25" fmla="*/ 185 h 512"/>
              <a:gd name="T26" fmla="*/ 181 w 512"/>
              <a:gd name="T27" fmla="*/ 213 h 512"/>
              <a:gd name="T28" fmla="*/ 160 w 512"/>
              <a:gd name="T29" fmla="*/ 213 h 512"/>
              <a:gd name="T30" fmla="*/ 128 w 512"/>
              <a:gd name="T31" fmla="*/ 202 h 512"/>
              <a:gd name="T32" fmla="*/ 106 w 512"/>
              <a:gd name="T33" fmla="*/ 213 h 512"/>
              <a:gd name="T34" fmla="*/ 106 w 512"/>
              <a:gd name="T35" fmla="*/ 234 h 512"/>
              <a:gd name="T36" fmla="*/ 117 w 512"/>
              <a:gd name="T37" fmla="*/ 277 h 512"/>
              <a:gd name="T38" fmla="*/ 96 w 512"/>
              <a:gd name="T39" fmla="*/ 288 h 512"/>
              <a:gd name="T40" fmla="*/ 117 w 512"/>
              <a:gd name="T41" fmla="*/ 298 h 512"/>
              <a:gd name="T42" fmla="*/ 138 w 512"/>
              <a:gd name="T43" fmla="*/ 298 h 512"/>
              <a:gd name="T44" fmla="*/ 170 w 512"/>
              <a:gd name="T45" fmla="*/ 309 h 512"/>
              <a:gd name="T46" fmla="*/ 202 w 512"/>
              <a:gd name="T47" fmla="*/ 298 h 512"/>
              <a:gd name="T48" fmla="*/ 173 w 512"/>
              <a:gd name="T49" fmla="*/ 355 h 512"/>
              <a:gd name="T50" fmla="*/ 181 w 512"/>
              <a:gd name="T51" fmla="*/ 373 h 512"/>
              <a:gd name="T52" fmla="*/ 221 w 512"/>
              <a:gd name="T53" fmla="*/ 338 h 512"/>
              <a:gd name="T54" fmla="*/ 224 w 512"/>
              <a:gd name="T55" fmla="*/ 181 h 512"/>
              <a:gd name="T56" fmla="*/ 394 w 512"/>
              <a:gd name="T57" fmla="*/ 234 h 512"/>
              <a:gd name="T58" fmla="*/ 416 w 512"/>
              <a:gd name="T59" fmla="*/ 224 h 512"/>
              <a:gd name="T60" fmla="*/ 394 w 512"/>
              <a:gd name="T61" fmla="*/ 213 h 512"/>
              <a:gd name="T62" fmla="*/ 373 w 512"/>
              <a:gd name="T63" fmla="*/ 213 h 512"/>
              <a:gd name="T64" fmla="*/ 341 w 512"/>
              <a:gd name="T65" fmla="*/ 202 h 512"/>
              <a:gd name="T66" fmla="*/ 309 w 512"/>
              <a:gd name="T67" fmla="*/ 213 h 512"/>
              <a:gd name="T68" fmla="*/ 338 w 512"/>
              <a:gd name="T69" fmla="*/ 157 h 512"/>
              <a:gd name="T70" fmla="*/ 323 w 512"/>
              <a:gd name="T71" fmla="*/ 141 h 512"/>
              <a:gd name="T72" fmla="*/ 288 w 512"/>
              <a:gd name="T73" fmla="*/ 181 h 512"/>
              <a:gd name="T74" fmla="*/ 291 w 512"/>
              <a:gd name="T75" fmla="*/ 338 h 512"/>
              <a:gd name="T76" fmla="*/ 330 w 512"/>
              <a:gd name="T77" fmla="*/ 373 h 512"/>
              <a:gd name="T78" fmla="*/ 338 w 512"/>
              <a:gd name="T79" fmla="*/ 355 h 512"/>
              <a:gd name="T80" fmla="*/ 309 w 512"/>
              <a:gd name="T81" fmla="*/ 298 h 512"/>
              <a:gd name="T82" fmla="*/ 341 w 512"/>
              <a:gd name="T83" fmla="*/ 309 h 512"/>
              <a:gd name="T84" fmla="*/ 373 w 512"/>
              <a:gd name="T85" fmla="*/ 298 h 512"/>
              <a:gd name="T86" fmla="*/ 394 w 512"/>
              <a:gd name="T87" fmla="*/ 298 h 512"/>
              <a:gd name="T88" fmla="*/ 416 w 512"/>
              <a:gd name="T89" fmla="*/ 288 h 512"/>
              <a:gd name="T90" fmla="*/ 394 w 512"/>
              <a:gd name="T91" fmla="*/ 277 h 512"/>
              <a:gd name="T92" fmla="*/ 160 w 512"/>
              <a:gd name="T93" fmla="*/ 277 h 512"/>
              <a:gd name="T94" fmla="*/ 138 w 512"/>
              <a:gd name="T95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181" y="234"/>
                </a:moveTo>
                <a:cubicBezTo>
                  <a:pt x="202" y="234"/>
                  <a:pt x="202" y="234"/>
                  <a:pt x="202" y="234"/>
                </a:cubicBezTo>
                <a:cubicBezTo>
                  <a:pt x="202" y="277"/>
                  <a:pt x="202" y="277"/>
                  <a:pt x="202" y="277"/>
                </a:cubicBezTo>
                <a:cubicBezTo>
                  <a:pt x="181" y="277"/>
                  <a:pt x="181" y="277"/>
                  <a:pt x="181" y="277"/>
                </a:cubicBezTo>
                <a:lnTo>
                  <a:pt x="181" y="234"/>
                </a:lnTo>
                <a:close/>
                <a:moveTo>
                  <a:pt x="352" y="277"/>
                </a:moveTo>
                <a:cubicBezTo>
                  <a:pt x="373" y="277"/>
                  <a:pt x="373" y="277"/>
                  <a:pt x="373" y="277"/>
                </a:cubicBezTo>
                <a:cubicBezTo>
                  <a:pt x="373" y="234"/>
                  <a:pt x="373" y="234"/>
                  <a:pt x="373" y="234"/>
                </a:cubicBezTo>
                <a:cubicBezTo>
                  <a:pt x="352" y="234"/>
                  <a:pt x="352" y="234"/>
                  <a:pt x="352" y="234"/>
                </a:cubicBezTo>
                <a:lnTo>
                  <a:pt x="352" y="277"/>
                </a:lnTo>
                <a:close/>
                <a:moveTo>
                  <a:pt x="309" y="277"/>
                </a:moveTo>
                <a:cubicBezTo>
                  <a:pt x="330" y="277"/>
                  <a:pt x="330" y="277"/>
                  <a:pt x="330" y="277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09" y="234"/>
                  <a:pt x="309" y="234"/>
                  <a:pt x="309" y="234"/>
                </a:cubicBezTo>
                <a:lnTo>
                  <a:pt x="309" y="2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4" y="181"/>
                </a:moveTo>
                <a:cubicBezTo>
                  <a:pt x="224" y="178"/>
                  <a:pt x="223" y="175"/>
                  <a:pt x="221" y="173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84" y="137"/>
                  <a:pt x="178" y="137"/>
                  <a:pt x="173" y="141"/>
                </a:cubicBezTo>
                <a:cubicBezTo>
                  <a:pt x="169" y="146"/>
                  <a:pt x="169" y="152"/>
                  <a:pt x="173" y="157"/>
                </a:cubicBezTo>
                <a:cubicBezTo>
                  <a:pt x="202" y="185"/>
                  <a:pt x="202" y="185"/>
                  <a:pt x="202" y="185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181" y="213"/>
                  <a:pt x="181" y="213"/>
                  <a:pt x="181" y="213"/>
                </a:cubicBezTo>
                <a:cubicBezTo>
                  <a:pt x="181" y="207"/>
                  <a:pt x="176" y="202"/>
                  <a:pt x="170" y="202"/>
                </a:cubicBezTo>
                <a:cubicBezTo>
                  <a:pt x="164" y="202"/>
                  <a:pt x="160" y="207"/>
                  <a:pt x="160" y="213"/>
                </a:cubicBezTo>
                <a:cubicBezTo>
                  <a:pt x="138" y="213"/>
                  <a:pt x="138" y="213"/>
                  <a:pt x="138" y="213"/>
                </a:cubicBezTo>
                <a:cubicBezTo>
                  <a:pt x="138" y="207"/>
                  <a:pt x="134" y="202"/>
                  <a:pt x="128" y="202"/>
                </a:cubicBezTo>
                <a:cubicBezTo>
                  <a:pt x="122" y="202"/>
                  <a:pt x="117" y="207"/>
                  <a:pt x="117" y="213"/>
                </a:cubicBezTo>
                <a:cubicBezTo>
                  <a:pt x="106" y="213"/>
                  <a:pt x="106" y="213"/>
                  <a:pt x="106" y="213"/>
                </a:cubicBezTo>
                <a:cubicBezTo>
                  <a:pt x="100" y="213"/>
                  <a:pt x="96" y="218"/>
                  <a:pt x="96" y="224"/>
                </a:cubicBezTo>
                <a:cubicBezTo>
                  <a:pt x="96" y="230"/>
                  <a:pt x="100" y="234"/>
                  <a:pt x="10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00" y="277"/>
                  <a:pt x="96" y="282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304"/>
                  <a:pt x="122" y="309"/>
                  <a:pt x="128" y="309"/>
                </a:cubicBezTo>
                <a:cubicBezTo>
                  <a:pt x="134" y="309"/>
                  <a:pt x="138" y="304"/>
                  <a:pt x="138" y="298"/>
                </a:cubicBezTo>
                <a:cubicBezTo>
                  <a:pt x="160" y="298"/>
                  <a:pt x="160" y="298"/>
                  <a:pt x="160" y="298"/>
                </a:cubicBezTo>
                <a:cubicBezTo>
                  <a:pt x="160" y="304"/>
                  <a:pt x="164" y="309"/>
                  <a:pt x="170" y="309"/>
                </a:cubicBezTo>
                <a:cubicBezTo>
                  <a:pt x="176" y="309"/>
                  <a:pt x="181" y="304"/>
                  <a:pt x="181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173" y="355"/>
                  <a:pt x="173" y="355"/>
                  <a:pt x="173" y="355"/>
                </a:cubicBezTo>
                <a:cubicBezTo>
                  <a:pt x="169" y="359"/>
                  <a:pt x="169" y="366"/>
                  <a:pt x="173" y="370"/>
                </a:cubicBezTo>
                <a:cubicBezTo>
                  <a:pt x="176" y="372"/>
                  <a:pt x="178" y="373"/>
                  <a:pt x="181" y="373"/>
                </a:cubicBezTo>
                <a:cubicBezTo>
                  <a:pt x="184" y="373"/>
                  <a:pt x="186" y="372"/>
                  <a:pt x="189" y="370"/>
                </a:cubicBezTo>
                <a:cubicBezTo>
                  <a:pt x="221" y="338"/>
                  <a:pt x="221" y="338"/>
                  <a:pt x="221" y="338"/>
                </a:cubicBezTo>
                <a:cubicBezTo>
                  <a:pt x="223" y="336"/>
                  <a:pt x="224" y="333"/>
                  <a:pt x="224" y="330"/>
                </a:cubicBezTo>
                <a:lnTo>
                  <a:pt x="224" y="181"/>
                </a:lnTo>
                <a:close/>
                <a:moveTo>
                  <a:pt x="394" y="277"/>
                </a:moveTo>
                <a:cubicBezTo>
                  <a:pt x="394" y="234"/>
                  <a:pt x="394" y="234"/>
                  <a:pt x="394" y="234"/>
                </a:cubicBezTo>
                <a:cubicBezTo>
                  <a:pt x="405" y="234"/>
                  <a:pt x="405" y="234"/>
                  <a:pt x="405" y="234"/>
                </a:cubicBezTo>
                <a:cubicBezTo>
                  <a:pt x="411" y="234"/>
                  <a:pt x="416" y="230"/>
                  <a:pt x="416" y="224"/>
                </a:cubicBezTo>
                <a:cubicBezTo>
                  <a:pt x="416" y="218"/>
                  <a:pt x="411" y="213"/>
                  <a:pt x="405" y="213"/>
                </a:cubicBezTo>
                <a:cubicBezTo>
                  <a:pt x="394" y="213"/>
                  <a:pt x="394" y="213"/>
                  <a:pt x="394" y="213"/>
                </a:cubicBezTo>
                <a:cubicBezTo>
                  <a:pt x="394" y="207"/>
                  <a:pt x="390" y="202"/>
                  <a:pt x="384" y="202"/>
                </a:cubicBezTo>
                <a:cubicBezTo>
                  <a:pt x="378" y="202"/>
                  <a:pt x="373" y="207"/>
                  <a:pt x="373" y="213"/>
                </a:cubicBezTo>
                <a:cubicBezTo>
                  <a:pt x="352" y="213"/>
                  <a:pt x="352" y="213"/>
                  <a:pt x="352" y="213"/>
                </a:cubicBezTo>
                <a:cubicBezTo>
                  <a:pt x="352" y="207"/>
                  <a:pt x="347" y="202"/>
                  <a:pt x="341" y="202"/>
                </a:cubicBezTo>
                <a:cubicBezTo>
                  <a:pt x="335" y="202"/>
                  <a:pt x="330" y="207"/>
                  <a:pt x="330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185"/>
                  <a:pt x="309" y="185"/>
                  <a:pt x="309" y="185"/>
                </a:cubicBezTo>
                <a:cubicBezTo>
                  <a:pt x="338" y="157"/>
                  <a:pt x="338" y="157"/>
                  <a:pt x="338" y="157"/>
                </a:cubicBezTo>
                <a:cubicBezTo>
                  <a:pt x="342" y="152"/>
                  <a:pt x="342" y="146"/>
                  <a:pt x="338" y="141"/>
                </a:cubicBezTo>
                <a:cubicBezTo>
                  <a:pt x="334" y="137"/>
                  <a:pt x="327" y="137"/>
                  <a:pt x="323" y="141"/>
                </a:cubicBezTo>
                <a:cubicBezTo>
                  <a:pt x="291" y="173"/>
                  <a:pt x="291" y="173"/>
                  <a:pt x="291" y="173"/>
                </a:cubicBezTo>
                <a:cubicBezTo>
                  <a:pt x="289" y="175"/>
                  <a:pt x="288" y="178"/>
                  <a:pt x="288" y="181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33"/>
                  <a:pt x="289" y="336"/>
                  <a:pt x="291" y="338"/>
                </a:cubicBezTo>
                <a:cubicBezTo>
                  <a:pt x="323" y="370"/>
                  <a:pt x="323" y="370"/>
                  <a:pt x="323" y="370"/>
                </a:cubicBezTo>
                <a:cubicBezTo>
                  <a:pt x="325" y="372"/>
                  <a:pt x="328" y="373"/>
                  <a:pt x="330" y="373"/>
                </a:cubicBezTo>
                <a:cubicBezTo>
                  <a:pt x="333" y="373"/>
                  <a:pt x="336" y="372"/>
                  <a:pt x="338" y="370"/>
                </a:cubicBezTo>
                <a:cubicBezTo>
                  <a:pt x="342" y="366"/>
                  <a:pt x="342" y="359"/>
                  <a:pt x="338" y="355"/>
                </a:cubicBezTo>
                <a:cubicBezTo>
                  <a:pt x="309" y="326"/>
                  <a:pt x="309" y="326"/>
                  <a:pt x="309" y="326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30" y="298"/>
                  <a:pt x="330" y="298"/>
                  <a:pt x="330" y="298"/>
                </a:cubicBezTo>
                <a:cubicBezTo>
                  <a:pt x="330" y="304"/>
                  <a:pt x="335" y="309"/>
                  <a:pt x="341" y="309"/>
                </a:cubicBezTo>
                <a:cubicBezTo>
                  <a:pt x="347" y="309"/>
                  <a:pt x="352" y="304"/>
                  <a:pt x="352" y="298"/>
                </a:cubicBezTo>
                <a:cubicBezTo>
                  <a:pt x="373" y="298"/>
                  <a:pt x="373" y="298"/>
                  <a:pt x="373" y="298"/>
                </a:cubicBezTo>
                <a:cubicBezTo>
                  <a:pt x="373" y="304"/>
                  <a:pt x="378" y="309"/>
                  <a:pt x="384" y="309"/>
                </a:cubicBezTo>
                <a:cubicBezTo>
                  <a:pt x="390" y="309"/>
                  <a:pt x="394" y="304"/>
                  <a:pt x="394" y="298"/>
                </a:cubicBezTo>
                <a:cubicBezTo>
                  <a:pt x="405" y="298"/>
                  <a:pt x="405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ubicBezTo>
                  <a:pt x="416" y="282"/>
                  <a:pt x="411" y="277"/>
                  <a:pt x="405" y="277"/>
                </a:cubicBezTo>
                <a:lnTo>
                  <a:pt x="394" y="277"/>
                </a:lnTo>
                <a:close/>
                <a:moveTo>
                  <a:pt x="138" y="277"/>
                </a:moveTo>
                <a:cubicBezTo>
                  <a:pt x="160" y="277"/>
                  <a:pt x="160" y="277"/>
                  <a:pt x="160" y="277"/>
                </a:cubicBezTo>
                <a:cubicBezTo>
                  <a:pt x="160" y="234"/>
                  <a:pt x="160" y="234"/>
                  <a:pt x="160" y="234"/>
                </a:cubicBezTo>
                <a:cubicBezTo>
                  <a:pt x="138" y="234"/>
                  <a:pt x="138" y="234"/>
                  <a:pt x="138" y="234"/>
                </a:cubicBezTo>
                <a:lnTo>
                  <a:pt x="138" y="27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3" name="Group 706"/>
          <p:cNvGrpSpPr>
            <a:grpSpLocks noChangeAspect="1"/>
          </p:cNvGrpSpPr>
          <p:nvPr/>
        </p:nvGrpSpPr>
        <p:grpSpPr bwMode="auto">
          <a:xfrm>
            <a:off x="6893111" y="2051054"/>
            <a:ext cx="369021" cy="369021"/>
            <a:chOff x="4298" y="2709"/>
            <a:chExt cx="340" cy="340"/>
          </a:xfrm>
          <a:solidFill>
            <a:schemeClr val="accent2"/>
          </a:solidFill>
        </p:grpSpPr>
        <p:sp>
          <p:nvSpPr>
            <p:cNvPr id="284" name="Freeform 707"/>
            <p:cNvSpPr>
              <a:spLocks noEditPoints="1"/>
            </p:cNvSpPr>
            <p:nvPr/>
          </p:nvSpPr>
          <p:spPr bwMode="auto">
            <a:xfrm>
              <a:off x="4298" y="27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708"/>
            <p:cNvSpPr>
              <a:spLocks noEditPoints="1"/>
            </p:cNvSpPr>
            <p:nvPr/>
          </p:nvSpPr>
          <p:spPr bwMode="auto">
            <a:xfrm>
              <a:off x="4362" y="2800"/>
              <a:ext cx="212" cy="157"/>
            </a:xfrm>
            <a:custGeom>
              <a:avLst/>
              <a:gdLst>
                <a:gd name="T0" fmla="*/ 128 w 320"/>
                <a:gd name="T1" fmla="*/ 44 h 236"/>
                <a:gd name="T2" fmla="*/ 125 w 320"/>
                <a:gd name="T3" fmla="*/ 201 h 236"/>
                <a:gd name="T4" fmla="*/ 85 w 320"/>
                <a:gd name="T5" fmla="*/ 236 h 236"/>
                <a:gd name="T6" fmla="*/ 77 w 320"/>
                <a:gd name="T7" fmla="*/ 218 h 236"/>
                <a:gd name="T8" fmla="*/ 106 w 320"/>
                <a:gd name="T9" fmla="*/ 181 h 236"/>
                <a:gd name="T10" fmla="*/ 81 w 320"/>
                <a:gd name="T11" fmla="*/ 161 h 236"/>
                <a:gd name="T12" fmla="*/ 46 w 320"/>
                <a:gd name="T13" fmla="*/ 183 h 236"/>
                <a:gd name="T14" fmla="*/ 10 w 320"/>
                <a:gd name="T15" fmla="*/ 161 h 236"/>
                <a:gd name="T16" fmla="*/ 10 w 320"/>
                <a:gd name="T17" fmla="*/ 140 h 236"/>
                <a:gd name="T18" fmla="*/ 46 w 320"/>
                <a:gd name="T19" fmla="*/ 161 h 236"/>
                <a:gd name="T20" fmla="*/ 81 w 320"/>
                <a:gd name="T21" fmla="*/ 140 h 236"/>
                <a:gd name="T22" fmla="*/ 106 w 320"/>
                <a:gd name="T23" fmla="*/ 138 h 236"/>
                <a:gd name="T24" fmla="*/ 81 w 320"/>
                <a:gd name="T25" fmla="*/ 119 h 236"/>
                <a:gd name="T26" fmla="*/ 46 w 320"/>
                <a:gd name="T27" fmla="*/ 140 h 236"/>
                <a:gd name="T28" fmla="*/ 10 w 320"/>
                <a:gd name="T29" fmla="*/ 119 h 236"/>
                <a:gd name="T30" fmla="*/ 10 w 320"/>
                <a:gd name="T31" fmla="*/ 97 h 236"/>
                <a:gd name="T32" fmla="*/ 46 w 320"/>
                <a:gd name="T33" fmla="*/ 119 h 236"/>
                <a:gd name="T34" fmla="*/ 81 w 320"/>
                <a:gd name="T35" fmla="*/ 97 h 236"/>
                <a:gd name="T36" fmla="*/ 106 w 320"/>
                <a:gd name="T37" fmla="*/ 95 h 236"/>
                <a:gd name="T38" fmla="*/ 81 w 320"/>
                <a:gd name="T39" fmla="*/ 76 h 236"/>
                <a:gd name="T40" fmla="*/ 46 w 320"/>
                <a:gd name="T41" fmla="*/ 97 h 236"/>
                <a:gd name="T42" fmla="*/ 10 w 320"/>
                <a:gd name="T43" fmla="*/ 76 h 236"/>
                <a:gd name="T44" fmla="*/ 10 w 320"/>
                <a:gd name="T45" fmla="*/ 55 h 236"/>
                <a:gd name="T46" fmla="*/ 46 w 320"/>
                <a:gd name="T47" fmla="*/ 76 h 236"/>
                <a:gd name="T48" fmla="*/ 81 w 320"/>
                <a:gd name="T49" fmla="*/ 55 h 236"/>
                <a:gd name="T50" fmla="*/ 106 w 320"/>
                <a:gd name="T51" fmla="*/ 48 h 236"/>
                <a:gd name="T52" fmla="*/ 77 w 320"/>
                <a:gd name="T53" fmla="*/ 4 h 236"/>
                <a:gd name="T54" fmla="*/ 125 w 320"/>
                <a:gd name="T55" fmla="*/ 36 h 236"/>
                <a:gd name="T56" fmla="*/ 264 w 320"/>
                <a:gd name="T57" fmla="*/ 126 h 236"/>
                <a:gd name="T58" fmla="*/ 283 w 320"/>
                <a:gd name="T59" fmla="*/ 125 h 236"/>
                <a:gd name="T60" fmla="*/ 320 w 320"/>
                <a:gd name="T61" fmla="*/ 129 h 236"/>
                <a:gd name="T62" fmla="*/ 299 w 320"/>
                <a:gd name="T63" fmla="*/ 112 h 236"/>
                <a:gd name="T64" fmla="*/ 248 w 320"/>
                <a:gd name="T65" fmla="*/ 112 h 236"/>
                <a:gd name="T66" fmla="*/ 228 w 320"/>
                <a:gd name="T67" fmla="*/ 112 h 236"/>
                <a:gd name="T68" fmla="*/ 213 w 320"/>
                <a:gd name="T69" fmla="*/ 84 h 236"/>
                <a:gd name="T70" fmla="*/ 264 w 320"/>
                <a:gd name="T71" fmla="*/ 83 h 236"/>
                <a:gd name="T72" fmla="*/ 283 w 320"/>
                <a:gd name="T73" fmla="*/ 83 h 236"/>
                <a:gd name="T74" fmla="*/ 320 w 320"/>
                <a:gd name="T75" fmla="*/ 87 h 236"/>
                <a:gd name="T76" fmla="*/ 299 w 320"/>
                <a:gd name="T77" fmla="*/ 69 h 236"/>
                <a:gd name="T78" fmla="*/ 248 w 320"/>
                <a:gd name="T79" fmla="*/ 69 h 236"/>
                <a:gd name="T80" fmla="*/ 228 w 320"/>
                <a:gd name="T81" fmla="*/ 69 h 236"/>
                <a:gd name="T82" fmla="*/ 213 w 320"/>
                <a:gd name="T83" fmla="*/ 48 h 236"/>
                <a:gd name="T84" fmla="*/ 242 w 320"/>
                <a:gd name="T85" fmla="*/ 4 h 236"/>
                <a:gd name="T86" fmla="*/ 195 w 320"/>
                <a:gd name="T87" fmla="*/ 36 h 236"/>
                <a:gd name="T88" fmla="*/ 192 w 320"/>
                <a:gd name="T89" fmla="*/ 193 h 236"/>
                <a:gd name="T90" fmla="*/ 227 w 320"/>
                <a:gd name="T91" fmla="*/ 233 h 236"/>
                <a:gd name="T92" fmla="*/ 242 w 320"/>
                <a:gd name="T93" fmla="*/ 233 h 236"/>
                <a:gd name="T94" fmla="*/ 213 w 320"/>
                <a:gd name="T95" fmla="*/ 189 h 236"/>
                <a:gd name="T96" fmla="*/ 238 w 320"/>
                <a:gd name="T97" fmla="*/ 183 h 236"/>
                <a:gd name="T98" fmla="*/ 273 w 320"/>
                <a:gd name="T99" fmla="*/ 161 h 236"/>
                <a:gd name="T100" fmla="*/ 309 w 320"/>
                <a:gd name="T101" fmla="*/ 183 h 236"/>
                <a:gd name="T102" fmla="*/ 309 w 320"/>
                <a:gd name="T103" fmla="*/ 161 h 236"/>
                <a:gd name="T104" fmla="*/ 273 w 320"/>
                <a:gd name="T105" fmla="*/ 140 h 236"/>
                <a:gd name="T106" fmla="*/ 238 w 320"/>
                <a:gd name="T107" fmla="*/ 161 h 236"/>
                <a:gd name="T108" fmla="*/ 213 w 320"/>
                <a:gd name="T109" fmla="*/ 142 h 236"/>
                <a:gd name="T110" fmla="*/ 238 w 320"/>
                <a:gd name="T11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36">
                  <a:moveTo>
                    <a:pt x="125" y="36"/>
                  </a:moveTo>
                  <a:cubicBezTo>
                    <a:pt x="127" y="38"/>
                    <a:pt x="128" y="41"/>
                    <a:pt x="128" y="44"/>
                  </a:cubicBezTo>
                  <a:cubicBezTo>
                    <a:pt x="128" y="193"/>
                    <a:pt x="128" y="193"/>
                    <a:pt x="128" y="193"/>
                  </a:cubicBezTo>
                  <a:cubicBezTo>
                    <a:pt x="128" y="196"/>
                    <a:pt x="127" y="199"/>
                    <a:pt x="125" y="201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0" y="235"/>
                    <a:pt x="88" y="236"/>
                    <a:pt x="85" y="236"/>
                  </a:cubicBezTo>
                  <a:cubicBezTo>
                    <a:pt x="82" y="236"/>
                    <a:pt x="80" y="235"/>
                    <a:pt x="77" y="233"/>
                  </a:cubicBezTo>
                  <a:cubicBezTo>
                    <a:pt x="73" y="229"/>
                    <a:pt x="73" y="222"/>
                    <a:pt x="77" y="21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6" y="181"/>
                    <a:pt x="106" y="181"/>
                    <a:pt x="106" y="181"/>
                  </a:cubicBezTo>
                  <a:cubicBezTo>
                    <a:pt x="99" y="178"/>
                    <a:pt x="94" y="172"/>
                    <a:pt x="91" y="168"/>
                  </a:cubicBezTo>
                  <a:cubicBezTo>
                    <a:pt x="87" y="163"/>
                    <a:pt x="85" y="161"/>
                    <a:pt x="81" y="161"/>
                  </a:cubicBezTo>
                  <a:cubicBezTo>
                    <a:pt x="78" y="161"/>
                    <a:pt x="76" y="163"/>
                    <a:pt x="72" y="168"/>
                  </a:cubicBezTo>
                  <a:cubicBezTo>
                    <a:pt x="67" y="174"/>
                    <a:pt x="60" y="183"/>
                    <a:pt x="46" y="183"/>
                  </a:cubicBezTo>
                  <a:cubicBezTo>
                    <a:pt x="32" y="183"/>
                    <a:pt x="25" y="174"/>
                    <a:pt x="20" y="168"/>
                  </a:cubicBezTo>
                  <a:cubicBezTo>
                    <a:pt x="16" y="163"/>
                    <a:pt x="14" y="161"/>
                    <a:pt x="10" y="161"/>
                  </a:cubicBezTo>
                  <a:cubicBezTo>
                    <a:pt x="4" y="161"/>
                    <a:pt x="0" y="157"/>
                    <a:pt x="0" y="151"/>
                  </a:cubicBezTo>
                  <a:cubicBezTo>
                    <a:pt x="0" y="145"/>
                    <a:pt x="4" y="140"/>
                    <a:pt x="10" y="140"/>
                  </a:cubicBezTo>
                  <a:cubicBezTo>
                    <a:pt x="24" y="140"/>
                    <a:pt x="31" y="149"/>
                    <a:pt x="36" y="155"/>
                  </a:cubicBezTo>
                  <a:cubicBezTo>
                    <a:pt x="41" y="160"/>
                    <a:pt x="42" y="161"/>
                    <a:pt x="46" y="161"/>
                  </a:cubicBezTo>
                  <a:cubicBezTo>
                    <a:pt x="49" y="161"/>
                    <a:pt x="51" y="160"/>
                    <a:pt x="55" y="155"/>
                  </a:cubicBezTo>
                  <a:cubicBezTo>
                    <a:pt x="60" y="149"/>
                    <a:pt x="68" y="140"/>
                    <a:pt x="81" y="140"/>
                  </a:cubicBezTo>
                  <a:cubicBezTo>
                    <a:pt x="94" y="140"/>
                    <a:pt x="102" y="147"/>
                    <a:pt x="106" y="153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99" y="135"/>
                    <a:pt x="94" y="130"/>
                    <a:pt x="91" y="125"/>
                  </a:cubicBezTo>
                  <a:cubicBezTo>
                    <a:pt x="87" y="120"/>
                    <a:pt x="85" y="119"/>
                    <a:pt x="81" y="119"/>
                  </a:cubicBezTo>
                  <a:cubicBezTo>
                    <a:pt x="78" y="119"/>
                    <a:pt x="76" y="120"/>
                    <a:pt x="72" y="126"/>
                  </a:cubicBezTo>
                  <a:cubicBezTo>
                    <a:pt x="67" y="131"/>
                    <a:pt x="60" y="140"/>
                    <a:pt x="46" y="140"/>
                  </a:cubicBezTo>
                  <a:cubicBezTo>
                    <a:pt x="32" y="140"/>
                    <a:pt x="25" y="131"/>
                    <a:pt x="20" y="126"/>
                  </a:cubicBezTo>
                  <a:cubicBezTo>
                    <a:pt x="16" y="120"/>
                    <a:pt x="14" y="119"/>
                    <a:pt x="10" y="119"/>
                  </a:cubicBezTo>
                  <a:cubicBezTo>
                    <a:pt x="4" y="119"/>
                    <a:pt x="0" y="114"/>
                    <a:pt x="0" y="108"/>
                  </a:cubicBezTo>
                  <a:cubicBezTo>
                    <a:pt x="0" y="102"/>
                    <a:pt x="4" y="97"/>
                    <a:pt x="10" y="97"/>
                  </a:cubicBezTo>
                  <a:cubicBezTo>
                    <a:pt x="24" y="97"/>
                    <a:pt x="31" y="106"/>
                    <a:pt x="36" y="112"/>
                  </a:cubicBezTo>
                  <a:cubicBezTo>
                    <a:pt x="41" y="117"/>
                    <a:pt x="42" y="119"/>
                    <a:pt x="46" y="119"/>
                  </a:cubicBezTo>
                  <a:cubicBezTo>
                    <a:pt x="49" y="119"/>
                    <a:pt x="51" y="117"/>
                    <a:pt x="55" y="112"/>
                  </a:cubicBezTo>
                  <a:cubicBezTo>
                    <a:pt x="60" y="106"/>
                    <a:pt x="68" y="97"/>
                    <a:pt x="81" y="97"/>
                  </a:cubicBezTo>
                  <a:cubicBezTo>
                    <a:pt x="94" y="97"/>
                    <a:pt x="102" y="105"/>
                    <a:pt x="106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99" y="92"/>
                    <a:pt x="94" y="87"/>
                    <a:pt x="91" y="83"/>
                  </a:cubicBezTo>
                  <a:cubicBezTo>
                    <a:pt x="87" y="77"/>
                    <a:pt x="85" y="76"/>
                    <a:pt x="81" y="76"/>
                  </a:cubicBezTo>
                  <a:cubicBezTo>
                    <a:pt x="78" y="76"/>
                    <a:pt x="76" y="78"/>
                    <a:pt x="72" y="83"/>
                  </a:cubicBezTo>
                  <a:cubicBezTo>
                    <a:pt x="67" y="89"/>
                    <a:pt x="60" y="97"/>
                    <a:pt x="46" y="97"/>
                  </a:cubicBezTo>
                  <a:cubicBezTo>
                    <a:pt x="32" y="97"/>
                    <a:pt x="25" y="89"/>
                    <a:pt x="20" y="83"/>
                  </a:cubicBezTo>
                  <a:cubicBezTo>
                    <a:pt x="16" y="78"/>
                    <a:pt x="14" y="76"/>
                    <a:pt x="10" y="76"/>
                  </a:cubicBezTo>
                  <a:cubicBezTo>
                    <a:pt x="4" y="76"/>
                    <a:pt x="0" y="71"/>
                    <a:pt x="0" y="65"/>
                  </a:cubicBezTo>
                  <a:cubicBezTo>
                    <a:pt x="0" y="59"/>
                    <a:pt x="4" y="55"/>
                    <a:pt x="10" y="55"/>
                  </a:cubicBezTo>
                  <a:cubicBezTo>
                    <a:pt x="24" y="55"/>
                    <a:pt x="31" y="63"/>
                    <a:pt x="36" y="69"/>
                  </a:cubicBezTo>
                  <a:cubicBezTo>
                    <a:pt x="41" y="74"/>
                    <a:pt x="42" y="76"/>
                    <a:pt x="46" y="76"/>
                  </a:cubicBezTo>
                  <a:cubicBezTo>
                    <a:pt x="49" y="76"/>
                    <a:pt x="51" y="74"/>
                    <a:pt x="55" y="69"/>
                  </a:cubicBezTo>
                  <a:cubicBezTo>
                    <a:pt x="60" y="63"/>
                    <a:pt x="68" y="55"/>
                    <a:pt x="81" y="55"/>
                  </a:cubicBezTo>
                  <a:cubicBezTo>
                    <a:pt x="94" y="55"/>
                    <a:pt x="102" y="62"/>
                    <a:pt x="106" y="6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3" y="15"/>
                    <a:pt x="73" y="9"/>
                    <a:pt x="77" y="4"/>
                  </a:cubicBezTo>
                  <a:cubicBezTo>
                    <a:pt x="82" y="0"/>
                    <a:pt x="88" y="0"/>
                    <a:pt x="93" y="4"/>
                  </a:cubicBezTo>
                  <a:lnTo>
                    <a:pt x="125" y="36"/>
                  </a:lnTo>
                  <a:close/>
                  <a:moveTo>
                    <a:pt x="238" y="140"/>
                  </a:moveTo>
                  <a:cubicBezTo>
                    <a:pt x="252" y="140"/>
                    <a:pt x="259" y="131"/>
                    <a:pt x="264" y="126"/>
                  </a:cubicBezTo>
                  <a:cubicBezTo>
                    <a:pt x="268" y="120"/>
                    <a:pt x="270" y="119"/>
                    <a:pt x="273" y="119"/>
                  </a:cubicBezTo>
                  <a:cubicBezTo>
                    <a:pt x="277" y="119"/>
                    <a:pt x="279" y="120"/>
                    <a:pt x="283" y="125"/>
                  </a:cubicBezTo>
                  <a:cubicBezTo>
                    <a:pt x="288" y="131"/>
                    <a:pt x="295" y="140"/>
                    <a:pt x="309" y="140"/>
                  </a:cubicBezTo>
                  <a:cubicBezTo>
                    <a:pt x="315" y="140"/>
                    <a:pt x="320" y="135"/>
                    <a:pt x="320" y="129"/>
                  </a:cubicBezTo>
                  <a:cubicBezTo>
                    <a:pt x="320" y="123"/>
                    <a:pt x="315" y="119"/>
                    <a:pt x="309" y="119"/>
                  </a:cubicBezTo>
                  <a:cubicBezTo>
                    <a:pt x="306" y="119"/>
                    <a:pt x="304" y="117"/>
                    <a:pt x="299" y="112"/>
                  </a:cubicBezTo>
                  <a:cubicBezTo>
                    <a:pt x="295" y="106"/>
                    <a:pt x="287" y="97"/>
                    <a:pt x="273" y="97"/>
                  </a:cubicBezTo>
                  <a:cubicBezTo>
                    <a:pt x="260" y="97"/>
                    <a:pt x="252" y="106"/>
                    <a:pt x="248" y="112"/>
                  </a:cubicBezTo>
                  <a:cubicBezTo>
                    <a:pt x="243" y="117"/>
                    <a:pt x="242" y="119"/>
                    <a:pt x="238" y="119"/>
                  </a:cubicBezTo>
                  <a:cubicBezTo>
                    <a:pt x="234" y="119"/>
                    <a:pt x="233" y="117"/>
                    <a:pt x="228" y="112"/>
                  </a:cubicBezTo>
                  <a:cubicBezTo>
                    <a:pt x="225" y="108"/>
                    <a:pt x="220" y="102"/>
                    <a:pt x="213" y="99"/>
                  </a:cubicBezTo>
                  <a:cubicBezTo>
                    <a:pt x="213" y="84"/>
                    <a:pt x="213" y="84"/>
                    <a:pt x="213" y="84"/>
                  </a:cubicBezTo>
                  <a:cubicBezTo>
                    <a:pt x="218" y="90"/>
                    <a:pt x="225" y="97"/>
                    <a:pt x="238" y="97"/>
                  </a:cubicBezTo>
                  <a:cubicBezTo>
                    <a:pt x="252" y="97"/>
                    <a:pt x="259" y="89"/>
                    <a:pt x="264" y="83"/>
                  </a:cubicBezTo>
                  <a:cubicBezTo>
                    <a:pt x="268" y="78"/>
                    <a:pt x="270" y="76"/>
                    <a:pt x="273" y="76"/>
                  </a:cubicBezTo>
                  <a:cubicBezTo>
                    <a:pt x="277" y="76"/>
                    <a:pt x="279" y="77"/>
                    <a:pt x="283" y="83"/>
                  </a:cubicBezTo>
                  <a:cubicBezTo>
                    <a:pt x="288" y="89"/>
                    <a:pt x="295" y="97"/>
                    <a:pt x="309" y="97"/>
                  </a:cubicBezTo>
                  <a:cubicBezTo>
                    <a:pt x="315" y="97"/>
                    <a:pt x="320" y="93"/>
                    <a:pt x="320" y="87"/>
                  </a:cubicBezTo>
                  <a:cubicBezTo>
                    <a:pt x="320" y="81"/>
                    <a:pt x="315" y="76"/>
                    <a:pt x="309" y="76"/>
                  </a:cubicBezTo>
                  <a:cubicBezTo>
                    <a:pt x="306" y="76"/>
                    <a:pt x="304" y="75"/>
                    <a:pt x="299" y="69"/>
                  </a:cubicBezTo>
                  <a:cubicBezTo>
                    <a:pt x="295" y="63"/>
                    <a:pt x="287" y="55"/>
                    <a:pt x="273" y="55"/>
                  </a:cubicBezTo>
                  <a:cubicBezTo>
                    <a:pt x="260" y="55"/>
                    <a:pt x="252" y="63"/>
                    <a:pt x="248" y="69"/>
                  </a:cubicBezTo>
                  <a:cubicBezTo>
                    <a:pt x="243" y="74"/>
                    <a:pt x="242" y="76"/>
                    <a:pt x="238" y="76"/>
                  </a:cubicBezTo>
                  <a:cubicBezTo>
                    <a:pt x="234" y="76"/>
                    <a:pt x="233" y="74"/>
                    <a:pt x="228" y="69"/>
                  </a:cubicBezTo>
                  <a:cubicBezTo>
                    <a:pt x="225" y="65"/>
                    <a:pt x="220" y="60"/>
                    <a:pt x="213" y="57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42" y="20"/>
                    <a:pt x="242" y="20"/>
                    <a:pt x="242" y="20"/>
                  </a:cubicBezTo>
                  <a:cubicBezTo>
                    <a:pt x="246" y="15"/>
                    <a:pt x="246" y="9"/>
                    <a:pt x="242" y="4"/>
                  </a:cubicBezTo>
                  <a:cubicBezTo>
                    <a:pt x="238" y="0"/>
                    <a:pt x="231" y="0"/>
                    <a:pt x="227" y="4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3" y="38"/>
                    <a:pt x="192" y="41"/>
                    <a:pt x="192" y="44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196"/>
                    <a:pt x="193" y="199"/>
                    <a:pt x="195" y="201"/>
                  </a:cubicBezTo>
                  <a:cubicBezTo>
                    <a:pt x="227" y="233"/>
                    <a:pt x="227" y="233"/>
                    <a:pt x="227" y="233"/>
                  </a:cubicBezTo>
                  <a:cubicBezTo>
                    <a:pt x="229" y="235"/>
                    <a:pt x="232" y="236"/>
                    <a:pt x="234" y="236"/>
                  </a:cubicBezTo>
                  <a:cubicBezTo>
                    <a:pt x="237" y="236"/>
                    <a:pt x="240" y="235"/>
                    <a:pt x="242" y="233"/>
                  </a:cubicBezTo>
                  <a:cubicBezTo>
                    <a:pt x="246" y="229"/>
                    <a:pt x="246" y="222"/>
                    <a:pt x="242" y="218"/>
                  </a:cubicBezTo>
                  <a:cubicBezTo>
                    <a:pt x="213" y="189"/>
                    <a:pt x="213" y="189"/>
                    <a:pt x="213" y="189"/>
                  </a:cubicBezTo>
                  <a:cubicBezTo>
                    <a:pt x="213" y="169"/>
                    <a:pt x="213" y="169"/>
                    <a:pt x="213" y="169"/>
                  </a:cubicBezTo>
                  <a:cubicBezTo>
                    <a:pt x="218" y="175"/>
                    <a:pt x="225" y="183"/>
                    <a:pt x="238" y="183"/>
                  </a:cubicBezTo>
                  <a:cubicBezTo>
                    <a:pt x="252" y="183"/>
                    <a:pt x="259" y="174"/>
                    <a:pt x="264" y="168"/>
                  </a:cubicBezTo>
                  <a:cubicBezTo>
                    <a:pt x="268" y="163"/>
                    <a:pt x="270" y="161"/>
                    <a:pt x="273" y="161"/>
                  </a:cubicBezTo>
                  <a:cubicBezTo>
                    <a:pt x="277" y="161"/>
                    <a:pt x="279" y="163"/>
                    <a:pt x="283" y="168"/>
                  </a:cubicBezTo>
                  <a:cubicBezTo>
                    <a:pt x="288" y="174"/>
                    <a:pt x="295" y="183"/>
                    <a:pt x="309" y="183"/>
                  </a:cubicBezTo>
                  <a:cubicBezTo>
                    <a:pt x="315" y="183"/>
                    <a:pt x="320" y="178"/>
                    <a:pt x="320" y="172"/>
                  </a:cubicBezTo>
                  <a:cubicBezTo>
                    <a:pt x="320" y="166"/>
                    <a:pt x="315" y="161"/>
                    <a:pt x="309" y="161"/>
                  </a:cubicBezTo>
                  <a:cubicBezTo>
                    <a:pt x="306" y="161"/>
                    <a:pt x="304" y="160"/>
                    <a:pt x="299" y="155"/>
                  </a:cubicBezTo>
                  <a:cubicBezTo>
                    <a:pt x="295" y="149"/>
                    <a:pt x="287" y="140"/>
                    <a:pt x="273" y="140"/>
                  </a:cubicBezTo>
                  <a:cubicBezTo>
                    <a:pt x="260" y="140"/>
                    <a:pt x="252" y="149"/>
                    <a:pt x="248" y="155"/>
                  </a:cubicBezTo>
                  <a:cubicBezTo>
                    <a:pt x="243" y="160"/>
                    <a:pt x="242" y="161"/>
                    <a:pt x="238" y="161"/>
                  </a:cubicBezTo>
                  <a:cubicBezTo>
                    <a:pt x="234" y="161"/>
                    <a:pt x="233" y="160"/>
                    <a:pt x="228" y="155"/>
                  </a:cubicBezTo>
                  <a:cubicBezTo>
                    <a:pt x="225" y="150"/>
                    <a:pt x="220" y="145"/>
                    <a:pt x="213" y="142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18" y="132"/>
                    <a:pt x="225" y="140"/>
                    <a:pt x="23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6" name="Freeform 712"/>
          <p:cNvSpPr>
            <a:spLocks noChangeAspect="1" noEditPoints="1"/>
          </p:cNvSpPr>
          <p:nvPr/>
        </p:nvSpPr>
        <p:spPr bwMode="auto">
          <a:xfrm>
            <a:off x="6395054" y="2051054"/>
            <a:ext cx="369021" cy="369021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24 w 512"/>
              <a:gd name="T5" fmla="*/ 330 h 512"/>
              <a:gd name="T6" fmla="*/ 189 w 512"/>
              <a:gd name="T7" fmla="*/ 370 h 512"/>
              <a:gd name="T8" fmla="*/ 173 w 512"/>
              <a:gd name="T9" fmla="*/ 370 h 512"/>
              <a:gd name="T10" fmla="*/ 202 w 512"/>
              <a:gd name="T11" fmla="*/ 326 h 512"/>
              <a:gd name="T12" fmla="*/ 187 w 512"/>
              <a:gd name="T13" fmla="*/ 305 h 512"/>
              <a:gd name="T14" fmla="*/ 168 w 512"/>
              <a:gd name="T15" fmla="*/ 305 h 512"/>
              <a:gd name="T16" fmla="*/ 116 w 512"/>
              <a:gd name="T17" fmla="*/ 305 h 512"/>
              <a:gd name="T18" fmla="*/ 96 w 512"/>
              <a:gd name="T19" fmla="*/ 288 h 512"/>
              <a:gd name="T20" fmla="*/ 132 w 512"/>
              <a:gd name="T21" fmla="*/ 292 h 512"/>
              <a:gd name="T22" fmla="*/ 151 w 512"/>
              <a:gd name="T23" fmla="*/ 292 h 512"/>
              <a:gd name="T24" fmla="*/ 202 w 512"/>
              <a:gd name="T25" fmla="*/ 290 h 512"/>
              <a:gd name="T26" fmla="*/ 187 w 512"/>
              <a:gd name="T27" fmla="*/ 262 h 512"/>
              <a:gd name="T28" fmla="*/ 168 w 512"/>
              <a:gd name="T29" fmla="*/ 263 h 512"/>
              <a:gd name="T30" fmla="*/ 116 w 512"/>
              <a:gd name="T31" fmla="*/ 263 h 512"/>
              <a:gd name="T32" fmla="*/ 96 w 512"/>
              <a:gd name="T33" fmla="*/ 245 h 512"/>
              <a:gd name="T34" fmla="*/ 132 w 512"/>
              <a:gd name="T35" fmla="*/ 249 h 512"/>
              <a:gd name="T36" fmla="*/ 151 w 512"/>
              <a:gd name="T37" fmla="*/ 249 h 512"/>
              <a:gd name="T38" fmla="*/ 202 w 512"/>
              <a:gd name="T39" fmla="*/ 248 h 512"/>
              <a:gd name="T40" fmla="*/ 187 w 512"/>
              <a:gd name="T41" fmla="*/ 220 h 512"/>
              <a:gd name="T42" fmla="*/ 168 w 512"/>
              <a:gd name="T43" fmla="*/ 220 h 512"/>
              <a:gd name="T44" fmla="*/ 116 w 512"/>
              <a:gd name="T45" fmla="*/ 220 h 512"/>
              <a:gd name="T46" fmla="*/ 96 w 512"/>
              <a:gd name="T47" fmla="*/ 202 h 512"/>
              <a:gd name="T48" fmla="*/ 132 w 512"/>
              <a:gd name="T49" fmla="*/ 206 h 512"/>
              <a:gd name="T50" fmla="*/ 151 w 512"/>
              <a:gd name="T51" fmla="*/ 206 h 512"/>
              <a:gd name="T52" fmla="*/ 202 w 512"/>
              <a:gd name="T53" fmla="*/ 205 h 512"/>
              <a:gd name="T54" fmla="*/ 173 w 512"/>
              <a:gd name="T55" fmla="*/ 157 h 512"/>
              <a:gd name="T56" fmla="*/ 189 w 512"/>
              <a:gd name="T57" fmla="*/ 141 h 512"/>
              <a:gd name="T58" fmla="*/ 224 w 512"/>
              <a:gd name="T59" fmla="*/ 181 h 512"/>
              <a:gd name="T60" fmla="*/ 324 w 512"/>
              <a:gd name="T61" fmla="*/ 249 h 512"/>
              <a:gd name="T62" fmla="*/ 344 w 512"/>
              <a:gd name="T63" fmla="*/ 249 h 512"/>
              <a:gd name="T64" fmla="*/ 395 w 512"/>
              <a:gd name="T65" fmla="*/ 249 h 512"/>
              <a:gd name="T66" fmla="*/ 416 w 512"/>
              <a:gd name="T67" fmla="*/ 266 h 512"/>
              <a:gd name="T68" fmla="*/ 379 w 512"/>
              <a:gd name="T69" fmla="*/ 262 h 512"/>
              <a:gd name="T70" fmla="*/ 360 w 512"/>
              <a:gd name="T71" fmla="*/ 263 h 512"/>
              <a:gd name="T72" fmla="*/ 309 w 512"/>
              <a:gd name="T73" fmla="*/ 264 h 512"/>
              <a:gd name="T74" fmla="*/ 324 w 512"/>
              <a:gd name="T75" fmla="*/ 292 h 512"/>
              <a:gd name="T76" fmla="*/ 344 w 512"/>
              <a:gd name="T77" fmla="*/ 292 h 512"/>
              <a:gd name="T78" fmla="*/ 395 w 512"/>
              <a:gd name="T79" fmla="*/ 292 h 512"/>
              <a:gd name="T80" fmla="*/ 416 w 512"/>
              <a:gd name="T81" fmla="*/ 309 h 512"/>
              <a:gd name="T82" fmla="*/ 379 w 512"/>
              <a:gd name="T83" fmla="*/ 305 h 512"/>
              <a:gd name="T84" fmla="*/ 360 w 512"/>
              <a:gd name="T85" fmla="*/ 305 h 512"/>
              <a:gd name="T86" fmla="*/ 309 w 512"/>
              <a:gd name="T87" fmla="*/ 306 h 512"/>
              <a:gd name="T88" fmla="*/ 338 w 512"/>
              <a:gd name="T89" fmla="*/ 355 h 512"/>
              <a:gd name="T90" fmla="*/ 330 w 512"/>
              <a:gd name="T91" fmla="*/ 373 h 512"/>
              <a:gd name="T92" fmla="*/ 291 w 512"/>
              <a:gd name="T93" fmla="*/ 338 h 512"/>
              <a:gd name="T94" fmla="*/ 288 w 512"/>
              <a:gd name="T95" fmla="*/ 181 h 512"/>
              <a:gd name="T96" fmla="*/ 323 w 512"/>
              <a:gd name="T97" fmla="*/ 141 h 512"/>
              <a:gd name="T98" fmla="*/ 338 w 512"/>
              <a:gd name="T99" fmla="*/ 157 h 512"/>
              <a:gd name="T100" fmla="*/ 309 w 512"/>
              <a:gd name="T101" fmla="*/ 194 h 512"/>
              <a:gd name="T102" fmla="*/ 334 w 512"/>
              <a:gd name="T103" fmla="*/ 213 h 512"/>
              <a:gd name="T104" fmla="*/ 369 w 512"/>
              <a:gd name="T105" fmla="*/ 192 h 512"/>
              <a:gd name="T106" fmla="*/ 405 w 512"/>
              <a:gd name="T107" fmla="*/ 213 h 512"/>
              <a:gd name="T108" fmla="*/ 405 w 512"/>
              <a:gd name="T109" fmla="*/ 234 h 512"/>
              <a:gd name="T110" fmla="*/ 369 w 512"/>
              <a:gd name="T111" fmla="*/ 213 h 512"/>
              <a:gd name="T112" fmla="*/ 334 w 512"/>
              <a:gd name="T113" fmla="*/ 234 h 512"/>
              <a:gd name="T114" fmla="*/ 309 w 512"/>
              <a:gd name="T115" fmla="*/ 23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4" y="330"/>
                </a:moveTo>
                <a:cubicBezTo>
                  <a:pt x="224" y="333"/>
                  <a:pt x="223" y="336"/>
                  <a:pt x="221" y="338"/>
                </a:cubicBezTo>
                <a:cubicBezTo>
                  <a:pt x="189" y="370"/>
                  <a:pt x="189" y="370"/>
                  <a:pt x="189" y="370"/>
                </a:cubicBezTo>
                <a:cubicBezTo>
                  <a:pt x="186" y="372"/>
                  <a:pt x="184" y="373"/>
                  <a:pt x="181" y="373"/>
                </a:cubicBezTo>
                <a:cubicBezTo>
                  <a:pt x="178" y="373"/>
                  <a:pt x="176" y="372"/>
                  <a:pt x="173" y="370"/>
                </a:cubicBezTo>
                <a:cubicBezTo>
                  <a:pt x="169" y="366"/>
                  <a:pt x="169" y="359"/>
                  <a:pt x="173" y="355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202" y="318"/>
                  <a:pt x="202" y="318"/>
                  <a:pt x="202" y="318"/>
                </a:cubicBezTo>
                <a:cubicBezTo>
                  <a:pt x="195" y="315"/>
                  <a:pt x="190" y="309"/>
                  <a:pt x="187" y="305"/>
                </a:cubicBezTo>
                <a:cubicBezTo>
                  <a:pt x="183" y="300"/>
                  <a:pt x="181" y="298"/>
                  <a:pt x="177" y="298"/>
                </a:cubicBezTo>
                <a:cubicBezTo>
                  <a:pt x="174" y="298"/>
                  <a:pt x="172" y="300"/>
                  <a:pt x="168" y="305"/>
                </a:cubicBezTo>
                <a:cubicBezTo>
                  <a:pt x="163" y="311"/>
                  <a:pt x="156" y="320"/>
                  <a:pt x="142" y="320"/>
                </a:cubicBezTo>
                <a:cubicBezTo>
                  <a:pt x="128" y="320"/>
                  <a:pt x="121" y="311"/>
                  <a:pt x="116" y="305"/>
                </a:cubicBezTo>
                <a:cubicBezTo>
                  <a:pt x="112" y="300"/>
                  <a:pt x="110" y="298"/>
                  <a:pt x="106" y="298"/>
                </a:cubicBezTo>
                <a:cubicBezTo>
                  <a:pt x="100" y="298"/>
                  <a:pt x="96" y="294"/>
                  <a:pt x="96" y="288"/>
                </a:cubicBezTo>
                <a:cubicBezTo>
                  <a:pt x="96" y="282"/>
                  <a:pt x="100" y="277"/>
                  <a:pt x="106" y="277"/>
                </a:cubicBezTo>
                <a:cubicBezTo>
                  <a:pt x="120" y="277"/>
                  <a:pt x="127" y="286"/>
                  <a:pt x="132" y="292"/>
                </a:cubicBezTo>
                <a:cubicBezTo>
                  <a:pt x="137" y="297"/>
                  <a:pt x="138" y="298"/>
                  <a:pt x="142" y="298"/>
                </a:cubicBezTo>
                <a:cubicBezTo>
                  <a:pt x="145" y="298"/>
                  <a:pt x="147" y="297"/>
                  <a:pt x="151" y="292"/>
                </a:cubicBezTo>
                <a:cubicBezTo>
                  <a:pt x="156" y="286"/>
                  <a:pt x="164" y="277"/>
                  <a:pt x="177" y="277"/>
                </a:cubicBezTo>
                <a:cubicBezTo>
                  <a:pt x="190" y="277"/>
                  <a:pt x="198" y="284"/>
                  <a:pt x="202" y="290"/>
                </a:cubicBezTo>
                <a:cubicBezTo>
                  <a:pt x="202" y="275"/>
                  <a:pt x="202" y="275"/>
                  <a:pt x="202" y="275"/>
                </a:cubicBezTo>
                <a:cubicBezTo>
                  <a:pt x="195" y="272"/>
                  <a:pt x="190" y="267"/>
                  <a:pt x="187" y="262"/>
                </a:cubicBezTo>
                <a:cubicBezTo>
                  <a:pt x="183" y="257"/>
                  <a:pt x="181" y="256"/>
                  <a:pt x="177" y="256"/>
                </a:cubicBezTo>
                <a:cubicBezTo>
                  <a:pt x="174" y="256"/>
                  <a:pt x="172" y="257"/>
                  <a:pt x="168" y="263"/>
                </a:cubicBezTo>
                <a:cubicBezTo>
                  <a:pt x="163" y="268"/>
                  <a:pt x="156" y="277"/>
                  <a:pt x="142" y="277"/>
                </a:cubicBezTo>
                <a:cubicBezTo>
                  <a:pt x="128" y="277"/>
                  <a:pt x="121" y="268"/>
                  <a:pt x="116" y="263"/>
                </a:cubicBezTo>
                <a:cubicBezTo>
                  <a:pt x="112" y="257"/>
                  <a:pt x="110" y="256"/>
                  <a:pt x="106" y="256"/>
                </a:cubicBezTo>
                <a:cubicBezTo>
                  <a:pt x="100" y="256"/>
                  <a:pt x="96" y="251"/>
                  <a:pt x="96" y="245"/>
                </a:cubicBezTo>
                <a:cubicBezTo>
                  <a:pt x="96" y="239"/>
                  <a:pt x="100" y="234"/>
                  <a:pt x="106" y="234"/>
                </a:cubicBezTo>
                <a:cubicBezTo>
                  <a:pt x="120" y="234"/>
                  <a:pt x="127" y="243"/>
                  <a:pt x="132" y="249"/>
                </a:cubicBezTo>
                <a:cubicBezTo>
                  <a:pt x="137" y="254"/>
                  <a:pt x="138" y="256"/>
                  <a:pt x="142" y="256"/>
                </a:cubicBezTo>
                <a:cubicBezTo>
                  <a:pt x="145" y="256"/>
                  <a:pt x="147" y="254"/>
                  <a:pt x="151" y="249"/>
                </a:cubicBezTo>
                <a:cubicBezTo>
                  <a:pt x="156" y="243"/>
                  <a:pt x="164" y="234"/>
                  <a:pt x="177" y="234"/>
                </a:cubicBezTo>
                <a:cubicBezTo>
                  <a:pt x="190" y="234"/>
                  <a:pt x="198" y="242"/>
                  <a:pt x="202" y="248"/>
                </a:cubicBezTo>
                <a:cubicBezTo>
                  <a:pt x="202" y="232"/>
                  <a:pt x="202" y="232"/>
                  <a:pt x="202" y="232"/>
                </a:cubicBezTo>
                <a:cubicBezTo>
                  <a:pt x="195" y="229"/>
                  <a:pt x="190" y="224"/>
                  <a:pt x="187" y="220"/>
                </a:cubicBezTo>
                <a:cubicBezTo>
                  <a:pt x="183" y="214"/>
                  <a:pt x="181" y="213"/>
                  <a:pt x="177" y="213"/>
                </a:cubicBezTo>
                <a:cubicBezTo>
                  <a:pt x="174" y="213"/>
                  <a:pt x="172" y="215"/>
                  <a:pt x="168" y="220"/>
                </a:cubicBezTo>
                <a:cubicBezTo>
                  <a:pt x="163" y="226"/>
                  <a:pt x="156" y="234"/>
                  <a:pt x="142" y="234"/>
                </a:cubicBezTo>
                <a:cubicBezTo>
                  <a:pt x="128" y="234"/>
                  <a:pt x="121" y="226"/>
                  <a:pt x="116" y="220"/>
                </a:cubicBezTo>
                <a:cubicBezTo>
                  <a:pt x="112" y="215"/>
                  <a:pt x="110" y="213"/>
                  <a:pt x="106" y="213"/>
                </a:cubicBezTo>
                <a:cubicBezTo>
                  <a:pt x="100" y="213"/>
                  <a:pt x="96" y="208"/>
                  <a:pt x="96" y="202"/>
                </a:cubicBezTo>
                <a:cubicBezTo>
                  <a:pt x="96" y="196"/>
                  <a:pt x="100" y="192"/>
                  <a:pt x="106" y="192"/>
                </a:cubicBezTo>
                <a:cubicBezTo>
                  <a:pt x="120" y="192"/>
                  <a:pt x="127" y="200"/>
                  <a:pt x="132" y="206"/>
                </a:cubicBezTo>
                <a:cubicBezTo>
                  <a:pt x="137" y="211"/>
                  <a:pt x="138" y="213"/>
                  <a:pt x="142" y="213"/>
                </a:cubicBezTo>
                <a:cubicBezTo>
                  <a:pt x="145" y="213"/>
                  <a:pt x="147" y="211"/>
                  <a:pt x="151" y="206"/>
                </a:cubicBezTo>
                <a:cubicBezTo>
                  <a:pt x="156" y="200"/>
                  <a:pt x="164" y="192"/>
                  <a:pt x="177" y="192"/>
                </a:cubicBezTo>
                <a:cubicBezTo>
                  <a:pt x="190" y="192"/>
                  <a:pt x="198" y="199"/>
                  <a:pt x="202" y="205"/>
                </a:cubicBezTo>
                <a:cubicBezTo>
                  <a:pt x="202" y="185"/>
                  <a:pt x="202" y="185"/>
                  <a:pt x="202" y="185"/>
                </a:cubicBezTo>
                <a:cubicBezTo>
                  <a:pt x="173" y="157"/>
                  <a:pt x="173" y="157"/>
                  <a:pt x="173" y="157"/>
                </a:cubicBezTo>
                <a:cubicBezTo>
                  <a:pt x="169" y="152"/>
                  <a:pt x="169" y="146"/>
                  <a:pt x="173" y="141"/>
                </a:cubicBezTo>
                <a:cubicBezTo>
                  <a:pt x="178" y="137"/>
                  <a:pt x="184" y="137"/>
                  <a:pt x="189" y="141"/>
                </a:cubicBezTo>
                <a:cubicBezTo>
                  <a:pt x="221" y="173"/>
                  <a:pt x="221" y="173"/>
                  <a:pt x="221" y="173"/>
                </a:cubicBezTo>
                <a:cubicBezTo>
                  <a:pt x="223" y="175"/>
                  <a:pt x="224" y="178"/>
                  <a:pt x="224" y="181"/>
                </a:cubicBezTo>
                <a:lnTo>
                  <a:pt x="224" y="330"/>
                </a:lnTo>
                <a:close/>
                <a:moveTo>
                  <a:pt x="324" y="249"/>
                </a:moveTo>
                <a:cubicBezTo>
                  <a:pt x="329" y="254"/>
                  <a:pt x="330" y="256"/>
                  <a:pt x="334" y="256"/>
                </a:cubicBezTo>
                <a:cubicBezTo>
                  <a:pt x="338" y="256"/>
                  <a:pt x="339" y="254"/>
                  <a:pt x="344" y="249"/>
                </a:cubicBezTo>
                <a:cubicBezTo>
                  <a:pt x="348" y="243"/>
                  <a:pt x="356" y="234"/>
                  <a:pt x="369" y="234"/>
                </a:cubicBezTo>
                <a:cubicBezTo>
                  <a:pt x="383" y="234"/>
                  <a:pt x="391" y="243"/>
                  <a:pt x="395" y="249"/>
                </a:cubicBezTo>
                <a:cubicBezTo>
                  <a:pt x="400" y="254"/>
                  <a:pt x="402" y="256"/>
                  <a:pt x="405" y="256"/>
                </a:cubicBezTo>
                <a:cubicBezTo>
                  <a:pt x="411" y="256"/>
                  <a:pt x="416" y="260"/>
                  <a:pt x="416" y="266"/>
                </a:cubicBezTo>
                <a:cubicBezTo>
                  <a:pt x="416" y="272"/>
                  <a:pt x="411" y="277"/>
                  <a:pt x="405" y="277"/>
                </a:cubicBezTo>
                <a:cubicBezTo>
                  <a:pt x="391" y="277"/>
                  <a:pt x="384" y="268"/>
                  <a:pt x="379" y="262"/>
                </a:cubicBezTo>
                <a:cubicBezTo>
                  <a:pt x="375" y="257"/>
                  <a:pt x="373" y="256"/>
                  <a:pt x="369" y="256"/>
                </a:cubicBezTo>
                <a:cubicBezTo>
                  <a:pt x="366" y="256"/>
                  <a:pt x="364" y="257"/>
                  <a:pt x="360" y="263"/>
                </a:cubicBezTo>
                <a:cubicBezTo>
                  <a:pt x="355" y="268"/>
                  <a:pt x="348" y="277"/>
                  <a:pt x="334" y="277"/>
                </a:cubicBezTo>
                <a:cubicBezTo>
                  <a:pt x="321" y="277"/>
                  <a:pt x="314" y="269"/>
                  <a:pt x="309" y="264"/>
                </a:cubicBezTo>
                <a:cubicBezTo>
                  <a:pt x="309" y="279"/>
                  <a:pt x="309" y="279"/>
                  <a:pt x="309" y="279"/>
                </a:cubicBezTo>
                <a:cubicBezTo>
                  <a:pt x="316" y="282"/>
                  <a:pt x="321" y="287"/>
                  <a:pt x="324" y="292"/>
                </a:cubicBezTo>
                <a:cubicBezTo>
                  <a:pt x="329" y="297"/>
                  <a:pt x="330" y="298"/>
                  <a:pt x="334" y="298"/>
                </a:cubicBezTo>
                <a:cubicBezTo>
                  <a:pt x="338" y="298"/>
                  <a:pt x="339" y="297"/>
                  <a:pt x="344" y="292"/>
                </a:cubicBezTo>
                <a:cubicBezTo>
                  <a:pt x="348" y="286"/>
                  <a:pt x="356" y="277"/>
                  <a:pt x="369" y="277"/>
                </a:cubicBezTo>
                <a:cubicBezTo>
                  <a:pt x="383" y="277"/>
                  <a:pt x="391" y="286"/>
                  <a:pt x="395" y="292"/>
                </a:cubicBezTo>
                <a:cubicBezTo>
                  <a:pt x="400" y="297"/>
                  <a:pt x="402" y="298"/>
                  <a:pt x="405" y="298"/>
                </a:cubicBezTo>
                <a:cubicBezTo>
                  <a:pt x="411" y="298"/>
                  <a:pt x="416" y="303"/>
                  <a:pt x="416" y="309"/>
                </a:cubicBezTo>
                <a:cubicBezTo>
                  <a:pt x="416" y="315"/>
                  <a:pt x="411" y="320"/>
                  <a:pt x="405" y="320"/>
                </a:cubicBezTo>
                <a:cubicBezTo>
                  <a:pt x="391" y="320"/>
                  <a:pt x="384" y="311"/>
                  <a:pt x="379" y="305"/>
                </a:cubicBezTo>
                <a:cubicBezTo>
                  <a:pt x="375" y="300"/>
                  <a:pt x="373" y="298"/>
                  <a:pt x="369" y="298"/>
                </a:cubicBezTo>
                <a:cubicBezTo>
                  <a:pt x="366" y="298"/>
                  <a:pt x="364" y="300"/>
                  <a:pt x="360" y="305"/>
                </a:cubicBezTo>
                <a:cubicBezTo>
                  <a:pt x="355" y="311"/>
                  <a:pt x="348" y="320"/>
                  <a:pt x="334" y="320"/>
                </a:cubicBezTo>
                <a:cubicBezTo>
                  <a:pt x="321" y="320"/>
                  <a:pt x="314" y="312"/>
                  <a:pt x="309" y="306"/>
                </a:cubicBezTo>
                <a:cubicBezTo>
                  <a:pt x="309" y="326"/>
                  <a:pt x="309" y="326"/>
                  <a:pt x="309" y="326"/>
                </a:cubicBezTo>
                <a:cubicBezTo>
                  <a:pt x="338" y="355"/>
                  <a:pt x="338" y="355"/>
                  <a:pt x="338" y="355"/>
                </a:cubicBezTo>
                <a:cubicBezTo>
                  <a:pt x="342" y="359"/>
                  <a:pt x="342" y="366"/>
                  <a:pt x="338" y="370"/>
                </a:cubicBezTo>
                <a:cubicBezTo>
                  <a:pt x="336" y="372"/>
                  <a:pt x="333" y="373"/>
                  <a:pt x="330" y="373"/>
                </a:cubicBezTo>
                <a:cubicBezTo>
                  <a:pt x="328" y="373"/>
                  <a:pt x="325" y="372"/>
                  <a:pt x="323" y="370"/>
                </a:cubicBezTo>
                <a:cubicBezTo>
                  <a:pt x="291" y="338"/>
                  <a:pt x="291" y="338"/>
                  <a:pt x="291" y="338"/>
                </a:cubicBezTo>
                <a:cubicBezTo>
                  <a:pt x="289" y="336"/>
                  <a:pt x="288" y="333"/>
                  <a:pt x="288" y="330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88" y="178"/>
                  <a:pt x="289" y="175"/>
                  <a:pt x="291" y="173"/>
                </a:cubicBezTo>
                <a:cubicBezTo>
                  <a:pt x="323" y="141"/>
                  <a:pt x="323" y="141"/>
                  <a:pt x="323" y="141"/>
                </a:cubicBezTo>
                <a:cubicBezTo>
                  <a:pt x="327" y="137"/>
                  <a:pt x="334" y="137"/>
                  <a:pt x="338" y="141"/>
                </a:cubicBezTo>
                <a:cubicBezTo>
                  <a:pt x="342" y="146"/>
                  <a:pt x="342" y="152"/>
                  <a:pt x="338" y="157"/>
                </a:cubicBezTo>
                <a:cubicBezTo>
                  <a:pt x="309" y="185"/>
                  <a:pt x="309" y="185"/>
                  <a:pt x="309" y="185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16" y="197"/>
                  <a:pt x="321" y="202"/>
                  <a:pt x="324" y="206"/>
                </a:cubicBezTo>
                <a:cubicBezTo>
                  <a:pt x="329" y="211"/>
                  <a:pt x="330" y="213"/>
                  <a:pt x="334" y="213"/>
                </a:cubicBezTo>
                <a:cubicBezTo>
                  <a:pt x="338" y="213"/>
                  <a:pt x="339" y="211"/>
                  <a:pt x="344" y="206"/>
                </a:cubicBezTo>
                <a:cubicBezTo>
                  <a:pt x="348" y="200"/>
                  <a:pt x="356" y="192"/>
                  <a:pt x="369" y="192"/>
                </a:cubicBezTo>
                <a:cubicBezTo>
                  <a:pt x="383" y="192"/>
                  <a:pt x="391" y="200"/>
                  <a:pt x="395" y="206"/>
                </a:cubicBezTo>
                <a:cubicBezTo>
                  <a:pt x="400" y="212"/>
                  <a:pt x="402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cubicBezTo>
                  <a:pt x="416" y="230"/>
                  <a:pt x="411" y="234"/>
                  <a:pt x="405" y="234"/>
                </a:cubicBezTo>
                <a:cubicBezTo>
                  <a:pt x="391" y="234"/>
                  <a:pt x="384" y="226"/>
                  <a:pt x="379" y="220"/>
                </a:cubicBezTo>
                <a:cubicBezTo>
                  <a:pt x="375" y="214"/>
                  <a:pt x="373" y="213"/>
                  <a:pt x="369" y="213"/>
                </a:cubicBezTo>
                <a:cubicBezTo>
                  <a:pt x="366" y="213"/>
                  <a:pt x="364" y="215"/>
                  <a:pt x="360" y="220"/>
                </a:cubicBezTo>
                <a:cubicBezTo>
                  <a:pt x="355" y="226"/>
                  <a:pt x="348" y="234"/>
                  <a:pt x="334" y="234"/>
                </a:cubicBezTo>
                <a:cubicBezTo>
                  <a:pt x="321" y="234"/>
                  <a:pt x="314" y="227"/>
                  <a:pt x="309" y="221"/>
                </a:cubicBezTo>
                <a:cubicBezTo>
                  <a:pt x="309" y="236"/>
                  <a:pt x="309" y="236"/>
                  <a:pt x="309" y="236"/>
                </a:cubicBezTo>
                <a:cubicBezTo>
                  <a:pt x="316" y="239"/>
                  <a:pt x="321" y="245"/>
                  <a:pt x="324" y="24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7" name="Group 697"/>
          <p:cNvGrpSpPr>
            <a:grpSpLocks noChangeAspect="1"/>
          </p:cNvGrpSpPr>
          <p:nvPr/>
        </p:nvGrpSpPr>
        <p:grpSpPr bwMode="auto">
          <a:xfrm>
            <a:off x="7889225" y="2051054"/>
            <a:ext cx="369021" cy="369021"/>
            <a:chOff x="5063" y="2703"/>
            <a:chExt cx="340" cy="340"/>
          </a:xfrm>
          <a:solidFill>
            <a:schemeClr val="accent2"/>
          </a:solidFill>
        </p:grpSpPr>
        <p:sp>
          <p:nvSpPr>
            <p:cNvPr id="288" name="Freeform 698"/>
            <p:cNvSpPr>
              <a:spLocks noEditPoints="1"/>
            </p:cNvSpPr>
            <p:nvPr/>
          </p:nvSpPr>
          <p:spPr bwMode="auto">
            <a:xfrm>
              <a:off x="5127" y="2794"/>
              <a:ext cx="212" cy="157"/>
            </a:xfrm>
            <a:custGeom>
              <a:avLst/>
              <a:gdLst>
                <a:gd name="T0" fmla="*/ 125 w 320"/>
                <a:gd name="T1" fmla="*/ 36 h 236"/>
                <a:gd name="T2" fmla="*/ 128 w 320"/>
                <a:gd name="T3" fmla="*/ 44 h 236"/>
                <a:gd name="T4" fmla="*/ 128 w 320"/>
                <a:gd name="T5" fmla="*/ 193 h 236"/>
                <a:gd name="T6" fmla="*/ 125 w 320"/>
                <a:gd name="T7" fmla="*/ 201 h 236"/>
                <a:gd name="T8" fmla="*/ 93 w 320"/>
                <a:gd name="T9" fmla="*/ 233 h 236"/>
                <a:gd name="T10" fmla="*/ 85 w 320"/>
                <a:gd name="T11" fmla="*/ 236 h 236"/>
                <a:gd name="T12" fmla="*/ 77 w 320"/>
                <a:gd name="T13" fmla="*/ 233 h 236"/>
                <a:gd name="T14" fmla="*/ 77 w 320"/>
                <a:gd name="T15" fmla="*/ 218 h 236"/>
                <a:gd name="T16" fmla="*/ 106 w 320"/>
                <a:gd name="T17" fmla="*/ 189 h 236"/>
                <a:gd name="T18" fmla="*/ 106 w 320"/>
                <a:gd name="T19" fmla="*/ 161 h 236"/>
                <a:gd name="T20" fmla="*/ 10 w 320"/>
                <a:gd name="T21" fmla="*/ 161 h 236"/>
                <a:gd name="T22" fmla="*/ 0 w 320"/>
                <a:gd name="T23" fmla="*/ 151 h 236"/>
                <a:gd name="T24" fmla="*/ 10 w 320"/>
                <a:gd name="T25" fmla="*/ 140 h 236"/>
                <a:gd name="T26" fmla="*/ 106 w 320"/>
                <a:gd name="T27" fmla="*/ 140 h 236"/>
                <a:gd name="T28" fmla="*/ 106 w 320"/>
                <a:gd name="T29" fmla="*/ 97 h 236"/>
                <a:gd name="T30" fmla="*/ 10 w 320"/>
                <a:gd name="T31" fmla="*/ 97 h 236"/>
                <a:gd name="T32" fmla="*/ 0 w 320"/>
                <a:gd name="T33" fmla="*/ 87 h 236"/>
                <a:gd name="T34" fmla="*/ 10 w 320"/>
                <a:gd name="T35" fmla="*/ 76 h 236"/>
                <a:gd name="T36" fmla="*/ 106 w 320"/>
                <a:gd name="T37" fmla="*/ 76 h 236"/>
                <a:gd name="T38" fmla="*/ 106 w 320"/>
                <a:gd name="T39" fmla="*/ 48 h 236"/>
                <a:gd name="T40" fmla="*/ 77 w 320"/>
                <a:gd name="T41" fmla="*/ 20 h 236"/>
                <a:gd name="T42" fmla="*/ 77 w 320"/>
                <a:gd name="T43" fmla="*/ 4 h 236"/>
                <a:gd name="T44" fmla="*/ 93 w 320"/>
                <a:gd name="T45" fmla="*/ 4 h 236"/>
                <a:gd name="T46" fmla="*/ 125 w 320"/>
                <a:gd name="T47" fmla="*/ 36 h 236"/>
                <a:gd name="T48" fmla="*/ 309 w 320"/>
                <a:gd name="T49" fmla="*/ 140 h 236"/>
                <a:gd name="T50" fmla="*/ 213 w 320"/>
                <a:gd name="T51" fmla="*/ 140 h 236"/>
                <a:gd name="T52" fmla="*/ 213 w 320"/>
                <a:gd name="T53" fmla="*/ 97 h 236"/>
                <a:gd name="T54" fmla="*/ 309 w 320"/>
                <a:gd name="T55" fmla="*/ 97 h 236"/>
                <a:gd name="T56" fmla="*/ 320 w 320"/>
                <a:gd name="T57" fmla="*/ 87 h 236"/>
                <a:gd name="T58" fmla="*/ 309 w 320"/>
                <a:gd name="T59" fmla="*/ 76 h 236"/>
                <a:gd name="T60" fmla="*/ 213 w 320"/>
                <a:gd name="T61" fmla="*/ 76 h 236"/>
                <a:gd name="T62" fmla="*/ 213 w 320"/>
                <a:gd name="T63" fmla="*/ 48 h 236"/>
                <a:gd name="T64" fmla="*/ 242 w 320"/>
                <a:gd name="T65" fmla="*/ 20 h 236"/>
                <a:gd name="T66" fmla="*/ 242 w 320"/>
                <a:gd name="T67" fmla="*/ 4 h 236"/>
                <a:gd name="T68" fmla="*/ 227 w 320"/>
                <a:gd name="T69" fmla="*/ 4 h 236"/>
                <a:gd name="T70" fmla="*/ 195 w 320"/>
                <a:gd name="T71" fmla="*/ 36 h 236"/>
                <a:gd name="T72" fmla="*/ 192 w 320"/>
                <a:gd name="T73" fmla="*/ 44 h 236"/>
                <a:gd name="T74" fmla="*/ 192 w 320"/>
                <a:gd name="T75" fmla="*/ 193 h 236"/>
                <a:gd name="T76" fmla="*/ 195 w 320"/>
                <a:gd name="T77" fmla="*/ 201 h 236"/>
                <a:gd name="T78" fmla="*/ 227 w 320"/>
                <a:gd name="T79" fmla="*/ 233 h 236"/>
                <a:gd name="T80" fmla="*/ 234 w 320"/>
                <a:gd name="T81" fmla="*/ 236 h 236"/>
                <a:gd name="T82" fmla="*/ 242 w 320"/>
                <a:gd name="T83" fmla="*/ 233 h 236"/>
                <a:gd name="T84" fmla="*/ 242 w 320"/>
                <a:gd name="T85" fmla="*/ 218 h 236"/>
                <a:gd name="T86" fmla="*/ 213 w 320"/>
                <a:gd name="T87" fmla="*/ 189 h 236"/>
                <a:gd name="T88" fmla="*/ 213 w 320"/>
                <a:gd name="T89" fmla="*/ 161 h 236"/>
                <a:gd name="T90" fmla="*/ 309 w 320"/>
                <a:gd name="T91" fmla="*/ 161 h 236"/>
                <a:gd name="T92" fmla="*/ 320 w 320"/>
                <a:gd name="T93" fmla="*/ 151 h 236"/>
                <a:gd name="T94" fmla="*/ 309 w 320"/>
                <a:gd name="T95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0" h="236">
                  <a:moveTo>
                    <a:pt x="125" y="36"/>
                  </a:moveTo>
                  <a:cubicBezTo>
                    <a:pt x="127" y="38"/>
                    <a:pt x="128" y="41"/>
                    <a:pt x="128" y="44"/>
                  </a:cubicBezTo>
                  <a:cubicBezTo>
                    <a:pt x="128" y="193"/>
                    <a:pt x="128" y="193"/>
                    <a:pt x="128" y="193"/>
                  </a:cubicBezTo>
                  <a:cubicBezTo>
                    <a:pt x="128" y="196"/>
                    <a:pt x="127" y="199"/>
                    <a:pt x="125" y="201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0" y="235"/>
                    <a:pt x="88" y="236"/>
                    <a:pt x="85" y="236"/>
                  </a:cubicBezTo>
                  <a:cubicBezTo>
                    <a:pt x="82" y="236"/>
                    <a:pt x="80" y="235"/>
                    <a:pt x="77" y="233"/>
                  </a:cubicBezTo>
                  <a:cubicBezTo>
                    <a:pt x="73" y="229"/>
                    <a:pt x="73" y="222"/>
                    <a:pt x="77" y="21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" y="161"/>
                    <a:pt x="10" y="161"/>
                    <a:pt x="10" y="161"/>
                  </a:cubicBezTo>
                  <a:cubicBezTo>
                    <a:pt x="4" y="161"/>
                    <a:pt x="0" y="157"/>
                    <a:pt x="0" y="151"/>
                  </a:cubicBezTo>
                  <a:cubicBezTo>
                    <a:pt x="0" y="145"/>
                    <a:pt x="4" y="140"/>
                    <a:pt x="10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4" y="97"/>
                    <a:pt x="0" y="93"/>
                    <a:pt x="0" y="87"/>
                  </a:cubicBezTo>
                  <a:cubicBezTo>
                    <a:pt x="0" y="81"/>
                    <a:pt x="4" y="76"/>
                    <a:pt x="10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3" y="15"/>
                    <a:pt x="73" y="9"/>
                    <a:pt x="77" y="4"/>
                  </a:cubicBezTo>
                  <a:cubicBezTo>
                    <a:pt x="82" y="0"/>
                    <a:pt x="88" y="0"/>
                    <a:pt x="93" y="4"/>
                  </a:cubicBezTo>
                  <a:lnTo>
                    <a:pt x="125" y="36"/>
                  </a:lnTo>
                  <a:close/>
                  <a:moveTo>
                    <a:pt x="309" y="140"/>
                  </a:moveTo>
                  <a:cubicBezTo>
                    <a:pt x="213" y="140"/>
                    <a:pt x="213" y="140"/>
                    <a:pt x="213" y="140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309" y="97"/>
                    <a:pt x="309" y="97"/>
                    <a:pt x="309" y="97"/>
                  </a:cubicBezTo>
                  <a:cubicBezTo>
                    <a:pt x="315" y="97"/>
                    <a:pt x="320" y="93"/>
                    <a:pt x="320" y="87"/>
                  </a:cubicBezTo>
                  <a:cubicBezTo>
                    <a:pt x="320" y="81"/>
                    <a:pt x="315" y="76"/>
                    <a:pt x="309" y="76"/>
                  </a:cubicBezTo>
                  <a:cubicBezTo>
                    <a:pt x="213" y="76"/>
                    <a:pt x="213" y="76"/>
                    <a:pt x="213" y="76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42" y="20"/>
                    <a:pt x="242" y="20"/>
                    <a:pt x="242" y="20"/>
                  </a:cubicBezTo>
                  <a:cubicBezTo>
                    <a:pt x="246" y="15"/>
                    <a:pt x="246" y="9"/>
                    <a:pt x="242" y="4"/>
                  </a:cubicBezTo>
                  <a:cubicBezTo>
                    <a:pt x="238" y="0"/>
                    <a:pt x="231" y="0"/>
                    <a:pt x="227" y="4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3" y="38"/>
                    <a:pt x="192" y="41"/>
                    <a:pt x="192" y="44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196"/>
                    <a:pt x="193" y="199"/>
                    <a:pt x="195" y="201"/>
                  </a:cubicBezTo>
                  <a:cubicBezTo>
                    <a:pt x="227" y="233"/>
                    <a:pt x="227" y="233"/>
                    <a:pt x="227" y="233"/>
                  </a:cubicBezTo>
                  <a:cubicBezTo>
                    <a:pt x="229" y="235"/>
                    <a:pt x="232" y="236"/>
                    <a:pt x="234" y="236"/>
                  </a:cubicBezTo>
                  <a:cubicBezTo>
                    <a:pt x="237" y="236"/>
                    <a:pt x="240" y="235"/>
                    <a:pt x="242" y="233"/>
                  </a:cubicBezTo>
                  <a:cubicBezTo>
                    <a:pt x="246" y="229"/>
                    <a:pt x="246" y="222"/>
                    <a:pt x="242" y="218"/>
                  </a:cubicBezTo>
                  <a:cubicBezTo>
                    <a:pt x="213" y="189"/>
                    <a:pt x="213" y="189"/>
                    <a:pt x="213" y="189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309" y="161"/>
                    <a:pt x="309" y="161"/>
                    <a:pt x="309" y="161"/>
                  </a:cubicBezTo>
                  <a:cubicBezTo>
                    <a:pt x="315" y="161"/>
                    <a:pt x="320" y="157"/>
                    <a:pt x="320" y="151"/>
                  </a:cubicBezTo>
                  <a:cubicBezTo>
                    <a:pt x="320" y="145"/>
                    <a:pt x="315" y="140"/>
                    <a:pt x="30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699"/>
            <p:cNvSpPr>
              <a:spLocks noEditPoints="1"/>
            </p:cNvSpPr>
            <p:nvPr/>
          </p:nvSpPr>
          <p:spPr bwMode="auto">
            <a:xfrm>
              <a:off x="5063" y="27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0" name="Freeform 703"/>
          <p:cNvSpPr>
            <a:spLocks noChangeAspect="1" noEditPoints="1"/>
          </p:cNvSpPr>
          <p:nvPr/>
        </p:nvSpPr>
        <p:spPr bwMode="auto">
          <a:xfrm>
            <a:off x="7391168" y="2051054"/>
            <a:ext cx="369021" cy="3690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24 w 512"/>
              <a:gd name="T11" fmla="*/ 330 h 512"/>
              <a:gd name="T12" fmla="*/ 221 w 512"/>
              <a:gd name="T13" fmla="*/ 338 h 512"/>
              <a:gd name="T14" fmla="*/ 189 w 512"/>
              <a:gd name="T15" fmla="*/ 370 h 512"/>
              <a:gd name="T16" fmla="*/ 181 w 512"/>
              <a:gd name="T17" fmla="*/ 373 h 512"/>
              <a:gd name="T18" fmla="*/ 173 w 512"/>
              <a:gd name="T19" fmla="*/ 370 h 512"/>
              <a:gd name="T20" fmla="*/ 173 w 512"/>
              <a:gd name="T21" fmla="*/ 355 h 512"/>
              <a:gd name="T22" fmla="*/ 202 w 512"/>
              <a:gd name="T23" fmla="*/ 326 h 512"/>
              <a:gd name="T24" fmla="*/ 202 w 512"/>
              <a:gd name="T25" fmla="*/ 298 h 512"/>
              <a:gd name="T26" fmla="*/ 106 w 512"/>
              <a:gd name="T27" fmla="*/ 298 h 512"/>
              <a:gd name="T28" fmla="*/ 96 w 512"/>
              <a:gd name="T29" fmla="*/ 288 h 512"/>
              <a:gd name="T30" fmla="*/ 106 w 512"/>
              <a:gd name="T31" fmla="*/ 277 h 512"/>
              <a:gd name="T32" fmla="*/ 202 w 512"/>
              <a:gd name="T33" fmla="*/ 277 h 512"/>
              <a:gd name="T34" fmla="*/ 202 w 512"/>
              <a:gd name="T35" fmla="*/ 234 h 512"/>
              <a:gd name="T36" fmla="*/ 106 w 512"/>
              <a:gd name="T37" fmla="*/ 234 h 512"/>
              <a:gd name="T38" fmla="*/ 96 w 512"/>
              <a:gd name="T39" fmla="*/ 224 h 512"/>
              <a:gd name="T40" fmla="*/ 106 w 512"/>
              <a:gd name="T41" fmla="*/ 213 h 512"/>
              <a:gd name="T42" fmla="*/ 202 w 512"/>
              <a:gd name="T43" fmla="*/ 213 h 512"/>
              <a:gd name="T44" fmla="*/ 202 w 512"/>
              <a:gd name="T45" fmla="*/ 185 h 512"/>
              <a:gd name="T46" fmla="*/ 173 w 512"/>
              <a:gd name="T47" fmla="*/ 157 h 512"/>
              <a:gd name="T48" fmla="*/ 173 w 512"/>
              <a:gd name="T49" fmla="*/ 141 h 512"/>
              <a:gd name="T50" fmla="*/ 189 w 512"/>
              <a:gd name="T51" fmla="*/ 141 h 512"/>
              <a:gd name="T52" fmla="*/ 221 w 512"/>
              <a:gd name="T53" fmla="*/ 173 h 512"/>
              <a:gd name="T54" fmla="*/ 224 w 512"/>
              <a:gd name="T55" fmla="*/ 181 h 512"/>
              <a:gd name="T56" fmla="*/ 224 w 512"/>
              <a:gd name="T57" fmla="*/ 330 h 512"/>
              <a:gd name="T58" fmla="*/ 405 w 512"/>
              <a:gd name="T59" fmla="*/ 277 h 512"/>
              <a:gd name="T60" fmla="*/ 416 w 512"/>
              <a:gd name="T61" fmla="*/ 288 h 512"/>
              <a:gd name="T62" fmla="*/ 405 w 512"/>
              <a:gd name="T63" fmla="*/ 298 h 512"/>
              <a:gd name="T64" fmla="*/ 309 w 512"/>
              <a:gd name="T65" fmla="*/ 298 h 512"/>
              <a:gd name="T66" fmla="*/ 309 w 512"/>
              <a:gd name="T67" fmla="*/ 326 h 512"/>
              <a:gd name="T68" fmla="*/ 338 w 512"/>
              <a:gd name="T69" fmla="*/ 355 h 512"/>
              <a:gd name="T70" fmla="*/ 338 w 512"/>
              <a:gd name="T71" fmla="*/ 370 h 512"/>
              <a:gd name="T72" fmla="*/ 330 w 512"/>
              <a:gd name="T73" fmla="*/ 373 h 512"/>
              <a:gd name="T74" fmla="*/ 323 w 512"/>
              <a:gd name="T75" fmla="*/ 370 h 512"/>
              <a:gd name="T76" fmla="*/ 291 w 512"/>
              <a:gd name="T77" fmla="*/ 338 h 512"/>
              <a:gd name="T78" fmla="*/ 288 w 512"/>
              <a:gd name="T79" fmla="*/ 330 h 512"/>
              <a:gd name="T80" fmla="*/ 288 w 512"/>
              <a:gd name="T81" fmla="*/ 181 h 512"/>
              <a:gd name="T82" fmla="*/ 291 w 512"/>
              <a:gd name="T83" fmla="*/ 173 h 512"/>
              <a:gd name="T84" fmla="*/ 323 w 512"/>
              <a:gd name="T85" fmla="*/ 141 h 512"/>
              <a:gd name="T86" fmla="*/ 338 w 512"/>
              <a:gd name="T87" fmla="*/ 141 h 512"/>
              <a:gd name="T88" fmla="*/ 338 w 512"/>
              <a:gd name="T89" fmla="*/ 157 h 512"/>
              <a:gd name="T90" fmla="*/ 309 w 512"/>
              <a:gd name="T91" fmla="*/ 185 h 512"/>
              <a:gd name="T92" fmla="*/ 309 w 512"/>
              <a:gd name="T93" fmla="*/ 213 h 512"/>
              <a:gd name="T94" fmla="*/ 405 w 512"/>
              <a:gd name="T95" fmla="*/ 213 h 512"/>
              <a:gd name="T96" fmla="*/ 416 w 512"/>
              <a:gd name="T97" fmla="*/ 224 h 512"/>
              <a:gd name="T98" fmla="*/ 405 w 512"/>
              <a:gd name="T99" fmla="*/ 234 h 512"/>
              <a:gd name="T100" fmla="*/ 309 w 512"/>
              <a:gd name="T101" fmla="*/ 234 h 512"/>
              <a:gd name="T102" fmla="*/ 309 w 512"/>
              <a:gd name="T103" fmla="*/ 277 h 512"/>
              <a:gd name="T104" fmla="*/ 405 w 512"/>
              <a:gd name="T105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24" y="330"/>
                </a:moveTo>
                <a:cubicBezTo>
                  <a:pt x="224" y="333"/>
                  <a:pt x="223" y="336"/>
                  <a:pt x="221" y="338"/>
                </a:cubicBezTo>
                <a:cubicBezTo>
                  <a:pt x="189" y="370"/>
                  <a:pt x="189" y="370"/>
                  <a:pt x="189" y="370"/>
                </a:cubicBezTo>
                <a:cubicBezTo>
                  <a:pt x="186" y="372"/>
                  <a:pt x="184" y="373"/>
                  <a:pt x="181" y="373"/>
                </a:cubicBezTo>
                <a:cubicBezTo>
                  <a:pt x="178" y="373"/>
                  <a:pt x="176" y="372"/>
                  <a:pt x="173" y="370"/>
                </a:cubicBezTo>
                <a:cubicBezTo>
                  <a:pt x="169" y="366"/>
                  <a:pt x="169" y="359"/>
                  <a:pt x="173" y="355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106" y="298"/>
                  <a:pt x="106" y="298"/>
                  <a:pt x="106" y="298"/>
                </a:cubicBezTo>
                <a:cubicBezTo>
                  <a:pt x="100" y="298"/>
                  <a:pt x="96" y="294"/>
                  <a:pt x="96" y="288"/>
                </a:cubicBezTo>
                <a:cubicBezTo>
                  <a:pt x="96" y="282"/>
                  <a:pt x="100" y="277"/>
                  <a:pt x="106" y="277"/>
                </a:cubicBezTo>
                <a:cubicBezTo>
                  <a:pt x="202" y="277"/>
                  <a:pt x="202" y="277"/>
                  <a:pt x="202" y="277"/>
                </a:cubicBezTo>
                <a:cubicBezTo>
                  <a:pt x="202" y="234"/>
                  <a:pt x="202" y="234"/>
                  <a:pt x="202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0" y="234"/>
                  <a:pt x="96" y="230"/>
                  <a:pt x="96" y="224"/>
                </a:cubicBezTo>
                <a:cubicBezTo>
                  <a:pt x="96" y="218"/>
                  <a:pt x="100" y="213"/>
                  <a:pt x="106" y="213"/>
                </a:cubicBezTo>
                <a:cubicBezTo>
                  <a:pt x="202" y="213"/>
                  <a:pt x="202" y="213"/>
                  <a:pt x="202" y="213"/>
                </a:cubicBezTo>
                <a:cubicBezTo>
                  <a:pt x="202" y="185"/>
                  <a:pt x="202" y="185"/>
                  <a:pt x="202" y="185"/>
                </a:cubicBezTo>
                <a:cubicBezTo>
                  <a:pt x="173" y="157"/>
                  <a:pt x="173" y="157"/>
                  <a:pt x="173" y="157"/>
                </a:cubicBezTo>
                <a:cubicBezTo>
                  <a:pt x="169" y="152"/>
                  <a:pt x="169" y="146"/>
                  <a:pt x="173" y="141"/>
                </a:cubicBezTo>
                <a:cubicBezTo>
                  <a:pt x="178" y="137"/>
                  <a:pt x="184" y="137"/>
                  <a:pt x="189" y="141"/>
                </a:cubicBezTo>
                <a:cubicBezTo>
                  <a:pt x="221" y="173"/>
                  <a:pt x="221" y="173"/>
                  <a:pt x="221" y="173"/>
                </a:cubicBezTo>
                <a:cubicBezTo>
                  <a:pt x="223" y="175"/>
                  <a:pt x="224" y="178"/>
                  <a:pt x="224" y="181"/>
                </a:cubicBezTo>
                <a:lnTo>
                  <a:pt x="224" y="330"/>
                </a:lnTo>
                <a:close/>
                <a:moveTo>
                  <a:pt x="405" y="277"/>
                </a:moveTo>
                <a:cubicBezTo>
                  <a:pt x="411" y="277"/>
                  <a:pt x="416" y="282"/>
                  <a:pt x="416" y="288"/>
                </a:cubicBezTo>
                <a:cubicBezTo>
                  <a:pt x="416" y="294"/>
                  <a:pt x="411" y="298"/>
                  <a:pt x="405" y="298"/>
                </a:cubicBezTo>
                <a:cubicBezTo>
                  <a:pt x="309" y="298"/>
                  <a:pt x="309" y="298"/>
                  <a:pt x="309" y="298"/>
                </a:cubicBezTo>
                <a:cubicBezTo>
                  <a:pt x="309" y="326"/>
                  <a:pt x="309" y="326"/>
                  <a:pt x="309" y="326"/>
                </a:cubicBezTo>
                <a:cubicBezTo>
                  <a:pt x="338" y="355"/>
                  <a:pt x="338" y="355"/>
                  <a:pt x="338" y="355"/>
                </a:cubicBezTo>
                <a:cubicBezTo>
                  <a:pt x="342" y="359"/>
                  <a:pt x="342" y="366"/>
                  <a:pt x="338" y="370"/>
                </a:cubicBezTo>
                <a:cubicBezTo>
                  <a:pt x="336" y="372"/>
                  <a:pt x="333" y="373"/>
                  <a:pt x="330" y="373"/>
                </a:cubicBezTo>
                <a:cubicBezTo>
                  <a:pt x="328" y="373"/>
                  <a:pt x="325" y="372"/>
                  <a:pt x="323" y="370"/>
                </a:cubicBezTo>
                <a:cubicBezTo>
                  <a:pt x="291" y="338"/>
                  <a:pt x="291" y="338"/>
                  <a:pt x="291" y="338"/>
                </a:cubicBezTo>
                <a:cubicBezTo>
                  <a:pt x="289" y="336"/>
                  <a:pt x="288" y="333"/>
                  <a:pt x="288" y="330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88" y="178"/>
                  <a:pt x="289" y="175"/>
                  <a:pt x="291" y="173"/>
                </a:cubicBezTo>
                <a:cubicBezTo>
                  <a:pt x="323" y="141"/>
                  <a:pt x="323" y="141"/>
                  <a:pt x="323" y="141"/>
                </a:cubicBezTo>
                <a:cubicBezTo>
                  <a:pt x="327" y="137"/>
                  <a:pt x="334" y="137"/>
                  <a:pt x="338" y="141"/>
                </a:cubicBezTo>
                <a:cubicBezTo>
                  <a:pt x="342" y="146"/>
                  <a:pt x="342" y="152"/>
                  <a:pt x="338" y="157"/>
                </a:cubicBezTo>
                <a:cubicBezTo>
                  <a:pt x="309" y="185"/>
                  <a:pt x="309" y="185"/>
                  <a:pt x="309" y="185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11" y="213"/>
                  <a:pt x="416" y="218"/>
                  <a:pt x="416" y="224"/>
                </a:cubicBezTo>
                <a:cubicBezTo>
                  <a:pt x="416" y="230"/>
                  <a:pt x="411" y="234"/>
                  <a:pt x="405" y="234"/>
                </a:cubicBezTo>
                <a:cubicBezTo>
                  <a:pt x="309" y="234"/>
                  <a:pt x="309" y="234"/>
                  <a:pt x="309" y="234"/>
                </a:cubicBezTo>
                <a:cubicBezTo>
                  <a:pt x="309" y="277"/>
                  <a:pt x="309" y="277"/>
                  <a:pt x="309" y="277"/>
                </a:cubicBezTo>
                <a:lnTo>
                  <a:pt x="405" y="2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1" name="TextBox 290"/>
          <p:cNvSpPr txBox="1"/>
          <p:nvPr/>
        </p:nvSpPr>
        <p:spPr>
          <a:xfrm>
            <a:off x="7410236" y="247015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oad bridge</a:t>
            </a:r>
          </a:p>
        </p:txBody>
      </p:sp>
      <p:grpSp>
        <p:nvGrpSpPr>
          <p:cNvPr id="292" name="Group 504"/>
          <p:cNvGrpSpPr>
            <a:grpSpLocks noChangeAspect="1"/>
          </p:cNvGrpSpPr>
          <p:nvPr/>
        </p:nvGrpSpPr>
        <p:grpSpPr bwMode="auto">
          <a:xfrm>
            <a:off x="2922560" y="2921946"/>
            <a:ext cx="369676" cy="370763"/>
            <a:chOff x="6587" y="1881"/>
            <a:chExt cx="340" cy="341"/>
          </a:xfrm>
          <a:solidFill>
            <a:schemeClr val="accent6"/>
          </a:solidFill>
        </p:grpSpPr>
        <p:sp>
          <p:nvSpPr>
            <p:cNvPr id="293" name="Freeform 505"/>
            <p:cNvSpPr>
              <a:spLocks noEditPoints="1"/>
            </p:cNvSpPr>
            <p:nvPr/>
          </p:nvSpPr>
          <p:spPr bwMode="auto">
            <a:xfrm>
              <a:off x="6587" y="188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Freeform 506"/>
            <p:cNvSpPr>
              <a:spLocks noEditPoints="1"/>
            </p:cNvSpPr>
            <p:nvPr/>
          </p:nvSpPr>
          <p:spPr bwMode="auto">
            <a:xfrm>
              <a:off x="6678" y="1959"/>
              <a:ext cx="157" cy="199"/>
            </a:xfrm>
            <a:custGeom>
              <a:avLst/>
              <a:gdLst>
                <a:gd name="T0" fmla="*/ 76 w 237"/>
                <a:gd name="T1" fmla="*/ 117 h 299"/>
                <a:gd name="T2" fmla="*/ 161 w 237"/>
                <a:gd name="T3" fmla="*/ 117 h 299"/>
                <a:gd name="T4" fmla="*/ 183 w 237"/>
                <a:gd name="T5" fmla="*/ 96 h 299"/>
                <a:gd name="T6" fmla="*/ 183 w 237"/>
                <a:gd name="T7" fmla="*/ 64 h 299"/>
                <a:gd name="T8" fmla="*/ 161 w 237"/>
                <a:gd name="T9" fmla="*/ 43 h 299"/>
                <a:gd name="T10" fmla="*/ 76 w 237"/>
                <a:gd name="T11" fmla="*/ 43 h 299"/>
                <a:gd name="T12" fmla="*/ 55 w 237"/>
                <a:gd name="T13" fmla="*/ 64 h 299"/>
                <a:gd name="T14" fmla="*/ 55 w 237"/>
                <a:gd name="T15" fmla="*/ 96 h 299"/>
                <a:gd name="T16" fmla="*/ 76 w 237"/>
                <a:gd name="T17" fmla="*/ 117 h 299"/>
                <a:gd name="T18" fmla="*/ 76 w 237"/>
                <a:gd name="T19" fmla="*/ 64 h 299"/>
                <a:gd name="T20" fmla="*/ 161 w 237"/>
                <a:gd name="T21" fmla="*/ 64 h 299"/>
                <a:gd name="T22" fmla="*/ 161 w 237"/>
                <a:gd name="T23" fmla="*/ 96 h 299"/>
                <a:gd name="T24" fmla="*/ 76 w 237"/>
                <a:gd name="T25" fmla="*/ 96 h 299"/>
                <a:gd name="T26" fmla="*/ 76 w 237"/>
                <a:gd name="T27" fmla="*/ 64 h 299"/>
                <a:gd name="T28" fmla="*/ 76 w 237"/>
                <a:gd name="T29" fmla="*/ 192 h 299"/>
                <a:gd name="T30" fmla="*/ 55 w 237"/>
                <a:gd name="T31" fmla="*/ 171 h 299"/>
                <a:gd name="T32" fmla="*/ 76 w 237"/>
                <a:gd name="T33" fmla="*/ 149 h 299"/>
                <a:gd name="T34" fmla="*/ 97 w 237"/>
                <a:gd name="T35" fmla="*/ 171 h 299"/>
                <a:gd name="T36" fmla="*/ 76 w 237"/>
                <a:gd name="T37" fmla="*/ 192 h 299"/>
                <a:gd name="T38" fmla="*/ 183 w 237"/>
                <a:gd name="T39" fmla="*/ 171 h 299"/>
                <a:gd name="T40" fmla="*/ 161 w 237"/>
                <a:gd name="T41" fmla="*/ 192 h 299"/>
                <a:gd name="T42" fmla="*/ 140 w 237"/>
                <a:gd name="T43" fmla="*/ 171 h 299"/>
                <a:gd name="T44" fmla="*/ 161 w 237"/>
                <a:gd name="T45" fmla="*/ 149 h 299"/>
                <a:gd name="T46" fmla="*/ 183 w 237"/>
                <a:gd name="T47" fmla="*/ 171 h 299"/>
                <a:gd name="T48" fmla="*/ 233 w 237"/>
                <a:gd name="T49" fmla="*/ 280 h 299"/>
                <a:gd name="T50" fmla="*/ 183 w 237"/>
                <a:gd name="T51" fmla="*/ 231 h 299"/>
                <a:gd name="T52" fmla="*/ 225 w 237"/>
                <a:gd name="T53" fmla="*/ 181 h 299"/>
                <a:gd name="T54" fmla="*/ 225 w 237"/>
                <a:gd name="T55" fmla="*/ 53 h 299"/>
                <a:gd name="T56" fmla="*/ 172 w 237"/>
                <a:gd name="T57" fmla="*/ 0 h 299"/>
                <a:gd name="T58" fmla="*/ 65 w 237"/>
                <a:gd name="T59" fmla="*/ 0 h 299"/>
                <a:gd name="T60" fmla="*/ 12 w 237"/>
                <a:gd name="T61" fmla="*/ 53 h 299"/>
                <a:gd name="T62" fmla="*/ 12 w 237"/>
                <a:gd name="T63" fmla="*/ 181 h 299"/>
                <a:gd name="T64" fmla="*/ 52 w 237"/>
                <a:gd name="T65" fmla="*/ 233 h 299"/>
                <a:gd name="T66" fmla="*/ 4 w 237"/>
                <a:gd name="T67" fmla="*/ 280 h 299"/>
                <a:gd name="T68" fmla="*/ 4 w 237"/>
                <a:gd name="T69" fmla="*/ 296 h 299"/>
                <a:gd name="T70" fmla="*/ 12 w 237"/>
                <a:gd name="T71" fmla="*/ 299 h 299"/>
                <a:gd name="T72" fmla="*/ 20 w 237"/>
                <a:gd name="T73" fmla="*/ 296 h 299"/>
                <a:gd name="T74" fmla="*/ 38 w 237"/>
                <a:gd name="T75" fmla="*/ 277 h 299"/>
                <a:gd name="T76" fmla="*/ 200 w 237"/>
                <a:gd name="T77" fmla="*/ 277 h 299"/>
                <a:gd name="T78" fmla="*/ 218 w 237"/>
                <a:gd name="T79" fmla="*/ 296 h 299"/>
                <a:gd name="T80" fmla="*/ 225 w 237"/>
                <a:gd name="T81" fmla="*/ 299 h 299"/>
                <a:gd name="T82" fmla="*/ 233 w 237"/>
                <a:gd name="T83" fmla="*/ 296 h 299"/>
                <a:gd name="T84" fmla="*/ 233 w 237"/>
                <a:gd name="T85" fmla="*/ 280 h 299"/>
                <a:gd name="T86" fmla="*/ 33 w 237"/>
                <a:gd name="T87" fmla="*/ 181 h 299"/>
                <a:gd name="T88" fmla="*/ 33 w 237"/>
                <a:gd name="T89" fmla="*/ 53 h 299"/>
                <a:gd name="T90" fmla="*/ 65 w 237"/>
                <a:gd name="T91" fmla="*/ 21 h 299"/>
                <a:gd name="T92" fmla="*/ 172 w 237"/>
                <a:gd name="T93" fmla="*/ 21 h 299"/>
                <a:gd name="T94" fmla="*/ 204 w 237"/>
                <a:gd name="T95" fmla="*/ 53 h 299"/>
                <a:gd name="T96" fmla="*/ 204 w 237"/>
                <a:gd name="T97" fmla="*/ 181 h 299"/>
                <a:gd name="T98" fmla="*/ 161 w 237"/>
                <a:gd name="T99" fmla="*/ 213 h 299"/>
                <a:gd name="T100" fmla="*/ 65 w 237"/>
                <a:gd name="T101" fmla="*/ 213 h 299"/>
                <a:gd name="T102" fmla="*/ 33 w 237"/>
                <a:gd name="T103" fmla="*/ 181 h 299"/>
                <a:gd name="T104" fmla="*/ 59 w 237"/>
                <a:gd name="T105" fmla="*/ 256 h 299"/>
                <a:gd name="T106" fmla="*/ 80 w 237"/>
                <a:gd name="T107" fmla="*/ 235 h 299"/>
                <a:gd name="T108" fmla="*/ 157 w 237"/>
                <a:gd name="T109" fmla="*/ 235 h 299"/>
                <a:gd name="T110" fmla="*/ 178 w 237"/>
                <a:gd name="T111" fmla="*/ 256 h 299"/>
                <a:gd name="T112" fmla="*/ 59 w 237"/>
                <a:gd name="T113" fmla="*/ 25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7" h="299">
                  <a:moveTo>
                    <a:pt x="76" y="117"/>
                  </a:moveTo>
                  <a:cubicBezTo>
                    <a:pt x="161" y="117"/>
                    <a:pt x="161" y="117"/>
                    <a:pt x="161" y="117"/>
                  </a:cubicBezTo>
                  <a:cubicBezTo>
                    <a:pt x="173" y="117"/>
                    <a:pt x="183" y="108"/>
                    <a:pt x="183" y="96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52"/>
                    <a:pt x="173" y="43"/>
                    <a:pt x="161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64" y="43"/>
                    <a:pt x="55" y="52"/>
                    <a:pt x="55" y="64"/>
                  </a:cubicBezTo>
                  <a:cubicBezTo>
                    <a:pt x="55" y="96"/>
                    <a:pt x="55" y="96"/>
                    <a:pt x="55" y="96"/>
                  </a:cubicBezTo>
                  <a:cubicBezTo>
                    <a:pt x="55" y="108"/>
                    <a:pt x="64" y="117"/>
                    <a:pt x="76" y="117"/>
                  </a:cubicBezTo>
                  <a:close/>
                  <a:moveTo>
                    <a:pt x="76" y="64"/>
                  </a:moveTo>
                  <a:cubicBezTo>
                    <a:pt x="161" y="64"/>
                    <a:pt x="161" y="64"/>
                    <a:pt x="161" y="64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76" y="96"/>
                    <a:pt x="76" y="96"/>
                    <a:pt x="76" y="96"/>
                  </a:cubicBezTo>
                  <a:lnTo>
                    <a:pt x="76" y="64"/>
                  </a:lnTo>
                  <a:close/>
                  <a:moveTo>
                    <a:pt x="76" y="192"/>
                  </a:moveTo>
                  <a:cubicBezTo>
                    <a:pt x="64" y="192"/>
                    <a:pt x="55" y="182"/>
                    <a:pt x="55" y="171"/>
                  </a:cubicBezTo>
                  <a:cubicBezTo>
                    <a:pt x="55" y="159"/>
                    <a:pt x="64" y="149"/>
                    <a:pt x="76" y="149"/>
                  </a:cubicBezTo>
                  <a:cubicBezTo>
                    <a:pt x="88" y="149"/>
                    <a:pt x="97" y="159"/>
                    <a:pt x="97" y="171"/>
                  </a:cubicBezTo>
                  <a:cubicBezTo>
                    <a:pt x="97" y="182"/>
                    <a:pt x="88" y="192"/>
                    <a:pt x="76" y="192"/>
                  </a:cubicBezTo>
                  <a:close/>
                  <a:moveTo>
                    <a:pt x="183" y="171"/>
                  </a:moveTo>
                  <a:cubicBezTo>
                    <a:pt x="183" y="182"/>
                    <a:pt x="173" y="192"/>
                    <a:pt x="161" y="192"/>
                  </a:cubicBezTo>
                  <a:cubicBezTo>
                    <a:pt x="150" y="192"/>
                    <a:pt x="140" y="182"/>
                    <a:pt x="140" y="171"/>
                  </a:cubicBezTo>
                  <a:cubicBezTo>
                    <a:pt x="140" y="159"/>
                    <a:pt x="150" y="149"/>
                    <a:pt x="161" y="149"/>
                  </a:cubicBezTo>
                  <a:cubicBezTo>
                    <a:pt x="173" y="149"/>
                    <a:pt x="183" y="159"/>
                    <a:pt x="183" y="171"/>
                  </a:cubicBezTo>
                  <a:close/>
                  <a:moveTo>
                    <a:pt x="233" y="280"/>
                  </a:moveTo>
                  <a:cubicBezTo>
                    <a:pt x="183" y="231"/>
                    <a:pt x="183" y="231"/>
                    <a:pt x="183" y="231"/>
                  </a:cubicBezTo>
                  <a:cubicBezTo>
                    <a:pt x="205" y="223"/>
                    <a:pt x="225" y="204"/>
                    <a:pt x="225" y="181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24"/>
                    <a:pt x="201" y="0"/>
                    <a:pt x="17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36" y="0"/>
                    <a:pt x="12" y="24"/>
                    <a:pt x="12" y="53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206"/>
                    <a:pt x="29" y="227"/>
                    <a:pt x="52" y="233"/>
                  </a:cubicBezTo>
                  <a:cubicBezTo>
                    <a:pt x="4" y="280"/>
                    <a:pt x="4" y="280"/>
                    <a:pt x="4" y="280"/>
                  </a:cubicBezTo>
                  <a:cubicBezTo>
                    <a:pt x="0" y="285"/>
                    <a:pt x="0" y="291"/>
                    <a:pt x="4" y="296"/>
                  </a:cubicBezTo>
                  <a:cubicBezTo>
                    <a:pt x="7" y="298"/>
                    <a:pt x="9" y="299"/>
                    <a:pt x="12" y="299"/>
                  </a:cubicBezTo>
                  <a:cubicBezTo>
                    <a:pt x="15" y="299"/>
                    <a:pt x="17" y="298"/>
                    <a:pt x="20" y="296"/>
                  </a:cubicBezTo>
                  <a:cubicBezTo>
                    <a:pt x="38" y="277"/>
                    <a:pt x="38" y="277"/>
                    <a:pt x="38" y="277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18" y="296"/>
                    <a:pt x="218" y="296"/>
                    <a:pt x="218" y="296"/>
                  </a:cubicBezTo>
                  <a:cubicBezTo>
                    <a:pt x="220" y="298"/>
                    <a:pt x="223" y="299"/>
                    <a:pt x="225" y="299"/>
                  </a:cubicBezTo>
                  <a:cubicBezTo>
                    <a:pt x="228" y="299"/>
                    <a:pt x="231" y="298"/>
                    <a:pt x="233" y="296"/>
                  </a:cubicBezTo>
                  <a:cubicBezTo>
                    <a:pt x="237" y="291"/>
                    <a:pt x="237" y="285"/>
                    <a:pt x="233" y="280"/>
                  </a:cubicBezTo>
                  <a:close/>
                  <a:moveTo>
                    <a:pt x="33" y="181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36"/>
                    <a:pt x="48" y="21"/>
                    <a:pt x="65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90" y="21"/>
                    <a:pt x="204" y="36"/>
                    <a:pt x="204" y="53"/>
                  </a:cubicBezTo>
                  <a:cubicBezTo>
                    <a:pt x="204" y="181"/>
                    <a:pt x="204" y="181"/>
                    <a:pt x="204" y="181"/>
                  </a:cubicBezTo>
                  <a:cubicBezTo>
                    <a:pt x="204" y="198"/>
                    <a:pt x="180" y="213"/>
                    <a:pt x="161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48" y="213"/>
                    <a:pt x="33" y="199"/>
                    <a:pt x="33" y="181"/>
                  </a:cubicBezTo>
                  <a:close/>
                  <a:moveTo>
                    <a:pt x="59" y="256"/>
                  </a:moveTo>
                  <a:cubicBezTo>
                    <a:pt x="80" y="235"/>
                    <a:pt x="80" y="235"/>
                    <a:pt x="80" y="235"/>
                  </a:cubicBezTo>
                  <a:cubicBezTo>
                    <a:pt x="157" y="235"/>
                    <a:pt x="157" y="235"/>
                    <a:pt x="157" y="235"/>
                  </a:cubicBezTo>
                  <a:cubicBezTo>
                    <a:pt x="178" y="256"/>
                    <a:pt x="178" y="256"/>
                    <a:pt x="178" y="256"/>
                  </a:cubicBezTo>
                  <a:lnTo>
                    <a:pt x="59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5" name="Group 509"/>
          <p:cNvGrpSpPr>
            <a:grpSpLocks noChangeAspect="1"/>
          </p:cNvGrpSpPr>
          <p:nvPr/>
        </p:nvGrpSpPr>
        <p:grpSpPr bwMode="auto">
          <a:xfrm>
            <a:off x="2423691" y="2921944"/>
            <a:ext cx="369676" cy="369676"/>
            <a:chOff x="6208" y="1868"/>
            <a:chExt cx="340" cy="340"/>
          </a:xfrm>
          <a:solidFill>
            <a:schemeClr val="accent6"/>
          </a:solidFill>
        </p:grpSpPr>
        <p:sp>
          <p:nvSpPr>
            <p:cNvPr id="296" name="Freeform 510"/>
            <p:cNvSpPr>
              <a:spLocks/>
            </p:cNvSpPr>
            <p:nvPr/>
          </p:nvSpPr>
          <p:spPr bwMode="auto">
            <a:xfrm>
              <a:off x="6338" y="2102"/>
              <a:ext cx="79" cy="14"/>
            </a:xfrm>
            <a:custGeom>
              <a:avLst/>
              <a:gdLst>
                <a:gd name="T0" fmla="*/ 14 w 79"/>
                <a:gd name="T1" fmla="*/ 0 h 14"/>
                <a:gd name="T2" fmla="*/ 0 w 79"/>
                <a:gd name="T3" fmla="*/ 14 h 14"/>
                <a:gd name="T4" fmla="*/ 79 w 79"/>
                <a:gd name="T5" fmla="*/ 14 h 14"/>
                <a:gd name="T6" fmla="*/ 65 w 79"/>
                <a:gd name="T7" fmla="*/ 0 h 14"/>
                <a:gd name="T8" fmla="*/ 14 w 79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4">
                  <a:moveTo>
                    <a:pt x="14" y="0"/>
                  </a:moveTo>
                  <a:lnTo>
                    <a:pt x="0" y="14"/>
                  </a:lnTo>
                  <a:lnTo>
                    <a:pt x="79" y="14"/>
                  </a:lnTo>
                  <a:lnTo>
                    <a:pt x="65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511"/>
            <p:cNvSpPr>
              <a:spLocks noEditPoints="1"/>
            </p:cNvSpPr>
            <p:nvPr/>
          </p:nvSpPr>
          <p:spPr bwMode="auto">
            <a:xfrm>
              <a:off x="6321" y="1960"/>
              <a:ext cx="113" cy="127"/>
            </a:xfrm>
            <a:custGeom>
              <a:avLst/>
              <a:gdLst>
                <a:gd name="T0" fmla="*/ 128 w 171"/>
                <a:gd name="T1" fmla="*/ 192 h 192"/>
                <a:gd name="T2" fmla="*/ 171 w 171"/>
                <a:gd name="T3" fmla="*/ 160 h 192"/>
                <a:gd name="T4" fmla="*/ 171 w 171"/>
                <a:gd name="T5" fmla="*/ 32 h 192"/>
                <a:gd name="T6" fmla="*/ 139 w 171"/>
                <a:gd name="T7" fmla="*/ 0 h 192"/>
                <a:gd name="T8" fmla="*/ 32 w 171"/>
                <a:gd name="T9" fmla="*/ 0 h 192"/>
                <a:gd name="T10" fmla="*/ 0 w 171"/>
                <a:gd name="T11" fmla="*/ 32 h 192"/>
                <a:gd name="T12" fmla="*/ 0 w 171"/>
                <a:gd name="T13" fmla="*/ 160 h 192"/>
                <a:gd name="T14" fmla="*/ 32 w 171"/>
                <a:gd name="T15" fmla="*/ 192 h 192"/>
                <a:gd name="T16" fmla="*/ 128 w 171"/>
                <a:gd name="T17" fmla="*/ 192 h 192"/>
                <a:gd name="T18" fmla="*/ 128 w 171"/>
                <a:gd name="T19" fmla="*/ 171 h 192"/>
                <a:gd name="T20" fmla="*/ 107 w 171"/>
                <a:gd name="T21" fmla="*/ 150 h 192"/>
                <a:gd name="T22" fmla="*/ 128 w 171"/>
                <a:gd name="T23" fmla="*/ 128 h 192"/>
                <a:gd name="T24" fmla="*/ 150 w 171"/>
                <a:gd name="T25" fmla="*/ 150 h 192"/>
                <a:gd name="T26" fmla="*/ 128 w 171"/>
                <a:gd name="T27" fmla="*/ 171 h 192"/>
                <a:gd name="T28" fmla="*/ 22 w 171"/>
                <a:gd name="T29" fmla="*/ 43 h 192"/>
                <a:gd name="T30" fmla="*/ 43 w 171"/>
                <a:gd name="T31" fmla="*/ 22 h 192"/>
                <a:gd name="T32" fmla="*/ 128 w 171"/>
                <a:gd name="T33" fmla="*/ 22 h 192"/>
                <a:gd name="T34" fmla="*/ 150 w 171"/>
                <a:gd name="T35" fmla="*/ 43 h 192"/>
                <a:gd name="T36" fmla="*/ 150 w 171"/>
                <a:gd name="T37" fmla="*/ 75 h 192"/>
                <a:gd name="T38" fmla="*/ 128 w 171"/>
                <a:gd name="T39" fmla="*/ 96 h 192"/>
                <a:gd name="T40" fmla="*/ 43 w 171"/>
                <a:gd name="T41" fmla="*/ 96 h 192"/>
                <a:gd name="T42" fmla="*/ 22 w 171"/>
                <a:gd name="T43" fmla="*/ 75 h 192"/>
                <a:gd name="T44" fmla="*/ 22 w 171"/>
                <a:gd name="T45" fmla="*/ 43 h 192"/>
                <a:gd name="T46" fmla="*/ 22 w 171"/>
                <a:gd name="T47" fmla="*/ 150 h 192"/>
                <a:gd name="T48" fmla="*/ 43 w 171"/>
                <a:gd name="T49" fmla="*/ 128 h 192"/>
                <a:gd name="T50" fmla="*/ 64 w 171"/>
                <a:gd name="T51" fmla="*/ 150 h 192"/>
                <a:gd name="T52" fmla="*/ 43 w 171"/>
                <a:gd name="T53" fmla="*/ 171 h 192"/>
                <a:gd name="T54" fmla="*/ 22 w 171"/>
                <a:gd name="T55" fmla="*/ 15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1" h="192">
                  <a:moveTo>
                    <a:pt x="128" y="192"/>
                  </a:moveTo>
                  <a:cubicBezTo>
                    <a:pt x="147" y="192"/>
                    <a:pt x="171" y="177"/>
                    <a:pt x="171" y="160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15"/>
                    <a:pt x="157" y="0"/>
                    <a:pt x="139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78"/>
                    <a:pt x="15" y="192"/>
                    <a:pt x="32" y="192"/>
                  </a:cubicBezTo>
                  <a:lnTo>
                    <a:pt x="128" y="192"/>
                  </a:lnTo>
                  <a:close/>
                  <a:moveTo>
                    <a:pt x="128" y="171"/>
                  </a:moveTo>
                  <a:cubicBezTo>
                    <a:pt x="117" y="171"/>
                    <a:pt x="107" y="161"/>
                    <a:pt x="107" y="150"/>
                  </a:cubicBezTo>
                  <a:cubicBezTo>
                    <a:pt x="107" y="138"/>
                    <a:pt x="117" y="128"/>
                    <a:pt x="128" y="128"/>
                  </a:cubicBezTo>
                  <a:cubicBezTo>
                    <a:pt x="140" y="128"/>
                    <a:pt x="150" y="138"/>
                    <a:pt x="150" y="150"/>
                  </a:cubicBezTo>
                  <a:cubicBezTo>
                    <a:pt x="150" y="161"/>
                    <a:pt x="140" y="171"/>
                    <a:pt x="128" y="171"/>
                  </a:cubicBezTo>
                  <a:close/>
                  <a:moveTo>
                    <a:pt x="22" y="43"/>
                  </a:moveTo>
                  <a:cubicBezTo>
                    <a:pt x="22" y="31"/>
                    <a:pt x="31" y="22"/>
                    <a:pt x="43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40" y="22"/>
                    <a:pt x="150" y="31"/>
                    <a:pt x="150" y="43"/>
                  </a:cubicBezTo>
                  <a:cubicBezTo>
                    <a:pt x="150" y="75"/>
                    <a:pt x="150" y="75"/>
                    <a:pt x="150" y="75"/>
                  </a:cubicBezTo>
                  <a:cubicBezTo>
                    <a:pt x="150" y="87"/>
                    <a:pt x="140" y="96"/>
                    <a:pt x="128" y="96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31" y="96"/>
                    <a:pt x="22" y="87"/>
                    <a:pt x="22" y="75"/>
                  </a:cubicBezTo>
                  <a:lnTo>
                    <a:pt x="22" y="43"/>
                  </a:lnTo>
                  <a:close/>
                  <a:moveTo>
                    <a:pt x="22" y="150"/>
                  </a:moveTo>
                  <a:cubicBezTo>
                    <a:pt x="22" y="138"/>
                    <a:pt x="31" y="128"/>
                    <a:pt x="43" y="128"/>
                  </a:cubicBezTo>
                  <a:cubicBezTo>
                    <a:pt x="55" y="128"/>
                    <a:pt x="64" y="138"/>
                    <a:pt x="64" y="150"/>
                  </a:cubicBezTo>
                  <a:cubicBezTo>
                    <a:pt x="64" y="161"/>
                    <a:pt x="55" y="171"/>
                    <a:pt x="43" y="171"/>
                  </a:cubicBezTo>
                  <a:cubicBezTo>
                    <a:pt x="31" y="171"/>
                    <a:pt x="22" y="161"/>
                    <a:pt x="22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512"/>
            <p:cNvSpPr>
              <a:spLocks noEditPoints="1"/>
            </p:cNvSpPr>
            <p:nvPr/>
          </p:nvSpPr>
          <p:spPr bwMode="auto">
            <a:xfrm>
              <a:off x="6208" y="186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0 w 512"/>
                <a:gd name="T11" fmla="*/ 413 h 512"/>
                <a:gd name="T12" fmla="*/ 362 w 512"/>
                <a:gd name="T13" fmla="*/ 416 h 512"/>
                <a:gd name="T14" fmla="*/ 355 w 512"/>
                <a:gd name="T15" fmla="*/ 413 h 512"/>
                <a:gd name="T16" fmla="*/ 337 w 512"/>
                <a:gd name="T17" fmla="*/ 394 h 512"/>
                <a:gd name="T18" fmla="*/ 175 w 512"/>
                <a:gd name="T19" fmla="*/ 394 h 512"/>
                <a:gd name="T20" fmla="*/ 157 w 512"/>
                <a:gd name="T21" fmla="*/ 413 h 512"/>
                <a:gd name="T22" fmla="*/ 149 w 512"/>
                <a:gd name="T23" fmla="*/ 416 h 512"/>
                <a:gd name="T24" fmla="*/ 141 w 512"/>
                <a:gd name="T25" fmla="*/ 413 h 512"/>
                <a:gd name="T26" fmla="*/ 141 w 512"/>
                <a:gd name="T27" fmla="*/ 397 h 512"/>
                <a:gd name="T28" fmla="*/ 189 w 512"/>
                <a:gd name="T29" fmla="*/ 350 h 512"/>
                <a:gd name="T30" fmla="*/ 149 w 512"/>
                <a:gd name="T31" fmla="*/ 298 h 512"/>
                <a:gd name="T32" fmla="*/ 149 w 512"/>
                <a:gd name="T33" fmla="*/ 170 h 512"/>
                <a:gd name="T34" fmla="*/ 202 w 512"/>
                <a:gd name="T35" fmla="*/ 117 h 512"/>
                <a:gd name="T36" fmla="*/ 309 w 512"/>
                <a:gd name="T37" fmla="*/ 117 h 512"/>
                <a:gd name="T38" fmla="*/ 362 w 512"/>
                <a:gd name="T39" fmla="*/ 170 h 512"/>
                <a:gd name="T40" fmla="*/ 362 w 512"/>
                <a:gd name="T41" fmla="*/ 298 h 512"/>
                <a:gd name="T42" fmla="*/ 320 w 512"/>
                <a:gd name="T43" fmla="*/ 348 h 512"/>
                <a:gd name="T44" fmla="*/ 370 w 512"/>
                <a:gd name="T45" fmla="*/ 397 h 512"/>
                <a:gd name="T46" fmla="*/ 370 w 512"/>
                <a:gd name="T47" fmla="*/ 4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0" y="413"/>
                  </a:moveTo>
                  <a:cubicBezTo>
                    <a:pt x="368" y="415"/>
                    <a:pt x="365" y="416"/>
                    <a:pt x="362" y="416"/>
                  </a:cubicBezTo>
                  <a:cubicBezTo>
                    <a:pt x="360" y="416"/>
                    <a:pt x="357" y="415"/>
                    <a:pt x="355" y="413"/>
                  </a:cubicBezTo>
                  <a:cubicBezTo>
                    <a:pt x="337" y="394"/>
                    <a:pt x="337" y="394"/>
                    <a:pt x="337" y="394"/>
                  </a:cubicBezTo>
                  <a:cubicBezTo>
                    <a:pt x="175" y="394"/>
                    <a:pt x="175" y="394"/>
                    <a:pt x="175" y="394"/>
                  </a:cubicBezTo>
                  <a:cubicBezTo>
                    <a:pt x="157" y="413"/>
                    <a:pt x="157" y="413"/>
                    <a:pt x="157" y="413"/>
                  </a:cubicBezTo>
                  <a:cubicBezTo>
                    <a:pt x="154" y="415"/>
                    <a:pt x="152" y="416"/>
                    <a:pt x="149" y="416"/>
                  </a:cubicBezTo>
                  <a:cubicBezTo>
                    <a:pt x="146" y="416"/>
                    <a:pt x="144" y="415"/>
                    <a:pt x="141" y="413"/>
                  </a:cubicBezTo>
                  <a:cubicBezTo>
                    <a:pt x="137" y="408"/>
                    <a:pt x="137" y="402"/>
                    <a:pt x="141" y="397"/>
                  </a:cubicBezTo>
                  <a:cubicBezTo>
                    <a:pt x="189" y="350"/>
                    <a:pt x="189" y="350"/>
                    <a:pt x="189" y="350"/>
                  </a:cubicBezTo>
                  <a:cubicBezTo>
                    <a:pt x="166" y="344"/>
                    <a:pt x="149" y="323"/>
                    <a:pt x="149" y="298"/>
                  </a:cubicBezTo>
                  <a:cubicBezTo>
                    <a:pt x="149" y="170"/>
                    <a:pt x="149" y="170"/>
                    <a:pt x="149" y="170"/>
                  </a:cubicBezTo>
                  <a:cubicBezTo>
                    <a:pt x="149" y="141"/>
                    <a:pt x="173" y="117"/>
                    <a:pt x="202" y="117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38" y="117"/>
                    <a:pt x="362" y="141"/>
                    <a:pt x="362" y="170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62" y="321"/>
                    <a:pt x="342" y="340"/>
                    <a:pt x="320" y="348"/>
                  </a:cubicBezTo>
                  <a:cubicBezTo>
                    <a:pt x="370" y="397"/>
                    <a:pt x="370" y="397"/>
                    <a:pt x="370" y="397"/>
                  </a:cubicBezTo>
                  <a:cubicBezTo>
                    <a:pt x="374" y="402"/>
                    <a:pt x="374" y="408"/>
                    <a:pt x="370" y="4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Rectangle 513"/>
            <p:cNvSpPr>
              <a:spLocks noChangeArrowheads="1"/>
            </p:cNvSpPr>
            <p:nvPr/>
          </p:nvSpPr>
          <p:spPr bwMode="auto">
            <a:xfrm>
              <a:off x="6349" y="1988"/>
              <a:ext cx="57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0" name="Group 516"/>
          <p:cNvGrpSpPr>
            <a:grpSpLocks noChangeAspect="1"/>
          </p:cNvGrpSpPr>
          <p:nvPr/>
        </p:nvGrpSpPr>
        <p:grpSpPr bwMode="auto">
          <a:xfrm>
            <a:off x="1924822" y="2921944"/>
            <a:ext cx="369676" cy="369676"/>
            <a:chOff x="5807" y="1879"/>
            <a:chExt cx="340" cy="340"/>
          </a:xfrm>
          <a:solidFill>
            <a:schemeClr val="accent6"/>
          </a:solidFill>
        </p:grpSpPr>
        <p:sp>
          <p:nvSpPr>
            <p:cNvPr id="301" name="Freeform 517"/>
            <p:cNvSpPr>
              <a:spLocks noEditPoints="1"/>
            </p:cNvSpPr>
            <p:nvPr/>
          </p:nvSpPr>
          <p:spPr bwMode="auto">
            <a:xfrm>
              <a:off x="5807" y="18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518"/>
            <p:cNvSpPr>
              <a:spLocks noEditPoints="1"/>
            </p:cNvSpPr>
            <p:nvPr/>
          </p:nvSpPr>
          <p:spPr bwMode="auto">
            <a:xfrm>
              <a:off x="5956" y="1971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3 h 64"/>
                <a:gd name="T12" fmla="*/ 21 w 64"/>
                <a:gd name="T13" fmla="*/ 32 h 64"/>
                <a:gd name="T14" fmla="*/ 32 w 64"/>
                <a:gd name="T15" fmla="*/ 22 h 64"/>
                <a:gd name="T16" fmla="*/ 42 w 64"/>
                <a:gd name="T17" fmla="*/ 32 h 64"/>
                <a:gd name="T18" fmla="*/ 32 w 64"/>
                <a:gd name="T19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5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49" y="64"/>
                    <a:pt x="64" y="50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lose/>
                  <a:moveTo>
                    <a:pt x="32" y="43"/>
                  </a:move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2"/>
                    <a:pt x="32" y="22"/>
                  </a:cubicBezTo>
                  <a:cubicBezTo>
                    <a:pt x="38" y="22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519"/>
            <p:cNvSpPr>
              <a:spLocks noEditPoints="1"/>
            </p:cNvSpPr>
            <p:nvPr/>
          </p:nvSpPr>
          <p:spPr bwMode="auto">
            <a:xfrm>
              <a:off x="5956" y="2028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520"/>
            <p:cNvSpPr>
              <a:spLocks noEditPoints="1"/>
            </p:cNvSpPr>
            <p:nvPr/>
          </p:nvSpPr>
          <p:spPr bwMode="auto">
            <a:xfrm>
              <a:off x="5956" y="2084"/>
              <a:ext cx="42" cy="43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3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49" y="64"/>
                    <a:pt x="64" y="50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3"/>
                  </a:move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Freeform 521"/>
            <p:cNvSpPr>
              <a:spLocks noEditPoints="1"/>
            </p:cNvSpPr>
            <p:nvPr/>
          </p:nvSpPr>
          <p:spPr bwMode="auto">
            <a:xfrm>
              <a:off x="5892" y="1943"/>
              <a:ext cx="170" cy="212"/>
            </a:xfrm>
            <a:custGeom>
              <a:avLst/>
              <a:gdLst>
                <a:gd name="T0" fmla="*/ 256 w 256"/>
                <a:gd name="T1" fmla="*/ 128 h 320"/>
                <a:gd name="T2" fmla="*/ 245 w 256"/>
                <a:gd name="T3" fmla="*/ 117 h 320"/>
                <a:gd name="T4" fmla="*/ 202 w 256"/>
                <a:gd name="T5" fmla="*/ 117 h 320"/>
                <a:gd name="T6" fmla="*/ 202 w 256"/>
                <a:gd name="T7" fmla="*/ 95 h 320"/>
                <a:gd name="T8" fmla="*/ 256 w 256"/>
                <a:gd name="T9" fmla="*/ 32 h 320"/>
                <a:gd name="T10" fmla="*/ 245 w 256"/>
                <a:gd name="T11" fmla="*/ 21 h 320"/>
                <a:gd name="T12" fmla="*/ 196 w 256"/>
                <a:gd name="T13" fmla="*/ 21 h 320"/>
                <a:gd name="T14" fmla="*/ 160 w 256"/>
                <a:gd name="T15" fmla="*/ 0 h 320"/>
                <a:gd name="T16" fmla="*/ 96 w 256"/>
                <a:gd name="T17" fmla="*/ 0 h 320"/>
                <a:gd name="T18" fmla="*/ 59 w 256"/>
                <a:gd name="T19" fmla="*/ 21 h 320"/>
                <a:gd name="T20" fmla="*/ 10 w 256"/>
                <a:gd name="T21" fmla="*/ 21 h 320"/>
                <a:gd name="T22" fmla="*/ 0 w 256"/>
                <a:gd name="T23" fmla="*/ 32 h 320"/>
                <a:gd name="T24" fmla="*/ 53 w 256"/>
                <a:gd name="T25" fmla="*/ 95 h 320"/>
                <a:gd name="T26" fmla="*/ 53 w 256"/>
                <a:gd name="T27" fmla="*/ 117 h 320"/>
                <a:gd name="T28" fmla="*/ 10 w 256"/>
                <a:gd name="T29" fmla="*/ 117 h 320"/>
                <a:gd name="T30" fmla="*/ 0 w 256"/>
                <a:gd name="T31" fmla="*/ 128 h 320"/>
                <a:gd name="T32" fmla="*/ 53 w 256"/>
                <a:gd name="T33" fmla="*/ 191 h 320"/>
                <a:gd name="T34" fmla="*/ 53 w 256"/>
                <a:gd name="T35" fmla="*/ 213 h 320"/>
                <a:gd name="T36" fmla="*/ 10 w 256"/>
                <a:gd name="T37" fmla="*/ 213 h 320"/>
                <a:gd name="T38" fmla="*/ 0 w 256"/>
                <a:gd name="T39" fmla="*/ 224 h 320"/>
                <a:gd name="T40" fmla="*/ 54 w 256"/>
                <a:gd name="T41" fmla="*/ 287 h 320"/>
                <a:gd name="T42" fmla="*/ 96 w 256"/>
                <a:gd name="T43" fmla="*/ 320 h 320"/>
                <a:gd name="T44" fmla="*/ 160 w 256"/>
                <a:gd name="T45" fmla="*/ 320 h 320"/>
                <a:gd name="T46" fmla="*/ 201 w 256"/>
                <a:gd name="T47" fmla="*/ 287 h 320"/>
                <a:gd name="T48" fmla="*/ 256 w 256"/>
                <a:gd name="T49" fmla="*/ 224 h 320"/>
                <a:gd name="T50" fmla="*/ 245 w 256"/>
                <a:gd name="T51" fmla="*/ 213 h 320"/>
                <a:gd name="T52" fmla="*/ 202 w 256"/>
                <a:gd name="T53" fmla="*/ 213 h 320"/>
                <a:gd name="T54" fmla="*/ 202 w 256"/>
                <a:gd name="T55" fmla="*/ 191 h 320"/>
                <a:gd name="T56" fmla="*/ 256 w 256"/>
                <a:gd name="T57" fmla="*/ 128 h 320"/>
                <a:gd name="T58" fmla="*/ 233 w 256"/>
                <a:gd name="T59" fmla="*/ 138 h 320"/>
                <a:gd name="T60" fmla="*/ 202 w 256"/>
                <a:gd name="T61" fmla="*/ 169 h 320"/>
                <a:gd name="T62" fmla="*/ 202 w 256"/>
                <a:gd name="T63" fmla="*/ 138 h 320"/>
                <a:gd name="T64" fmla="*/ 233 w 256"/>
                <a:gd name="T65" fmla="*/ 138 h 320"/>
                <a:gd name="T66" fmla="*/ 233 w 256"/>
                <a:gd name="T67" fmla="*/ 42 h 320"/>
                <a:gd name="T68" fmla="*/ 202 w 256"/>
                <a:gd name="T69" fmla="*/ 73 h 320"/>
                <a:gd name="T70" fmla="*/ 202 w 256"/>
                <a:gd name="T71" fmla="*/ 42 h 320"/>
                <a:gd name="T72" fmla="*/ 233 w 256"/>
                <a:gd name="T73" fmla="*/ 42 h 320"/>
                <a:gd name="T74" fmla="*/ 22 w 256"/>
                <a:gd name="T75" fmla="*/ 42 h 320"/>
                <a:gd name="T76" fmla="*/ 53 w 256"/>
                <a:gd name="T77" fmla="*/ 42 h 320"/>
                <a:gd name="T78" fmla="*/ 53 w 256"/>
                <a:gd name="T79" fmla="*/ 73 h 320"/>
                <a:gd name="T80" fmla="*/ 22 w 256"/>
                <a:gd name="T81" fmla="*/ 42 h 320"/>
                <a:gd name="T82" fmla="*/ 22 w 256"/>
                <a:gd name="T83" fmla="*/ 138 h 320"/>
                <a:gd name="T84" fmla="*/ 53 w 256"/>
                <a:gd name="T85" fmla="*/ 138 h 320"/>
                <a:gd name="T86" fmla="*/ 53 w 256"/>
                <a:gd name="T87" fmla="*/ 169 h 320"/>
                <a:gd name="T88" fmla="*/ 22 w 256"/>
                <a:gd name="T89" fmla="*/ 138 h 320"/>
                <a:gd name="T90" fmla="*/ 22 w 256"/>
                <a:gd name="T91" fmla="*/ 234 h 320"/>
                <a:gd name="T92" fmla="*/ 53 w 256"/>
                <a:gd name="T93" fmla="*/ 234 h 320"/>
                <a:gd name="T94" fmla="*/ 53 w 256"/>
                <a:gd name="T95" fmla="*/ 265 h 320"/>
                <a:gd name="T96" fmla="*/ 22 w 256"/>
                <a:gd name="T97" fmla="*/ 234 h 320"/>
                <a:gd name="T98" fmla="*/ 181 w 256"/>
                <a:gd name="T99" fmla="*/ 277 h 320"/>
                <a:gd name="T100" fmla="*/ 160 w 256"/>
                <a:gd name="T101" fmla="*/ 298 h 320"/>
                <a:gd name="T102" fmla="*/ 96 w 256"/>
                <a:gd name="T103" fmla="*/ 298 h 320"/>
                <a:gd name="T104" fmla="*/ 74 w 256"/>
                <a:gd name="T105" fmla="*/ 277 h 320"/>
                <a:gd name="T106" fmla="*/ 74 w 256"/>
                <a:gd name="T107" fmla="*/ 42 h 320"/>
                <a:gd name="T108" fmla="*/ 96 w 256"/>
                <a:gd name="T109" fmla="*/ 21 h 320"/>
                <a:gd name="T110" fmla="*/ 160 w 256"/>
                <a:gd name="T111" fmla="*/ 21 h 320"/>
                <a:gd name="T112" fmla="*/ 181 w 256"/>
                <a:gd name="T113" fmla="*/ 42 h 320"/>
                <a:gd name="T114" fmla="*/ 181 w 256"/>
                <a:gd name="T115" fmla="*/ 277 h 320"/>
                <a:gd name="T116" fmla="*/ 233 w 256"/>
                <a:gd name="T117" fmla="*/ 234 h 320"/>
                <a:gd name="T118" fmla="*/ 202 w 256"/>
                <a:gd name="T119" fmla="*/ 265 h 320"/>
                <a:gd name="T120" fmla="*/ 202 w 256"/>
                <a:gd name="T121" fmla="*/ 234 h 320"/>
                <a:gd name="T122" fmla="*/ 233 w 256"/>
                <a:gd name="T123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20">
                  <a:moveTo>
                    <a:pt x="256" y="128"/>
                  </a:moveTo>
                  <a:cubicBezTo>
                    <a:pt x="256" y="122"/>
                    <a:pt x="251" y="117"/>
                    <a:pt x="245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44" y="89"/>
                    <a:pt x="256" y="52"/>
                    <a:pt x="256" y="32"/>
                  </a:cubicBezTo>
                  <a:cubicBezTo>
                    <a:pt x="256" y="26"/>
                    <a:pt x="251" y="21"/>
                    <a:pt x="245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89" y="8"/>
                    <a:pt x="175" y="0"/>
                    <a:pt x="16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80" y="0"/>
                    <a:pt x="66" y="8"/>
                    <a:pt x="59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26"/>
                    <a:pt x="0" y="32"/>
                  </a:cubicBezTo>
                  <a:cubicBezTo>
                    <a:pt x="0" y="52"/>
                    <a:pt x="11" y="89"/>
                    <a:pt x="53" y="95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4" y="117"/>
                    <a:pt x="0" y="122"/>
                    <a:pt x="0" y="128"/>
                  </a:cubicBezTo>
                  <a:cubicBezTo>
                    <a:pt x="0" y="148"/>
                    <a:pt x="11" y="185"/>
                    <a:pt x="53" y="191"/>
                  </a:cubicBezTo>
                  <a:cubicBezTo>
                    <a:pt x="53" y="213"/>
                    <a:pt x="53" y="213"/>
                    <a:pt x="53" y="213"/>
                  </a:cubicBezTo>
                  <a:cubicBezTo>
                    <a:pt x="10" y="213"/>
                    <a:pt x="10" y="213"/>
                    <a:pt x="10" y="213"/>
                  </a:cubicBezTo>
                  <a:cubicBezTo>
                    <a:pt x="4" y="213"/>
                    <a:pt x="0" y="218"/>
                    <a:pt x="0" y="224"/>
                  </a:cubicBezTo>
                  <a:cubicBezTo>
                    <a:pt x="0" y="244"/>
                    <a:pt x="11" y="282"/>
                    <a:pt x="54" y="287"/>
                  </a:cubicBezTo>
                  <a:cubicBezTo>
                    <a:pt x="59" y="306"/>
                    <a:pt x="76" y="320"/>
                    <a:pt x="96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80" y="320"/>
                    <a:pt x="196" y="306"/>
                    <a:pt x="201" y="287"/>
                  </a:cubicBezTo>
                  <a:cubicBezTo>
                    <a:pt x="244" y="282"/>
                    <a:pt x="256" y="244"/>
                    <a:pt x="256" y="224"/>
                  </a:cubicBezTo>
                  <a:cubicBezTo>
                    <a:pt x="256" y="218"/>
                    <a:pt x="251" y="213"/>
                    <a:pt x="245" y="213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191"/>
                    <a:pt x="202" y="191"/>
                    <a:pt x="202" y="191"/>
                  </a:cubicBezTo>
                  <a:cubicBezTo>
                    <a:pt x="244" y="185"/>
                    <a:pt x="256" y="148"/>
                    <a:pt x="256" y="128"/>
                  </a:cubicBezTo>
                  <a:close/>
                  <a:moveTo>
                    <a:pt x="233" y="138"/>
                  </a:moveTo>
                  <a:cubicBezTo>
                    <a:pt x="230" y="149"/>
                    <a:pt x="223" y="165"/>
                    <a:pt x="202" y="169"/>
                  </a:cubicBezTo>
                  <a:cubicBezTo>
                    <a:pt x="202" y="138"/>
                    <a:pt x="202" y="138"/>
                    <a:pt x="202" y="138"/>
                  </a:cubicBezTo>
                  <a:lnTo>
                    <a:pt x="233" y="138"/>
                  </a:lnTo>
                  <a:close/>
                  <a:moveTo>
                    <a:pt x="233" y="42"/>
                  </a:moveTo>
                  <a:cubicBezTo>
                    <a:pt x="230" y="53"/>
                    <a:pt x="223" y="69"/>
                    <a:pt x="202" y="73"/>
                  </a:cubicBezTo>
                  <a:cubicBezTo>
                    <a:pt x="202" y="42"/>
                    <a:pt x="202" y="42"/>
                    <a:pt x="202" y="42"/>
                  </a:cubicBezTo>
                  <a:lnTo>
                    <a:pt x="233" y="42"/>
                  </a:lnTo>
                  <a:close/>
                  <a:moveTo>
                    <a:pt x="22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32" y="69"/>
                    <a:pt x="25" y="53"/>
                    <a:pt x="22" y="42"/>
                  </a:cubicBezTo>
                  <a:close/>
                  <a:moveTo>
                    <a:pt x="22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3" y="169"/>
                    <a:pt x="53" y="169"/>
                    <a:pt x="53" y="169"/>
                  </a:cubicBezTo>
                  <a:cubicBezTo>
                    <a:pt x="32" y="165"/>
                    <a:pt x="25" y="149"/>
                    <a:pt x="22" y="138"/>
                  </a:cubicBezTo>
                  <a:close/>
                  <a:moveTo>
                    <a:pt x="22" y="234"/>
                  </a:moveTo>
                  <a:cubicBezTo>
                    <a:pt x="53" y="234"/>
                    <a:pt x="53" y="234"/>
                    <a:pt x="53" y="234"/>
                  </a:cubicBezTo>
                  <a:cubicBezTo>
                    <a:pt x="53" y="265"/>
                    <a:pt x="53" y="265"/>
                    <a:pt x="53" y="265"/>
                  </a:cubicBezTo>
                  <a:cubicBezTo>
                    <a:pt x="32" y="261"/>
                    <a:pt x="25" y="245"/>
                    <a:pt x="22" y="234"/>
                  </a:cubicBezTo>
                  <a:close/>
                  <a:moveTo>
                    <a:pt x="181" y="277"/>
                  </a:moveTo>
                  <a:cubicBezTo>
                    <a:pt x="181" y="289"/>
                    <a:pt x="171" y="298"/>
                    <a:pt x="160" y="298"/>
                  </a:cubicBezTo>
                  <a:cubicBezTo>
                    <a:pt x="96" y="298"/>
                    <a:pt x="96" y="298"/>
                    <a:pt x="96" y="298"/>
                  </a:cubicBezTo>
                  <a:cubicBezTo>
                    <a:pt x="84" y="298"/>
                    <a:pt x="74" y="289"/>
                    <a:pt x="74" y="277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31"/>
                    <a:pt x="84" y="21"/>
                    <a:pt x="96" y="21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71" y="21"/>
                    <a:pt x="181" y="31"/>
                    <a:pt x="181" y="42"/>
                  </a:cubicBezTo>
                  <a:lnTo>
                    <a:pt x="181" y="277"/>
                  </a:lnTo>
                  <a:close/>
                  <a:moveTo>
                    <a:pt x="233" y="234"/>
                  </a:moveTo>
                  <a:cubicBezTo>
                    <a:pt x="230" y="245"/>
                    <a:pt x="223" y="261"/>
                    <a:pt x="202" y="265"/>
                  </a:cubicBezTo>
                  <a:cubicBezTo>
                    <a:pt x="202" y="234"/>
                    <a:pt x="202" y="234"/>
                    <a:pt x="202" y="234"/>
                  </a:cubicBezTo>
                  <a:lnTo>
                    <a:pt x="233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6" name="Group 524"/>
          <p:cNvGrpSpPr>
            <a:grpSpLocks noChangeAspect="1"/>
          </p:cNvGrpSpPr>
          <p:nvPr/>
        </p:nvGrpSpPr>
        <p:grpSpPr bwMode="auto">
          <a:xfrm>
            <a:off x="1424866" y="2921944"/>
            <a:ext cx="370763" cy="369676"/>
            <a:chOff x="5409" y="1864"/>
            <a:chExt cx="341" cy="340"/>
          </a:xfrm>
          <a:solidFill>
            <a:schemeClr val="accent6"/>
          </a:solidFill>
        </p:grpSpPr>
        <p:sp>
          <p:nvSpPr>
            <p:cNvPr id="307" name="Freeform 525"/>
            <p:cNvSpPr>
              <a:spLocks/>
            </p:cNvSpPr>
            <p:nvPr/>
          </p:nvSpPr>
          <p:spPr bwMode="auto">
            <a:xfrm>
              <a:off x="5509" y="1956"/>
              <a:ext cx="21" cy="20"/>
            </a:xfrm>
            <a:custGeom>
              <a:avLst/>
              <a:gdLst>
                <a:gd name="T0" fmla="*/ 31 w 31"/>
                <a:gd name="T1" fmla="*/ 31 h 31"/>
                <a:gd name="T2" fmla="*/ 31 w 31"/>
                <a:gd name="T3" fmla="*/ 0 h 31"/>
                <a:gd name="T4" fmla="*/ 0 w 31"/>
                <a:gd name="T5" fmla="*/ 0 h 31"/>
                <a:gd name="T6" fmla="*/ 31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31" y="31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1"/>
                    <a:pt x="10" y="27"/>
                    <a:pt x="31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Oval 526"/>
            <p:cNvSpPr>
              <a:spLocks noChangeArrowheads="1"/>
            </p:cNvSpPr>
            <p:nvPr/>
          </p:nvSpPr>
          <p:spPr bwMode="auto">
            <a:xfrm>
              <a:off x="5572" y="2027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527"/>
            <p:cNvSpPr>
              <a:spLocks/>
            </p:cNvSpPr>
            <p:nvPr/>
          </p:nvSpPr>
          <p:spPr bwMode="auto">
            <a:xfrm>
              <a:off x="5629" y="1956"/>
              <a:ext cx="20" cy="20"/>
            </a:xfrm>
            <a:custGeom>
              <a:avLst/>
              <a:gdLst>
                <a:gd name="T0" fmla="*/ 31 w 31"/>
                <a:gd name="T1" fmla="*/ 0 h 31"/>
                <a:gd name="T2" fmla="*/ 0 w 31"/>
                <a:gd name="T3" fmla="*/ 0 h 31"/>
                <a:gd name="T4" fmla="*/ 0 w 31"/>
                <a:gd name="T5" fmla="*/ 31 h 31"/>
                <a:gd name="T6" fmla="*/ 31 w 31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21" y="27"/>
                    <a:pt x="28" y="11"/>
                    <a:pt x="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Oval 528"/>
            <p:cNvSpPr>
              <a:spLocks noChangeArrowheads="1"/>
            </p:cNvSpPr>
            <p:nvPr/>
          </p:nvSpPr>
          <p:spPr bwMode="auto">
            <a:xfrm>
              <a:off x="5572" y="2083"/>
              <a:ext cx="14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529"/>
            <p:cNvSpPr>
              <a:spLocks/>
            </p:cNvSpPr>
            <p:nvPr/>
          </p:nvSpPr>
          <p:spPr bwMode="auto">
            <a:xfrm>
              <a:off x="5509" y="2083"/>
              <a:ext cx="21" cy="21"/>
            </a:xfrm>
            <a:custGeom>
              <a:avLst/>
              <a:gdLst>
                <a:gd name="T0" fmla="*/ 31 w 31"/>
                <a:gd name="T1" fmla="*/ 31 h 31"/>
                <a:gd name="T2" fmla="*/ 31 w 31"/>
                <a:gd name="T3" fmla="*/ 0 h 31"/>
                <a:gd name="T4" fmla="*/ 0 w 31"/>
                <a:gd name="T5" fmla="*/ 0 h 31"/>
                <a:gd name="T6" fmla="*/ 31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31" y="31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1"/>
                    <a:pt x="10" y="27"/>
                    <a:pt x="31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530"/>
            <p:cNvSpPr>
              <a:spLocks/>
            </p:cNvSpPr>
            <p:nvPr/>
          </p:nvSpPr>
          <p:spPr bwMode="auto">
            <a:xfrm>
              <a:off x="5509" y="2019"/>
              <a:ext cx="21" cy="21"/>
            </a:xfrm>
            <a:custGeom>
              <a:avLst/>
              <a:gdLst>
                <a:gd name="T0" fmla="*/ 31 w 31"/>
                <a:gd name="T1" fmla="*/ 31 h 31"/>
                <a:gd name="T2" fmla="*/ 31 w 31"/>
                <a:gd name="T3" fmla="*/ 0 h 31"/>
                <a:gd name="T4" fmla="*/ 0 w 31"/>
                <a:gd name="T5" fmla="*/ 0 h 31"/>
                <a:gd name="T6" fmla="*/ 31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31" y="31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1"/>
                    <a:pt x="10" y="27"/>
                    <a:pt x="31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531"/>
            <p:cNvSpPr>
              <a:spLocks/>
            </p:cNvSpPr>
            <p:nvPr/>
          </p:nvSpPr>
          <p:spPr bwMode="auto">
            <a:xfrm>
              <a:off x="5629" y="2083"/>
              <a:ext cx="20" cy="21"/>
            </a:xfrm>
            <a:custGeom>
              <a:avLst/>
              <a:gdLst>
                <a:gd name="T0" fmla="*/ 0 w 31"/>
                <a:gd name="T1" fmla="*/ 31 h 31"/>
                <a:gd name="T2" fmla="*/ 31 w 31"/>
                <a:gd name="T3" fmla="*/ 0 h 31"/>
                <a:gd name="T4" fmla="*/ 0 w 31"/>
                <a:gd name="T5" fmla="*/ 0 h 31"/>
                <a:gd name="T6" fmla="*/ 0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0" y="31"/>
                  </a:moveTo>
                  <a:cubicBezTo>
                    <a:pt x="21" y="27"/>
                    <a:pt x="28" y="11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532"/>
            <p:cNvSpPr>
              <a:spLocks noEditPoints="1"/>
            </p:cNvSpPr>
            <p:nvPr/>
          </p:nvSpPr>
          <p:spPr bwMode="auto">
            <a:xfrm>
              <a:off x="5409" y="1864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213 h 512"/>
                <a:gd name="T12" fmla="*/ 384 w 512"/>
                <a:gd name="T13" fmla="*/ 224 h 512"/>
                <a:gd name="T14" fmla="*/ 330 w 512"/>
                <a:gd name="T15" fmla="*/ 287 h 512"/>
                <a:gd name="T16" fmla="*/ 330 w 512"/>
                <a:gd name="T17" fmla="*/ 309 h 512"/>
                <a:gd name="T18" fmla="*/ 373 w 512"/>
                <a:gd name="T19" fmla="*/ 309 h 512"/>
                <a:gd name="T20" fmla="*/ 384 w 512"/>
                <a:gd name="T21" fmla="*/ 320 h 512"/>
                <a:gd name="T22" fmla="*/ 329 w 512"/>
                <a:gd name="T23" fmla="*/ 383 h 512"/>
                <a:gd name="T24" fmla="*/ 288 w 512"/>
                <a:gd name="T25" fmla="*/ 416 h 512"/>
                <a:gd name="T26" fmla="*/ 224 w 512"/>
                <a:gd name="T27" fmla="*/ 416 h 512"/>
                <a:gd name="T28" fmla="*/ 182 w 512"/>
                <a:gd name="T29" fmla="*/ 383 h 512"/>
                <a:gd name="T30" fmla="*/ 128 w 512"/>
                <a:gd name="T31" fmla="*/ 320 h 512"/>
                <a:gd name="T32" fmla="*/ 138 w 512"/>
                <a:gd name="T33" fmla="*/ 309 h 512"/>
                <a:gd name="T34" fmla="*/ 181 w 512"/>
                <a:gd name="T35" fmla="*/ 309 h 512"/>
                <a:gd name="T36" fmla="*/ 181 w 512"/>
                <a:gd name="T37" fmla="*/ 287 h 512"/>
                <a:gd name="T38" fmla="*/ 128 w 512"/>
                <a:gd name="T39" fmla="*/ 224 h 512"/>
                <a:gd name="T40" fmla="*/ 138 w 512"/>
                <a:gd name="T41" fmla="*/ 213 h 512"/>
                <a:gd name="T42" fmla="*/ 181 w 512"/>
                <a:gd name="T43" fmla="*/ 213 h 512"/>
                <a:gd name="T44" fmla="*/ 181 w 512"/>
                <a:gd name="T45" fmla="*/ 191 h 512"/>
                <a:gd name="T46" fmla="*/ 128 w 512"/>
                <a:gd name="T47" fmla="*/ 128 h 512"/>
                <a:gd name="T48" fmla="*/ 138 w 512"/>
                <a:gd name="T49" fmla="*/ 117 h 512"/>
                <a:gd name="T50" fmla="*/ 187 w 512"/>
                <a:gd name="T51" fmla="*/ 117 h 512"/>
                <a:gd name="T52" fmla="*/ 224 w 512"/>
                <a:gd name="T53" fmla="*/ 96 h 512"/>
                <a:gd name="T54" fmla="*/ 288 w 512"/>
                <a:gd name="T55" fmla="*/ 96 h 512"/>
                <a:gd name="T56" fmla="*/ 324 w 512"/>
                <a:gd name="T57" fmla="*/ 117 h 512"/>
                <a:gd name="T58" fmla="*/ 373 w 512"/>
                <a:gd name="T59" fmla="*/ 117 h 512"/>
                <a:gd name="T60" fmla="*/ 384 w 512"/>
                <a:gd name="T61" fmla="*/ 128 h 512"/>
                <a:gd name="T62" fmla="*/ 330 w 512"/>
                <a:gd name="T63" fmla="*/ 191 h 512"/>
                <a:gd name="T64" fmla="*/ 330 w 512"/>
                <a:gd name="T65" fmla="*/ 213 h 512"/>
                <a:gd name="T66" fmla="*/ 373 w 512"/>
                <a:gd name="T67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213"/>
                  </a:moveTo>
                  <a:cubicBezTo>
                    <a:pt x="379" y="213"/>
                    <a:pt x="384" y="218"/>
                    <a:pt x="384" y="224"/>
                  </a:cubicBezTo>
                  <a:cubicBezTo>
                    <a:pt x="384" y="244"/>
                    <a:pt x="372" y="281"/>
                    <a:pt x="330" y="287"/>
                  </a:cubicBezTo>
                  <a:cubicBezTo>
                    <a:pt x="330" y="309"/>
                    <a:pt x="330" y="309"/>
                    <a:pt x="330" y="309"/>
                  </a:cubicBezTo>
                  <a:cubicBezTo>
                    <a:pt x="373" y="309"/>
                    <a:pt x="373" y="309"/>
                    <a:pt x="373" y="309"/>
                  </a:cubicBezTo>
                  <a:cubicBezTo>
                    <a:pt x="379" y="309"/>
                    <a:pt x="384" y="314"/>
                    <a:pt x="384" y="320"/>
                  </a:cubicBezTo>
                  <a:cubicBezTo>
                    <a:pt x="384" y="340"/>
                    <a:pt x="372" y="378"/>
                    <a:pt x="329" y="383"/>
                  </a:cubicBezTo>
                  <a:cubicBezTo>
                    <a:pt x="324" y="402"/>
                    <a:pt x="308" y="416"/>
                    <a:pt x="288" y="416"/>
                  </a:cubicBezTo>
                  <a:cubicBezTo>
                    <a:pt x="224" y="416"/>
                    <a:pt x="224" y="416"/>
                    <a:pt x="224" y="416"/>
                  </a:cubicBezTo>
                  <a:cubicBezTo>
                    <a:pt x="204" y="416"/>
                    <a:pt x="187" y="402"/>
                    <a:pt x="182" y="383"/>
                  </a:cubicBezTo>
                  <a:cubicBezTo>
                    <a:pt x="139" y="378"/>
                    <a:pt x="128" y="340"/>
                    <a:pt x="128" y="320"/>
                  </a:cubicBezTo>
                  <a:cubicBezTo>
                    <a:pt x="128" y="314"/>
                    <a:pt x="132" y="309"/>
                    <a:pt x="138" y="309"/>
                  </a:cubicBezTo>
                  <a:cubicBezTo>
                    <a:pt x="181" y="309"/>
                    <a:pt x="181" y="309"/>
                    <a:pt x="181" y="309"/>
                  </a:cubicBezTo>
                  <a:cubicBezTo>
                    <a:pt x="181" y="287"/>
                    <a:pt x="181" y="287"/>
                    <a:pt x="181" y="287"/>
                  </a:cubicBezTo>
                  <a:cubicBezTo>
                    <a:pt x="139" y="281"/>
                    <a:pt x="128" y="244"/>
                    <a:pt x="128" y="224"/>
                  </a:cubicBezTo>
                  <a:cubicBezTo>
                    <a:pt x="128" y="218"/>
                    <a:pt x="132" y="213"/>
                    <a:pt x="138" y="213"/>
                  </a:cubicBezTo>
                  <a:cubicBezTo>
                    <a:pt x="181" y="213"/>
                    <a:pt x="181" y="213"/>
                    <a:pt x="181" y="213"/>
                  </a:cubicBezTo>
                  <a:cubicBezTo>
                    <a:pt x="181" y="191"/>
                    <a:pt x="181" y="191"/>
                    <a:pt x="181" y="191"/>
                  </a:cubicBezTo>
                  <a:cubicBezTo>
                    <a:pt x="139" y="185"/>
                    <a:pt x="128" y="148"/>
                    <a:pt x="128" y="128"/>
                  </a:cubicBezTo>
                  <a:cubicBezTo>
                    <a:pt x="128" y="122"/>
                    <a:pt x="132" y="117"/>
                    <a:pt x="138" y="117"/>
                  </a:cubicBezTo>
                  <a:cubicBezTo>
                    <a:pt x="187" y="117"/>
                    <a:pt x="187" y="117"/>
                    <a:pt x="187" y="117"/>
                  </a:cubicBezTo>
                  <a:cubicBezTo>
                    <a:pt x="194" y="104"/>
                    <a:pt x="208" y="96"/>
                    <a:pt x="224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303" y="96"/>
                    <a:pt x="317" y="104"/>
                    <a:pt x="324" y="117"/>
                  </a:cubicBezTo>
                  <a:cubicBezTo>
                    <a:pt x="373" y="117"/>
                    <a:pt x="373" y="117"/>
                    <a:pt x="373" y="117"/>
                  </a:cubicBezTo>
                  <a:cubicBezTo>
                    <a:pt x="379" y="117"/>
                    <a:pt x="384" y="122"/>
                    <a:pt x="384" y="128"/>
                  </a:cubicBezTo>
                  <a:cubicBezTo>
                    <a:pt x="384" y="148"/>
                    <a:pt x="372" y="185"/>
                    <a:pt x="330" y="191"/>
                  </a:cubicBezTo>
                  <a:cubicBezTo>
                    <a:pt x="330" y="213"/>
                    <a:pt x="330" y="213"/>
                    <a:pt x="330" y="213"/>
                  </a:cubicBezTo>
                  <a:lnTo>
                    <a:pt x="373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533"/>
            <p:cNvSpPr>
              <a:spLocks noEditPoints="1"/>
            </p:cNvSpPr>
            <p:nvPr/>
          </p:nvSpPr>
          <p:spPr bwMode="auto">
            <a:xfrm>
              <a:off x="5544" y="1942"/>
              <a:ext cx="71" cy="184"/>
            </a:xfrm>
            <a:custGeom>
              <a:avLst/>
              <a:gdLst>
                <a:gd name="T0" fmla="*/ 86 w 107"/>
                <a:gd name="T1" fmla="*/ 0 h 277"/>
                <a:gd name="T2" fmla="*/ 22 w 107"/>
                <a:gd name="T3" fmla="*/ 0 h 277"/>
                <a:gd name="T4" fmla="*/ 0 w 107"/>
                <a:gd name="T5" fmla="*/ 21 h 277"/>
                <a:gd name="T6" fmla="*/ 0 w 107"/>
                <a:gd name="T7" fmla="*/ 256 h 277"/>
                <a:gd name="T8" fmla="*/ 22 w 107"/>
                <a:gd name="T9" fmla="*/ 277 h 277"/>
                <a:gd name="T10" fmla="*/ 86 w 107"/>
                <a:gd name="T11" fmla="*/ 277 h 277"/>
                <a:gd name="T12" fmla="*/ 107 w 107"/>
                <a:gd name="T13" fmla="*/ 256 h 277"/>
                <a:gd name="T14" fmla="*/ 107 w 107"/>
                <a:gd name="T15" fmla="*/ 21 h 277"/>
                <a:gd name="T16" fmla="*/ 86 w 107"/>
                <a:gd name="T17" fmla="*/ 0 h 277"/>
                <a:gd name="T18" fmla="*/ 54 w 107"/>
                <a:gd name="T19" fmla="*/ 256 h 277"/>
                <a:gd name="T20" fmla="*/ 22 w 107"/>
                <a:gd name="T21" fmla="*/ 224 h 277"/>
                <a:gd name="T22" fmla="*/ 54 w 107"/>
                <a:gd name="T23" fmla="*/ 192 h 277"/>
                <a:gd name="T24" fmla="*/ 86 w 107"/>
                <a:gd name="T25" fmla="*/ 224 h 277"/>
                <a:gd name="T26" fmla="*/ 54 w 107"/>
                <a:gd name="T27" fmla="*/ 256 h 277"/>
                <a:gd name="T28" fmla="*/ 54 w 107"/>
                <a:gd name="T29" fmla="*/ 171 h 277"/>
                <a:gd name="T30" fmla="*/ 22 w 107"/>
                <a:gd name="T31" fmla="*/ 139 h 277"/>
                <a:gd name="T32" fmla="*/ 54 w 107"/>
                <a:gd name="T33" fmla="*/ 107 h 277"/>
                <a:gd name="T34" fmla="*/ 86 w 107"/>
                <a:gd name="T35" fmla="*/ 139 h 277"/>
                <a:gd name="T36" fmla="*/ 54 w 107"/>
                <a:gd name="T37" fmla="*/ 171 h 277"/>
                <a:gd name="T38" fmla="*/ 54 w 107"/>
                <a:gd name="T39" fmla="*/ 85 h 277"/>
                <a:gd name="T40" fmla="*/ 22 w 107"/>
                <a:gd name="T41" fmla="*/ 53 h 277"/>
                <a:gd name="T42" fmla="*/ 54 w 107"/>
                <a:gd name="T43" fmla="*/ 21 h 277"/>
                <a:gd name="T44" fmla="*/ 86 w 107"/>
                <a:gd name="T45" fmla="*/ 53 h 277"/>
                <a:gd name="T46" fmla="*/ 54 w 107"/>
                <a:gd name="T47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277">
                  <a:moveTo>
                    <a:pt x="8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8"/>
                    <a:pt x="10" y="277"/>
                    <a:pt x="22" y="277"/>
                  </a:cubicBezTo>
                  <a:cubicBezTo>
                    <a:pt x="86" y="277"/>
                    <a:pt x="86" y="277"/>
                    <a:pt x="86" y="277"/>
                  </a:cubicBezTo>
                  <a:cubicBezTo>
                    <a:pt x="97" y="277"/>
                    <a:pt x="107" y="268"/>
                    <a:pt x="107" y="256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10"/>
                    <a:pt x="97" y="0"/>
                    <a:pt x="86" y="0"/>
                  </a:cubicBezTo>
                  <a:close/>
                  <a:moveTo>
                    <a:pt x="54" y="256"/>
                  </a:moveTo>
                  <a:cubicBezTo>
                    <a:pt x="36" y="256"/>
                    <a:pt x="22" y="242"/>
                    <a:pt x="22" y="224"/>
                  </a:cubicBezTo>
                  <a:cubicBezTo>
                    <a:pt x="22" y="206"/>
                    <a:pt x="36" y="192"/>
                    <a:pt x="54" y="192"/>
                  </a:cubicBezTo>
                  <a:cubicBezTo>
                    <a:pt x="71" y="192"/>
                    <a:pt x="86" y="206"/>
                    <a:pt x="86" y="224"/>
                  </a:cubicBezTo>
                  <a:cubicBezTo>
                    <a:pt x="86" y="242"/>
                    <a:pt x="71" y="256"/>
                    <a:pt x="54" y="256"/>
                  </a:cubicBezTo>
                  <a:close/>
                  <a:moveTo>
                    <a:pt x="54" y="171"/>
                  </a:moveTo>
                  <a:cubicBezTo>
                    <a:pt x="36" y="171"/>
                    <a:pt x="22" y="156"/>
                    <a:pt x="22" y="139"/>
                  </a:cubicBezTo>
                  <a:cubicBezTo>
                    <a:pt x="22" y="121"/>
                    <a:pt x="36" y="107"/>
                    <a:pt x="54" y="107"/>
                  </a:cubicBezTo>
                  <a:cubicBezTo>
                    <a:pt x="71" y="107"/>
                    <a:pt x="86" y="121"/>
                    <a:pt x="86" y="139"/>
                  </a:cubicBezTo>
                  <a:cubicBezTo>
                    <a:pt x="86" y="156"/>
                    <a:pt x="71" y="171"/>
                    <a:pt x="54" y="171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6"/>
                    <a:pt x="36" y="21"/>
                    <a:pt x="54" y="21"/>
                  </a:cubicBezTo>
                  <a:cubicBezTo>
                    <a:pt x="71" y="21"/>
                    <a:pt x="86" y="36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534"/>
            <p:cNvSpPr>
              <a:spLocks/>
            </p:cNvSpPr>
            <p:nvPr/>
          </p:nvSpPr>
          <p:spPr bwMode="auto">
            <a:xfrm>
              <a:off x="5629" y="2019"/>
              <a:ext cx="20" cy="21"/>
            </a:xfrm>
            <a:custGeom>
              <a:avLst/>
              <a:gdLst>
                <a:gd name="T0" fmla="*/ 0 w 31"/>
                <a:gd name="T1" fmla="*/ 31 h 31"/>
                <a:gd name="T2" fmla="*/ 31 w 31"/>
                <a:gd name="T3" fmla="*/ 0 h 31"/>
                <a:gd name="T4" fmla="*/ 0 w 31"/>
                <a:gd name="T5" fmla="*/ 0 h 31"/>
                <a:gd name="T6" fmla="*/ 0 w 31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0" y="31"/>
                  </a:moveTo>
                  <a:cubicBezTo>
                    <a:pt x="21" y="27"/>
                    <a:pt x="28" y="11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Oval 535"/>
            <p:cNvSpPr>
              <a:spLocks noChangeArrowheads="1"/>
            </p:cNvSpPr>
            <p:nvPr/>
          </p:nvSpPr>
          <p:spPr bwMode="auto">
            <a:xfrm>
              <a:off x="5572" y="1970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18" name="Group 538"/>
          <p:cNvGrpSpPr>
            <a:grpSpLocks noChangeAspect="1"/>
          </p:cNvGrpSpPr>
          <p:nvPr/>
        </p:nvGrpSpPr>
        <p:grpSpPr bwMode="auto">
          <a:xfrm>
            <a:off x="925997" y="2921946"/>
            <a:ext cx="369676" cy="370763"/>
            <a:chOff x="5044" y="1889"/>
            <a:chExt cx="340" cy="341"/>
          </a:xfrm>
          <a:solidFill>
            <a:schemeClr val="accent6"/>
          </a:solidFill>
        </p:grpSpPr>
        <p:sp>
          <p:nvSpPr>
            <p:cNvPr id="319" name="Freeform 539"/>
            <p:cNvSpPr>
              <a:spLocks noEditPoints="1"/>
            </p:cNvSpPr>
            <p:nvPr/>
          </p:nvSpPr>
          <p:spPr bwMode="auto">
            <a:xfrm>
              <a:off x="5164" y="1953"/>
              <a:ext cx="99" cy="213"/>
            </a:xfrm>
            <a:custGeom>
              <a:avLst/>
              <a:gdLst>
                <a:gd name="T0" fmla="*/ 107 w 149"/>
                <a:gd name="T1" fmla="*/ 320 h 320"/>
                <a:gd name="T2" fmla="*/ 43 w 149"/>
                <a:gd name="T3" fmla="*/ 320 h 320"/>
                <a:gd name="T4" fmla="*/ 0 w 149"/>
                <a:gd name="T5" fmla="*/ 277 h 320"/>
                <a:gd name="T6" fmla="*/ 0 w 149"/>
                <a:gd name="T7" fmla="*/ 42 h 320"/>
                <a:gd name="T8" fmla="*/ 43 w 149"/>
                <a:gd name="T9" fmla="*/ 0 h 320"/>
                <a:gd name="T10" fmla="*/ 107 w 149"/>
                <a:gd name="T11" fmla="*/ 0 h 320"/>
                <a:gd name="T12" fmla="*/ 149 w 149"/>
                <a:gd name="T13" fmla="*/ 42 h 320"/>
                <a:gd name="T14" fmla="*/ 149 w 149"/>
                <a:gd name="T15" fmla="*/ 277 h 320"/>
                <a:gd name="T16" fmla="*/ 107 w 149"/>
                <a:gd name="T17" fmla="*/ 320 h 320"/>
                <a:gd name="T18" fmla="*/ 43 w 149"/>
                <a:gd name="T19" fmla="*/ 21 h 320"/>
                <a:gd name="T20" fmla="*/ 21 w 149"/>
                <a:gd name="T21" fmla="*/ 42 h 320"/>
                <a:gd name="T22" fmla="*/ 21 w 149"/>
                <a:gd name="T23" fmla="*/ 277 h 320"/>
                <a:gd name="T24" fmla="*/ 43 w 149"/>
                <a:gd name="T25" fmla="*/ 298 h 320"/>
                <a:gd name="T26" fmla="*/ 107 w 149"/>
                <a:gd name="T27" fmla="*/ 298 h 320"/>
                <a:gd name="T28" fmla="*/ 128 w 149"/>
                <a:gd name="T29" fmla="*/ 277 h 320"/>
                <a:gd name="T30" fmla="*/ 128 w 149"/>
                <a:gd name="T31" fmla="*/ 42 h 320"/>
                <a:gd name="T32" fmla="*/ 107 w 149"/>
                <a:gd name="T33" fmla="*/ 21 h 320"/>
                <a:gd name="T34" fmla="*/ 43 w 149"/>
                <a:gd name="T35" fmla="*/ 21 h 320"/>
                <a:gd name="T36" fmla="*/ 75 w 149"/>
                <a:gd name="T37" fmla="*/ 106 h 320"/>
                <a:gd name="T38" fmla="*/ 43 w 149"/>
                <a:gd name="T39" fmla="*/ 74 h 320"/>
                <a:gd name="T40" fmla="*/ 75 w 149"/>
                <a:gd name="T41" fmla="*/ 42 h 320"/>
                <a:gd name="T42" fmla="*/ 107 w 149"/>
                <a:gd name="T43" fmla="*/ 74 h 320"/>
                <a:gd name="T44" fmla="*/ 75 w 149"/>
                <a:gd name="T45" fmla="*/ 106 h 320"/>
                <a:gd name="T46" fmla="*/ 75 w 149"/>
                <a:gd name="T47" fmla="*/ 64 h 320"/>
                <a:gd name="T48" fmla="*/ 64 w 149"/>
                <a:gd name="T49" fmla="*/ 74 h 320"/>
                <a:gd name="T50" fmla="*/ 75 w 149"/>
                <a:gd name="T51" fmla="*/ 85 h 320"/>
                <a:gd name="T52" fmla="*/ 85 w 149"/>
                <a:gd name="T53" fmla="*/ 74 h 320"/>
                <a:gd name="T54" fmla="*/ 75 w 149"/>
                <a:gd name="T55" fmla="*/ 64 h 320"/>
                <a:gd name="T56" fmla="*/ 75 w 149"/>
                <a:gd name="T57" fmla="*/ 192 h 320"/>
                <a:gd name="T58" fmla="*/ 43 w 149"/>
                <a:gd name="T59" fmla="*/ 160 h 320"/>
                <a:gd name="T60" fmla="*/ 75 w 149"/>
                <a:gd name="T61" fmla="*/ 128 h 320"/>
                <a:gd name="T62" fmla="*/ 107 w 149"/>
                <a:gd name="T63" fmla="*/ 160 h 320"/>
                <a:gd name="T64" fmla="*/ 75 w 149"/>
                <a:gd name="T65" fmla="*/ 192 h 320"/>
                <a:gd name="T66" fmla="*/ 75 w 149"/>
                <a:gd name="T67" fmla="*/ 149 h 320"/>
                <a:gd name="T68" fmla="*/ 64 w 149"/>
                <a:gd name="T69" fmla="*/ 160 h 320"/>
                <a:gd name="T70" fmla="*/ 75 w 149"/>
                <a:gd name="T71" fmla="*/ 170 h 320"/>
                <a:gd name="T72" fmla="*/ 85 w 149"/>
                <a:gd name="T73" fmla="*/ 160 h 320"/>
                <a:gd name="T74" fmla="*/ 75 w 149"/>
                <a:gd name="T75" fmla="*/ 149 h 320"/>
                <a:gd name="T76" fmla="*/ 75 w 149"/>
                <a:gd name="T77" fmla="*/ 277 h 320"/>
                <a:gd name="T78" fmla="*/ 43 w 149"/>
                <a:gd name="T79" fmla="*/ 245 h 320"/>
                <a:gd name="T80" fmla="*/ 75 w 149"/>
                <a:gd name="T81" fmla="*/ 213 h 320"/>
                <a:gd name="T82" fmla="*/ 107 w 149"/>
                <a:gd name="T83" fmla="*/ 245 h 320"/>
                <a:gd name="T84" fmla="*/ 75 w 149"/>
                <a:gd name="T85" fmla="*/ 277 h 320"/>
                <a:gd name="T86" fmla="*/ 75 w 149"/>
                <a:gd name="T87" fmla="*/ 234 h 320"/>
                <a:gd name="T88" fmla="*/ 64 w 149"/>
                <a:gd name="T89" fmla="*/ 245 h 320"/>
                <a:gd name="T90" fmla="*/ 75 w 149"/>
                <a:gd name="T91" fmla="*/ 256 h 320"/>
                <a:gd name="T92" fmla="*/ 85 w 149"/>
                <a:gd name="T93" fmla="*/ 245 h 320"/>
                <a:gd name="T94" fmla="*/ 75 w 149"/>
                <a:gd name="T95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9" h="320">
                  <a:moveTo>
                    <a:pt x="107" y="320"/>
                  </a:moveTo>
                  <a:cubicBezTo>
                    <a:pt x="43" y="320"/>
                    <a:pt x="43" y="320"/>
                    <a:pt x="43" y="320"/>
                  </a:cubicBezTo>
                  <a:cubicBezTo>
                    <a:pt x="19" y="320"/>
                    <a:pt x="0" y="301"/>
                    <a:pt x="0" y="27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30" y="0"/>
                    <a:pt x="149" y="19"/>
                    <a:pt x="149" y="42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301"/>
                    <a:pt x="130" y="320"/>
                    <a:pt x="107" y="320"/>
                  </a:cubicBezTo>
                  <a:close/>
                  <a:moveTo>
                    <a:pt x="43" y="21"/>
                  </a:moveTo>
                  <a:cubicBezTo>
                    <a:pt x="31" y="21"/>
                    <a:pt x="21" y="31"/>
                    <a:pt x="21" y="42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21" y="289"/>
                    <a:pt x="31" y="298"/>
                    <a:pt x="43" y="298"/>
                  </a:cubicBezTo>
                  <a:cubicBezTo>
                    <a:pt x="107" y="298"/>
                    <a:pt x="107" y="298"/>
                    <a:pt x="107" y="298"/>
                  </a:cubicBezTo>
                  <a:cubicBezTo>
                    <a:pt x="118" y="298"/>
                    <a:pt x="128" y="289"/>
                    <a:pt x="128" y="277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31"/>
                    <a:pt x="118" y="21"/>
                    <a:pt x="107" y="21"/>
                  </a:cubicBezTo>
                  <a:lnTo>
                    <a:pt x="43" y="21"/>
                  </a:lnTo>
                  <a:close/>
                  <a:moveTo>
                    <a:pt x="75" y="106"/>
                  </a:moveTo>
                  <a:cubicBezTo>
                    <a:pt x="57" y="106"/>
                    <a:pt x="43" y="92"/>
                    <a:pt x="43" y="74"/>
                  </a:cubicBezTo>
                  <a:cubicBezTo>
                    <a:pt x="43" y="57"/>
                    <a:pt x="57" y="42"/>
                    <a:pt x="75" y="42"/>
                  </a:cubicBezTo>
                  <a:cubicBezTo>
                    <a:pt x="92" y="42"/>
                    <a:pt x="107" y="57"/>
                    <a:pt x="107" y="74"/>
                  </a:cubicBezTo>
                  <a:cubicBezTo>
                    <a:pt x="107" y="92"/>
                    <a:pt x="92" y="106"/>
                    <a:pt x="75" y="106"/>
                  </a:cubicBezTo>
                  <a:close/>
                  <a:moveTo>
                    <a:pt x="75" y="64"/>
                  </a:moveTo>
                  <a:cubicBezTo>
                    <a:pt x="69" y="64"/>
                    <a:pt x="64" y="68"/>
                    <a:pt x="64" y="74"/>
                  </a:cubicBezTo>
                  <a:cubicBezTo>
                    <a:pt x="64" y="80"/>
                    <a:pt x="69" y="85"/>
                    <a:pt x="75" y="85"/>
                  </a:cubicBezTo>
                  <a:cubicBezTo>
                    <a:pt x="81" y="85"/>
                    <a:pt x="85" y="80"/>
                    <a:pt x="85" y="74"/>
                  </a:cubicBezTo>
                  <a:cubicBezTo>
                    <a:pt x="85" y="68"/>
                    <a:pt x="81" y="64"/>
                    <a:pt x="75" y="64"/>
                  </a:cubicBezTo>
                  <a:close/>
                  <a:moveTo>
                    <a:pt x="75" y="192"/>
                  </a:moveTo>
                  <a:cubicBezTo>
                    <a:pt x="57" y="192"/>
                    <a:pt x="43" y="177"/>
                    <a:pt x="43" y="160"/>
                  </a:cubicBezTo>
                  <a:cubicBezTo>
                    <a:pt x="43" y="142"/>
                    <a:pt x="57" y="128"/>
                    <a:pt x="75" y="128"/>
                  </a:cubicBezTo>
                  <a:cubicBezTo>
                    <a:pt x="92" y="128"/>
                    <a:pt x="107" y="142"/>
                    <a:pt x="107" y="160"/>
                  </a:cubicBezTo>
                  <a:cubicBezTo>
                    <a:pt x="107" y="177"/>
                    <a:pt x="92" y="192"/>
                    <a:pt x="75" y="192"/>
                  </a:cubicBezTo>
                  <a:close/>
                  <a:moveTo>
                    <a:pt x="75" y="149"/>
                  </a:moveTo>
                  <a:cubicBezTo>
                    <a:pt x="69" y="149"/>
                    <a:pt x="64" y="154"/>
                    <a:pt x="64" y="160"/>
                  </a:cubicBezTo>
                  <a:cubicBezTo>
                    <a:pt x="64" y="166"/>
                    <a:pt x="69" y="170"/>
                    <a:pt x="75" y="170"/>
                  </a:cubicBezTo>
                  <a:cubicBezTo>
                    <a:pt x="81" y="170"/>
                    <a:pt x="85" y="166"/>
                    <a:pt x="85" y="160"/>
                  </a:cubicBezTo>
                  <a:cubicBezTo>
                    <a:pt x="85" y="154"/>
                    <a:pt x="81" y="149"/>
                    <a:pt x="75" y="149"/>
                  </a:cubicBezTo>
                  <a:close/>
                  <a:moveTo>
                    <a:pt x="75" y="277"/>
                  </a:moveTo>
                  <a:cubicBezTo>
                    <a:pt x="57" y="277"/>
                    <a:pt x="43" y="263"/>
                    <a:pt x="43" y="245"/>
                  </a:cubicBezTo>
                  <a:cubicBezTo>
                    <a:pt x="43" y="227"/>
                    <a:pt x="57" y="213"/>
                    <a:pt x="75" y="213"/>
                  </a:cubicBezTo>
                  <a:cubicBezTo>
                    <a:pt x="92" y="213"/>
                    <a:pt x="107" y="227"/>
                    <a:pt x="107" y="245"/>
                  </a:cubicBezTo>
                  <a:cubicBezTo>
                    <a:pt x="107" y="263"/>
                    <a:pt x="92" y="277"/>
                    <a:pt x="75" y="277"/>
                  </a:cubicBezTo>
                  <a:close/>
                  <a:moveTo>
                    <a:pt x="75" y="234"/>
                  </a:moveTo>
                  <a:cubicBezTo>
                    <a:pt x="69" y="234"/>
                    <a:pt x="64" y="239"/>
                    <a:pt x="64" y="245"/>
                  </a:cubicBezTo>
                  <a:cubicBezTo>
                    <a:pt x="64" y="251"/>
                    <a:pt x="69" y="256"/>
                    <a:pt x="75" y="256"/>
                  </a:cubicBezTo>
                  <a:cubicBezTo>
                    <a:pt x="81" y="256"/>
                    <a:pt x="85" y="251"/>
                    <a:pt x="85" y="245"/>
                  </a:cubicBezTo>
                  <a:cubicBezTo>
                    <a:pt x="85" y="239"/>
                    <a:pt x="81" y="234"/>
                    <a:pt x="75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540"/>
            <p:cNvSpPr>
              <a:spLocks noEditPoints="1"/>
            </p:cNvSpPr>
            <p:nvPr/>
          </p:nvSpPr>
          <p:spPr bwMode="auto">
            <a:xfrm>
              <a:off x="5044" y="1889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1" name="Freeform 544"/>
          <p:cNvSpPr>
            <a:spLocks noChangeAspect="1" noEditPoints="1"/>
          </p:cNvSpPr>
          <p:nvPr/>
        </p:nvSpPr>
        <p:spPr bwMode="auto">
          <a:xfrm>
            <a:off x="427128" y="2921945"/>
            <a:ext cx="369676" cy="370763"/>
          </a:xfrm>
          <a:custGeom>
            <a:avLst/>
            <a:gdLst>
              <a:gd name="T0" fmla="*/ 266 w 512"/>
              <a:gd name="T1" fmla="*/ 256 h 512"/>
              <a:gd name="T2" fmla="*/ 256 w 512"/>
              <a:gd name="T3" fmla="*/ 266 h 512"/>
              <a:gd name="T4" fmla="*/ 245 w 512"/>
              <a:gd name="T5" fmla="*/ 256 h 512"/>
              <a:gd name="T6" fmla="*/ 256 w 512"/>
              <a:gd name="T7" fmla="*/ 245 h 512"/>
              <a:gd name="T8" fmla="*/ 266 w 512"/>
              <a:gd name="T9" fmla="*/ 256 h 512"/>
              <a:gd name="T10" fmla="*/ 256 w 512"/>
              <a:gd name="T11" fmla="*/ 160 h 512"/>
              <a:gd name="T12" fmla="*/ 245 w 512"/>
              <a:gd name="T13" fmla="*/ 170 h 512"/>
              <a:gd name="T14" fmla="*/ 256 w 512"/>
              <a:gd name="T15" fmla="*/ 181 h 512"/>
              <a:gd name="T16" fmla="*/ 266 w 512"/>
              <a:gd name="T17" fmla="*/ 170 h 512"/>
              <a:gd name="T18" fmla="*/ 256 w 512"/>
              <a:gd name="T19" fmla="*/ 160 h 512"/>
              <a:gd name="T20" fmla="*/ 256 w 512"/>
              <a:gd name="T21" fmla="*/ 330 h 512"/>
              <a:gd name="T22" fmla="*/ 245 w 512"/>
              <a:gd name="T23" fmla="*/ 341 h 512"/>
              <a:gd name="T24" fmla="*/ 256 w 512"/>
              <a:gd name="T25" fmla="*/ 352 h 512"/>
              <a:gd name="T26" fmla="*/ 266 w 512"/>
              <a:gd name="T27" fmla="*/ 341 h 512"/>
              <a:gd name="T28" fmla="*/ 256 w 512"/>
              <a:gd name="T29" fmla="*/ 330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330 w 512"/>
              <a:gd name="T41" fmla="*/ 138 h 512"/>
              <a:gd name="T42" fmla="*/ 288 w 512"/>
              <a:gd name="T43" fmla="*/ 96 h 512"/>
              <a:gd name="T44" fmla="*/ 224 w 512"/>
              <a:gd name="T45" fmla="*/ 96 h 512"/>
              <a:gd name="T46" fmla="*/ 181 w 512"/>
              <a:gd name="T47" fmla="*/ 138 h 512"/>
              <a:gd name="T48" fmla="*/ 181 w 512"/>
              <a:gd name="T49" fmla="*/ 373 h 512"/>
              <a:gd name="T50" fmla="*/ 224 w 512"/>
              <a:gd name="T51" fmla="*/ 416 h 512"/>
              <a:gd name="T52" fmla="*/ 288 w 512"/>
              <a:gd name="T53" fmla="*/ 416 h 512"/>
              <a:gd name="T54" fmla="*/ 330 w 512"/>
              <a:gd name="T55" fmla="*/ 373 h 512"/>
              <a:gd name="T56" fmla="*/ 330 w 512"/>
              <a:gd name="T57" fmla="*/ 138 h 512"/>
              <a:gd name="T58" fmla="*/ 309 w 512"/>
              <a:gd name="T59" fmla="*/ 138 h 512"/>
              <a:gd name="T60" fmla="*/ 309 w 512"/>
              <a:gd name="T61" fmla="*/ 373 h 512"/>
              <a:gd name="T62" fmla="*/ 288 w 512"/>
              <a:gd name="T63" fmla="*/ 394 h 512"/>
              <a:gd name="T64" fmla="*/ 224 w 512"/>
              <a:gd name="T65" fmla="*/ 394 h 512"/>
              <a:gd name="T66" fmla="*/ 202 w 512"/>
              <a:gd name="T67" fmla="*/ 373 h 512"/>
              <a:gd name="T68" fmla="*/ 202 w 512"/>
              <a:gd name="T69" fmla="*/ 138 h 512"/>
              <a:gd name="T70" fmla="*/ 224 w 512"/>
              <a:gd name="T71" fmla="*/ 117 h 512"/>
              <a:gd name="T72" fmla="*/ 288 w 512"/>
              <a:gd name="T73" fmla="*/ 117 h 512"/>
              <a:gd name="T74" fmla="*/ 309 w 512"/>
              <a:gd name="T75" fmla="*/ 138 h 512"/>
              <a:gd name="T76" fmla="*/ 288 w 512"/>
              <a:gd name="T77" fmla="*/ 341 h 512"/>
              <a:gd name="T78" fmla="*/ 256 w 512"/>
              <a:gd name="T79" fmla="*/ 309 h 512"/>
              <a:gd name="T80" fmla="*/ 224 w 512"/>
              <a:gd name="T81" fmla="*/ 341 h 512"/>
              <a:gd name="T82" fmla="*/ 256 w 512"/>
              <a:gd name="T83" fmla="*/ 373 h 512"/>
              <a:gd name="T84" fmla="*/ 288 w 512"/>
              <a:gd name="T85" fmla="*/ 341 h 512"/>
              <a:gd name="T86" fmla="*/ 288 w 512"/>
              <a:gd name="T87" fmla="*/ 256 h 512"/>
              <a:gd name="T88" fmla="*/ 256 w 512"/>
              <a:gd name="T89" fmla="*/ 224 h 512"/>
              <a:gd name="T90" fmla="*/ 224 w 512"/>
              <a:gd name="T91" fmla="*/ 256 h 512"/>
              <a:gd name="T92" fmla="*/ 256 w 512"/>
              <a:gd name="T93" fmla="*/ 288 h 512"/>
              <a:gd name="T94" fmla="*/ 288 w 512"/>
              <a:gd name="T95" fmla="*/ 256 h 512"/>
              <a:gd name="T96" fmla="*/ 288 w 512"/>
              <a:gd name="T97" fmla="*/ 170 h 512"/>
              <a:gd name="T98" fmla="*/ 256 w 512"/>
              <a:gd name="T99" fmla="*/ 138 h 512"/>
              <a:gd name="T100" fmla="*/ 224 w 512"/>
              <a:gd name="T101" fmla="*/ 170 h 512"/>
              <a:gd name="T102" fmla="*/ 256 w 512"/>
              <a:gd name="T103" fmla="*/ 202 h 512"/>
              <a:gd name="T104" fmla="*/ 288 w 512"/>
              <a:gd name="T105" fmla="*/ 17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66" y="256"/>
                </a:moveTo>
                <a:cubicBezTo>
                  <a:pt x="266" y="262"/>
                  <a:pt x="262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ubicBezTo>
                  <a:pt x="245" y="250"/>
                  <a:pt x="250" y="245"/>
                  <a:pt x="256" y="245"/>
                </a:cubicBezTo>
                <a:cubicBezTo>
                  <a:pt x="262" y="245"/>
                  <a:pt x="266" y="250"/>
                  <a:pt x="266" y="256"/>
                </a:cubicBezTo>
                <a:close/>
                <a:moveTo>
                  <a:pt x="256" y="160"/>
                </a:moveTo>
                <a:cubicBezTo>
                  <a:pt x="250" y="160"/>
                  <a:pt x="245" y="164"/>
                  <a:pt x="245" y="170"/>
                </a:cubicBezTo>
                <a:cubicBezTo>
                  <a:pt x="245" y="176"/>
                  <a:pt x="250" y="181"/>
                  <a:pt x="256" y="181"/>
                </a:cubicBezTo>
                <a:cubicBezTo>
                  <a:pt x="262" y="181"/>
                  <a:pt x="266" y="176"/>
                  <a:pt x="266" y="170"/>
                </a:cubicBezTo>
                <a:cubicBezTo>
                  <a:pt x="266" y="164"/>
                  <a:pt x="262" y="160"/>
                  <a:pt x="256" y="160"/>
                </a:cubicBezTo>
                <a:close/>
                <a:moveTo>
                  <a:pt x="256" y="330"/>
                </a:moveTo>
                <a:cubicBezTo>
                  <a:pt x="250" y="330"/>
                  <a:pt x="245" y="335"/>
                  <a:pt x="245" y="341"/>
                </a:cubicBezTo>
                <a:cubicBezTo>
                  <a:pt x="245" y="347"/>
                  <a:pt x="250" y="352"/>
                  <a:pt x="256" y="352"/>
                </a:cubicBezTo>
                <a:cubicBezTo>
                  <a:pt x="262" y="352"/>
                  <a:pt x="266" y="347"/>
                  <a:pt x="266" y="341"/>
                </a:cubicBezTo>
                <a:cubicBezTo>
                  <a:pt x="266" y="335"/>
                  <a:pt x="262" y="330"/>
                  <a:pt x="256" y="33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0" y="138"/>
                </a:moveTo>
                <a:cubicBezTo>
                  <a:pt x="330" y="115"/>
                  <a:pt x="311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00" y="96"/>
                  <a:pt x="181" y="115"/>
                  <a:pt x="181" y="138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81" y="397"/>
                  <a:pt x="200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311" y="416"/>
                  <a:pt x="330" y="397"/>
                  <a:pt x="330" y="373"/>
                </a:cubicBezTo>
                <a:lnTo>
                  <a:pt x="330" y="138"/>
                </a:lnTo>
                <a:close/>
                <a:moveTo>
                  <a:pt x="309" y="138"/>
                </a:moveTo>
                <a:cubicBezTo>
                  <a:pt x="309" y="373"/>
                  <a:pt x="309" y="373"/>
                  <a:pt x="309" y="373"/>
                </a:cubicBezTo>
                <a:cubicBezTo>
                  <a:pt x="309" y="385"/>
                  <a:pt x="299" y="394"/>
                  <a:pt x="288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12" y="394"/>
                  <a:pt x="202" y="385"/>
                  <a:pt x="202" y="373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202" y="127"/>
                  <a:pt x="212" y="117"/>
                  <a:pt x="22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99" y="117"/>
                  <a:pt x="309" y="127"/>
                  <a:pt x="309" y="138"/>
                </a:cubicBezTo>
                <a:close/>
                <a:moveTo>
                  <a:pt x="288" y="341"/>
                </a:moveTo>
                <a:cubicBezTo>
                  <a:pt x="288" y="323"/>
                  <a:pt x="273" y="309"/>
                  <a:pt x="256" y="309"/>
                </a:cubicBezTo>
                <a:cubicBezTo>
                  <a:pt x="238" y="309"/>
                  <a:pt x="224" y="323"/>
                  <a:pt x="224" y="341"/>
                </a:cubicBezTo>
                <a:cubicBezTo>
                  <a:pt x="224" y="359"/>
                  <a:pt x="238" y="373"/>
                  <a:pt x="256" y="373"/>
                </a:cubicBezTo>
                <a:cubicBezTo>
                  <a:pt x="273" y="373"/>
                  <a:pt x="288" y="359"/>
                  <a:pt x="288" y="341"/>
                </a:cubicBezTo>
                <a:close/>
                <a:moveTo>
                  <a:pt x="288" y="256"/>
                </a:moveTo>
                <a:cubicBezTo>
                  <a:pt x="288" y="238"/>
                  <a:pt x="273" y="224"/>
                  <a:pt x="256" y="224"/>
                </a:cubicBezTo>
                <a:cubicBezTo>
                  <a:pt x="238" y="224"/>
                  <a:pt x="224" y="238"/>
                  <a:pt x="224" y="256"/>
                </a:cubicBezTo>
                <a:cubicBezTo>
                  <a:pt x="224" y="273"/>
                  <a:pt x="238" y="288"/>
                  <a:pt x="256" y="288"/>
                </a:cubicBezTo>
                <a:cubicBezTo>
                  <a:pt x="273" y="288"/>
                  <a:pt x="288" y="273"/>
                  <a:pt x="288" y="256"/>
                </a:cubicBezTo>
                <a:close/>
                <a:moveTo>
                  <a:pt x="288" y="170"/>
                </a:moveTo>
                <a:cubicBezTo>
                  <a:pt x="288" y="153"/>
                  <a:pt x="273" y="138"/>
                  <a:pt x="256" y="138"/>
                </a:cubicBezTo>
                <a:cubicBezTo>
                  <a:pt x="238" y="138"/>
                  <a:pt x="224" y="153"/>
                  <a:pt x="224" y="170"/>
                </a:cubicBezTo>
                <a:cubicBezTo>
                  <a:pt x="224" y="188"/>
                  <a:pt x="238" y="202"/>
                  <a:pt x="256" y="202"/>
                </a:cubicBezTo>
                <a:cubicBezTo>
                  <a:pt x="273" y="202"/>
                  <a:pt x="288" y="188"/>
                  <a:pt x="288" y="17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2" name="Freeform 660"/>
          <p:cNvSpPr>
            <a:spLocks noChangeAspect="1" noEditPoints="1"/>
          </p:cNvSpPr>
          <p:nvPr/>
        </p:nvSpPr>
        <p:spPr bwMode="auto">
          <a:xfrm>
            <a:off x="3421429" y="2921943"/>
            <a:ext cx="367982" cy="367982"/>
          </a:xfrm>
          <a:custGeom>
            <a:avLst/>
            <a:gdLst>
              <a:gd name="T0" fmla="*/ 213 w 512"/>
              <a:gd name="T1" fmla="*/ 202 h 512"/>
              <a:gd name="T2" fmla="*/ 245 w 512"/>
              <a:gd name="T3" fmla="*/ 245 h 512"/>
              <a:gd name="T4" fmla="*/ 213 w 512"/>
              <a:gd name="T5" fmla="*/ 202 h 512"/>
              <a:gd name="T6" fmla="*/ 298 w 512"/>
              <a:gd name="T7" fmla="*/ 202 h 512"/>
              <a:gd name="T8" fmla="*/ 266 w 512"/>
              <a:gd name="T9" fmla="*/ 245 h 512"/>
              <a:gd name="T10" fmla="*/ 298 w 512"/>
              <a:gd name="T11" fmla="*/ 202 h 512"/>
              <a:gd name="T12" fmla="*/ 159 w 512"/>
              <a:gd name="T13" fmla="*/ 245 h 512"/>
              <a:gd name="T14" fmla="*/ 192 w 512"/>
              <a:gd name="T15" fmla="*/ 214 h 512"/>
              <a:gd name="T16" fmla="*/ 320 w 512"/>
              <a:gd name="T17" fmla="*/ 245 h 512"/>
              <a:gd name="T18" fmla="*/ 320 w 512"/>
              <a:gd name="T19" fmla="*/ 214 h 512"/>
              <a:gd name="T20" fmla="*/ 158 w 512"/>
              <a:gd name="T21" fmla="*/ 314 h 512"/>
              <a:gd name="T22" fmla="*/ 192 w 512"/>
              <a:gd name="T23" fmla="*/ 298 h 512"/>
              <a:gd name="T24" fmla="*/ 222 w 512"/>
              <a:gd name="T25" fmla="*/ 314 h 512"/>
              <a:gd name="T26" fmla="*/ 256 w 512"/>
              <a:gd name="T27" fmla="*/ 298 h 512"/>
              <a:gd name="T28" fmla="*/ 286 w 512"/>
              <a:gd name="T29" fmla="*/ 314 h 512"/>
              <a:gd name="T30" fmla="*/ 320 w 512"/>
              <a:gd name="T31" fmla="*/ 298 h 512"/>
              <a:gd name="T32" fmla="*/ 350 w 512"/>
              <a:gd name="T33" fmla="*/ 314 h 512"/>
              <a:gd name="T34" fmla="*/ 373 w 512"/>
              <a:gd name="T35" fmla="*/ 266 h 512"/>
              <a:gd name="T36" fmla="*/ 138 w 512"/>
              <a:gd name="T37" fmla="*/ 305 h 512"/>
              <a:gd name="T38" fmla="*/ 256 w 512"/>
              <a:gd name="T39" fmla="*/ 512 h 512"/>
              <a:gd name="T40" fmla="*/ 256 w 512"/>
              <a:gd name="T41" fmla="*/ 0 h 512"/>
              <a:gd name="T42" fmla="*/ 394 w 512"/>
              <a:gd name="T43" fmla="*/ 305 h 512"/>
              <a:gd name="T44" fmla="*/ 405 w 512"/>
              <a:gd name="T45" fmla="*/ 266 h 512"/>
              <a:gd name="T46" fmla="*/ 405 w 512"/>
              <a:gd name="T47" fmla="*/ 245 h 512"/>
              <a:gd name="T48" fmla="*/ 394 w 512"/>
              <a:gd name="T49" fmla="*/ 224 h 512"/>
              <a:gd name="T50" fmla="*/ 373 w 512"/>
              <a:gd name="T51" fmla="*/ 224 h 512"/>
              <a:gd name="T52" fmla="*/ 256 w 512"/>
              <a:gd name="T53" fmla="*/ 170 h 512"/>
              <a:gd name="T54" fmla="*/ 138 w 512"/>
              <a:gd name="T55" fmla="*/ 224 h 512"/>
              <a:gd name="T56" fmla="*/ 117 w 512"/>
              <a:gd name="T57" fmla="*/ 224 h 512"/>
              <a:gd name="T58" fmla="*/ 106 w 512"/>
              <a:gd name="T59" fmla="*/ 245 h 512"/>
              <a:gd name="T60" fmla="*/ 106 w 512"/>
              <a:gd name="T61" fmla="*/ 266 h 512"/>
              <a:gd name="T62" fmla="*/ 117 w 512"/>
              <a:gd name="T63" fmla="*/ 304 h 512"/>
              <a:gd name="T64" fmla="*/ 96 w 512"/>
              <a:gd name="T65" fmla="*/ 326 h 512"/>
              <a:gd name="T66" fmla="*/ 127 w 512"/>
              <a:gd name="T67" fmla="*/ 323 h 512"/>
              <a:gd name="T68" fmla="*/ 191 w 512"/>
              <a:gd name="T69" fmla="*/ 324 h 512"/>
              <a:gd name="T70" fmla="*/ 255 w 512"/>
              <a:gd name="T71" fmla="*/ 324 h 512"/>
              <a:gd name="T72" fmla="*/ 319 w 512"/>
              <a:gd name="T73" fmla="*/ 324 h 512"/>
              <a:gd name="T74" fmla="*/ 351 w 512"/>
              <a:gd name="T75" fmla="*/ 336 h 512"/>
              <a:gd name="T76" fmla="*/ 402 w 512"/>
              <a:gd name="T77" fmla="*/ 334 h 512"/>
              <a:gd name="T78" fmla="*/ 408 w 512"/>
              <a:gd name="T79" fmla="*/ 3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13" y="202"/>
                </a:moveTo>
                <a:cubicBezTo>
                  <a:pt x="213" y="202"/>
                  <a:pt x="213" y="202"/>
                  <a:pt x="213" y="202"/>
                </a:cubicBezTo>
                <a:cubicBezTo>
                  <a:pt x="223" y="197"/>
                  <a:pt x="234" y="194"/>
                  <a:pt x="245" y="192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13" y="245"/>
                  <a:pt x="213" y="245"/>
                  <a:pt x="213" y="245"/>
                </a:cubicBezTo>
                <a:lnTo>
                  <a:pt x="213" y="202"/>
                </a:lnTo>
                <a:close/>
                <a:moveTo>
                  <a:pt x="298" y="202"/>
                </a:moveTo>
                <a:cubicBezTo>
                  <a:pt x="298" y="202"/>
                  <a:pt x="298" y="202"/>
                  <a:pt x="298" y="202"/>
                </a:cubicBezTo>
                <a:cubicBezTo>
                  <a:pt x="288" y="197"/>
                  <a:pt x="277" y="194"/>
                  <a:pt x="266" y="192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98" y="245"/>
                  <a:pt x="298" y="245"/>
                  <a:pt x="298" y="245"/>
                </a:cubicBezTo>
                <a:lnTo>
                  <a:pt x="298" y="202"/>
                </a:lnTo>
                <a:close/>
                <a:moveTo>
                  <a:pt x="192" y="214"/>
                </a:moveTo>
                <a:cubicBezTo>
                  <a:pt x="180" y="222"/>
                  <a:pt x="169" y="233"/>
                  <a:pt x="159" y="245"/>
                </a:cubicBezTo>
                <a:cubicBezTo>
                  <a:pt x="192" y="245"/>
                  <a:pt x="192" y="245"/>
                  <a:pt x="192" y="245"/>
                </a:cubicBezTo>
                <a:lnTo>
                  <a:pt x="192" y="214"/>
                </a:lnTo>
                <a:close/>
                <a:moveTo>
                  <a:pt x="320" y="214"/>
                </a:moveTo>
                <a:cubicBezTo>
                  <a:pt x="320" y="245"/>
                  <a:pt x="320" y="245"/>
                  <a:pt x="320" y="245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342" y="233"/>
                  <a:pt x="332" y="222"/>
                  <a:pt x="320" y="214"/>
                </a:cubicBezTo>
                <a:close/>
                <a:moveTo>
                  <a:pt x="138" y="305"/>
                </a:moveTo>
                <a:cubicBezTo>
                  <a:pt x="142" y="308"/>
                  <a:pt x="149" y="314"/>
                  <a:pt x="158" y="314"/>
                </a:cubicBezTo>
                <a:cubicBezTo>
                  <a:pt x="166" y="315"/>
                  <a:pt x="175" y="310"/>
                  <a:pt x="184" y="301"/>
                </a:cubicBezTo>
                <a:cubicBezTo>
                  <a:pt x="186" y="299"/>
                  <a:pt x="189" y="298"/>
                  <a:pt x="192" y="298"/>
                </a:cubicBezTo>
                <a:cubicBezTo>
                  <a:pt x="195" y="299"/>
                  <a:pt x="198" y="300"/>
                  <a:pt x="200" y="302"/>
                </a:cubicBezTo>
                <a:cubicBezTo>
                  <a:pt x="200" y="302"/>
                  <a:pt x="209" y="314"/>
                  <a:pt x="222" y="314"/>
                </a:cubicBezTo>
                <a:cubicBezTo>
                  <a:pt x="230" y="315"/>
                  <a:pt x="239" y="310"/>
                  <a:pt x="248" y="301"/>
                </a:cubicBezTo>
                <a:cubicBezTo>
                  <a:pt x="250" y="299"/>
                  <a:pt x="253" y="298"/>
                  <a:pt x="256" y="298"/>
                </a:cubicBezTo>
                <a:cubicBezTo>
                  <a:pt x="259" y="299"/>
                  <a:pt x="262" y="300"/>
                  <a:pt x="264" y="302"/>
                </a:cubicBezTo>
                <a:cubicBezTo>
                  <a:pt x="264" y="302"/>
                  <a:pt x="273" y="314"/>
                  <a:pt x="286" y="314"/>
                </a:cubicBezTo>
                <a:cubicBezTo>
                  <a:pt x="294" y="315"/>
                  <a:pt x="303" y="310"/>
                  <a:pt x="312" y="301"/>
                </a:cubicBezTo>
                <a:cubicBezTo>
                  <a:pt x="314" y="299"/>
                  <a:pt x="317" y="298"/>
                  <a:pt x="320" y="298"/>
                </a:cubicBezTo>
                <a:cubicBezTo>
                  <a:pt x="323" y="299"/>
                  <a:pt x="326" y="300"/>
                  <a:pt x="328" y="302"/>
                </a:cubicBezTo>
                <a:cubicBezTo>
                  <a:pt x="328" y="302"/>
                  <a:pt x="337" y="314"/>
                  <a:pt x="350" y="314"/>
                </a:cubicBezTo>
                <a:cubicBezTo>
                  <a:pt x="357" y="315"/>
                  <a:pt x="365" y="311"/>
                  <a:pt x="373" y="304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138" y="266"/>
                  <a:pt x="138" y="266"/>
                  <a:pt x="138" y="266"/>
                </a:cubicBezTo>
                <a:lnTo>
                  <a:pt x="138" y="30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305"/>
                </a:moveTo>
                <a:cubicBezTo>
                  <a:pt x="394" y="266"/>
                  <a:pt x="394" y="266"/>
                  <a:pt x="394" y="266"/>
                </a:cubicBezTo>
                <a:cubicBezTo>
                  <a:pt x="405" y="266"/>
                  <a:pt x="405" y="266"/>
                  <a:pt x="405" y="266"/>
                </a:cubicBezTo>
                <a:cubicBezTo>
                  <a:pt x="411" y="266"/>
                  <a:pt x="416" y="262"/>
                  <a:pt x="416" y="256"/>
                </a:cubicBezTo>
                <a:cubicBezTo>
                  <a:pt x="416" y="250"/>
                  <a:pt x="411" y="245"/>
                  <a:pt x="405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224"/>
                  <a:pt x="394" y="224"/>
                  <a:pt x="394" y="224"/>
                </a:cubicBezTo>
                <a:cubicBezTo>
                  <a:pt x="394" y="218"/>
                  <a:pt x="390" y="213"/>
                  <a:pt x="384" y="213"/>
                </a:cubicBezTo>
                <a:cubicBezTo>
                  <a:pt x="378" y="213"/>
                  <a:pt x="373" y="218"/>
                  <a:pt x="373" y="224"/>
                </a:cubicBezTo>
                <a:cubicBezTo>
                  <a:pt x="373" y="237"/>
                  <a:pt x="373" y="237"/>
                  <a:pt x="373" y="237"/>
                </a:cubicBezTo>
                <a:cubicBezTo>
                  <a:pt x="340" y="194"/>
                  <a:pt x="298" y="170"/>
                  <a:pt x="256" y="170"/>
                </a:cubicBezTo>
                <a:cubicBezTo>
                  <a:pt x="213" y="170"/>
                  <a:pt x="172" y="194"/>
                  <a:pt x="138" y="237"/>
                </a:cubicBezTo>
                <a:cubicBezTo>
                  <a:pt x="138" y="224"/>
                  <a:pt x="138" y="224"/>
                  <a:pt x="138" y="224"/>
                </a:cubicBezTo>
                <a:cubicBezTo>
                  <a:pt x="138" y="218"/>
                  <a:pt x="134" y="213"/>
                  <a:pt x="128" y="213"/>
                </a:cubicBezTo>
                <a:cubicBezTo>
                  <a:pt x="122" y="213"/>
                  <a:pt x="117" y="218"/>
                  <a:pt x="117" y="224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7" y="304"/>
                  <a:pt x="117" y="304"/>
                  <a:pt x="117" y="304"/>
                </a:cubicBezTo>
                <a:cubicBezTo>
                  <a:pt x="113" y="308"/>
                  <a:pt x="108" y="311"/>
                  <a:pt x="103" y="313"/>
                </a:cubicBezTo>
                <a:cubicBezTo>
                  <a:pt x="97" y="315"/>
                  <a:pt x="94" y="321"/>
                  <a:pt x="96" y="326"/>
                </a:cubicBezTo>
                <a:cubicBezTo>
                  <a:pt x="98" y="332"/>
                  <a:pt x="104" y="335"/>
                  <a:pt x="110" y="333"/>
                </a:cubicBezTo>
                <a:cubicBezTo>
                  <a:pt x="116" y="331"/>
                  <a:pt x="122" y="328"/>
                  <a:pt x="127" y="323"/>
                </a:cubicBezTo>
                <a:cubicBezTo>
                  <a:pt x="134" y="329"/>
                  <a:pt x="144" y="335"/>
                  <a:pt x="156" y="336"/>
                </a:cubicBezTo>
                <a:cubicBezTo>
                  <a:pt x="168" y="336"/>
                  <a:pt x="180" y="332"/>
                  <a:pt x="191" y="324"/>
                </a:cubicBezTo>
                <a:cubicBezTo>
                  <a:pt x="198" y="329"/>
                  <a:pt x="208" y="335"/>
                  <a:pt x="220" y="336"/>
                </a:cubicBezTo>
                <a:cubicBezTo>
                  <a:pt x="232" y="336"/>
                  <a:pt x="244" y="332"/>
                  <a:pt x="255" y="324"/>
                </a:cubicBezTo>
                <a:cubicBezTo>
                  <a:pt x="262" y="329"/>
                  <a:pt x="272" y="335"/>
                  <a:pt x="284" y="336"/>
                </a:cubicBezTo>
                <a:cubicBezTo>
                  <a:pt x="296" y="336"/>
                  <a:pt x="308" y="332"/>
                  <a:pt x="319" y="324"/>
                </a:cubicBezTo>
                <a:cubicBezTo>
                  <a:pt x="326" y="329"/>
                  <a:pt x="336" y="335"/>
                  <a:pt x="348" y="336"/>
                </a:cubicBezTo>
                <a:cubicBezTo>
                  <a:pt x="349" y="336"/>
                  <a:pt x="350" y="336"/>
                  <a:pt x="351" y="336"/>
                </a:cubicBezTo>
                <a:cubicBezTo>
                  <a:pt x="362" y="336"/>
                  <a:pt x="373" y="332"/>
                  <a:pt x="383" y="324"/>
                </a:cubicBezTo>
                <a:cubicBezTo>
                  <a:pt x="388" y="327"/>
                  <a:pt x="394" y="331"/>
                  <a:pt x="402" y="334"/>
                </a:cubicBezTo>
                <a:cubicBezTo>
                  <a:pt x="408" y="335"/>
                  <a:pt x="413" y="332"/>
                  <a:pt x="415" y="326"/>
                </a:cubicBezTo>
                <a:cubicBezTo>
                  <a:pt x="417" y="321"/>
                  <a:pt x="414" y="315"/>
                  <a:pt x="408" y="313"/>
                </a:cubicBezTo>
                <a:cubicBezTo>
                  <a:pt x="402" y="311"/>
                  <a:pt x="397" y="307"/>
                  <a:pt x="394" y="30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3" name="Group 663"/>
          <p:cNvGrpSpPr>
            <a:grpSpLocks noChangeAspect="1"/>
          </p:cNvGrpSpPr>
          <p:nvPr/>
        </p:nvGrpSpPr>
        <p:grpSpPr bwMode="auto">
          <a:xfrm>
            <a:off x="3918604" y="2921943"/>
            <a:ext cx="367982" cy="367982"/>
            <a:chOff x="2683" y="3177"/>
            <a:chExt cx="340" cy="340"/>
          </a:xfrm>
          <a:solidFill>
            <a:schemeClr val="accent2"/>
          </a:solidFill>
        </p:grpSpPr>
        <p:sp>
          <p:nvSpPr>
            <p:cNvPr id="324" name="Freeform 664"/>
            <p:cNvSpPr>
              <a:spLocks noEditPoints="1"/>
            </p:cNvSpPr>
            <p:nvPr/>
          </p:nvSpPr>
          <p:spPr bwMode="auto">
            <a:xfrm>
              <a:off x="2683" y="317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665"/>
            <p:cNvSpPr>
              <a:spLocks noEditPoints="1"/>
            </p:cNvSpPr>
            <p:nvPr/>
          </p:nvSpPr>
          <p:spPr bwMode="auto">
            <a:xfrm>
              <a:off x="2745" y="3290"/>
              <a:ext cx="215" cy="110"/>
            </a:xfrm>
            <a:custGeom>
              <a:avLst/>
              <a:gdLst>
                <a:gd name="T0" fmla="*/ 300 w 323"/>
                <a:gd name="T1" fmla="*/ 135 h 166"/>
                <a:gd name="T2" fmla="*/ 311 w 323"/>
                <a:gd name="T3" fmla="*/ 96 h 166"/>
                <a:gd name="T4" fmla="*/ 311 w 323"/>
                <a:gd name="T5" fmla="*/ 75 h 166"/>
                <a:gd name="T6" fmla="*/ 300 w 323"/>
                <a:gd name="T7" fmla="*/ 54 h 166"/>
                <a:gd name="T8" fmla="*/ 279 w 323"/>
                <a:gd name="T9" fmla="*/ 54 h 166"/>
                <a:gd name="T10" fmla="*/ 162 w 323"/>
                <a:gd name="T11" fmla="*/ 0 h 166"/>
                <a:gd name="T12" fmla="*/ 44 w 323"/>
                <a:gd name="T13" fmla="*/ 54 h 166"/>
                <a:gd name="T14" fmla="*/ 23 w 323"/>
                <a:gd name="T15" fmla="*/ 54 h 166"/>
                <a:gd name="T16" fmla="*/ 12 w 323"/>
                <a:gd name="T17" fmla="*/ 75 h 166"/>
                <a:gd name="T18" fmla="*/ 12 w 323"/>
                <a:gd name="T19" fmla="*/ 96 h 166"/>
                <a:gd name="T20" fmla="*/ 23 w 323"/>
                <a:gd name="T21" fmla="*/ 134 h 166"/>
                <a:gd name="T22" fmla="*/ 2 w 323"/>
                <a:gd name="T23" fmla="*/ 156 h 166"/>
                <a:gd name="T24" fmla="*/ 33 w 323"/>
                <a:gd name="T25" fmla="*/ 153 h 166"/>
                <a:gd name="T26" fmla="*/ 97 w 323"/>
                <a:gd name="T27" fmla="*/ 154 h 166"/>
                <a:gd name="T28" fmla="*/ 161 w 323"/>
                <a:gd name="T29" fmla="*/ 154 h 166"/>
                <a:gd name="T30" fmla="*/ 225 w 323"/>
                <a:gd name="T31" fmla="*/ 154 h 166"/>
                <a:gd name="T32" fmla="*/ 257 w 323"/>
                <a:gd name="T33" fmla="*/ 166 h 166"/>
                <a:gd name="T34" fmla="*/ 308 w 323"/>
                <a:gd name="T35" fmla="*/ 164 h 166"/>
                <a:gd name="T36" fmla="*/ 314 w 323"/>
                <a:gd name="T37" fmla="*/ 143 h 166"/>
                <a:gd name="T38" fmla="*/ 226 w 323"/>
                <a:gd name="T39" fmla="*/ 75 h 166"/>
                <a:gd name="T40" fmla="*/ 258 w 323"/>
                <a:gd name="T41" fmla="*/ 75 h 166"/>
                <a:gd name="T42" fmla="*/ 172 w 323"/>
                <a:gd name="T43" fmla="*/ 22 h 166"/>
                <a:gd name="T44" fmla="*/ 204 w 323"/>
                <a:gd name="T45" fmla="*/ 32 h 166"/>
                <a:gd name="T46" fmla="*/ 172 w 323"/>
                <a:gd name="T47" fmla="*/ 75 h 166"/>
                <a:gd name="T48" fmla="*/ 119 w 323"/>
                <a:gd name="T49" fmla="*/ 32 h 166"/>
                <a:gd name="T50" fmla="*/ 151 w 323"/>
                <a:gd name="T51" fmla="*/ 22 h 166"/>
                <a:gd name="T52" fmla="*/ 119 w 323"/>
                <a:gd name="T53" fmla="*/ 75 h 166"/>
                <a:gd name="T54" fmla="*/ 98 w 323"/>
                <a:gd name="T55" fmla="*/ 75 h 166"/>
                <a:gd name="T56" fmla="*/ 98 w 323"/>
                <a:gd name="T57" fmla="*/ 44 h 166"/>
                <a:gd name="T58" fmla="*/ 234 w 323"/>
                <a:gd name="T59" fmla="*/ 132 h 166"/>
                <a:gd name="T60" fmla="*/ 218 w 323"/>
                <a:gd name="T61" fmla="*/ 131 h 166"/>
                <a:gd name="T62" fmla="*/ 170 w 323"/>
                <a:gd name="T63" fmla="*/ 132 h 166"/>
                <a:gd name="T64" fmla="*/ 154 w 323"/>
                <a:gd name="T65" fmla="*/ 131 h 166"/>
                <a:gd name="T66" fmla="*/ 106 w 323"/>
                <a:gd name="T67" fmla="*/ 132 h 166"/>
                <a:gd name="T68" fmla="*/ 90 w 323"/>
                <a:gd name="T69" fmla="*/ 131 h 166"/>
                <a:gd name="T70" fmla="*/ 44 w 323"/>
                <a:gd name="T71" fmla="*/ 135 h 166"/>
                <a:gd name="T72" fmla="*/ 279 w 323"/>
                <a:gd name="T73" fmla="*/ 96 h 166"/>
                <a:gd name="T74" fmla="*/ 256 w 323"/>
                <a:gd name="T75" fmla="*/ 14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3" h="166">
                  <a:moveTo>
                    <a:pt x="314" y="143"/>
                  </a:moveTo>
                  <a:cubicBezTo>
                    <a:pt x="308" y="141"/>
                    <a:pt x="303" y="137"/>
                    <a:pt x="300" y="135"/>
                  </a:cubicBezTo>
                  <a:cubicBezTo>
                    <a:pt x="300" y="96"/>
                    <a:pt x="300" y="96"/>
                    <a:pt x="300" y="96"/>
                  </a:cubicBezTo>
                  <a:cubicBezTo>
                    <a:pt x="311" y="96"/>
                    <a:pt x="311" y="96"/>
                    <a:pt x="311" y="96"/>
                  </a:cubicBezTo>
                  <a:cubicBezTo>
                    <a:pt x="317" y="96"/>
                    <a:pt x="322" y="92"/>
                    <a:pt x="322" y="86"/>
                  </a:cubicBezTo>
                  <a:cubicBezTo>
                    <a:pt x="322" y="80"/>
                    <a:pt x="317" y="75"/>
                    <a:pt x="311" y="75"/>
                  </a:cubicBezTo>
                  <a:cubicBezTo>
                    <a:pt x="300" y="75"/>
                    <a:pt x="300" y="75"/>
                    <a:pt x="300" y="75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48"/>
                    <a:pt x="296" y="43"/>
                    <a:pt x="290" y="43"/>
                  </a:cubicBezTo>
                  <a:cubicBezTo>
                    <a:pt x="284" y="43"/>
                    <a:pt x="279" y="48"/>
                    <a:pt x="279" y="54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46" y="24"/>
                    <a:pt x="204" y="0"/>
                    <a:pt x="162" y="0"/>
                  </a:cubicBezTo>
                  <a:cubicBezTo>
                    <a:pt x="119" y="0"/>
                    <a:pt x="78" y="24"/>
                    <a:pt x="44" y="67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48"/>
                    <a:pt x="40" y="43"/>
                    <a:pt x="34" y="43"/>
                  </a:cubicBezTo>
                  <a:cubicBezTo>
                    <a:pt x="28" y="43"/>
                    <a:pt x="23" y="48"/>
                    <a:pt x="23" y="54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6" y="75"/>
                    <a:pt x="2" y="80"/>
                    <a:pt x="2" y="86"/>
                  </a:cubicBezTo>
                  <a:cubicBezTo>
                    <a:pt x="2" y="92"/>
                    <a:pt x="6" y="96"/>
                    <a:pt x="12" y="96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19" y="138"/>
                    <a:pt x="14" y="141"/>
                    <a:pt x="9" y="143"/>
                  </a:cubicBezTo>
                  <a:cubicBezTo>
                    <a:pt x="3" y="145"/>
                    <a:pt x="0" y="151"/>
                    <a:pt x="2" y="156"/>
                  </a:cubicBezTo>
                  <a:cubicBezTo>
                    <a:pt x="4" y="162"/>
                    <a:pt x="10" y="165"/>
                    <a:pt x="16" y="163"/>
                  </a:cubicBezTo>
                  <a:cubicBezTo>
                    <a:pt x="22" y="161"/>
                    <a:pt x="28" y="158"/>
                    <a:pt x="33" y="153"/>
                  </a:cubicBezTo>
                  <a:cubicBezTo>
                    <a:pt x="40" y="159"/>
                    <a:pt x="50" y="165"/>
                    <a:pt x="62" y="166"/>
                  </a:cubicBezTo>
                  <a:cubicBezTo>
                    <a:pt x="74" y="166"/>
                    <a:pt x="86" y="162"/>
                    <a:pt x="97" y="154"/>
                  </a:cubicBezTo>
                  <a:cubicBezTo>
                    <a:pt x="104" y="159"/>
                    <a:pt x="114" y="165"/>
                    <a:pt x="126" y="166"/>
                  </a:cubicBezTo>
                  <a:cubicBezTo>
                    <a:pt x="138" y="166"/>
                    <a:pt x="150" y="162"/>
                    <a:pt x="161" y="154"/>
                  </a:cubicBezTo>
                  <a:cubicBezTo>
                    <a:pt x="168" y="159"/>
                    <a:pt x="178" y="165"/>
                    <a:pt x="190" y="166"/>
                  </a:cubicBezTo>
                  <a:cubicBezTo>
                    <a:pt x="202" y="166"/>
                    <a:pt x="214" y="162"/>
                    <a:pt x="225" y="154"/>
                  </a:cubicBezTo>
                  <a:cubicBezTo>
                    <a:pt x="232" y="159"/>
                    <a:pt x="242" y="165"/>
                    <a:pt x="254" y="166"/>
                  </a:cubicBezTo>
                  <a:cubicBezTo>
                    <a:pt x="255" y="166"/>
                    <a:pt x="256" y="166"/>
                    <a:pt x="257" y="166"/>
                  </a:cubicBezTo>
                  <a:cubicBezTo>
                    <a:pt x="268" y="166"/>
                    <a:pt x="279" y="162"/>
                    <a:pt x="289" y="154"/>
                  </a:cubicBezTo>
                  <a:cubicBezTo>
                    <a:pt x="294" y="157"/>
                    <a:pt x="300" y="161"/>
                    <a:pt x="308" y="164"/>
                  </a:cubicBezTo>
                  <a:cubicBezTo>
                    <a:pt x="314" y="165"/>
                    <a:pt x="319" y="162"/>
                    <a:pt x="321" y="156"/>
                  </a:cubicBezTo>
                  <a:cubicBezTo>
                    <a:pt x="323" y="151"/>
                    <a:pt x="320" y="145"/>
                    <a:pt x="314" y="143"/>
                  </a:cubicBezTo>
                  <a:close/>
                  <a:moveTo>
                    <a:pt x="258" y="75"/>
                  </a:moveTo>
                  <a:cubicBezTo>
                    <a:pt x="226" y="75"/>
                    <a:pt x="226" y="75"/>
                    <a:pt x="226" y="75"/>
                  </a:cubicBezTo>
                  <a:cubicBezTo>
                    <a:pt x="226" y="44"/>
                    <a:pt x="226" y="44"/>
                    <a:pt x="226" y="44"/>
                  </a:cubicBezTo>
                  <a:cubicBezTo>
                    <a:pt x="238" y="52"/>
                    <a:pt x="248" y="63"/>
                    <a:pt x="258" y="75"/>
                  </a:cubicBezTo>
                  <a:close/>
                  <a:moveTo>
                    <a:pt x="172" y="75"/>
                  </a:moveTo>
                  <a:cubicBezTo>
                    <a:pt x="172" y="22"/>
                    <a:pt x="172" y="22"/>
                    <a:pt x="172" y="22"/>
                  </a:cubicBezTo>
                  <a:cubicBezTo>
                    <a:pt x="183" y="24"/>
                    <a:pt x="194" y="27"/>
                    <a:pt x="204" y="32"/>
                  </a:cubicBezTo>
                  <a:cubicBezTo>
                    <a:pt x="204" y="32"/>
                    <a:pt x="204" y="32"/>
                    <a:pt x="204" y="32"/>
                  </a:cubicBezTo>
                  <a:cubicBezTo>
                    <a:pt x="204" y="75"/>
                    <a:pt x="204" y="75"/>
                    <a:pt x="204" y="75"/>
                  </a:cubicBezTo>
                  <a:lnTo>
                    <a:pt x="172" y="75"/>
                  </a:lnTo>
                  <a:close/>
                  <a:moveTo>
                    <a:pt x="119" y="75"/>
                  </a:move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29" y="27"/>
                    <a:pt x="140" y="24"/>
                    <a:pt x="151" y="22"/>
                  </a:cubicBezTo>
                  <a:cubicBezTo>
                    <a:pt x="151" y="75"/>
                    <a:pt x="151" y="75"/>
                    <a:pt x="151" y="75"/>
                  </a:cubicBezTo>
                  <a:lnTo>
                    <a:pt x="119" y="75"/>
                  </a:lnTo>
                  <a:close/>
                  <a:moveTo>
                    <a:pt x="98" y="44"/>
                  </a:moveTo>
                  <a:cubicBezTo>
                    <a:pt x="98" y="75"/>
                    <a:pt x="98" y="75"/>
                    <a:pt x="98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75" y="63"/>
                    <a:pt x="86" y="52"/>
                    <a:pt x="98" y="44"/>
                  </a:cubicBezTo>
                  <a:close/>
                  <a:moveTo>
                    <a:pt x="256" y="144"/>
                  </a:moveTo>
                  <a:cubicBezTo>
                    <a:pt x="243" y="144"/>
                    <a:pt x="234" y="132"/>
                    <a:pt x="234" y="132"/>
                  </a:cubicBezTo>
                  <a:cubicBezTo>
                    <a:pt x="232" y="130"/>
                    <a:pt x="229" y="129"/>
                    <a:pt x="226" y="128"/>
                  </a:cubicBezTo>
                  <a:cubicBezTo>
                    <a:pt x="223" y="128"/>
                    <a:pt x="220" y="129"/>
                    <a:pt x="218" y="131"/>
                  </a:cubicBezTo>
                  <a:cubicBezTo>
                    <a:pt x="209" y="140"/>
                    <a:pt x="200" y="145"/>
                    <a:pt x="192" y="144"/>
                  </a:cubicBezTo>
                  <a:cubicBezTo>
                    <a:pt x="179" y="144"/>
                    <a:pt x="170" y="132"/>
                    <a:pt x="170" y="132"/>
                  </a:cubicBezTo>
                  <a:cubicBezTo>
                    <a:pt x="168" y="130"/>
                    <a:pt x="165" y="129"/>
                    <a:pt x="162" y="128"/>
                  </a:cubicBezTo>
                  <a:cubicBezTo>
                    <a:pt x="159" y="128"/>
                    <a:pt x="156" y="129"/>
                    <a:pt x="154" y="131"/>
                  </a:cubicBezTo>
                  <a:cubicBezTo>
                    <a:pt x="145" y="140"/>
                    <a:pt x="136" y="145"/>
                    <a:pt x="128" y="144"/>
                  </a:cubicBezTo>
                  <a:cubicBezTo>
                    <a:pt x="115" y="144"/>
                    <a:pt x="106" y="132"/>
                    <a:pt x="106" y="132"/>
                  </a:cubicBezTo>
                  <a:cubicBezTo>
                    <a:pt x="104" y="130"/>
                    <a:pt x="101" y="129"/>
                    <a:pt x="98" y="128"/>
                  </a:cubicBezTo>
                  <a:cubicBezTo>
                    <a:pt x="95" y="128"/>
                    <a:pt x="92" y="129"/>
                    <a:pt x="90" y="131"/>
                  </a:cubicBezTo>
                  <a:cubicBezTo>
                    <a:pt x="81" y="140"/>
                    <a:pt x="72" y="145"/>
                    <a:pt x="64" y="144"/>
                  </a:cubicBezTo>
                  <a:cubicBezTo>
                    <a:pt x="55" y="144"/>
                    <a:pt x="48" y="138"/>
                    <a:pt x="44" y="135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279" y="96"/>
                    <a:pt x="279" y="96"/>
                    <a:pt x="279" y="96"/>
                  </a:cubicBezTo>
                  <a:cubicBezTo>
                    <a:pt x="279" y="134"/>
                    <a:pt x="279" y="134"/>
                    <a:pt x="279" y="134"/>
                  </a:cubicBezTo>
                  <a:cubicBezTo>
                    <a:pt x="271" y="141"/>
                    <a:pt x="263" y="145"/>
                    <a:pt x="256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6" name="Freeform 669"/>
          <p:cNvSpPr>
            <a:spLocks noChangeAspect="1" noEditPoints="1"/>
          </p:cNvSpPr>
          <p:nvPr/>
        </p:nvSpPr>
        <p:spPr bwMode="auto">
          <a:xfrm>
            <a:off x="4415779" y="2921943"/>
            <a:ext cx="367982" cy="367982"/>
          </a:xfrm>
          <a:custGeom>
            <a:avLst/>
            <a:gdLst>
              <a:gd name="T0" fmla="*/ 181 w 512"/>
              <a:gd name="T1" fmla="*/ 160 h 512"/>
              <a:gd name="T2" fmla="*/ 320 w 512"/>
              <a:gd name="T3" fmla="*/ 160 h 512"/>
              <a:gd name="T4" fmla="*/ 320 w 512"/>
              <a:gd name="T5" fmla="*/ 352 h 512"/>
              <a:gd name="T6" fmla="*/ 181 w 512"/>
              <a:gd name="T7" fmla="*/ 352 h 512"/>
              <a:gd name="T8" fmla="*/ 181 w 512"/>
              <a:gd name="T9" fmla="*/ 160 h 512"/>
              <a:gd name="T10" fmla="*/ 288 w 512"/>
              <a:gd name="T11" fmla="*/ 117 h 512"/>
              <a:gd name="T12" fmla="*/ 224 w 512"/>
              <a:gd name="T13" fmla="*/ 117 h 512"/>
              <a:gd name="T14" fmla="*/ 224 w 512"/>
              <a:gd name="T15" fmla="*/ 138 h 512"/>
              <a:gd name="T16" fmla="*/ 288 w 512"/>
              <a:gd name="T17" fmla="*/ 138 h 512"/>
              <a:gd name="T18" fmla="*/ 288 w 512"/>
              <a:gd name="T19" fmla="*/ 117 h 512"/>
              <a:gd name="T20" fmla="*/ 117 w 512"/>
              <a:gd name="T21" fmla="*/ 352 h 512"/>
              <a:gd name="T22" fmla="*/ 160 w 512"/>
              <a:gd name="T23" fmla="*/ 352 h 512"/>
              <a:gd name="T24" fmla="*/ 160 w 512"/>
              <a:gd name="T25" fmla="*/ 160 h 512"/>
              <a:gd name="T26" fmla="*/ 117 w 512"/>
              <a:gd name="T27" fmla="*/ 160 h 512"/>
              <a:gd name="T28" fmla="*/ 117 w 512"/>
              <a:gd name="T29" fmla="*/ 352 h 512"/>
              <a:gd name="T30" fmla="*/ 341 w 512"/>
              <a:gd name="T31" fmla="*/ 352 h 512"/>
              <a:gd name="T32" fmla="*/ 394 w 512"/>
              <a:gd name="T33" fmla="*/ 352 h 512"/>
              <a:gd name="T34" fmla="*/ 394 w 512"/>
              <a:gd name="T35" fmla="*/ 160 h 512"/>
              <a:gd name="T36" fmla="*/ 341 w 512"/>
              <a:gd name="T37" fmla="*/ 160 h 512"/>
              <a:gd name="T38" fmla="*/ 341 w 512"/>
              <a:gd name="T39" fmla="*/ 352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416 w 512"/>
              <a:gd name="T51" fmla="*/ 149 h 512"/>
              <a:gd name="T52" fmla="*/ 405 w 512"/>
              <a:gd name="T53" fmla="*/ 138 h 512"/>
              <a:gd name="T54" fmla="*/ 309 w 512"/>
              <a:gd name="T55" fmla="*/ 138 h 512"/>
              <a:gd name="T56" fmla="*/ 309 w 512"/>
              <a:gd name="T57" fmla="*/ 106 h 512"/>
              <a:gd name="T58" fmla="*/ 298 w 512"/>
              <a:gd name="T59" fmla="*/ 96 h 512"/>
              <a:gd name="T60" fmla="*/ 213 w 512"/>
              <a:gd name="T61" fmla="*/ 96 h 512"/>
              <a:gd name="T62" fmla="*/ 202 w 512"/>
              <a:gd name="T63" fmla="*/ 106 h 512"/>
              <a:gd name="T64" fmla="*/ 202 w 512"/>
              <a:gd name="T65" fmla="*/ 138 h 512"/>
              <a:gd name="T66" fmla="*/ 106 w 512"/>
              <a:gd name="T67" fmla="*/ 138 h 512"/>
              <a:gd name="T68" fmla="*/ 96 w 512"/>
              <a:gd name="T69" fmla="*/ 149 h 512"/>
              <a:gd name="T70" fmla="*/ 96 w 512"/>
              <a:gd name="T71" fmla="*/ 362 h 512"/>
              <a:gd name="T72" fmla="*/ 106 w 512"/>
              <a:gd name="T73" fmla="*/ 373 h 512"/>
              <a:gd name="T74" fmla="*/ 405 w 512"/>
              <a:gd name="T75" fmla="*/ 373 h 512"/>
              <a:gd name="T76" fmla="*/ 416 w 512"/>
              <a:gd name="T77" fmla="*/ 362 h 512"/>
              <a:gd name="T78" fmla="*/ 416 w 512"/>
              <a:gd name="T7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181" y="160"/>
                </a:moveTo>
                <a:cubicBezTo>
                  <a:pt x="320" y="160"/>
                  <a:pt x="320" y="160"/>
                  <a:pt x="320" y="160"/>
                </a:cubicBezTo>
                <a:cubicBezTo>
                  <a:pt x="320" y="352"/>
                  <a:pt x="320" y="352"/>
                  <a:pt x="320" y="352"/>
                </a:cubicBezTo>
                <a:cubicBezTo>
                  <a:pt x="181" y="352"/>
                  <a:pt x="181" y="352"/>
                  <a:pt x="181" y="352"/>
                </a:cubicBezTo>
                <a:lnTo>
                  <a:pt x="181" y="160"/>
                </a:lnTo>
                <a:close/>
                <a:moveTo>
                  <a:pt x="288" y="117"/>
                </a:moveTo>
                <a:cubicBezTo>
                  <a:pt x="224" y="117"/>
                  <a:pt x="224" y="117"/>
                  <a:pt x="224" y="117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88" y="138"/>
                  <a:pt x="288" y="138"/>
                  <a:pt x="288" y="138"/>
                </a:cubicBezTo>
                <a:lnTo>
                  <a:pt x="288" y="117"/>
                </a:lnTo>
                <a:close/>
                <a:moveTo>
                  <a:pt x="117" y="352"/>
                </a:moveTo>
                <a:cubicBezTo>
                  <a:pt x="160" y="352"/>
                  <a:pt x="160" y="352"/>
                  <a:pt x="160" y="352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52"/>
                </a:lnTo>
                <a:close/>
                <a:moveTo>
                  <a:pt x="341" y="352"/>
                </a:moveTo>
                <a:cubicBezTo>
                  <a:pt x="394" y="352"/>
                  <a:pt x="394" y="352"/>
                  <a:pt x="394" y="352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341" y="160"/>
                  <a:pt x="341" y="160"/>
                  <a:pt x="341" y="160"/>
                </a:cubicBezTo>
                <a:lnTo>
                  <a:pt x="341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309" y="138"/>
                  <a:pt x="309" y="138"/>
                  <a:pt x="309" y="138"/>
                </a:cubicBezTo>
                <a:cubicBezTo>
                  <a:pt x="309" y="106"/>
                  <a:pt x="309" y="106"/>
                  <a:pt x="309" y="106"/>
                </a:cubicBezTo>
                <a:cubicBezTo>
                  <a:pt x="309" y="100"/>
                  <a:pt x="304" y="96"/>
                  <a:pt x="298" y="96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07" y="96"/>
                  <a:pt x="202" y="100"/>
                  <a:pt x="202" y="106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7" name="Group 672"/>
          <p:cNvGrpSpPr>
            <a:grpSpLocks noChangeAspect="1"/>
          </p:cNvGrpSpPr>
          <p:nvPr/>
        </p:nvGrpSpPr>
        <p:grpSpPr bwMode="auto">
          <a:xfrm>
            <a:off x="4912954" y="2921943"/>
            <a:ext cx="367982" cy="367982"/>
            <a:chOff x="3043" y="3122"/>
            <a:chExt cx="340" cy="340"/>
          </a:xfrm>
          <a:solidFill>
            <a:schemeClr val="accent2"/>
          </a:solidFill>
        </p:grpSpPr>
        <p:sp>
          <p:nvSpPr>
            <p:cNvPr id="328" name="Freeform 673"/>
            <p:cNvSpPr>
              <a:spLocks noEditPoints="1"/>
            </p:cNvSpPr>
            <p:nvPr/>
          </p:nvSpPr>
          <p:spPr bwMode="auto">
            <a:xfrm>
              <a:off x="3107" y="3186"/>
              <a:ext cx="212" cy="184"/>
            </a:xfrm>
            <a:custGeom>
              <a:avLst/>
              <a:gdLst>
                <a:gd name="T0" fmla="*/ 309 w 320"/>
                <a:gd name="T1" fmla="*/ 42 h 277"/>
                <a:gd name="T2" fmla="*/ 213 w 320"/>
                <a:gd name="T3" fmla="*/ 42 h 277"/>
                <a:gd name="T4" fmla="*/ 213 w 320"/>
                <a:gd name="T5" fmla="*/ 10 h 277"/>
                <a:gd name="T6" fmla="*/ 202 w 320"/>
                <a:gd name="T7" fmla="*/ 0 h 277"/>
                <a:gd name="T8" fmla="*/ 117 w 320"/>
                <a:gd name="T9" fmla="*/ 0 h 277"/>
                <a:gd name="T10" fmla="*/ 106 w 320"/>
                <a:gd name="T11" fmla="*/ 10 h 277"/>
                <a:gd name="T12" fmla="*/ 106 w 320"/>
                <a:gd name="T13" fmla="*/ 42 h 277"/>
                <a:gd name="T14" fmla="*/ 10 w 320"/>
                <a:gd name="T15" fmla="*/ 42 h 277"/>
                <a:gd name="T16" fmla="*/ 0 w 320"/>
                <a:gd name="T17" fmla="*/ 53 h 277"/>
                <a:gd name="T18" fmla="*/ 0 w 320"/>
                <a:gd name="T19" fmla="*/ 266 h 277"/>
                <a:gd name="T20" fmla="*/ 10 w 320"/>
                <a:gd name="T21" fmla="*/ 277 h 277"/>
                <a:gd name="T22" fmla="*/ 309 w 320"/>
                <a:gd name="T23" fmla="*/ 277 h 277"/>
                <a:gd name="T24" fmla="*/ 320 w 320"/>
                <a:gd name="T25" fmla="*/ 266 h 277"/>
                <a:gd name="T26" fmla="*/ 320 w 320"/>
                <a:gd name="T27" fmla="*/ 53 h 277"/>
                <a:gd name="T28" fmla="*/ 309 w 320"/>
                <a:gd name="T29" fmla="*/ 42 h 277"/>
                <a:gd name="T30" fmla="*/ 128 w 320"/>
                <a:gd name="T31" fmla="*/ 21 h 277"/>
                <a:gd name="T32" fmla="*/ 192 w 320"/>
                <a:gd name="T33" fmla="*/ 21 h 277"/>
                <a:gd name="T34" fmla="*/ 192 w 320"/>
                <a:gd name="T35" fmla="*/ 42 h 277"/>
                <a:gd name="T36" fmla="*/ 128 w 320"/>
                <a:gd name="T37" fmla="*/ 42 h 277"/>
                <a:gd name="T38" fmla="*/ 128 w 320"/>
                <a:gd name="T39" fmla="*/ 21 h 277"/>
                <a:gd name="T40" fmla="*/ 21 w 320"/>
                <a:gd name="T41" fmla="*/ 256 h 277"/>
                <a:gd name="T42" fmla="*/ 21 w 320"/>
                <a:gd name="T43" fmla="*/ 64 h 277"/>
                <a:gd name="T44" fmla="*/ 64 w 320"/>
                <a:gd name="T45" fmla="*/ 64 h 277"/>
                <a:gd name="T46" fmla="*/ 64 w 320"/>
                <a:gd name="T47" fmla="*/ 256 h 277"/>
                <a:gd name="T48" fmla="*/ 21 w 320"/>
                <a:gd name="T49" fmla="*/ 256 h 277"/>
                <a:gd name="T50" fmla="*/ 85 w 320"/>
                <a:gd name="T51" fmla="*/ 256 h 277"/>
                <a:gd name="T52" fmla="*/ 85 w 320"/>
                <a:gd name="T53" fmla="*/ 64 h 277"/>
                <a:gd name="T54" fmla="*/ 224 w 320"/>
                <a:gd name="T55" fmla="*/ 64 h 277"/>
                <a:gd name="T56" fmla="*/ 224 w 320"/>
                <a:gd name="T57" fmla="*/ 256 h 277"/>
                <a:gd name="T58" fmla="*/ 85 w 320"/>
                <a:gd name="T59" fmla="*/ 256 h 277"/>
                <a:gd name="T60" fmla="*/ 298 w 320"/>
                <a:gd name="T61" fmla="*/ 256 h 277"/>
                <a:gd name="T62" fmla="*/ 245 w 320"/>
                <a:gd name="T63" fmla="*/ 256 h 277"/>
                <a:gd name="T64" fmla="*/ 245 w 320"/>
                <a:gd name="T65" fmla="*/ 64 h 277"/>
                <a:gd name="T66" fmla="*/ 298 w 320"/>
                <a:gd name="T67" fmla="*/ 64 h 277"/>
                <a:gd name="T68" fmla="*/ 298 w 320"/>
                <a:gd name="T69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77">
                  <a:moveTo>
                    <a:pt x="309" y="42"/>
                  </a:moveTo>
                  <a:cubicBezTo>
                    <a:pt x="213" y="42"/>
                    <a:pt x="213" y="42"/>
                    <a:pt x="213" y="42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8" y="0"/>
                    <a:pt x="202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1" y="0"/>
                    <a:pt x="106" y="4"/>
                    <a:pt x="106" y="1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4" y="42"/>
                    <a:pt x="0" y="47"/>
                    <a:pt x="0" y="53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309" y="277"/>
                    <a:pt x="309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20" y="47"/>
                    <a:pt x="315" y="42"/>
                    <a:pt x="309" y="42"/>
                  </a:cubicBezTo>
                  <a:close/>
                  <a:moveTo>
                    <a:pt x="128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28" y="42"/>
                    <a:pt x="128" y="42"/>
                    <a:pt x="128" y="42"/>
                  </a:cubicBezTo>
                  <a:lnTo>
                    <a:pt x="128" y="21"/>
                  </a:lnTo>
                  <a:close/>
                  <a:moveTo>
                    <a:pt x="21" y="256"/>
                  </a:moveTo>
                  <a:cubicBezTo>
                    <a:pt x="21" y="64"/>
                    <a:pt x="21" y="64"/>
                    <a:pt x="21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256"/>
                    <a:pt x="64" y="256"/>
                    <a:pt x="64" y="256"/>
                  </a:cubicBezTo>
                  <a:lnTo>
                    <a:pt x="21" y="256"/>
                  </a:lnTo>
                  <a:close/>
                  <a:moveTo>
                    <a:pt x="85" y="256"/>
                  </a:moveTo>
                  <a:cubicBezTo>
                    <a:pt x="85" y="64"/>
                    <a:pt x="85" y="64"/>
                    <a:pt x="85" y="6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24" y="256"/>
                    <a:pt x="224" y="256"/>
                    <a:pt x="224" y="256"/>
                  </a:cubicBezTo>
                  <a:lnTo>
                    <a:pt x="85" y="256"/>
                  </a:lnTo>
                  <a:close/>
                  <a:moveTo>
                    <a:pt x="298" y="256"/>
                  </a:moveTo>
                  <a:cubicBezTo>
                    <a:pt x="245" y="256"/>
                    <a:pt x="245" y="256"/>
                    <a:pt x="245" y="256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98" y="64"/>
                    <a:pt x="298" y="64"/>
                    <a:pt x="298" y="64"/>
                  </a:cubicBezTo>
                  <a:lnTo>
                    <a:pt x="29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Freeform 674"/>
            <p:cNvSpPr>
              <a:spLocks noEditPoints="1"/>
            </p:cNvSpPr>
            <p:nvPr/>
          </p:nvSpPr>
          <p:spPr bwMode="auto">
            <a:xfrm>
              <a:off x="3043" y="312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0" name="Freeform 841"/>
          <p:cNvSpPr>
            <a:spLocks noChangeAspect="1" noEditPoints="1"/>
          </p:cNvSpPr>
          <p:nvPr/>
        </p:nvSpPr>
        <p:spPr bwMode="auto">
          <a:xfrm>
            <a:off x="5410129" y="2921943"/>
            <a:ext cx="367982" cy="367982"/>
          </a:xfrm>
          <a:custGeom>
            <a:avLst/>
            <a:gdLst>
              <a:gd name="T0" fmla="*/ 160 w 512"/>
              <a:gd name="T1" fmla="*/ 334 h 512"/>
              <a:gd name="T2" fmla="*/ 128 w 512"/>
              <a:gd name="T3" fmla="*/ 352 h 512"/>
              <a:gd name="T4" fmla="*/ 352 w 512"/>
              <a:gd name="T5" fmla="*/ 352 h 512"/>
              <a:gd name="T6" fmla="*/ 384 w 512"/>
              <a:gd name="T7" fmla="*/ 329 h 512"/>
              <a:gd name="T8" fmla="*/ 352 w 512"/>
              <a:gd name="T9" fmla="*/ 352 h 512"/>
              <a:gd name="T10" fmla="*/ 394 w 512"/>
              <a:gd name="T11" fmla="*/ 300 h 512"/>
              <a:gd name="T12" fmla="*/ 117 w 512"/>
              <a:gd name="T13" fmla="*/ 297 h 512"/>
              <a:gd name="T14" fmla="*/ 158 w 512"/>
              <a:gd name="T15" fmla="*/ 224 h 512"/>
              <a:gd name="T16" fmla="*/ 394 w 512"/>
              <a:gd name="T17" fmla="*/ 266 h 512"/>
              <a:gd name="T18" fmla="*/ 181 w 512"/>
              <a:gd name="T19" fmla="*/ 266 h 512"/>
              <a:gd name="T20" fmla="*/ 138 w 512"/>
              <a:gd name="T21" fmla="*/ 266 h 512"/>
              <a:gd name="T22" fmla="*/ 181 w 512"/>
              <a:gd name="T23" fmla="*/ 266 h 512"/>
              <a:gd name="T24" fmla="*/ 288 w 512"/>
              <a:gd name="T25" fmla="*/ 256 h 512"/>
              <a:gd name="T26" fmla="*/ 213 w 512"/>
              <a:gd name="T27" fmla="*/ 266 h 512"/>
              <a:gd name="T28" fmla="*/ 288 w 512"/>
              <a:gd name="T29" fmla="*/ 277 h 512"/>
              <a:gd name="T30" fmla="*/ 373 w 512"/>
              <a:gd name="T31" fmla="*/ 266 h 512"/>
              <a:gd name="T32" fmla="*/ 330 w 512"/>
              <a:gd name="T33" fmla="*/ 266 h 512"/>
              <a:gd name="T34" fmla="*/ 373 w 512"/>
              <a:gd name="T35" fmla="*/ 266 h 512"/>
              <a:gd name="T36" fmla="*/ 256 w 512"/>
              <a:gd name="T37" fmla="*/ 512 h 512"/>
              <a:gd name="T38" fmla="*/ 256 w 512"/>
              <a:gd name="T39" fmla="*/ 0 h 512"/>
              <a:gd name="T40" fmla="*/ 416 w 512"/>
              <a:gd name="T41" fmla="*/ 266 h 512"/>
              <a:gd name="T42" fmla="*/ 370 w 512"/>
              <a:gd name="T43" fmla="*/ 202 h 512"/>
              <a:gd name="T44" fmla="*/ 394 w 512"/>
              <a:gd name="T45" fmla="*/ 192 h 512"/>
              <a:gd name="T46" fmla="*/ 363 w 512"/>
              <a:gd name="T47" fmla="*/ 181 h 512"/>
              <a:gd name="T48" fmla="*/ 350 w 512"/>
              <a:gd name="T49" fmla="*/ 144 h 512"/>
              <a:gd name="T50" fmla="*/ 202 w 512"/>
              <a:gd name="T51" fmla="*/ 117 h 512"/>
              <a:gd name="T52" fmla="*/ 160 w 512"/>
              <a:gd name="T53" fmla="*/ 146 h 512"/>
              <a:gd name="T54" fmla="*/ 128 w 512"/>
              <a:gd name="T55" fmla="*/ 181 h 512"/>
              <a:gd name="T56" fmla="*/ 128 w 512"/>
              <a:gd name="T57" fmla="*/ 202 h 512"/>
              <a:gd name="T58" fmla="*/ 140 w 512"/>
              <a:gd name="T59" fmla="*/ 205 h 512"/>
              <a:gd name="T60" fmla="*/ 96 w 512"/>
              <a:gd name="T61" fmla="*/ 298 h 512"/>
              <a:gd name="T62" fmla="*/ 106 w 512"/>
              <a:gd name="T63" fmla="*/ 316 h 512"/>
              <a:gd name="T64" fmla="*/ 106 w 512"/>
              <a:gd name="T65" fmla="*/ 320 h 512"/>
              <a:gd name="T66" fmla="*/ 106 w 512"/>
              <a:gd name="T67" fmla="*/ 320 h 512"/>
              <a:gd name="T68" fmla="*/ 117 w 512"/>
              <a:gd name="T69" fmla="*/ 373 h 512"/>
              <a:gd name="T70" fmla="*/ 181 w 512"/>
              <a:gd name="T71" fmla="*/ 362 h 512"/>
              <a:gd name="T72" fmla="*/ 261 w 512"/>
              <a:gd name="T73" fmla="*/ 341 h 512"/>
              <a:gd name="T74" fmla="*/ 330 w 512"/>
              <a:gd name="T75" fmla="*/ 362 h 512"/>
              <a:gd name="T76" fmla="*/ 394 w 512"/>
              <a:gd name="T77" fmla="*/ 373 h 512"/>
              <a:gd name="T78" fmla="*/ 405 w 512"/>
              <a:gd name="T79" fmla="*/ 319 h 512"/>
              <a:gd name="T80" fmla="*/ 416 w 512"/>
              <a:gd name="T81" fmla="*/ 297 h 512"/>
              <a:gd name="T82" fmla="*/ 331 w 512"/>
              <a:gd name="T83" fmla="*/ 153 h 512"/>
              <a:gd name="T84" fmla="*/ 202 w 512"/>
              <a:gd name="T85" fmla="*/ 138 h 512"/>
              <a:gd name="T86" fmla="*/ 164 w 512"/>
              <a:gd name="T87" fmla="*/ 202 h 512"/>
              <a:gd name="T88" fmla="*/ 331 w 512"/>
              <a:gd name="T89" fmla="*/ 15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28" y="327"/>
                </a:moveTo>
                <a:cubicBezTo>
                  <a:pt x="137" y="330"/>
                  <a:pt x="147" y="332"/>
                  <a:pt x="160" y="334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28" y="352"/>
                  <a:pt x="128" y="352"/>
                  <a:pt x="128" y="352"/>
                </a:cubicBezTo>
                <a:lnTo>
                  <a:pt x="128" y="327"/>
                </a:lnTo>
                <a:close/>
                <a:moveTo>
                  <a:pt x="352" y="352"/>
                </a:moveTo>
                <a:cubicBezTo>
                  <a:pt x="384" y="352"/>
                  <a:pt x="384" y="352"/>
                  <a:pt x="384" y="352"/>
                </a:cubicBezTo>
                <a:cubicBezTo>
                  <a:pt x="384" y="329"/>
                  <a:pt x="384" y="329"/>
                  <a:pt x="384" y="329"/>
                </a:cubicBezTo>
                <a:cubicBezTo>
                  <a:pt x="375" y="332"/>
                  <a:pt x="364" y="334"/>
                  <a:pt x="352" y="336"/>
                </a:cubicBezTo>
                <a:lnTo>
                  <a:pt x="352" y="352"/>
                </a:lnTo>
                <a:close/>
                <a:moveTo>
                  <a:pt x="394" y="298"/>
                </a:moveTo>
                <a:cubicBezTo>
                  <a:pt x="394" y="299"/>
                  <a:pt x="394" y="299"/>
                  <a:pt x="394" y="300"/>
                </a:cubicBezTo>
                <a:cubicBezTo>
                  <a:pt x="392" y="302"/>
                  <a:pt x="374" y="320"/>
                  <a:pt x="261" y="320"/>
                </a:cubicBezTo>
                <a:cubicBezTo>
                  <a:pt x="139" y="320"/>
                  <a:pt x="119" y="300"/>
                  <a:pt x="117" y="297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7" y="243"/>
                  <a:pt x="135" y="224"/>
                  <a:pt x="158" y="224"/>
                </a:cubicBezTo>
                <a:cubicBezTo>
                  <a:pt x="354" y="224"/>
                  <a:pt x="354" y="224"/>
                  <a:pt x="354" y="224"/>
                </a:cubicBezTo>
                <a:cubicBezTo>
                  <a:pt x="376" y="224"/>
                  <a:pt x="394" y="243"/>
                  <a:pt x="394" y="266"/>
                </a:cubicBezTo>
                <a:lnTo>
                  <a:pt x="394" y="298"/>
                </a:lnTo>
                <a:close/>
                <a:moveTo>
                  <a:pt x="181" y="266"/>
                </a:moveTo>
                <a:cubicBezTo>
                  <a:pt x="181" y="255"/>
                  <a:pt x="171" y="245"/>
                  <a:pt x="160" y="245"/>
                </a:cubicBezTo>
                <a:cubicBezTo>
                  <a:pt x="148" y="245"/>
                  <a:pt x="138" y="255"/>
                  <a:pt x="138" y="266"/>
                </a:cubicBezTo>
                <a:cubicBezTo>
                  <a:pt x="138" y="278"/>
                  <a:pt x="148" y="288"/>
                  <a:pt x="160" y="288"/>
                </a:cubicBezTo>
                <a:cubicBezTo>
                  <a:pt x="171" y="288"/>
                  <a:pt x="181" y="278"/>
                  <a:pt x="181" y="266"/>
                </a:cubicBezTo>
                <a:close/>
                <a:moveTo>
                  <a:pt x="298" y="266"/>
                </a:moveTo>
                <a:cubicBezTo>
                  <a:pt x="298" y="260"/>
                  <a:pt x="294" y="256"/>
                  <a:pt x="288" y="256"/>
                </a:cubicBezTo>
                <a:cubicBezTo>
                  <a:pt x="224" y="256"/>
                  <a:pt x="224" y="256"/>
                  <a:pt x="224" y="256"/>
                </a:cubicBezTo>
                <a:cubicBezTo>
                  <a:pt x="218" y="256"/>
                  <a:pt x="213" y="260"/>
                  <a:pt x="213" y="266"/>
                </a:cubicBezTo>
                <a:cubicBezTo>
                  <a:pt x="213" y="272"/>
                  <a:pt x="218" y="277"/>
                  <a:pt x="224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94" y="277"/>
                  <a:pt x="298" y="272"/>
                  <a:pt x="298" y="266"/>
                </a:cubicBezTo>
                <a:close/>
                <a:moveTo>
                  <a:pt x="373" y="266"/>
                </a:moveTo>
                <a:cubicBezTo>
                  <a:pt x="373" y="255"/>
                  <a:pt x="363" y="245"/>
                  <a:pt x="352" y="245"/>
                </a:cubicBezTo>
                <a:cubicBezTo>
                  <a:pt x="340" y="245"/>
                  <a:pt x="330" y="255"/>
                  <a:pt x="330" y="266"/>
                </a:cubicBezTo>
                <a:cubicBezTo>
                  <a:pt x="330" y="278"/>
                  <a:pt x="340" y="288"/>
                  <a:pt x="352" y="288"/>
                </a:cubicBezTo>
                <a:cubicBezTo>
                  <a:pt x="363" y="288"/>
                  <a:pt x="373" y="278"/>
                  <a:pt x="373" y="26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66"/>
                </a:moveTo>
                <a:cubicBezTo>
                  <a:pt x="416" y="237"/>
                  <a:pt x="397" y="213"/>
                  <a:pt x="371" y="205"/>
                </a:cubicBezTo>
                <a:cubicBezTo>
                  <a:pt x="370" y="202"/>
                  <a:pt x="370" y="202"/>
                  <a:pt x="370" y="202"/>
                </a:cubicBezTo>
                <a:cubicBezTo>
                  <a:pt x="384" y="202"/>
                  <a:pt x="384" y="202"/>
                  <a:pt x="384" y="202"/>
                </a:cubicBezTo>
                <a:cubicBezTo>
                  <a:pt x="390" y="202"/>
                  <a:pt x="394" y="198"/>
                  <a:pt x="394" y="192"/>
                </a:cubicBezTo>
                <a:cubicBezTo>
                  <a:pt x="394" y="186"/>
                  <a:pt x="390" y="181"/>
                  <a:pt x="384" y="181"/>
                </a:cubicBezTo>
                <a:cubicBezTo>
                  <a:pt x="363" y="181"/>
                  <a:pt x="363" y="181"/>
                  <a:pt x="363" y="181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0" y="144"/>
                </a:cubicBezTo>
                <a:cubicBezTo>
                  <a:pt x="350" y="143"/>
                  <a:pt x="336" y="117"/>
                  <a:pt x="309" y="117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76" y="117"/>
                  <a:pt x="161" y="143"/>
                  <a:pt x="161" y="144"/>
                </a:cubicBezTo>
                <a:cubicBezTo>
                  <a:pt x="161" y="145"/>
                  <a:pt x="160" y="145"/>
                  <a:pt x="160" y="146"/>
                </a:cubicBezTo>
                <a:cubicBezTo>
                  <a:pt x="148" y="181"/>
                  <a:pt x="148" y="181"/>
                  <a:pt x="148" y="181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122" y="181"/>
                  <a:pt x="117" y="186"/>
                  <a:pt x="117" y="192"/>
                </a:cubicBezTo>
                <a:cubicBezTo>
                  <a:pt x="117" y="198"/>
                  <a:pt x="122" y="202"/>
                  <a:pt x="128" y="202"/>
                </a:cubicBezTo>
                <a:cubicBezTo>
                  <a:pt x="141" y="202"/>
                  <a:pt x="141" y="202"/>
                  <a:pt x="141" y="202"/>
                </a:cubicBezTo>
                <a:cubicBezTo>
                  <a:pt x="140" y="205"/>
                  <a:pt x="140" y="205"/>
                  <a:pt x="140" y="205"/>
                </a:cubicBezTo>
                <a:cubicBezTo>
                  <a:pt x="115" y="213"/>
                  <a:pt x="96" y="237"/>
                  <a:pt x="96" y="266"/>
                </a:cubicBezTo>
                <a:cubicBezTo>
                  <a:pt x="96" y="298"/>
                  <a:pt x="96" y="298"/>
                  <a:pt x="96" y="298"/>
                </a:cubicBezTo>
                <a:cubicBezTo>
                  <a:pt x="96" y="300"/>
                  <a:pt x="96" y="306"/>
                  <a:pt x="102" y="312"/>
                </a:cubicBezTo>
                <a:cubicBezTo>
                  <a:pt x="103" y="314"/>
                  <a:pt x="106" y="316"/>
                  <a:pt x="106" y="316"/>
                </a:cubicBezTo>
                <a:cubicBezTo>
                  <a:pt x="106" y="320"/>
                  <a:pt x="106" y="320"/>
                  <a:pt x="106" y="320"/>
                </a:cubicBezTo>
                <a:cubicBezTo>
                  <a:pt x="106" y="320"/>
                  <a:pt x="106" y="320"/>
                  <a:pt x="106" y="320"/>
                </a:cubicBezTo>
                <a:cubicBezTo>
                  <a:pt x="106" y="320"/>
                  <a:pt x="106" y="320"/>
                  <a:pt x="106" y="320"/>
                </a:cubicBezTo>
                <a:cubicBezTo>
                  <a:pt x="106" y="320"/>
                  <a:pt x="106" y="320"/>
                  <a:pt x="106" y="320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6" y="368"/>
                  <a:pt x="111" y="373"/>
                  <a:pt x="117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76" y="373"/>
                  <a:pt x="181" y="368"/>
                  <a:pt x="181" y="362"/>
                </a:cubicBezTo>
                <a:cubicBezTo>
                  <a:pt x="181" y="337"/>
                  <a:pt x="181" y="337"/>
                  <a:pt x="181" y="337"/>
                </a:cubicBezTo>
                <a:cubicBezTo>
                  <a:pt x="203" y="340"/>
                  <a:pt x="230" y="341"/>
                  <a:pt x="261" y="341"/>
                </a:cubicBezTo>
                <a:cubicBezTo>
                  <a:pt x="288" y="341"/>
                  <a:pt x="311" y="340"/>
                  <a:pt x="330" y="338"/>
                </a:cubicBezTo>
                <a:cubicBezTo>
                  <a:pt x="330" y="362"/>
                  <a:pt x="330" y="362"/>
                  <a:pt x="330" y="362"/>
                </a:cubicBezTo>
                <a:cubicBezTo>
                  <a:pt x="330" y="368"/>
                  <a:pt x="335" y="373"/>
                  <a:pt x="341" y="373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400" y="373"/>
                  <a:pt x="405" y="368"/>
                  <a:pt x="405" y="362"/>
                </a:cubicBezTo>
                <a:cubicBezTo>
                  <a:pt x="405" y="362"/>
                  <a:pt x="405" y="319"/>
                  <a:pt x="405" y="319"/>
                </a:cubicBezTo>
                <a:cubicBezTo>
                  <a:pt x="408" y="316"/>
                  <a:pt x="410" y="314"/>
                  <a:pt x="412" y="311"/>
                </a:cubicBezTo>
                <a:cubicBezTo>
                  <a:pt x="416" y="306"/>
                  <a:pt x="416" y="301"/>
                  <a:pt x="416" y="297"/>
                </a:cubicBezTo>
                <a:lnTo>
                  <a:pt x="416" y="266"/>
                </a:lnTo>
                <a:close/>
                <a:moveTo>
                  <a:pt x="331" y="153"/>
                </a:moveTo>
                <a:cubicBezTo>
                  <a:pt x="329" y="151"/>
                  <a:pt x="321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90" y="138"/>
                  <a:pt x="182" y="150"/>
                  <a:pt x="180" y="153"/>
                </a:cubicBezTo>
                <a:cubicBezTo>
                  <a:pt x="164" y="202"/>
                  <a:pt x="164" y="202"/>
                  <a:pt x="164" y="202"/>
                </a:cubicBezTo>
                <a:cubicBezTo>
                  <a:pt x="348" y="202"/>
                  <a:pt x="348" y="202"/>
                  <a:pt x="348" y="202"/>
                </a:cubicBezTo>
                <a:lnTo>
                  <a:pt x="331" y="15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1" name="Group 844"/>
          <p:cNvGrpSpPr>
            <a:grpSpLocks noChangeAspect="1"/>
          </p:cNvGrpSpPr>
          <p:nvPr/>
        </p:nvGrpSpPr>
        <p:grpSpPr bwMode="auto">
          <a:xfrm>
            <a:off x="5907304" y="2921943"/>
            <a:ext cx="367982" cy="367982"/>
            <a:chOff x="4857" y="3821"/>
            <a:chExt cx="340" cy="340"/>
          </a:xfrm>
          <a:solidFill>
            <a:schemeClr val="accent4"/>
          </a:solidFill>
        </p:grpSpPr>
        <p:sp>
          <p:nvSpPr>
            <p:cNvPr id="332" name="Freeform 845"/>
            <p:cNvSpPr>
              <a:spLocks noEditPoints="1"/>
            </p:cNvSpPr>
            <p:nvPr/>
          </p:nvSpPr>
          <p:spPr bwMode="auto">
            <a:xfrm>
              <a:off x="4857" y="382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21 w 512"/>
                <a:gd name="T3" fmla="*/ 256 h 512"/>
                <a:gd name="T4" fmla="*/ 256 w 512"/>
                <a:gd name="T5" fmla="*/ 490 h 512"/>
                <a:gd name="T6" fmla="*/ 490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512 w 512"/>
                <a:gd name="T13" fmla="*/ 256 h 512"/>
                <a:gd name="T14" fmla="*/ 256 w 512"/>
                <a:gd name="T15" fmla="*/ 512 h 512"/>
                <a:gd name="T16" fmla="*/ 0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126" y="21"/>
                    <a:pt x="21" y="126"/>
                    <a:pt x="21" y="256"/>
                  </a:cubicBezTo>
                  <a:cubicBezTo>
                    <a:pt x="21" y="385"/>
                    <a:pt x="126" y="490"/>
                    <a:pt x="256" y="490"/>
                  </a:cubicBezTo>
                  <a:cubicBezTo>
                    <a:pt x="385" y="490"/>
                    <a:pt x="490" y="385"/>
                    <a:pt x="490" y="256"/>
                  </a:cubicBezTo>
                  <a:cubicBezTo>
                    <a:pt x="490" y="126"/>
                    <a:pt x="385" y="21"/>
                    <a:pt x="256" y="21"/>
                  </a:cubicBezTo>
                  <a:moveTo>
                    <a:pt x="256" y="0"/>
                  </a:moveTo>
                  <a:cubicBezTo>
                    <a:pt x="397" y="0"/>
                    <a:pt x="512" y="114"/>
                    <a:pt x="512" y="256"/>
                  </a:cubicBez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846"/>
            <p:cNvSpPr>
              <a:spLocks noEditPoints="1"/>
            </p:cNvSpPr>
            <p:nvPr/>
          </p:nvSpPr>
          <p:spPr bwMode="auto">
            <a:xfrm>
              <a:off x="4921" y="3899"/>
              <a:ext cx="212" cy="170"/>
            </a:xfrm>
            <a:custGeom>
              <a:avLst/>
              <a:gdLst>
                <a:gd name="T0" fmla="*/ 64 w 320"/>
                <a:gd name="T1" fmla="*/ 171 h 256"/>
                <a:gd name="T2" fmla="*/ 64 w 320"/>
                <a:gd name="T3" fmla="*/ 128 h 256"/>
                <a:gd name="T4" fmla="*/ 256 w 320"/>
                <a:gd name="T5" fmla="*/ 128 h 256"/>
                <a:gd name="T6" fmla="*/ 256 w 320"/>
                <a:gd name="T7" fmla="*/ 171 h 256"/>
                <a:gd name="T8" fmla="*/ 256 w 320"/>
                <a:gd name="T9" fmla="*/ 128 h 256"/>
                <a:gd name="T10" fmla="*/ 309 w 320"/>
                <a:gd name="T11" fmla="*/ 202 h 256"/>
                <a:gd name="T12" fmla="*/ 298 w 320"/>
                <a:gd name="T13" fmla="*/ 256 h 256"/>
                <a:gd name="T14" fmla="*/ 234 w 320"/>
                <a:gd name="T15" fmla="*/ 245 h 256"/>
                <a:gd name="T16" fmla="*/ 165 w 320"/>
                <a:gd name="T17" fmla="*/ 224 h 256"/>
                <a:gd name="T18" fmla="*/ 85 w 320"/>
                <a:gd name="T19" fmla="*/ 245 h 256"/>
                <a:gd name="T20" fmla="*/ 21 w 320"/>
                <a:gd name="T21" fmla="*/ 256 h 256"/>
                <a:gd name="T22" fmla="*/ 10 w 320"/>
                <a:gd name="T23" fmla="*/ 203 h 256"/>
                <a:gd name="T24" fmla="*/ 10 w 320"/>
                <a:gd name="T25" fmla="*/ 203 h 256"/>
                <a:gd name="T26" fmla="*/ 10 w 320"/>
                <a:gd name="T27" fmla="*/ 203 h 256"/>
                <a:gd name="T28" fmla="*/ 10 w 320"/>
                <a:gd name="T29" fmla="*/ 199 h 256"/>
                <a:gd name="T30" fmla="*/ 0 w 320"/>
                <a:gd name="T31" fmla="*/ 181 h 256"/>
                <a:gd name="T32" fmla="*/ 44 w 320"/>
                <a:gd name="T33" fmla="*/ 88 h 256"/>
                <a:gd name="T34" fmla="*/ 32 w 320"/>
                <a:gd name="T35" fmla="*/ 85 h 256"/>
                <a:gd name="T36" fmla="*/ 32 w 320"/>
                <a:gd name="T37" fmla="*/ 64 h 256"/>
                <a:gd name="T38" fmla="*/ 64 w 320"/>
                <a:gd name="T39" fmla="*/ 29 h 256"/>
                <a:gd name="T40" fmla="*/ 106 w 320"/>
                <a:gd name="T41" fmla="*/ 0 h 256"/>
                <a:gd name="T42" fmla="*/ 254 w 320"/>
                <a:gd name="T43" fmla="*/ 27 h 256"/>
                <a:gd name="T44" fmla="*/ 267 w 320"/>
                <a:gd name="T45" fmla="*/ 64 h 256"/>
                <a:gd name="T46" fmla="*/ 298 w 320"/>
                <a:gd name="T47" fmla="*/ 75 h 256"/>
                <a:gd name="T48" fmla="*/ 274 w 320"/>
                <a:gd name="T49" fmla="*/ 85 h 256"/>
                <a:gd name="T50" fmla="*/ 320 w 320"/>
                <a:gd name="T51" fmla="*/ 149 h 256"/>
                <a:gd name="T52" fmla="*/ 316 w 320"/>
                <a:gd name="T53" fmla="*/ 194 h 256"/>
                <a:gd name="T54" fmla="*/ 252 w 320"/>
                <a:gd name="T55" fmla="*/ 85 h 256"/>
                <a:gd name="T56" fmla="*/ 213 w 320"/>
                <a:gd name="T57" fmla="*/ 21 h 256"/>
                <a:gd name="T58" fmla="*/ 84 w 320"/>
                <a:gd name="T59" fmla="*/ 36 h 256"/>
                <a:gd name="T60" fmla="*/ 64 w 320"/>
                <a:gd name="T61" fmla="*/ 217 h 256"/>
                <a:gd name="T62" fmla="*/ 32 w 320"/>
                <a:gd name="T63" fmla="*/ 235 h 256"/>
                <a:gd name="T64" fmla="*/ 64 w 320"/>
                <a:gd name="T65" fmla="*/ 217 h 256"/>
                <a:gd name="T66" fmla="*/ 298 w 320"/>
                <a:gd name="T67" fmla="*/ 183 h 256"/>
                <a:gd name="T68" fmla="*/ 298 w 320"/>
                <a:gd name="T69" fmla="*/ 149 h 256"/>
                <a:gd name="T70" fmla="*/ 62 w 320"/>
                <a:gd name="T71" fmla="*/ 107 h 256"/>
                <a:gd name="T72" fmla="*/ 21 w 320"/>
                <a:gd name="T73" fmla="*/ 180 h 256"/>
                <a:gd name="T74" fmla="*/ 288 w 320"/>
                <a:gd name="T75" fmla="*/ 212 h 256"/>
                <a:gd name="T76" fmla="*/ 256 w 320"/>
                <a:gd name="T77" fmla="*/ 235 h 256"/>
                <a:gd name="T78" fmla="*/ 288 w 320"/>
                <a:gd name="T79" fmla="*/ 212 h 256"/>
                <a:gd name="T80" fmla="*/ 128 w 320"/>
                <a:gd name="T81" fmla="*/ 139 h 256"/>
                <a:gd name="T82" fmla="*/ 128 w 320"/>
                <a:gd name="T83" fmla="*/ 160 h 256"/>
                <a:gd name="T84" fmla="*/ 202 w 320"/>
                <a:gd name="T85" fmla="*/ 14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85" y="149"/>
                  </a:moveTo>
                  <a:cubicBezTo>
                    <a:pt x="85" y="161"/>
                    <a:pt x="75" y="171"/>
                    <a:pt x="64" y="171"/>
                  </a:cubicBezTo>
                  <a:cubicBezTo>
                    <a:pt x="52" y="171"/>
                    <a:pt x="42" y="161"/>
                    <a:pt x="42" y="149"/>
                  </a:cubicBezTo>
                  <a:cubicBezTo>
                    <a:pt x="42" y="138"/>
                    <a:pt x="52" y="128"/>
                    <a:pt x="64" y="128"/>
                  </a:cubicBezTo>
                  <a:cubicBezTo>
                    <a:pt x="75" y="128"/>
                    <a:pt x="85" y="138"/>
                    <a:pt x="85" y="149"/>
                  </a:cubicBezTo>
                  <a:close/>
                  <a:moveTo>
                    <a:pt x="256" y="128"/>
                  </a:moveTo>
                  <a:cubicBezTo>
                    <a:pt x="244" y="128"/>
                    <a:pt x="234" y="138"/>
                    <a:pt x="234" y="149"/>
                  </a:cubicBezTo>
                  <a:cubicBezTo>
                    <a:pt x="234" y="161"/>
                    <a:pt x="244" y="171"/>
                    <a:pt x="256" y="171"/>
                  </a:cubicBezTo>
                  <a:cubicBezTo>
                    <a:pt x="267" y="171"/>
                    <a:pt x="277" y="161"/>
                    <a:pt x="277" y="149"/>
                  </a:cubicBezTo>
                  <a:cubicBezTo>
                    <a:pt x="277" y="138"/>
                    <a:pt x="267" y="128"/>
                    <a:pt x="256" y="128"/>
                  </a:cubicBezTo>
                  <a:close/>
                  <a:moveTo>
                    <a:pt x="316" y="194"/>
                  </a:moveTo>
                  <a:cubicBezTo>
                    <a:pt x="314" y="197"/>
                    <a:pt x="312" y="199"/>
                    <a:pt x="309" y="202"/>
                  </a:cubicBezTo>
                  <a:cubicBezTo>
                    <a:pt x="309" y="202"/>
                    <a:pt x="309" y="245"/>
                    <a:pt x="309" y="245"/>
                  </a:cubicBezTo>
                  <a:cubicBezTo>
                    <a:pt x="309" y="251"/>
                    <a:pt x="304" y="256"/>
                    <a:pt x="298" y="256"/>
                  </a:cubicBezTo>
                  <a:cubicBezTo>
                    <a:pt x="245" y="256"/>
                    <a:pt x="245" y="256"/>
                    <a:pt x="245" y="256"/>
                  </a:cubicBezTo>
                  <a:cubicBezTo>
                    <a:pt x="239" y="256"/>
                    <a:pt x="234" y="251"/>
                    <a:pt x="234" y="245"/>
                  </a:cubicBezTo>
                  <a:cubicBezTo>
                    <a:pt x="234" y="221"/>
                    <a:pt x="234" y="221"/>
                    <a:pt x="234" y="221"/>
                  </a:cubicBezTo>
                  <a:cubicBezTo>
                    <a:pt x="215" y="223"/>
                    <a:pt x="192" y="224"/>
                    <a:pt x="165" y="224"/>
                  </a:cubicBezTo>
                  <a:cubicBezTo>
                    <a:pt x="134" y="224"/>
                    <a:pt x="107" y="223"/>
                    <a:pt x="85" y="220"/>
                  </a:cubicBezTo>
                  <a:cubicBezTo>
                    <a:pt x="85" y="245"/>
                    <a:pt x="85" y="245"/>
                    <a:pt x="85" y="245"/>
                  </a:cubicBezTo>
                  <a:cubicBezTo>
                    <a:pt x="85" y="251"/>
                    <a:pt x="80" y="256"/>
                    <a:pt x="74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15" y="256"/>
                    <a:pt x="10" y="251"/>
                    <a:pt x="10" y="245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203"/>
                    <a:pt x="10" y="203"/>
                    <a:pt x="10" y="203"/>
                  </a:cubicBezTo>
                  <a:cubicBezTo>
                    <a:pt x="10" y="199"/>
                    <a:pt x="10" y="199"/>
                    <a:pt x="10" y="199"/>
                  </a:cubicBezTo>
                  <a:cubicBezTo>
                    <a:pt x="10" y="199"/>
                    <a:pt x="7" y="197"/>
                    <a:pt x="6" y="195"/>
                  </a:cubicBezTo>
                  <a:cubicBezTo>
                    <a:pt x="0" y="189"/>
                    <a:pt x="0" y="183"/>
                    <a:pt x="0" y="18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20"/>
                    <a:pt x="19" y="96"/>
                    <a:pt x="44" y="88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26" y="85"/>
                    <a:pt x="21" y="81"/>
                    <a:pt x="21" y="75"/>
                  </a:cubicBezTo>
                  <a:cubicBezTo>
                    <a:pt x="21" y="69"/>
                    <a:pt x="26" y="64"/>
                    <a:pt x="3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8"/>
                    <a:pt x="65" y="28"/>
                    <a:pt x="65" y="27"/>
                  </a:cubicBezTo>
                  <a:cubicBezTo>
                    <a:pt x="65" y="26"/>
                    <a:pt x="80" y="0"/>
                    <a:pt x="10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40" y="0"/>
                    <a:pt x="254" y="26"/>
                    <a:pt x="254" y="27"/>
                  </a:cubicBezTo>
                  <a:cubicBezTo>
                    <a:pt x="255" y="28"/>
                    <a:pt x="255" y="28"/>
                    <a:pt x="255" y="29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94" y="64"/>
                    <a:pt x="298" y="69"/>
                    <a:pt x="298" y="75"/>
                  </a:cubicBezTo>
                  <a:cubicBezTo>
                    <a:pt x="298" y="81"/>
                    <a:pt x="294" y="85"/>
                    <a:pt x="288" y="85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5" y="88"/>
                    <a:pt x="275" y="88"/>
                    <a:pt x="275" y="88"/>
                  </a:cubicBezTo>
                  <a:cubicBezTo>
                    <a:pt x="301" y="96"/>
                    <a:pt x="320" y="120"/>
                    <a:pt x="320" y="149"/>
                  </a:cubicBezTo>
                  <a:cubicBezTo>
                    <a:pt x="320" y="180"/>
                    <a:pt x="320" y="180"/>
                    <a:pt x="320" y="180"/>
                  </a:cubicBezTo>
                  <a:cubicBezTo>
                    <a:pt x="320" y="184"/>
                    <a:pt x="320" y="189"/>
                    <a:pt x="316" y="194"/>
                  </a:cubicBezTo>
                  <a:close/>
                  <a:moveTo>
                    <a:pt x="68" y="85"/>
                  </a:moveTo>
                  <a:cubicBezTo>
                    <a:pt x="252" y="85"/>
                    <a:pt x="252" y="85"/>
                    <a:pt x="252" y="85"/>
                  </a:cubicBezTo>
                  <a:cubicBezTo>
                    <a:pt x="235" y="36"/>
                    <a:pt x="235" y="36"/>
                    <a:pt x="235" y="36"/>
                  </a:cubicBezTo>
                  <a:cubicBezTo>
                    <a:pt x="233" y="34"/>
                    <a:pt x="225" y="21"/>
                    <a:pt x="213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4" y="21"/>
                    <a:pt x="86" y="33"/>
                    <a:pt x="84" y="36"/>
                  </a:cubicBezTo>
                  <a:lnTo>
                    <a:pt x="68" y="85"/>
                  </a:lnTo>
                  <a:close/>
                  <a:moveTo>
                    <a:pt x="64" y="217"/>
                  </a:moveTo>
                  <a:cubicBezTo>
                    <a:pt x="51" y="215"/>
                    <a:pt x="41" y="213"/>
                    <a:pt x="32" y="210"/>
                  </a:cubicBezTo>
                  <a:cubicBezTo>
                    <a:pt x="32" y="235"/>
                    <a:pt x="32" y="235"/>
                    <a:pt x="32" y="235"/>
                  </a:cubicBezTo>
                  <a:cubicBezTo>
                    <a:pt x="64" y="235"/>
                    <a:pt x="64" y="235"/>
                    <a:pt x="64" y="235"/>
                  </a:cubicBezTo>
                  <a:lnTo>
                    <a:pt x="64" y="217"/>
                  </a:lnTo>
                  <a:close/>
                  <a:moveTo>
                    <a:pt x="165" y="203"/>
                  </a:moveTo>
                  <a:cubicBezTo>
                    <a:pt x="278" y="203"/>
                    <a:pt x="296" y="185"/>
                    <a:pt x="298" y="183"/>
                  </a:cubicBezTo>
                  <a:cubicBezTo>
                    <a:pt x="298" y="182"/>
                    <a:pt x="298" y="182"/>
                    <a:pt x="298" y="181"/>
                  </a:cubicBezTo>
                  <a:cubicBezTo>
                    <a:pt x="298" y="149"/>
                    <a:pt x="298" y="149"/>
                    <a:pt x="298" y="149"/>
                  </a:cubicBezTo>
                  <a:cubicBezTo>
                    <a:pt x="298" y="126"/>
                    <a:pt x="280" y="107"/>
                    <a:pt x="258" y="107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39" y="107"/>
                    <a:pt x="21" y="126"/>
                    <a:pt x="21" y="149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3" y="183"/>
                    <a:pt x="43" y="203"/>
                    <a:pt x="165" y="203"/>
                  </a:cubicBezTo>
                  <a:close/>
                  <a:moveTo>
                    <a:pt x="288" y="212"/>
                  </a:moveTo>
                  <a:cubicBezTo>
                    <a:pt x="279" y="215"/>
                    <a:pt x="268" y="217"/>
                    <a:pt x="256" y="219"/>
                  </a:cubicBezTo>
                  <a:cubicBezTo>
                    <a:pt x="256" y="235"/>
                    <a:pt x="256" y="235"/>
                    <a:pt x="256" y="235"/>
                  </a:cubicBezTo>
                  <a:cubicBezTo>
                    <a:pt x="288" y="235"/>
                    <a:pt x="288" y="235"/>
                    <a:pt x="288" y="235"/>
                  </a:cubicBezTo>
                  <a:lnTo>
                    <a:pt x="288" y="212"/>
                  </a:lnTo>
                  <a:close/>
                  <a:moveTo>
                    <a:pt x="192" y="139"/>
                  </a:moveTo>
                  <a:cubicBezTo>
                    <a:pt x="128" y="139"/>
                    <a:pt x="128" y="139"/>
                    <a:pt x="128" y="139"/>
                  </a:cubicBezTo>
                  <a:cubicBezTo>
                    <a:pt x="122" y="139"/>
                    <a:pt x="117" y="143"/>
                    <a:pt x="117" y="149"/>
                  </a:cubicBezTo>
                  <a:cubicBezTo>
                    <a:pt x="117" y="155"/>
                    <a:pt x="122" y="160"/>
                    <a:pt x="128" y="160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8" y="160"/>
                    <a:pt x="202" y="155"/>
                    <a:pt x="202" y="149"/>
                  </a:cubicBezTo>
                  <a:cubicBezTo>
                    <a:pt x="202" y="143"/>
                    <a:pt x="198" y="139"/>
                    <a:pt x="192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4" name="Freeform 850"/>
          <p:cNvSpPr>
            <a:spLocks noChangeAspect="1" noEditPoints="1"/>
          </p:cNvSpPr>
          <p:nvPr/>
        </p:nvSpPr>
        <p:spPr bwMode="auto">
          <a:xfrm>
            <a:off x="6404479" y="2921943"/>
            <a:ext cx="369064" cy="367982"/>
          </a:xfrm>
          <a:custGeom>
            <a:avLst/>
            <a:gdLst>
              <a:gd name="T0" fmla="*/ 384 w 512"/>
              <a:gd name="T1" fmla="*/ 329 h 512"/>
              <a:gd name="T2" fmla="*/ 352 w 512"/>
              <a:gd name="T3" fmla="*/ 352 h 512"/>
              <a:gd name="T4" fmla="*/ 128 w 512"/>
              <a:gd name="T5" fmla="*/ 352 h 512"/>
              <a:gd name="T6" fmla="*/ 160 w 512"/>
              <a:gd name="T7" fmla="*/ 334 h 512"/>
              <a:gd name="T8" fmla="*/ 128 w 512"/>
              <a:gd name="T9" fmla="*/ 352 h 512"/>
              <a:gd name="T10" fmla="*/ 256 w 512"/>
              <a:gd name="T11" fmla="*/ 512 h 512"/>
              <a:gd name="T12" fmla="*/ 256 w 512"/>
              <a:gd name="T13" fmla="*/ 0 h 512"/>
              <a:gd name="T14" fmla="*/ 416 w 512"/>
              <a:gd name="T15" fmla="*/ 297 h 512"/>
              <a:gd name="T16" fmla="*/ 371 w 512"/>
              <a:gd name="T17" fmla="*/ 205 h 512"/>
              <a:gd name="T18" fmla="*/ 384 w 512"/>
              <a:gd name="T19" fmla="*/ 202 h 512"/>
              <a:gd name="T20" fmla="*/ 384 w 512"/>
              <a:gd name="T21" fmla="*/ 181 h 512"/>
              <a:gd name="T22" fmla="*/ 351 w 512"/>
              <a:gd name="T23" fmla="*/ 146 h 512"/>
              <a:gd name="T24" fmla="*/ 309 w 512"/>
              <a:gd name="T25" fmla="*/ 117 h 512"/>
              <a:gd name="T26" fmla="*/ 161 w 512"/>
              <a:gd name="T27" fmla="*/ 144 h 512"/>
              <a:gd name="T28" fmla="*/ 148 w 512"/>
              <a:gd name="T29" fmla="*/ 181 h 512"/>
              <a:gd name="T30" fmla="*/ 117 w 512"/>
              <a:gd name="T31" fmla="*/ 192 h 512"/>
              <a:gd name="T32" fmla="*/ 141 w 512"/>
              <a:gd name="T33" fmla="*/ 202 h 512"/>
              <a:gd name="T34" fmla="*/ 96 w 512"/>
              <a:gd name="T35" fmla="*/ 266 h 512"/>
              <a:gd name="T36" fmla="*/ 102 w 512"/>
              <a:gd name="T37" fmla="*/ 312 h 512"/>
              <a:gd name="T38" fmla="*/ 106 w 512"/>
              <a:gd name="T39" fmla="*/ 362 h 512"/>
              <a:gd name="T40" fmla="*/ 170 w 512"/>
              <a:gd name="T41" fmla="*/ 373 h 512"/>
              <a:gd name="T42" fmla="*/ 181 w 512"/>
              <a:gd name="T43" fmla="*/ 337 h 512"/>
              <a:gd name="T44" fmla="*/ 330 w 512"/>
              <a:gd name="T45" fmla="*/ 338 h 512"/>
              <a:gd name="T46" fmla="*/ 341 w 512"/>
              <a:gd name="T47" fmla="*/ 373 h 512"/>
              <a:gd name="T48" fmla="*/ 405 w 512"/>
              <a:gd name="T49" fmla="*/ 362 h 512"/>
              <a:gd name="T50" fmla="*/ 412 w 512"/>
              <a:gd name="T51" fmla="*/ 311 h 512"/>
              <a:gd name="T52" fmla="*/ 331 w 512"/>
              <a:gd name="T53" fmla="*/ 153 h 512"/>
              <a:gd name="T54" fmla="*/ 202 w 512"/>
              <a:gd name="T55" fmla="*/ 138 h 512"/>
              <a:gd name="T56" fmla="*/ 164 w 512"/>
              <a:gd name="T57" fmla="*/ 202 h 512"/>
              <a:gd name="T58" fmla="*/ 331 w 512"/>
              <a:gd name="T59" fmla="*/ 153 h 512"/>
              <a:gd name="T60" fmla="*/ 394 w 512"/>
              <a:gd name="T61" fmla="*/ 300 h 512"/>
              <a:gd name="T62" fmla="*/ 117 w 512"/>
              <a:gd name="T63" fmla="*/ 297 h 512"/>
              <a:gd name="T64" fmla="*/ 158 w 512"/>
              <a:gd name="T65" fmla="*/ 224 h 512"/>
              <a:gd name="T66" fmla="*/ 394 w 512"/>
              <a:gd name="T67" fmla="*/ 266 h 512"/>
              <a:gd name="T68" fmla="*/ 246 w 512"/>
              <a:gd name="T69" fmla="*/ 294 h 512"/>
              <a:gd name="T70" fmla="*/ 214 w 512"/>
              <a:gd name="T71" fmla="*/ 293 h 512"/>
              <a:gd name="T72" fmla="*/ 236 w 512"/>
              <a:gd name="T73" fmla="*/ 271 h 512"/>
              <a:gd name="T74" fmla="*/ 244 w 512"/>
              <a:gd name="T75" fmla="*/ 253 h 512"/>
              <a:gd name="T76" fmla="*/ 233 w 512"/>
              <a:gd name="T77" fmla="*/ 236 h 512"/>
              <a:gd name="T78" fmla="*/ 212 w 512"/>
              <a:gd name="T79" fmla="*/ 235 h 512"/>
              <a:gd name="T80" fmla="*/ 195 w 512"/>
              <a:gd name="T81" fmla="*/ 244 h 512"/>
              <a:gd name="T82" fmla="*/ 212 w 512"/>
              <a:gd name="T83" fmla="*/ 248 h 512"/>
              <a:gd name="T84" fmla="*/ 226 w 512"/>
              <a:gd name="T85" fmla="*/ 249 h 512"/>
              <a:gd name="T86" fmla="*/ 227 w 512"/>
              <a:gd name="T87" fmla="*/ 261 h 512"/>
              <a:gd name="T88" fmla="*/ 214 w 512"/>
              <a:gd name="T89" fmla="*/ 278 h 512"/>
              <a:gd name="T90" fmla="*/ 196 w 512"/>
              <a:gd name="T91" fmla="*/ 306 h 512"/>
              <a:gd name="T92" fmla="*/ 246 w 512"/>
              <a:gd name="T93" fmla="*/ 294 h 512"/>
              <a:gd name="T94" fmla="*/ 283 w 512"/>
              <a:gd name="T95" fmla="*/ 266 h 512"/>
              <a:gd name="T96" fmla="*/ 272 w 512"/>
              <a:gd name="T97" fmla="*/ 247 h 512"/>
              <a:gd name="T98" fmla="*/ 253 w 512"/>
              <a:gd name="T99" fmla="*/ 266 h 512"/>
              <a:gd name="T100" fmla="*/ 272 w 512"/>
              <a:gd name="T101" fmla="*/ 276 h 512"/>
              <a:gd name="T102" fmla="*/ 283 w 512"/>
              <a:gd name="T103" fmla="*/ 295 h 512"/>
              <a:gd name="T104" fmla="*/ 301 w 512"/>
              <a:gd name="T105" fmla="*/ 27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352" y="336"/>
                </a:moveTo>
                <a:cubicBezTo>
                  <a:pt x="364" y="334"/>
                  <a:pt x="375" y="332"/>
                  <a:pt x="384" y="329"/>
                </a:cubicBezTo>
                <a:cubicBezTo>
                  <a:pt x="384" y="352"/>
                  <a:pt x="384" y="352"/>
                  <a:pt x="384" y="352"/>
                </a:cubicBezTo>
                <a:cubicBezTo>
                  <a:pt x="352" y="352"/>
                  <a:pt x="352" y="352"/>
                  <a:pt x="352" y="352"/>
                </a:cubicBezTo>
                <a:lnTo>
                  <a:pt x="352" y="336"/>
                </a:lnTo>
                <a:close/>
                <a:moveTo>
                  <a:pt x="128" y="352"/>
                </a:moveTo>
                <a:cubicBezTo>
                  <a:pt x="160" y="352"/>
                  <a:pt x="160" y="352"/>
                  <a:pt x="160" y="352"/>
                </a:cubicBezTo>
                <a:cubicBezTo>
                  <a:pt x="160" y="334"/>
                  <a:pt x="160" y="334"/>
                  <a:pt x="160" y="334"/>
                </a:cubicBezTo>
                <a:cubicBezTo>
                  <a:pt x="147" y="332"/>
                  <a:pt x="137" y="330"/>
                  <a:pt x="128" y="327"/>
                </a:cubicBezTo>
                <a:lnTo>
                  <a:pt x="128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97"/>
                </a:moveTo>
                <a:cubicBezTo>
                  <a:pt x="416" y="266"/>
                  <a:pt x="416" y="266"/>
                  <a:pt x="416" y="266"/>
                </a:cubicBezTo>
                <a:cubicBezTo>
                  <a:pt x="416" y="237"/>
                  <a:pt x="397" y="213"/>
                  <a:pt x="371" y="205"/>
                </a:cubicBezTo>
                <a:cubicBezTo>
                  <a:pt x="370" y="202"/>
                  <a:pt x="370" y="202"/>
                  <a:pt x="370" y="202"/>
                </a:cubicBezTo>
                <a:cubicBezTo>
                  <a:pt x="384" y="202"/>
                  <a:pt x="384" y="202"/>
                  <a:pt x="384" y="202"/>
                </a:cubicBezTo>
                <a:cubicBezTo>
                  <a:pt x="390" y="202"/>
                  <a:pt x="394" y="198"/>
                  <a:pt x="394" y="192"/>
                </a:cubicBezTo>
                <a:cubicBezTo>
                  <a:pt x="394" y="186"/>
                  <a:pt x="390" y="181"/>
                  <a:pt x="384" y="181"/>
                </a:cubicBezTo>
                <a:cubicBezTo>
                  <a:pt x="363" y="181"/>
                  <a:pt x="363" y="181"/>
                  <a:pt x="363" y="181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0" y="144"/>
                </a:cubicBezTo>
                <a:cubicBezTo>
                  <a:pt x="350" y="143"/>
                  <a:pt x="336" y="117"/>
                  <a:pt x="309" y="117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76" y="117"/>
                  <a:pt x="161" y="143"/>
                  <a:pt x="161" y="144"/>
                </a:cubicBezTo>
                <a:cubicBezTo>
                  <a:pt x="161" y="145"/>
                  <a:pt x="160" y="145"/>
                  <a:pt x="160" y="146"/>
                </a:cubicBezTo>
                <a:cubicBezTo>
                  <a:pt x="148" y="181"/>
                  <a:pt x="148" y="181"/>
                  <a:pt x="148" y="181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122" y="181"/>
                  <a:pt x="117" y="186"/>
                  <a:pt x="117" y="192"/>
                </a:cubicBezTo>
                <a:cubicBezTo>
                  <a:pt x="117" y="198"/>
                  <a:pt x="122" y="202"/>
                  <a:pt x="128" y="202"/>
                </a:cubicBezTo>
                <a:cubicBezTo>
                  <a:pt x="141" y="202"/>
                  <a:pt x="141" y="202"/>
                  <a:pt x="141" y="202"/>
                </a:cubicBezTo>
                <a:cubicBezTo>
                  <a:pt x="140" y="205"/>
                  <a:pt x="140" y="205"/>
                  <a:pt x="140" y="205"/>
                </a:cubicBezTo>
                <a:cubicBezTo>
                  <a:pt x="115" y="213"/>
                  <a:pt x="96" y="237"/>
                  <a:pt x="96" y="266"/>
                </a:cubicBezTo>
                <a:cubicBezTo>
                  <a:pt x="96" y="298"/>
                  <a:pt x="96" y="298"/>
                  <a:pt x="96" y="298"/>
                </a:cubicBezTo>
                <a:cubicBezTo>
                  <a:pt x="96" y="300"/>
                  <a:pt x="96" y="306"/>
                  <a:pt x="102" y="312"/>
                </a:cubicBezTo>
                <a:cubicBezTo>
                  <a:pt x="103" y="314"/>
                  <a:pt x="105" y="315"/>
                  <a:pt x="106" y="316"/>
                </a:cubicBezTo>
                <a:cubicBezTo>
                  <a:pt x="106" y="362"/>
                  <a:pt x="106" y="362"/>
                  <a:pt x="106" y="362"/>
                </a:cubicBezTo>
                <a:cubicBezTo>
                  <a:pt x="106" y="368"/>
                  <a:pt x="111" y="373"/>
                  <a:pt x="117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76" y="373"/>
                  <a:pt x="181" y="368"/>
                  <a:pt x="181" y="362"/>
                </a:cubicBezTo>
                <a:cubicBezTo>
                  <a:pt x="181" y="337"/>
                  <a:pt x="181" y="337"/>
                  <a:pt x="181" y="337"/>
                </a:cubicBezTo>
                <a:cubicBezTo>
                  <a:pt x="203" y="340"/>
                  <a:pt x="230" y="341"/>
                  <a:pt x="261" y="341"/>
                </a:cubicBezTo>
                <a:cubicBezTo>
                  <a:pt x="288" y="341"/>
                  <a:pt x="311" y="340"/>
                  <a:pt x="330" y="338"/>
                </a:cubicBezTo>
                <a:cubicBezTo>
                  <a:pt x="330" y="362"/>
                  <a:pt x="330" y="362"/>
                  <a:pt x="330" y="362"/>
                </a:cubicBezTo>
                <a:cubicBezTo>
                  <a:pt x="330" y="368"/>
                  <a:pt x="335" y="373"/>
                  <a:pt x="341" y="373"/>
                </a:cubicBezTo>
                <a:cubicBezTo>
                  <a:pt x="394" y="373"/>
                  <a:pt x="394" y="373"/>
                  <a:pt x="394" y="373"/>
                </a:cubicBezTo>
                <a:cubicBezTo>
                  <a:pt x="400" y="373"/>
                  <a:pt x="405" y="368"/>
                  <a:pt x="405" y="362"/>
                </a:cubicBezTo>
                <a:cubicBezTo>
                  <a:pt x="405" y="319"/>
                  <a:pt x="405" y="319"/>
                  <a:pt x="405" y="319"/>
                </a:cubicBezTo>
                <a:cubicBezTo>
                  <a:pt x="408" y="316"/>
                  <a:pt x="410" y="314"/>
                  <a:pt x="412" y="311"/>
                </a:cubicBezTo>
                <a:cubicBezTo>
                  <a:pt x="416" y="306"/>
                  <a:pt x="416" y="301"/>
                  <a:pt x="416" y="297"/>
                </a:cubicBezTo>
                <a:close/>
                <a:moveTo>
                  <a:pt x="331" y="153"/>
                </a:moveTo>
                <a:cubicBezTo>
                  <a:pt x="329" y="151"/>
                  <a:pt x="321" y="138"/>
                  <a:pt x="309" y="138"/>
                </a:cubicBezTo>
                <a:cubicBezTo>
                  <a:pt x="202" y="138"/>
                  <a:pt x="202" y="138"/>
                  <a:pt x="202" y="138"/>
                </a:cubicBezTo>
                <a:cubicBezTo>
                  <a:pt x="190" y="138"/>
                  <a:pt x="182" y="150"/>
                  <a:pt x="180" y="153"/>
                </a:cubicBezTo>
                <a:cubicBezTo>
                  <a:pt x="164" y="202"/>
                  <a:pt x="164" y="202"/>
                  <a:pt x="164" y="202"/>
                </a:cubicBezTo>
                <a:cubicBezTo>
                  <a:pt x="348" y="202"/>
                  <a:pt x="348" y="202"/>
                  <a:pt x="348" y="202"/>
                </a:cubicBezTo>
                <a:lnTo>
                  <a:pt x="331" y="153"/>
                </a:lnTo>
                <a:close/>
                <a:moveTo>
                  <a:pt x="394" y="298"/>
                </a:moveTo>
                <a:cubicBezTo>
                  <a:pt x="394" y="299"/>
                  <a:pt x="394" y="299"/>
                  <a:pt x="394" y="300"/>
                </a:cubicBezTo>
                <a:cubicBezTo>
                  <a:pt x="392" y="302"/>
                  <a:pt x="374" y="320"/>
                  <a:pt x="261" y="320"/>
                </a:cubicBezTo>
                <a:cubicBezTo>
                  <a:pt x="139" y="320"/>
                  <a:pt x="119" y="300"/>
                  <a:pt x="117" y="297"/>
                </a:cubicBezTo>
                <a:cubicBezTo>
                  <a:pt x="117" y="266"/>
                  <a:pt x="117" y="266"/>
                  <a:pt x="117" y="266"/>
                </a:cubicBezTo>
                <a:cubicBezTo>
                  <a:pt x="117" y="243"/>
                  <a:pt x="135" y="224"/>
                  <a:pt x="158" y="224"/>
                </a:cubicBezTo>
                <a:cubicBezTo>
                  <a:pt x="354" y="224"/>
                  <a:pt x="354" y="224"/>
                  <a:pt x="354" y="224"/>
                </a:cubicBezTo>
                <a:cubicBezTo>
                  <a:pt x="376" y="224"/>
                  <a:pt x="394" y="243"/>
                  <a:pt x="394" y="266"/>
                </a:cubicBezTo>
                <a:lnTo>
                  <a:pt x="394" y="298"/>
                </a:lnTo>
                <a:close/>
                <a:moveTo>
                  <a:pt x="246" y="294"/>
                </a:moveTo>
                <a:cubicBezTo>
                  <a:pt x="214" y="294"/>
                  <a:pt x="214" y="294"/>
                  <a:pt x="214" y="294"/>
                </a:cubicBezTo>
                <a:cubicBezTo>
                  <a:pt x="214" y="293"/>
                  <a:pt x="214" y="293"/>
                  <a:pt x="214" y="293"/>
                </a:cubicBezTo>
                <a:cubicBezTo>
                  <a:pt x="224" y="284"/>
                  <a:pt x="224" y="284"/>
                  <a:pt x="224" y="284"/>
                </a:cubicBezTo>
                <a:cubicBezTo>
                  <a:pt x="230" y="279"/>
                  <a:pt x="234" y="274"/>
                  <a:pt x="236" y="271"/>
                </a:cubicBezTo>
                <a:cubicBezTo>
                  <a:pt x="239" y="268"/>
                  <a:pt x="241" y="265"/>
                  <a:pt x="242" y="263"/>
                </a:cubicBezTo>
                <a:cubicBezTo>
                  <a:pt x="243" y="260"/>
                  <a:pt x="244" y="257"/>
                  <a:pt x="244" y="253"/>
                </a:cubicBezTo>
                <a:cubicBezTo>
                  <a:pt x="244" y="250"/>
                  <a:pt x="243" y="246"/>
                  <a:pt x="241" y="243"/>
                </a:cubicBezTo>
                <a:cubicBezTo>
                  <a:pt x="239" y="240"/>
                  <a:pt x="236" y="238"/>
                  <a:pt x="233" y="236"/>
                </a:cubicBezTo>
                <a:cubicBezTo>
                  <a:pt x="229" y="235"/>
                  <a:pt x="225" y="234"/>
                  <a:pt x="221" y="234"/>
                </a:cubicBezTo>
                <a:cubicBezTo>
                  <a:pt x="218" y="234"/>
                  <a:pt x="215" y="234"/>
                  <a:pt x="212" y="235"/>
                </a:cubicBezTo>
                <a:cubicBezTo>
                  <a:pt x="209" y="236"/>
                  <a:pt x="207" y="237"/>
                  <a:pt x="204" y="238"/>
                </a:cubicBezTo>
                <a:cubicBezTo>
                  <a:pt x="202" y="239"/>
                  <a:pt x="199" y="241"/>
                  <a:pt x="195" y="244"/>
                </a:cubicBezTo>
                <a:cubicBezTo>
                  <a:pt x="204" y="254"/>
                  <a:pt x="204" y="254"/>
                  <a:pt x="204" y="254"/>
                </a:cubicBezTo>
                <a:cubicBezTo>
                  <a:pt x="207" y="252"/>
                  <a:pt x="209" y="250"/>
                  <a:pt x="212" y="248"/>
                </a:cubicBezTo>
                <a:cubicBezTo>
                  <a:pt x="214" y="247"/>
                  <a:pt x="217" y="247"/>
                  <a:pt x="220" y="247"/>
                </a:cubicBezTo>
                <a:cubicBezTo>
                  <a:pt x="223" y="247"/>
                  <a:pt x="225" y="247"/>
                  <a:pt x="226" y="249"/>
                </a:cubicBezTo>
                <a:cubicBezTo>
                  <a:pt x="228" y="250"/>
                  <a:pt x="229" y="252"/>
                  <a:pt x="229" y="255"/>
                </a:cubicBezTo>
                <a:cubicBezTo>
                  <a:pt x="229" y="257"/>
                  <a:pt x="228" y="259"/>
                  <a:pt x="227" y="261"/>
                </a:cubicBezTo>
                <a:cubicBezTo>
                  <a:pt x="227" y="262"/>
                  <a:pt x="226" y="264"/>
                  <a:pt x="224" y="266"/>
                </a:cubicBezTo>
                <a:cubicBezTo>
                  <a:pt x="222" y="269"/>
                  <a:pt x="219" y="272"/>
                  <a:pt x="214" y="278"/>
                </a:cubicBezTo>
                <a:cubicBezTo>
                  <a:pt x="196" y="296"/>
                  <a:pt x="196" y="296"/>
                  <a:pt x="196" y="296"/>
                </a:cubicBezTo>
                <a:cubicBezTo>
                  <a:pt x="196" y="306"/>
                  <a:pt x="196" y="306"/>
                  <a:pt x="196" y="306"/>
                </a:cubicBezTo>
                <a:cubicBezTo>
                  <a:pt x="246" y="306"/>
                  <a:pt x="246" y="306"/>
                  <a:pt x="246" y="306"/>
                </a:cubicBezTo>
                <a:lnTo>
                  <a:pt x="246" y="294"/>
                </a:lnTo>
                <a:close/>
                <a:moveTo>
                  <a:pt x="301" y="266"/>
                </a:moveTo>
                <a:cubicBezTo>
                  <a:pt x="283" y="266"/>
                  <a:pt x="283" y="266"/>
                  <a:pt x="283" y="266"/>
                </a:cubicBezTo>
                <a:cubicBezTo>
                  <a:pt x="283" y="247"/>
                  <a:pt x="283" y="247"/>
                  <a:pt x="283" y="247"/>
                </a:cubicBezTo>
                <a:cubicBezTo>
                  <a:pt x="272" y="247"/>
                  <a:pt x="272" y="247"/>
                  <a:pt x="272" y="247"/>
                </a:cubicBezTo>
                <a:cubicBezTo>
                  <a:pt x="272" y="266"/>
                  <a:pt x="272" y="266"/>
                  <a:pt x="272" y="266"/>
                </a:cubicBezTo>
                <a:cubicBezTo>
                  <a:pt x="253" y="266"/>
                  <a:pt x="253" y="266"/>
                  <a:pt x="253" y="266"/>
                </a:cubicBezTo>
                <a:cubicBezTo>
                  <a:pt x="253" y="276"/>
                  <a:pt x="253" y="276"/>
                  <a:pt x="253" y="276"/>
                </a:cubicBezTo>
                <a:cubicBezTo>
                  <a:pt x="272" y="276"/>
                  <a:pt x="272" y="276"/>
                  <a:pt x="272" y="276"/>
                </a:cubicBezTo>
                <a:cubicBezTo>
                  <a:pt x="272" y="295"/>
                  <a:pt x="272" y="295"/>
                  <a:pt x="272" y="295"/>
                </a:cubicBezTo>
                <a:cubicBezTo>
                  <a:pt x="283" y="295"/>
                  <a:pt x="283" y="295"/>
                  <a:pt x="283" y="295"/>
                </a:cubicBezTo>
                <a:cubicBezTo>
                  <a:pt x="283" y="276"/>
                  <a:pt x="283" y="276"/>
                  <a:pt x="283" y="276"/>
                </a:cubicBezTo>
                <a:cubicBezTo>
                  <a:pt x="301" y="276"/>
                  <a:pt x="301" y="276"/>
                  <a:pt x="301" y="276"/>
                </a:cubicBezTo>
                <a:lnTo>
                  <a:pt x="301" y="2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5" name="Group 853"/>
          <p:cNvGrpSpPr>
            <a:grpSpLocks noChangeAspect="1"/>
          </p:cNvGrpSpPr>
          <p:nvPr/>
        </p:nvGrpSpPr>
        <p:grpSpPr bwMode="auto">
          <a:xfrm>
            <a:off x="6902736" y="2921943"/>
            <a:ext cx="367982" cy="367982"/>
            <a:chOff x="5046" y="4010"/>
            <a:chExt cx="340" cy="340"/>
          </a:xfrm>
          <a:solidFill>
            <a:schemeClr val="accent4"/>
          </a:solidFill>
        </p:grpSpPr>
        <p:sp>
          <p:nvSpPr>
            <p:cNvPr id="336" name="Freeform 854"/>
            <p:cNvSpPr>
              <a:spLocks noEditPoints="1"/>
            </p:cNvSpPr>
            <p:nvPr/>
          </p:nvSpPr>
          <p:spPr bwMode="auto">
            <a:xfrm>
              <a:off x="5110" y="4088"/>
              <a:ext cx="212" cy="170"/>
            </a:xfrm>
            <a:custGeom>
              <a:avLst/>
              <a:gdLst>
                <a:gd name="T0" fmla="*/ 320 w 320"/>
                <a:gd name="T1" fmla="*/ 149 h 256"/>
                <a:gd name="T2" fmla="*/ 274 w 320"/>
                <a:gd name="T3" fmla="*/ 85 h 256"/>
                <a:gd name="T4" fmla="*/ 298 w 320"/>
                <a:gd name="T5" fmla="*/ 75 h 256"/>
                <a:gd name="T6" fmla="*/ 267 w 320"/>
                <a:gd name="T7" fmla="*/ 64 h 256"/>
                <a:gd name="T8" fmla="*/ 254 w 320"/>
                <a:gd name="T9" fmla="*/ 27 h 256"/>
                <a:gd name="T10" fmla="*/ 106 w 320"/>
                <a:gd name="T11" fmla="*/ 0 h 256"/>
                <a:gd name="T12" fmla="*/ 64 w 320"/>
                <a:gd name="T13" fmla="*/ 29 h 256"/>
                <a:gd name="T14" fmla="*/ 32 w 320"/>
                <a:gd name="T15" fmla="*/ 64 h 256"/>
                <a:gd name="T16" fmla="*/ 32 w 320"/>
                <a:gd name="T17" fmla="*/ 85 h 256"/>
                <a:gd name="T18" fmla="*/ 44 w 320"/>
                <a:gd name="T19" fmla="*/ 88 h 256"/>
                <a:gd name="T20" fmla="*/ 0 w 320"/>
                <a:gd name="T21" fmla="*/ 181 h 256"/>
                <a:gd name="T22" fmla="*/ 10 w 320"/>
                <a:gd name="T23" fmla="*/ 199 h 256"/>
                <a:gd name="T24" fmla="*/ 21 w 320"/>
                <a:gd name="T25" fmla="*/ 256 h 256"/>
                <a:gd name="T26" fmla="*/ 85 w 320"/>
                <a:gd name="T27" fmla="*/ 245 h 256"/>
                <a:gd name="T28" fmla="*/ 165 w 320"/>
                <a:gd name="T29" fmla="*/ 224 h 256"/>
                <a:gd name="T30" fmla="*/ 234 w 320"/>
                <a:gd name="T31" fmla="*/ 245 h 256"/>
                <a:gd name="T32" fmla="*/ 298 w 320"/>
                <a:gd name="T33" fmla="*/ 256 h 256"/>
                <a:gd name="T34" fmla="*/ 309 w 320"/>
                <a:gd name="T35" fmla="*/ 202 h 256"/>
                <a:gd name="T36" fmla="*/ 320 w 320"/>
                <a:gd name="T37" fmla="*/ 180 h 256"/>
                <a:gd name="T38" fmla="*/ 106 w 320"/>
                <a:gd name="T39" fmla="*/ 21 h 256"/>
                <a:gd name="T40" fmla="*/ 235 w 320"/>
                <a:gd name="T41" fmla="*/ 36 h 256"/>
                <a:gd name="T42" fmla="*/ 68 w 320"/>
                <a:gd name="T43" fmla="*/ 85 h 256"/>
                <a:gd name="T44" fmla="*/ 64 w 320"/>
                <a:gd name="T45" fmla="*/ 235 h 256"/>
                <a:gd name="T46" fmla="*/ 32 w 320"/>
                <a:gd name="T47" fmla="*/ 210 h 256"/>
                <a:gd name="T48" fmla="*/ 64 w 320"/>
                <a:gd name="T49" fmla="*/ 235 h 256"/>
                <a:gd name="T50" fmla="*/ 21 w 320"/>
                <a:gd name="T51" fmla="*/ 149 h 256"/>
                <a:gd name="T52" fmla="*/ 258 w 320"/>
                <a:gd name="T53" fmla="*/ 107 h 256"/>
                <a:gd name="T54" fmla="*/ 298 w 320"/>
                <a:gd name="T55" fmla="*/ 181 h 256"/>
                <a:gd name="T56" fmla="*/ 165 w 320"/>
                <a:gd name="T57" fmla="*/ 203 h 256"/>
                <a:gd name="T58" fmla="*/ 288 w 320"/>
                <a:gd name="T59" fmla="*/ 235 h 256"/>
                <a:gd name="T60" fmla="*/ 256 w 320"/>
                <a:gd name="T61" fmla="*/ 219 h 256"/>
                <a:gd name="T62" fmla="*/ 288 w 320"/>
                <a:gd name="T63" fmla="*/ 235 h 256"/>
                <a:gd name="T64" fmla="*/ 150 w 320"/>
                <a:gd name="T65" fmla="*/ 177 h 256"/>
                <a:gd name="T66" fmla="*/ 100 w 320"/>
                <a:gd name="T67" fmla="*/ 189 h 256"/>
                <a:gd name="T68" fmla="*/ 118 w 320"/>
                <a:gd name="T69" fmla="*/ 161 h 256"/>
                <a:gd name="T70" fmla="*/ 131 w 320"/>
                <a:gd name="T71" fmla="*/ 144 h 256"/>
                <a:gd name="T72" fmla="*/ 130 w 320"/>
                <a:gd name="T73" fmla="*/ 132 h 256"/>
                <a:gd name="T74" fmla="*/ 116 w 320"/>
                <a:gd name="T75" fmla="*/ 131 h 256"/>
                <a:gd name="T76" fmla="*/ 99 w 320"/>
                <a:gd name="T77" fmla="*/ 127 h 256"/>
                <a:gd name="T78" fmla="*/ 116 w 320"/>
                <a:gd name="T79" fmla="*/ 118 h 256"/>
                <a:gd name="T80" fmla="*/ 137 w 320"/>
                <a:gd name="T81" fmla="*/ 119 h 256"/>
                <a:gd name="T82" fmla="*/ 148 w 320"/>
                <a:gd name="T83" fmla="*/ 136 h 256"/>
                <a:gd name="T84" fmla="*/ 140 w 320"/>
                <a:gd name="T85" fmla="*/ 154 h 256"/>
                <a:gd name="T86" fmla="*/ 118 w 320"/>
                <a:gd name="T87" fmla="*/ 176 h 256"/>
                <a:gd name="T88" fmla="*/ 187 w 320"/>
                <a:gd name="T89" fmla="*/ 149 h 256"/>
                <a:gd name="T90" fmla="*/ 205 w 320"/>
                <a:gd name="T91" fmla="*/ 159 h 256"/>
                <a:gd name="T92" fmla="*/ 187 w 320"/>
                <a:gd name="T93" fmla="*/ 178 h 256"/>
                <a:gd name="T94" fmla="*/ 176 w 320"/>
                <a:gd name="T95" fmla="*/ 159 h 256"/>
                <a:gd name="T96" fmla="*/ 157 w 320"/>
                <a:gd name="T97" fmla="*/ 149 h 256"/>
                <a:gd name="T98" fmla="*/ 176 w 320"/>
                <a:gd name="T99" fmla="*/ 130 h 256"/>
                <a:gd name="T100" fmla="*/ 187 w 320"/>
                <a:gd name="T101" fmla="*/ 14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256">
                  <a:moveTo>
                    <a:pt x="320" y="180"/>
                  </a:moveTo>
                  <a:cubicBezTo>
                    <a:pt x="320" y="149"/>
                    <a:pt x="320" y="149"/>
                    <a:pt x="320" y="149"/>
                  </a:cubicBezTo>
                  <a:cubicBezTo>
                    <a:pt x="320" y="120"/>
                    <a:pt x="301" y="96"/>
                    <a:pt x="275" y="88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94" y="85"/>
                    <a:pt x="298" y="81"/>
                    <a:pt x="298" y="75"/>
                  </a:cubicBezTo>
                  <a:cubicBezTo>
                    <a:pt x="298" y="69"/>
                    <a:pt x="294" y="64"/>
                    <a:pt x="288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8"/>
                    <a:pt x="255" y="28"/>
                    <a:pt x="254" y="27"/>
                  </a:cubicBezTo>
                  <a:cubicBezTo>
                    <a:pt x="254" y="26"/>
                    <a:pt x="240" y="0"/>
                    <a:pt x="213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80" y="0"/>
                    <a:pt x="65" y="26"/>
                    <a:pt x="65" y="27"/>
                  </a:cubicBezTo>
                  <a:cubicBezTo>
                    <a:pt x="65" y="28"/>
                    <a:pt x="64" y="28"/>
                    <a:pt x="64" y="29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26" y="64"/>
                    <a:pt x="21" y="69"/>
                    <a:pt x="21" y="75"/>
                  </a:cubicBezTo>
                  <a:cubicBezTo>
                    <a:pt x="21" y="81"/>
                    <a:pt x="26" y="85"/>
                    <a:pt x="32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19" y="96"/>
                    <a:pt x="0" y="120"/>
                    <a:pt x="0" y="149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3"/>
                    <a:pt x="0" y="189"/>
                    <a:pt x="6" y="195"/>
                  </a:cubicBezTo>
                  <a:cubicBezTo>
                    <a:pt x="7" y="197"/>
                    <a:pt x="9" y="198"/>
                    <a:pt x="10" y="199"/>
                  </a:cubicBezTo>
                  <a:cubicBezTo>
                    <a:pt x="10" y="245"/>
                    <a:pt x="10" y="245"/>
                    <a:pt x="10" y="245"/>
                  </a:cubicBezTo>
                  <a:cubicBezTo>
                    <a:pt x="10" y="251"/>
                    <a:pt x="15" y="256"/>
                    <a:pt x="21" y="256"/>
                  </a:cubicBezTo>
                  <a:cubicBezTo>
                    <a:pt x="74" y="256"/>
                    <a:pt x="74" y="256"/>
                    <a:pt x="74" y="256"/>
                  </a:cubicBezTo>
                  <a:cubicBezTo>
                    <a:pt x="80" y="256"/>
                    <a:pt x="85" y="251"/>
                    <a:pt x="85" y="245"/>
                  </a:cubicBezTo>
                  <a:cubicBezTo>
                    <a:pt x="85" y="220"/>
                    <a:pt x="85" y="220"/>
                    <a:pt x="85" y="220"/>
                  </a:cubicBezTo>
                  <a:cubicBezTo>
                    <a:pt x="107" y="223"/>
                    <a:pt x="134" y="224"/>
                    <a:pt x="165" y="224"/>
                  </a:cubicBezTo>
                  <a:cubicBezTo>
                    <a:pt x="192" y="224"/>
                    <a:pt x="215" y="223"/>
                    <a:pt x="234" y="221"/>
                  </a:cubicBezTo>
                  <a:cubicBezTo>
                    <a:pt x="234" y="245"/>
                    <a:pt x="234" y="245"/>
                    <a:pt x="234" y="245"/>
                  </a:cubicBezTo>
                  <a:cubicBezTo>
                    <a:pt x="234" y="251"/>
                    <a:pt x="239" y="256"/>
                    <a:pt x="245" y="256"/>
                  </a:cubicBezTo>
                  <a:cubicBezTo>
                    <a:pt x="298" y="256"/>
                    <a:pt x="298" y="256"/>
                    <a:pt x="298" y="256"/>
                  </a:cubicBezTo>
                  <a:cubicBezTo>
                    <a:pt x="304" y="256"/>
                    <a:pt x="309" y="251"/>
                    <a:pt x="309" y="245"/>
                  </a:cubicBezTo>
                  <a:cubicBezTo>
                    <a:pt x="309" y="202"/>
                    <a:pt x="309" y="202"/>
                    <a:pt x="309" y="202"/>
                  </a:cubicBezTo>
                  <a:cubicBezTo>
                    <a:pt x="312" y="199"/>
                    <a:pt x="314" y="197"/>
                    <a:pt x="316" y="194"/>
                  </a:cubicBezTo>
                  <a:cubicBezTo>
                    <a:pt x="320" y="189"/>
                    <a:pt x="320" y="184"/>
                    <a:pt x="320" y="180"/>
                  </a:cubicBezTo>
                  <a:close/>
                  <a:moveTo>
                    <a:pt x="84" y="36"/>
                  </a:moveTo>
                  <a:cubicBezTo>
                    <a:pt x="86" y="33"/>
                    <a:pt x="94" y="21"/>
                    <a:pt x="106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25" y="21"/>
                    <a:pt x="233" y="34"/>
                    <a:pt x="235" y="36"/>
                  </a:cubicBezTo>
                  <a:cubicBezTo>
                    <a:pt x="252" y="85"/>
                    <a:pt x="252" y="85"/>
                    <a:pt x="252" y="85"/>
                  </a:cubicBezTo>
                  <a:cubicBezTo>
                    <a:pt x="68" y="85"/>
                    <a:pt x="68" y="85"/>
                    <a:pt x="68" y="85"/>
                  </a:cubicBezTo>
                  <a:lnTo>
                    <a:pt x="84" y="36"/>
                  </a:lnTo>
                  <a:close/>
                  <a:moveTo>
                    <a:pt x="64" y="235"/>
                  </a:moveTo>
                  <a:cubicBezTo>
                    <a:pt x="32" y="235"/>
                    <a:pt x="32" y="235"/>
                    <a:pt x="32" y="235"/>
                  </a:cubicBezTo>
                  <a:cubicBezTo>
                    <a:pt x="32" y="210"/>
                    <a:pt x="32" y="210"/>
                    <a:pt x="32" y="210"/>
                  </a:cubicBezTo>
                  <a:cubicBezTo>
                    <a:pt x="41" y="213"/>
                    <a:pt x="51" y="215"/>
                    <a:pt x="64" y="217"/>
                  </a:cubicBezTo>
                  <a:lnTo>
                    <a:pt x="64" y="235"/>
                  </a:lnTo>
                  <a:close/>
                  <a:moveTo>
                    <a:pt x="21" y="180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126"/>
                    <a:pt x="39" y="107"/>
                    <a:pt x="62" y="107"/>
                  </a:cubicBezTo>
                  <a:cubicBezTo>
                    <a:pt x="258" y="107"/>
                    <a:pt x="258" y="107"/>
                    <a:pt x="258" y="107"/>
                  </a:cubicBezTo>
                  <a:cubicBezTo>
                    <a:pt x="280" y="107"/>
                    <a:pt x="298" y="126"/>
                    <a:pt x="298" y="149"/>
                  </a:cubicBezTo>
                  <a:cubicBezTo>
                    <a:pt x="298" y="181"/>
                    <a:pt x="298" y="181"/>
                    <a:pt x="298" y="181"/>
                  </a:cubicBezTo>
                  <a:cubicBezTo>
                    <a:pt x="298" y="182"/>
                    <a:pt x="298" y="182"/>
                    <a:pt x="298" y="183"/>
                  </a:cubicBezTo>
                  <a:cubicBezTo>
                    <a:pt x="296" y="185"/>
                    <a:pt x="278" y="203"/>
                    <a:pt x="165" y="203"/>
                  </a:cubicBezTo>
                  <a:cubicBezTo>
                    <a:pt x="43" y="203"/>
                    <a:pt x="23" y="183"/>
                    <a:pt x="21" y="180"/>
                  </a:cubicBezTo>
                  <a:close/>
                  <a:moveTo>
                    <a:pt x="288" y="235"/>
                  </a:moveTo>
                  <a:cubicBezTo>
                    <a:pt x="256" y="235"/>
                    <a:pt x="256" y="235"/>
                    <a:pt x="256" y="235"/>
                  </a:cubicBezTo>
                  <a:cubicBezTo>
                    <a:pt x="256" y="219"/>
                    <a:pt x="256" y="219"/>
                    <a:pt x="256" y="219"/>
                  </a:cubicBezTo>
                  <a:cubicBezTo>
                    <a:pt x="268" y="217"/>
                    <a:pt x="279" y="215"/>
                    <a:pt x="288" y="212"/>
                  </a:cubicBezTo>
                  <a:lnTo>
                    <a:pt x="288" y="235"/>
                  </a:lnTo>
                  <a:close/>
                  <a:moveTo>
                    <a:pt x="118" y="177"/>
                  </a:moveTo>
                  <a:cubicBezTo>
                    <a:pt x="150" y="177"/>
                    <a:pt x="150" y="177"/>
                    <a:pt x="150" y="177"/>
                  </a:cubicBezTo>
                  <a:cubicBezTo>
                    <a:pt x="150" y="189"/>
                    <a:pt x="150" y="189"/>
                    <a:pt x="150" y="189"/>
                  </a:cubicBezTo>
                  <a:cubicBezTo>
                    <a:pt x="100" y="189"/>
                    <a:pt x="100" y="189"/>
                    <a:pt x="100" y="189"/>
                  </a:cubicBezTo>
                  <a:cubicBezTo>
                    <a:pt x="100" y="179"/>
                    <a:pt x="100" y="179"/>
                    <a:pt x="100" y="179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23" y="155"/>
                    <a:pt x="126" y="152"/>
                    <a:pt x="128" y="149"/>
                  </a:cubicBezTo>
                  <a:cubicBezTo>
                    <a:pt x="130" y="147"/>
                    <a:pt x="131" y="145"/>
                    <a:pt x="131" y="144"/>
                  </a:cubicBezTo>
                  <a:cubicBezTo>
                    <a:pt x="132" y="142"/>
                    <a:pt x="133" y="140"/>
                    <a:pt x="133" y="138"/>
                  </a:cubicBezTo>
                  <a:cubicBezTo>
                    <a:pt x="133" y="135"/>
                    <a:pt x="132" y="133"/>
                    <a:pt x="130" y="132"/>
                  </a:cubicBezTo>
                  <a:cubicBezTo>
                    <a:pt x="129" y="130"/>
                    <a:pt x="127" y="130"/>
                    <a:pt x="124" y="130"/>
                  </a:cubicBezTo>
                  <a:cubicBezTo>
                    <a:pt x="121" y="130"/>
                    <a:pt x="118" y="130"/>
                    <a:pt x="116" y="131"/>
                  </a:cubicBezTo>
                  <a:cubicBezTo>
                    <a:pt x="113" y="133"/>
                    <a:pt x="111" y="135"/>
                    <a:pt x="108" y="137"/>
                  </a:cubicBezTo>
                  <a:cubicBezTo>
                    <a:pt x="99" y="127"/>
                    <a:pt x="99" y="127"/>
                    <a:pt x="99" y="127"/>
                  </a:cubicBezTo>
                  <a:cubicBezTo>
                    <a:pt x="103" y="124"/>
                    <a:pt x="106" y="122"/>
                    <a:pt x="108" y="121"/>
                  </a:cubicBezTo>
                  <a:cubicBezTo>
                    <a:pt x="111" y="120"/>
                    <a:pt x="113" y="119"/>
                    <a:pt x="116" y="118"/>
                  </a:cubicBezTo>
                  <a:cubicBezTo>
                    <a:pt x="119" y="117"/>
                    <a:pt x="122" y="117"/>
                    <a:pt x="125" y="117"/>
                  </a:cubicBezTo>
                  <a:cubicBezTo>
                    <a:pt x="129" y="117"/>
                    <a:pt x="133" y="118"/>
                    <a:pt x="137" y="119"/>
                  </a:cubicBezTo>
                  <a:cubicBezTo>
                    <a:pt x="140" y="121"/>
                    <a:pt x="143" y="123"/>
                    <a:pt x="145" y="126"/>
                  </a:cubicBezTo>
                  <a:cubicBezTo>
                    <a:pt x="147" y="129"/>
                    <a:pt x="148" y="133"/>
                    <a:pt x="148" y="136"/>
                  </a:cubicBezTo>
                  <a:cubicBezTo>
                    <a:pt x="148" y="140"/>
                    <a:pt x="147" y="143"/>
                    <a:pt x="146" y="146"/>
                  </a:cubicBezTo>
                  <a:cubicBezTo>
                    <a:pt x="145" y="148"/>
                    <a:pt x="143" y="151"/>
                    <a:pt x="140" y="154"/>
                  </a:cubicBezTo>
                  <a:cubicBezTo>
                    <a:pt x="138" y="157"/>
                    <a:pt x="134" y="162"/>
                    <a:pt x="128" y="167"/>
                  </a:cubicBezTo>
                  <a:cubicBezTo>
                    <a:pt x="118" y="176"/>
                    <a:pt x="118" y="176"/>
                    <a:pt x="118" y="176"/>
                  </a:cubicBezTo>
                  <a:lnTo>
                    <a:pt x="118" y="177"/>
                  </a:lnTo>
                  <a:close/>
                  <a:moveTo>
                    <a:pt x="187" y="149"/>
                  </a:moveTo>
                  <a:cubicBezTo>
                    <a:pt x="205" y="149"/>
                    <a:pt x="205" y="149"/>
                    <a:pt x="205" y="149"/>
                  </a:cubicBezTo>
                  <a:cubicBezTo>
                    <a:pt x="205" y="159"/>
                    <a:pt x="205" y="159"/>
                    <a:pt x="205" y="159"/>
                  </a:cubicBezTo>
                  <a:cubicBezTo>
                    <a:pt x="187" y="159"/>
                    <a:pt x="187" y="159"/>
                    <a:pt x="187" y="159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76" y="178"/>
                    <a:pt x="176" y="178"/>
                    <a:pt x="176" y="178"/>
                  </a:cubicBezTo>
                  <a:cubicBezTo>
                    <a:pt x="176" y="159"/>
                    <a:pt x="176" y="159"/>
                    <a:pt x="176" y="159"/>
                  </a:cubicBezTo>
                  <a:cubicBezTo>
                    <a:pt x="157" y="159"/>
                    <a:pt x="157" y="159"/>
                    <a:pt x="157" y="159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76" y="149"/>
                    <a:pt x="176" y="149"/>
                    <a:pt x="176" y="149"/>
                  </a:cubicBezTo>
                  <a:cubicBezTo>
                    <a:pt x="176" y="130"/>
                    <a:pt x="176" y="130"/>
                    <a:pt x="176" y="130"/>
                  </a:cubicBezTo>
                  <a:cubicBezTo>
                    <a:pt x="187" y="130"/>
                    <a:pt x="187" y="130"/>
                    <a:pt x="187" y="130"/>
                  </a:cubicBezTo>
                  <a:lnTo>
                    <a:pt x="187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855"/>
            <p:cNvSpPr>
              <a:spLocks noEditPoints="1"/>
            </p:cNvSpPr>
            <p:nvPr/>
          </p:nvSpPr>
          <p:spPr bwMode="auto">
            <a:xfrm>
              <a:off x="5046" y="401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8" name="Freeform 462"/>
          <p:cNvSpPr>
            <a:spLocks noChangeAspect="1" noEditPoints="1"/>
          </p:cNvSpPr>
          <p:nvPr/>
        </p:nvSpPr>
        <p:spPr bwMode="auto">
          <a:xfrm>
            <a:off x="7399911" y="2921943"/>
            <a:ext cx="367982" cy="367982"/>
          </a:xfrm>
          <a:custGeom>
            <a:avLst/>
            <a:gdLst>
              <a:gd name="T0" fmla="*/ 192 w 512"/>
              <a:gd name="T1" fmla="*/ 224 h 512"/>
              <a:gd name="T2" fmla="*/ 181 w 512"/>
              <a:gd name="T3" fmla="*/ 234 h 512"/>
              <a:gd name="T4" fmla="*/ 170 w 512"/>
              <a:gd name="T5" fmla="*/ 224 h 512"/>
              <a:gd name="T6" fmla="*/ 181 w 512"/>
              <a:gd name="T7" fmla="*/ 213 h 512"/>
              <a:gd name="T8" fmla="*/ 192 w 512"/>
              <a:gd name="T9" fmla="*/ 224 h 512"/>
              <a:gd name="T10" fmla="*/ 341 w 512"/>
              <a:gd name="T11" fmla="*/ 234 h 512"/>
              <a:gd name="T12" fmla="*/ 234 w 512"/>
              <a:gd name="T13" fmla="*/ 234 h 512"/>
              <a:gd name="T14" fmla="*/ 234 w 512"/>
              <a:gd name="T15" fmla="*/ 256 h 512"/>
              <a:gd name="T16" fmla="*/ 372 w 512"/>
              <a:gd name="T17" fmla="*/ 256 h 512"/>
              <a:gd name="T18" fmla="*/ 341 w 512"/>
              <a:gd name="T19" fmla="*/ 234 h 512"/>
              <a:gd name="T20" fmla="*/ 213 w 512"/>
              <a:gd name="T21" fmla="*/ 224 h 512"/>
              <a:gd name="T22" fmla="*/ 181 w 512"/>
              <a:gd name="T23" fmla="*/ 256 h 512"/>
              <a:gd name="T24" fmla="*/ 213 w 512"/>
              <a:gd name="T25" fmla="*/ 256 h 512"/>
              <a:gd name="T26" fmla="*/ 213 w 512"/>
              <a:gd name="T27" fmla="*/ 224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94 w 512"/>
              <a:gd name="T39" fmla="*/ 266 h 512"/>
              <a:gd name="T40" fmla="*/ 341 w 512"/>
              <a:gd name="T41" fmla="*/ 213 h 512"/>
              <a:gd name="T42" fmla="*/ 224 w 512"/>
              <a:gd name="T43" fmla="*/ 213 h 512"/>
              <a:gd name="T44" fmla="*/ 213 w 512"/>
              <a:gd name="T45" fmla="*/ 224 h 512"/>
              <a:gd name="T46" fmla="*/ 181 w 512"/>
              <a:gd name="T47" fmla="*/ 192 h 512"/>
              <a:gd name="T48" fmla="*/ 149 w 512"/>
              <a:gd name="T49" fmla="*/ 224 h 512"/>
              <a:gd name="T50" fmla="*/ 181 w 512"/>
              <a:gd name="T51" fmla="*/ 256 h 512"/>
              <a:gd name="T52" fmla="*/ 138 w 512"/>
              <a:gd name="T53" fmla="*/ 256 h 512"/>
              <a:gd name="T54" fmla="*/ 138 w 512"/>
              <a:gd name="T55" fmla="*/ 192 h 512"/>
              <a:gd name="T56" fmla="*/ 128 w 512"/>
              <a:gd name="T57" fmla="*/ 181 h 512"/>
              <a:gd name="T58" fmla="*/ 117 w 512"/>
              <a:gd name="T59" fmla="*/ 192 h 512"/>
              <a:gd name="T60" fmla="*/ 117 w 512"/>
              <a:gd name="T61" fmla="*/ 320 h 512"/>
              <a:gd name="T62" fmla="*/ 128 w 512"/>
              <a:gd name="T63" fmla="*/ 330 h 512"/>
              <a:gd name="T64" fmla="*/ 138 w 512"/>
              <a:gd name="T65" fmla="*/ 320 h 512"/>
              <a:gd name="T66" fmla="*/ 138 w 512"/>
              <a:gd name="T67" fmla="*/ 277 h 512"/>
              <a:gd name="T68" fmla="*/ 224 w 512"/>
              <a:gd name="T69" fmla="*/ 277 h 512"/>
              <a:gd name="T70" fmla="*/ 373 w 512"/>
              <a:gd name="T71" fmla="*/ 277 h 512"/>
              <a:gd name="T72" fmla="*/ 373 w 512"/>
              <a:gd name="T73" fmla="*/ 320 h 512"/>
              <a:gd name="T74" fmla="*/ 384 w 512"/>
              <a:gd name="T75" fmla="*/ 330 h 512"/>
              <a:gd name="T76" fmla="*/ 394 w 512"/>
              <a:gd name="T77" fmla="*/ 320 h 512"/>
              <a:gd name="T78" fmla="*/ 394 w 512"/>
              <a:gd name="T79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192" y="224"/>
                </a:moveTo>
                <a:cubicBezTo>
                  <a:pt x="192" y="230"/>
                  <a:pt x="187" y="234"/>
                  <a:pt x="181" y="234"/>
                </a:cubicBezTo>
                <a:cubicBezTo>
                  <a:pt x="175" y="234"/>
                  <a:pt x="170" y="230"/>
                  <a:pt x="170" y="224"/>
                </a:cubicBezTo>
                <a:cubicBezTo>
                  <a:pt x="170" y="218"/>
                  <a:pt x="175" y="213"/>
                  <a:pt x="181" y="213"/>
                </a:cubicBezTo>
                <a:cubicBezTo>
                  <a:pt x="187" y="213"/>
                  <a:pt x="192" y="218"/>
                  <a:pt x="192" y="224"/>
                </a:cubicBezTo>
                <a:close/>
                <a:moveTo>
                  <a:pt x="341" y="234"/>
                </a:moveTo>
                <a:cubicBezTo>
                  <a:pt x="234" y="234"/>
                  <a:pt x="234" y="234"/>
                  <a:pt x="234" y="234"/>
                </a:cubicBezTo>
                <a:cubicBezTo>
                  <a:pt x="234" y="256"/>
                  <a:pt x="234" y="256"/>
                  <a:pt x="234" y="256"/>
                </a:cubicBezTo>
                <a:cubicBezTo>
                  <a:pt x="372" y="256"/>
                  <a:pt x="372" y="256"/>
                  <a:pt x="372" y="256"/>
                </a:cubicBezTo>
                <a:cubicBezTo>
                  <a:pt x="366" y="236"/>
                  <a:pt x="345" y="234"/>
                  <a:pt x="341" y="234"/>
                </a:cubicBezTo>
                <a:close/>
                <a:moveTo>
                  <a:pt x="213" y="224"/>
                </a:moveTo>
                <a:cubicBezTo>
                  <a:pt x="213" y="241"/>
                  <a:pt x="199" y="256"/>
                  <a:pt x="181" y="256"/>
                </a:cubicBezTo>
                <a:cubicBezTo>
                  <a:pt x="213" y="256"/>
                  <a:pt x="213" y="256"/>
                  <a:pt x="213" y="256"/>
                </a:cubicBezTo>
                <a:lnTo>
                  <a:pt x="213" y="22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66"/>
                </a:moveTo>
                <a:cubicBezTo>
                  <a:pt x="394" y="225"/>
                  <a:pt x="360" y="213"/>
                  <a:pt x="341" y="213"/>
                </a:cubicBezTo>
                <a:cubicBezTo>
                  <a:pt x="224" y="213"/>
                  <a:pt x="224" y="213"/>
                  <a:pt x="224" y="213"/>
                </a:cubicBezTo>
                <a:cubicBezTo>
                  <a:pt x="218" y="213"/>
                  <a:pt x="213" y="218"/>
                  <a:pt x="213" y="224"/>
                </a:cubicBezTo>
                <a:cubicBezTo>
                  <a:pt x="213" y="206"/>
                  <a:pt x="199" y="192"/>
                  <a:pt x="181" y="192"/>
                </a:cubicBezTo>
                <a:cubicBezTo>
                  <a:pt x="163" y="192"/>
                  <a:pt x="149" y="206"/>
                  <a:pt x="149" y="224"/>
                </a:cubicBezTo>
                <a:cubicBezTo>
                  <a:pt x="149" y="241"/>
                  <a:pt x="163" y="256"/>
                  <a:pt x="181" y="256"/>
                </a:cubicBezTo>
                <a:cubicBezTo>
                  <a:pt x="138" y="256"/>
                  <a:pt x="138" y="256"/>
                  <a:pt x="138" y="256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8" y="186"/>
                  <a:pt x="134" y="181"/>
                  <a:pt x="128" y="181"/>
                </a:cubicBezTo>
                <a:cubicBezTo>
                  <a:pt x="122" y="181"/>
                  <a:pt x="117" y="186"/>
                  <a:pt x="117" y="192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326"/>
                  <a:pt x="122" y="330"/>
                  <a:pt x="128" y="330"/>
                </a:cubicBezTo>
                <a:cubicBezTo>
                  <a:pt x="134" y="330"/>
                  <a:pt x="138" y="326"/>
                  <a:pt x="138" y="320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373" y="277"/>
                  <a:pt x="373" y="277"/>
                  <a:pt x="373" y="277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26"/>
                  <a:pt x="378" y="330"/>
                  <a:pt x="384" y="330"/>
                </a:cubicBezTo>
                <a:cubicBezTo>
                  <a:pt x="390" y="330"/>
                  <a:pt x="394" y="326"/>
                  <a:pt x="394" y="320"/>
                </a:cubicBezTo>
                <a:lnTo>
                  <a:pt x="394" y="2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9" name="Group 465"/>
          <p:cNvGrpSpPr>
            <a:grpSpLocks noChangeAspect="1"/>
          </p:cNvGrpSpPr>
          <p:nvPr/>
        </p:nvGrpSpPr>
        <p:grpSpPr bwMode="auto">
          <a:xfrm>
            <a:off x="7897086" y="2921943"/>
            <a:ext cx="367982" cy="367982"/>
            <a:chOff x="3968" y="2701"/>
            <a:chExt cx="340" cy="340"/>
          </a:xfrm>
          <a:solidFill>
            <a:schemeClr val="accent5"/>
          </a:solidFill>
        </p:grpSpPr>
        <p:sp>
          <p:nvSpPr>
            <p:cNvPr id="340" name="Freeform 466"/>
            <p:cNvSpPr>
              <a:spLocks noEditPoints="1"/>
            </p:cNvSpPr>
            <p:nvPr/>
          </p:nvSpPr>
          <p:spPr bwMode="auto">
            <a:xfrm>
              <a:off x="3968" y="270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467"/>
            <p:cNvSpPr>
              <a:spLocks noEditPoints="1"/>
            </p:cNvSpPr>
            <p:nvPr/>
          </p:nvSpPr>
          <p:spPr bwMode="auto">
            <a:xfrm>
              <a:off x="4046" y="2821"/>
              <a:ext cx="184" cy="99"/>
            </a:xfrm>
            <a:custGeom>
              <a:avLst/>
              <a:gdLst>
                <a:gd name="T0" fmla="*/ 96 w 277"/>
                <a:gd name="T1" fmla="*/ 43 h 149"/>
                <a:gd name="T2" fmla="*/ 64 w 277"/>
                <a:gd name="T3" fmla="*/ 11 h 149"/>
                <a:gd name="T4" fmla="*/ 32 w 277"/>
                <a:gd name="T5" fmla="*/ 43 h 149"/>
                <a:gd name="T6" fmla="*/ 64 w 277"/>
                <a:gd name="T7" fmla="*/ 75 h 149"/>
                <a:gd name="T8" fmla="*/ 96 w 277"/>
                <a:gd name="T9" fmla="*/ 43 h 149"/>
                <a:gd name="T10" fmla="*/ 64 w 277"/>
                <a:gd name="T11" fmla="*/ 53 h 149"/>
                <a:gd name="T12" fmla="*/ 53 w 277"/>
                <a:gd name="T13" fmla="*/ 43 h 149"/>
                <a:gd name="T14" fmla="*/ 64 w 277"/>
                <a:gd name="T15" fmla="*/ 32 h 149"/>
                <a:gd name="T16" fmla="*/ 75 w 277"/>
                <a:gd name="T17" fmla="*/ 43 h 149"/>
                <a:gd name="T18" fmla="*/ 64 w 277"/>
                <a:gd name="T19" fmla="*/ 53 h 149"/>
                <a:gd name="T20" fmla="*/ 224 w 277"/>
                <a:gd name="T21" fmla="*/ 32 h 149"/>
                <a:gd name="T22" fmla="*/ 107 w 277"/>
                <a:gd name="T23" fmla="*/ 32 h 149"/>
                <a:gd name="T24" fmla="*/ 96 w 277"/>
                <a:gd name="T25" fmla="*/ 43 h 149"/>
                <a:gd name="T26" fmla="*/ 96 w 277"/>
                <a:gd name="T27" fmla="*/ 75 h 149"/>
                <a:gd name="T28" fmla="*/ 64 w 277"/>
                <a:gd name="T29" fmla="*/ 75 h 149"/>
                <a:gd name="T30" fmla="*/ 21 w 277"/>
                <a:gd name="T31" fmla="*/ 75 h 149"/>
                <a:gd name="T32" fmla="*/ 21 w 277"/>
                <a:gd name="T33" fmla="*/ 11 h 149"/>
                <a:gd name="T34" fmla="*/ 11 w 277"/>
                <a:gd name="T35" fmla="*/ 0 h 149"/>
                <a:gd name="T36" fmla="*/ 0 w 277"/>
                <a:gd name="T37" fmla="*/ 11 h 149"/>
                <a:gd name="T38" fmla="*/ 0 w 277"/>
                <a:gd name="T39" fmla="*/ 139 h 149"/>
                <a:gd name="T40" fmla="*/ 11 w 277"/>
                <a:gd name="T41" fmla="*/ 149 h 149"/>
                <a:gd name="T42" fmla="*/ 21 w 277"/>
                <a:gd name="T43" fmla="*/ 139 h 149"/>
                <a:gd name="T44" fmla="*/ 21 w 277"/>
                <a:gd name="T45" fmla="*/ 96 h 149"/>
                <a:gd name="T46" fmla="*/ 107 w 277"/>
                <a:gd name="T47" fmla="*/ 96 h 149"/>
                <a:gd name="T48" fmla="*/ 256 w 277"/>
                <a:gd name="T49" fmla="*/ 96 h 149"/>
                <a:gd name="T50" fmla="*/ 256 w 277"/>
                <a:gd name="T51" fmla="*/ 139 h 149"/>
                <a:gd name="T52" fmla="*/ 267 w 277"/>
                <a:gd name="T53" fmla="*/ 149 h 149"/>
                <a:gd name="T54" fmla="*/ 277 w 277"/>
                <a:gd name="T55" fmla="*/ 139 h 149"/>
                <a:gd name="T56" fmla="*/ 277 w 277"/>
                <a:gd name="T57" fmla="*/ 85 h 149"/>
                <a:gd name="T58" fmla="*/ 224 w 277"/>
                <a:gd name="T59" fmla="*/ 32 h 149"/>
                <a:gd name="T60" fmla="*/ 117 w 277"/>
                <a:gd name="T61" fmla="*/ 75 h 149"/>
                <a:gd name="T62" fmla="*/ 117 w 277"/>
                <a:gd name="T63" fmla="*/ 53 h 149"/>
                <a:gd name="T64" fmla="*/ 224 w 277"/>
                <a:gd name="T65" fmla="*/ 53 h 149"/>
                <a:gd name="T66" fmla="*/ 255 w 277"/>
                <a:gd name="T67" fmla="*/ 75 h 149"/>
                <a:gd name="T68" fmla="*/ 117 w 277"/>
                <a:gd name="T69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7" h="149">
                  <a:moveTo>
                    <a:pt x="96" y="43"/>
                  </a:moveTo>
                  <a:cubicBezTo>
                    <a:pt x="96" y="25"/>
                    <a:pt x="82" y="11"/>
                    <a:pt x="64" y="11"/>
                  </a:cubicBezTo>
                  <a:cubicBezTo>
                    <a:pt x="46" y="11"/>
                    <a:pt x="32" y="25"/>
                    <a:pt x="32" y="43"/>
                  </a:cubicBezTo>
                  <a:cubicBezTo>
                    <a:pt x="32" y="60"/>
                    <a:pt x="46" y="75"/>
                    <a:pt x="64" y="75"/>
                  </a:cubicBezTo>
                  <a:cubicBezTo>
                    <a:pt x="82" y="75"/>
                    <a:pt x="96" y="60"/>
                    <a:pt x="96" y="43"/>
                  </a:cubicBezTo>
                  <a:close/>
                  <a:moveTo>
                    <a:pt x="64" y="53"/>
                  </a:moveTo>
                  <a:cubicBezTo>
                    <a:pt x="58" y="53"/>
                    <a:pt x="53" y="49"/>
                    <a:pt x="53" y="43"/>
                  </a:cubicBezTo>
                  <a:cubicBezTo>
                    <a:pt x="53" y="37"/>
                    <a:pt x="58" y="32"/>
                    <a:pt x="64" y="32"/>
                  </a:cubicBezTo>
                  <a:cubicBezTo>
                    <a:pt x="70" y="32"/>
                    <a:pt x="75" y="37"/>
                    <a:pt x="75" y="43"/>
                  </a:cubicBezTo>
                  <a:cubicBezTo>
                    <a:pt x="75" y="49"/>
                    <a:pt x="70" y="53"/>
                    <a:pt x="64" y="53"/>
                  </a:cubicBezTo>
                  <a:close/>
                  <a:moveTo>
                    <a:pt x="224" y="32"/>
                  </a:moveTo>
                  <a:cubicBezTo>
                    <a:pt x="107" y="32"/>
                    <a:pt x="107" y="32"/>
                    <a:pt x="107" y="32"/>
                  </a:cubicBezTo>
                  <a:cubicBezTo>
                    <a:pt x="101" y="32"/>
                    <a:pt x="96" y="37"/>
                    <a:pt x="96" y="43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5"/>
                    <a:pt x="5" y="149"/>
                    <a:pt x="11" y="149"/>
                  </a:cubicBezTo>
                  <a:cubicBezTo>
                    <a:pt x="17" y="149"/>
                    <a:pt x="21" y="145"/>
                    <a:pt x="21" y="139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39"/>
                    <a:pt x="256" y="139"/>
                    <a:pt x="256" y="139"/>
                  </a:cubicBezTo>
                  <a:cubicBezTo>
                    <a:pt x="256" y="145"/>
                    <a:pt x="261" y="149"/>
                    <a:pt x="267" y="149"/>
                  </a:cubicBezTo>
                  <a:cubicBezTo>
                    <a:pt x="273" y="149"/>
                    <a:pt x="277" y="145"/>
                    <a:pt x="277" y="139"/>
                  </a:cubicBezTo>
                  <a:cubicBezTo>
                    <a:pt x="277" y="85"/>
                    <a:pt x="277" y="85"/>
                    <a:pt x="277" y="85"/>
                  </a:cubicBezTo>
                  <a:cubicBezTo>
                    <a:pt x="277" y="44"/>
                    <a:pt x="243" y="32"/>
                    <a:pt x="224" y="32"/>
                  </a:cubicBezTo>
                  <a:close/>
                  <a:moveTo>
                    <a:pt x="117" y="75"/>
                  </a:moveTo>
                  <a:cubicBezTo>
                    <a:pt x="117" y="53"/>
                    <a:pt x="117" y="53"/>
                    <a:pt x="117" y="53"/>
                  </a:cubicBezTo>
                  <a:cubicBezTo>
                    <a:pt x="224" y="53"/>
                    <a:pt x="224" y="53"/>
                    <a:pt x="224" y="53"/>
                  </a:cubicBezTo>
                  <a:cubicBezTo>
                    <a:pt x="228" y="53"/>
                    <a:pt x="249" y="55"/>
                    <a:pt x="255" y="75"/>
                  </a:cubicBezTo>
                  <a:lnTo>
                    <a:pt x="117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2" name="Freeform 259"/>
          <p:cNvSpPr>
            <a:spLocks noChangeAspect="1" noEditPoints="1"/>
          </p:cNvSpPr>
          <p:nvPr/>
        </p:nvSpPr>
        <p:spPr bwMode="auto">
          <a:xfrm>
            <a:off x="8394261" y="2921944"/>
            <a:ext cx="367631" cy="368712"/>
          </a:xfrm>
          <a:custGeom>
            <a:avLst/>
            <a:gdLst>
              <a:gd name="T0" fmla="*/ 174 w 512"/>
              <a:gd name="T1" fmla="*/ 245 h 512"/>
              <a:gd name="T2" fmla="*/ 373 w 512"/>
              <a:gd name="T3" fmla="*/ 245 h 512"/>
              <a:gd name="T4" fmla="*/ 373 w 512"/>
              <a:gd name="T5" fmla="*/ 288 h 512"/>
              <a:gd name="T6" fmla="*/ 174 w 512"/>
              <a:gd name="T7" fmla="*/ 288 h 512"/>
              <a:gd name="T8" fmla="*/ 145 w 512"/>
              <a:gd name="T9" fmla="*/ 266 h 512"/>
              <a:gd name="T10" fmla="*/ 174 w 512"/>
              <a:gd name="T11" fmla="*/ 245 h 512"/>
              <a:gd name="T12" fmla="*/ 366 w 512"/>
              <a:gd name="T13" fmla="*/ 160 h 512"/>
              <a:gd name="T14" fmla="*/ 337 w 512"/>
              <a:gd name="T15" fmla="*/ 138 h 512"/>
              <a:gd name="T16" fmla="*/ 138 w 512"/>
              <a:gd name="T17" fmla="*/ 138 h 512"/>
              <a:gd name="T18" fmla="*/ 138 w 512"/>
              <a:gd name="T19" fmla="*/ 181 h 512"/>
              <a:gd name="T20" fmla="*/ 337 w 512"/>
              <a:gd name="T21" fmla="*/ 181 h 512"/>
              <a:gd name="T22" fmla="*/ 366 w 512"/>
              <a:gd name="T23" fmla="*/ 160 h 512"/>
              <a:gd name="T24" fmla="*/ 512 w 512"/>
              <a:gd name="T25" fmla="*/ 256 h 512"/>
              <a:gd name="T26" fmla="*/ 256 w 512"/>
              <a:gd name="T27" fmla="*/ 512 h 512"/>
              <a:gd name="T28" fmla="*/ 0 w 512"/>
              <a:gd name="T29" fmla="*/ 256 h 512"/>
              <a:gd name="T30" fmla="*/ 256 w 512"/>
              <a:gd name="T31" fmla="*/ 0 h 512"/>
              <a:gd name="T32" fmla="*/ 512 w 512"/>
              <a:gd name="T33" fmla="*/ 256 h 512"/>
              <a:gd name="T34" fmla="*/ 266 w 512"/>
              <a:gd name="T35" fmla="*/ 224 h 512"/>
              <a:gd name="T36" fmla="*/ 266 w 512"/>
              <a:gd name="T37" fmla="*/ 202 h 512"/>
              <a:gd name="T38" fmla="*/ 341 w 512"/>
              <a:gd name="T39" fmla="*/ 202 h 512"/>
              <a:gd name="T40" fmla="*/ 347 w 512"/>
              <a:gd name="T41" fmla="*/ 200 h 512"/>
              <a:gd name="T42" fmla="*/ 390 w 512"/>
              <a:gd name="T43" fmla="*/ 168 h 512"/>
              <a:gd name="T44" fmla="*/ 394 w 512"/>
              <a:gd name="T45" fmla="*/ 160 h 512"/>
              <a:gd name="T46" fmla="*/ 390 w 512"/>
              <a:gd name="T47" fmla="*/ 151 h 512"/>
              <a:gd name="T48" fmla="*/ 347 w 512"/>
              <a:gd name="T49" fmla="*/ 119 h 512"/>
              <a:gd name="T50" fmla="*/ 341 w 512"/>
              <a:gd name="T51" fmla="*/ 117 h 512"/>
              <a:gd name="T52" fmla="*/ 266 w 512"/>
              <a:gd name="T53" fmla="*/ 117 h 512"/>
              <a:gd name="T54" fmla="*/ 266 w 512"/>
              <a:gd name="T55" fmla="*/ 106 h 512"/>
              <a:gd name="T56" fmla="*/ 256 w 512"/>
              <a:gd name="T57" fmla="*/ 96 h 512"/>
              <a:gd name="T58" fmla="*/ 245 w 512"/>
              <a:gd name="T59" fmla="*/ 106 h 512"/>
              <a:gd name="T60" fmla="*/ 245 w 512"/>
              <a:gd name="T61" fmla="*/ 117 h 512"/>
              <a:gd name="T62" fmla="*/ 128 w 512"/>
              <a:gd name="T63" fmla="*/ 117 h 512"/>
              <a:gd name="T64" fmla="*/ 117 w 512"/>
              <a:gd name="T65" fmla="*/ 128 h 512"/>
              <a:gd name="T66" fmla="*/ 117 w 512"/>
              <a:gd name="T67" fmla="*/ 192 h 512"/>
              <a:gd name="T68" fmla="*/ 128 w 512"/>
              <a:gd name="T69" fmla="*/ 202 h 512"/>
              <a:gd name="T70" fmla="*/ 245 w 512"/>
              <a:gd name="T71" fmla="*/ 202 h 512"/>
              <a:gd name="T72" fmla="*/ 245 w 512"/>
              <a:gd name="T73" fmla="*/ 224 h 512"/>
              <a:gd name="T74" fmla="*/ 170 w 512"/>
              <a:gd name="T75" fmla="*/ 224 h 512"/>
              <a:gd name="T76" fmla="*/ 164 w 512"/>
              <a:gd name="T77" fmla="*/ 226 h 512"/>
              <a:gd name="T78" fmla="*/ 121 w 512"/>
              <a:gd name="T79" fmla="*/ 258 h 512"/>
              <a:gd name="T80" fmla="*/ 117 w 512"/>
              <a:gd name="T81" fmla="*/ 266 h 512"/>
              <a:gd name="T82" fmla="*/ 121 w 512"/>
              <a:gd name="T83" fmla="*/ 275 h 512"/>
              <a:gd name="T84" fmla="*/ 164 w 512"/>
              <a:gd name="T85" fmla="*/ 307 h 512"/>
              <a:gd name="T86" fmla="*/ 170 w 512"/>
              <a:gd name="T87" fmla="*/ 309 h 512"/>
              <a:gd name="T88" fmla="*/ 245 w 512"/>
              <a:gd name="T89" fmla="*/ 309 h 512"/>
              <a:gd name="T90" fmla="*/ 245 w 512"/>
              <a:gd name="T91" fmla="*/ 405 h 512"/>
              <a:gd name="T92" fmla="*/ 256 w 512"/>
              <a:gd name="T93" fmla="*/ 416 h 512"/>
              <a:gd name="T94" fmla="*/ 266 w 512"/>
              <a:gd name="T95" fmla="*/ 405 h 512"/>
              <a:gd name="T96" fmla="*/ 266 w 512"/>
              <a:gd name="T97" fmla="*/ 309 h 512"/>
              <a:gd name="T98" fmla="*/ 384 w 512"/>
              <a:gd name="T99" fmla="*/ 309 h 512"/>
              <a:gd name="T100" fmla="*/ 394 w 512"/>
              <a:gd name="T101" fmla="*/ 298 h 512"/>
              <a:gd name="T102" fmla="*/ 394 w 512"/>
              <a:gd name="T103" fmla="*/ 234 h 512"/>
              <a:gd name="T104" fmla="*/ 384 w 512"/>
              <a:gd name="T105" fmla="*/ 224 h 512"/>
              <a:gd name="T106" fmla="*/ 266 w 512"/>
              <a:gd name="T107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174" y="245"/>
                </a:moveTo>
                <a:cubicBezTo>
                  <a:pt x="373" y="245"/>
                  <a:pt x="373" y="245"/>
                  <a:pt x="373" y="245"/>
                </a:cubicBezTo>
                <a:cubicBezTo>
                  <a:pt x="373" y="288"/>
                  <a:pt x="373" y="288"/>
                  <a:pt x="373" y="288"/>
                </a:cubicBezTo>
                <a:cubicBezTo>
                  <a:pt x="174" y="288"/>
                  <a:pt x="174" y="288"/>
                  <a:pt x="174" y="288"/>
                </a:cubicBezTo>
                <a:cubicBezTo>
                  <a:pt x="145" y="266"/>
                  <a:pt x="145" y="266"/>
                  <a:pt x="145" y="266"/>
                </a:cubicBezTo>
                <a:lnTo>
                  <a:pt x="174" y="245"/>
                </a:lnTo>
                <a:close/>
                <a:moveTo>
                  <a:pt x="366" y="160"/>
                </a:moveTo>
                <a:cubicBezTo>
                  <a:pt x="337" y="138"/>
                  <a:pt x="337" y="138"/>
                  <a:pt x="337" y="138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337" y="181"/>
                  <a:pt x="337" y="181"/>
                  <a:pt x="337" y="181"/>
                </a:cubicBezTo>
                <a:lnTo>
                  <a:pt x="366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66" y="224"/>
                </a:moveTo>
                <a:cubicBezTo>
                  <a:pt x="266" y="202"/>
                  <a:pt x="266" y="202"/>
                  <a:pt x="266" y="202"/>
                </a:cubicBezTo>
                <a:cubicBezTo>
                  <a:pt x="341" y="202"/>
                  <a:pt x="341" y="202"/>
                  <a:pt x="341" y="202"/>
                </a:cubicBezTo>
                <a:cubicBezTo>
                  <a:pt x="343" y="202"/>
                  <a:pt x="346" y="202"/>
                  <a:pt x="347" y="200"/>
                </a:cubicBezTo>
                <a:cubicBezTo>
                  <a:pt x="390" y="168"/>
                  <a:pt x="390" y="168"/>
                  <a:pt x="390" y="168"/>
                </a:cubicBezTo>
                <a:cubicBezTo>
                  <a:pt x="393" y="166"/>
                  <a:pt x="394" y="163"/>
                  <a:pt x="394" y="160"/>
                </a:cubicBezTo>
                <a:cubicBezTo>
                  <a:pt x="394" y="156"/>
                  <a:pt x="393" y="153"/>
                  <a:pt x="390" y="151"/>
                </a:cubicBezTo>
                <a:cubicBezTo>
                  <a:pt x="347" y="119"/>
                  <a:pt x="347" y="119"/>
                  <a:pt x="347" y="119"/>
                </a:cubicBezTo>
                <a:cubicBezTo>
                  <a:pt x="346" y="118"/>
                  <a:pt x="343" y="117"/>
                  <a:pt x="341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192"/>
                  <a:pt x="117" y="192"/>
                  <a:pt x="117" y="192"/>
                </a:cubicBezTo>
                <a:cubicBezTo>
                  <a:pt x="117" y="198"/>
                  <a:pt x="122" y="202"/>
                  <a:pt x="128" y="202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170" y="224"/>
                  <a:pt x="170" y="224"/>
                  <a:pt x="170" y="224"/>
                </a:cubicBezTo>
                <a:cubicBezTo>
                  <a:pt x="168" y="224"/>
                  <a:pt x="166" y="224"/>
                  <a:pt x="164" y="226"/>
                </a:cubicBezTo>
                <a:cubicBezTo>
                  <a:pt x="121" y="258"/>
                  <a:pt x="121" y="258"/>
                  <a:pt x="121" y="258"/>
                </a:cubicBezTo>
                <a:cubicBezTo>
                  <a:pt x="119" y="260"/>
                  <a:pt x="117" y="263"/>
                  <a:pt x="117" y="266"/>
                </a:cubicBezTo>
                <a:cubicBezTo>
                  <a:pt x="117" y="270"/>
                  <a:pt x="119" y="273"/>
                  <a:pt x="121" y="275"/>
                </a:cubicBezTo>
                <a:cubicBezTo>
                  <a:pt x="164" y="307"/>
                  <a:pt x="164" y="307"/>
                  <a:pt x="164" y="307"/>
                </a:cubicBezTo>
                <a:cubicBezTo>
                  <a:pt x="166" y="308"/>
                  <a:pt x="168" y="309"/>
                  <a:pt x="170" y="309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384" y="309"/>
                  <a:pt x="384" y="309"/>
                  <a:pt x="384" y="309"/>
                </a:cubicBezTo>
                <a:cubicBezTo>
                  <a:pt x="390" y="309"/>
                  <a:pt x="394" y="304"/>
                  <a:pt x="394" y="298"/>
                </a:cubicBezTo>
                <a:cubicBezTo>
                  <a:pt x="394" y="234"/>
                  <a:pt x="394" y="234"/>
                  <a:pt x="394" y="234"/>
                </a:cubicBezTo>
                <a:cubicBezTo>
                  <a:pt x="394" y="228"/>
                  <a:pt x="390" y="224"/>
                  <a:pt x="384" y="224"/>
                </a:cubicBezTo>
                <a:lnTo>
                  <a:pt x="266" y="2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3" name="Group 262"/>
          <p:cNvGrpSpPr>
            <a:grpSpLocks noChangeAspect="1"/>
          </p:cNvGrpSpPr>
          <p:nvPr/>
        </p:nvGrpSpPr>
        <p:grpSpPr bwMode="auto">
          <a:xfrm>
            <a:off x="8891085" y="2921947"/>
            <a:ext cx="367631" cy="367631"/>
            <a:chOff x="5792" y="779"/>
            <a:chExt cx="340" cy="340"/>
          </a:xfrm>
          <a:solidFill>
            <a:schemeClr val="accent3"/>
          </a:solidFill>
        </p:grpSpPr>
        <p:sp>
          <p:nvSpPr>
            <p:cNvPr id="344" name="Freeform 263"/>
            <p:cNvSpPr>
              <a:spLocks noEditPoints="1"/>
            </p:cNvSpPr>
            <p:nvPr/>
          </p:nvSpPr>
          <p:spPr bwMode="auto">
            <a:xfrm>
              <a:off x="5870" y="843"/>
              <a:ext cx="184" cy="212"/>
            </a:xfrm>
            <a:custGeom>
              <a:avLst/>
              <a:gdLst>
                <a:gd name="T0" fmla="*/ 267 w 277"/>
                <a:gd name="T1" fmla="*/ 128 h 320"/>
                <a:gd name="T2" fmla="*/ 149 w 277"/>
                <a:gd name="T3" fmla="*/ 128 h 320"/>
                <a:gd name="T4" fmla="*/ 149 w 277"/>
                <a:gd name="T5" fmla="*/ 106 h 320"/>
                <a:gd name="T6" fmla="*/ 224 w 277"/>
                <a:gd name="T7" fmla="*/ 106 h 320"/>
                <a:gd name="T8" fmla="*/ 230 w 277"/>
                <a:gd name="T9" fmla="*/ 104 h 320"/>
                <a:gd name="T10" fmla="*/ 273 w 277"/>
                <a:gd name="T11" fmla="*/ 72 h 320"/>
                <a:gd name="T12" fmla="*/ 277 w 277"/>
                <a:gd name="T13" fmla="*/ 64 h 320"/>
                <a:gd name="T14" fmla="*/ 273 w 277"/>
                <a:gd name="T15" fmla="*/ 55 h 320"/>
                <a:gd name="T16" fmla="*/ 230 w 277"/>
                <a:gd name="T17" fmla="*/ 23 h 320"/>
                <a:gd name="T18" fmla="*/ 224 w 277"/>
                <a:gd name="T19" fmla="*/ 21 h 320"/>
                <a:gd name="T20" fmla="*/ 149 w 277"/>
                <a:gd name="T21" fmla="*/ 21 h 320"/>
                <a:gd name="T22" fmla="*/ 149 w 277"/>
                <a:gd name="T23" fmla="*/ 10 h 320"/>
                <a:gd name="T24" fmla="*/ 139 w 277"/>
                <a:gd name="T25" fmla="*/ 0 h 320"/>
                <a:gd name="T26" fmla="*/ 128 w 277"/>
                <a:gd name="T27" fmla="*/ 10 h 320"/>
                <a:gd name="T28" fmla="*/ 128 w 277"/>
                <a:gd name="T29" fmla="*/ 21 h 320"/>
                <a:gd name="T30" fmla="*/ 11 w 277"/>
                <a:gd name="T31" fmla="*/ 21 h 320"/>
                <a:gd name="T32" fmla="*/ 0 w 277"/>
                <a:gd name="T33" fmla="*/ 32 h 320"/>
                <a:gd name="T34" fmla="*/ 0 w 277"/>
                <a:gd name="T35" fmla="*/ 96 h 320"/>
                <a:gd name="T36" fmla="*/ 11 w 277"/>
                <a:gd name="T37" fmla="*/ 106 h 320"/>
                <a:gd name="T38" fmla="*/ 128 w 277"/>
                <a:gd name="T39" fmla="*/ 106 h 320"/>
                <a:gd name="T40" fmla="*/ 128 w 277"/>
                <a:gd name="T41" fmla="*/ 128 h 320"/>
                <a:gd name="T42" fmla="*/ 53 w 277"/>
                <a:gd name="T43" fmla="*/ 128 h 320"/>
                <a:gd name="T44" fmla="*/ 47 w 277"/>
                <a:gd name="T45" fmla="*/ 130 h 320"/>
                <a:gd name="T46" fmla="*/ 4 w 277"/>
                <a:gd name="T47" fmla="*/ 162 h 320"/>
                <a:gd name="T48" fmla="*/ 0 w 277"/>
                <a:gd name="T49" fmla="*/ 170 h 320"/>
                <a:gd name="T50" fmla="*/ 4 w 277"/>
                <a:gd name="T51" fmla="*/ 179 h 320"/>
                <a:gd name="T52" fmla="*/ 47 w 277"/>
                <a:gd name="T53" fmla="*/ 211 h 320"/>
                <a:gd name="T54" fmla="*/ 53 w 277"/>
                <a:gd name="T55" fmla="*/ 213 h 320"/>
                <a:gd name="T56" fmla="*/ 128 w 277"/>
                <a:gd name="T57" fmla="*/ 213 h 320"/>
                <a:gd name="T58" fmla="*/ 128 w 277"/>
                <a:gd name="T59" fmla="*/ 309 h 320"/>
                <a:gd name="T60" fmla="*/ 139 w 277"/>
                <a:gd name="T61" fmla="*/ 320 h 320"/>
                <a:gd name="T62" fmla="*/ 149 w 277"/>
                <a:gd name="T63" fmla="*/ 309 h 320"/>
                <a:gd name="T64" fmla="*/ 149 w 277"/>
                <a:gd name="T65" fmla="*/ 213 h 320"/>
                <a:gd name="T66" fmla="*/ 267 w 277"/>
                <a:gd name="T67" fmla="*/ 213 h 320"/>
                <a:gd name="T68" fmla="*/ 277 w 277"/>
                <a:gd name="T69" fmla="*/ 202 h 320"/>
                <a:gd name="T70" fmla="*/ 277 w 277"/>
                <a:gd name="T71" fmla="*/ 138 h 320"/>
                <a:gd name="T72" fmla="*/ 267 w 277"/>
                <a:gd name="T73" fmla="*/ 128 h 320"/>
                <a:gd name="T74" fmla="*/ 21 w 277"/>
                <a:gd name="T75" fmla="*/ 85 h 320"/>
                <a:gd name="T76" fmla="*/ 21 w 277"/>
                <a:gd name="T77" fmla="*/ 42 h 320"/>
                <a:gd name="T78" fmla="*/ 220 w 277"/>
                <a:gd name="T79" fmla="*/ 42 h 320"/>
                <a:gd name="T80" fmla="*/ 249 w 277"/>
                <a:gd name="T81" fmla="*/ 64 h 320"/>
                <a:gd name="T82" fmla="*/ 220 w 277"/>
                <a:gd name="T83" fmla="*/ 85 h 320"/>
                <a:gd name="T84" fmla="*/ 21 w 277"/>
                <a:gd name="T85" fmla="*/ 85 h 320"/>
                <a:gd name="T86" fmla="*/ 256 w 277"/>
                <a:gd name="T87" fmla="*/ 192 h 320"/>
                <a:gd name="T88" fmla="*/ 57 w 277"/>
                <a:gd name="T89" fmla="*/ 192 h 320"/>
                <a:gd name="T90" fmla="*/ 28 w 277"/>
                <a:gd name="T91" fmla="*/ 170 h 320"/>
                <a:gd name="T92" fmla="*/ 57 w 277"/>
                <a:gd name="T93" fmla="*/ 149 h 320"/>
                <a:gd name="T94" fmla="*/ 256 w 277"/>
                <a:gd name="T95" fmla="*/ 149 h 320"/>
                <a:gd name="T96" fmla="*/ 256 w 277"/>
                <a:gd name="T97" fmla="*/ 1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320">
                  <a:moveTo>
                    <a:pt x="267" y="128"/>
                  </a:moveTo>
                  <a:cubicBezTo>
                    <a:pt x="149" y="128"/>
                    <a:pt x="149" y="128"/>
                    <a:pt x="149" y="128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6" y="106"/>
                    <a:pt x="229" y="106"/>
                    <a:pt x="230" y="104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6" y="70"/>
                    <a:pt x="277" y="67"/>
                    <a:pt x="277" y="64"/>
                  </a:cubicBezTo>
                  <a:cubicBezTo>
                    <a:pt x="277" y="60"/>
                    <a:pt x="276" y="57"/>
                    <a:pt x="273" y="55"/>
                  </a:cubicBezTo>
                  <a:cubicBezTo>
                    <a:pt x="230" y="23"/>
                    <a:pt x="230" y="23"/>
                    <a:pt x="230" y="23"/>
                  </a:cubicBezTo>
                  <a:cubicBezTo>
                    <a:pt x="229" y="22"/>
                    <a:pt x="226" y="21"/>
                    <a:pt x="224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ubicBezTo>
                    <a:pt x="133" y="0"/>
                    <a:pt x="128" y="4"/>
                    <a:pt x="128" y="10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8"/>
                    <a:pt x="49" y="128"/>
                    <a:pt x="47" y="130"/>
                  </a:cubicBezTo>
                  <a:cubicBezTo>
                    <a:pt x="4" y="162"/>
                    <a:pt x="4" y="162"/>
                    <a:pt x="4" y="162"/>
                  </a:cubicBezTo>
                  <a:cubicBezTo>
                    <a:pt x="2" y="164"/>
                    <a:pt x="0" y="167"/>
                    <a:pt x="0" y="170"/>
                  </a:cubicBezTo>
                  <a:cubicBezTo>
                    <a:pt x="0" y="174"/>
                    <a:pt x="2" y="177"/>
                    <a:pt x="4" y="179"/>
                  </a:cubicBezTo>
                  <a:cubicBezTo>
                    <a:pt x="47" y="211"/>
                    <a:pt x="47" y="211"/>
                    <a:pt x="47" y="211"/>
                  </a:cubicBezTo>
                  <a:cubicBezTo>
                    <a:pt x="49" y="212"/>
                    <a:pt x="51" y="213"/>
                    <a:pt x="53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8" y="309"/>
                    <a:pt x="128" y="309"/>
                    <a:pt x="128" y="309"/>
                  </a:cubicBezTo>
                  <a:cubicBezTo>
                    <a:pt x="128" y="315"/>
                    <a:pt x="133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267" y="213"/>
                    <a:pt x="267" y="213"/>
                    <a:pt x="267" y="213"/>
                  </a:cubicBezTo>
                  <a:cubicBezTo>
                    <a:pt x="273" y="213"/>
                    <a:pt x="277" y="208"/>
                    <a:pt x="277" y="202"/>
                  </a:cubicBezTo>
                  <a:cubicBezTo>
                    <a:pt x="277" y="138"/>
                    <a:pt x="277" y="138"/>
                    <a:pt x="277" y="138"/>
                  </a:cubicBezTo>
                  <a:cubicBezTo>
                    <a:pt x="277" y="132"/>
                    <a:pt x="273" y="128"/>
                    <a:pt x="267" y="128"/>
                  </a:cubicBezTo>
                  <a:close/>
                  <a:moveTo>
                    <a:pt x="21" y="85"/>
                  </a:moveTo>
                  <a:cubicBezTo>
                    <a:pt x="21" y="42"/>
                    <a:pt x="21" y="42"/>
                    <a:pt x="21" y="42"/>
                  </a:cubicBezTo>
                  <a:cubicBezTo>
                    <a:pt x="220" y="42"/>
                    <a:pt x="220" y="42"/>
                    <a:pt x="220" y="42"/>
                  </a:cubicBezTo>
                  <a:cubicBezTo>
                    <a:pt x="249" y="64"/>
                    <a:pt x="249" y="64"/>
                    <a:pt x="249" y="6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1" y="85"/>
                  </a:lnTo>
                  <a:close/>
                  <a:moveTo>
                    <a:pt x="256" y="192"/>
                  </a:moveTo>
                  <a:cubicBezTo>
                    <a:pt x="57" y="192"/>
                    <a:pt x="57" y="192"/>
                    <a:pt x="57" y="192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57" y="149"/>
                    <a:pt x="57" y="149"/>
                    <a:pt x="57" y="149"/>
                  </a:cubicBezTo>
                  <a:cubicBezTo>
                    <a:pt x="256" y="149"/>
                    <a:pt x="256" y="149"/>
                    <a:pt x="256" y="149"/>
                  </a:cubicBezTo>
                  <a:lnTo>
                    <a:pt x="256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264"/>
            <p:cNvSpPr>
              <a:spLocks noEditPoints="1"/>
            </p:cNvSpPr>
            <p:nvPr/>
          </p:nvSpPr>
          <p:spPr bwMode="auto">
            <a:xfrm>
              <a:off x="5792" y="7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46" name="Freeform 323"/>
          <p:cNvSpPr>
            <a:spLocks noChangeAspect="1" noEditPoints="1"/>
          </p:cNvSpPr>
          <p:nvPr/>
        </p:nvSpPr>
        <p:spPr bwMode="auto">
          <a:xfrm>
            <a:off x="9385793" y="2051054"/>
            <a:ext cx="368712" cy="367631"/>
          </a:xfrm>
          <a:custGeom>
            <a:avLst/>
            <a:gdLst>
              <a:gd name="T0" fmla="*/ 224 w 512"/>
              <a:gd name="T1" fmla="*/ 218 h 512"/>
              <a:gd name="T2" fmla="*/ 245 w 512"/>
              <a:gd name="T3" fmla="*/ 202 h 512"/>
              <a:gd name="T4" fmla="*/ 245 w 512"/>
              <a:gd name="T5" fmla="*/ 251 h 512"/>
              <a:gd name="T6" fmla="*/ 224 w 512"/>
              <a:gd name="T7" fmla="*/ 273 h 512"/>
              <a:gd name="T8" fmla="*/ 224 w 512"/>
              <a:gd name="T9" fmla="*/ 218 h 512"/>
              <a:gd name="T10" fmla="*/ 256 w 512"/>
              <a:gd name="T11" fmla="*/ 138 h 512"/>
              <a:gd name="T12" fmla="*/ 266 w 512"/>
              <a:gd name="T13" fmla="*/ 128 h 512"/>
              <a:gd name="T14" fmla="*/ 256 w 512"/>
              <a:gd name="T15" fmla="*/ 117 h 512"/>
              <a:gd name="T16" fmla="*/ 245 w 512"/>
              <a:gd name="T17" fmla="*/ 128 h 512"/>
              <a:gd name="T18" fmla="*/ 256 w 512"/>
              <a:gd name="T19" fmla="*/ 138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24 w 512"/>
              <a:gd name="T31" fmla="*/ 128 h 512"/>
              <a:gd name="T32" fmla="*/ 256 w 512"/>
              <a:gd name="T33" fmla="*/ 160 h 512"/>
              <a:gd name="T34" fmla="*/ 288 w 512"/>
              <a:gd name="T35" fmla="*/ 128 h 512"/>
              <a:gd name="T36" fmla="*/ 256 w 512"/>
              <a:gd name="T37" fmla="*/ 96 h 512"/>
              <a:gd name="T38" fmla="*/ 224 w 512"/>
              <a:gd name="T39" fmla="*/ 128 h 512"/>
              <a:gd name="T40" fmla="*/ 251 w 512"/>
              <a:gd name="T41" fmla="*/ 322 h 512"/>
              <a:gd name="T42" fmla="*/ 236 w 512"/>
              <a:gd name="T43" fmla="*/ 324 h 512"/>
              <a:gd name="T44" fmla="*/ 183 w 512"/>
              <a:gd name="T45" fmla="*/ 399 h 512"/>
              <a:gd name="T46" fmla="*/ 185 w 512"/>
              <a:gd name="T47" fmla="*/ 414 h 512"/>
              <a:gd name="T48" fmla="*/ 192 w 512"/>
              <a:gd name="T49" fmla="*/ 416 h 512"/>
              <a:gd name="T50" fmla="*/ 200 w 512"/>
              <a:gd name="T51" fmla="*/ 411 h 512"/>
              <a:gd name="T52" fmla="*/ 254 w 512"/>
              <a:gd name="T53" fmla="*/ 337 h 512"/>
              <a:gd name="T54" fmla="*/ 251 w 512"/>
              <a:gd name="T55" fmla="*/ 322 h 512"/>
              <a:gd name="T56" fmla="*/ 320 w 512"/>
              <a:gd name="T57" fmla="*/ 403 h 512"/>
              <a:gd name="T58" fmla="*/ 309 w 512"/>
              <a:gd name="T59" fmla="*/ 329 h 512"/>
              <a:gd name="T60" fmla="*/ 307 w 512"/>
              <a:gd name="T61" fmla="*/ 324 h 512"/>
              <a:gd name="T62" fmla="*/ 286 w 512"/>
              <a:gd name="T63" fmla="*/ 292 h 512"/>
              <a:gd name="T64" fmla="*/ 271 w 512"/>
              <a:gd name="T65" fmla="*/ 289 h 512"/>
              <a:gd name="T66" fmla="*/ 268 w 512"/>
              <a:gd name="T67" fmla="*/ 304 h 512"/>
              <a:gd name="T68" fmla="*/ 288 w 512"/>
              <a:gd name="T69" fmla="*/ 334 h 512"/>
              <a:gd name="T70" fmla="*/ 298 w 512"/>
              <a:gd name="T71" fmla="*/ 407 h 512"/>
              <a:gd name="T72" fmla="*/ 309 w 512"/>
              <a:gd name="T73" fmla="*/ 416 h 512"/>
              <a:gd name="T74" fmla="*/ 311 w 512"/>
              <a:gd name="T75" fmla="*/ 416 h 512"/>
              <a:gd name="T76" fmla="*/ 320 w 512"/>
              <a:gd name="T77" fmla="*/ 403 h 512"/>
              <a:gd name="T78" fmla="*/ 327 w 512"/>
              <a:gd name="T79" fmla="*/ 269 h 512"/>
              <a:gd name="T80" fmla="*/ 317 w 512"/>
              <a:gd name="T81" fmla="*/ 259 h 512"/>
              <a:gd name="T82" fmla="*/ 301 w 512"/>
              <a:gd name="T83" fmla="*/ 259 h 512"/>
              <a:gd name="T84" fmla="*/ 301 w 512"/>
              <a:gd name="T85" fmla="*/ 274 h 512"/>
              <a:gd name="T86" fmla="*/ 312 w 512"/>
              <a:gd name="T87" fmla="*/ 285 h 512"/>
              <a:gd name="T88" fmla="*/ 320 w 512"/>
              <a:gd name="T89" fmla="*/ 288 h 512"/>
              <a:gd name="T90" fmla="*/ 327 w 512"/>
              <a:gd name="T91" fmla="*/ 285 h 512"/>
              <a:gd name="T92" fmla="*/ 327 w 512"/>
              <a:gd name="T93" fmla="*/ 269 h 512"/>
              <a:gd name="T94" fmla="*/ 391 w 512"/>
              <a:gd name="T95" fmla="*/ 120 h 512"/>
              <a:gd name="T96" fmla="*/ 376 w 512"/>
              <a:gd name="T97" fmla="*/ 120 h 512"/>
              <a:gd name="T98" fmla="*/ 266 w 512"/>
              <a:gd name="T99" fmla="*/ 230 h 512"/>
              <a:gd name="T100" fmla="*/ 266 w 512"/>
              <a:gd name="T101" fmla="*/ 181 h 512"/>
              <a:gd name="T102" fmla="*/ 260 w 512"/>
              <a:gd name="T103" fmla="*/ 171 h 512"/>
              <a:gd name="T104" fmla="*/ 249 w 512"/>
              <a:gd name="T105" fmla="*/ 172 h 512"/>
              <a:gd name="T106" fmla="*/ 207 w 512"/>
              <a:gd name="T107" fmla="*/ 204 h 512"/>
              <a:gd name="T108" fmla="*/ 202 w 512"/>
              <a:gd name="T109" fmla="*/ 213 h 512"/>
              <a:gd name="T110" fmla="*/ 202 w 512"/>
              <a:gd name="T111" fmla="*/ 294 h 512"/>
              <a:gd name="T112" fmla="*/ 120 w 512"/>
              <a:gd name="T113" fmla="*/ 376 h 512"/>
              <a:gd name="T114" fmla="*/ 120 w 512"/>
              <a:gd name="T115" fmla="*/ 391 h 512"/>
              <a:gd name="T116" fmla="*/ 128 w 512"/>
              <a:gd name="T117" fmla="*/ 394 h 512"/>
              <a:gd name="T118" fmla="*/ 135 w 512"/>
              <a:gd name="T119" fmla="*/ 391 h 512"/>
              <a:gd name="T120" fmla="*/ 391 w 512"/>
              <a:gd name="T121" fmla="*/ 135 h 512"/>
              <a:gd name="T122" fmla="*/ 391 w 512"/>
              <a:gd name="T123" fmla="*/ 1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2" h="512">
                <a:moveTo>
                  <a:pt x="224" y="218"/>
                </a:moveTo>
                <a:cubicBezTo>
                  <a:pt x="245" y="202"/>
                  <a:pt x="245" y="202"/>
                  <a:pt x="245" y="202"/>
                </a:cubicBezTo>
                <a:cubicBezTo>
                  <a:pt x="245" y="251"/>
                  <a:pt x="245" y="251"/>
                  <a:pt x="245" y="251"/>
                </a:cubicBezTo>
                <a:cubicBezTo>
                  <a:pt x="224" y="273"/>
                  <a:pt x="224" y="273"/>
                  <a:pt x="224" y="273"/>
                </a:cubicBezTo>
                <a:lnTo>
                  <a:pt x="224" y="218"/>
                </a:lnTo>
                <a:close/>
                <a:moveTo>
                  <a:pt x="256" y="138"/>
                </a:move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24" y="128"/>
                </a:moveTo>
                <a:cubicBezTo>
                  <a:pt x="224" y="145"/>
                  <a:pt x="238" y="160"/>
                  <a:pt x="256" y="160"/>
                </a:cubicBezTo>
                <a:cubicBezTo>
                  <a:pt x="273" y="160"/>
                  <a:pt x="288" y="145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lose/>
                <a:moveTo>
                  <a:pt x="251" y="322"/>
                </a:moveTo>
                <a:cubicBezTo>
                  <a:pt x="246" y="318"/>
                  <a:pt x="240" y="319"/>
                  <a:pt x="236" y="324"/>
                </a:cubicBezTo>
                <a:cubicBezTo>
                  <a:pt x="183" y="399"/>
                  <a:pt x="183" y="399"/>
                  <a:pt x="183" y="399"/>
                </a:cubicBezTo>
                <a:cubicBezTo>
                  <a:pt x="180" y="404"/>
                  <a:pt x="181" y="410"/>
                  <a:pt x="185" y="414"/>
                </a:cubicBezTo>
                <a:cubicBezTo>
                  <a:pt x="187" y="415"/>
                  <a:pt x="190" y="416"/>
                  <a:pt x="192" y="416"/>
                </a:cubicBezTo>
                <a:cubicBezTo>
                  <a:pt x="195" y="416"/>
                  <a:pt x="198" y="414"/>
                  <a:pt x="200" y="411"/>
                </a:cubicBezTo>
                <a:cubicBezTo>
                  <a:pt x="254" y="337"/>
                  <a:pt x="254" y="337"/>
                  <a:pt x="254" y="337"/>
                </a:cubicBezTo>
                <a:cubicBezTo>
                  <a:pt x="257" y="332"/>
                  <a:pt x="256" y="325"/>
                  <a:pt x="251" y="322"/>
                </a:cubicBezTo>
                <a:close/>
                <a:moveTo>
                  <a:pt x="320" y="403"/>
                </a:moveTo>
                <a:cubicBezTo>
                  <a:pt x="309" y="329"/>
                  <a:pt x="309" y="329"/>
                  <a:pt x="309" y="329"/>
                </a:cubicBezTo>
                <a:cubicBezTo>
                  <a:pt x="309" y="327"/>
                  <a:pt x="308" y="326"/>
                  <a:pt x="307" y="324"/>
                </a:cubicBezTo>
                <a:cubicBezTo>
                  <a:pt x="286" y="292"/>
                  <a:pt x="286" y="292"/>
                  <a:pt x="286" y="292"/>
                </a:cubicBezTo>
                <a:cubicBezTo>
                  <a:pt x="283" y="288"/>
                  <a:pt x="276" y="286"/>
                  <a:pt x="271" y="289"/>
                </a:cubicBezTo>
                <a:cubicBezTo>
                  <a:pt x="266" y="293"/>
                  <a:pt x="265" y="299"/>
                  <a:pt x="268" y="304"/>
                </a:cubicBezTo>
                <a:cubicBezTo>
                  <a:pt x="288" y="334"/>
                  <a:pt x="288" y="334"/>
                  <a:pt x="288" y="334"/>
                </a:cubicBezTo>
                <a:cubicBezTo>
                  <a:pt x="298" y="407"/>
                  <a:pt x="298" y="407"/>
                  <a:pt x="298" y="407"/>
                </a:cubicBezTo>
                <a:cubicBezTo>
                  <a:pt x="299" y="412"/>
                  <a:pt x="304" y="416"/>
                  <a:pt x="309" y="416"/>
                </a:cubicBezTo>
                <a:cubicBezTo>
                  <a:pt x="309" y="416"/>
                  <a:pt x="310" y="416"/>
                  <a:pt x="311" y="416"/>
                </a:cubicBezTo>
                <a:cubicBezTo>
                  <a:pt x="316" y="415"/>
                  <a:pt x="320" y="409"/>
                  <a:pt x="320" y="403"/>
                </a:cubicBezTo>
                <a:close/>
                <a:moveTo>
                  <a:pt x="327" y="269"/>
                </a:moveTo>
                <a:cubicBezTo>
                  <a:pt x="317" y="259"/>
                  <a:pt x="317" y="259"/>
                  <a:pt x="317" y="259"/>
                </a:cubicBezTo>
                <a:cubicBezTo>
                  <a:pt x="312" y="255"/>
                  <a:pt x="306" y="255"/>
                  <a:pt x="301" y="259"/>
                </a:cubicBezTo>
                <a:cubicBezTo>
                  <a:pt x="297" y="263"/>
                  <a:pt x="297" y="270"/>
                  <a:pt x="301" y="274"/>
                </a:cubicBezTo>
                <a:cubicBezTo>
                  <a:pt x="312" y="285"/>
                  <a:pt x="312" y="285"/>
                  <a:pt x="312" y="285"/>
                </a:cubicBezTo>
                <a:cubicBezTo>
                  <a:pt x="314" y="287"/>
                  <a:pt x="317" y="288"/>
                  <a:pt x="320" y="288"/>
                </a:cubicBezTo>
                <a:cubicBezTo>
                  <a:pt x="322" y="288"/>
                  <a:pt x="325" y="287"/>
                  <a:pt x="327" y="285"/>
                </a:cubicBezTo>
                <a:cubicBezTo>
                  <a:pt x="331" y="280"/>
                  <a:pt x="331" y="274"/>
                  <a:pt x="327" y="269"/>
                </a:cubicBezTo>
                <a:close/>
                <a:moveTo>
                  <a:pt x="391" y="120"/>
                </a:moveTo>
                <a:cubicBezTo>
                  <a:pt x="387" y="116"/>
                  <a:pt x="380" y="116"/>
                  <a:pt x="376" y="120"/>
                </a:cubicBezTo>
                <a:cubicBezTo>
                  <a:pt x="266" y="230"/>
                  <a:pt x="266" y="230"/>
                  <a:pt x="266" y="23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77"/>
                  <a:pt x="264" y="173"/>
                  <a:pt x="260" y="171"/>
                </a:cubicBezTo>
                <a:cubicBezTo>
                  <a:pt x="257" y="170"/>
                  <a:pt x="253" y="170"/>
                  <a:pt x="249" y="172"/>
                </a:cubicBezTo>
                <a:cubicBezTo>
                  <a:pt x="207" y="204"/>
                  <a:pt x="207" y="204"/>
                  <a:pt x="207" y="204"/>
                </a:cubicBezTo>
                <a:cubicBezTo>
                  <a:pt x="204" y="206"/>
                  <a:pt x="202" y="210"/>
                  <a:pt x="202" y="213"/>
                </a:cubicBezTo>
                <a:cubicBezTo>
                  <a:pt x="202" y="294"/>
                  <a:pt x="202" y="294"/>
                  <a:pt x="202" y="294"/>
                </a:cubicBezTo>
                <a:cubicBezTo>
                  <a:pt x="120" y="376"/>
                  <a:pt x="120" y="376"/>
                  <a:pt x="120" y="376"/>
                </a:cubicBezTo>
                <a:cubicBezTo>
                  <a:pt x="116" y="380"/>
                  <a:pt x="116" y="387"/>
                  <a:pt x="120" y="391"/>
                </a:cubicBezTo>
                <a:cubicBezTo>
                  <a:pt x="122" y="393"/>
                  <a:pt x="125" y="394"/>
                  <a:pt x="128" y="394"/>
                </a:cubicBezTo>
                <a:cubicBezTo>
                  <a:pt x="130" y="394"/>
                  <a:pt x="133" y="393"/>
                  <a:pt x="135" y="391"/>
                </a:cubicBezTo>
                <a:cubicBezTo>
                  <a:pt x="391" y="135"/>
                  <a:pt x="391" y="135"/>
                  <a:pt x="391" y="135"/>
                </a:cubicBezTo>
                <a:cubicBezTo>
                  <a:pt x="395" y="131"/>
                  <a:pt x="395" y="124"/>
                  <a:pt x="391" y="1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47" name="Group 326"/>
          <p:cNvGrpSpPr>
            <a:grpSpLocks noChangeAspect="1"/>
          </p:cNvGrpSpPr>
          <p:nvPr/>
        </p:nvGrpSpPr>
        <p:grpSpPr bwMode="auto">
          <a:xfrm>
            <a:off x="9883545" y="2051054"/>
            <a:ext cx="367631" cy="367631"/>
            <a:chOff x="3476" y="1204"/>
            <a:chExt cx="340" cy="340"/>
          </a:xfrm>
          <a:solidFill>
            <a:schemeClr val="accent4"/>
          </a:solidFill>
        </p:grpSpPr>
        <p:sp>
          <p:nvSpPr>
            <p:cNvPr id="348" name="Freeform 327"/>
            <p:cNvSpPr>
              <a:spLocks noEditPoints="1"/>
            </p:cNvSpPr>
            <p:nvPr/>
          </p:nvSpPr>
          <p:spPr bwMode="auto">
            <a:xfrm>
              <a:off x="3476" y="12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328"/>
            <p:cNvSpPr>
              <a:spLocks noEditPoints="1"/>
            </p:cNvSpPr>
            <p:nvPr/>
          </p:nvSpPr>
          <p:spPr bwMode="auto">
            <a:xfrm>
              <a:off x="3553" y="1268"/>
              <a:ext cx="185" cy="212"/>
            </a:xfrm>
            <a:custGeom>
              <a:avLst/>
              <a:gdLst>
                <a:gd name="T0" fmla="*/ 140 w 279"/>
                <a:gd name="T1" fmla="*/ 64 h 320"/>
                <a:gd name="T2" fmla="*/ 172 w 279"/>
                <a:gd name="T3" fmla="*/ 32 h 320"/>
                <a:gd name="T4" fmla="*/ 140 w 279"/>
                <a:gd name="T5" fmla="*/ 0 h 320"/>
                <a:gd name="T6" fmla="*/ 108 w 279"/>
                <a:gd name="T7" fmla="*/ 32 h 320"/>
                <a:gd name="T8" fmla="*/ 140 w 279"/>
                <a:gd name="T9" fmla="*/ 64 h 320"/>
                <a:gd name="T10" fmla="*/ 140 w 279"/>
                <a:gd name="T11" fmla="*/ 21 h 320"/>
                <a:gd name="T12" fmla="*/ 150 w 279"/>
                <a:gd name="T13" fmla="*/ 32 h 320"/>
                <a:gd name="T14" fmla="*/ 140 w 279"/>
                <a:gd name="T15" fmla="*/ 42 h 320"/>
                <a:gd name="T16" fmla="*/ 129 w 279"/>
                <a:gd name="T17" fmla="*/ 32 h 320"/>
                <a:gd name="T18" fmla="*/ 140 w 279"/>
                <a:gd name="T19" fmla="*/ 21 h 320"/>
                <a:gd name="T20" fmla="*/ 135 w 279"/>
                <a:gd name="T21" fmla="*/ 226 h 320"/>
                <a:gd name="T22" fmla="*/ 138 w 279"/>
                <a:gd name="T23" fmla="*/ 241 h 320"/>
                <a:gd name="T24" fmla="*/ 84 w 279"/>
                <a:gd name="T25" fmla="*/ 315 h 320"/>
                <a:gd name="T26" fmla="*/ 76 w 279"/>
                <a:gd name="T27" fmla="*/ 320 h 320"/>
                <a:gd name="T28" fmla="*/ 69 w 279"/>
                <a:gd name="T29" fmla="*/ 318 h 320"/>
                <a:gd name="T30" fmla="*/ 67 w 279"/>
                <a:gd name="T31" fmla="*/ 303 h 320"/>
                <a:gd name="T32" fmla="*/ 120 w 279"/>
                <a:gd name="T33" fmla="*/ 228 h 320"/>
                <a:gd name="T34" fmla="*/ 135 w 279"/>
                <a:gd name="T35" fmla="*/ 226 h 320"/>
                <a:gd name="T36" fmla="*/ 211 w 279"/>
                <a:gd name="T37" fmla="*/ 173 h 320"/>
                <a:gd name="T38" fmla="*/ 211 w 279"/>
                <a:gd name="T39" fmla="*/ 189 h 320"/>
                <a:gd name="T40" fmla="*/ 204 w 279"/>
                <a:gd name="T41" fmla="*/ 192 h 320"/>
                <a:gd name="T42" fmla="*/ 196 w 279"/>
                <a:gd name="T43" fmla="*/ 189 h 320"/>
                <a:gd name="T44" fmla="*/ 185 w 279"/>
                <a:gd name="T45" fmla="*/ 178 h 320"/>
                <a:gd name="T46" fmla="*/ 185 w 279"/>
                <a:gd name="T47" fmla="*/ 163 h 320"/>
                <a:gd name="T48" fmla="*/ 201 w 279"/>
                <a:gd name="T49" fmla="*/ 163 h 320"/>
                <a:gd name="T50" fmla="*/ 211 w 279"/>
                <a:gd name="T51" fmla="*/ 173 h 320"/>
                <a:gd name="T52" fmla="*/ 275 w 279"/>
                <a:gd name="T53" fmla="*/ 24 h 320"/>
                <a:gd name="T54" fmla="*/ 260 w 279"/>
                <a:gd name="T55" fmla="*/ 24 h 320"/>
                <a:gd name="T56" fmla="*/ 150 w 279"/>
                <a:gd name="T57" fmla="*/ 134 h 320"/>
                <a:gd name="T58" fmla="*/ 150 w 279"/>
                <a:gd name="T59" fmla="*/ 85 h 320"/>
                <a:gd name="T60" fmla="*/ 144 w 279"/>
                <a:gd name="T61" fmla="*/ 75 h 320"/>
                <a:gd name="T62" fmla="*/ 133 w 279"/>
                <a:gd name="T63" fmla="*/ 76 h 320"/>
                <a:gd name="T64" fmla="*/ 91 w 279"/>
                <a:gd name="T65" fmla="*/ 108 h 320"/>
                <a:gd name="T66" fmla="*/ 86 w 279"/>
                <a:gd name="T67" fmla="*/ 117 h 320"/>
                <a:gd name="T68" fmla="*/ 86 w 279"/>
                <a:gd name="T69" fmla="*/ 198 h 320"/>
                <a:gd name="T70" fmla="*/ 4 w 279"/>
                <a:gd name="T71" fmla="*/ 280 h 320"/>
                <a:gd name="T72" fmla="*/ 4 w 279"/>
                <a:gd name="T73" fmla="*/ 295 h 320"/>
                <a:gd name="T74" fmla="*/ 12 w 279"/>
                <a:gd name="T75" fmla="*/ 298 h 320"/>
                <a:gd name="T76" fmla="*/ 19 w 279"/>
                <a:gd name="T77" fmla="*/ 295 h 320"/>
                <a:gd name="T78" fmla="*/ 275 w 279"/>
                <a:gd name="T79" fmla="*/ 39 h 320"/>
                <a:gd name="T80" fmla="*/ 275 w 279"/>
                <a:gd name="T81" fmla="*/ 24 h 320"/>
                <a:gd name="T82" fmla="*/ 108 w 279"/>
                <a:gd name="T83" fmla="*/ 122 h 320"/>
                <a:gd name="T84" fmla="*/ 129 w 279"/>
                <a:gd name="T85" fmla="*/ 106 h 320"/>
                <a:gd name="T86" fmla="*/ 129 w 279"/>
                <a:gd name="T87" fmla="*/ 155 h 320"/>
                <a:gd name="T88" fmla="*/ 108 w 279"/>
                <a:gd name="T89" fmla="*/ 177 h 320"/>
                <a:gd name="T90" fmla="*/ 108 w 279"/>
                <a:gd name="T91" fmla="*/ 122 h 320"/>
                <a:gd name="T92" fmla="*/ 193 w 279"/>
                <a:gd name="T93" fmla="*/ 233 h 320"/>
                <a:gd name="T94" fmla="*/ 204 w 279"/>
                <a:gd name="T95" fmla="*/ 307 h 320"/>
                <a:gd name="T96" fmla="*/ 195 w 279"/>
                <a:gd name="T97" fmla="*/ 320 h 320"/>
                <a:gd name="T98" fmla="*/ 193 w 279"/>
                <a:gd name="T99" fmla="*/ 320 h 320"/>
                <a:gd name="T100" fmla="*/ 182 w 279"/>
                <a:gd name="T101" fmla="*/ 311 h 320"/>
                <a:gd name="T102" fmla="*/ 172 w 279"/>
                <a:gd name="T103" fmla="*/ 238 h 320"/>
                <a:gd name="T104" fmla="*/ 152 w 279"/>
                <a:gd name="T105" fmla="*/ 208 h 320"/>
                <a:gd name="T106" fmla="*/ 155 w 279"/>
                <a:gd name="T107" fmla="*/ 193 h 320"/>
                <a:gd name="T108" fmla="*/ 170 w 279"/>
                <a:gd name="T109" fmla="*/ 196 h 320"/>
                <a:gd name="T110" fmla="*/ 191 w 279"/>
                <a:gd name="T111" fmla="*/ 228 h 320"/>
                <a:gd name="T112" fmla="*/ 193 w 279"/>
                <a:gd name="T113" fmla="*/ 23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320">
                  <a:moveTo>
                    <a:pt x="140" y="64"/>
                  </a:moveTo>
                  <a:cubicBezTo>
                    <a:pt x="157" y="64"/>
                    <a:pt x="172" y="49"/>
                    <a:pt x="172" y="32"/>
                  </a:cubicBezTo>
                  <a:cubicBezTo>
                    <a:pt x="172" y="14"/>
                    <a:pt x="157" y="0"/>
                    <a:pt x="140" y="0"/>
                  </a:cubicBezTo>
                  <a:cubicBezTo>
                    <a:pt x="122" y="0"/>
                    <a:pt x="108" y="14"/>
                    <a:pt x="108" y="32"/>
                  </a:cubicBezTo>
                  <a:cubicBezTo>
                    <a:pt x="108" y="49"/>
                    <a:pt x="122" y="64"/>
                    <a:pt x="140" y="64"/>
                  </a:cubicBezTo>
                  <a:close/>
                  <a:moveTo>
                    <a:pt x="140" y="21"/>
                  </a:moveTo>
                  <a:cubicBezTo>
                    <a:pt x="146" y="21"/>
                    <a:pt x="150" y="26"/>
                    <a:pt x="150" y="32"/>
                  </a:cubicBezTo>
                  <a:cubicBezTo>
                    <a:pt x="150" y="38"/>
                    <a:pt x="146" y="42"/>
                    <a:pt x="140" y="42"/>
                  </a:cubicBezTo>
                  <a:cubicBezTo>
                    <a:pt x="134" y="42"/>
                    <a:pt x="129" y="38"/>
                    <a:pt x="129" y="32"/>
                  </a:cubicBezTo>
                  <a:cubicBezTo>
                    <a:pt x="129" y="26"/>
                    <a:pt x="134" y="21"/>
                    <a:pt x="140" y="21"/>
                  </a:cubicBezTo>
                  <a:close/>
                  <a:moveTo>
                    <a:pt x="135" y="226"/>
                  </a:moveTo>
                  <a:cubicBezTo>
                    <a:pt x="140" y="229"/>
                    <a:pt x="141" y="236"/>
                    <a:pt x="138" y="241"/>
                  </a:cubicBezTo>
                  <a:cubicBezTo>
                    <a:pt x="84" y="315"/>
                    <a:pt x="84" y="315"/>
                    <a:pt x="84" y="315"/>
                  </a:cubicBezTo>
                  <a:cubicBezTo>
                    <a:pt x="82" y="318"/>
                    <a:pt x="79" y="320"/>
                    <a:pt x="76" y="320"/>
                  </a:cubicBezTo>
                  <a:cubicBezTo>
                    <a:pt x="74" y="320"/>
                    <a:pt x="71" y="319"/>
                    <a:pt x="69" y="318"/>
                  </a:cubicBezTo>
                  <a:cubicBezTo>
                    <a:pt x="65" y="314"/>
                    <a:pt x="64" y="308"/>
                    <a:pt x="67" y="303"/>
                  </a:cubicBezTo>
                  <a:cubicBezTo>
                    <a:pt x="120" y="228"/>
                    <a:pt x="120" y="228"/>
                    <a:pt x="120" y="228"/>
                  </a:cubicBezTo>
                  <a:cubicBezTo>
                    <a:pt x="124" y="223"/>
                    <a:pt x="130" y="222"/>
                    <a:pt x="135" y="226"/>
                  </a:cubicBezTo>
                  <a:close/>
                  <a:moveTo>
                    <a:pt x="211" y="173"/>
                  </a:moveTo>
                  <a:cubicBezTo>
                    <a:pt x="215" y="178"/>
                    <a:pt x="215" y="184"/>
                    <a:pt x="211" y="189"/>
                  </a:cubicBezTo>
                  <a:cubicBezTo>
                    <a:pt x="209" y="191"/>
                    <a:pt x="206" y="192"/>
                    <a:pt x="204" y="192"/>
                  </a:cubicBezTo>
                  <a:cubicBezTo>
                    <a:pt x="201" y="192"/>
                    <a:pt x="198" y="191"/>
                    <a:pt x="196" y="189"/>
                  </a:cubicBezTo>
                  <a:cubicBezTo>
                    <a:pt x="185" y="178"/>
                    <a:pt x="185" y="178"/>
                    <a:pt x="185" y="178"/>
                  </a:cubicBezTo>
                  <a:cubicBezTo>
                    <a:pt x="181" y="174"/>
                    <a:pt x="181" y="167"/>
                    <a:pt x="185" y="163"/>
                  </a:cubicBezTo>
                  <a:cubicBezTo>
                    <a:pt x="190" y="159"/>
                    <a:pt x="196" y="159"/>
                    <a:pt x="201" y="163"/>
                  </a:cubicBezTo>
                  <a:lnTo>
                    <a:pt x="211" y="173"/>
                  </a:lnTo>
                  <a:close/>
                  <a:moveTo>
                    <a:pt x="275" y="24"/>
                  </a:moveTo>
                  <a:cubicBezTo>
                    <a:pt x="271" y="20"/>
                    <a:pt x="264" y="20"/>
                    <a:pt x="260" y="24"/>
                  </a:cubicBezTo>
                  <a:cubicBezTo>
                    <a:pt x="150" y="134"/>
                    <a:pt x="150" y="134"/>
                    <a:pt x="150" y="134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150" y="81"/>
                    <a:pt x="148" y="77"/>
                    <a:pt x="144" y="75"/>
                  </a:cubicBezTo>
                  <a:cubicBezTo>
                    <a:pt x="141" y="74"/>
                    <a:pt x="137" y="74"/>
                    <a:pt x="133" y="76"/>
                  </a:cubicBezTo>
                  <a:cubicBezTo>
                    <a:pt x="91" y="108"/>
                    <a:pt x="91" y="108"/>
                    <a:pt x="91" y="108"/>
                  </a:cubicBezTo>
                  <a:cubicBezTo>
                    <a:pt x="88" y="110"/>
                    <a:pt x="86" y="114"/>
                    <a:pt x="86" y="117"/>
                  </a:cubicBezTo>
                  <a:cubicBezTo>
                    <a:pt x="86" y="198"/>
                    <a:pt x="86" y="198"/>
                    <a:pt x="86" y="198"/>
                  </a:cubicBezTo>
                  <a:cubicBezTo>
                    <a:pt x="4" y="280"/>
                    <a:pt x="4" y="280"/>
                    <a:pt x="4" y="280"/>
                  </a:cubicBezTo>
                  <a:cubicBezTo>
                    <a:pt x="0" y="284"/>
                    <a:pt x="0" y="291"/>
                    <a:pt x="4" y="295"/>
                  </a:cubicBezTo>
                  <a:cubicBezTo>
                    <a:pt x="6" y="297"/>
                    <a:pt x="9" y="298"/>
                    <a:pt x="12" y="298"/>
                  </a:cubicBezTo>
                  <a:cubicBezTo>
                    <a:pt x="14" y="298"/>
                    <a:pt x="17" y="297"/>
                    <a:pt x="19" y="295"/>
                  </a:cubicBezTo>
                  <a:cubicBezTo>
                    <a:pt x="275" y="39"/>
                    <a:pt x="275" y="39"/>
                    <a:pt x="275" y="39"/>
                  </a:cubicBezTo>
                  <a:cubicBezTo>
                    <a:pt x="279" y="35"/>
                    <a:pt x="279" y="28"/>
                    <a:pt x="275" y="24"/>
                  </a:cubicBezTo>
                  <a:close/>
                  <a:moveTo>
                    <a:pt x="108" y="122"/>
                  </a:moveTo>
                  <a:cubicBezTo>
                    <a:pt x="129" y="106"/>
                    <a:pt x="129" y="106"/>
                    <a:pt x="129" y="106"/>
                  </a:cubicBezTo>
                  <a:cubicBezTo>
                    <a:pt x="129" y="155"/>
                    <a:pt x="129" y="155"/>
                    <a:pt x="129" y="155"/>
                  </a:cubicBezTo>
                  <a:cubicBezTo>
                    <a:pt x="108" y="177"/>
                    <a:pt x="108" y="177"/>
                    <a:pt x="108" y="177"/>
                  </a:cubicBezTo>
                  <a:lnTo>
                    <a:pt x="108" y="122"/>
                  </a:lnTo>
                  <a:close/>
                  <a:moveTo>
                    <a:pt x="193" y="233"/>
                  </a:moveTo>
                  <a:cubicBezTo>
                    <a:pt x="204" y="307"/>
                    <a:pt x="204" y="307"/>
                    <a:pt x="204" y="307"/>
                  </a:cubicBezTo>
                  <a:cubicBezTo>
                    <a:pt x="204" y="313"/>
                    <a:pt x="200" y="319"/>
                    <a:pt x="195" y="320"/>
                  </a:cubicBezTo>
                  <a:cubicBezTo>
                    <a:pt x="194" y="320"/>
                    <a:pt x="193" y="320"/>
                    <a:pt x="193" y="320"/>
                  </a:cubicBezTo>
                  <a:cubicBezTo>
                    <a:pt x="188" y="320"/>
                    <a:pt x="183" y="316"/>
                    <a:pt x="182" y="311"/>
                  </a:cubicBezTo>
                  <a:cubicBezTo>
                    <a:pt x="172" y="238"/>
                    <a:pt x="172" y="238"/>
                    <a:pt x="172" y="238"/>
                  </a:cubicBezTo>
                  <a:cubicBezTo>
                    <a:pt x="152" y="208"/>
                    <a:pt x="152" y="208"/>
                    <a:pt x="152" y="208"/>
                  </a:cubicBezTo>
                  <a:cubicBezTo>
                    <a:pt x="149" y="203"/>
                    <a:pt x="150" y="197"/>
                    <a:pt x="155" y="193"/>
                  </a:cubicBezTo>
                  <a:cubicBezTo>
                    <a:pt x="160" y="190"/>
                    <a:pt x="167" y="192"/>
                    <a:pt x="170" y="196"/>
                  </a:cubicBezTo>
                  <a:cubicBezTo>
                    <a:pt x="191" y="228"/>
                    <a:pt x="191" y="228"/>
                    <a:pt x="191" y="228"/>
                  </a:cubicBezTo>
                  <a:cubicBezTo>
                    <a:pt x="192" y="230"/>
                    <a:pt x="193" y="231"/>
                    <a:pt x="193" y="2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0" name="Freeform 772"/>
          <p:cNvSpPr>
            <a:spLocks noChangeAspect="1" noEditPoints="1"/>
          </p:cNvSpPr>
          <p:nvPr/>
        </p:nvSpPr>
        <p:spPr bwMode="auto">
          <a:xfrm>
            <a:off x="9387909" y="2921947"/>
            <a:ext cx="367041" cy="368121"/>
          </a:xfrm>
          <a:custGeom>
            <a:avLst/>
            <a:gdLst>
              <a:gd name="T0" fmla="*/ 256 w 512"/>
              <a:gd name="T1" fmla="*/ 138 h 512"/>
              <a:gd name="T2" fmla="*/ 208 w 512"/>
              <a:gd name="T3" fmla="*/ 186 h 512"/>
              <a:gd name="T4" fmla="*/ 256 w 512"/>
              <a:gd name="T5" fmla="*/ 234 h 512"/>
              <a:gd name="T6" fmla="*/ 304 w 512"/>
              <a:gd name="T7" fmla="*/ 186 h 512"/>
              <a:gd name="T8" fmla="*/ 256 w 512"/>
              <a:gd name="T9" fmla="*/ 138 h 512"/>
              <a:gd name="T10" fmla="*/ 256 w 512"/>
              <a:gd name="T11" fmla="*/ 176 h 512"/>
              <a:gd name="T12" fmla="*/ 245 w 512"/>
              <a:gd name="T13" fmla="*/ 186 h 512"/>
              <a:gd name="T14" fmla="*/ 234 w 512"/>
              <a:gd name="T15" fmla="*/ 197 h 512"/>
              <a:gd name="T16" fmla="*/ 224 w 512"/>
              <a:gd name="T17" fmla="*/ 186 h 512"/>
              <a:gd name="T18" fmla="*/ 256 w 512"/>
              <a:gd name="T19" fmla="*/ 154 h 512"/>
              <a:gd name="T20" fmla="*/ 266 w 512"/>
              <a:gd name="T21" fmla="*/ 165 h 512"/>
              <a:gd name="T22" fmla="*/ 256 w 512"/>
              <a:gd name="T23" fmla="*/ 176 h 512"/>
              <a:gd name="T24" fmla="*/ 256 w 512"/>
              <a:gd name="T25" fmla="*/ 0 h 512"/>
              <a:gd name="T26" fmla="*/ 0 w 512"/>
              <a:gd name="T27" fmla="*/ 256 h 512"/>
              <a:gd name="T28" fmla="*/ 256 w 512"/>
              <a:gd name="T29" fmla="*/ 512 h 512"/>
              <a:gd name="T30" fmla="*/ 512 w 512"/>
              <a:gd name="T31" fmla="*/ 256 h 512"/>
              <a:gd name="T32" fmla="*/ 256 w 512"/>
              <a:gd name="T33" fmla="*/ 0 h 512"/>
              <a:gd name="T34" fmla="*/ 266 w 512"/>
              <a:gd name="T35" fmla="*/ 255 h 512"/>
              <a:gd name="T36" fmla="*/ 266 w 512"/>
              <a:gd name="T37" fmla="*/ 384 h 512"/>
              <a:gd name="T38" fmla="*/ 256 w 512"/>
              <a:gd name="T39" fmla="*/ 394 h 512"/>
              <a:gd name="T40" fmla="*/ 245 w 512"/>
              <a:gd name="T41" fmla="*/ 384 h 512"/>
              <a:gd name="T42" fmla="*/ 245 w 512"/>
              <a:gd name="T43" fmla="*/ 255 h 512"/>
              <a:gd name="T44" fmla="*/ 186 w 512"/>
              <a:gd name="T45" fmla="*/ 186 h 512"/>
              <a:gd name="T46" fmla="*/ 256 w 512"/>
              <a:gd name="T47" fmla="*/ 117 h 512"/>
              <a:gd name="T48" fmla="*/ 325 w 512"/>
              <a:gd name="T49" fmla="*/ 186 h 512"/>
              <a:gd name="T50" fmla="*/ 266 w 512"/>
              <a:gd name="T51" fmla="*/ 2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512">
                <a:moveTo>
                  <a:pt x="256" y="138"/>
                </a:moveTo>
                <a:cubicBezTo>
                  <a:pt x="229" y="138"/>
                  <a:pt x="208" y="160"/>
                  <a:pt x="208" y="186"/>
                </a:cubicBezTo>
                <a:cubicBezTo>
                  <a:pt x="208" y="213"/>
                  <a:pt x="229" y="234"/>
                  <a:pt x="256" y="234"/>
                </a:cubicBezTo>
                <a:cubicBezTo>
                  <a:pt x="282" y="234"/>
                  <a:pt x="304" y="213"/>
                  <a:pt x="304" y="186"/>
                </a:cubicBezTo>
                <a:cubicBezTo>
                  <a:pt x="304" y="160"/>
                  <a:pt x="282" y="138"/>
                  <a:pt x="256" y="138"/>
                </a:cubicBezTo>
                <a:close/>
                <a:moveTo>
                  <a:pt x="256" y="176"/>
                </a:moveTo>
                <a:cubicBezTo>
                  <a:pt x="250" y="176"/>
                  <a:pt x="245" y="180"/>
                  <a:pt x="245" y="186"/>
                </a:cubicBezTo>
                <a:cubicBezTo>
                  <a:pt x="245" y="192"/>
                  <a:pt x="240" y="197"/>
                  <a:pt x="234" y="197"/>
                </a:cubicBezTo>
                <a:cubicBezTo>
                  <a:pt x="228" y="197"/>
                  <a:pt x="224" y="192"/>
                  <a:pt x="224" y="186"/>
                </a:cubicBezTo>
                <a:cubicBezTo>
                  <a:pt x="224" y="169"/>
                  <a:pt x="238" y="154"/>
                  <a:pt x="256" y="154"/>
                </a:cubicBezTo>
                <a:cubicBezTo>
                  <a:pt x="262" y="154"/>
                  <a:pt x="266" y="159"/>
                  <a:pt x="266" y="165"/>
                </a:cubicBezTo>
                <a:cubicBezTo>
                  <a:pt x="266" y="171"/>
                  <a:pt x="262" y="176"/>
                  <a:pt x="256" y="17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66" y="255"/>
                </a:move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255"/>
                  <a:pt x="245" y="255"/>
                  <a:pt x="245" y="255"/>
                </a:cubicBezTo>
                <a:cubicBezTo>
                  <a:pt x="212" y="250"/>
                  <a:pt x="186" y="221"/>
                  <a:pt x="186" y="186"/>
                </a:cubicBezTo>
                <a:cubicBezTo>
                  <a:pt x="186" y="148"/>
                  <a:pt x="217" y="117"/>
                  <a:pt x="256" y="117"/>
                </a:cubicBezTo>
                <a:cubicBezTo>
                  <a:pt x="294" y="117"/>
                  <a:pt x="325" y="148"/>
                  <a:pt x="325" y="186"/>
                </a:cubicBezTo>
                <a:cubicBezTo>
                  <a:pt x="325" y="221"/>
                  <a:pt x="300" y="250"/>
                  <a:pt x="266" y="25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1" name="Group 775"/>
          <p:cNvGrpSpPr>
            <a:grpSpLocks noChangeAspect="1"/>
          </p:cNvGrpSpPr>
          <p:nvPr/>
        </p:nvGrpSpPr>
        <p:grpSpPr bwMode="auto">
          <a:xfrm>
            <a:off x="9884135" y="2921947"/>
            <a:ext cx="367041" cy="367041"/>
            <a:chOff x="2237" y="3306"/>
            <a:chExt cx="340" cy="340"/>
          </a:xfrm>
          <a:solidFill>
            <a:schemeClr val="accent3"/>
          </a:solidFill>
        </p:grpSpPr>
        <p:sp>
          <p:nvSpPr>
            <p:cNvPr id="352" name="Freeform 776"/>
            <p:cNvSpPr>
              <a:spLocks noEditPoints="1"/>
            </p:cNvSpPr>
            <p:nvPr/>
          </p:nvSpPr>
          <p:spPr bwMode="auto">
            <a:xfrm>
              <a:off x="2237" y="330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Freeform 777"/>
            <p:cNvSpPr>
              <a:spLocks noEditPoints="1"/>
            </p:cNvSpPr>
            <p:nvPr/>
          </p:nvSpPr>
          <p:spPr bwMode="auto">
            <a:xfrm>
              <a:off x="2361" y="3384"/>
              <a:ext cx="92" cy="184"/>
            </a:xfrm>
            <a:custGeom>
              <a:avLst/>
              <a:gdLst>
                <a:gd name="T0" fmla="*/ 70 w 139"/>
                <a:gd name="T1" fmla="*/ 0 h 277"/>
                <a:gd name="T2" fmla="*/ 0 w 139"/>
                <a:gd name="T3" fmla="*/ 69 h 277"/>
                <a:gd name="T4" fmla="*/ 59 w 139"/>
                <a:gd name="T5" fmla="*/ 138 h 277"/>
                <a:gd name="T6" fmla="*/ 59 w 139"/>
                <a:gd name="T7" fmla="*/ 267 h 277"/>
                <a:gd name="T8" fmla="*/ 70 w 139"/>
                <a:gd name="T9" fmla="*/ 277 h 277"/>
                <a:gd name="T10" fmla="*/ 80 w 139"/>
                <a:gd name="T11" fmla="*/ 267 h 277"/>
                <a:gd name="T12" fmla="*/ 80 w 139"/>
                <a:gd name="T13" fmla="*/ 138 h 277"/>
                <a:gd name="T14" fmla="*/ 139 w 139"/>
                <a:gd name="T15" fmla="*/ 69 h 277"/>
                <a:gd name="T16" fmla="*/ 70 w 139"/>
                <a:gd name="T17" fmla="*/ 0 h 277"/>
                <a:gd name="T18" fmla="*/ 70 w 139"/>
                <a:gd name="T19" fmla="*/ 117 h 277"/>
                <a:gd name="T20" fmla="*/ 22 w 139"/>
                <a:gd name="T21" fmla="*/ 69 h 277"/>
                <a:gd name="T22" fmla="*/ 70 w 139"/>
                <a:gd name="T23" fmla="*/ 21 h 277"/>
                <a:gd name="T24" fmla="*/ 118 w 139"/>
                <a:gd name="T25" fmla="*/ 69 h 277"/>
                <a:gd name="T26" fmla="*/ 70 w 139"/>
                <a:gd name="T27" fmla="*/ 117 h 277"/>
                <a:gd name="T28" fmla="*/ 80 w 139"/>
                <a:gd name="T29" fmla="*/ 48 h 277"/>
                <a:gd name="T30" fmla="*/ 70 w 139"/>
                <a:gd name="T31" fmla="*/ 59 h 277"/>
                <a:gd name="T32" fmla="*/ 59 w 139"/>
                <a:gd name="T33" fmla="*/ 69 h 277"/>
                <a:gd name="T34" fmla="*/ 48 w 139"/>
                <a:gd name="T35" fmla="*/ 80 h 277"/>
                <a:gd name="T36" fmla="*/ 38 w 139"/>
                <a:gd name="T37" fmla="*/ 69 h 277"/>
                <a:gd name="T38" fmla="*/ 70 w 139"/>
                <a:gd name="T39" fmla="*/ 37 h 277"/>
                <a:gd name="T40" fmla="*/ 80 w 139"/>
                <a:gd name="T41" fmla="*/ 4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9" h="277">
                  <a:moveTo>
                    <a:pt x="70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104"/>
                    <a:pt x="26" y="133"/>
                    <a:pt x="59" y="138"/>
                  </a:cubicBezTo>
                  <a:cubicBezTo>
                    <a:pt x="59" y="267"/>
                    <a:pt x="59" y="267"/>
                    <a:pt x="59" y="267"/>
                  </a:cubicBezTo>
                  <a:cubicBezTo>
                    <a:pt x="59" y="273"/>
                    <a:pt x="64" y="277"/>
                    <a:pt x="70" y="277"/>
                  </a:cubicBezTo>
                  <a:cubicBezTo>
                    <a:pt x="76" y="277"/>
                    <a:pt x="80" y="273"/>
                    <a:pt x="80" y="267"/>
                  </a:cubicBezTo>
                  <a:cubicBezTo>
                    <a:pt x="80" y="138"/>
                    <a:pt x="80" y="138"/>
                    <a:pt x="80" y="138"/>
                  </a:cubicBezTo>
                  <a:cubicBezTo>
                    <a:pt x="114" y="133"/>
                    <a:pt x="139" y="104"/>
                    <a:pt x="139" y="69"/>
                  </a:cubicBezTo>
                  <a:cubicBezTo>
                    <a:pt x="139" y="31"/>
                    <a:pt x="108" y="0"/>
                    <a:pt x="70" y="0"/>
                  </a:cubicBezTo>
                  <a:close/>
                  <a:moveTo>
                    <a:pt x="70" y="117"/>
                  </a:moveTo>
                  <a:cubicBezTo>
                    <a:pt x="43" y="117"/>
                    <a:pt x="22" y="96"/>
                    <a:pt x="22" y="69"/>
                  </a:cubicBezTo>
                  <a:cubicBezTo>
                    <a:pt x="22" y="43"/>
                    <a:pt x="43" y="21"/>
                    <a:pt x="70" y="21"/>
                  </a:cubicBezTo>
                  <a:cubicBezTo>
                    <a:pt x="96" y="21"/>
                    <a:pt x="118" y="43"/>
                    <a:pt x="118" y="69"/>
                  </a:cubicBezTo>
                  <a:cubicBezTo>
                    <a:pt x="118" y="96"/>
                    <a:pt x="96" y="117"/>
                    <a:pt x="70" y="117"/>
                  </a:cubicBezTo>
                  <a:close/>
                  <a:moveTo>
                    <a:pt x="80" y="48"/>
                  </a:moveTo>
                  <a:cubicBezTo>
                    <a:pt x="80" y="54"/>
                    <a:pt x="76" y="59"/>
                    <a:pt x="70" y="59"/>
                  </a:cubicBezTo>
                  <a:cubicBezTo>
                    <a:pt x="64" y="59"/>
                    <a:pt x="59" y="63"/>
                    <a:pt x="59" y="69"/>
                  </a:cubicBezTo>
                  <a:cubicBezTo>
                    <a:pt x="59" y="75"/>
                    <a:pt x="54" y="80"/>
                    <a:pt x="48" y="80"/>
                  </a:cubicBezTo>
                  <a:cubicBezTo>
                    <a:pt x="42" y="80"/>
                    <a:pt x="38" y="75"/>
                    <a:pt x="38" y="69"/>
                  </a:cubicBezTo>
                  <a:cubicBezTo>
                    <a:pt x="38" y="52"/>
                    <a:pt x="52" y="37"/>
                    <a:pt x="70" y="37"/>
                  </a:cubicBezTo>
                  <a:cubicBezTo>
                    <a:pt x="76" y="37"/>
                    <a:pt x="80" y="42"/>
                    <a:pt x="8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4" name="Group 309"/>
          <p:cNvGrpSpPr>
            <a:grpSpLocks noChangeAspect="1"/>
          </p:cNvGrpSpPr>
          <p:nvPr/>
        </p:nvGrpSpPr>
        <p:grpSpPr bwMode="auto">
          <a:xfrm>
            <a:off x="924706" y="3751238"/>
            <a:ext cx="370106" cy="369021"/>
            <a:chOff x="6585" y="1193"/>
            <a:chExt cx="341" cy="340"/>
          </a:xfrm>
          <a:solidFill>
            <a:schemeClr val="accent4"/>
          </a:solidFill>
        </p:grpSpPr>
        <p:sp>
          <p:nvSpPr>
            <p:cNvPr id="355" name="Freeform 310"/>
            <p:cNvSpPr>
              <a:spLocks noEditPoints="1"/>
            </p:cNvSpPr>
            <p:nvPr/>
          </p:nvSpPr>
          <p:spPr bwMode="auto">
            <a:xfrm>
              <a:off x="6648" y="1264"/>
              <a:ext cx="206" cy="205"/>
            </a:xfrm>
            <a:custGeom>
              <a:avLst/>
              <a:gdLst>
                <a:gd name="T0" fmla="*/ 117 w 309"/>
                <a:gd name="T1" fmla="*/ 309 h 309"/>
                <a:gd name="T2" fmla="*/ 116 w 309"/>
                <a:gd name="T3" fmla="*/ 309 h 309"/>
                <a:gd name="T4" fmla="*/ 108 w 309"/>
                <a:gd name="T5" fmla="*/ 304 h 309"/>
                <a:gd name="T6" fmla="*/ 68 w 309"/>
                <a:gd name="T7" fmla="*/ 242 h 309"/>
                <a:gd name="T8" fmla="*/ 5 w 309"/>
                <a:gd name="T9" fmla="*/ 201 h 309"/>
                <a:gd name="T10" fmla="*/ 1 w 309"/>
                <a:gd name="T11" fmla="*/ 194 h 309"/>
                <a:gd name="T12" fmla="*/ 4 w 309"/>
                <a:gd name="T13" fmla="*/ 185 h 309"/>
                <a:gd name="T14" fmla="*/ 26 w 309"/>
                <a:gd name="T15" fmla="*/ 163 h 309"/>
                <a:gd name="T16" fmla="*/ 37 w 309"/>
                <a:gd name="T17" fmla="*/ 161 h 309"/>
                <a:gd name="T18" fmla="*/ 84 w 309"/>
                <a:gd name="T19" fmla="*/ 180 h 309"/>
                <a:gd name="T20" fmla="*/ 121 w 309"/>
                <a:gd name="T21" fmla="*/ 143 h 309"/>
                <a:gd name="T22" fmla="*/ 17 w 309"/>
                <a:gd name="T23" fmla="*/ 86 h 309"/>
                <a:gd name="T24" fmla="*/ 11 w 309"/>
                <a:gd name="T25" fmla="*/ 78 h 309"/>
                <a:gd name="T26" fmla="*/ 14 w 309"/>
                <a:gd name="T27" fmla="*/ 69 h 309"/>
                <a:gd name="T28" fmla="*/ 37 w 309"/>
                <a:gd name="T29" fmla="*/ 46 h 309"/>
                <a:gd name="T30" fmla="*/ 48 w 309"/>
                <a:gd name="T31" fmla="*/ 43 h 309"/>
                <a:gd name="T32" fmla="*/ 177 w 309"/>
                <a:gd name="T33" fmla="*/ 87 h 309"/>
                <a:gd name="T34" fmla="*/ 233 w 309"/>
                <a:gd name="T35" fmla="*/ 31 h 309"/>
                <a:gd name="T36" fmla="*/ 234 w 309"/>
                <a:gd name="T37" fmla="*/ 30 h 309"/>
                <a:gd name="T38" fmla="*/ 294 w 309"/>
                <a:gd name="T39" fmla="*/ 16 h 309"/>
                <a:gd name="T40" fmla="*/ 279 w 309"/>
                <a:gd name="T41" fmla="*/ 75 h 309"/>
                <a:gd name="T42" fmla="*/ 278 w 309"/>
                <a:gd name="T43" fmla="*/ 76 h 309"/>
                <a:gd name="T44" fmla="*/ 223 w 309"/>
                <a:gd name="T45" fmla="*/ 132 h 309"/>
                <a:gd name="T46" fmla="*/ 266 w 309"/>
                <a:gd name="T47" fmla="*/ 261 h 309"/>
                <a:gd name="T48" fmla="*/ 263 w 309"/>
                <a:gd name="T49" fmla="*/ 272 h 309"/>
                <a:gd name="T50" fmla="*/ 241 w 309"/>
                <a:gd name="T51" fmla="*/ 295 h 309"/>
                <a:gd name="T52" fmla="*/ 232 w 309"/>
                <a:gd name="T53" fmla="*/ 298 h 309"/>
                <a:gd name="T54" fmla="*/ 224 w 309"/>
                <a:gd name="T55" fmla="*/ 292 h 309"/>
                <a:gd name="T56" fmla="*/ 167 w 309"/>
                <a:gd name="T57" fmla="*/ 188 h 309"/>
                <a:gd name="T58" fmla="*/ 130 w 309"/>
                <a:gd name="T59" fmla="*/ 225 h 309"/>
                <a:gd name="T60" fmla="*/ 149 w 309"/>
                <a:gd name="T61" fmla="*/ 272 h 309"/>
                <a:gd name="T62" fmla="*/ 146 w 309"/>
                <a:gd name="T63" fmla="*/ 284 h 309"/>
                <a:gd name="T64" fmla="*/ 124 w 309"/>
                <a:gd name="T65" fmla="*/ 306 h 309"/>
                <a:gd name="T66" fmla="*/ 117 w 309"/>
                <a:gd name="T67" fmla="*/ 309 h 309"/>
                <a:gd name="T68" fmla="*/ 28 w 309"/>
                <a:gd name="T69" fmla="*/ 191 h 309"/>
                <a:gd name="T70" fmla="*/ 81 w 309"/>
                <a:gd name="T71" fmla="*/ 225 h 309"/>
                <a:gd name="T72" fmla="*/ 84 w 309"/>
                <a:gd name="T73" fmla="*/ 228 h 309"/>
                <a:gd name="T74" fmla="*/ 119 w 309"/>
                <a:gd name="T75" fmla="*/ 281 h 309"/>
                <a:gd name="T76" fmla="*/ 126 w 309"/>
                <a:gd name="T77" fmla="*/ 274 h 309"/>
                <a:gd name="T78" fmla="*/ 107 w 309"/>
                <a:gd name="T79" fmla="*/ 226 h 309"/>
                <a:gd name="T80" fmla="*/ 110 w 309"/>
                <a:gd name="T81" fmla="*/ 215 h 309"/>
                <a:gd name="T82" fmla="*/ 161 w 309"/>
                <a:gd name="T83" fmla="*/ 163 h 309"/>
                <a:gd name="T84" fmla="*/ 171 w 309"/>
                <a:gd name="T85" fmla="*/ 160 h 309"/>
                <a:gd name="T86" fmla="*/ 178 w 309"/>
                <a:gd name="T87" fmla="*/ 165 h 309"/>
                <a:gd name="T88" fmla="*/ 236 w 309"/>
                <a:gd name="T89" fmla="*/ 270 h 309"/>
                <a:gd name="T90" fmla="*/ 244 w 309"/>
                <a:gd name="T91" fmla="*/ 262 h 309"/>
                <a:gd name="T92" fmla="*/ 200 w 309"/>
                <a:gd name="T93" fmla="*/ 132 h 309"/>
                <a:gd name="T94" fmla="*/ 203 w 309"/>
                <a:gd name="T95" fmla="*/ 121 h 309"/>
                <a:gd name="T96" fmla="*/ 263 w 309"/>
                <a:gd name="T97" fmla="*/ 62 h 309"/>
                <a:gd name="T98" fmla="*/ 278 w 309"/>
                <a:gd name="T99" fmla="*/ 31 h 309"/>
                <a:gd name="T100" fmla="*/ 248 w 309"/>
                <a:gd name="T101" fmla="*/ 47 h 309"/>
                <a:gd name="T102" fmla="*/ 188 w 309"/>
                <a:gd name="T103" fmla="*/ 106 h 309"/>
                <a:gd name="T104" fmla="*/ 177 w 309"/>
                <a:gd name="T105" fmla="*/ 109 h 309"/>
                <a:gd name="T106" fmla="*/ 47 w 309"/>
                <a:gd name="T107" fmla="*/ 66 h 309"/>
                <a:gd name="T108" fmla="*/ 40 w 309"/>
                <a:gd name="T109" fmla="*/ 74 h 309"/>
                <a:gd name="T110" fmla="*/ 144 w 309"/>
                <a:gd name="T111" fmla="*/ 131 h 309"/>
                <a:gd name="T112" fmla="*/ 149 w 309"/>
                <a:gd name="T113" fmla="*/ 139 h 309"/>
                <a:gd name="T114" fmla="*/ 146 w 309"/>
                <a:gd name="T115" fmla="*/ 148 h 309"/>
                <a:gd name="T116" fmla="*/ 94 w 309"/>
                <a:gd name="T117" fmla="*/ 200 h 309"/>
                <a:gd name="T118" fmla="*/ 83 w 309"/>
                <a:gd name="T119" fmla="*/ 202 h 309"/>
                <a:gd name="T120" fmla="*/ 36 w 309"/>
                <a:gd name="T121" fmla="*/ 183 h 309"/>
                <a:gd name="T122" fmla="*/ 28 w 309"/>
                <a:gd name="T123" fmla="*/ 19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9" h="309">
                  <a:moveTo>
                    <a:pt x="117" y="309"/>
                  </a:moveTo>
                  <a:cubicBezTo>
                    <a:pt x="117" y="309"/>
                    <a:pt x="116" y="309"/>
                    <a:pt x="116" y="309"/>
                  </a:cubicBezTo>
                  <a:cubicBezTo>
                    <a:pt x="113" y="308"/>
                    <a:pt x="110" y="307"/>
                    <a:pt x="108" y="304"/>
                  </a:cubicBezTo>
                  <a:cubicBezTo>
                    <a:pt x="68" y="242"/>
                    <a:pt x="68" y="242"/>
                    <a:pt x="68" y="242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3" y="200"/>
                    <a:pt x="1" y="197"/>
                    <a:pt x="1" y="194"/>
                  </a:cubicBezTo>
                  <a:cubicBezTo>
                    <a:pt x="0" y="190"/>
                    <a:pt x="1" y="187"/>
                    <a:pt x="4" y="185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0"/>
                    <a:pt x="33" y="159"/>
                    <a:pt x="37" y="161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4" y="84"/>
                    <a:pt x="12" y="81"/>
                    <a:pt x="11" y="78"/>
                  </a:cubicBezTo>
                  <a:cubicBezTo>
                    <a:pt x="11" y="74"/>
                    <a:pt x="12" y="71"/>
                    <a:pt x="14" y="69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40" y="43"/>
                    <a:pt x="44" y="42"/>
                    <a:pt x="48" y="43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233" y="31"/>
                    <a:pt x="233" y="31"/>
                    <a:pt x="233" y="31"/>
                  </a:cubicBezTo>
                  <a:cubicBezTo>
                    <a:pt x="233" y="31"/>
                    <a:pt x="234" y="30"/>
                    <a:pt x="234" y="30"/>
                  </a:cubicBezTo>
                  <a:cubicBezTo>
                    <a:pt x="247" y="20"/>
                    <a:pt x="278" y="0"/>
                    <a:pt x="294" y="16"/>
                  </a:cubicBezTo>
                  <a:cubicBezTo>
                    <a:pt x="309" y="32"/>
                    <a:pt x="289" y="63"/>
                    <a:pt x="279" y="75"/>
                  </a:cubicBezTo>
                  <a:cubicBezTo>
                    <a:pt x="279" y="75"/>
                    <a:pt x="279" y="76"/>
                    <a:pt x="278" y="76"/>
                  </a:cubicBezTo>
                  <a:cubicBezTo>
                    <a:pt x="223" y="132"/>
                    <a:pt x="223" y="132"/>
                    <a:pt x="223" y="132"/>
                  </a:cubicBezTo>
                  <a:cubicBezTo>
                    <a:pt x="266" y="261"/>
                    <a:pt x="266" y="261"/>
                    <a:pt x="266" y="261"/>
                  </a:cubicBezTo>
                  <a:cubicBezTo>
                    <a:pt x="267" y="265"/>
                    <a:pt x="266" y="269"/>
                    <a:pt x="263" y="272"/>
                  </a:cubicBezTo>
                  <a:cubicBezTo>
                    <a:pt x="241" y="295"/>
                    <a:pt x="241" y="295"/>
                    <a:pt x="241" y="295"/>
                  </a:cubicBezTo>
                  <a:cubicBezTo>
                    <a:pt x="238" y="297"/>
                    <a:pt x="235" y="298"/>
                    <a:pt x="232" y="298"/>
                  </a:cubicBezTo>
                  <a:cubicBezTo>
                    <a:pt x="228" y="297"/>
                    <a:pt x="225" y="295"/>
                    <a:pt x="224" y="292"/>
                  </a:cubicBezTo>
                  <a:cubicBezTo>
                    <a:pt x="167" y="188"/>
                    <a:pt x="167" y="188"/>
                    <a:pt x="167" y="188"/>
                  </a:cubicBezTo>
                  <a:cubicBezTo>
                    <a:pt x="130" y="225"/>
                    <a:pt x="130" y="225"/>
                    <a:pt x="130" y="225"/>
                  </a:cubicBezTo>
                  <a:cubicBezTo>
                    <a:pt x="149" y="272"/>
                    <a:pt x="149" y="272"/>
                    <a:pt x="149" y="272"/>
                  </a:cubicBezTo>
                  <a:cubicBezTo>
                    <a:pt x="150" y="276"/>
                    <a:pt x="149" y="281"/>
                    <a:pt x="146" y="284"/>
                  </a:cubicBezTo>
                  <a:cubicBezTo>
                    <a:pt x="124" y="306"/>
                    <a:pt x="124" y="306"/>
                    <a:pt x="124" y="306"/>
                  </a:cubicBezTo>
                  <a:cubicBezTo>
                    <a:pt x="122" y="308"/>
                    <a:pt x="120" y="309"/>
                    <a:pt x="117" y="309"/>
                  </a:cubicBezTo>
                  <a:close/>
                  <a:moveTo>
                    <a:pt x="28" y="191"/>
                  </a:moveTo>
                  <a:cubicBezTo>
                    <a:pt x="81" y="225"/>
                    <a:pt x="81" y="225"/>
                    <a:pt x="81" y="225"/>
                  </a:cubicBezTo>
                  <a:cubicBezTo>
                    <a:pt x="82" y="226"/>
                    <a:pt x="84" y="227"/>
                    <a:pt x="84" y="228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26" y="274"/>
                    <a:pt x="126" y="274"/>
                    <a:pt x="126" y="274"/>
                  </a:cubicBezTo>
                  <a:cubicBezTo>
                    <a:pt x="107" y="226"/>
                    <a:pt x="107" y="226"/>
                    <a:pt x="107" y="226"/>
                  </a:cubicBezTo>
                  <a:cubicBezTo>
                    <a:pt x="106" y="222"/>
                    <a:pt x="107" y="218"/>
                    <a:pt x="110" y="215"/>
                  </a:cubicBezTo>
                  <a:cubicBezTo>
                    <a:pt x="161" y="163"/>
                    <a:pt x="161" y="163"/>
                    <a:pt x="161" y="163"/>
                  </a:cubicBezTo>
                  <a:cubicBezTo>
                    <a:pt x="164" y="161"/>
                    <a:pt x="167" y="159"/>
                    <a:pt x="171" y="160"/>
                  </a:cubicBezTo>
                  <a:cubicBezTo>
                    <a:pt x="174" y="160"/>
                    <a:pt x="177" y="162"/>
                    <a:pt x="178" y="165"/>
                  </a:cubicBezTo>
                  <a:cubicBezTo>
                    <a:pt x="236" y="270"/>
                    <a:pt x="236" y="270"/>
                    <a:pt x="236" y="270"/>
                  </a:cubicBezTo>
                  <a:cubicBezTo>
                    <a:pt x="244" y="262"/>
                    <a:pt x="244" y="262"/>
                    <a:pt x="244" y="262"/>
                  </a:cubicBezTo>
                  <a:cubicBezTo>
                    <a:pt x="200" y="132"/>
                    <a:pt x="200" y="132"/>
                    <a:pt x="200" y="132"/>
                  </a:cubicBezTo>
                  <a:cubicBezTo>
                    <a:pt x="199" y="129"/>
                    <a:pt x="200" y="124"/>
                    <a:pt x="203" y="121"/>
                  </a:cubicBezTo>
                  <a:cubicBezTo>
                    <a:pt x="263" y="62"/>
                    <a:pt x="263" y="62"/>
                    <a:pt x="263" y="62"/>
                  </a:cubicBezTo>
                  <a:cubicBezTo>
                    <a:pt x="271" y="50"/>
                    <a:pt x="278" y="37"/>
                    <a:pt x="278" y="31"/>
                  </a:cubicBezTo>
                  <a:cubicBezTo>
                    <a:pt x="273" y="31"/>
                    <a:pt x="259" y="38"/>
                    <a:pt x="248" y="47"/>
                  </a:cubicBezTo>
                  <a:cubicBezTo>
                    <a:pt x="188" y="106"/>
                    <a:pt x="188" y="106"/>
                    <a:pt x="188" y="106"/>
                  </a:cubicBezTo>
                  <a:cubicBezTo>
                    <a:pt x="185" y="109"/>
                    <a:pt x="181" y="110"/>
                    <a:pt x="177" y="109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7" y="133"/>
                    <a:pt x="149" y="135"/>
                    <a:pt x="149" y="139"/>
                  </a:cubicBezTo>
                  <a:cubicBezTo>
                    <a:pt x="150" y="142"/>
                    <a:pt x="149" y="145"/>
                    <a:pt x="146" y="148"/>
                  </a:cubicBezTo>
                  <a:cubicBezTo>
                    <a:pt x="94" y="200"/>
                    <a:pt x="94" y="200"/>
                    <a:pt x="94" y="200"/>
                  </a:cubicBezTo>
                  <a:cubicBezTo>
                    <a:pt x="91" y="203"/>
                    <a:pt x="87" y="204"/>
                    <a:pt x="83" y="202"/>
                  </a:cubicBezTo>
                  <a:cubicBezTo>
                    <a:pt x="36" y="183"/>
                    <a:pt x="36" y="183"/>
                    <a:pt x="36" y="183"/>
                  </a:cubicBezTo>
                  <a:lnTo>
                    <a:pt x="28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6" name="Freeform 311"/>
            <p:cNvSpPr>
              <a:spLocks noEditPoints="1"/>
            </p:cNvSpPr>
            <p:nvPr/>
          </p:nvSpPr>
          <p:spPr bwMode="auto">
            <a:xfrm>
              <a:off x="6585" y="119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7" name="Freeform 315"/>
          <p:cNvSpPr>
            <a:spLocks noChangeAspect="1" noEditPoints="1"/>
          </p:cNvSpPr>
          <p:nvPr/>
        </p:nvSpPr>
        <p:spPr bwMode="auto">
          <a:xfrm>
            <a:off x="427132" y="3751237"/>
            <a:ext cx="369021" cy="369021"/>
          </a:xfrm>
          <a:custGeom>
            <a:avLst/>
            <a:gdLst>
              <a:gd name="T0" fmla="*/ 373 w 512"/>
              <a:gd name="T1" fmla="*/ 138 h 512"/>
              <a:gd name="T2" fmla="*/ 298 w 512"/>
              <a:gd name="T3" fmla="*/ 228 h 512"/>
              <a:gd name="T4" fmla="*/ 339 w 512"/>
              <a:gd name="T5" fmla="*/ 369 h 512"/>
              <a:gd name="T6" fmla="*/ 273 w 512"/>
              <a:gd name="T7" fmla="*/ 272 h 512"/>
              <a:gd name="T8" fmla="*/ 256 w 512"/>
              <a:gd name="T9" fmla="*/ 270 h 512"/>
              <a:gd name="T10" fmla="*/ 202 w 512"/>
              <a:gd name="T11" fmla="*/ 333 h 512"/>
              <a:gd name="T12" fmla="*/ 214 w 512"/>
              <a:gd name="T13" fmla="*/ 388 h 512"/>
              <a:gd name="T14" fmla="*/ 176 w 512"/>
              <a:gd name="T15" fmla="*/ 332 h 512"/>
              <a:gd name="T16" fmla="*/ 131 w 512"/>
              <a:gd name="T17" fmla="*/ 290 h 512"/>
              <a:gd name="T18" fmla="*/ 189 w 512"/>
              <a:gd name="T19" fmla="*/ 307 h 512"/>
              <a:gd name="T20" fmla="*/ 244 w 512"/>
              <a:gd name="T21" fmla="*/ 246 h 512"/>
              <a:gd name="T22" fmla="*/ 135 w 512"/>
              <a:gd name="T23" fmla="*/ 181 h 512"/>
              <a:gd name="T24" fmla="*/ 272 w 512"/>
              <a:gd name="T25" fmla="*/ 216 h 512"/>
              <a:gd name="T26" fmla="*/ 343 w 512"/>
              <a:gd name="T27" fmla="*/ 154 h 512"/>
              <a:gd name="T28" fmla="*/ 256 w 512"/>
              <a:gd name="T29" fmla="*/ 512 h 512"/>
              <a:gd name="T30" fmla="*/ 256 w 512"/>
              <a:gd name="T31" fmla="*/ 0 h 512"/>
              <a:gd name="T32" fmla="*/ 389 w 512"/>
              <a:gd name="T33" fmla="*/ 123 h 512"/>
              <a:gd name="T34" fmla="*/ 328 w 512"/>
              <a:gd name="T35" fmla="*/ 138 h 512"/>
              <a:gd name="T36" fmla="*/ 143 w 512"/>
              <a:gd name="T37" fmla="*/ 150 h 512"/>
              <a:gd name="T38" fmla="*/ 109 w 512"/>
              <a:gd name="T39" fmla="*/ 176 h 512"/>
              <a:gd name="T40" fmla="*/ 112 w 512"/>
              <a:gd name="T41" fmla="*/ 193 h 512"/>
              <a:gd name="T42" fmla="*/ 179 w 512"/>
              <a:gd name="T43" fmla="*/ 287 h 512"/>
              <a:gd name="T44" fmla="*/ 121 w 512"/>
              <a:gd name="T45" fmla="*/ 270 h 512"/>
              <a:gd name="T46" fmla="*/ 96 w 512"/>
              <a:gd name="T47" fmla="*/ 301 h 512"/>
              <a:gd name="T48" fmla="*/ 163 w 512"/>
              <a:gd name="T49" fmla="*/ 349 h 512"/>
              <a:gd name="T50" fmla="*/ 211 w 512"/>
              <a:gd name="T51" fmla="*/ 416 h 512"/>
              <a:gd name="T52" fmla="*/ 219 w 512"/>
              <a:gd name="T53" fmla="*/ 413 h 512"/>
              <a:gd name="T54" fmla="*/ 244 w 512"/>
              <a:gd name="T55" fmla="*/ 379 h 512"/>
              <a:gd name="T56" fmla="*/ 262 w 512"/>
              <a:gd name="T57" fmla="*/ 295 h 512"/>
              <a:gd name="T58" fmla="*/ 327 w 512"/>
              <a:gd name="T59" fmla="*/ 405 h 512"/>
              <a:gd name="T60" fmla="*/ 358 w 512"/>
              <a:gd name="T61" fmla="*/ 379 h 512"/>
              <a:gd name="T62" fmla="*/ 318 w 512"/>
              <a:gd name="T63" fmla="*/ 239 h 512"/>
              <a:gd name="T64" fmla="*/ 374 w 512"/>
              <a:gd name="T65" fmla="*/ 18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343" y="154"/>
                </a:moveTo>
                <a:cubicBezTo>
                  <a:pt x="354" y="145"/>
                  <a:pt x="368" y="138"/>
                  <a:pt x="373" y="138"/>
                </a:cubicBezTo>
                <a:cubicBezTo>
                  <a:pt x="373" y="144"/>
                  <a:pt x="366" y="157"/>
                  <a:pt x="358" y="169"/>
                </a:cubicBezTo>
                <a:cubicBezTo>
                  <a:pt x="298" y="228"/>
                  <a:pt x="298" y="228"/>
                  <a:pt x="298" y="228"/>
                </a:cubicBezTo>
                <a:cubicBezTo>
                  <a:pt x="295" y="231"/>
                  <a:pt x="294" y="236"/>
                  <a:pt x="295" y="239"/>
                </a:cubicBezTo>
                <a:cubicBezTo>
                  <a:pt x="339" y="369"/>
                  <a:pt x="339" y="369"/>
                  <a:pt x="339" y="369"/>
                </a:cubicBezTo>
                <a:cubicBezTo>
                  <a:pt x="331" y="377"/>
                  <a:pt x="331" y="377"/>
                  <a:pt x="331" y="377"/>
                </a:cubicBezTo>
                <a:cubicBezTo>
                  <a:pt x="273" y="272"/>
                  <a:pt x="273" y="272"/>
                  <a:pt x="273" y="272"/>
                </a:cubicBezTo>
                <a:cubicBezTo>
                  <a:pt x="272" y="269"/>
                  <a:pt x="269" y="267"/>
                  <a:pt x="266" y="267"/>
                </a:cubicBezTo>
                <a:cubicBezTo>
                  <a:pt x="262" y="266"/>
                  <a:pt x="259" y="268"/>
                  <a:pt x="256" y="270"/>
                </a:cubicBezTo>
                <a:cubicBezTo>
                  <a:pt x="205" y="322"/>
                  <a:pt x="205" y="322"/>
                  <a:pt x="205" y="322"/>
                </a:cubicBezTo>
                <a:cubicBezTo>
                  <a:pt x="202" y="325"/>
                  <a:pt x="201" y="329"/>
                  <a:pt x="202" y="333"/>
                </a:cubicBezTo>
                <a:cubicBezTo>
                  <a:pt x="221" y="381"/>
                  <a:pt x="221" y="381"/>
                  <a:pt x="221" y="381"/>
                </a:cubicBezTo>
                <a:cubicBezTo>
                  <a:pt x="214" y="388"/>
                  <a:pt x="214" y="388"/>
                  <a:pt x="214" y="388"/>
                </a:cubicBezTo>
                <a:cubicBezTo>
                  <a:pt x="179" y="335"/>
                  <a:pt x="179" y="335"/>
                  <a:pt x="179" y="335"/>
                </a:cubicBezTo>
                <a:cubicBezTo>
                  <a:pt x="179" y="334"/>
                  <a:pt x="177" y="333"/>
                  <a:pt x="176" y="332"/>
                </a:cubicBezTo>
                <a:cubicBezTo>
                  <a:pt x="123" y="298"/>
                  <a:pt x="123" y="298"/>
                  <a:pt x="123" y="298"/>
                </a:cubicBezTo>
                <a:cubicBezTo>
                  <a:pt x="131" y="290"/>
                  <a:pt x="131" y="290"/>
                  <a:pt x="131" y="290"/>
                </a:cubicBezTo>
                <a:cubicBezTo>
                  <a:pt x="178" y="309"/>
                  <a:pt x="178" y="309"/>
                  <a:pt x="178" y="309"/>
                </a:cubicBezTo>
                <a:cubicBezTo>
                  <a:pt x="182" y="311"/>
                  <a:pt x="186" y="310"/>
                  <a:pt x="189" y="307"/>
                </a:cubicBezTo>
                <a:cubicBezTo>
                  <a:pt x="241" y="255"/>
                  <a:pt x="241" y="255"/>
                  <a:pt x="241" y="255"/>
                </a:cubicBezTo>
                <a:cubicBezTo>
                  <a:pt x="244" y="252"/>
                  <a:pt x="245" y="249"/>
                  <a:pt x="244" y="246"/>
                </a:cubicBezTo>
                <a:cubicBezTo>
                  <a:pt x="244" y="242"/>
                  <a:pt x="242" y="240"/>
                  <a:pt x="239" y="238"/>
                </a:cubicBezTo>
                <a:cubicBezTo>
                  <a:pt x="135" y="181"/>
                  <a:pt x="135" y="181"/>
                  <a:pt x="135" y="181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272" y="216"/>
                  <a:pt x="272" y="216"/>
                  <a:pt x="272" y="216"/>
                </a:cubicBezTo>
                <a:cubicBezTo>
                  <a:pt x="276" y="217"/>
                  <a:pt x="280" y="216"/>
                  <a:pt x="283" y="213"/>
                </a:cubicBezTo>
                <a:lnTo>
                  <a:pt x="343" y="15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123"/>
                </a:moveTo>
                <a:cubicBezTo>
                  <a:pt x="373" y="107"/>
                  <a:pt x="342" y="127"/>
                  <a:pt x="329" y="137"/>
                </a:cubicBezTo>
                <a:cubicBezTo>
                  <a:pt x="329" y="137"/>
                  <a:pt x="328" y="138"/>
                  <a:pt x="328" y="138"/>
                </a:cubicBezTo>
                <a:cubicBezTo>
                  <a:pt x="272" y="194"/>
                  <a:pt x="272" y="194"/>
                  <a:pt x="272" y="194"/>
                </a:cubicBezTo>
                <a:cubicBezTo>
                  <a:pt x="143" y="150"/>
                  <a:pt x="143" y="150"/>
                  <a:pt x="143" y="150"/>
                </a:cubicBezTo>
                <a:cubicBezTo>
                  <a:pt x="139" y="149"/>
                  <a:pt x="135" y="150"/>
                  <a:pt x="132" y="153"/>
                </a:cubicBezTo>
                <a:cubicBezTo>
                  <a:pt x="109" y="176"/>
                  <a:pt x="109" y="176"/>
                  <a:pt x="109" y="176"/>
                </a:cubicBezTo>
                <a:cubicBezTo>
                  <a:pt x="107" y="178"/>
                  <a:pt x="106" y="181"/>
                  <a:pt x="106" y="185"/>
                </a:cubicBezTo>
                <a:cubicBezTo>
                  <a:pt x="107" y="188"/>
                  <a:pt x="109" y="191"/>
                  <a:pt x="112" y="193"/>
                </a:cubicBezTo>
                <a:cubicBezTo>
                  <a:pt x="216" y="250"/>
                  <a:pt x="216" y="250"/>
                  <a:pt x="216" y="250"/>
                </a:cubicBezTo>
                <a:cubicBezTo>
                  <a:pt x="179" y="287"/>
                  <a:pt x="179" y="287"/>
                  <a:pt x="179" y="287"/>
                </a:cubicBezTo>
                <a:cubicBezTo>
                  <a:pt x="132" y="268"/>
                  <a:pt x="132" y="268"/>
                  <a:pt x="132" y="268"/>
                </a:cubicBezTo>
                <a:cubicBezTo>
                  <a:pt x="128" y="266"/>
                  <a:pt x="124" y="267"/>
                  <a:pt x="121" y="270"/>
                </a:cubicBezTo>
                <a:cubicBezTo>
                  <a:pt x="99" y="292"/>
                  <a:pt x="99" y="292"/>
                  <a:pt x="99" y="292"/>
                </a:cubicBezTo>
                <a:cubicBezTo>
                  <a:pt x="96" y="294"/>
                  <a:pt x="95" y="297"/>
                  <a:pt x="96" y="301"/>
                </a:cubicBezTo>
                <a:cubicBezTo>
                  <a:pt x="96" y="304"/>
                  <a:pt x="98" y="307"/>
                  <a:pt x="100" y="308"/>
                </a:cubicBezTo>
                <a:cubicBezTo>
                  <a:pt x="163" y="349"/>
                  <a:pt x="163" y="349"/>
                  <a:pt x="163" y="349"/>
                </a:cubicBezTo>
                <a:cubicBezTo>
                  <a:pt x="203" y="411"/>
                  <a:pt x="203" y="411"/>
                  <a:pt x="203" y="411"/>
                </a:cubicBezTo>
                <a:cubicBezTo>
                  <a:pt x="205" y="414"/>
                  <a:pt x="208" y="415"/>
                  <a:pt x="211" y="416"/>
                </a:cubicBezTo>
                <a:cubicBezTo>
                  <a:pt x="211" y="416"/>
                  <a:pt x="212" y="416"/>
                  <a:pt x="212" y="416"/>
                </a:cubicBezTo>
                <a:cubicBezTo>
                  <a:pt x="215" y="416"/>
                  <a:pt x="217" y="415"/>
                  <a:pt x="219" y="413"/>
                </a:cubicBezTo>
                <a:cubicBezTo>
                  <a:pt x="241" y="391"/>
                  <a:pt x="241" y="391"/>
                  <a:pt x="241" y="391"/>
                </a:cubicBezTo>
                <a:cubicBezTo>
                  <a:pt x="244" y="388"/>
                  <a:pt x="245" y="383"/>
                  <a:pt x="244" y="379"/>
                </a:cubicBezTo>
                <a:cubicBezTo>
                  <a:pt x="225" y="332"/>
                  <a:pt x="225" y="332"/>
                  <a:pt x="225" y="332"/>
                </a:cubicBezTo>
                <a:cubicBezTo>
                  <a:pt x="262" y="295"/>
                  <a:pt x="262" y="295"/>
                  <a:pt x="262" y="295"/>
                </a:cubicBezTo>
                <a:cubicBezTo>
                  <a:pt x="319" y="399"/>
                  <a:pt x="319" y="399"/>
                  <a:pt x="319" y="399"/>
                </a:cubicBezTo>
                <a:cubicBezTo>
                  <a:pt x="320" y="402"/>
                  <a:pt x="323" y="404"/>
                  <a:pt x="327" y="405"/>
                </a:cubicBezTo>
                <a:cubicBezTo>
                  <a:pt x="330" y="405"/>
                  <a:pt x="333" y="404"/>
                  <a:pt x="336" y="402"/>
                </a:cubicBezTo>
                <a:cubicBezTo>
                  <a:pt x="358" y="379"/>
                  <a:pt x="358" y="379"/>
                  <a:pt x="358" y="379"/>
                </a:cubicBezTo>
                <a:cubicBezTo>
                  <a:pt x="361" y="376"/>
                  <a:pt x="362" y="372"/>
                  <a:pt x="361" y="368"/>
                </a:cubicBezTo>
                <a:cubicBezTo>
                  <a:pt x="318" y="239"/>
                  <a:pt x="318" y="239"/>
                  <a:pt x="318" y="239"/>
                </a:cubicBezTo>
                <a:cubicBezTo>
                  <a:pt x="373" y="183"/>
                  <a:pt x="373" y="183"/>
                  <a:pt x="373" y="183"/>
                </a:cubicBezTo>
                <a:cubicBezTo>
                  <a:pt x="374" y="183"/>
                  <a:pt x="374" y="182"/>
                  <a:pt x="374" y="182"/>
                </a:cubicBezTo>
                <a:cubicBezTo>
                  <a:pt x="384" y="170"/>
                  <a:pt x="404" y="139"/>
                  <a:pt x="389" y="12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8" name="Group 786"/>
          <p:cNvGrpSpPr>
            <a:grpSpLocks noChangeAspect="1"/>
          </p:cNvGrpSpPr>
          <p:nvPr/>
        </p:nvGrpSpPr>
        <p:grpSpPr bwMode="auto">
          <a:xfrm>
            <a:off x="1920939" y="3751238"/>
            <a:ext cx="369021" cy="369021"/>
            <a:chOff x="5071" y="3066"/>
            <a:chExt cx="340" cy="340"/>
          </a:xfrm>
          <a:solidFill>
            <a:schemeClr val="accent3"/>
          </a:solidFill>
        </p:grpSpPr>
        <p:sp>
          <p:nvSpPr>
            <p:cNvPr id="359" name="Freeform 787"/>
            <p:cNvSpPr>
              <a:spLocks noEditPoints="1"/>
            </p:cNvSpPr>
            <p:nvPr/>
          </p:nvSpPr>
          <p:spPr bwMode="auto">
            <a:xfrm>
              <a:off x="5071" y="306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788"/>
            <p:cNvSpPr>
              <a:spLocks noEditPoints="1"/>
            </p:cNvSpPr>
            <p:nvPr/>
          </p:nvSpPr>
          <p:spPr bwMode="auto">
            <a:xfrm>
              <a:off x="5134" y="3129"/>
              <a:ext cx="213" cy="185"/>
            </a:xfrm>
            <a:custGeom>
              <a:avLst/>
              <a:gdLst>
                <a:gd name="T0" fmla="*/ 319 w 321"/>
                <a:gd name="T1" fmla="*/ 198 h 278"/>
                <a:gd name="T2" fmla="*/ 310 w 321"/>
                <a:gd name="T3" fmla="*/ 193 h 278"/>
                <a:gd name="T4" fmla="*/ 274 w 321"/>
                <a:gd name="T5" fmla="*/ 193 h 278"/>
                <a:gd name="T6" fmla="*/ 170 w 321"/>
                <a:gd name="T7" fmla="*/ 6 h 278"/>
                <a:gd name="T8" fmla="*/ 158 w 321"/>
                <a:gd name="T9" fmla="*/ 1 h 278"/>
                <a:gd name="T10" fmla="*/ 150 w 321"/>
                <a:gd name="T11" fmla="*/ 11 h 278"/>
                <a:gd name="T12" fmla="*/ 150 w 321"/>
                <a:gd name="T13" fmla="*/ 51 h 278"/>
                <a:gd name="T14" fmla="*/ 49 w 321"/>
                <a:gd name="T15" fmla="*/ 193 h 278"/>
                <a:gd name="T16" fmla="*/ 11 w 321"/>
                <a:gd name="T17" fmla="*/ 193 h 278"/>
                <a:gd name="T18" fmla="*/ 2 w 321"/>
                <a:gd name="T19" fmla="*/ 198 h 278"/>
                <a:gd name="T20" fmla="*/ 2 w 321"/>
                <a:gd name="T21" fmla="*/ 209 h 278"/>
                <a:gd name="T22" fmla="*/ 45 w 321"/>
                <a:gd name="T23" fmla="*/ 273 h 278"/>
                <a:gd name="T24" fmla="*/ 54 w 321"/>
                <a:gd name="T25" fmla="*/ 278 h 278"/>
                <a:gd name="T26" fmla="*/ 267 w 321"/>
                <a:gd name="T27" fmla="*/ 278 h 278"/>
                <a:gd name="T28" fmla="*/ 276 w 321"/>
                <a:gd name="T29" fmla="*/ 273 h 278"/>
                <a:gd name="T30" fmla="*/ 319 w 321"/>
                <a:gd name="T31" fmla="*/ 209 h 278"/>
                <a:gd name="T32" fmla="*/ 319 w 321"/>
                <a:gd name="T33" fmla="*/ 198 h 278"/>
                <a:gd name="T34" fmla="*/ 171 w 321"/>
                <a:gd name="T35" fmla="*/ 52 h 278"/>
                <a:gd name="T36" fmla="*/ 249 w 321"/>
                <a:gd name="T37" fmla="*/ 193 h 278"/>
                <a:gd name="T38" fmla="*/ 171 w 321"/>
                <a:gd name="T39" fmla="*/ 193 h 278"/>
                <a:gd name="T40" fmla="*/ 171 w 321"/>
                <a:gd name="T41" fmla="*/ 54 h 278"/>
                <a:gd name="T42" fmla="*/ 171 w 321"/>
                <a:gd name="T43" fmla="*/ 52 h 278"/>
                <a:gd name="T44" fmla="*/ 150 w 321"/>
                <a:gd name="T45" fmla="*/ 87 h 278"/>
                <a:gd name="T46" fmla="*/ 150 w 321"/>
                <a:gd name="T47" fmla="*/ 193 h 278"/>
                <a:gd name="T48" fmla="*/ 75 w 321"/>
                <a:gd name="T49" fmla="*/ 193 h 278"/>
                <a:gd name="T50" fmla="*/ 150 w 321"/>
                <a:gd name="T51" fmla="*/ 87 h 278"/>
                <a:gd name="T52" fmla="*/ 262 w 321"/>
                <a:gd name="T53" fmla="*/ 257 h 278"/>
                <a:gd name="T54" fmla="*/ 60 w 321"/>
                <a:gd name="T55" fmla="*/ 257 h 278"/>
                <a:gd name="T56" fmla="*/ 31 w 321"/>
                <a:gd name="T57" fmla="*/ 214 h 278"/>
                <a:gd name="T58" fmla="*/ 54 w 321"/>
                <a:gd name="T59" fmla="*/ 214 h 278"/>
                <a:gd name="T60" fmla="*/ 161 w 321"/>
                <a:gd name="T61" fmla="*/ 214 h 278"/>
                <a:gd name="T62" fmla="*/ 267 w 321"/>
                <a:gd name="T63" fmla="*/ 214 h 278"/>
                <a:gd name="T64" fmla="*/ 290 w 321"/>
                <a:gd name="T65" fmla="*/ 214 h 278"/>
                <a:gd name="T66" fmla="*/ 262 w 321"/>
                <a:gd name="T67" fmla="*/ 25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78">
                  <a:moveTo>
                    <a:pt x="319" y="198"/>
                  </a:moveTo>
                  <a:cubicBezTo>
                    <a:pt x="318" y="195"/>
                    <a:pt x="314" y="193"/>
                    <a:pt x="310" y="193"/>
                  </a:cubicBezTo>
                  <a:cubicBezTo>
                    <a:pt x="274" y="193"/>
                    <a:pt x="274" y="193"/>
                    <a:pt x="274" y="193"/>
                  </a:cubicBezTo>
                  <a:cubicBezTo>
                    <a:pt x="170" y="6"/>
                    <a:pt x="170" y="6"/>
                    <a:pt x="170" y="6"/>
                  </a:cubicBezTo>
                  <a:cubicBezTo>
                    <a:pt x="168" y="2"/>
                    <a:pt x="163" y="0"/>
                    <a:pt x="158" y="1"/>
                  </a:cubicBezTo>
                  <a:cubicBezTo>
                    <a:pt x="153" y="2"/>
                    <a:pt x="150" y="6"/>
                    <a:pt x="150" y="11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7" y="193"/>
                    <a:pt x="4" y="195"/>
                    <a:pt x="2" y="198"/>
                  </a:cubicBezTo>
                  <a:cubicBezTo>
                    <a:pt x="0" y="202"/>
                    <a:pt x="0" y="206"/>
                    <a:pt x="2" y="209"/>
                  </a:cubicBezTo>
                  <a:cubicBezTo>
                    <a:pt x="45" y="273"/>
                    <a:pt x="45" y="273"/>
                    <a:pt x="45" y="273"/>
                  </a:cubicBezTo>
                  <a:cubicBezTo>
                    <a:pt x="47" y="276"/>
                    <a:pt x="50" y="278"/>
                    <a:pt x="54" y="278"/>
                  </a:cubicBezTo>
                  <a:cubicBezTo>
                    <a:pt x="267" y="278"/>
                    <a:pt x="267" y="278"/>
                    <a:pt x="267" y="278"/>
                  </a:cubicBezTo>
                  <a:cubicBezTo>
                    <a:pt x="271" y="278"/>
                    <a:pt x="274" y="276"/>
                    <a:pt x="276" y="273"/>
                  </a:cubicBezTo>
                  <a:cubicBezTo>
                    <a:pt x="319" y="209"/>
                    <a:pt x="319" y="209"/>
                    <a:pt x="319" y="209"/>
                  </a:cubicBezTo>
                  <a:cubicBezTo>
                    <a:pt x="321" y="206"/>
                    <a:pt x="321" y="202"/>
                    <a:pt x="319" y="198"/>
                  </a:cubicBezTo>
                  <a:close/>
                  <a:moveTo>
                    <a:pt x="171" y="52"/>
                  </a:moveTo>
                  <a:cubicBezTo>
                    <a:pt x="249" y="193"/>
                    <a:pt x="249" y="193"/>
                    <a:pt x="249" y="193"/>
                  </a:cubicBezTo>
                  <a:cubicBezTo>
                    <a:pt x="171" y="193"/>
                    <a:pt x="171" y="193"/>
                    <a:pt x="171" y="193"/>
                  </a:cubicBezTo>
                  <a:cubicBezTo>
                    <a:pt x="171" y="54"/>
                    <a:pt x="171" y="54"/>
                    <a:pt x="171" y="54"/>
                  </a:cubicBezTo>
                  <a:lnTo>
                    <a:pt x="171" y="52"/>
                  </a:lnTo>
                  <a:close/>
                  <a:moveTo>
                    <a:pt x="150" y="87"/>
                  </a:moveTo>
                  <a:cubicBezTo>
                    <a:pt x="150" y="193"/>
                    <a:pt x="150" y="193"/>
                    <a:pt x="150" y="193"/>
                  </a:cubicBezTo>
                  <a:cubicBezTo>
                    <a:pt x="75" y="193"/>
                    <a:pt x="75" y="193"/>
                    <a:pt x="75" y="193"/>
                  </a:cubicBezTo>
                  <a:lnTo>
                    <a:pt x="150" y="87"/>
                  </a:lnTo>
                  <a:close/>
                  <a:moveTo>
                    <a:pt x="262" y="257"/>
                  </a:moveTo>
                  <a:cubicBezTo>
                    <a:pt x="60" y="257"/>
                    <a:pt x="60" y="257"/>
                    <a:pt x="60" y="257"/>
                  </a:cubicBezTo>
                  <a:cubicBezTo>
                    <a:pt x="31" y="214"/>
                    <a:pt x="31" y="214"/>
                    <a:pt x="31" y="214"/>
                  </a:cubicBezTo>
                  <a:cubicBezTo>
                    <a:pt x="54" y="214"/>
                    <a:pt x="54" y="214"/>
                    <a:pt x="54" y="214"/>
                  </a:cubicBezTo>
                  <a:cubicBezTo>
                    <a:pt x="161" y="214"/>
                    <a:pt x="161" y="214"/>
                    <a:pt x="161" y="214"/>
                  </a:cubicBezTo>
                  <a:cubicBezTo>
                    <a:pt x="267" y="214"/>
                    <a:pt x="267" y="214"/>
                    <a:pt x="267" y="214"/>
                  </a:cubicBezTo>
                  <a:cubicBezTo>
                    <a:pt x="290" y="214"/>
                    <a:pt x="290" y="214"/>
                    <a:pt x="290" y="214"/>
                  </a:cubicBezTo>
                  <a:lnTo>
                    <a:pt x="262" y="2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1" name="Freeform 792"/>
          <p:cNvSpPr>
            <a:spLocks noChangeAspect="1" noEditPoints="1"/>
          </p:cNvSpPr>
          <p:nvPr/>
        </p:nvSpPr>
        <p:spPr bwMode="auto">
          <a:xfrm>
            <a:off x="1423365" y="3751238"/>
            <a:ext cx="369021" cy="369021"/>
          </a:xfrm>
          <a:custGeom>
            <a:avLst/>
            <a:gdLst>
              <a:gd name="T0" fmla="*/ 344 w 512"/>
              <a:gd name="T1" fmla="*/ 288 h 512"/>
              <a:gd name="T2" fmla="*/ 266 w 512"/>
              <a:gd name="T3" fmla="*/ 288 h 512"/>
              <a:gd name="T4" fmla="*/ 266 w 512"/>
              <a:gd name="T5" fmla="*/ 149 h 512"/>
              <a:gd name="T6" fmla="*/ 266 w 512"/>
              <a:gd name="T7" fmla="*/ 147 h 512"/>
              <a:gd name="T8" fmla="*/ 344 w 512"/>
              <a:gd name="T9" fmla="*/ 288 h 512"/>
              <a:gd name="T10" fmla="*/ 245 w 512"/>
              <a:gd name="T11" fmla="*/ 182 h 512"/>
              <a:gd name="T12" fmla="*/ 170 w 512"/>
              <a:gd name="T13" fmla="*/ 288 h 512"/>
              <a:gd name="T14" fmla="*/ 245 w 512"/>
              <a:gd name="T15" fmla="*/ 288 h 512"/>
              <a:gd name="T16" fmla="*/ 245 w 512"/>
              <a:gd name="T17" fmla="*/ 182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414 w 512"/>
              <a:gd name="T29" fmla="*/ 293 h 512"/>
              <a:gd name="T30" fmla="*/ 405 w 512"/>
              <a:gd name="T31" fmla="*/ 288 h 512"/>
              <a:gd name="T32" fmla="*/ 369 w 512"/>
              <a:gd name="T33" fmla="*/ 288 h 512"/>
              <a:gd name="T34" fmla="*/ 265 w 512"/>
              <a:gd name="T35" fmla="*/ 101 h 512"/>
              <a:gd name="T36" fmla="*/ 253 w 512"/>
              <a:gd name="T37" fmla="*/ 96 h 512"/>
              <a:gd name="T38" fmla="*/ 245 w 512"/>
              <a:gd name="T39" fmla="*/ 106 h 512"/>
              <a:gd name="T40" fmla="*/ 245 w 512"/>
              <a:gd name="T41" fmla="*/ 146 h 512"/>
              <a:gd name="T42" fmla="*/ 144 w 512"/>
              <a:gd name="T43" fmla="*/ 288 h 512"/>
              <a:gd name="T44" fmla="*/ 106 w 512"/>
              <a:gd name="T45" fmla="*/ 288 h 512"/>
              <a:gd name="T46" fmla="*/ 97 w 512"/>
              <a:gd name="T47" fmla="*/ 293 h 512"/>
              <a:gd name="T48" fmla="*/ 97 w 512"/>
              <a:gd name="T49" fmla="*/ 304 h 512"/>
              <a:gd name="T50" fmla="*/ 140 w 512"/>
              <a:gd name="T51" fmla="*/ 368 h 512"/>
              <a:gd name="T52" fmla="*/ 149 w 512"/>
              <a:gd name="T53" fmla="*/ 373 h 512"/>
              <a:gd name="T54" fmla="*/ 362 w 512"/>
              <a:gd name="T55" fmla="*/ 373 h 512"/>
              <a:gd name="T56" fmla="*/ 371 w 512"/>
              <a:gd name="T57" fmla="*/ 368 h 512"/>
              <a:gd name="T58" fmla="*/ 414 w 512"/>
              <a:gd name="T59" fmla="*/ 304 h 512"/>
              <a:gd name="T60" fmla="*/ 414 w 512"/>
              <a:gd name="T61" fmla="*/ 293 h 512"/>
              <a:gd name="T62" fmla="*/ 256 w 512"/>
              <a:gd name="T63" fmla="*/ 309 h 512"/>
              <a:gd name="T64" fmla="*/ 149 w 512"/>
              <a:gd name="T65" fmla="*/ 309 h 512"/>
              <a:gd name="T66" fmla="*/ 126 w 512"/>
              <a:gd name="T67" fmla="*/ 309 h 512"/>
              <a:gd name="T68" fmla="*/ 155 w 512"/>
              <a:gd name="T69" fmla="*/ 352 h 512"/>
              <a:gd name="T70" fmla="*/ 357 w 512"/>
              <a:gd name="T71" fmla="*/ 352 h 512"/>
              <a:gd name="T72" fmla="*/ 385 w 512"/>
              <a:gd name="T73" fmla="*/ 309 h 512"/>
              <a:gd name="T74" fmla="*/ 362 w 512"/>
              <a:gd name="T75" fmla="*/ 309 h 512"/>
              <a:gd name="T76" fmla="*/ 256 w 512"/>
              <a:gd name="T77" fmla="*/ 3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344" y="288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6" y="149"/>
                  <a:pt x="266" y="149"/>
                  <a:pt x="266" y="149"/>
                </a:cubicBezTo>
                <a:cubicBezTo>
                  <a:pt x="266" y="147"/>
                  <a:pt x="266" y="147"/>
                  <a:pt x="266" y="147"/>
                </a:cubicBezTo>
                <a:lnTo>
                  <a:pt x="344" y="288"/>
                </a:lnTo>
                <a:close/>
                <a:moveTo>
                  <a:pt x="245" y="182"/>
                </a:moveTo>
                <a:cubicBezTo>
                  <a:pt x="170" y="288"/>
                  <a:pt x="170" y="288"/>
                  <a:pt x="170" y="288"/>
                </a:cubicBezTo>
                <a:cubicBezTo>
                  <a:pt x="245" y="288"/>
                  <a:pt x="245" y="288"/>
                  <a:pt x="245" y="288"/>
                </a:cubicBezTo>
                <a:lnTo>
                  <a:pt x="245" y="18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4" y="293"/>
                </a:moveTo>
                <a:cubicBezTo>
                  <a:pt x="413" y="290"/>
                  <a:pt x="409" y="288"/>
                  <a:pt x="405" y="288"/>
                </a:cubicBezTo>
                <a:cubicBezTo>
                  <a:pt x="369" y="288"/>
                  <a:pt x="369" y="288"/>
                  <a:pt x="369" y="288"/>
                </a:cubicBezTo>
                <a:cubicBezTo>
                  <a:pt x="265" y="101"/>
                  <a:pt x="265" y="101"/>
                  <a:pt x="265" y="101"/>
                </a:cubicBezTo>
                <a:cubicBezTo>
                  <a:pt x="263" y="97"/>
                  <a:pt x="258" y="95"/>
                  <a:pt x="253" y="96"/>
                </a:cubicBezTo>
                <a:cubicBezTo>
                  <a:pt x="248" y="97"/>
                  <a:pt x="245" y="101"/>
                  <a:pt x="245" y="106"/>
                </a:cubicBezTo>
                <a:cubicBezTo>
                  <a:pt x="245" y="146"/>
                  <a:pt x="245" y="146"/>
                  <a:pt x="245" y="146"/>
                </a:cubicBezTo>
                <a:cubicBezTo>
                  <a:pt x="144" y="288"/>
                  <a:pt x="144" y="288"/>
                  <a:pt x="144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2" y="288"/>
                  <a:pt x="99" y="290"/>
                  <a:pt x="97" y="293"/>
                </a:cubicBezTo>
                <a:cubicBezTo>
                  <a:pt x="95" y="297"/>
                  <a:pt x="95" y="301"/>
                  <a:pt x="97" y="304"/>
                </a:cubicBezTo>
                <a:cubicBezTo>
                  <a:pt x="140" y="368"/>
                  <a:pt x="140" y="368"/>
                  <a:pt x="140" y="368"/>
                </a:cubicBezTo>
                <a:cubicBezTo>
                  <a:pt x="142" y="371"/>
                  <a:pt x="145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66" y="373"/>
                  <a:pt x="369" y="371"/>
                  <a:pt x="371" y="368"/>
                </a:cubicBezTo>
                <a:cubicBezTo>
                  <a:pt x="414" y="304"/>
                  <a:pt x="414" y="304"/>
                  <a:pt x="414" y="304"/>
                </a:cubicBezTo>
                <a:cubicBezTo>
                  <a:pt x="416" y="301"/>
                  <a:pt x="416" y="297"/>
                  <a:pt x="414" y="293"/>
                </a:cubicBezTo>
                <a:close/>
                <a:moveTo>
                  <a:pt x="256" y="309"/>
                </a:moveTo>
                <a:cubicBezTo>
                  <a:pt x="149" y="309"/>
                  <a:pt x="149" y="309"/>
                  <a:pt x="149" y="309"/>
                </a:cubicBezTo>
                <a:cubicBezTo>
                  <a:pt x="126" y="309"/>
                  <a:pt x="126" y="309"/>
                  <a:pt x="126" y="309"/>
                </a:cubicBezTo>
                <a:cubicBezTo>
                  <a:pt x="155" y="352"/>
                  <a:pt x="155" y="352"/>
                  <a:pt x="155" y="352"/>
                </a:cubicBezTo>
                <a:cubicBezTo>
                  <a:pt x="357" y="352"/>
                  <a:pt x="357" y="352"/>
                  <a:pt x="357" y="352"/>
                </a:cubicBezTo>
                <a:cubicBezTo>
                  <a:pt x="385" y="309"/>
                  <a:pt x="385" y="309"/>
                  <a:pt x="385" y="309"/>
                </a:cubicBezTo>
                <a:cubicBezTo>
                  <a:pt x="362" y="309"/>
                  <a:pt x="362" y="309"/>
                  <a:pt x="362" y="309"/>
                </a:cubicBezTo>
                <a:lnTo>
                  <a:pt x="256" y="30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8" name="Freeform 908"/>
          <p:cNvSpPr>
            <a:spLocks noChangeAspect="1" noEditPoints="1"/>
          </p:cNvSpPr>
          <p:nvPr/>
        </p:nvSpPr>
        <p:spPr bwMode="auto">
          <a:xfrm>
            <a:off x="2418513" y="3751234"/>
            <a:ext cx="367982" cy="367982"/>
          </a:xfrm>
          <a:custGeom>
            <a:avLst/>
            <a:gdLst>
              <a:gd name="T0" fmla="*/ 384 w 512"/>
              <a:gd name="T1" fmla="*/ 160 h 512"/>
              <a:gd name="T2" fmla="*/ 213 w 512"/>
              <a:gd name="T3" fmla="*/ 256 h 512"/>
              <a:gd name="T4" fmla="*/ 181 w 512"/>
              <a:gd name="T5" fmla="*/ 256 h 512"/>
              <a:gd name="T6" fmla="*/ 202 w 512"/>
              <a:gd name="T7" fmla="*/ 234 h 512"/>
              <a:gd name="T8" fmla="*/ 245 w 512"/>
              <a:gd name="T9" fmla="*/ 288 h 512"/>
              <a:gd name="T10" fmla="*/ 213 w 512"/>
              <a:gd name="T11" fmla="*/ 288 h 512"/>
              <a:gd name="T12" fmla="*/ 234 w 512"/>
              <a:gd name="T13" fmla="*/ 266 h 512"/>
              <a:gd name="T14" fmla="*/ 277 w 512"/>
              <a:gd name="T15" fmla="*/ 256 h 512"/>
              <a:gd name="T16" fmla="*/ 245 w 512"/>
              <a:gd name="T17" fmla="*/ 256 h 512"/>
              <a:gd name="T18" fmla="*/ 266 w 512"/>
              <a:gd name="T19" fmla="*/ 234 h 512"/>
              <a:gd name="T20" fmla="*/ 309 w 512"/>
              <a:gd name="T21" fmla="*/ 288 h 512"/>
              <a:gd name="T22" fmla="*/ 277 w 512"/>
              <a:gd name="T23" fmla="*/ 288 h 512"/>
              <a:gd name="T24" fmla="*/ 298 w 512"/>
              <a:gd name="T25" fmla="*/ 266 h 512"/>
              <a:gd name="T26" fmla="*/ 341 w 512"/>
              <a:gd name="T27" fmla="*/ 256 h 512"/>
              <a:gd name="T28" fmla="*/ 309 w 512"/>
              <a:gd name="T29" fmla="*/ 256 h 512"/>
              <a:gd name="T30" fmla="*/ 330 w 512"/>
              <a:gd name="T31" fmla="*/ 234 h 512"/>
              <a:gd name="T32" fmla="*/ 373 w 512"/>
              <a:gd name="T33" fmla="*/ 288 h 512"/>
              <a:gd name="T34" fmla="*/ 341 w 512"/>
              <a:gd name="T35" fmla="*/ 288 h 512"/>
              <a:gd name="T36" fmla="*/ 362 w 512"/>
              <a:gd name="T37" fmla="*/ 266 h 512"/>
              <a:gd name="T38" fmla="*/ 373 w 512"/>
              <a:gd name="T39" fmla="*/ 224 h 512"/>
              <a:gd name="T40" fmla="*/ 341 w 512"/>
              <a:gd name="T41" fmla="*/ 224 h 512"/>
              <a:gd name="T42" fmla="*/ 362 w 512"/>
              <a:gd name="T43" fmla="*/ 202 h 512"/>
              <a:gd name="T44" fmla="*/ 341 w 512"/>
              <a:gd name="T45" fmla="*/ 192 h 512"/>
              <a:gd name="T46" fmla="*/ 309 w 512"/>
              <a:gd name="T47" fmla="*/ 192 h 512"/>
              <a:gd name="T48" fmla="*/ 330 w 512"/>
              <a:gd name="T49" fmla="*/ 170 h 512"/>
              <a:gd name="T50" fmla="*/ 309 w 512"/>
              <a:gd name="T51" fmla="*/ 224 h 512"/>
              <a:gd name="T52" fmla="*/ 277 w 512"/>
              <a:gd name="T53" fmla="*/ 224 h 512"/>
              <a:gd name="T54" fmla="*/ 298 w 512"/>
              <a:gd name="T55" fmla="*/ 202 h 512"/>
              <a:gd name="T56" fmla="*/ 277 w 512"/>
              <a:gd name="T57" fmla="*/ 192 h 512"/>
              <a:gd name="T58" fmla="*/ 245 w 512"/>
              <a:gd name="T59" fmla="*/ 192 h 512"/>
              <a:gd name="T60" fmla="*/ 266 w 512"/>
              <a:gd name="T61" fmla="*/ 170 h 512"/>
              <a:gd name="T62" fmla="*/ 245 w 512"/>
              <a:gd name="T63" fmla="*/ 224 h 512"/>
              <a:gd name="T64" fmla="*/ 213 w 512"/>
              <a:gd name="T65" fmla="*/ 224 h 512"/>
              <a:gd name="T66" fmla="*/ 234 w 512"/>
              <a:gd name="T67" fmla="*/ 202 h 512"/>
              <a:gd name="T68" fmla="*/ 213 w 512"/>
              <a:gd name="T69" fmla="*/ 192 h 512"/>
              <a:gd name="T70" fmla="*/ 181 w 512"/>
              <a:gd name="T71" fmla="*/ 192 h 512"/>
              <a:gd name="T72" fmla="*/ 202 w 512"/>
              <a:gd name="T73" fmla="*/ 170 h 512"/>
              <a:gd name="T74" fmla="*/ 181 w 512"/>
              <a:gd name="T75" fmla="*/ 224 h 512"/>
              <a:gd name="T76" fmla="*/ 149 w 512"/>
              <a:gd name="T77" fmla="*/ 224 h 512"/>
              <a:gd name="T78" fmla="*/ 170 w 512"/>
              <a:gd name="T79" fmla="*/ 202 h 512"/>
              <a:gd name="T80" fmla="*/ 181 w 512"/>
              <a:gd name="T81" fmla="*/ 288 h 512"/>
              <a:gd name="T82" fmla="*/ 149 w 512"/>
              <a:gd name="T83" fmla="*/ 288 h 512"/>
              <a:gd name="T84" fmla="*/ 170 w 512"/>
              <a:gd name="T85" fmla="*/ 266 h 512"/>
              <a:gd name="T86" fmla="*/ 256 w 512"/>
              <a:gd name="T87" fmla="*/ 0 h 512"/>
              <a:gd name="T88" fmla="*/ 512 w 512"/>
              <a:gd name="T89" fmla="*/ 256 h 512"/>
              <a:gd name="T90" fmla="*/ 394 w 512"/>
              <a:gd name="T91" fmla="*/ 330 h 512"/>
              <a:gd name="T92" fmla="*/ 128 w 512"/>
              <a:gd name="T93" fmla="*/ 394 h 512"/>
              <a:gd name="T94" fmla="*/ 117 w 512"/>
              <a:gd name="T95" fmla="*/ 149 h 512"/>
              <a:gd name="T96" fmla="*/ 405 w 512"/>
              <a:gd name="T97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138" y="309"/>
                </a:moveTo>
                <a:cubicBezTo>
                  <a:pt x="384" y="309"/>
                  <a:pt x="384" y="309"/>
                  <a:pt x="384" y="309"/>
                </a:cubicBezTo>
                <a:cubicBezTo>
                  <a:pt x="384" y="160"/>
                  <a:pt x="384" y="160"/>
                  <a:pt x="384" y="160"/>
                </a:cubicBezTo>
                <a:cubicBezTo>
                  <a:pt x="138" y="160"/>
                  <a:pt x="138" y="160"/>
                  <a:pt x="138" y="160"/>
                </a:cubicBezTo>
                <a:lnTo>
                  <a:pt x="138" y="309"/>
                </a:lnTo>
                <a:close/>
                <a:moveTo>
                  <a:pt x="213" y="256"/>
                </a:moveTo>
                <a:cubicBezTo>
                  <a:pt x="213" y="262"/>
                  <a:pt x="208" y="266"/>
                  <a:pt x="202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86" y="266"/>
                  <a:pt x="181" y="262"/>
                  <a:pt x="181" y="256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81" y="239"/>
                  <a:pt x="186" y="234"/>
                  <a:pt x="192" y="234"/>
                </a:cubicBezTo>
                <a:cubicBezTo>
                  <a:pt x="202" y="234"/>
                  <a:pt x="202" y="234"/>
                  <a:pt x="202" y="234"/>
                </a:cubicBezTo>
                <a:cubicBezTo>
                  <a:pt x="208" y="234"/>
                  <a:pt x="213" y="239"/>
                  <a:pt x="213" y="245"/>
                </a:cubicBezTo>
                <a:lnTo>
                  <a:pt x="213" y="256"/>
                </a:lnTo>
                <a:close/>
                <a:moveTo>
                  <a:pt x="245" y="288"/>
                </a:moveTo>
                <a:cubicBezTo>
                  <a:pt x="245" y="294"/>
                  <a:pt x="240" y="298"/>
                  <a:pt x="234" y="298"/>
                </a:cubicBezTo>
                <a:cubicBezTo>
                  <a:pt x="224" y="298"/>
                  <a:pt x="224" y="298"/>
                  <a:pt x="224" y="298"/>
                </a:cubicBezTo>
                <a:cubicBezTo>
                  <a:pt x="218" y="298"/>
                  <a:pt x="213" y="294"/>
                  <a:pt x="213" y="288"/>
                </a:cubicBezTo>
                <a:cubicBezTo>
                  <a:pt x="213" y="277"/>
                  <a:pt x="213" y="277"/>
                  <a:pt x="213" y="277"/>
                </a:cubicBezTo>
                <a:cubicBezTo>
                  <a:pt x="213" y="271"/>
                  <a:pt x="218" y="266"/>
                  <a:pt x="224" y="266"/>
                </a:cubicBezTo>
                <a:cubicBezTo>
                  <a:pt x="234" y="266"/>
                  <a:pt x="234" y="266"/>
                  <a:pt x="234" y="266"/>
                </a:cubicBezTo>
                <a:cubicBezTo>
                  <a:pt x="240" y="266"/>
                  <a:pt x="245" y="271"/>
                  <a:pt x="245" y="277"/>
                </a:cubicBezTo>
                <a:lnTo>
                  <a:pt x="245" y="288"/>
                </a:lnTo>
                <a:close/>
                <a:moveTo>
                  <a:pt x="277" y="256"/>
                </a:moveTo>
                <a:cubicBezTo>
                  <a:pt x="277" y="262"/>
                  <a:pt x="272" y="266"/>
                  <a:pt x="266" y="266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50" y="266"/>
                  <a:pt x="245" y="262"/>
                  <a:pt x="245" y="256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6" y="234"/>
                  <a:pt x="266" y="234"/>
                  <a:pt x="266" y="234"/>
                </a:cubicBezTo>
                <a:cubicBezTo>
                  <a:pt x="272" y="234"/>
                  <a:pt x="277" y="239"/>
                  <a:pt x="277" y="245"/>
                </a:cubicBezTo>
                <a:lnTo>
                  <a:pt x="277" y="256"/>
                </a:lnTo>
                <a:close/>
                <a:moveTo>
                  <a:pt x="309" y="288"/>
                </a:moveTo>
                <a:cubicBezTo>
                  <a:pt x="309" y="294"/>
                  <a:pt x="304" y="298"/>
                  <a:pt x="298" y="298"/>
                </a:cubicBezTo>
                <a:cubicBezTo>
                  <a:pt x="288" y="298"/>
                  <a:pt x="288" y="298"/>
                  <a:pt x="288" y="298"/>
                </a:cubicBezTo>
                <a:cubicBezTo>
                  <a:pt x="282" y="298"/>
                  <a:pt x="277" y="294"/>
                  <a:pt x="277" y="288"/>
                </a:cubicBezTo>
                <a:cubicBezTo>
                  <a:pt x="277" y="277"/>
                  <a:pt x="277" y="277"/>
                  <a:pt x="277" y="277"/>
                </a:cubicBezTo>
                <a:cubicBezTo>
                  <a:pt x="277" y="271"/>
                  <a:pt x="282" y="266"/>
                  <a:pt x="288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04" y="266"/>
                  <a:pt x="309" y="271"/>
                  <a:pt x="309" y="277"/>
                </a:cubicBezTo>
                <a:lnTo>
                  <a:pt x="309" y="288"/>
                </a:lnTo>
                <a:close/>
                <a:moveTo>
                  <a:pt x="341" y="256"/>
                </a:moveTo>
                <a:cubicBezTo>
                  <a:pt x="341" y="262"/>
                  <a:pt x="336" y="266"/>
                  <a:pt x="330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14" y="266"/>
                  <a:pt x="309" y="262"/>
                  <a:pt x="309" y="256"/>
                </a:cubicBezTo>
                <a:cubicBezTo>
                  <a:pt x="309" y="245"/>
                  <a:pt x="309" y="245"/>
                  <a:pt x="309" y="245"/>
                </a:cubicBezTo>
                <a:cubicBezTo>
                  <a:pt x="309" y="239"/>
                  <a:pt x="314" y="234"/>
                  <a:pt x="320" y="234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36" y="234"/>
                  <a:pt x="341" y="239"/>
                  <a:pt x="341" y="245"/>
                </a:cubicBezTo>
                <a:lnTo>
                  <a:pt x="341" y="256"/>
                </a:lnTo>
                <a:close/>
                <a:moveTo>
                  <a:pt x="373" y="288"/>
                </a:moveTo>
                <a:cubicBezTo>
                  <a:pt x="373" y="294"/>
                  <a:pt x="368" y="298"/>
                  <a:pt x="362" y="298"/>
                </a:cubicBezTo>
                <a:cubicBezTo>
                  <a:pt x="352" y="298"/>
                  <a:pt x="352" y="298"/>
                  <a:pt x="352" y="298"/>
                </a:cubicBezTo>
                <a:cubicBezTo>
                  <a:pt x="346" y="298"/>
                  <a:pt x="341" y="294"/>
                  <a:pt x="341" y="288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341" y="271"/>
                  <a:pt x="346" y="266"/>
                  <a:pt x="352" y="266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68" y="266"/>
                  <a:pt x="373" y="271"/>
                  <a:pt x="373" y="277"/>
                </a:cubicBezTo>
                <a:lnTo>
                  <a:pt x="373" y="288"/>
                </a:lnTo>
                <a:close/>
                <a:moveTo>
                  <a:pt x="373" y="224"/>
                </a:moveTo>
                <a:cubicBezTo>
                  <a:pt x="373" y="230"/>
                  <a:pt x="368" y="234"/>
                  <a:pt x="362" y="234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6" y="234"/>
                  <a:pt x="341" y="230"/>
                  <a:pt x="341" y="224"/>
                </a:cubicBezTo>
                <a:cubicBezTo>
                  <a:pt x="341" y="213"/>
                  <a:pt x="341" y="213"/>
                  <a:pt x="341" y="213"/>
                </a:cubicBezTo>
                <a:cubicBezTo>
                  <a:pt x="341" y="207"/>
                  <a:pt x="346" y="202"/>
                  <a:pt x="352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207"/>
                  <a:pt x="373" y="213"/>
                </a:cubicBezTo>
                <a:lnTo>
                  <a:pt x="373" y="224"/>
                </a:lnTo>
                <a:close/>
                <a:moveTo>
                  <a:pt x="341" y="192"/>
                </a:moveTo>
                <a:cubicBezTo>
                  <a:pt x="341" y="198"/>
                  <a:pt x="336" y="202"/>
                  <a:pt x="330" y="202"/>
                </a:cubicBezTo>
                <a:cubicBezTo>
                  <a:pt x="320" y="202"/>
                  <a:pt x="320" y="202"/>
                  <a:pt x="320" y="202"/>
                </a:cubicBezTo>
                <a:cubicBezTo>
                  <a:pt x="314" y="202"/>
                  <a:pt x="309" y="198"/>
                  <a:pt x="309" y="192"/>
                </a:cubicBezTo>
                <a:cubicBezTo>
                  <a:pt x="309" y="181"/>
                  <a:pt x="309" y="181"/>
                  <a:pt x="309" y="181"/>
                </a:cubicBezTo>
                <a:cubicBezTo>
                  <a:pt x="309" y="175"/>
                  <a:pt x="314" y="170"/>
                  <a:pt x="320" y="170"/>
                </a:cubicBezTo>
                <a:cubicBezTo>
                  <a:pt x="330" y="170"/>
                  <a:pt x="330" y="170"/>
                  <a:pt x="330" y="170"/>
                </a:cubicBezTo>
                <a:cubicBezTo>
                  <a:pt x="336" y="170"/>
                  <a:pt x="341" y="175"/>
                  <a:pt x="341" y="181"/>
                </a:cubicBezTo>
                <a:lnTo>
                  <a:pt x="341" y="192"/>
                </a:lnTo>
                <a:close/>
                <a:moveTo>
                  <a:pt x="309" y="224"/>
                </a:moveTo>
                <a:cubicBezTo>
                  <a:pt x="309" y="230"/>
                  <a:pt x="304" y="234"/>
                  <a:pt x="298" y="234"/>
                </a:cubicBezTo>
                <a:cubicBezTo>
                  <a:pt x="288" y="234"/>
                  <a:pt x="288" y="234"/>
                  <a:pt x="288" y="234"/>
                </a:cubicBezTo>
                <a:cubicBezTo>
                  <a:pt x="282" y="234"/>
                  <a:pt x="277" y="230"/>
                  <a:pt x="277" y="224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277" y="207"/>
                  <a:pt x="282" y="202"/>
                  <a:pt x="288" y="202"/>
                </a:cubicBezTo>
                <a:cubicBezTo>
                  <a:pt x="298" y="202"/>
                  <a:pt x="298" y="202"/>
                  <a:pt x="298" y="202"/>
                </a:cubicBezTo>
                <a:cubicBezTo>
                  <a:pt x="304" y="202"/>
                  <a:pt x="309" y="207"/>
                  <a:pt x="309" y="213"/>
                </a:cubicBezTo>
                <a:lnTo>
                  <a:pt x="309" y="224"/>
                </a:lnTo>
                <a:close/>
                <a:moveTo>
                  <a:pt x="277" y="192"/>
                </a:moveTo>
                <a:cubicBezTo>
                  <a:pt x="277" y="198"/>
                  <a:pt x="272" y="202"/>
                  <a:pt x="266" y="202"/>
                </a:cubicBezTo>
                <a:cubicBezTo>
                  <a:pt x="256" y="202"/>
                  <a:pt x="256" y="202"/>
                  <a:pt x="256" y="202"/>
                </a:cubicBezTo>
                <a:cubicBezTo>
                  <a:pt x="250" y="202"/>
                  <a:pt x="245" y="198"/>
                  <a:pt x="245" y="192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245" y="175"/>
                  <a:pt x="250" y="170"/>
                  <a:pt x="256" y="170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72" y="170"/>
                  <a:pt x="277" y="175"/>
                  <a:pt x="277" y="181"/>
                </a:cubicBezTo>
                <a:lnTo>
                  <a:pt x="277" y="192"/>
                </a:lnTo>
                <a:close/>
                <a:moveTo>
                  <a:pt x="245" y="224"/>
                </a:moveTo>
                <a:cubicBezTo>
                  <a:pt x="245" y="230"/>
                  <a:pt x="240" y="234"/>
                  <a:pt x="234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18" y="234"/>
                  <a:pt x="213" y="230"/>
                  <a:pt x="213" y="224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207"/>
                  <a:pt x="218" y="202"/>
                  <a:pt x="224" y="202"/>
                </a:cubicBezTo>
                <a:cubicBezTo>
                  <a:pt x="234" y="202"/>
                  <a:pt x="234" y="202"/>
                  <a:pt x="234" y="202"/>
                </a:cubicBezTo>
                <a:cubicBezTo>
                  <a:pt x="240" y="202"/>
                  <a:pt x="245" y="207"/>
                  <a:pt x="245" y="213"/>
                </a:cubicBezTo>
                <a:lnTo>
                  <a:pt x="245" y="224"/>
                </a:lnTo>
                <a:close/>
                <a:moveTo>
                  <a:pt x="213" y="192"/>
                </a:moveTo>
                <a:cubicBezTo>
                  <a:pt x="213" y="198"/>
                  <a:pt x="208" y="202"/>
                  <a:pt x="202" y="202"/>
                </a:cubicBezTo>
                <a:cubicBezTo>
                  <a:pt x="192" y="202"/>
                  <a:pt x="192" y="202"/>
                  <a:pt x="192" y="202"/>
                </a:cubicBezTo>
                <a:cubicBezTo>
                  <a:pt x="186" y="202"/>
                  <a:pt x="181" y="198"/>
                  <a:pt x="181" y="192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181" y="175"/>
                  <a:pt x="186" y="170"/>
                  <a:pt x="192" y="170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208" y="170"/>
                  <a:pt x="213" y="175"/>
                  <a:pt x="213" y="181"/>
                </a:cubicBezTo>
                <a:lnTo>
                  <a:pt x="213" y="192"/>
                </a:lnTo>
                <a:close/>
                <a:moveTo>
                  <a:pt x="181" y="224"/>
                </a:moveTo>
                <a:cubicBezTo>
                  <a:pt x="181" y="230"/>
                  <a:pt x="176" y="234"/>
                  <a:pt x="170" y="234"/>
                </a:cubicBezTo>
                <a:cubicBezTo>
                  <a:pt x="160" y="234"/>
                  <a:pt x="160" y="234"/>
                  <a:pt x="160" y="234"/>
                </a:cubicBezTo>
                <a:cubicBezTo>
                  <a:pt x="154" y="234"/>
                  <a:pt x="149" y="230"/>
                  <a:pt x="149" y="224"/>
                </a:cubicBezTo>
                <a:cubicBezTo>
                  <a:pt x="149" y="213"/>
                  <a:pt x="149" y="213"/>
                  <a:pt x="149" y="213"/>
                </a:cubicBezTo>
                <a:cubicBezTo>
                  <a:pt x="149" y="207"/>
                  <a:pt x="154" y="202"/>
                  <a:pt x="160" y="202"/>
                </a:cubicBezTo>
                <a:cubicBezTo>
                  <a:pt x="170" y="202"/>
                  <a:pt x="170" y="202"/>
                  <a:pt x="170" y="202"/>
                </a:cubicBezTo>
                <a:cubicBezTo>
                  <a:pt x="176" y="202"/>
                  <a:pt x="181" y="207"/>
                  <a:pt x="181" y="213"/>
                </a:cubicBezTo>
                <a:lnTo>
                  <a:pt x="181" y="224"/>
                </a:lnTo>
                <a:close/>
                <a:moveTo>
                  <a:pt x="181" y="288"/>
                </a:moveTo>
                <a:cubicBezTo>
                  <a:pt x="181" y="294"/>
                  <a:pt x="176" y="298"/>
                  <a:pt x="170" y="298"/>
                </a:cubicBezTo>
                <a:cubicBezTo>
                  <a:pt x="160" y="298"/>
                  <a:pt x="160" y="298"/>
                  <a:pt x="160" y="298"/>
                </a:cubicBezTo>
                <a:cubicBezTo>
                  <a:pt x="154" y="298"/>
                  <a:pt x="149" y="294"/>
                  <a:pt x="149" y="288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49" y="271"/>
                  <a:pt x="154" y="266"/>
                  <a:pt x="160" y="266"/>
                </a:cubicBezTo>
                <a:cubicBezTo>
                  <a:pt x="170" y="266"/>
                  <a:pt x="170" y="266"/>
                  <a:pt x="170" y="266"/>
                </a:cubicBezTo>
                <a:cubicBezTo>
                  <a:pt x="176" y="266"/>
                  <a:pt x="181" y="271"/>
                  <a:pt x="181" y="277"/>
                </a:cubicBezTo>
                <a:lnTo>
                  <a:pt x="181" y="288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5" y="320"/>
                </a:moveTo>
                <a:cubicBezTo>
                  <a:pt x="405" y="326"/>
                  <a:pt x="400" y="330"/>
                  <a:pt x="394" y="330"/>
                </a:cubicBezTo>
                <a:cubicBezTo>
                  <a:pt x="138" y="330"/>
                  <a:pt x="138" y="330"/>
                  <a:pt x="138" y="330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8" y="390"/>
                  <a:pt x="134" y="394"/>
                  <a:pt x="128" y="394"/>
                </a:cubicBezTo>
                <a:cubicBezTo>
                  <a:pt x="122" y="394"/>
                  <a:pt x="117" y="390"/>
                  <a:pt x="117" y="384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7" y="143"/>
                  <a:pt x="122" y="138"/>
                  <a:pt x="128" y="138"/>
                </a:cubicBezTo>
                <a:cubicBezTo>
                  <a:pt x="394" y="138"/>
                  <a:pt x="394" y="138"/>
                  <a:pt x="394" y="138"/>
                </a:cubicBezTo>
                <a:cubicBezTo>
                  <a:pt x="400" y="138"/>
                  <a:pt x="405" y="143"/>
                  <a:pt x="405" y="149"/>
                </a:cubicBezTo>
                <a:lnTo>
                  <a:pt x="405" y="3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9" name="Group 911"/>
          <p:cNvGrpSpPr>
            <a:grpSpLocks noChangeAspect="1"/>
          </p:cNvGrpSpPr>
          <p:nvPr/>
        </p:nvGrpSpPr>
        <p:grpSpPr bwMode="auto">
          <a:xfrm>
            <a:off x="2915048" y="3751234"/>
            <a:ext cx="367982" cy="367982"/>
            <a:chOff x="5456" y="4321"/>
            <a:chExt cx="340" cy="340"/>
          </a:xfrm>
          <a:solidFill>
            <a:schemeClr val="accent4"/>
          </a:solidFill>
        </p:grpSpPr>
        <p:sp>
          <p:nvSpPr>
            <p:cNvPr id="150" name="Freeform 912"/>
            <p:cNvSpPr>
              <a:spLocks noEditPoints="1"/>
            </p:cNvSpPr>
            <p:nvPr/>
          </p:nvSpPr>
          <p:spPr bwMode="auto">
            <a:xfrm>
              <a:off x="5456" y="432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Freeform 913"/>
            <p:cNvSpPr>
              <a:spLocks noEditPoints="1"/>
            </p:cNvSpPr>
            <p:nvPr/>
          </p:nvSpPr>
          <p:spPr bwMode="auto">
            <a:xfrm>
              <a:off x="5534" y="4413"/>
              <a:ext cx="191" cy="170"/>
            </a:xfrm>
            <a:custGeom>
              <a:avLst/>
              <a:gdLst>
                <a:gd name="T0" fmla="*/ 75 w 288"/>
                <a:gd name="T1" fmla="*/ 32 h 256"/>
                <a:gd name="T2" fmla="*/ 96 w 288"/>
                <a:gd name="T3" fmla="*/ 54 h 256"/>
                <a:gd name="T4" fmla="*/ 64 w 288"/>
                <a:gd name="T5" fmla="*/ 54 h 256"/>
                <a:gd name="T6" fmla="*/ 117 w 288"/>
                <a:gd name="T7" fmla="*/ 96 h 256"/>
                <a:gd name="T8" fmla="*/ 117 w 288"/>
                <a:gd name="T9" fmla="*/ 64 h 256"/>
                <a:gd name="T10" fmla="*/ 96 w 288"/>
                <a:gd name="T11" fmla="*/ 86 h 256"/>
                <a:gd name="T12" fmla="*/ 64 w 288"/>
                <a:gd name="T13" fmla="*/ 86 h 256"/>
                <a:gd name="T14" fmla="*/ 43 w 288"/>
                <a:gd name="T15" fmla="*/ 64 h 256"/>
                <a:gd name="T16" fmla="*/ 43 w 288"/>
                <a:gd name="T17" fmla="*/ 96 h 256"/>
                <a:gd name="T18" fmla="*/ 160 w 288"/>
                <a:gd name="T19" fmla="*/ 54 h 256"/>
                <a:gd name="T20" fmla="*/ 139 w 288"/>
                <a:gd name="T21" fmla="*/ 32 h 256"/>
                <a:gd name="T22" fmla="*/ 139 w 288"/>
                <a:gd name="T23" fmla="*/ 64 h 256"/>
                <a:gd name="T24" fmla="*/ 224 w 288"/>
                <a:gd name="T25" fmla="*/ 54 h 256"/>
                <a:gd name="T26" fmla="*/ 203 w 288"/>
                <a:gd name="T27" fmla="*/ 32 h 256"/>
                <a:gd name="T28" fmla="*/ 203 w 288"/>
                <a:gd name="T29" fmla="*/ 64 h 256"/>
                <a:gd name="T30" fmla="*/ 245 w 288"/>
                <a:gd name="T31" fmla="*/ 96 h 256"/>
                <a:gd name="T32" fmla="*/ 245 w 288"/>
                <a:gd name="T33" fmla="*/ 64 h 256"/>
                <a:gd name="T34" fmla="*/ 224 w 288"/>
                <a:gd name="T35" fmla="*/ 86 h 256"/>
                <a:gd name="T36" fmla="*/ 181 w 288"/>
                <a:gd name="T37" fmla="*/ 96 h 256"/>
                <a:gd name="T38" fmla="*/ 181 w 288"/>
                <a:gd name="T39" fmla="*/ 64 h 256"/>
                <a:gd name="T40" fmla="*/ 160 w 288"/>
                <a:gd name="T41" fmla="*/ 86 h 256"/>
                <a:gd name="T42" fmla="*/ 96 w 288"/>
                <a:gd name="T43" fmla="*/ 139 h 256"/>
                <a:gd name="T44" fmla="*/ 117 w 288"/>
                <a:gd name="T45" fmla="*/ 160 h 256"/>
                <a:gd name="T46" fmla="*/ 117 w 288"/>
                <a:gd name="T47" fmla="*/ 128 h 256"/>
                <a:gd name="T48" fmla="*/ 64 w 288"/>
                <a:gd name="T49" fmla="*/ 150 h 256"/>
                <a:gd name="T50" fmla="*/ 43 w 288"/>
                <a:gd name="T51" fmla="*/ 128 h 256"/>
                <a:gd name="T52" fmla="*/ 43 w 288"/>
                <a:gd name="T53" fmla="*/ 160 h 256"/>
                <a:gd name="T54" fmla="*/ 224 w 288"/>
                <a:gd name="T55" fmla="*/ 139 h 256"/>
                <a:gd name="T56" fmla="*/ 245 w 288"/>
                <a:gd name="T57" fmla="*/ 160 h 256"/>
                <a:gd name="T58" fmla="*/ 245 w 288"/>
                <a:gd name="T59" fmla="*/ 128 h 256"/>
                <a:gd name="T60" fmla="*/ 160 w 288"/>
                <a:gd name="T61" fmla="*/ 139 h 256"/>
                <a:gd name="T62" fmla="*/ 181 w 288"/>
                <a:gd name="T63" fmla="*/ 160 h 256"/>
                <a:gd name="T64" fmla="*/ 181 w 288"/>
                <a:gd name="T65" fmla="*/ 128 h 256"/>
                <a:gd name="T66" fmla="*/ 75 w 288"/>
                <a:gd name="T67" fmla="*/ 96 h 256"/>
                <a:gd name="T68" fmla="*/ 75 w 288"/>
                <a:gd name="T69" fmla="*/ 128 h 256"/>
                <a:gd name="T70" fmla="*/ 96 w 288"/>
                <a:gd name="T71" fmla="*/ 107 h 256"/>
                <a:gd name="T72" fmla="*/ 139 w 288"/>
                <a:gd name="T73" fmla="*/ 96 h 256"/>
                <a:gd name="T74" fmla="*/ 139 w 288"/>
                <a:gd name="T75" fmla="*/ 128 h 256"/>
                <a:gd name="T76" fmla="*/ 160 w 288"/>
                <a:gd name="T77" fmla="*/ 107 h 256"/>
                <a:gd name="T78" fmla="*/ 203 w 288"/>
                <a:gd name="T79" fmla="*/ 96 h 256"/>
                <a:gd name="T80" fmla="*/ 203 w 288"/>
                <a:gd name="T81" fmla="*/ 128 h 256"/>
                <a:gd name="T82" fmla="*/ 224 w 288"/>
                <a:gd name="T83" fmla="*/ 107 h 256"/>
                <a:gd name="T84" fmla="*/ 277 w 288"/>
                <a:gd name="T85" fmla="*/ 192 h 256"/>
                <a:gd name="T86" fmla="*/ 11 w 288"/>
                <a:gd name="T87" fmla="*/ 256 h 256"/>
                <a:gd name="T88" fmla="*/ 0 w 288"/>
                <a:gd name="T89" fmla="*/ 11 h 256"/>
                <a:gd name="T90" fmla="*/ 288 w 288"/>
                <a:gd name="T91" fmla="*/ 11 h 256"/>
                <a:gd name="T92" fmla="*/ 21 w 288"/>
                <a:gd name="T93" fmla="*/ 17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8" h="256">
                  <a:moveTo>
                    <a:pt x="64" y="54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37"/>
                    <a:pt x="69" y="32"/>
                    <a:pt x="7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91" y="32"/>
                    <a:pt x="96" y="37"/>
                    <a:pt x="96" y="43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60"/>
                    <a:pt x="91" y="64"/>
                    <a:pt x="8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69" y="64"/>
                    <a:pt x="64" y="60"/>
                    <a:pt x="64" y="54"/>
                  </a:cubicBezTo>
                  <a:close/>
                  <a:moveTo>
                    <a:pt x="96" y="86"/>
                  </a:moveTo>
                  <a:cubicBezTo>
                    <a:pt x="96" y="92"/>
                    <a:pt x="101" y="96"/>
                    <a:pt x="107" y="96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23" y="96"/>
                    <a:pt x="128" y="92"/>
                    <a:pt x="128" y="86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69"/>
                    <a:pt x="123" y="64"/>
                    <a:pt x="117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1" y="64"/>
                    <a:pt x="96" y="69"/>
                    <a:pt x="96" y="75"/>
                  </a:cubicBezTo>
                  <a:lnTo>
                    <a:pt x="96" y="86"/>
                  </a:lnTo>
                  <a:close/>
                  <a:moveTo>
                    <a:pt x="43" y="96"/>
                  </a:moveTo>
                  <a:cubicBezTo>
                    <a:pt x="53" y="96"/>
                    <a:pt x="53" y="96"/>
                    <a:pt x="53" y="96"/>
                  </a:cubicBezTo>
                  <a:cubicBezTo>
                    <a:pt x="59" y="96"/>
                    <a:pt x="64" y="92"/>
                    <a:pt x="64" y="8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69"/>
                    <a:pt x="59" y="64"/>
                    <a:pt x="5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37" y="64"/>
                    <a:pt x="32" y="69"/>
                    <a:pt x="32" y="75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92"/>
                    <a:pt x="37" y="96"/>
                    <a:pt x="43" y="96"/>
                  </a:cubicBezTo>
                  <a:close/>
                  <a:moveTo>
                    <a:pt x="139" y="64"/>
                  </a:moveTo>
                  <a:cubicBezTo>
                    <a:pt x="149" y="64"/>
                    <a:pt x="149" y="64"/>
                    <a:pt x="149" y="64"/>
                  </a:cubicBezTo>
                  <a:cubicBezTo>
                    <a:pt x="155" y="64"/>
                    <a:pt x="160" y="60"/>
                    <a:pt x="160" y="54"/>
                  </a:cubicBezTo>
                  <a:cubicBezTo>
                    <a:pt x="160" y="43"/>
                    <a:pt x="160" y="43"/>
                    <a:pt x="160" y="43"/>
                  </a:cubicBezTo>
                  <a:cubicBezTo>
                    <a:pt x="160" y="37"/>
                    <a:pt x="155" y="32"/>
                    <a:pt x="14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3" y="32"/>
                    <a:pt x="128" y="37"/>
                    <a:pt x="128" y="43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60"/>
                    <a:pt x="133" y="64"/>
                    <a:pt x="139" y="64"/>
                  </a:cubicBezTo>
                  <a:close/>
                  <a:moveTo>
                    <a:pt x="203" y="64"/>
                  </a:moveTo>
                  <a:cubicBezTo>
                    <a:pt x="213" y="64"/>
                    <a:pt x="213" y="64"/>
                    <a:pt x="213" y="64"/>
                  </a:cubicBezTo>
                  <a:cubicBezTo>
                    <a:pt x="219" y="64"/>
                    <a:pt x="224" y="60"/>
                    <a:pt x="224" y="54"/>
                  </a:cubicBezTo>
                  <a:cubicBezTo>
                    <a:pt x="224" y="43"/>
                    <a:pt x="224" y="43"/>
                    <a:pt x="224" y="43"/>
                  </a:cubicBezTo>
                  <a:cubicBezTo>
                    <a:pt x="224" y="37"/>
                    <a:pt x="219" y="32"/>
                    <a:pt x="213" y="32"/>
                  </a:cubicBezTo>
                  <a:cubicBezTo>
                    <a:pt x="203" y="32"/>
                    <a:pt x="203" y="32"/>
                    <a:pt x="203" y="32"/>
                  </a:cubicBezTo>
                  <a:cubicBezTo>
                    <a:pt x="197" y="32"/>
                    <a:pt x="192" y="37"/>
                    <a:pt x="192" y="43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92" y="60"/>
                    <a:pt x="197" y="64"/>
                    <a:pt x="203" y="64"/>
                  </a:cubicBezTo>
                  <a:close/>
                  <a:moveTo>
                    <a:pt x="224" y="86"/>
                  </a:moveTo>
                  <a:cubicBezTo>
                    <a:pt x="224" y="92"/>
                    <a:pt x="229" y="96"/>
                    <a:pt x="235" y="96"/>
                  </a:cubicBezTo>
                  <a:cubicBezTo>
                    <a:pt x="245" y="96"/>
                    <a:pt x="245" y="96"/>
                    <a:pt x="245" y="96"/>
                  </a:cubicBezTo>
                  <a:cubicBezTo>
                    <a:pt x="251" y="96"/>
                    <a:pt x="256" y="92"/>
                    <a:pt x="256" y="86"/>
                  </a:cubicBezTo>
                  <a:cubicBezTo>
                    <a:pt x="256" y="75"/>
                    <a:pt x="256" y="75"/>
                    <a:pt x="256" y="75"/>
                  </a:cubicBezTo>
                  <a:cubicBezTo>
                    <a:pt x="256" y="69"/>
                    <a:pt x="251" y="64"/>
                    <a:pt x="245" y="64"/>
                  </a:cubicBezTo>
                  <a:cubicBezTo>
                    <a:pt x="235" y="64"/>
                    <a:pt x="235" y="64"/>
                    <a:pt x="235" y="64"/>
                  </a:cubicBezTo>
                  <a:cubicBezTo>
                    <a:pt x="229" y="64"/>
                    <a:pt x="224" y="69"/>
                    <a:pt x="224" y="75"/>
                  </a:cubicBezTo>
                  <a:lnTo>
                    <a:pt x="224" y="86"/>
                  </a:lnTo>
                  <a:close/>
                  <a:moveTo>
                    <a:pt x="160" y="86"/>
                  </a:moveTo>
                  <a:cubicBezTo>
                    <a:pt x="160" y="92"/>
                    <a:pt x="165" y="96"/>
                    <a:pt x="171" y="96"/>
                  </a:cubicBezTo>
                  <a:cubicBezTo>
                    <a:pt x="181" y="96"/>
                    <a:pt x="181" y="96"/>
                    <a:pt x="181" y="96"/>
                  </a:cubicBezTo>
                  <a:cubicBezTo>
                    <a:pt x="187" y="96"/>
                    <a:pt x="192" y="92"/>
                    <a:pt x="192" y="86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2" y="69"/>
                    <a:pt x="187" y="64"/>
                    <a:pt x="181" y="64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65" y="64"/>
                    <a:pt x="160" y="69"/>
                    <a:pt x="160" y="75"/>
                  </a:cubicBezTo>
                  <a:lnTo>
                    <a:pt x="160" y="86"/>
                  </a:lnTo>
                  <a:close/>
                  <a:moveTo>
                    <a:pt x="117" y="128"/>
                  </a:moveTo>
                  <a:cubicBezTo>
                    <a:pt x="107" y="128"/>
                    <a:pt x="107" y="128"/>
                    <a:pt x="107" y="128"/>
                  </a:cubicBezTo>
                  <a:cubicBezTo>
                    <a:pt x="101" y="128"/>
                    <a:pt x="96" y="133"/>
                    <a:pt x="96" y="139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6"/>
                    <a:pt x="101" y="160"/>
                    <a:pt x="107" y="160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3" y="160"/>
                    <a:pt x="128" y="156"/>
                    <a:pt x="128" y="150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8" y="133"/>
                    <a:pt x="123" y="128"/>
                    <a:pt x="117" y="128"/>
                  </a:cubicBezTo>
                  <a:close/>
                  <a:moveTo>
                    <a:pt x="43" y="160"/>
                  </a:moveTo>
                  <a:cubicBezTo>
                    <a:pt x="53" y="160"/>
                    <a:pt x="53" y="160"/>
                    <a:pt x="53" y="160"/>
                  </a:cubicBezTo>
                  <a:cubicBezTo>
                    <a:pt x="59" y="160"/>
                    <a:pt x="64" y="156"/>
                    <a:pt x="64" y="150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3"/>
                    <a:pt x="59" y="128"/>
                    <a:pt x="53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2" y="156"/>
                    <a:pt x="37" y="160"/>
                    <a:pt x="43" y="160"/>
                  </a:cubicBezTo>
                  <a:close/>
                  <a:moveTo>
                    <a:pt x="245" y="128"/>
                  </a:moveTo>
                  <a:cubicBezTo>
                    <a:pt x="235" y="128"/>
                    <a:pt x="235" y="128"/>
                    <a:pt x="235" y="128"/>
                  </a:cubicBezTo>
                  <a:cubicBezTo>
                    <a:pt x="229" y="128"/>
                    <a:pt x="224" y="133"/>
                    <a:pt x="224" y="139"/>
                  </a:cubicBezTo>
                  <a:cubicBezTo>
                    <a:pt x="224" y="150"/>
                    <a:pt x="224" y="150"/>
                    <a:pt x="224" y="150"/>
                  </a:cubicBezTo>
                  <a:cubicBezTo>
                    <a:pt x="224" y="156"/>
                    <a:pt x="229" y="160"/>
                    <a:pt x="235" y="160"/>
                  </a:cubicBezTo>
                  <a:cubicBezTo>
                    <a:pt x="245" y="160"/>
                    <a:pt x="245" y="160"/>
                    <a:pt x="245" y="160"/>
                  </a:cubicBezTo>
                  <a:cubicBezTo>
                    <a:pt x="251" y="160"/>
                    <a:pt x="256" y="156"/>
                    <a:pt x="256" y="150"/>
                  </a:cubicBezTo>
                  <a:cubicBezTo>
                    <a:pt x="256" y="139"/>
                    <a:pt x="256" y="139"/>
                    <a:pt x="256" y="139"/>
                  </a:cubicBezTo>
                  <a:cubicBezTo>
                    <a:pt x="256" y="133"/>
                    <a:pt x="251" y="128"/>
                    <a:pt x="245" y="128"/>
                  </a:cubicBezTo>
                  <a:close/>
                  <a:moveTo>
                    <a:pt x="181" y="128"/>
                  </a:moveTo>
                  <a:cubicBezTo>
                    <a:pt x="171" y="128"/>
                    <a:pt x="171" y="128"/>
                    <a:pt x="171" y="128"/>
                  </a:cubicBezTo>
                  <a:cubicBezTo>
                    <a:pt x="165" y="128"/>
                    <a:pt x="160" y="133"/>
                    <a:pt x="160" y="139"/>
                  </a:cubicBezTo>
                  <a:cubicBezTo>
                    <a:pt x="160" y="150"/>
                    <a:pt x="160" y="150"/>
                    <a:pt x="160" y="150"/>
                  </a:cubicBezTo>
                  <a:cubicBezTo>
                    <a:pt x="160" y="156"/>
                    <a:pt x="165" y="160"/>
                    <a:pt x="171" y="160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87" y="160"/>
                    <a:pt x="192" y="156"/>
                    <a:pt x="192" y="150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3"/>
                    <a:pt x="187" y="128"/>
                    <a:pt x="181" y="128"/>
                  </a:cubicBezTo>
                  <a:close/>
                  <a:moveTo>
                    <a:pt x="96" y="107"/>
                  </a:moveTo>
                  <a:cubicBezTo>
                    <a:pt x="96" y="101"/>
                    <a:pt x="91" y="96"/>
                    <a:pt x="85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69" y="96"/>
                    <a:pt x="64" y="101"/>
                    <a:pt x="64" y="10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24"/>
                    <a:pt x="69" y="128"/>
                    <a:pt x="75" y="128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1" y="128"/>
                    <a:pt x="96" y="124"/>
                    <a:pt x="96" y="118"/>
                  </a:cubicBezTo>
                  <a:lnTo>
                    <a:pt x="96" y="107"/>
                  </a:lnTo>
                  <a:close/>
                  <a:moveTo>
                    <a:pt x="160" y="107"/>
                  </a:moveTo>
                  <a:cubicBezTo>
                    <a:pt x="160" y="101"/>
                    <a:pt x="155" y="96"/>
                    <a:pt x="149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3" y="96"/>
                    <a:pt x="128" y="101"/>
                    <a:pt x="128" y="107"/>
                  </a:cubicBezTo>
                  <a:cubicBezTo>
                    <a:pt x="128" y="118"/>
                    <a:pt x="128" y="118"/>
                    <a:pt x="128" y="118"/>
                  </a:cubicBezTo>
                  <a:cubicBezTo>
                    <a:pt x="128" y="124"/>
                    <a:pt x="133" y="128"/>
                    <a:pt x="139" y="128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55" y="128"/>
                    <a:pt x="160" y="124"/>
                    <a:pt x="160" y="118"/>
                  </a:cubicBezTo>
                  <a:lnTo>
                    <a:pt x="160" y="107"/>
                  </a:lnTo>
                  <a:close/>
                  <a:moveTo>
                    <a:pt x="224" y="107"/>
                  </a:moveTo>
                  <a:cubicBezTo>
                    <a:pt x="224" y="101"/>
                    <a:pt x="219" y="96"/>
                    <a:pt x="213" y="96"/>
                  </a:cubicBezTo>
                  <a:cubicBezTo>
                    <a:pt x="203" y="96"/>
                    <a:pt x="203" y="96"/>
                    <a:pt x="203" y="96"/>
                  </a:cubicBezTo>
                  <a:cubicBezTo>
                    <a:pt x="197" y="96"/>
                    <a:pt x="192" y="101"/>
                    <a:pt x="192" y="107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24"/>
                    <a:pt x="197" y="128"/>
                    <a:pt x="203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9" y="128"/>
                    <a:pt x="224" y="124"/>
                    <a:pt x="224" y="118"/>
                  </a:cubicBezTo>
                  <a:lnTo>
                    <a:pt x="224" y="107"/>
                  </a:lnTo>
                  <a:close/>
                  <a:moveTo>
                    <a:pt x="288" y="11"/>
                  </a:moveTo>
                  <a:cubicBezTo>
                    <a:pt x="288" y="182"/>
                    <a:pt x="288" y="182"/>
                    <a:pt x="288" y="182"/>
                  </a:cubicBezTo>
                  <a:cubicBezTo>
                    <a:pt x="288" y="188"/>
                    <a:pt x="283" y="192"/>
                    <a:pt x="277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246"/>
                    <a:pt x="21" y="246"/>
                    <a:pt x="21" y="246"/>
                  </a:cubicBezTo>
                  <a:cubicBezTo>
                    <a:pt x="21" y="252"/>
                    <a:pt x="17" y="256"/>
                    <a:pt x="11" y="256"/>
                  </a:cubicBezTo>
                  <a:cubicBezTo>
                    <a:pt x="5" y="256"/>
                    <a:pt x="0" y="252"/>
                    <a:pt x="0" y="246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283" y="0"/>
                    <a:pt x="288" y="5"/>
                    <a:pt x="288" y="11"/>
                  </a:cubicBezTo>
                  <a:close/>
                  <a:moveTo>
                    <a:pt x="267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67" y="171"/>
                    <a:pt x="267" y="171"/>
                    <a:pt x="267" y="171"/>
                  </a:cubicBezTo>
                  <a:lnTo>
                    <a:pt x="26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2" name="Group 1038"/>
          <p:cNvGrpSpPr>
            <a:grpSpLocks noChangeAspect="1"/>
          </p:cNvGrpSpPr>
          <p:nvPr/>
        </p:nvGrpSpPr>
        <p:grpSpPr bwMode="auto">
          <a:xfrm>
            <a:off x="3910242" y="3751238"/>
            <a:ext cx="369021" cy="369021"/>
            <a:chOff x="394" y="3989"/>
            <a:chExt cx="340" cy="340"/>
          </a:xfrm>
          <a:solidFill>
            <a:schemeClr val="accent5"/>
          </a:solidFill>
        </p:grpSpPr>
        <p:sp>
          <p:nvSpPr>
            <p:cNvPr id="153" name="Freeform 1039"/>
            <p:cNvSpPr>
              <a:spLocks noEditPoints="1"/>
            </p:cNvSpPr>
            <p:nvPr/>
          </p:nvSpPr>
          <p:spPr bwMode="auto">
            <a:xfrm>
              <a:off x="394" y="398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Freeform 1040"/>
            <p:cNvSpPr>
              <a:spLocks noEditPoints="1"/>
            </p:cNvSpPr>
            <p:nvPr/>
          </p:nvSpPr>
          <p:spPr bwMode="auto">
            <a:xfrm>
              <a:off x="471" y="4053"/>
              <a:ext cx="185" cy="201"/>
            </a:xfrm>
            <a:custGeom>
              <a:avLst/>
              <a:gdLst>
                <a:gd name="T0" fmla="*/ 265 w 279"/>
                <a:gd name="T1" fmla="*/ 301 h 303"/>
                <a:gd name="T2" fmla="*/ 225 w 279"/>
                <a:gd name="T3" fmla="*/ 302 h 303"/>
                <a:gd name="T4" fmla="*/ 172 w 279"/>
                <a:gd name="T5" fmla="*/ 302 h 303"/>
                <a:gd name="T6" fmla="*/ 140 w 279"/>
                <a:gd name="T7" fmla="*/ 292 h 303"/>
                <a:gd name="T8" fmla="*/ 87 w 279"/>
                <a:gd name="T9" fmla="*/ 292 h 303"/>
                <a:gd name="T10" fmla="*/ 34 w 279"/>
                <a:gd name="T11" fmla="*/ 292 h 303"/>
                <a:gd name="T12" fmla="*/ 1 w 279"/>
                <a:gd name="T13" fmla="*/ 293 h 303"/>
                <a:gd name="T14" fmla="*/ 24 w 279"/>
                <a:gd name="T15" fmla="*/ 271 h 303"/>
                <a:gd name="T16" fmla="*/ 41 w 279"/>
                <a:gd name="T17" fmla="*/ 269 h 303"/>
                <a:gd name="T18" fmla="*/ 77 w 279"/>
                <a:gd name="T19" fmla="*/ 271 h 303"/>
                <a:gd name="T20" fmla="*/ 94 w 279"/>
                <a:gd name="T21" fmla="*/ 269 h 303"/>
                <a:gd name="T22" fmla="*/ 131 w 279"/>
                <a:gd name="T23" fmla="*/ 271 h 303"/>
                <a:gd name="T24" fmla="*/ 147 w 279"/>
                <a:gd name="T25" fmla="*/ 269 h 303"/>
                <a:gd name="T26" fmla="*/ 184 w 279"/>
                <a:gd name="T27" fmla="*/ 271 h 303"/>
                <a:gd name="T28" fmla="*/ 201 w 279"/>
                <a:gd name="T29" fmla="*/ 269 h 303"/>
                <a:gd name="T30" fmla="*/ 238 w 279"/>
                <a:gd name="T31" fmla="*/ 271 h 303"/>
                <a:gd name="T32" fmla="*/ 254 w 279"/>
                <a:gd name="T33" fmla="*/ 269 h 303"/>
                <a:gd name="T34" fmla="*/ 278 w 279"/>
                <a:gd name="T35" fmla="*/ 293 h 303"/>
                <a:gd name="T36" fmla="*/ 20 w 279"/>
                <a:gd name="T37" fmla="*/ 149 h 303"/>
                <a:gd name="T38" fmla="*/ 65 w 279"/>
                <a:gd name="T39" fmla="*/ 51 h 303"/>
                <a:gd name="T40" fmla="*/ 97 w 279"/>
                <a:gd name="T41" fmla="*/ 42 h 303"/>
                <a:gd name="T42" fmla="*/ 108 w 279"/>
                <a:gd name="T43" fmla="*/ 0 h 303"/>
                <a:gd name="T44" fmla="*/ 182 w 279"/>
                <a:gd name="T45" fmla="*/ 10 h 303"/>
                <a:gd name="T46" fmla="*/ 204 w 279"/>
                <a:gd name="T47" fmla="*/ 42 h 303"/>
                <a:gd name="T48" fmla="*/ 234 w 279"/>
                <a:gd name="T49" fmla="*/ 142 h 303"/>
                <a:gd name="T50" fmla="*/ 267 w 279"/>
                <a:gd name="T51" fmla="*/ 162 h 303"/>
                <a:gd name="T52" fmla="*/ 236 w 279"/>
                <a:gd name="T53" fmla="*/ 256 h 303"/>
                <a:gd name="T54" fmla="*/ 225 w 279"/>
                <a:gd name="T55" fmla="*/ 242 h 303"/>
                <a:gd name="T56" fmla="*/ 150 w 279"/>
                <a:gd name="T57" fmla="*/ 142 h 303"/>
                <a:gd name="T58" fmla="*/ 140 w 279"/>
                <a:gd name="T59" fmla="*/ 245 h 303"/>
                <a:gd name="T60" fmla="*/ 129 w 279"/>
                <a:gd name="T61" fmla="*/ 142 h 303"/>
                <a:gd name="T62" fmla="*/ 54 w 279"/>
                <a:gd name="T63" fmla="*/ 242 h 303"/>
                <a:gd name="T64" fmla="*/ 33 w 279"/>
                <a:gd name="T65" fmla="*/ 248 h 303"/>
                <a:gd name="T66" fmla="*/ 118 w 279"/>
                <a:gd name="T67" fmla="*/ 42 h 303"/>
                <a:gd name="T68" fmla="*/ 161 w 279"/>
                <a:gd name="T69" fmla="*/ 21 h 303"/>
                <a:gd name="T70" fmla="*/ 118 w 279"/>
                <a:gd name="T71" fmla="*/ 42 h 303"/>
                <a:gd name="T72" fmla="*/ 137 w 279"/>
                <a:gd name="T73" fmla="*/ 117 h 303"/>
                <a:gd name="T74" fmla="*/ 211 w 279"/>
                <a:gd name="T75" fmla="*/ 136 h 303"/>
                <a:gd name="T76" fmla="*/ 84 w 279"/>
                <a:gd name="T77" fmla="*/ 6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9" h="303">
                  <a:moveTo>
                    <a:pt x="278" y="293"/>
                  </a:moveTo>
                  <a:cubicBezTo>
                    <a:pt x="277" y="299"/>
                    <a:pt x="271" y="302"/>
                    <a:pt x="265" y="301"/>
                  </a:cubicBezTo>
                  <a:cubicBezTo>
                    <a:pt x="259" y="299"/>
                    <a:pt x="253" y="296"/>
                    <a:pt x="247" y="292"/>
                  </a:cubicBezTo>
                  <a:cubicBezTo>
                    <a:pt x="242" y="296"/>
                    <a:pt x="234" y="301"/>
                    <a:pt x="225" y="302"/>
                  </a:cubicBezTo>
                  <a:cubicBezTo>
                    <a:pt x="214" y="303"/>
                    <a:pt x="204" y="299"/>
                    <a:pt x="194" y="292"/>
                  </a:cubicBezTo>
                  <a:cubicBezTo>
                    <a:pt x="189" y="296"/>
                    <a:pt x="181" y="301"/>
                    <a:pt x="172" y="302"/>
                  </a:cubicBezTo>
                  <a:cubicBezTo>
                    <a:pt x="170" y="302"/>
                    <a:pt x="169" y="302"/>
                    <a:pt x="168" y="302"/>
                  </a:cubicBezTo>
                  <a:cubicBezTo>
                    <a:pt x="159" y="302"/>
                    <a:pt x="149" y="299"/>
                    <a:pt x="140" y="292"/>
                  </a:cubicBezTo>
                  <a:cubicBezTo>
                    <a:pt x="135" y="296"/>
                    <a:pt x="128" y="301"/>
                    <a:pt x="118" y="302"/>
                  </a:cubicBezTo>
                  <a:cubicBezTo>
                    <a:pt x="108" y="303"/>
                    <a:pt x="97" y="299"/>
                    <a:pt x="87" y="292"/>
                  </a:cubicBezTo>
                  <a:cubicBezTo>
                    <a:pt x="82" y="296"/>
                    <a:pt x="75" y="301"/>
                    <a:pt x="65" y="302"/>
                  </a:cubicBezTo>
                  <a:cubicBezTo>
                    <a:pt x="54" y="303"/>
                    <a:pt x="44" y="300"/>
                    <a:pt x="34" y="292"/>
                  </a:cubicBezTo>
                  <a:cubicBezTo>
                    <a:pt x="29" y="296"/>
                    <a:pt x="22" y="300"/>
                    <a:pt x="13" y="302"/>
                  </a:cubicBezTo>
                  <a:cubicBezTo>
                    <a:pt x="7" y="302"/>
                    <a:pt x="2" y="298"/>
                    <a:pt x="1" y="293"/>
                  </a:cubicBezTo>
                  <a:cubicBezTo>
                    <a:pt x="0" y="287"/>
                    <a:pt x="4" y="281"/>
                    <a:pt x="10" y="280"/>
                  </a:cubicBezTo>
                  <a:cubicBezTo>
                    <a:pt x="18" y="279"/>
                    <a:pt x="24" y="271"/>
                    <a:pt x="24" y="271"/>
                  </a:cubicBezTo>
                  <a:cubicBezTo>
                    <a:pt x="26" y="268"/>
                    <a:pt x="29" y="267"/>
                    <a:pt x="32" y="266"/>
                  </a:cubicBezTo>
                  <a:cubicBezTo>
                    <a:pt x="35" y="266"/>
                    <a:pt x="38" y="267"/>
                    <a:pt x="41" y="269"/>
                  </a:cubicBezTo>
                  <a:cubicBezTo>
                    <a:pt x="49" y="277"/>
                    <a:pt x="56" y="281"/>
                    <a:pt x="63" y="281"/>
                  </a:cubicBezTo>
                  <a:cubicBezTo>
                    <a:pt x="71" y="280"/>
                    <a:pt x="77" y="271"/>
                    <a:pt x="77" y="271"/>
                  </a:cubicBezTo>
                  <a:cubicBezTo>
                    <a:pt x="79" y="268"/>
                    <a:pt x="82" y="267"/>
                    <a:pt x="85" y="266"/>
                  </a:cubicBezTo>
                  <a:cubicBezTo>
                    <a:pt x="89" y="266"/>
                    <a:pt x="92" y="267"/>
                    <a:pt x="94" y="269"/>
                  </a:cubicBezTo>
                  <a:cubicBezTo>
                    <a:pt x="102" y="277"/>
                    <a:pt x="109" y="281"/>
                    <a:pt x="116" y="281"/>
                  </a:cubicBezTo>
                  <a:cubicBezTo>
                    <a:pt x="125" y="280"/>
                    <a:pt x="131" y="271"/>
                    <a:pt x="131" y="271"/>
                  </a:cubicBezTo>
                  <a:cubicBezTo>
                    <a:pt x="133" y="268"/>
                    <a:pt x="136" y="267"/>
                    <a:pt x="139" y="266"/>
                  </a:cubicBezTo>
                  <a:cubicBezTo>
                    <a:pt x="142" y="266"/>
                    <a:pt x="145" y="267"/>
                    <a:pt x="147" y="269"/>
                  </a:cubicBezTo>
                  <a:cubicBezTo>
                    <a:pt x="155" y="277"/>
                    <a:pt x="163" y="281"/>
                    <a:pt x="169" y="281"/>
                  </a:cubicBezTo>
                  <a:cubicBezTo>
                    <a:pt x="178" y="280"/>
                    <a:pt x="184" y="271"/>
                    <a:pt x="184" y="271"/>
                  </a:cubicBezTo>
                  <a:cubicBezTo>
                    <a:pt x="186" y="268"/>
                    <a:pt x="189" y="267"/>
                    <a:pt x="192" y="266"/>
                  </a:cubicBezTo>
                  <a:cubicBezTo>
                    <a:pt x="195" y="266"/>
                    <a:pt x="198" y="267"/>
                    <a:pt x="201" y="269"/>
                  </a:cubicBezTo>
                  <a:cubicBezTo>
                    <a:pt x="208" y="277"/>
                    <a:pt x="216" y="281"/>
                    <a:pt x="222" y="280"/>
                  </a:cubicBezTo>
                  <a:cubicBezTo>
                    <a:pt x="231" y="280"/>
                    <a:pt x="237" y="271"/>
                    <a:pt x="238" y="271"/>
                  </a:cubicBezTo>
                  <a:cubicBezTo>
                    <a:pt x="239" y="268"/>
                    <a:pt x="242" y="267"/>
                    <a:pt x="245" y="266"/>
                  </a:cubicBezTo>
                  <a:cubicBezTo>
                    <a:pt x="248" y="266"/>
                    <a:pt x="252" y="267"/>
                    <a:pt x="254" y="269"/>
                  </a:cubicBezTo>
                  <a:cubicBezTo>
                    <a:pt x="260" y="275"/>
                    <a:pt x="265" y="279"/>
                    <a:pt x="270" y="280"/>
                  </a:cubicBezTo>
                  <a:cubicBezTo>
                    <a:pt x="276" y="281"/>
                    <a:pt x="279" y="287"/>
                    <a:pt x="278" y="293"/>
                  </a:cubicBezTo>
                  <a:close/>
                  <a:moveTo>
                    <a:pt x="12" y="162"/>
                  </a:moveTo>
                  <a:cubicBezTo>
                    <a:pt x="11" y="157"/>
                    <a:pt x="14" y="151"/>
                    <a:pt x="20" y="149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6" y="46"/>
                    <a:pt x="71" y="42"/>
                    <a:pt x="76" y="42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7" y="4"/>
                    <a:pt x="102" y="0"/>
                    <a:pt x="108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8" y="0"/>
                    <a:pt x="182" y="4"/>
                    <a:pt x="182" y="10"/>
                  </a:cubicBezTo>
                  <a:cubicBezTo>
                    <a:pt x="182" y="42"/>
                    <a:pt x="182" y="42"/>
                    <a:pt x="182" y="42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9" y="42"/>
                    <a:pt x="213" y="46"/>
                    <a:pt x="214" y="51"/>
                  </a:cubicBezTo>
                  <a:cubicBezTo>
                    <a:pt x="234" y="142"/>
                    <a:pt x="234" y="142"/>
                    <a:pt x="234" y="142"/>
                  </a:cubicBezTo>
                  <a:cubicBezTo>
                    <a:pt x="260" y="149"/>
                    <a:pt x="260" y="149"/>
                    <a:pt x="260" y="149"/>
                  </a:cubicBezTo>
                  <a:cubicBezTo>
                    <a:pt x="265" y="151"/>
                    <a:pt x="269" y="157"/>
                    <a:pt x="267" y="162"/>
                  </a:cubicBezTo>
                  <a:cubicBezTo>
                    <a:pt x="246" y="248"/>
                    <a:pt x="246" y="248"/>
                    <a:pt x="246" y="248"/>
                  </a:cubicBezTo>
                  <a:cubicBezTo>
                    <a:pt x="245" y="252"/>
                    <a:pt x="240" y="256"/>
                    <a:pt x="236" y="256"/>
                  </a:cubicBezTo>
                  <a:cubicBezTo>
                    <a:pt x="235" y="256"/>
                    <a:pt x="234" y="256"/>
                    <a:pt x="233" y="255"/>
                  </a:cubicBezTo>
                  <a:cubicBezTo>
                    <a:pt x="227" y="254"/>
                    <a:pt x="224" y="248"/>
                    <a:pt x="225" y="242"/>
                  </a:cubicBezTo>
                  <a:cubicBezTo>
                    <a:pt x="244" y="167"/>
                    <a:pt x="244" y="167"/>
                    <a:pt x="244" y="167"/>
                  </a:cubicBezTo>
                  <a:cubicBezTo>
                    <a:pt x="150" y="142"/>
                    <a:pt x="150" y="142"/>
                    <a:pt x="150" y="142"/>
                  </a:cubicBezTo>
                  <a:cubicBezTo>
                    <a:pt x="150" y="234"/>
                    <a:pt x="150" y="234"/>
                    <a:pt x="150" y="234"/>
                  </a:cubicBezTo>
                  <a:cubicBezTo>
                    <a:pt x="150" y="240"/>
                    <a:pt x="146" y="245"/>
                    <a:pt x="140" y="245"/>
                  </a:cubicBezTo>
                  <a:cubicBezTo>
                    <a:pt x="134" y="245"/>
                    <a:pt x="129" y="240"/>
                    <a:pt x="129" y="234"/>
                  </a:cubicBezTo>
                  <a:cubicBezTo>
                    <a:pt x="129" y="142"/>
                    <a:pt x="129" y="142"/>
                    <a:pt x="129" y="142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54" y="242"/>
                    <a:pt x="54" y="242"/>
                    <a:pt x="54" y="242"/>
                  </a:cubicBezTo>
                  <a:cubicBezTo>
                    <a:pt x="55" y="248"/>
                    <a:pt x="52" y="254"/>
                    <a:pt x="46" y="255"/>
                  </a:cubicBezTo>
                  <a:cubicBezTo>
                    <a:pt x="41" y="257"/>
                    <a:pt x="35" y="253"/>
                    <a:pt x="33" y="248"/>
                  </a:cubicBezTo>
                  <a:lnTo>
                    <a:pt x="12" y="162"/>
                  </a:lnTo>
                  <a:close/>
                  <a:moveTo>
                    <a:pt x="118" y="42"/>
                  </a:moveTo>
                  <a:cubicBezTo>
                    <a:pt x="161" y="42"/>
                    <a:pt x="161" y="42"/>
                    <a:pt x="161" y="42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18" y="21"/>
                    <a:pt x="118" y="21"/>
                    <a:pt x="118" y="21"/>
                  </a:cubicBezTo>
                  <a:lnTo>
                    <a:pt x="118" y="42"/>
                  </a:lnTo>
                  <a:close/>
                  <a:moveTo>
                    <a:pt x="69" y="136"/>
                  </a:moveTo>
                  <a:cubicBezTo>
                    <a:pt x="137" y="117"/>
                    <a:pt x="137" y="117"/>
                    <a:pt x="137" y="117"/>
                  </a:cubicBezTo>
                  <a:cubicBezTo>
                    <a:pt x="139" y="117"/>
                    <a:pt x="141" y="117"/>
                    <a:pt x="142" y="117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195" y="64"/>
                    <a:pt x="195" y="64"/>
                    <a:pt x="195" y="64"/>
                  </a:cubicBezTo>
                  <a:cubicBezTo>
                    <a:pt x="84" y="64"/>
                    <a:pt x="84" y="64"/>
                    <a:pt x="84" y="64"/>
                  </a:cubicBezTo>
                  <a:lnTo>
                    <a:pt x="69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5" name="Freeform 1044"/>
          <p:cNvSpPr>
            <a:spLocks noChangeAspect="1" noEditPoints="1"/>
          </p:cNvSpPr>
          <p:nvPr/>
        </p:nvSpPr>
        <p:spPr bwMode="auto">
          <a:xfrm>
            <a:off x="3411583" y="3751238"/>
            <a:ext cx="370106" cy="369021"/>
          </a:xfrm>
          <a:custGeom>
            <a:avLst/>
            <a:gdLst>
              <a:gd name="T0" fmla="*/ 234 w 512"/>
              <a:gd name="T1" fmla="*/ 138 h 512"/>
              <a:gd name="T2" fmla="*/ 277 w 512"/>
              <a:gd name="T3" fmla="*/ 117 h 512"/>
              <a:gd name="T4" fmla="*/ 258 w 512"/>
              <a:gd name="T5" fmla="*/ 213 h 512"/>
              <a:gd name="T6" fmla="*/ 311 w 512"/>
              <a:gd name="T7" fmla="*/ 160 h 512"/>
              <a:gd name="T8" fmla="*/ 185 w 512"/>
              <a:gd name="T9" fmla="*/ 232 h 512"/>
              <a:gd name="T10" fmla="*/ 258 w 512"/>
              <a:gd name="T11" fmla="*/ 213 h 512"/>
              <a:gd name="T12" fmla="*/ 256 w 512"/>
              <a:gd name="T13" fmla="*/ 512 h 512"/>
              <a:gd name="T14" fmla="*/ 256 w 512"/>
              <a:gd name="T15" fmla="*/ 0 h 512"/>
              <a:gd name="T16" fmla="*/ 128 w 512"/>
              <a:gd name="T17" fmla="*/ 258 h 512"/>
              <a:gd name="T18" fmla="*/ 162 w 512"/>
              <a:gd name="T19" fmla="*/ 351 h 512"/>
              <a:gd name="T20" fmla="*/ 151 w 512"/>
              <a:gd name="T21" fmla="*/ 263 h 512"/>
              <a:gd name="T22" fmla="*/ 245 w 512"/>
              <a:gd name="T23" fmla="*/ 330 h 512"/>
              <a:gd name="T24" fmla="*/ 266 w 512"/>
              <a:gd name="T25" fmla="*/ 330 h 512"/>
              <a:gd name="T26" fmla="*/ 360 w 512"/>
              <a:gd name="T27" fmla="*/ 263 h 512"/>
              <a:gd name="T28" fmla="*/ 349 w 512"/>
              <a:gd name="T29" fmla="*/ 351 h 512"/>
              <a:gd name="T30" fmla="*/ 362 w 512"/>
              <a:gd name="T31" fmla="*/ 344 h 512"/>
              <a:gd name="T32" fmla="*/ 376 w 512"/>
              <a:gd name="T33" fmla="*/ 245 h 512"/>
              <a:gd name="T34" fmla="*/ 330 w 512"/>
              <a:gd name="T35" fmla="*/ 147 h 512"/>
              <a:gd name="T36" fmla="*/ 298 w 512"/>
              <a:gd name="T37" fmla="*/ 138 h 512"/>
              <a:gd name="T38" fmla="*/ 288 w 512"/>
              <a:gd name="T39" fmla="*/ 96 h 512"/>
              <a:gd name="T40" fmla="*/ 213 w 512"/>
              <a:gd name="T41" fmla="*/ 106 h 512"/>
              <a:gd name="T42" fmla="*/ 192 w 512"/>
              <a:gd name="T43" fmla="*/ 138 h 512"/>
              <a:gd name="T44" fmla="*/ 161 w 512"/>
              <a:gd name="T45" fmla="*/ 238 h 512"/>
              <a:gd name="T46" fmla="*/ 128 w 512"/>
              <a:gd name="T47" fmla="*/ 258 h 512"/>
              <a:gd name="T48" fmla="*/ 370 w 512"/>
              <a:gd name="T49" fmla="*/ 365 h 512"/>
              <a:gd name="T50" fmla="*/ 354 w 512"/>
              <a:gd name="T51" fmla="*/ 367 h 512"/>
              <a:gd name="T52" fmla="*/ 317 w 512"/>
              <a:gd name="T53" fmla="*/ 365 h 512"/>
              <a:gd name="T54" fmla="*/ 300 w 512"/>
              <a:gd name="T55" fmla="*/ 367 h 512"/>
              <a:gd name="T56" fmla="*/ 263 w 512"/>
              <a:gd name="T57" fmla="*/ 365 h 512"/>
              <a:gd name="T58" fmla="*/ 247 w 512"/>
              <a:gd name="T59" fmla="*/ 367 h 512"/>
              <a:gd name="T60" fmla="*/ 210 w 512"/>
              <a:gd name="T61" fmla="*/ 365 h 512"/>
              <a:gd name="T62" fmla="*/ 193 w 512"/>
              <a:gd name="T63" fmla="*/ 367 h 512"/>
              <a:gd name="T64" fmla="*/ 157 w 512"/>
              <a:gd name="T65" fmla="*/ 365 h 512"/>
              <a:gd name="T66" fmla="*/ 140 w 512"/>
              <a:gd name="T67" fmla="*/ 367 h 512"/>
              <a:gd name="T68" fmla="*/ 117 w 512"/>
              <a:gd name="T69" fmla="*/ 389 h 512"/>
              <a:gd name="T70" fmla="*/ 150 w 512"/>
              <a:gd name="T71" fmla="*/ 388 h 512"/>
              <a:gd name="T72" fmla="*/ 203 w 512"/>
              <a:gd name="T73" fmla="*/ 388 h 512"/>
              <a:gd name="T74" fmla="*/ 256 w 512"/>
              <a:gd name="T75" fmla="*/ 388 h 512"/>
              <a:gd name="T76" fmla="*/ 288 w 512"/>
              <a:gd name="T77" fmla="*/ 398 h 512"/>
              <a:gd name="T78" fmla="*/ 341 w 512"/>
              <a:gd name="T79" fmla="*/ 398 h 512"/>
              <a:gd name="T80" fmla="*/ 381 w 512"/>
              <a:gd name="T81" fmla="*/ 397 h 512"/>
              <a:gd name="T82" fmla="*/ 386 w 512"/>
              <a:gd name="T83" fmla="*/ 37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77" y="138"/>
                </a:moveTo>
                <a:cubicBezTo>
                  <a:pt x="234" y="138"/>
                  <a:pt x="234" y="138"/>
                  <a:pt x="234" y="13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77" y="117"/>
                  <a:pt x="277" y="117"/>
                  <a:pt x="277" y="117"/>
                </a:cubicBezTo>
                <a:lnTo>
                  <a:pt x="277" y="138"/>
                </a:lnTo>
                <a:close/>
                <a:moveTo>
                  <a:pt x="258" y="213"/>
                </a:moveTo>
                <a:cubicBezTo>
                  <a:pt x="327" y="232"/>
                  <a:pt x="327" y="232"/>
                  <a:pt x="327" y="232"/>
                </a:cubicBezTo>
                <a:cubicBezTo>
                  <a:pt x="311" y="160"/>
                  <a:pt x="311" y="160"/>
                  <a:pt x="311" y="160"/>
                </a:cubicBezTo>
                <a:cubicBezTo>
                  <a:pt x="200" y="160"/>
                  <a:pt x="200" y="160"/>
                  <a:pt x="200" y="160"/>
                </a:cubicBezTo>
                <a:cubicBezTo>
                  <a:pt x="185" y="232"/>
                  <a:pt x="185" y="232"/>
                  <a:pt x="185" y="232"/>
                </a:cubicBezTo>
                <a:cubicBezTo>
                  <a:pt x="253" y="213"/>
                  <a:pt x="253" y="213"/>
                  <a:pt x="253" y="213"/>
                </a:cubicBezTo>
                <a:cubicBezTo>
                  <a:pt x="255" y="213"/>
                  <a:pt x="257" y="213"/>
                  <a:pt x="258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28" y="258"/>
                </a:moveTo>
                <a:cubicBezTo>
                  <a:pt x="149" y="344"/>
                  <a:pt x="149" y="344"/>
                  <a:pt x="149" y="344"/>
                </a:cubicBezTo>
                <a:cubicBezTo>
                  <a:pt x="151" y="349"/>
                  <a:pt x="157" y="353"/>
                  <a:pt x="162" y="351"/>
                </a:cubicBezTo>
                <a:cubicBezTo>
                  <a:pt x="168" y="350"/>
                  <a:pt x="171" y="344"/>
                  <a:pt x="170" y="338"/>
                </a:cubicBezTo>
                <a:cubicBezTo>
                  <a:pt x="151" y="263"/>
                  <a:pt x="151" y="263"/>
                  <a:pt x="151" y="263"/>
                </a:cubicBezTo>
                <a:cubicBezTo>
                  <a:pt x="245" y="238"/>
                  <a:pt x="245" y="238"/>
                  <a:pt x="245" y="238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36"/>
                  <a:pt x="250" y="341"/>
                  <a:pt x="256" y="341"/>
                </a:cubicBezTo>
                <a:cubicBezTo>
                  <a:pt x="262" y="341"/>
                  <a:pt x="266" y="336"/>
                  <a:pt x="266" y="330"/>
                </a:cubicBezTo>
                <a:cubicBezTo>
                  <a:pt x="266" y="238"/>
                  <a:pt x="266" y="238"/>
                  <a:pt x="266" y="238"/>
                </a:cubicBezTo>
                <a:cubicBezTo>
                  <a:pt x="360" y="263"/>
                  <a:pt x="360" y="263"/>
                  <a:pt x="360" y="263"/>
                </a:cubicBezTo>
                <a:cubicBezTo>
                  <a:pt x="341" y="338"/>
                  <a:pt x="341" y="338"/>
                  <a:pt x="341" y="338"/>
                </a:cubicBezTo>
                <a:cubicBezTo>
                  <a:pt x="340" y="344"/>
                  <a:pt x="343" y="350"/>
                  <a:pt x="349" y="351"/>
                </a:cubicBezTo>
                <a:cubicBezTo>
                  <a:pt x="350" y="352"/>
                  <a:pt x="351" y="352"/>
                  <a:pt x="352" y="352"/>
                </a:cubicBezTo>
                <a:cubicBezTo>
                  <a:pt x="356" y="352"/>
                  <a:pt x="361" y="348"/>
                  <a:pt x="362" y="344"/>
                </a:cubicBezTo>
                <a:cubicBezTo>
                  <a:pt x="383" y="258"/>
                  <a:pt x="383" y="258"/>
                  <a:pt x="383" y="258"/>
                </a:cubicBezTo>
                <a:cubicBezTo>
                  <a:pt x="385" y="253"/>
                  <a:pt x="381" y="247"/>
                  <a:pt x="376" y="245"/>
                </a:cubicBezTo>
                <a:cubicBezTo>
                  <a:pt x="350" y="238"/>
                  <a:pt x="350" y="238"/>
                  <a:pt x="350" y="238"/>
                </a:cubicBezTo>
                <a:cubicBezTo>
                  <a:pt x="330" y="147"/>
                  <a:pt x="330" y="147"/>
                  <a:pt x="330" y="147"/>
                </a:cubicBezTo>
                <a:cubicBezTo>
                  <a:pt x="329" y="142"/>
                  <a:pt x="325" y="138"/>
                  <a:pt x="320" y="138"/>
                </a:cubicBezTo>
                <a:cubicBezTo>
                  <a:pt x="298" y="138"/>
                  <a:pt x="298" y="138"/>
                  <a:pt x="298" y="138"/>
                </a:cubicBezTo>
                <a:cubicBezTo>
                  <a:pt x="298" y="106"/>
                  <a:pt x="298" y="106"/>
                  <a:pt x="298" y="106"/>
                </a:cubicBezTo>
                <a:cubicBezTo>
                  <a:pt x="298" y="100"/>
                  <a:pt x="294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92" y="138"/>
                  <a:pt x="192" y="138"/>
                  <a:pt x="192" y="138"/>
                </a:cubicBezTo>
                <a:cubicBezTo>
                  <a:pt x="187" y="138"/>
                  <a:pt x="182" y="142"/>
                  <a:pt x="181" y="147"/>
                </a:cubicBezTo>
                <a:cubicBezTo>
                  <a:pt x="161" y="238"/>
                  <a:pt x="161" y="238"/>
                  <a:pt x="161" y="238"/>
                </a:cubicBezTo>
                <a:cubicBezTo>
                  <a:pt x="136" y="245"/>
                  <a:pt x="136" y="245"/>
                  <a:pt x="136" y="245"/>
                </a:cubicBezTo>
                <a:cubicBezTo>
                  <a:pt x="130" y="247"/>
                  <a:pt x="127" y="253"/>
                  <a:pt x="128" y="258"/>
                </a:cubicBezTo>
                <a:close/>
                <a:moveTo>
                  <a:pt x="386" y="376"/>
                </a:moveTo>
                <a:cubicBezTo>
                  <a:pt x="381" y="375"/>
                  <a:pt x="376" y="371"/>
                  <a:pt x="370" y="365"/>
                </a:cubicBezTo>
                <a:cubicBezTo>
                  <a:pt x="368" y="363"/>
                  <a:pt x="364" y="362"/>
                  <a:pt x="361" y="362"/>
                </a:cubicBezTo>
                <a:cubicBezTo>
                  <a:pt x="358" y="363"/>
                  <a:pt x="355" y="364"/>
                  <a:pt x="354" y="367"/>
                </a:cubicBezTo>
                <a:cubicBezTo>
                  <a:pt x="353" y="367"/>
                  <a:pt x="347" y="376"/>
                  <a:pt x="338" y="376"/>
                </a:cubicBezTo>
                <a:cubicBezTo>
                  <a:pt x="332" y="377"/>
                  <a:pt x="324" y="373"/>
                  <a:pt x="317" y="365"/>
                </a:cubicBezTo>
                <a:cubicBezTo>
                  <a:pt x="314" y="363"/>
                  <a:pt x="311" y="362"/>
                  <a:pt x="308" y="362"/>
                </a:cubicBezTo>
                <a:cubicBezTo>
                  <a:pt x="305" y="363"/>
                  <a:pt x="302" y="364"/>
                  <a:pt x="300" y="367"/>
                </a:cubicBezTo>
                <a:cubicBezTo>
                  <a:pt x="300" y="367"/>
                  <a:pt x="294" y="376"/>
                  <a:pt x="285" y="377"/>
                </a:cubicBezTo>
                <a:cubicBezTo>
                  <a:pt x="279" y="377"/>
                  <a:pt x="271" y="373"/>
                  <a:pt x="263" y="365"/>
                </a:cubicBezTo>
                <a:cubicBezTo>
                  <a:pt x="261" y="363"/>
                  <a:pt x="258" y="362"/>
                  <a:pt x="255" y="362"/>
                </a:cubicBezTo>
                <a:cubicBezTo>
                  <a:pt x="252" y="363"/>
                  <a:pt x="249" y="364"/>
                  <a:pt x="247" y="367"/>
                </a:cubicBezTo>
                <a:cubicBezTo>
                  <a:pt x="247" y="367"/>
                  <a:pt x="241" y="376"/>
                  <a:pt x="232" y="377"/>
                </a:cubicBezTo>
                <a:cubicBezTo>
                  <a:pt x="225" y="377"/>
                  <a:pt x="218" y="373"/>
                  <a:pt x="210" y="365"/>
                </a:cubicBezTo>
                <a:cubicBezTo>
                  <a:pt x="208" y="363"/>
                  <a:pt x="205" y="362"/>
                  <a:pt x="201" y="362"/>
                </a:cubicBezTo>
                <a:cubicBezTo>
                  <a:pt x="198" y="363"/>
                  <a:pt x="195" y="364"/>
                  <a:pt x="193" y="367"/>
                </a:cubicBezTo>
                <a:cubicBezTo>
                  <a:pt x="193" y="367"/>
                  <a:pt x="187" y="376"/>
                  <a:pt x="179" y="377"/>
                </a:cubicBezTo>
                <a:cubicBezTo>
                  <a:pt x="172" y="377"/>
                  <a:pt x="165" y="373"/>
                  <a:pt x="157" y="365"/>
                </a:cubicBezTo>
                <a:cubicBezTo>
                  <a:pt x="154" y="363"/>
                  <a:pt x="151" y="362"/>
                  <a:pt x="148" y="362"/>
                </a:cubicBezTo>
                <a:cubicBezTo>
                  <a:pt x="145" y="363"/>
                  <a:pt x="142" y="364"/>
                  <a:pt x="140" y="367"/>
                </a:cubicBezTo>
                <a:cubicBezTo>
                  <a:pt x="140" y="367"/>
                  <a:pt x="134" y="375"/>
                  <a:pt x="126" y="376"/>
                </a:cubicBezTo>
                <a:cubicBezTo>
                  <a:pt x="120" y="377"/>
                  <a:pt x="116" y="383"/>
                  <a:pt x="117" y="389"/>
                </a:cubicBezTo>
                <a:cubicBezTo>
                  <a:pt x="118" y="394"/>
                  <a:pt x="123" y="398"/>
                  <a:pt x="129" y="398"/>
                </a:cubicBezTo>
                <a:cubicBezTo>
                  <a:pt x="138" y="396"/>
                  <a:pt x="145" y="392"/>
                  <a:pt x="150" y="388"/>
                </a:cubicBezTo>
                <a:cubicBezTo>
                  <a:pt x="160" y="396"/>
                  <a:pt x="170" y="399"/>
                  <a:pt x="181" y="398"/>
                </a:cubicBezTo>
                <a:cubicBezTo>
                  <a:pt x="191" y="397"/>
                  <a:pt x="198" y="392"/>
                  <a:pt x="203" y="388"/>
                </a:cubicBezTo>
                <a:cubicBezTo>
                  <a:pt x="213" y="395"/>
                  <a:pt x="224" y="399"/>
                  <a:pt x="234" y="398"/>
                </a:cubicBezTo>
                <a:cubicBezTo>
                  <a:pt x="244" y="397"/>
                  <a:pt x="251" y="392"/>
                  <a:pt x="256" y="388"/>
                </a:cubicBezTo>
                <a:cubicBezTo>
                  <a:pt x="265" y="395"/>
                  <a:pt x="275" y="398"/>
                  <a:pt x="284" y="398"/>
                </a:cubicBezTo>
                <a:cubicBezTo>
                  <a:pt x="285" y="398"/>
                  <a:pt x="286" y="398"/>
                  <a:pt x="288" y="398"/>
                </a:cubicBezTo>
                <a:cubicBezTo>
                  <a:pt x="297" y="397"/>
                  <a:pt x="305" y="392"/>
                  <a:pt x="310" y="388"/>
                </a:cubicBezTo>
                <a:cubicBezTo>
                  <a:pt x="320" y="395"/>
                  <a:pt x="330" y="399"/>
                  <a:pt x="341" y="398"/>
                </a:cubicBezTo>
                <a:cubicBezTo>
                  <a:pt x="350" y="397"/>
                  <a:pt x="358" y="392"/>
                  <a:pt x="363" y="388"/>
                </a:cubicBezTo>
                <a:cubicBezTo>
                  <a:pt x="369" y="392"/>
                  <a:pt x="375" y="395"/>
                  <a:pt x="381" y="397"/>
                </a:cubicBezTo>
                <a:cubicBezTo>
                  <a:pt x="387" y="398"/>
                  <a:pt x="393" y="395"/>
                  <a:pt x="394" y="389"/>
                </a:cubicBezTo>
                <a:cubicBezTo>
                  <a:pt x="395" y="383"/>
                  <a:pt x="392" y="377"/>
                  <a:pt x="386" y="37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56" name="Group 276"/>
          <p:cNvGrpSpPr>
            <a:grpSpLocks noChangeAspect="1"/>
          </p:cNvGrpSpPr>
          <p:nvPr/>
        </p:nvGrpSpPr>
        <p:grpSpPr bwMode="auto">
          <a:xfrm>
            <a:off x="4407816" y="3751238"/>
            <a:ext cx="369021" cy="369021"/>
            <a:chOff x="6212" y="794"/>
            <a:chExt cx="340" cy="340"/>
          </a:xfrm>
          <a:solidFill>
            <a:schemeClr val="accent3"/>
          </a:solidFill>
        </p:grpSpPr>
        <p:sp>
          <p:nvSpPr>
            <p:cNvPr id="157" name="Freeform 277"/>
            <p:cNvSpPr>
              <a:spLocks/>
            </p:cNvSpPr>
            <p:nvPr/>
          </p:nvSpPr>
          <p:spPr bwMode="auto">
            <a:xfrm>
              <a:off x="6452" y="1006"/>
              <a:ext cx="15" cy="22"/>
            </a:xfrm>
            <a:custGeom>
              <a:avLst/>
              <a:gdLst>
                <a:gd name="T0" fmla="*/ 11 w 22"/>
                <a:gd name="T1" fmla="*/ 0 h 32"/>
                <a:gd name="T2" fmla="*/ 1 w 22"/>
                <a:gd name="T3" fmla="*/ 17 h 32"/>
                <a:gd name="T4" fmla="*/ 0 w 22"/>
                <a:gd name="T5" fmla="*/ 21 h 32"/>
                <a:gd name="T6" fmla="*/ 11 w 22"/>
                <a:gd name="T7" fmla="*/ 32 h 32"/>
                <a:gd name="T8" fmla="*/ 22 w 22"/>
                <a:gd name="T9" fmla="*/ 21 h 32"/>
                <a:gd name="T10" fmla="*/ 21 w 22"/>
                <a:gd name="T11" fmla="*/ 17 h 32"/>
                <a:gd name="T12" fmla="*/ 11 w 2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2">
                  <a:moveTo>
                    <a:pt x="11" y="0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7"/>
                    <a:pt x="5" y="32"/>
                    <a:pt x="11" y="32"/>
                  </a:cubicBezTo>
                  <a:cubicBezTo>
                    <a:pt x="17" y="32"/>
                    <a:pt x="22" y="27"/>
                    <a:pt x="22" y="21"/>
                  </a:cubicBezTo>
                  <a:cubicBezTo>
                    <a:pt x="22" y="20"/>
                    <a:pt x="21" y="19"/>
                    <a:pt x="21" y="17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Freeform 278"/>
            <p:cNvSpPr>
              <a:spLocks noEditPoints="1"/>
            </p:cNvSpPr>
            <p:nvPr/>
          </p:nvSpPr>
          <p:spPr bwMode="auto">
            <a:xfrm>
              <a:off x="6292" y="875"/>
              <a:ext cx="132" cy="164"/>
            </a:xfrm>
            <a:custGeom>
              <a:avLst/>
              <a:gdLst>
                <a:gd name="T0" fmla="*/ 0 w 199"/>
                <a:gd name="T1" fmla="*/ 135 h 247"/>
                <a:gd name="T2" fmla="*/ 113 w 199"/>
                <a:gd name="T3" fmla="*/ 247 h 247"/>
                <a:gd name="T4" fmla="*/ 199 w 199"/>
                <a:gd name="T5" fmla="*/ 161 h 247"/>
                <a:gd name="T6" fmla="*/ 199 w 199"/>
                <a:gd name="T7" fmla="*/ 63 h 247"/>
                <a:gd name="T8" fmla="*/ 135 w 199"/>
                <a:gd name="T9" fmla="*/ 0 h 247"/>
                <a:gd name="T10" fmla="*/ 0 w 199"/>
                <a:gd name="T11" fmla="*/ 135 h 247"/>
                <a:gd name="T12" fmla="*/ 167 w 199"/>
                <a:gd name="T13" fmla="*/ 134 h 247"/>
                <a:gd name="T14" fmla="*/ 156 w 199"/>
                <a:gd name="T15" fmla="*/ 144 h 247"/>
                <a:gd name="T16" fmla="*/ 124 w 199"/>
                <a:gd name="T17" fmla="*/ 144 h 247"/>
                <a:gd name="T18" fmla="*/ 124 w 199"/>
                <a:gd name="T19" fmla="*/ 176 h 247"/>
                <a:gd name="T20" fmla="*/ 113 w 199"/>
                <a:gd name="T21" fmla="*/ 187 h 247"/>
                <a:gd name="T22" fmla="*/ 103 w 199"/>
                <a:gd name="T23" fmla="*/ 176 h 247"/>
                <a:gd name="T24" fmla="*/ 103 w 199"/>
                <a:gd name="T25" fmla="*/ 144 h 247"/>
                <a:gd name="T26" fmla="*/ 71 w 199"/>
                <a:gd name="T27" fmla="*/ 144 h 247"/>
                <a:gd name="T28" fmla="*/ 60 w 199"/>
                <a:gd name="T29" fmla="*/ 134 h 247"/>
                <a:gd name="T30" fmla="*/ 71 w 199"/>
                <a:gd name="T31" fmla="*/ 123 h 247"/>
                <a:gd name="T32" fmla="*/ 103 w 199"/>
                <a:gd name="T33" fmla="*/ 123 h 247"/>
                <a:gd name="T34" fmla="*/ 103 w 199"/>
                <a:gd name="T35" fmla="*/ 91 h 247"/>
                <a:gd name="T36" fmla="*/ 113 w 199"/>
                <a:gd name="T37" fmla="*/ 80 h 247"/>
                <a:gd name="T38" fmla="*/ 124 w 199"/>
                <a:gd name="T39" fmla="*/ 91 h 247"/>
                <a:gd name="T40" fmla="*/ 124 w 199"/>
                <a:gd name="T41" fmla="*/ 123 h 247"/>
                <a:gd name="T42" fmla="*/ 156 w 199"/>
                <a:gd name="T43" fmla="*/ 123 h 247"/>
                <a:gd name="T44" fmla="*/ 167 w 199"/>
                <a:gd name="T45" fmla="*/ 134 h 247"/>
                <a:gd name="T46" fmla="*/ 143 w 199"/>
                <a:gd name="T47" fmla="*/ 38 h 247"/>
                <a:gd name="T48" fmla="*/ 158 w 199"/>
                <a:gd name="T49" fmla="*/ 53 h 247"/>
                <a:gd name="T50" fmla="*/ 158 w 199"/>
                <a:gd name="T51" fmla="*/ 68 h 247"/>
                <a:gd name="T52" fmla="*/ 150 w 199"/>
                <a:gd name="T53" fmla="*/ 72 h 247"/>
                <a:gd name="T54" fmla="*/ 143 w 199"/>
                <a:gd name="T55" fmla="*/ 68 h 247"/>
                <a:gd name="T56" fmla="*/ 128 w 199"/>
                <a:gd name="T57" fmla="*/ 53 h 247"/>
                <a:gd name="T58" fmla="*/ 128 w 199"/>
                <a:gd name="T59" fmla="*/ 38 h 247"/>
                <a:gd name="T60" fmla="*/ 143 w 199"/>
                <a:gd name="T61" fmla="*/ 3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9" h="247">
                  <a:moveTo>
                    <a:pt x="0" y="135"/>
                  </a:moveTo>
                  <a:cubicBezTo>
                    <a:pt x="113" y="247"/>
                    <a:pt x="113" y="247"/>
                    <a:pt x="113" y="247"/>
                  </a:cubicBezTo>
                  <a:cubicBezTo>
                    <a:pt x="199" y="161"/>
                    <a:pt x="199" y="161"/>
                    <a:pt x="199" y="161"/>
                  </a:cubicBezTo>
                  <a:cubicBezTo>
                    <a:pt x="199" y="63"/>
                    <a:pt x="199" y="63"/>
                    <a:pt x="199" y="63"/>
                  </a:cubicBezTo>
                  <a:cubicBezTo>
                    <a:pt x="135" y="0"/>
                    <a:pt x="135" y="0"/>
                    <a:pt x="135" y="0"/>
                  </a:cubicBezTo>
                  <a:lnTo>
                    <a:pt x="0" y="135"/>
                  </a:lnTo>
                  <a:close/>
                  <a:moveTo>
                    <a:pt x="167" y="134"/>
                  </a:moveTo>
                  <a:cubicBezTo>
                    <a:pt x="167" y="140"/>
                    <a:pt x="162" y="144"/>
                    <a:pt x="156" y="144"/>
                  </a:cubicBezTo>
                  <a:cubicBezTo>
                    <a:pt x="124" y="144"/>
                    <a:pt x="124" y="144"/>
                    <a:pt x="124" y="144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4" y="182"/>
                    <a:pt x="119" y="187"/>
                    <a:pt x="113" y="187"/>
                  </a:cubicBezTo>
                  <a:cubicBezTo>
                    <a:pt x="107" y="187"/>
                    <a:pt x="103" y="182"/>
                    <a:pt x="103" y="176"/>
                  </a:cubicBezTo>
                  <a:cubicBezTo>
                    <a:pt x="103" y="144"/>
                    <a:pt x="103" y="144"/>
                    <a:pt x="103" y="144"/>
                  </a:cubicBezTo>
                  <a:cubicBezTo>
                    <a:pt x="71" y="144"/>
                    <a:pt x="71" y="144"/>
                    <a:pt x="71" y="144"/>
                  </a:cubicBezTo>
                  <a:cubicBezTo>
                    <a:pt x="65" y="144"/>
                    <a:pt x="60" y="140"/>
                    <a:pt x="60" y="134"/>
                  </a:cubicBezTo>
                  <a:cubicBezTo>
                    <a:pt x="60" y="128"/>
                    <a:pt x="65" y="123"/>
                    <a:pt x="71" y="123"/>
                  </a:cubicBezTo>
                  <a:cubicBezTo>
                    <a:pt x="103" y="123"/>
                    <a:pt x="103" y="123"/>
                    <a:pt x="103" y="123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85"/>
                    <a:pt x="107" y="80"/>
                    <a:pt x="113" y="80"/>
                  </a:cubicBezTo>
                  <a:cubicBezTo>
                    <a:pt x="119" y="80"/>
                    <a:pt x="124" y="85"/>
                    <a:pt x="124" y="91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62" y="123"/>
                    <a:pt x="167" y="128"/>
                    <a:pt x="167" y="134"/>
                  </a:cubicBezTo>
                  <a:close/>
                  <a:moveTo>
                    <a:pt x="143" y="38"/>
                  </a:moveTo>
                  <a:cubicBezTo>
                    <a:pt x="158" y="53"/>
                    <a:pt x="158" y="53"/>
                    <a:pt x="158" y="53"/>
                  </a:cubicBezTo>
                  <a:cubicBezTo>
                    <a:pt x="162" y="58"/>
                    <a:pt x="162" y="64"/>
                    <a:pt x="158" y="68"/>
                  </a:cubicBezTo>
                  <a:cubicBezTo>
                    <a:pt x="156" y="71"/>
                    <a:pt x="153" y="72"/>
                    <a:pt x="150" y="72"/>
                  </a:cubicBezTo>
                  <a:cubicBezTo>
                    <a:pt x="148" y="72"/>
                    <a:pt x="145" y="71"/>
                    <a:pt x="143" y="68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24" y="49"/>
                    <a:pt x="124" y="42"/>
                    <a:pt x="128" y="38"/>
                  </a:cubicBezTo>
                  <a:cubicBezTo>
                    <a:pt x="132" y="34"/>
                    <a:pt x="139" y="34"/>
                    <a:pt x="143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Freeform 279"/>
            <p:cNvSpPr>
              <a:spLocks noEditPoints="1"/>
            </p:cNvSpPr>
            <p:nvPr/>
          </p:nvSpPr>
          <p:spPr bwMode="auto">
            <a:xfrm>
              <a:off x="6212" y="794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62 w 512"/>
                <a:gd name="T11" fmla="*/ 213 h 512"/>
                <a:gd name="T12" fmla="*/ 373 w 512"/>
                <a:gd name="T13" fmla="*/ 202 h 512"/>
                <a:gd name="T14" fmla="*/ 384 w 512"/>
                <a:gd name="T15" fmla="*/ 213 h 512"/>
                <a:gd name="T16" fmla="*/ 384 w 512"/>
                <a:gd name="T17" fmla="*/ 256 h 512"/>
                <a:gd name="T18" fmla="*/ 373 w 512"/>
                <a:gd name="T19" fmla="*/ 266 h 512"/>
                <a:gd name="T20" fmla="*/ 362 w 512"/>
                <a:gd name="T21" fmla="*/ 256 h 512"/>
                <a:gd name="T22" fmla="*/ 362 w 512"/>
                <a:gd name="T23" fmla="*/ 213 h 512"/>
                <a:gd name="T24" fmla="*/ 241 w 512"/>
                <a:gd name="T25" fmla="*/ 392 h 512"/>
                <a:gd name="T26" fmla="*/ 234 w 512"/>
                <a:gd name="T27" fmla="*/ 395 h 512"/>
                <a:gd name="T28" fmla="*/ 226 w 512"/>
                <a:gd name="T29" fmla="*/ 392 h 512"/>
                <a:gd name="T30" fmla="*/ 99 w 512"/>
                <a:gd name="T31" fmla="*/ 264 h 512"/>
                <a:gd name="T32" fmla="*/ 96 w 512"/>
                <a:gd name="T33" fmla="*/ 257 h 512"/>
                <a:gd name="T34" fmla="*/ 99 w 512"/>
                <a:gd name="T35" fmla="*/ 249 h 512"/>
                <a:gd name="T36" fmla="*/ 249 w 512"/>
                <a:gd name="T37" fmla="*/ 99 h 512"/>
                <a:gd name="T38" fmla="*/ 264 w 512"/>
                <a:gd name="T39" fmla="*/ 99 h 512"/>
                <a:gd name="T40" fmla="*/ 338 w 512"/>
                <a:gd name="T41" fmla="*/ 173 h 512"/>
                <a:gd name="T42" fmla="*/ 341 w 512"/>
                <a:gd name="T43" fmla="*/ 181 h 512"/>
                <a:gd name="T44" fmla="*/ 341 w 512"/>
                <a:gd name="T45" fmla="*/ 288 h 512"/>
                <a:gd name="T46" fmla="*/ 338 w 512"/>
                <a:gd name="T47" fmla="*/ 295 h 512"/>
                <a:gd name="T48" fmla="*/ 241 w 512"/>
                <a:gd name="T49" fmla="*/ 392 h 512"/>
                <a:gd name="T50" fmla="*/ 373 w 512"/>
                <a:gd name="T51" fmla="*/ 373 h 512"/>
                <a:gd name="T52" fmla="*/ 341 w 512"/>
                <a:gd name="T53" fmla="*/ 341 h 512"/>
                <a:gd name="T54" fmla="*/ 343 w 512"/>
                <a:gd name="T55" fmla="*/ 329 h 512"/>
                <a:gd name="T56" fmla="*/ 344 w 512"/>
                <a:gd name="T57" fmla="*/ 327 h 512"/>
                <a:gd name="T58" fmla="*/ 364 w 512"/>
                <a:gd name="T59" fmla="*/ 293 h 512"/>
                <a:gd name="T60" fmla="*/ 382 w 512"/>
                <a:gd name="T61" fmla="*/ 293 h 512"/>
                <a:gd name="T62" fmla="*/ 402 w 512"/>
                <a:gd name="T63" fmla="*/ 327 h 512"/>
                <a:gd name="T64" fmla="*/ 403 w 512"/>
                <a:gd name="T65" fmla="*/ 329 h 512"/>
                <a:gd name="T66" fmla="*/ 405 w 512"/>
                <a:gd name="T67" fmla="*/ 341 h 512"/>
                <a:gd name="T68" fmla="*/ 373 w 512"/>
                <a:gd name="T69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62" y="213"/>
                  </a:moveTo>
                  <a:cubicBezTo>
                    <a:pt x="362" y="207"/>
                    <a:pt x="367" y="202"/>
                    <a:pt x="373" y="202"/>
                  </a:cubicBezTo>
                  <a:cubicBezTo>
                    <a:pt x="379" y="202"/>
                    <a:pt x="384" y="207"/>
                    <a:pt x="384" y="213"/>
                  </a:cubicBezTo>
                  <a:cubicBezTo>
                    <a:pt x="384" y="256"/>
                    <a:pt x="384" y="256"/>
                    <a:pt x="384" y="256"/>
                  </a:cubicBezTo>
                  <a:cubicBezTo>
                    <a:pt x="384" y="262"/>
                    <a:pt x="379" y="266"/>
                    <a:pt x="373" y="266"/>
                  </a:cubicBezTo>
                  <a:cubicBezTo>
                    <a:pt x="367" y="266"/>
                    <a:pt x="362" y="262"/>
                    <a:pt x="362" y="256"/>
                  </a:cubicBezTo>
                  <a:lnTo>
                    <a:pt x="362" y="213"/>
                  </a:lnTo>
                  <a:close/>
                  <a:moveTo>
                    <a:pt x="241" y="392"/>
                  </a:moveTo>
                  <a:cubicBezTo>
                    <a:pt x="239" y="394"/>
                    <a:pt x="237" y="395"/>
                    <a:pt x="234" y="395"/>
                  </a:cubicBezTo>
                  <a:cubicBezTo>
                    <a:pt x="231" y="395"/>
                    <a:pt x="228" y="394"/>
                    <a:pt x="226" y="392"/>
                  </a:cubicBezTo>
                  <a:cubicBezTo>
                    <a:pt x="99" y="264"/>
                    <a:pt x="99" y="264"/>
                    <a:pt x="99" y="264"/>
                  </a:cubicBezTo>
                  <a:cubicBezTo>
                    <a:pt x="97" y="262"/>
                    <a:pt x="96" y="260"/>
                    <a:pt x="96" y="257"/>
                  </a:cubicBezTo>
                  <a:cubicBezTo>
                    <a:pt x="96" y="254"/>
                    <a:pt x="97" y="251"/>
                    <a:pt x="99" y="24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53" y="95"/>
                    <a:pt x="260" y="95"/>
                    <a:pt x="264" y="99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40" y="175"/>
                    <a:pt x="341" y="178"/>
                    <a:pt x="341" y="181"/>
                  </a:cubicBezTo>
                  <a:cubicBezTo>
                    <a:pt x="341" y="288"/>
                    <a:pt x="341" y="288"/>
                    <a:pt x="341" y="288"/>
                  </a:cubicBezTo>
                  <a:cubicBezTo>
                    <a:pt x="341" y="291"/>
                    <a:pt x="340" y="293"/>
                    <a:pt x="338" y="295"/>
                  </a:cubicBezTo>
                  <a:lnTo>
                    <a:pt x="241" y="392"/>
                  </a:lnTo>
                  <a:close/>
                  <a:moveTo>
                    <a:pt x="373" y="373"/>
                  </a:moveTo>
                  <a:cubicBezTo>
                    <a:pt x="355" y="373"/>
                    <a:pt x="341" y="359"/>
                    <a:pt x="341" y="341"/>
                  </a:cubicBezTo>
                  <a:cubicBezTo>
                    <a:pt x="341" y="337"/>
                    <a:pt x="342" y="333"/>
                    <a:pt x="343" y="329"/>
                  </a:cubicBezTo>
                  <a:cubicBezTo>
                    <a:pt x="344" y="328"/>
                    <a:pt x="344" y="328"/>
                    <a:pt x="344" y="327"/>
                  </a:cubicBezTo>
                  <a:cubicBezTo>
                    <a:pt x="364" y="293"/>
                    <a:pt x="364" y="293"/>
                    <a:pt x="364" y="293"/>
                  </a:cubicBezTo>
                  <a:cubicBezTo>
                    <a:pt x="368" y="286"/>
                    <a:pt x="378" y="286"/>
                    <a:pt x="382" y="293"/>
                  </a:cubicBezTo>
                  <a:cubicBezTo>
                    <a:pt x="402" y="327"/>
                    <a:pt x="402" y="327"/>
                    <a:pt x="402" y="327"/>
                  </a:cubicBezTo>
                  <a:cubicBezTo>
                    <a:pt x="402" y="328"/>
                    <a:pt x="402" y="328"/>
                    <a:pt x="403" y="329"/>
                  </a:cubicBezTo>
                  <a:cubicBezTo>
                    <a:pt x="404" y="333"/>
                    <a:pt x="405" y="337"/>
                    <a:pt x="405" y="341"/>
                  </a:cubicBezTo>
                  <a:cubicBezTo>
                    <a:pt x="405" y="359"/>
                    <a:pt x="391" y="373"/>
                    <a:pt x="373" y="3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0" name="Group 282"/>
          <p:cNvGrpSpPr>
            <a:grpSpLocks noChangeAspect="1"/>
          </p:cNvGrpSpPr>
          <p:nvPr/>
        </p:nvGrpSpPr>
        <p:grpSpPr bwMode="auto">
          <a:xfrm>
            <a:off x="4905390" y="3751235"/>
            <a:ext cx="369021" cy="370106"/>
            <a:chOff x="6580" y="788"/>
            <a:chExt cx="340" cy="341"/>
          </a:xfrm>
          <a:solidFill>
            <a:schemeClr val="accent3"/>
          </a:solidFill>
        </p:grpSpPr>
        <p:sp>
          <p:nvSpPr>
            <p:cNvPr id="161" name="Freeform 283"/>
            <p:cNvSpPr>
              <a:spLocks noEditPoints="1"/>
            </p:cNvSpPr>
            <p:nvPr/>
          </p:nvSpPr>
          <p:spPr bwMode="auto">
            <a:xfrm>
              <a:off x="6580" y="788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284"/>
            <p:cNvSpPr>
              <a:spLocks/>
            </p:cNvSpPr>
            <p:nvPr/>
          </p:nvSpPr>
          <p:spPr bwMode="auto">
            <a:xfrm>
              <a:off x="6743" y="892"/>
              <a:ext cx="25" cy="25"/>
            </a:xfrm>
            <a:custGeom>
              <a:avLst/>
              <a:gdLst>
                <a:gd name="T0" fmla="*/ 4 w 38"/>
                <a:gd name="T1" fmla="*/ 19 h 38"/>
                <a:gd name="T2" fmla="*/ 19 w 38"/>
                <a:gd name="T3" fmla="*/ 34 h 38"/>
                <a:gd name="T4" fmla="*/ 26 w 38"/>
                <a:gd name="T5" fmla="*/ 38 h 38"/>
                <a:gd name="T6" fmla="*/ 34 w 38"/>
                <a:gd name="T7" fmla="*/ 34 h 38"/>
                <a:gd name="T8" fmla="*/ 34 w 38"/>
                <a:gd name="T9" fmla="*/ 19 h 38"/>
                <a:gd name="T10" fmla="*/ 19 w 38"/>
                <a:gd name="T11" fmla="*/ 4 h 38"/>
                <a:gd name="T12" fmla="*/ 4 w 38"/>
                <a:gd name="T13" fmla="*/ 4 h 38"/>
                <a:gd name="T14" fmla="*/ 4 w 38"/>
                <a:gd name="T15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4" y="19"/>
                  </a:moveTo>
                  <a:cubicBezTo>
                    <a:pt x="19" y="34"/>
                    <a:pt x="19" y="34"/>
                    <a:pt x="19" y="34"/>
                  </a:cubicBezTo>
                  <a:cubicBezTo>
                    <a:pt x="21" y="37"/>
                    <a:pt x="24" y="38"/>
                    <a:pt x="26" y="38"/>
                  </a:cubicBezTo>
                  <a:cubicBezTo>
                    <a:pt x="29" y="38"/>
                    <a:pt x="32" y="37"/>
                    <a:pt x="34" y="34"/>
                  </a:cubicBezTo>
                  <a:cubicBezTo>
                    <a:pt x="38" y="30"/>
                    <a:pt x="38" y="24"/>
                    <a:pt x="34" y="1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0" y="15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285"/>
            <p:cNvSpPr>
              <a:spLocks noEditPoints="1"/>
            </p:cNvSpPr>
            <p:nvPr/>
          </p:nvSpPr>
          <p:spPr bwMode="auto">
            <a:xfrm>
              <a:off x="6806" y="978"/>
              <a:ext cx="43" cy="58"/>
            </a:xfrm>
            <a:custGeom>
              <a:avLst/>
              <a:gdLst>
                <a:gd name="T0" fmla="*/ 62 w 64"/>
                <a:gd name="T1" fmla="*/ 43 h 87"/>
                <a:gd name="T2" fmla="*/ 61 w 64"/>
                <a:gd name="T3" fmla="*/ 41 h 87"/>
                <a:gd name="T4" fmla="*/ 41 w 64"/>
                <a:gd name="T5" fmla="*/ 7 h 87"/>
                <a:gd name="T6" fmla="*/ 23 w 64"/>
                <a:gd name="T7" fmla="*/ 7 h 87"/>
                <a:gd name="T8" fmla="*/ 3 w 64"/>
                <a:gd name="T9" fmla="*/ 41 h 87"/>
                <a:gd name="T10" fmla="*/ 2 w 64"/>
                <a:gd name="T11" fmla="*/ 43 h 87"/>
                <a:gd name="T12" fmla="*/ 0 w 64"/>
                <a:gd name="T13" fmla="*/ 55 h 87"/>
                <a:gd name="T14" fmla="*/ 32 w 64"/>
                <a:gd name="T15" fmla="*/ 87 h 87"/>
                <a:gd name="T16" fmla="*/ 64 w 64"/>
                <a:gd name="T17" fmla="*/ 55 h 87"/>
                <a:gd name="T18" fmla="*/ 62 w 64"/>
                <a:gd name="T19" fmla="*/ 43 h 87"/>
                <a:gd name="T20" fmla="*/ 32 w 64"/>
                <a:gd name="T21" fmla="*/ 66 h 87"/>
                <a:gd name="T22" fmla="*/ 21 w 64"/>
                <a:gd name="T23" fmla="*/ 55 h 87"/>
                <a:gd name="T24" fmla="*/ 22 w 64"/>
                <a:gd name="T25" fmla="*/ 51 h 87"/>
                <a:gd name="T26" fmla="*/ 32 w 64"/>
                <a:gd name="T27" fmla="*/ 34 h 87"/>
                <a:gd name="T28" fmla="*/ 42 w 64"/>
                <a:gd name="T29" fmla="*/ 51 h 87"/>
                <a:gd name="T30" fmla="*/ 43 w 64"/>
                <a:gd name="T31" fmla="*/ 55 h 87"/>
                <a:gd name="T32" fmla="*/ 32 w 64"/>
                <a:gd name="T33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87">
                  <a:moveTo>
                    <a:pt x="62" y="43"/>
                  </a:moveTo>
                  <a:cubicBezTo>
                    <a:pt x="61" y="42"/>
                    <a:pt x="61" y="42"/>
                    <a:pt x="61" y="41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37" y="0"/>
                    <a:pt x="27" y="0"/>
                    <a:pt x="23" y="7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2"/>
                    <a:pt x="2" y="43"/>
                  </a:cubicBezTo>
                  <a:cubicBezTo>
                    <a:pt x="1" y="47"/>
                    <a:pt x="0" y="51"/>
                    <a:pt x="0" y="55"/>
                  </a:cubicBezTo>
                  <a:cubicBezTo>
                    <a:pt x="0" y="73"/>
                    <a:pt x="14" y="87"/>
                    <a:pt x="32" y="87"/>
                  </a:cubicBezTo>
                  <a:cubicBezTo>
                    <a:pt x="50" y="87"/>
                    <a:pt x="64" y="73"/>
                    <a:pt x="64" y="55"/>
                  </a:cubicBezTo>
                  <a:cubicBezTo>
                    <a:pt x="64" y="51"/>
                    <a:pt x="63" y="47"/>
                    <a:pt x="62" y="43"/>
                  </a:cubicBezTo>
                  <a:close/>
                  <a:moveTo>
                    <a:pt x="32" y="66"/>
                  </a:moveTo>
                  <a:cubicBezTo>
                    <a:pt x="26" y="66"/>
                    <a:pt x="21" y="61"/>
                    <a:pt x="21" y="55"/>
                  </a:cubicBezTo>
                  <a:cubicBezTo>
                    <a:pt x="21" y="54"/>
                    <a:pt x="22" y="53"/>
                    <a:pt x="22" y="51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3"/>
                    <a:pt x="43" y="54"/>
                    <a:pt x="43" y="55"/>
                  </a:cubicBezTo>
                  <a:cubicBezTo>
                    <a:pt x="43" y="61"/>
                    <a:pt x="38" y="66"/>
                    <a:pt x="32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286"/>
            <p:cNvSpPr>
              <a:spLocks/>
            </p:cNvSpPr>
            <p:nvPr/>
          </p:nvSpPr>
          <p:spPr bwMode="auto">
            <a:xfrm>
              <a:off x="6700" y="923"/>
              <a:ext cx="71" cy="71"/>
            </a:xfrm>
            <a:custGeom>
              <a:avLst/>
              <a:gdLst>
                <a:gd name="T0" fmla="*/ 64 w 107"/>
                <a:gd name="T1" fmla="*/ 43 h 107"/>
                <a:gd name="T2" fmla="*/ 64 w 107"/>
                <a:gd name="T3" fmla="*/ 11 h 107"/>
                <a:gd name="T4" fmla="*/ 53 w 107"/>
                <a:gd name="T5" fmla="*/ 0 h 107"/>
                <a:gd name="T6" fmla="*/ 43 w 107"/>
                <a:gd name="T7" fmla="*/ 11 h 107"/>
                <a:gd name="T8" fmla="*/ 43 w 107"/>
                <a:gd name="T9" fmla="*/ 43 h 107"/>
                <a:gd name="T10" fmla="*/ 11 w 107"/>
                <a:gd name="T11" fmla="*/ 43 h 107"/>
                <a:gd name="T12" fmla="*/ 0 w 107"/>
                <a:gd name="T13" fmla="*/ 54 h 107"/>
                <a:gd name="T14" fmla="*/ 11 w 107"/>
                <a:gd name="T15" fmla="*/ 64 h 107"/>
                <a:gd name="T16" fmla="*/ 43 w 107"/>
                <a:gd name="T17" fmla="*/ 64 h 107"/>
                <a:gd name="T18" fmla="*/ 43 w 107"/>
                <a:gd name="T19" fmla="*/ 96 h 107"/>
                <a:gd name="T20" fmla="*/ 53 w 107"/>
                <a:gd name="T21" fmla="*/ 107 h 107"/>
                <a:gd name="T22" fmla="*/ 64 w 107"/>
                <a:gd name="T23" fmla="*/ 96 h 107"/>
                <a:gd name="T24" fmla="*/ 64 w 107"/>
                <a:gd name="T25" fmla="*/ 64 h 107"/>
                <a:gd name="T26" fmla="*/ 96 w 107"/>
                <a:gd name="T27" fmla="*/ 64 h 107"/>
                <a:gd name="T28" fmla="*/ 107 w 107"/>
                <a:gd name="T29" fmla="*/ 54 h 107"/>
                <a:gd name="T30" fmla="*/ 96 w 107"/>
                <a:gd name="T31" fmla="*/ 43 h 107"/>
                <a:gd name="T32" fmla="*/ 64 w 107"/>
                <a:gd name="T33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07">
                  <a:moveTo>
                    <a:pt x="64" y="43"/>
                  </a:move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47" y="0"/>
                    <a:pt x="43" y="5"/>
                    <a:pt x="43" y="1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48"/>
                    <a:pt x="0" y="54"/>
                  </a:cubicBezTo>
                  <a:cubicBezTo>
                    <a:pt x="0" y="60"/>
                    <a:pt x="5" y="64"/>
                    <a:pt x="11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7" y="107"/>
                    <a:pt x="53" y="107"/>
                  </a:cubicBezTo>
                  <a:cubicBezTo>
                    <a:pt x="59" y="107"/>
                    <a:pt x="64" y="102"/>
                    <a:pt x="64" y="9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102" y="64"/>
                    <a:pt x="107" y="60"/>
                    <a:pt x="107" y="54"/>
                  </a:cubicBezTo>
                  <a:cubicBezTo>
                    <a:pt x="107" y="48"/>
                    <a:pt x="102" y="43"/>
                    <a:pt x="96" y="43"/>
                  </a:cubicBez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287"/>
            <p:cNvSpPr>
              <a:spLocks noEditPoints="1"/>
            </p:cNvSpPr>
            <p:nvPr/>
          </p:nvSpPr>
          <p:spPr bwMode="auto">
            <a:xfrm>
              <a:off x="6644" y="851"/>
              <a:ext cx="162" cy="200"/>
            </a:xfrm>
            <a:custGeom>
              <a:avLst/>
              <a:gdLst>
                <a:gd name="T0" fmla="*/ 245 w 245"/>
                <a:gd name="T1" fmla="*/ 86 h 300"/>
                <a:gd name="T2" fmla="*/ 242 w 245"/>
                <a:gd name="T3" fmla="*/ 78 h 300"/>
                <a:gd name="T4" fmla="*/ 168 w 245"/>
                <a:gd name="T5" fmla="*/ 4 h 300"/>
                <a:gd name="T6" fmla="*/ 153 w 245"/>
                <a:gd name="T7" fmla="*/ 4 h 300"/>
                <a:gd name="T8" fmla="*/ 3 w 245"/>
                <a:gd name="T9" fmla="*/ 154 h 300"/>
                <a:gd name="T10" fmla="*/ 0 w 245"/>
                <a:gd name="T11" fmla="*/ 162 h 300"/>
                <a:gd name="T12" fmla="*/ 3 w 245"/>
                <a:gd name="T13" fmla="*/ 169 h 300"/>
                <a:gd name="T14" fmla="*/ 130 w 245"/>
                <a:gd name="T15" fmla="*/ 297 h 300"/>
                <a:gd name="T16" fmla="*/ 138 w 245"/>
                <a:gd name="T17" fmla="*/ 300 h 300"/>
                <a:gd name="T18" fmla="*/ 145 w 245"/>
                <a:gd name="T19" fmla="*/ 297 h 300"/>
                <a:gd name="T20" fmla="*/ 242 w 245"/>
                <a:gd name="T21" fmla="*/ 200 h 300"/>
                <a:gd name="T22" fmla="*/ 245 w 245"/>
                <a:gd name="T23" fmla="*/ 193 h 300"/>
                <a:gd name="T24" fmla="*/ 245 w 245"/>
                <a:gd name="T25" fmla="*/ 86 h 300"/>
                <a:gd name="T26" fmla="*/ 224 w 245"/>
                <a:gd name="T27" fmla="*/ 188 h 300"/>
                <a:gd name="T28" fmla="*/ 138 w 245"/>
                <a:gd name="T29" fmla="*/ 274 h 300"/>
                <a:gd name="T30" fmla="*/ 25 w 245"/>
                <a:gd name="T31" fmla="*/ 162 h 300"/>
                <a:gd name="T32" fmla="*/ 160 w 245"/>
                <a:gd name="T33" fmla="*/ 27 h 300"/>
                <a:gd name="T34" fmla="*/ 224 w 245"/>
                <a:gd name="T35" fmla="*/ 90 h 300"/>
                <a:gd name="T36" fmla="*/ 224 w 245"/>
                <a:gd name="T37" fmla="*/ 18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5" h="300">
                  <a:moveTo>
                    <a:pt x="245" y="86"/>
                  </a:moveTo>
                  <a:cubicBezTo>
                    <a:pt x="245" y="83"/>
                    <a:pt x="244" y="80"/>
                    <a:pt x="242" y="78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64" y="0"/>
                    <a:pt x="157" y="0"/>
                    <a:pt x="153" y="4"/>
                  </a:cubicBezTo>
                  <a:cubicBezTo>
                    <a:pt x="3" y="154"/>
                    <a:pt x="3" y="154"/>
                    <a:pt x="3" y="154"/>
                  </a:cubicBezTo>
                  <a:cubicBezTo>
                    <a:pt x="1" y="156"/>
                    <a:pt x="0" y="159"/>
                    <a:pt x="0" y="162"/>
                  </a:cubicBezTo>
                  <a:cubicBezTo>
                    <a:pt x="0" y="165"/>
                    <a:pt x="1" y="167"/>
                    <a:pt x="3" y="169"/>
                  </a:cubicBezTo>
                  <a:cubicBezTo>
                    <a:pt x="130" y="297"/>
                    <a:pt x="130" y="297"/>
                    <a:pt x="130" y="297"/>
                  </a:cubicBezTo>
                  <a:cubicBezTo>
                    <a:pt x="132" y="299"/>
                    <a:pt x="135" y="300"/>
                    <a:pt x="138" y="300"/>
                  </a:cubicBezTo>
                  <a:cubicBezTo>
                    <a:pt x="141" y="300"/>
                    <a:pt x="143" y="299"/>
                    <a:pt x="145" y="297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44" y="198"/>
                    <a:pt x="245" y="196"/>
                    <a:pt x="245" y="193"/>
                  </a:cubicBezTo>
                  <a:lnTo>
                    <a:pt x="245" y="86"/>
                  </a:lnTo>
                  <a:close/>
                  <a:moveTo>
                    <a:pt x="224" y="188"/>
                  </a:moveTo>
                  <a:cubicBezTo>
                    <a:pt x="138" y="274"/>
                    <a:pt x="138" y="274"/>
                    <a:pt x="138" y="274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224" y="90"/>
                    <a:pt x="224" y="90"/>
                    <a:pt x="224" y="90"/>
                  </a:cubicBezTo>
                  <a:lnTo>
                    <a:pt x="224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288"/>
            <p:cNvSpPr>
              <a:spLocks/>
            </p:cNvSpPr>
            <p:nvPr/>
          </p:nvSpPr>
          <p:spPr bwMode="auto">
            <a:xfrm>
              <a:off x="6820" y="923"/>
              <a:ext cx="15" cy="42"/>
            </a:xfrm>
            <a:custGeom>
              <a:avLst/>
              <a:gdLst>
                <a:gd name="T0" fmla="*/ 11 w 22"/>
                <a:gd name="T1" fmla="*/ 64 h 64"/>
                <a:gd name="T2" fmla="*/ 22 w 22"/>
                <a:gd name="T3" fmla="*/ 54 h 64"/>
                <a:gd name="T4" fmla="*/ 22 w 22"/>
                <a:gd name="T5" fmla="*/ 11 h 64"/>
                <a:gd name="T6" fmla="*/ 11 w 22"/>
                <a:gd name="T7" fmla="*/ 0 h 64"/>
                <a:gd name="T8" fmla="*/ 0 w 22"/>
                <a:gd name="T9" fmla="*/ 11 h 64"/>
                <a:gd name="T10" fmla="*/ 0 w 22"/>
                <a:gd name="T11" fmla="*/ 54 h 64"/>
                <a:gd name="T12" fmla="*/ 11 w 22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4">
                  <a:moveTo>
                    <a:pt x="11" y="64"/>
                  </a:moveTo>
                  <a:cubicBezTo>
                    <a:pt x="17" y="64"/>
                    <a:pt x="22" y="60"/>
                    <a:pt x="22" y="5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0"/>
                    <a:pt x="5" y="64"/>
                    <a:pt x="11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7" name="Group 883"/>
          <p:cNvGrpSpPr>
            <a:grpSpLocks noChangeAspect="1"/>
          </p:cNvGrpSpPr>
          <p:nvPr/>
        </p:nvGrpSpPr>
        <p:grpSpPr bwMode="auto">
          <a:xfrm>
            <a:off x="5900538" y="3751238"/>
            <a:ext cx="370106" cy="369021"/>
            <a:chOff x="5070" y="3459"/>
            <a:chExt cx="341" cy="340"/>
          </a:xfrm>
          <a:solidFill>
            <a:schemeClr val="accent4"/>
          </a:solidFill>
        </p:grpSpPr>
        <p:sp>
          <p:nvSpPr>
            <p:cNvPr id="168" name="Freeform 884"/>
            <p:cNvSpPr>
              <a:spLocks noEditPoints="1"/>
            </p:cNvSpPr>
            <p:nvPr/>
          </p:nvSpPr>
          <p:spPr bwMode="auto">
            <a:xfrm>
              <a:off x="5070" y="345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885"/>
            <p:cNvSpPr>
              <a:spLocks noEditPoints="1"/>
            </p:cNvSpPr>
            <p:nvPr/>
          </p:nvSpPr>
          <p:spPr bwMode="auto">
            <a:xfrm>
              <a:off x="5155" y="3529"/>
              <a:ext cx="171" cy="206"/>
            </a:xfrm>
            <a:custGeom>
              <a:avLst/>
              <a:gdLst>
                <a:gd name="T0" fmla="*/ 234 w 256"/>
                <a:gd name="T1" fmla="*/ 171 h 310"/>
                <a:gd name="T2" fmla="*/ 208 w 256"/>
                <a:gd name="T3" fmla="*/ 160 h 310"/>
                <a:gd name="T4" fmla="*/ 200 w 256"/>
                <a:gd name="T5" fmla="*/ 133 h 310"/>
                <a:gd name="T6" fmla="*/ 96 w 256"/>
                <a:gd name="T7" fmla="*/ 107 h 310"/>
                <a:gd name="T8" fmla="*/ 53 w 256"/>
                <a:gd name="T9" fmla="*/ 136 h 310"/>
                <a:gd name="T10" fmla="*/ 32 w 256"/>
                <a:gd name="T11" fmla="*/ 160 h 310"/>
                <a:gd name="T12" fmla="*/ 25 w 256"/>
                <a:gd name="T13" fmla="*/ 179 h 310"/>
                <a:gd name="T14" fmla="*/ 0 w 256"/>
                <a:gd name="T15" fmla="*/ 245 h 310"/>
                <a:gd name="T16" fmla="*/ 10 w 256"/>
                <a:gd name="T17" fmla="*/ 265 h 310"/>
                <a:gd name="T18" fmla="*/ 21 w 256"/>
                <a:gd name="T19" fmla="*/ 310 h 310"/>
                <a:gd name="T20" fmla="*/ 74 w 256"/>
                <a:gd name="T21" fmla="*/ 299 h 310"/>
                <a:gd name="T22" fmla="*/ 128 w 256"/>
                <a:gd name="T23" fmla="*/ 288 h 310"/>
                <a:gd name="T24" fmla="*/ 181 w 256"/>
                <a:gd name="T25" fmla="*/ 299 h 310"/>
                <a:gd name="T26" fmla="*/ 234 w 256"/>
                <a:gd name="T27" fmla="*/ 310 h 310"/>
                <a:gd name="T28" fmla="*/ 245 w 256"/>
                <a:gd name="T29" fmla="*/ 265 h 310"/>
                <a:gd name="T30" fmla="*/ 256 w 256"/>
                <a:gd name="T31" fmla="*/ 245 h 310"/>
                <a:gd name="T32" fmla="*/ 230 w 256"/>
                <a:gd name="T33" fmla="*/ 179 h 310"/>
                <a:gd name="T34" fmla="*/ 160 w 256"/>
                <a:gd name="T35" fmla="*/ 128 h 310"/>
                <a:gd name="T36" fmla="*/ 189 w 256"/>
                <a:gd name="T37" fmla="*/ 171 h 310"/>
                <a:gd name="T38" fmla="*/ 73 w 256"/>
                <a:gd name="T39" fmla="*/ 144 h 310"/>
                <a:gd name="T40" fmla="*/ 53 w 256"/>
                <a:gd name="T41" fmla="*/ 288 h 310"/>
                <a:gd name="T42" fmla="*/ 32 w 256"/>
                <a:gd name="T43" fmla="*/ 277 h 310"/>
                <a:gd name="T44" fmla="*/ 53 w 256"/>
                <a:gd name="T45" fmla="*/ 288 h 310"/>
                <a:gd name="T46" fmla="*/ 21 w 256"/>
                <a:gd name="T47" fmla="*/ 224 h 310"/>
                <a:gd name="T48" fmla="*/ 202 w 256"/>
                <a:gd name="T49" fmla="*/ 192 h 310"/>
                <a:gd name="T50" fmla="*/ 234 w 256"/>
                <a:gd name="T51" fmla="*/ 245 h 310"/>
                <a:gd name="T52" fmla="*/ 21 w 256"/>
                <a:gd name="T53" fmla="*/ 245 h 310"/>
                <a:gd name="T54" fmla="*/ 202 w 256"/>
                <a:gd name="T55" fmla="*/ 288 h 310"/>
                <a:gd name="T56" fmla="*/ 224 w 256"/>
                <a:gd name="T57" fmla="*/ 277 h 310"/>
                <a:gd name="T58" fmla="*/ 160 w 256"/>
                <a:gd name="T59" fmla="*/ 224 h 310"/>
                <a:gd name="T60" fmla="*/ 106 w 256"/>
                <a:gd name="T61" fmla="*/ 235 h 310"/>
                <a:gd name="T62" fmla="*/ 106 w 256"/>
                <a:gd name="T63" fmla="*/ 214 h 310"/>
                <a:gd name="T64" fmla="*/ 160 w 256"/>
                <a:gd name="T65" fmla="*/ 224 h 310"/>
                <a:gd name="T66" fmla="*/ 57 w 256"/>
                <a:gd name="T67" fmla="*/ 239 h 310"/>
                <a:gd name="T68" fmla="*/ 57 w 256"/>
                <a:gd name="T69" fmla="*/ 218 h 310"/>
                <a:gd name="T70" fmla="*/ 208 w 256"/>
                <a:gd name="T71" fmla="*/ 228 h 310"/>
                <a:gd name="T72" fmla="*/ 188 w 256"/>
                <a:gd name="T73" fmla="*/ 228 h 310"/>
                <a:gd name="T74" fmla="*/ 208 w 256"/>
                <a:gd name="T75" fmla="*/ 228 h 310"/>
                <a:gd name="T76" fmla="*/ 13 w 256"/>
                <a:gd name="T77" fmla="*/ 55 h 310"/>
                <a:gd name="T78" fmla="*/ 242 w 256"/>
                <a:gd name="T79" fmla="*/ 55 h 310"/>
                <a:gd name="T80" fmla="*/ 226 w 256"/>
                <a:gd name="T81" fmla="*/ 69 h 310"/>
                <a:gd name="T82" fmla="*/ 29 w 256"/>
                <a:gd name="T83" fmla="*/ 69 h 310"/>
                <a:gd name="T84" fmla="*/ 14 w 256"/>
                <a:gd name="T85" fmla="*/ 70 h 310"/>
                <a:gd name="T86" fmla="*/ 211 w 256"/>
                <a:gd name="T87" fmla="*/ 104 h 310"/>
                <a:gd name="T88" fmla="*/ 128 w 256"/>
                <a:gd name="T89" fmla="*/ 70 h 310"/>
                <a:gd name="T90" fmla="*/ 51 w 256"/>
                <a:gd name="T91" fmla="*/ 107 h 310"/>
                <a:gd name="T92" fmla="*/ 43 w 256"/>
                <a:gd name="T93" fmla="*/ 89 h 310"/>
                <a:gd name="T94" fmla="*/ 212 w 256"/>
                <a:gd name="T95" fmla="*/ 8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" h="310">
                  <a:moveTo>
                    <a:pt x="230" y="179"/>
                  </a:moveTo>
                  <a:cubicBezTo>
                    <a:pt x="233" y="177"/>
                    <a:pt x="234" y="175"/>
                    <a:pt x="234" y="171"/>
                  </a:cubicBezTo>
                  <a:cubicBezTo>
                    <a:pt x="234" y="165"/>
                    <a:pt x="230" y="160"/>
                    <a:pt x="224" y="160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35"/>
                    <a:pt x="201" y="134"/>
                    <a:pt x="200" y="133"/>
                  </a:cubicBezTo>
                  <a:cubicBezTo>
                    <a:pt x="198" y="130"/>
                    <a:pt x="180" y="107"/>
                    <a:pt x="160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75" y="107"/>
                    <a:pt x="57" y="130"/>
                    <a:pt x="55" y="133"/>
                  </a:cubicBezTo>
                  <a:cubicBezTo>
                    <a:pt x="54" y="134"/>
                    <a:pt x="54" y="135"/>
                    <a:pt x="53" y="136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26" y="160"/>
                    <a:pt x="21" y="165"/>
                    <a:pt x="21" y="171"/>
                  </a:cubicBezTo>
                  <a:cubicBezTo>
                    <a:pt x="21" y="175"/>
                    <a:pt x="23" y="177"/>
                    <a:pt x="25" y="179"/>
                  </a:cubicBezTo>
                  <a:cubicBezTo>
                    <a:pt x="10" y="189"/>
                    <a:pt x="0" y="206"/>
                    <a:pt x="0" y="224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48"/>
                    <a:pt x="0" y="255"/>
                    <a:pt x="6" y="262"/>
                  </a:cubicBezTo>
                  <a:cubicBezTo>
                    <a:pt x="8" y="263"/>
                    <a:pt x="9" y="264"/>
                    <a:pt x="10" y="265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5"/>
                    <a:pt x="15" y="310"/>
                    <a:pt x="21" y="310"/>
                  </a:cubicBezTo>
                  <a:cubicBezTo>
                    <a:pt x="64" y="310"/>
                    <a:pt x="64" y="310"/>
                    <a:pt x="64" y="310"/>
                  </a:cubicBezTo>
                  <a:cubicBezTo>
                    <a:pt x="70" y="310"/>
                    <a:pt x="74" y="305"/>
                    <a:pt x="74" y="299"/>
                  </a:cubicBezTo>
                  <a:cubicBezTo>
                    <a:pt x="74" y="286"/>
                    <a:pt x="74" y="286"/>
                    <a:pt x="74" y="286"/>
                  </a:cubicBezTo>
                  <a:cubicBezTo>
                    <a:pt x="90" y="287"/>
                    <a:pt x="107" y="288"/>
                    <a:pt x="128" y="288"/>
                  </a:cubicBezTo>
                  <a:cubicBezTo>
                    <a:pt x="148" y="288"/>
                    <a:pt x="165" y="287"/>
                    <a:pt x="181" y="286"/>
                  </a:cubicBezTo>
                  <a:cubicBezTo>
                    <a:pt x="181" y="299"/>
                    <a:pt x="181" y="299"/>
                    <a:pt x="181" y="299"/>
                  </a:cubicBezTo>
                  <a:cubicBezTo>
                    <a:pt x="181" y="305"/>
                    <a:pt x="186" y="310"/>
                    <a:pt x="192" y="310"/>
                  </a:cubicBezTo>
                  <a:cubicBezTo>
                    <a:pt x="234" y="310"/>
                    <a:pt x="234" y="310"/>
                    <a:pt x="234" y="310"/>
                  </a:cubicBezTo>
                  <a:cubicBezTo>
                    <a:pt x="240" y="310"/>
                    <a:pt x="245" y="305"/>
                    <a:pt x="245" y="299"/>
                  </a:cubicBezTo>
                  <a:cubicBezTo>
                    <a:pt x="245" y="265"/>
                    <a:pt x="245" y="265"/>
                    <a:pt x="245" y="265"/>
                  </a:cubicBezTo>
                  <a:cubicBezTo>
                    <a:pt x="246" y="264"/>
                    <a:pt x="248" y="263"/>
                    <a:pt x="249" y="262"/>
                  </a:cubicBezTo>
                  <a:cubicBezTo>
                    <a:pt x="255" y="255"/>
                    <a:pt x="256" y="248"/>
                    <a:pt x="256" y="245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56" y="206"/>
                    <a:pt x="245" y="189"/>
                    <a:pt x="230" y="179"/>
                  </a:cubicBezTo>
                  <a:close/>
                  <a:moveTo>
                    <a:pt x="96" y="128"/>
                  </a:moveTo>
                  <a:cubicBezTo>
                    <a:pt x="160" y="128"/>
                    <a:pt x="160" y="128"/>
                    <a:pt x="160" y="128"/>
                  </a:cubicBezTo>
                  <a:cubicBezTo>
                    <a:pt x="166" y="128"/>
                    <a:pt x="176" y="137"/>
                    <a:pt x="182" y="144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3" y="144"/>
                    <a:pt x="73" y="144"/>
                    <a:pt x="73" y="144"/>
                  </a:cubicBezTo>
                  <a:cubicBezTo>
                    <a:pt x="79" y="137"/>
                    <a:pt x="89" y="128"/>
                    <a:pt x="96" y="128"/>
                  </a:cubicBezTo>
                  <a:close/>
                  <a:moveTo>
                    <a:pt x="53" y="288"/>
                  </a:moveTo>
                  <a:cubicBezTo>
                    <a:pt x="32" y="288"/>
                    <a:pt x="32" y="288"/>
                    <a:pt x="32" y="288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8" y="279"/>
                    <a:pt x="45" y="281"/>
                    <a:pt x="53" y="282"/>
                  </a:cubicBezTo>
                  <a:lnTo>
                    <a:pt x="53" y="288"/>
                  </a:lnTo>
                  <a:close/>
                  <a:moveTo>
                    <a:pt x="21" y="245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208"/>
                    <a:pt x="37" y="192"/>
                    <a:pt x="53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219" y="192"/>
                    <a:pt x="234" y="208"/>
                    <a:pt x="234" y="224"/>
                  </a:cubicBezTo>
                  <a:cubicBezTo>
                    <a:pt x="234" y="245"/>
                    <a:pt x="234" y="245"/>
                    <a:pt x="234" y="245"/>
                  </a:cubicBezTo>
                  <a:cubicBezTo>
                    <a:pt x="233" y="247"/>
                    <a:pt x="222" y="267"/>
                    <a:pt x="128" y="267"/>
                  </a:cubicBezTo>
                  <a:cubicBezTo>
                    <a:pt x="34" y="267"/>
                    <a:pt x="22" y="247"/>
                    <a:pt x="21" y="245"/>
                  </a:cubicBezTo>
                  <a:close/>
                  <a:moveTo>
                    <a:pt x="224" y="288"/>
                  </a:moveTo>
                  <a:cubicBezTo>
                    <a:pt x="202" y="288"/>
                    <a:pt x="202" y="288"/>
                    <a:pt x="202" y="288"/>
                  </a:cubicBezTo>
                  <a:cubicBezTo>
                    <a:pt x="202" y="282"/>
                    <a:pt x="202" y="282"/>
                    <a:pt x="202" y="282"/>
                  </a:cubicBezTo>
                  <a:cubicBezTo>
                    <a:pt x="210" y="281"/>
                    <a:pt x="217" y="279"/>
                    <a:pt x="224" y="277"/>
                  </a:cubicBezTo>
                  <a:lnTo>
                    <a:pt x="224" y="288"/>
                  </a:lnTo>
                  <a:close/>
                  <a:moveTo>
                    <a:pt x="160" y="224"/>
                  </a:moveTo>
                  <a:cubicBezTo>
                    <a:pt x="160" y="230"/>
                    <a:pt x="155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30"/>
                    <a:pt x="96" y="224"/>
                  </a:cubicBezTo>
                  <a:cubicBezTo>
                    <a:pt x="96" y="218"/>
                    <a:pt x="100" y="214"/>
                    <a:pt x="106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55" y="214"/>
                    <a:pt x="160" y="218"/>
                    <a:pt x="160" y="224"/>
                  </a:cubicBezTo>
                  <a:close/>
                  <a:moveTo>
                    <a:pt x="67" y="228"/>
                  </a:moveTo>
                  <a:cubicBezTo>
                    <a:pt x="67" y="234"/>
                    <a:pt x="63" y="239"/>
                    <a:pt x="57" y="239"/>
                  </a:cubicBezTo>
                  <a:cubicBezTo>
                    <a:pt x="52" y="239"/>
                    <a:pt x="47" y="234"/>
                    <a:pt x="47" y="228"/>
                  </a:cubicBezTo>
                  <a:cubicBezTo>
                    <a:pt x="47" y="223"/>
                    <a:pt x="52" y="218"/>
                    <a:pt x="57" y="218"/>
                  </a:cubicBezTo>
                  <a:cubicBezTo>
                    <a:pt x="63" y="218"/>
                    <a:pt x="67" y="223"/>
                    <a:pt x="67" y="228"/>
                  </a:cubicBezTo>
                  <a:close/>
                  <a:moveTo>
                    <a:pt x="208" y="228"/>
                  </a:moveTo>
                  <a:cubicBezTo>
                    <a:pt x="208" y="234"/>
                    <a:pt x="204" y="239"/>
                    <a:pt x="198" y="239"/>
                  </a:cubicBezTo>
                  <a:cubicBezTo>
                    <a:pt x="193" y="239"/>
                    <a:pt x="188" y="234"/>
                    <a:pt x="188" y="228"/>
                  </a:cubicBezTo>
                  <a:cubicBezTo>
                    <a:pt x="188" y="223"/>
                    <a:pt x="193" y="218"/>
                    <a:pt x="198" y="218"/>
                  </a:cubicBezTo>
                  <a:cubicBezTo>
                    <a:pt x="204" y="218"/>
                    <a:pt x="208" y="223"/>
                    <a:pt x="208" y="228"/>
                  </a:cubicBezTo>
                  <a:close/>
                  <a:moveTo>
                    <a:pt x="14" y="70"/>
                  </a:moveTo>
                  <a:cubicBezTo>
                    <a:pt x="10" y="66"/>
                    <a:pt x="9" y="60"/>
                    <a:pt x="13" y="55"/>
                  </a:cubicBezTo>
                  <a:cubicBezTo>
                    <a:pt x="43" y="20"/>
                    <a:pt x="84" y="0"/>
                    <a:pt x="128" y="0"/>
                  </a:cubicBezTo>
                  <a:cubicBezTo>
                    <a:pt x="171" y="0"/>
                    <a:pt x="212" y="20"/>
                    <a:pt x="242" y="55"/>
                  </a:cubicBezTo>
                  <a:cubicBezTo>
                    <a:pt x="246" y="60"/>
                    <a:pt x="246" y="66"/>
                    <a:pt x="241" y="70"/>
                  </a:cubicBezTo>
                  <a:cubicBezTo>
                    <a:pt x="237" y="74"/>
                    <a:pt x="230" y="74"/>
                    <a:pt x="226" y="69"/>
                  </a:cubicBezTo>
                  <a:cubicBezTo>
                    <a:pt x="200" y="39"/>
                    <a:pt x="165" y="22"/>
                    <a:pt x="128" y="22"/>
                  </a:cubicBezTo>
                  <a:cubicBezTo>
                    <a:pt x="90" y="22"/>
                    <a:pt x="55" y="39"/>
                    <a:pt x="29" y="69"/>
                  </a:cubicBezTo>
                  <a:cubicBezTo>
                    <a:pt x="27" y="72"/>
                    <a:pt x="24" y="73"/>
                    <a:pt x="21" y="73"/>
                  </a:cubicBezTo>
                  <a:cubicBezTo>
                    <a:pt x="19" y="73"/>
                    <a:pt x="16" y="72"/>
                    <a:pt x="14" y="70"/>
                  </a:cubicBezTo>
                  <a:close/>
                  <a:moveTo>
                    <a:pt x="212" y="89"/>
                  </a:moveTo>
                  <a:cubicBezTo>
                    <a:pt x="216" y="94"/>
                    <a:pt x="215" y="101"/>
                    <a:pt x="211" y="104"/>
                  </a:cubicBezTo>
                  <a:cubicBezTo>
                    <a:pt x="206" y="108"/>
                    <a:pt x="200" y="108"/>
                    <a:pt x="196" y="103"/>
                  </a:cubicBezTo>
                  <a:cubicBezTo>
                    <a:pt x="178" y="82"/>
                    <a:pt x="153" y="70"/>
                    <a:pt x="128" y="70"/>
                  </a:cubicBezTo>
                  <a:cubicBezTo>
                    <a:pt x="102" y="70"/>
                    <a:pt x="78" y="82"/>
                    <a:pt x="60" y="103"/>
                  </a:cubicBezTo>
                  <a:cubicBezTo>
                    <a:pt x="57" y="106"/>
                    <a:pt x="54" y="107"/>
                    <a:pt x="51" y="107"/>
                  </a:cubicBezTo>
                  <a:cubicBezTo>
                    <a:pt x="49" y="107"/>
                    <a:pt x="47" y="106"/>
                    <a:pt x="45" y="104"/>
                  </a:cubicBezTo>
                  <a:cubicBezTo>
                    <a:pt x="40" y="101"/>
                    <a:pt x="40" y="94"/>
                    <a:pt x="43" y="89"/>
                  </a:cubicBezTo>
                  <a:cubicBezTo>
                    <a:pt x="66" y="63"/>
                    <a:pt x="96" y="49"/>
                    <a:pt x="128" y="49"/>
                  </a:cubicBezTo>
                  <a:cubicBezTo>
                    <a:pt x="160" y="49"/>
                    <a:pt x="190" y="63"/>
                    <a:pt x="212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0" name="Freeform 889"/>
          <p:cNvSpPr>
            <a:spLocks noChangeAspect="1" noEditPoints="1"/>
          </p:cNvSpPr>
          <p:nvPr/>
        </p:nvSpPr>
        <p:spPr bwMode="auto">
          <a:xfrm>
            <a:off x="5402964" y="3751238"/>
            <a:ext cx="369021" cy="369021"/>
          </a:xfrm>
          <a:custGeom>
            <a:avLst/>
            <a:gdLst>
              <a:gd name="T0" fmla="*/ 181 w 512"/>
              <a:gd name="T1" fmla="*/ 388 h 512"/>
              <a:gd name="T2" fmla="*/ 160 w 512"/>
              <a:gd name="T3" fmla="*/ 394 h 512"/>
              <a:gd name="T4" fmla="*/ 310 w 512"/>
              <a:gd name="T5" fmla="*/ 250 h 512"/>
              <a:gd name="T6" fmla="*/ 224 w 512"/>
              <a:gd name="T7" fmla="*/ 234 h 512"/>
              <a:gd name="T8" fmla="*/ 195 w 512"/>
              <a:gd name="T9" fmla="*/ 277 h 512"/>
              <a:gd name="T10" fmla="*/ 310 w 512"/>
              <a:gd name="T11" fmla="*/ 250 h 512"/>
              <a:gd name="T12" fmla="*/ 352 w 512"/>
              <a:gd name="T13" fmla="*/ 394 h 512"/>
              <a:gd name="T14" fmla="*/ 330 w 512"/>
              <a:gd name="T15" fmla="*/ 388 h 512"/>
              <a:gd name="T16" fmla="*/ 362 w 512"/>
              <a:gd name="T17" fmla="*/ 330 h 512"/>
              <a:gd name="T18" fmla="*/ 256 w 512"/>
              <a:gd name="T19" fmla="*/ 373 h 512"/>
              <a:gd name="T20" fmla="*/ 149 w 512"/>
              <a:gd name="T21" fmla="*/ 330 h 512"/>
              <a:gd name="T22" fmla="*/ 330 w 512"/>
              <a:gd name="T23" fmla="*/ 298 h 512"/>
              <a:gd name="T24" fmla="*/ 195 w 512"/>
              <a:gd name="T25" fmla="*/ 334 h 512"/>
              <a:gd name="T26" fmla="*/ 175 w 512"/>
              <a:gd name="T27" fmla="*/ 334 h 512"/>
              <a:gd name="T28" fmla="*/ 195 w 512"/>
              <a:gd name="T29" fmla="*/ 334 h 512"/>
              <a:gd name="T30" fmla="*/ 277 w 512"/>
              <a:gd name="T31" fmla="*/ 320 h 512"/>
              <a:gd name="T32" fmla="*/ 224 w 512"/>
              <a:gd name="T33" fmla="*/ 330 h 512"/>
              <a:gd name="T34" fmla="*/ 277 w 512"/>
              <a:gd name="T35" fmla="*/ 341 h 512"/>
              <a:gd name="T36" fmla="*/ 336 w 512"/>
              <a:gd name="T37" fmla="*/ 334 h 512"/>
              <a:gd name="T38" fmla="*/ 316 w 512"/>
              <a:gd name="T39" fmla="*/ 334 h 512"/>
              <a:gd name="T40" fmla="*/ 336 w 512"/>
              <a:gd name="T41" fmla="*/ 334 h 512"/>
              <a:gd name="T42" fmla="*/ 256 w 512"/>
              <a:gd name="T43" fmla="*/ 512 h 512"/>
              <a:gd name="T44" fmla="*/ 256 w 512"/>
              <a:gd name="T45" fmla="*/ 0 h 512"/>
              <a:gd name="T46" fmla="*/ 142 w 512"/>
              <a:gd name="T47" fmla="*/ 176 h 512"/>
              <a:gd name="T48" fmla="*/ 157 w 512"/>
              <a:gd name="T49" fmla="*/ 175 h 512"/>
              <a:gd name="T50" fmla="*/ 354 w 512"/>
              <a:gd name="T51" fmla="*/ 175 h 512"/>
              <a:gd name="T52" fmla="*/ 370 w 512"/>
              <a:gd name="T53" fmla="*/ 161 h 512"/>
              <a:gd name="T54" fmla="*/ 141 w 512"/>
              <a:gd name="T55" fmla="*/ 161 h 512"/>
              <a:gd name="T56" fmla="*/ 340 w 512"/>
              <a:gd name="T57" fmla="*/ 195 h 512"/>
              <a:gd name="T58" fmla="*/ 171 w 512"/>
              <a:gd name="T59" fmla="*/ 195 h 512"/>
              <a:gd name="T60" fmla="*/ 179 w 512"/>
              <a:gd name="T61" fmla="*/ 213 h 512"/>
              <a:gd name="T62" fmla="*/ 256 w 512"/>
              <a:gd name="T63" fmla="*/ 176 h 512"/>
              <a:gd name="T64" fmla="*/ 339 w 512"/>
              <a:gd name="T65" fmla="*/ 210 h 512"/>
              <a:gd name="T66" fmla="*/ 384 w 512"/>
              <a:gd name="T67" fmla="*/ 330 h 512"/>
              <a:gd name="T68" fmla="*/ 362 w 512"/>
              <a:gd name="T69" fmla="*/ 277 h 512"/>
              <a:gd name="T70" fmla="*/ 336 w 512"/>
              <a:gd name="T71" fmla="*/ 266 h 512"/>
              <a:gd name="T72" fmla="*/ 328 w 512"/>
              <a:gd name="T73" fmla="*/ 239 h 512"/>
              <a:gd name="T74" fmla="*/ 224 w 512"/>
              <a:gd name="T75" fmla="*/ 213 h 512"/>
              <a:gd name="T76" fmla="*/ 181 w 512"/>
              <a:gd name="T77" fmla="*/ 242 h 512"/>
              <a:gd name="T78" fmla="*/ 160 w 512"/>
              <a:gd name="T79" fmla="*/ 266 h 512"/>
              <a:gd name="T80" fmla="*/ 153 w 512"/>
              <a:gd name="T81" fmla="*/ 285 h 512"/>
              <a:gd name="T82" fmla="*/ 128 w 512"/>
              <a:gd name="T83" fmla="*/ 351 h 512"/>
              <a:gd name="T84" fmla="*/ 138 w 512"/>
              <a:gd name="T85" fmla="*/ 371 h 512"/>
              <a:gd name="T86" fmla="*/ 149 w 512"/>
              <a:gd name="T87" fmla="*/ 416 h 512"/>
              <a:gd name="T88" fmla="*/ 202 w 512"/>
              <a:gd name="T89" fmla="*/ 405 h 512"/>
              <a:gd name="T90" fmla="*/ 256 w 512"/>
              <a:gd name="T91" fmla="*/ 394 h 512"/>
              <a:gd name="T92" fmla="*/ 309 w 512"/>
              <a:gd name="T93" fmla="*/ 405 h 512"/>
              <a:gd name="T94" fmla="*/ 362 w 512"/>
              <a:gd name="T95" fmla="*/ 416 h 512"/>
              <a:gd name="T96" fmla="*/ 373 w 512"/>
              <a:gd name="T97" fmla="*/ 371 h 512"/>
              <a:gd name="T98" fmla="*/ 384 w 512"/>
              <a:gd name="T99" fmla="*/ 35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2" h="512">
                <a:moveTo>
                  <a:pt x="160" y="383"/>
                </a:moveTo>
                <a:cubicBezTo>
                  <a:pt x="166" y="385"/>
                  <a:pt x="173" y="387"/>
                  <a:pt x="181" y="388"/>
                </a:cubicBezTo>
                <a:cubicBezTo>
                  <a:pt x="181" y="394"/>
                  <a:pt x="181" y="394"/>
                  <a:pt x="181" y="394"/>
                </a:cubicBezTo>
                <a:cubicBezTo>
                  <a:pt x="160" y="394"/>
                  <a:pt x="160" y="394"/>
                  <a:pt x="160" y="394"/>
                </a:cubicBezTo>
                <a:lnTo>
                  <a:pt x="160" y="383"/>
                </a:lnTo>
                <a:close/>
                <a:moveTo>
                  <a:pt x="310" y="250"/>
                </a:moveTo>
                <a:cubicBezTo>
                  <a:pt x="304" y="243"/>
                  <a:pt x="294" y="234"/>
                  <a:pt x="288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17" y="234"/>
                  <a:pt x="207" y="243"/>
                  <a:pt x="201" y="250"/>
                </a:cubicBezTo>
                <a:cubicBezTo>
                  <a:pt x="195" y="277"/>
                  <a:pt x="195" y="277"/>
                  <a:pt x="195" y="277"/>
                </a:cubicBezTo>
                <a:cubicBezTo>
                  <a:pt x="317" y="277"/>
                  <a:pt x="317" y="277"/>
                  <a:pt x="317" y="277"/>
                </a:cubicBezTo>
                <a:lnTo>
                  <a:pt x="310" y="250"/>
                </a:lnTo>
                <a:close/>
                <a:moveTo>
                  <a:pt x="330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383"/>
                  <a:pt x="352" y="383"/>
                  <a:pt x="352" y="383"/>
                </a:cubicBezTo>
                <a:cubicBezTo>
                  <a:pt x="345" y="385"/>
                  <a:pt x="338" y="387"/>
                  <a:pt x="330" y="388"/>
                </a:cubicBezTo>
                <a:lnTo>
                  <a:pt x="330" y="394"/>
                </a:lnTo>
                <a:close/>
                <a:moveTo>
                  <a:pt x="362" y="330"/>
                </a:moveTo>
                <a:cubicBezTo>
                  <a:pt x="362" y="351"/>
                  <a:pt x="362" y="351"/>
                  <a:pt x="362" y="351"/>
                </a:cubicBezTo>
                <a:cubicBezTo>
                  <a:pt x="361" y="353"/>
                  <a:pt x="350" y="373"/>
                  <a:pt x="256" y="373"/>
                </a:cubicBezTo>
                <a:cubicBezTo>
                  <a:pt x="162" y="373"/>
                  <a:pt x="150" y="353"/>
                  <a:pt x="149" y="351"/>
                </a:cubicBezTo>
                <a:cubicBezTo>
                  <a:pt x="149" y="330"/>
                  <a:pt x="149" y="330"/>
                  <a:pt x="149" y="330"/>
                </a:cubicBezTo>
                <a:cubicBezTo>
                  <a:pt x="149" y="314"/>
                  <a:pt x="165" y="298"/>
                  <a:pt x="181" y="298"/>
                </a:cubicBezTo>
                <a:cubicBezTo>
                  <a:pt x="330" y="298"/>
                  <a:pt x="330" y="298"/>
                  <a:pt x="330" y="298"/>
                </a:cubicBezTo>
                <a:cubicBezTo>
                  <a:pt x="347" y="298"/>
                  <a:pt x="362" y="314"/>
                  <a:pt x="362" y="330"/>
                </a:cubicBezTo>
                <a:close/>
                <a:moveTo>
                  <a:pt x="195" y="334"/>
                </a:moveTo>
                <a:cubicBezTo>
                  <a:pt x="195" y="329"/>
                  <a:pt x="191" y="324"/>
                  <a:pt x="185" y="324"/>
                </a:cubicBezTo>
                <a:cubicBezTo>
                  <a:pt x="180" y="324"/>
                  <a:pt x="175" y="329"/>
                  <a:pt x="175" y="334"/>
                </a:cubicBezTo>
                <a:cubicBezTo>
                  <a:pt x="175" y="340"/>
                  <a:pt x="180" y="345"/>
                  <a:pt x="185" y="345"/>
                </a:cubicBezTo>
                <a:cubicBezTo>
                  <a:pt x="191" y="345"/>
                  <a:pt x="195" y="340"/>
                  <a:pt x="195" y="334"/>
                </a:cubicBezTo>
                <a:close/>
                <a:moveTo>
                  <a:pt x="288" y="330"/>
                </a:moveTo>
                <a:cubicBezTo>
                  <a:pt x="288" y="324"/>
                  <a:pt x="283" y="320"/>
                  <a:pt x="277" y="320"/>
                </a:cubicBezTo>
                <a:cubicBezTo>
                  <a:pt x="234" y="320"/>
                  <a:pt x="234" y="320"/>
                  <a:pt x="234" y="320"/>
                </a:cubicBezTo>
                <a:cubicBezTo>
                  <a:pt x="228" y="320"/>
                  <a:pt x="224" y="324"/>
                  <a:pt x="224" y="330"/>
                </a:cubicBezTo>
                <a:cubicBezTo>
                  <a:pt x="224" y="336"/>
                  <a:pt x="228" y="341"/>
                  <a:pt x="234" y="341"/>
                </a:cubicBezTo>
                <a:cubicBezTo>
                  <a:pt x="277" y="341"/>
                  <a:pt x="277" y="341"/>
                  <a:pt x="277" y="341"/>
                </a:cubicBezTo>
                <a:cubicBezTo>
                  <a:pt x="283" y="341"/>
                  <a:pt x="288" y="336"/>
                  <a:pt x="288" y="330"/>
                </a:cubicBezTo>
                <a:close/>
                <a:moveTo>
                  <a:pt x="336" y="334"/>
                </a:moveTo>
                <a:cubicBezTo>
                  <a:pt x="336" y="329"/>
                  <a:pt x="332" y="324"/>
                  <a:pt x="326" y="324"/>
                </a:cubicBezTo>
                <a:cubicBezTo>
                  <a:pt x="321" y="324"/>
                  <a:pt x="316" y="329"/>
                  <a:pt x="316" y="334"/>
                </a:cubicBezTo>
                <a:cubicBezTo>
                  <a:pt x="316" y="340"/>
                  <a:pt x="321" y="345"/>
                  <a:pt x="326" y="345"/>
                </a:cubicBezTo>
                <a:cubicBezTo>
                  <a:pt x="332" y="345"/>
                  <a:pt x="336" y="340"/>
                  <a:pt x="336" y="334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2" y="176"/>
                </a:moveTo>
                <a:cubicBezTo>
                  <a:pt x="144" y="178"/>
                  <a:pt x="147" y="179"/>
                  <a:pt x="149" y="179"/>
                </a:cubicBezTo>
                <a:cubicBezTo>
                  <a:pt x="152" y="179"/>
                  <a:pt x="155" y="178"/>
                  <a:pt x="157" y="175"/>
                </a:cubicBezTo>
                <a:cubicBezTo>
                  <a:pt x="183" y="145"/>
                  <a:pt x="218" y="128"/>
                  <a:pt x="256" y="128"/>
                </a:cubicBezTo>
                <a:cubicBezTo>
                  <a:pt x="293" y="128"/>
                  <a:pt x="328" y="145"/>
                  <a:pt x="354" y="175"/>
                </a:cubicBezTo>
                <a:cubicBezTo>
                  <a:pt x="358" y="180"/>
                  <a:pt x="365" y="180"/>
                  <a:pt x="369" y="176"/>
                </a:cubicBezTo>
                <a:cubicBezTo>
                  <a:pt x="374" y="172"/>
                  <a:pt x="374" y="166"/>
                  <a:pt x="370" y="161"/>
                </a:cubicBezTo>
                <a:cubicBezTo>
                  <a:pt x="340" y="126"/>
                  <a:pt x="299" y="106"/>
                  <a:pt x="256" y="106"/>
                </a:cubicBezTo>
                <a:cubicBezTo>
                  <a:pt x="212" y="106"/>
                  <a:pt x="171" y="126"/>
                  <a:pt x="141" y="161"/>
                </a:cubicBezTo>
                <a:cubicBezTo>
                  <a:pt x="137" y="166"/>
                  <a:pt x="138" y="172"/>
                  <a:pt x="142" y="176"/>
                </a:cubicBezTo>
                <a:close/>
                <a:moveTo>
                  <a:pt x="340" y="195"/>
                </a:moveTo>
                <a:cubicBezTo>
                  <a:pt x="318" y="169"/>
                  <a:pt x="288" y="155"/>
                  <a:pt x="256" y="155"/>
                </a:cubicBezTo>
                <a:cubicBezTo>
                  <a:pt x="224" y="155"/>
                  <a:pt x="194" y="169"/>
                  <a:pt x="171" y="195"/>
                </a:cubicBezTo>
                <a:cubicBezTo>
                  <a:pt x="168" y="200"/>
                  <a:pt x="168" y="207"/>
                  <a:pt x="173" y="210"/>
                </a:cubicBezTo>
                <a:cubicBezTo>
                  <a:pt x="175" y="212"/>
                  <a:pt x="177" y="213"/>
                  <a:pt x="179" y="213"/>
                </a:cubicBezTo>
                <a:cubicBezTo>
                  <a:pt x="182" y="213"/>
                  <a:pt x="185" y="212"/>
                  <a:pt x="188" y="209"/>
                </a:cubicBezTo>
                <a:cubicBezTo>
                  <a:pt x="206" y="188"/>
                  <a:pt x="230" y="176"/>
                  <a:pt x="256" y="176"/>
                </a:cubicBezTo>
                <a:cubicBezTo>
                  <a:pt x="281" y="176"/>
                  <a:pt x="306" y="188"/>
                  <a:pt x="324" y="209"/>
                </a:cubicBezTo>
                <a:cubicBezTo>
                  <a:pt x="328" y="214"/>
                  <a:pt x="334" y="214"/>
                  <a:pt x="339" y="210"/>
                </a:cubicBezTo>
                <a:cubicBezTo>
                  <a:pt x="343" y="207"/>
                  <a:pt x="344" y="200"/>
                  <a:pt x="340" y="195"/>
                </a:cubicBezTo>
                <a:close/>
                <a:moveTo>
                  <a:pt x="384" y="330"/>
                </a:moveTo>
                <a:cubicBezTo>
                  <a:pt x="384" y="312"/>
                  <a:pt x="373" y="295"/>
                  <a:pt x="358" y="285"/>
                </a:cubicBezTo>
                <a:cubicBezTo>
                  <a:pt x="361" y="283"/>
                  <a:pt x="362" y="281"/>
                  <a:pt x="362" y="277"/>
                </a:cubicBezTo>
                <a:cubicBezTo>
                  <a:pt x="362" y="271"/>
                  <a:pt x="358" y="266"/>
                  <a:pt x="352" y="266"/>
                </a:cubicBezTo>
                <a:cubicBezTo>
                  <a:pt x="336" y="266"/>
                  <a:pt x="336" y="266"/>
                  <a:pt x="336" y="266"/>
                </a:cubicBezTo>
                <a:cubicBezTo>
                  <a:pt x="330" y="242"/>
                  <a:pt x="330" y="242"/>
                  <a:pt x="330" y="242"/>
                </a:cubicBezTo>
                <a:cubicBezTo>
                  <a:pt x="330" y="241"/>
                  <a:pt x="329" y="240"/>
                  <a:pt x="328" y="239"/>
                </a:cubicBezTo>
                <a:cubicBezTo>
                  <a:pt x="326" y="236"/>
                  <a:pt x="308" y="213"/>
                  <a:pt x="288" y="213"/>
                </a:cubicBezTo>
                <a:cubicBezTo>
                  <a:pt x="224" y="213"/>
                  <a:pt x="224" y="213"/>
                  <a:pt x="224" y="213"/>
                </a:cubicBezTo>
                <a:cubicBezTo>
                  <a:pt x="203" y="213"/>
                  <a:pt x="185" y="236"/>
                  <a:pt x="183" y="239"/>
                </a:cubicBezTo>
                <a:cubicBezTo>
                  <a:pt x="182" y="240"/>
                  <a:pt x="182" y="241"/>
                  <a:pt x="181" y="242"/>
                </a:cubicBezTo>
                <a:cubicBezTo>
                  <a:pt x="175" y="266"/>
                  <a:pt x="175" y="266"/>
                  <a:pt x="175" y="266"/>
                </a:cubicBezTo>
                <a:cubicBezTo>
                  <a:pt x="160" y="266"/>
                  <a:pt x="160" y="266"/>
                  <a:pt x="160" y="266"/>
                </a:cubicBezTo>
                <a:cubicBezTo>
                  <a:pt x="154" y="266"/>
                  <a:pt x="149" y="271"/>
                  <a:pt x="149" y="277"/>
                </a:cubicBezTo>
                <a:cubicBezTo>
                  <a:pt x="149" y="281"/>
                  <a:pt x="151" y="283"/>
                  <a:pt x="153" y="285"/>
                </a:cubicBezTo>
                <a:cubicBezTo>
                  <a:pt x="138" y="295"/>
                  <a:pt x="128" y="312"/>
                  <a:pt x="128" y="330"/>
                </a:cubicBezTo>
                <a:cubicBezTo>
                  <a:pt x="128" y="351"/>
                  <a:pt x="128" y="351"/>
                  <a:pt x="128" y="351"/>
                </a:cubicBezTo>
                <a:cubicBezTo>
                  <a:pt x="128" y="354"/>
                  <a:pt x="128" y="361"/>
                  <a:pt x="134" y="368"/>
                </a:cubicBezTo>
                <a:cubicBezTo>
                  <a:pt x="136" y="369"/>
                  <a:pt x="137" y="370"/>
                  <a:pt x="138" y="371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192" y="416"/>
                  <a:pt x="192" y="416"/>
                  <a:pt x="192" y="416"/>
                </a:cubicBezTo>
                <a:cubicBezTo>
                  <a:pt x="198" y="416"/>
                  <a:pt x="202" y="411"/>
                  <a:pt x="202" y="405"/>
                </a:cubicBezTo>
                <a:cubicBezTo>
                  <a:pt x="202" y="392"/>
                  <a:pt x="202" y="392"/>
                  <a:pt x="202" y="392"/>
                </a:cubicBezTo>
                <a:cubicBezTo>
                  <a:pt x="218" y="393"/>
                  <a:pt x="235" y="394"/>
                  <a:pt x="256" y="394"/>
                </a:cubicBezTo>
                <a:cubicBezTo>
                  <a:pt x="276" y="394"/>
                  <a:pt x="293" y="393"/>
                  <a:pt x="309" y="392"/>
                </a:cubicBezTo>
                <a:cubicBezTo>
                  <a:pt x="309" y="405"/>
                  <a:pt x="309" y="405"/>
                  <a:pt x="309" y="405"/>
                </a:cubicBezTo>
                <a:cubicBezTo>
                  <a:pt x="309" y="411"/>
                  <a:pt x="314" y="416"/>
                  <a:pt x="320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371"/>
                  <a:pt x="373" y="371"/>
                  <a:pt x="373" y="371"/>
                </a:cubicBezTo>
                <a:cubicBezTo>
                  <a:pt x="374" y="370"/>
                  <a:pt x="376" y="369"/>
                  <a:pt x="377" y="368"/>
                </a:cubicBezTo>
                <a:cubicBezTo>
                  <a:pt x="383" y="361"/>
                  <a:pt x="384" y="354"/>
                  <a:pt x="384" y="351"/>
                </a:cubicBezTo>
                <a:lnTo>
                  <a:pt x="384" y="3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71" name="Group 890"/>
          <p:cNvGrpSpPr>
            <a:grpSpLocks noChangeAspect="1"/>
          </p:cNvGrpSpPr>
          <p:nvPr/>
        </p:nvGrpSpPr>
        <p:grpSpPr bwMode="auto">
          <a:xfrm>
            <a:off x="8885994" y="2051051"/>
            <a:ext cx="370763" cy="369676"/>
            <a:chOff x="1153" y="3104"/>
            <a:chExt cx="341" cy="340"/>
          </a:xfrm>
          <a:solidFill>
            <a:schemeClr val="accent3"/>
          </a:solidFill>
        </p:grpSpPr>
        <p:sp>
          <p:nvSpPr>
            <p:cNvPr id="172" name="Freeform 891"/>
            <p:cNvSpPr>
              <a:spLocks noEditPoints="1"/>
            </p:cNvSpPr>
            <p:nvPr/>
          </p:nvSpPr>
          <p:spPr bwMode="auto">
            <a:xfrm>
              <a:off x="1302" y="3168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892"/>
            <p:cNvSpPr>
              <a:spLocks/>
            </p:cNvSpPr>
            <p:nvPr/>
          </p:nvSpPr>
          <p:spPr bwMode="auto">
            <a:xfrm>
              <a:off x="1288" y="3217"/>
              <a:ext cx="78" cy="163"/>
            </a:xfrm>
            <a:custGeom>
              <a:avLst/>
              <a:gdLst>
                <a:gd name="T0" fmla="*/ 107 w 118"/>
                <a:gd name="T1" fmla="*/ 246 h 246"/>
                <a:gd name="T2" fmla="*/ 96 w 118"/>
                <a:gd name="T3" fmla="*/ 237 h 246"/>
                <a:gd name="T4" fmla="*/ 86 w 118"/>
                <a:gd name="T5" fmla="*/ 165 h 246"/>
                <a:gd name="T6" fmla="*/ 45 w 118"/>
                <a:gd name="T7" fmla="*/ 114 h 246"/>
                <a:gd name="T8" fmla="*/ 43 w 118"/>
                <a:gd name="T9" fmla="*/ 107 h 246"/>
                <a:gd name="T10" fmla="*/ 43 w 118"/>
                <a:gd name="T11" fmla="*/ 32 h 246"/>
                <a:gd name="T12" fmla="*/ 22 w 118"/>
                <a:gd name="T13" fmla="*/ 48 h 246"/>
                <a:gd name="T14" fmla="*/ 22 w 118"/>
                <a:gd name="T15" fmla="*/ 118 h 246"/>
                <a:gd name="T16" fmla="*/ 11 w 118"/>
                <a:gd name="T17" fmla="*/ 128 h 246"/>
                <a:gd name="T18" fmla="*/ 0 w 118"/>
                <a:gd name="T19" fmla="*/ 118 h 246"/>
                <a:gd name="T20" fmla="*/ 0 w 118"/>
                <a:gd name="T21" fmla="*/ 43 h 246"/>
                <a:gd name="T22" fmla="*/ 5 w 118"/>
                <a:gd name="T23" fmla="*/ 34 h 246"/>
                <a:gd name="T24" fmla="*/ 47 w 118"/>
                <a:gd name="T25" fmla="*/ 2 h 246"/>
                <a:gd name="T26" fmla="*/ 58 w 118"/>
                <a:gd name="T27" fmla="*/ 1 h 246"/>
                <a:gd name="T28" fmla="*/ 64 w 118"/>
                <a:gd name="T29" fmla="*/ 11 h 246"/>
                <a:gd name="T30" fmla="*/ 64 w 118"/>
                <a:gd name="T31" fmla="*/ 103 h 246"/>
                <a:gd name="T32" fmla="*/ 105 w 118"/>
                <a:gd name="T33" fmla="*/ 154 h 246"/>
                <a:gd name="T34" fmla="*/ 107 w 118"/>
                <a:gd name="T35" fmla="*/ 159 h 246"/>
                <a:gd name="T36" fmla="*/ 118 w 118"/>
                <a:gd name="T37" fmla="*/ 233 h 246"/>
                <a:gd name="T38" fmla="*/ 109 w 118"/>
                <a:gd name="T39" fmla="*/ 246 h 246"/>
                <a:gd name="T40" fmla="*/ 107 w 118"/>
                <a:gd name="T41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246">
                  <a:moveTo>
                    <a:pt x="107" y="246"/>
                  </a:moveTo>
                  <a:cubicBezTo>
                    <a:pt x="102" y="246"/>
                    <a:pt x="97" y="242"/>
                    <a:pt x="96" y="237"/>
                  </a:cubicBezTo>
                  <a:cubicBezTo>
                    <a:pt x="86" y="165"/>
                    <a:pt x="86" y="165"/>
                    <a:pt x="86" y="165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4" y="112"/>
                    <a:pt x="43" y="109"/>
                    <a:pt x="43" y="107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22" y="124"/>
                    <a:pt x="17" y="128"/>
                    <a:pt x="11" y="128"/>
                  </a:cubicBezTo>
                  <a:cubicBezTo>
                    <a:pt x="5" y="128"/>
                    <a:pt x="0" y="124"/>
                    <a:pt x="0" y="11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0"/>
                    <a:pt x="2" y="36"/>
                    <a:pt x="5" y="3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51" y="0"/>
                    <a:pt x="55" y="0"/>
                    <a:pt x="58" y="1"/>
                  </a:cubicBezTo>
                  <a:cubicBezTo>
                    <a:pt x="62" y="3"/>
                    <a:pt x="64" y="7"/>
                    <a:pt x="64" y="11"/>
                  </a:cubicBezTo>
                  <a:cubicBezTo>
                    <a:pt x="64" y="103"/>
                    <a:pt x="64" y="103"/>
                    <a:pt x="64" y="103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6" y="155"/>
                    <a:pt x="107" y="157"/>
                    <a:pt x="107" y="159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8" y="239"/>
                    <a:pt x="114" y="245"/>
                    <a:pt x="109" y="246"/>
                  </a:cubicBezTo>
                  <a:cubicBezTo>
                    <a:pt x="108" y="246"/>
                    <a:pt x="107" y="246"/>
                    <a:pt x="107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893"/>
            <p:cNvSpPr>
              <a:spLocks/>
            </p:cNvSpPr>
            <p:nvPr/>
          </p:nvSpPr>
          <p:spPr bwMode="auto">
            <a:xfrm>
              <a:off x="1273" y="3315"/>
              <a:ext cx="51" cy="65"/>
            </a:xfrm>
            <a:custGeom>
              <a:avLst/>
              <a:gdLst>
                <a:gd name="T0" fmla="*/ 12 w 77"/>
                <a:gd name="T1" fmla="*/ 98 h 98"/>
                <a:gd name="T2" fmla="*/ 5 w 77"/>
                <a:gd name="T3" fmla="*/ 96 h 98"/>
                <a:gd name="T4" fmla="*/ 3 w 77"/>
                <a:gd name="T5" fmla="*/ 81 h 98"/>
                <a:gd name="T6" fmla="*/ 56 w 77"/>
                <a:gd name="T7" fmla="*/ 6 h 98"/>
                <a:gd name="T8" fmla="*/ 71 w 77"/>
                <a:gd name="T9" fmla="*/ 4 h 98"/>
                <a:gd name="T10" fmla="*/ 74 w 77"/>
                <a:gd name="T11" fmla="*/ 19 h 98"/>
                <a:gd name="T12" fmla="*/ 20 w 77"/>
                <a:gd name="T13" fmla="*/ 93 h 98"/>
                <a:gd name="T14" fmla="*/ 12 w 77"/>
                <a:gd name="T1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98">
                  <a:moveTo>
                    <a:pt x="12" y="98"/>
                  </a:moveTo>
                  <a:cubicBezTo>
                    <a:pt x="10" y="98"/>
                    <a:pt x="7" y="97"/>
                    <a:pt x="5" y="96"/>
                  </a:cubicBezTo>
                  <a:cubicBezTo>
                    <a:pt x="1" y="92"/>
                    <a:pt x="0" y="86"/>
                    <a:pt x="3" y="81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60" y="1"/>
                    <a:pt x="66" y="0"/>
                    <a:pt x="71" y="4"/>
                  </a:cubicBezTo>
                  <a:cubicBezTo>
                    <a:pt x="76" y="7"/>
                    <a:pt x="77" y="14"/>
                    <a:pt x="74" y="19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18" y="96"/>
                    <a:pt x="15" y="98"/>
                    <a:pt x="1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894"/>
            <p:cNvSpPr>
              <a:spLocks/>
            </p:cNvSpPr>
            <p:nvPr/>
          </p:nvSpPr>
          <p:spPr bwMode="auto">
            <a:xfrm>
              <a:off x="1344" y="3266"/>
              <a:ext cx="23" cy="22"/>
            </a:xfrm>
            <a:custGeom>
              <a:avLst/>
              <a:gdLst>
                <a:gd name="T0" fmla="*/ 22 w 34"/>
                <a:gd name="T1" fmla="*/ 33 h 33"/>
                <a:gd name="T2" fmla="*/ 14 w 34"/>
                <a:gd name="T3" fmla="*/ 30 h 33"/>
                <a:gd name="T4" fmla="*/ 4 w 34"/>
                <a:gd name="T5" fmla="*/ 19 h 33"/>
                <a:gd name="T6" fmla="*/ 4 w 34"/>
                <a:gd name="T7" fmla="*/ 4 h 33"/>
                <a:gd name="T8" fmla="*/ 19 w 34"/>
                <a:gd name="T9" fmla="*/ 4 h 33"/>
                <a:gd name="T10" fmla="*/ 30 w 34"/>
                <a:gd name="T11" fmla="*/ 15 h 33"/>
                <a:gd name="T12" fmla="*/ 30 w 34"/>
                <a:gd name="T13" fmla="*/ 30 h 33"/>
                <a:gd name="T14" fmla="*/ 22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2" y="33"/>
                  </a:moveTo>
                  <a:cubicBezTo>
                    <a:pt x="19" y="33"/>
                    <a:pt x="17" y="32"/>
                    <a:pt x="14" y="3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8" y="0"/>
                    <a:pt x="15" y="0"/>
                    <a:pt x="19" y="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4" y="19"/>
                    <a:pt x="34" y="26"/>
                    <a:pt x="30" y="30"/>
                  </a:cubicBezTo>
                  <a:cubicBezTo>
                    <a:pt x="27" y="32"/>
                    <a:pt x="25" y="33"/>
                    <a:pt x="2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895"/>
            <p:cNvSpPr>
              <a:spLocks noEditPoints="1"/>
            </p:cNvSpPr>
            <p:nvPr/>
          </p:nvSpPr>
          <p:spPr bwMode="auto">
            <a:xfrm>
              <a:off x="1153" y="310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7" name="Group 176"/>
          <p:cNvGrpSpPr>
            <a:grpSpLocks noChangeAspect="1"/>
          </p:cNvGrpSpPr>
          <p:nvPr/>
        </p:nvGrpSpPr>
        <p:grpSpPr bwMode="auto">
          <a:xfrm>
            <a:off x="8387282" y="2051051"/>
            <a:ext cx="369676" cy="369676"/>
            <a:chOff x="787" y="3068"/>
            <a:chExt cx="340" cy="340"/>
          </a:xfrm>
          <a:solidFill>
            <a:schemeClr val="accent3"/>
          </a:solidFill>
        </p:grpSpPr>
        <p:sp>
          <p:nvSpPr>
            <p:cNvPr id="178" name="Oval 899"/>
            <p:cNvSpPr>
              <a:spLocks noChangeArrowheads="1"/>
            </p:cNvSpPr>
            <p:nvPr/>
          </p:nvSpPr>
          <p:spPr bwMode="auto">
            <a:xfrm>
              <a:off x="950" y="3146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900"/>
            <p:cNvSpPr>
              <a:spLocks noEditPoints="1"/>
            </p:cNvSpPr>
            <p:nvPr/>
          </p:nvSpPr>
          <p:spPr bwMode="auto">
            <a:xfrm>
              <a:off x="787" y="306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96 h 512"/>
                <a:gd name="T12" fmla="*/ 288 w 512"/>
                <a:gd name="T13" fmla="*/ 128 h 512"/>
                <a:gd name="T14" fmla="*/ 256 w 512"/>
                <a:gd name="T15" fmla="*/ 160 h 512"/>
                <a:gd name="T16" fmla="*/ 224 w 512"/>
                <a:gd name="T17" fmla="*/ 128 h 512"/>
                <a:gd name="T18" fmla="*/ 256 w 512"/>
                <a:gd name="T19" fmla="*/ 96 h 512"/>
                <a:gd name="T20" fmla="*/ 254 w 512"/>
                <a:gd name="T21" fmla="*/ 337 h 512"/>
                <a:gd name="T22" fmla="*/ 200 w 512"/>
                <a:gd name="T23" fmla="*/ 411 h 512"/>
                <a:gd name="T24" fmla="*/ 192 w 512"/>
                <a:gd name="T25" fmla="*/ 416 h 512"/>
                <a:gd name="T26" fmla="*/ 185 w 512"/>
                <a:gd name="T27" fmla="*/ 414 h 512"/>
                <a:gd name="T28" fmla="*/ 183 w 512"/>
                <a:gd name="T29" fmla="*/ 399 h 512"/>
                <a:gd name="T30" fmla="*/ 236 w 512"/>
                <a:gd name="T31" fmla="*/ 324 h 512"/>
                <a:gd name="T32" fmla="*/ 251 w 512"/>
                <a:gd name="T33" fmla="*/ 322 h 512"/>
                <a:gd name="T34" fmla="*/ 254 w 512"/>
                <a:gd name="T35" fmla="*/ 337 h 512"/>
                <a:gd name="T36" fmla="*/ 311 w 512"/>
                <a:gd name="T37" fmla="*/ 416 h 512"/>
                <a:gd name="T38" fmla="*/ 309 w 512"/>
                <a:gd name="T39" fmla="*/ 416 h 512"/>
                <a:gd name="T40" fmla="*/ 298 w 512"/>
                <a:gd name="T41" fmla="*/ 407 h 512"/>
                <a:gd name="T42" fmla="*/ 288 w 512"/>
                <a:gd name="T43" fmla="*/ 335 h 512"/>
                <a:gd name="T44" fmla="*/ 247 w 512"/>
                <a:gd name="T45" fmla="*/ 284 h 512"/>
                <a:gd name="T46" fmla="*/ 245 w 512"/>
                <a:gd name="T47" fmla="*/ 277 h 512"/>
                <a:gd name="T48" fmla="*/ 245 w 512"/>
                <a:gd name="T49" fmla="*/ 202 h 512"/>
                <a:gd name="T50" fmla="*/ 224 w 512"/>
                <a:gd name="T51" fmla="*/ 218 h 512"/>
                <a:gd name="T52" fmla="*/ 224 w 512"/>
                <a:gd name="T53" fmla="*/ 288 h 512"/>
                <a:gd name="T54" fmla="*/ 213 w 512"/>
                <a:gd name="T55" fmla="*/ 298 h 512"/>
                <a:gd name="T56" fmla="*/ 202 w 512"/>
                <a:gd name="T57" fmla="*/ 288 h 512"/>
                <a:gd name="T58" fmla="*/ 202 w 512"/>
                <a:gd name="T59" fmla="*/ 213 h 512"/>
                <a:gd name="T60" fmla="*/ 207 w 512"/>
                <a:gd name="T61" fmla="*/ 204 h 512"/>
                <a:gd name="T62" fmla="*/ 249 w 512"/>
                <a:gd name="T63" fmla="*/ 172 h 512"/>
                <a:gd name="T64" fmla="*/ 260 w 512"/>
                <a:gd name="T65" fmla="*/ 171 h 512"/>
                <a:gd name="T66" fmla="*/ 266 w 512"/>
                <a:gd name="T67" fmla="*/ 181 h 512"/>
                <a:gd name="T68" fmla="*/ 266 w 512"/>
                <a:gd name="T69" fmla="*/ 273 h 512"/>
                <a:gd name="T70" fmla="*/ 307 w 512"/>
                <a:gd name="T71" fmla="*/ 324 h 512"/>
                <a:gd name="T72" fmla="*/ 309 w 512"/>
                <a:gd name="T73" fmla="*/ 329 h 512"/>
                <a:gd name="T74" fmla="*/ 320 w 512"/>
                <a:gd name="T75" fmla="*/ 403 h 512"/>
                <a:gd name="T76" fmla="*/ 311 w 512"/>
                <a:gd name="T77" fmla="*/ 416 h 512"/>
                <a:gd name="T78" fmla="*/ 317 w 512"/>
                <a:gd name="T79" fmla="*/ 274 h 512"/>
                <a:gd name="T80" fmla="*/ 309 w 512"/>
                <a:gd name="T81" fmla="*/ 277 h 512"/>
                <a:gd name="T82" fmla="*/ 301 w 512"/>
                <a:gd name="T83" fmla="*/ 274 h 512"/>
                <a:gd name="T84" fmla="*/ 291 w 512"/>
                <a:gd name="T85" fmla="*/ 263 h 512"/>
                <a:gd name="T86" fmla="*/ 291 w 512"/>
                <a:gd name="T87" fmla="*/ 248 h 512"/>
                <a:gd name="T88" fmla="*/ 306 w 512"/>
                <a:gd name="T89" fmla="*/ 248 h 512"/>
                <a:gd name="T90" fmla="*/ 317 w 512"/>
                <a:gd name="T91" fmla="*/ 259 h 512"/>
                <a:gd name="T92" fmla="*/ 317 w 512"/>
                <a:gd name="T93" fmla="*/ 27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96"/>
                  </a:moveTo>
                  <a:cubicBezTo>
                    <a:pt x="273" y="96"/>
                    <a:pt x="288" y="110"/>
                    <a:pt x="288" y="128"/>
                  </a:cubicBezTo>
                  <a:cubicBezTo>
                    <a:pt x="288" y="145"/>
                    <a:pt x="273" y="160"/>
                    <a:pt x="256" y="160"/>
                  </a:cubicBezTo>
                  <a:cubicBezTo>
                    <a:pt x="238" y="160"/>
                    <a:pt x="224" y="145"/>
                    <a:pt x="224" y="128"/>
                  </a:cubicBezTo>
                  <a:cubicBezTo>
                    <a:pt x="224" y="110"/>
                    <a:pt x="238" y="96"/>
                    <a:pt x="256" y="96"/>
                  </a:cubicBezTo>
                  <a:close/>
                  <a:moveTo>
                    <a:pt x="254" y="337"/>
                  </a:moveTo>
                  <a:cubicBezTo>
                    <a:pt x="200" y="411"/>
                    <a:pt x="200" y="411"/>
                    <a:pt x="200" y="411"/>
                  </a:cubicBezTo>
                  <a:cubicBezTo>
                    <a:pt x="198" y="414"/>
                    <a:pt x="195" y="416"/>
                    <a:pt x="192" y="416"/>
                  </a:cubicBezTo>
                  <a:cubicBezTo>
                    <a:pt x="190" y="416"/>
                    <a:pt x="187" y="415"/>
                    <a:pt x="185" y="414"/>
                  </a:cubicBezTo>
                  <a:cubicBezTo>
                    <a:pt x="181" y="410"/>
                    <a:pt x="180" y="404"/>
                    <a:pt x="183" y="399"/>
                  </a:cubicBezTo>
                  <a:cubicBezTo>
                    <a:pt x="236" y="324"/>
                    <a:pt x="236" y="324"/>
                    <a:pt x="236" y="324"/>
                  </a:cubicBezTo>
                  <a:cubicBezTo>
                    <a:pt x="240" y="319"/>
                    <a:pt x="246" y="318"/>
                    <a:pt x="251" y="322"/>
                  </a:cubicBezTo>
                  <a:cubicBezTo>
                    <a:pt x="256" y="325"/>
                    <a:pt x="257" y="332"/>
                    <a:pt x="254" y="337"/>
                  </a:cubicBezTo>
                  <a:close/>
                  <a:moveTo>
                    <a:pt x="311" y="416"/>
                  </a:moveTo>
                  <a:cubicBezTo>
                    <a:pt x="310" y="416"/>
                    <a:pt x="309" y="416"/>
                    <a:pt x="309" y="416"/>
                  </a:cubicBezTo>
                  <a:cubicBezTo>
                    <a:pt x="304" y="416"/>
                    <a:pt x="299" y="412"/>
                    <a:pt x="298" y="407"/>
                  </a:cubicBezTo>
                  <a:cubicBezTo>
                    <a:pt x="288" y="335"/>
                    <a:pt x="288" y="335"/>
                    <a:pt x="288" y="335"/>
                  </a:cubicBezTo>
                  <a:cubicBezTo>
                    <a:pt x="247" y="284"/>
                    <a:pt x="247" y="284"/>
                    <a:pt x="247" y="284"/>
                  </a:cubicBezTo>
                  <a:cubicBezTo>
                    <a:pt x="246" y="282"/>
                    <a:pt x="245" y="279"/>
                    <a:pt x="245" y="277"/>
                  </a:cubicBezTo>
                  <a:cubicBezTo>
                    <a:pt x="245" y="202"/>
                    <a:pt x="245" y="202"/>
                    <a:pt x="245" y="202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94"/>
                    <a:pt x="219" y="298"/>
                    <a:pt x="213" y="298"/>
                  </a:cubicBezTo>
                  <a:cubicBezTo>
                    <a:pt x="207" y="298"/>
                    <a:pt x="202" y="294"/>
                    <a:pt x="202" y="288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210"/>
                    <a:pt x="204" y="206"/>
                    <a:pt x="207" y="204"/>
                  </a:cubicBezTo>
                  <a:cubicBezTo>
                    <a:pt x="249" y="172"/>
                    <a:pt x="249" y="172"/>
                    <a:pt x="249" y="172"/>
                  </a:cubicBezTo>
                  <a:cubicBezTo>
                    <a:pt x="253" y="170"/>
                    <a:pt x="257" y="170"/>
                    <a:pt x="260" y="171"/>
                  </a:cubicBezTo>
                  <a:cubicBezTo>
                    <a:pt x="264" y="173"/>
                    <a:pt x="266" y="177"/>
                    <a:pt x="266" y="181"/>
                  </a:cubicBezTo>
                  <a:cubicBezTo>
                    <a:pt x="266" y="273"/>
                    <a:pt x="266" y="273"/>
                    <a:pt x="266" y="273"/>
                  </a:cubicBezTo>
                  <a:cubicBezTo>
                    <a:pt x="307" y="324"/>
                    <a:pt x="307" y="324"/>
                    <a:pt x="307" y="324"/>
                  </a:cubicBezTo>
                  <a:cubicBezTo>
                    <a:pt x="308" y="325"/>
                    <a:pt x="309" y="327"/>
                    <a:pt x="309" y="329"/>
                  </a:cubicBezTo>
                  <a:cubicBezTo>
                    <a:pt x="320" y="403"/>
                    <a:pt x="320" y="403"/>
                    <a:pt x="320" y="403"/>
                  </a:cubicBezTo>
                  <a:cubicBezTo>
                    <a:pt x="320" y="409"/>
                    <a:pt x="316" y="415"/>
                    <a:pt x="311" y="416"/>
                  </a:cubicBezTo>
                  <a:close/>
                  <a:moveTo>
                    <a:pt x="317" y="274"/>
                  </a:moveTo>
                  <a:cubicBezTo>
                    <a:pt x="314" y="276"/>
                    <a:pt x="312" y="277"/>
                    <a:pt x="309" y="277"/>
                  </a:cubicBezTo>
                  <a:cubicBezTo>
                    <a:pt x="306" y="277"/>
                    <a:pt x="304" y="276"/>
                    <a:pt x="301" y="274"/>
                  </a:cubicBezTo>
                  <a:cubicBezTo>
                    <a:pt x="291" y="263"/>
                    <a:pt x="291" y="263"/>
                    <a:pt x="291" y="263"/>
                  </a:cubicBezTo>
                  <a:cubicBezTo>
                    <a:pt x="287" y="259"/>
                    <a:pt x="287" y="252"/>
                    <a:pt x="291" y="248"/>
                  </a:cubicBezTo>
                  <a:cubicBezTo>
                    <a:pt x="295" y="244"/>
                    <a:pt x="302" y="244"/>
                    <a:pt x="306" y="248"/>
                  </a:cubicBezTo>
                  <a:cubicBezTo>
                    <a:pt x="317" y="259"/>
                    <a:pt x="317" y="259"/>
                    <a:pt x="317" y="259"/>
                  </a:cubicBezTo>
                  <a:cubicBezTo>
                    <a:pt x="321" y="263"/>
                    <a:pt x="321" y="270"/>
                    <a:pt x="317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0" name="Group 657"/>
          <p:cNvGrpSpPr>
            <a:grpSpLocks noChangeAspect="1"/>
          </p:cNvGrpSpPr>
          <p:nvPr/>
        </p:nvGrpSpPr>
        <p:grpSpPr bwMode="auto">
          <a:xfrm>
            <a:off x="6897426" y="3751235"/>
            <a:ext cx="370763" cy="369676"/>
            <a:chOff x="2738" y="2314"/>
            <a:chExt cx="341" cy="340"/>
          </a:xfrm>
          <a:solidFill>
            <a:schemeClr val="accent1"/>
          </a:solidFill>
        </p:grpSpPr>
        <p:sp>
          <p:nvSpPr>
            <p:cNvPr id="181" name="Freeform 658"/>
            <p:cNvSpPr>
              <a:spLocks noEditPoints="1"/>
            </p:cNvSpPr>
            <p:nvPr/>
          </p:nvSpPr>
          <p:spPr bwMode="auto">
            <a:xfrm>
              <a:off x="2738" y="231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659"/>
            <p:cNvSpPr>
              <a:spLocks noEditPoints="1"/>
            </p:cNvSpPr>
            <p:nvPr/>
          </p:nvSpPr>
          <p:spPr bwMode="auto">
            <a:xfrm>
              <a:off x="2802" y="2420"/>
              <a:ext cx="213" cy="142"/>
            </a:xfrm>
            <a:custGeom>
              <a:avLst/>
              <a:gdLst>
                <a:gd name="T0" fmla="*/ 288 w 320"/>
                <a:gd name="T1" fmla="*/ 64 h 213"/>
                <a:gd name="T2" fmla="*/ 234 w 320"/>
                <a:gd name="T3" fmla="*/ 64 h 213"/>
                <a:gd name="T4" fmla="*/ 234 w 320"/>
                <a:gd name="T5" fmla="*/ 10 h 213"/>
                <a:gd name="T6" fmla="*/ 224 w 320"/>
                <a:gd name="T7" fmla="*/ 0 h 213"/>
                <a:gd name="T8" fmla="*/ 10 w 320"/>
                <a:gd name="T9" fmla="*/ 0 h 213"/>
                <a:gd name="T10" fmla="*/ 0 w 320"/>
                <a:gd name="T11" fmla="*/ 10 h 213"/>
                <a:gd name="T12" fmla="*/ 0 w 320"/>
                <a:gd name="T13" fmla="*/ 181 h 213"/>
                <a:gd name="T14" fmla="*/ 10 w 320"/>
                <a:gd name="T15" fmla="*/ 192 h 213"/>
                <a:gd name="T16" fmla="*/ 34 w 320"/>
                <a:gd name="T17" fmla="*/ 192 h 213"/>
                <a:gd name="T18" fmla="*/ 64 w 320"/>
                <a:gd name="T19" fmla="*/ 213 h 213"/>
                <a:gd name="T20" fmla="*/ 94 w 320"/>
                <a:gd name="T21" fmla="*/ 192 h 213"/>
                <a:gd name="T22" fmla="*/ 215 w 320"/>
                <a:gd name="T23" fmla="*/ 192 h 213"/>
                <a:gd name="T24" fmla="*/ 245 w 320"/>
                <a:gd name="T25" fmla="*/ 213 h 213"/>
                <a:gd name="T26" fmla="*/ 275 w 320"/>
                <a:gd name="T27" fmla="*/ 192 h 213"/>
                <a:gd name="T28" fmla="*/ 309 w 320"/>
                <a:gd name="T29" fmla="*/ 192 h 213"/>
                <a:gd name="T30" fmla="*/ 320 w 320"/>
                <a:gd name="T31" fmla="*/ 181 h 213"/>
                <a:gd name="T32" fmla="*/ 320 w 320"/>
                <a:gd name="T33" fmla="*/ 96 h 213"/>
                <a:gd name="T34" fmla="*/ 288 w 320"/>
                <a:gd name="T35" fmla="*/ 64 h 213"/>
                <a:gd name="T36" fmla="*/ 64 w 320"/>
                <a:gd name="T37" fmla="*/ 192 h 213"/>
                <a:gd name="T38" fmla="*/ 53 w 320"/>
                <a:gd name="T39" fmla="*/ 181 h 213"/>
                <a:gd name="T40" fmla="*/ 64 w 320"/>
                <a:gd name="T41" fmla="*/ 170 h 213"/>
                <a:gd name="T42" fmla="*/ 74 w 320"/>
                <a:gd name="T43" fmla="*/ 181 h 213"/>
                <a:gd name="T44" fmla="*/ 64 w 320"/>
                <a:gd name="T45" fmla="*/ 192 h 213"/>
                <a:gd name="T46" fmla="*/ 245 w 320"/>
                <a:gd name="T47" fmla="*/ 192 h 213"/>
                <a:gd name="T48" fmla="*/ 234 w 320"/>
                <a:gd name="T49" fmla="*/ 181 h 213"/>
                <a:gd name="T50" fmla="*/ 245 w 320"/>
                <a:gd name="T51" fmla="*/ 170 h 213"/>
                <a:gd name="T52" fmla="*/ 256 w 320"/>
                <a:gd name="T53" fmla="*/ 181 h 213"/>
                <a:gd name="T54" fmla="*/ 245 w 320"/>
                <a:gd name="T55" fmla="*/ 192 h 213"/>
                <a:gd name="T56" fmla="*/ 298 w 320"/>
                <a:gd name="T57" fmla="*/ 170 h 213"/>
                <a:gd name="T58" fmla="*/ 275 w 320"/>
                <a:gd name="T59" fmla="*/ 170 h 213"/>
                <a:gd name="T60" fmla="*/ 245 w 320"/>
                <a:gd name="T61" fmla="*/ 149 h 213"/>
                <a:gd name="T62" fmla="*/ 215 w 320"/>
                <a:gd name="T63" fmla="*/ 170 h 213"/>
                <a:gd name="T64" fmla="*/ 94 w 320"/>
                <a:gd name="T65" fmla="*/ 170 h 213"/>
                <a:gd name="T66" fmla="*/ 64 w 320"/>
                <a:gd name="T67" fmla="*/ 149 h 213"/>
                <a:gd name="T68" fmla="*/ 34 w 320"/>
                <a:gd name="T69" fmla="*/ 170 h 213"/>
                <a:gd name="T70" fmla="*/ 21 w 320"/>
                <a:gd name="T71" fmla="*/ 170 h 213"/>
                <a:gd name="T72" fmla="*/ 21 w 320"/>
                <a:gd name="T73" fmla="*/ 21 h 213"/>
                <a:gd name="T74" fmla="*/ 213 w 320"/>
                <a:gd name="T75" fmla="*/ 21 h 213"/>
                <a:gd name="T76" fmla="*/ 213 w 320"/>
                <a:gd name="T77" fmla="*/ 117 h 213"/>
                <a:gd name="T78" fmla="*/ 224 w 320"/>
                <a:gd name="T79" fmla="*/ 128 h 213"/>
                <a:gd name="T80" fmla="*/ 234 w 320"/>
                <a:gd name="T81" fmla="*/ 117 h 213"/>
                <a:gd name="T82" fmla="*/ 234 w 320"/>
                <a:gd name="T83" fmla="*/ 85 h 213"/>
                <a:gd name="T84" fmla="*/ 288 w 320"/>
                <a:gd name="T85" fmla="*/ 85 h 213"/>
                <a:gd name="T86" fmla="*/ 298 w 320"/>
                <a:gd name="T87" fmla="*/ 96 h 213"/>
                <a:gd name="T88" fmla="*/ 298 w 320"/>
                <a:gd name="T89" fmla="*/ 17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0" h="213">
                  <a:moveTo>
                    <a:pt x="288" y="64"/>
                  </a:moveTo>
                  <a:cubicBezTo>
                    <a:pt x="234" y="64"/>
                    <a:pt x="234" y="64"/>
                    <a:pt x="234" y="64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4"/>
                    <a:pt x="230" y="0"/>
                    <a:pt x="22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38" y="204"/>
                    <a:pt x="50" y="213"/>
                    <a:pt x="64" y="213"/>
                  </a:cubicBezTo>
                  <a:cubicBezTo>
                    <a:pt x="78" y="213"/>
                    <a:pt x="89" y="204"/>
                    <a:pt x="94" y="192"/>
                  </a:cubicBezTo>
                  <a:cubicBezTo>
                    <a:pt x="215" y="192"/>
                    <a:pt x="215" y="192"/>
                    <a:pt x="215" y="192"/>
                  </a:cubicBezTo>
                  <a:cubicBezTo>
                    <a:pt x="219" y="204"/>
                    <a:pt x="231" y="213"/>
                    <a:pt x="245" y="213"/>
                  </a:cubicBezTo>
                  <a:cubicBezTo>
                    <a:pt x="259" y="213"/>
                    <a:pt x="271" y="204"/>
                    <a:pt x="275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0" y="78"/>
                    <a:pt x="305" y="64"/>
                    <a:pt x="288" y="64"/>
                  </a:cubicBezTo>
                  <a:close/>
                  <a:moveTo>
                    <a:pt x="64" y="192"/>
                  </a:moveTo>
                  <a:cubicBezTo>
                    <a:pt x="58" y="192"/>
                    <a:pt x="53" y="187"/>
                    <a:pt x="53" y="181"/>
                  </a:cubicBezTo>
                  <a:cubicBezTo>
                    <a:pt x="53" y="175"/>
                    <a:pt x="58" y="170"/>
                    <a:pt x="64" y="170"/>
                  </a:cubicBezTo>
                  <a:cubicBezTo>
                    <a:pt x="70" y="170"/>
                    <a:pt x="74" y="175"/>
                    <a:pt x="74" y="181"/>
                  </a:cubicBezTo>
                  <a:cubicBezTo>
                    <a:pt x="74" y="187"/>
                    <a:pt x="70" y="192"/>
                    <a:pt x="64" y="192"/>
                  </a:cubicBezTo>
                  <a:close/>
                  <a:moveTo>
                    <a:pt x="245" y="192"/>
                  </a:moveTo>
                  <a:cubicBezTo>
                    <a:pt x="239" y="192"/>
                    <a:pt x="234" y="187"/>
                    <a:pt x="234" y="181"/>
                  </a:cubicBezTo>
                  <a:cubicBezTo>
                    <a:pt x="234" y="175"/>
                    <a:pt x="239" y="170"/>
                    <a:pt x="245" y="170"/>
                  </a:cubicBezTo>
                  <a:cubicBezTo>
                    <a:pt x="251" y="170"/>
                    <a:pt x="256" y="175"/>
                    <a:pt x="256" y="181"/>
                  </a:cubicBezTo>
                  <a:cubicBezTo>
                    <a:pt x="256" y="187"/>
                    <a:pt x="251" y="192"/>
                    <a:pt x="245" y="192"/>
                  </a:cubicBezTo>
                  <a:close/>
                  <a:moveTo>
                    <a:pt x="298" y="170"/>
                  </a:moveTo>
                  <a:cubicBezTo>
                    <a:pt x="275" y="170"/>
                    <a:pt x="275" y="170"/>
                    <a:pt x="275" y="170"/>
                  </a:cubicBezTo>
                  <a:cubicBezTo>
                    <a:pt x="271" y="158"/>
                    <a:pt x="259" y="149"/>
                    <a:pt x="245" y="149"/>
                  </a:cubicBezTo>
                  <a:cubicBezTo>
                    <a:pt x="231" y="149"/>
                    <a:pt x="219" y="158"/>
                    <a:pt x="215" y="170"/>
                  </a:cubicBezTo>
                  <a:cubicBezTo>
                    <a:pt x="94" y="170"/>
                    <a:pt x="94" y="170"/>
                    <a:pt x="94" y="170"/>
                  </a:cubicBezTo>
                  <a:cubicBezTo>
                    <a:pt x="89" y="158"/>
                    <a:pt x="78" y="149"/>
                    <a:pt x="64" y="149"/>
                  </a:cubicBezTo>
                  <a:cubicBezTo>
                    <a:pt x="50" y="149"/>
                    <a:pt x="38" y="158"/>
                    <a:pt x="34" y="170"/>
                  </a:cubicBezTo>
                  <a:cubicBezTo>
                    <a:pt x="21" y="170"/>
                    <a:pt x="21" y="170"/>
                    <a:pt x="21" y="17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3" y="117"/>
                    <a:pt x="213" y="117"/>
                    <a:pt x="213" y="117"/>
                  </a:cubicBezTo>
                  <a:cubicBezTo>
                    <a:pt x="213" y="123"/>
                    <a:pt x="218" y="128"/>
                    <a:pt x="224" y="128"/>
                  </a:cubicBezTo>
                  <a:cubicBezTo>
                    <a:pt x="230" y="128"/>
                    <a:pt x="234" y="123"/>
                    <a:pt x="234" y="117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94" y="85"/>
                    <a:pt x="298" y="90"/>
                    <a:pt x="298" y="96"/>
                  </a:cubicBezTo>
                  <a:lnTo>
                    <a:pt x="298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3" name="Group 662"/>
          <p:cNvGrpSpPr>
            <a:grpSpLocks noChangeAspect="1"/>
          </p:cNvGrpSpPr>
          <p:nvPr/>
        </p:nvGrpSpPr>
        <p:grpSpPr bwMode="auto">
          <a:xfrm>
            <a:off x="6399197" y="3751235"/>
            <a:ext cx="369676" cy="369676"/>
            <a:chOff x="2340" y="2340"/>
            <a:chExt cx="340" cy="340"/>
          </a:xfrm>
          <a:solidFill>
            <a:schemeClr val="accent1"/>
          </a:solidFill>
        </p:grpSpPr>
        <p:sp>
          <p:nvSpPr>
            <p:cNvPr id="184" name="Oval 663"/>
            <p:cNvSpPr>
              <a:spLocks noChangeArrowheads="1"/>
            </p:cNvSpPr>
            <p:nvPr/>
          </p:nvSpPr>
          <p:spPr bwMode="auto">
            <a:xfrm>
              <a:off x="2559" y="2559"/>
              <a:ext cx="15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664"/>
            <p:cNvSpPr>
              <a:spLocks/>
            </p:cNvSpPr>
            <p:nvPr/>
          </p:nvSpPr>
          <p:spPr bwMode="auto">
            <a:xfrm>
              <a:off x="2418" y="2460"/>
              <a:ext cx="184" cy="99"/>
            </a:xfrm>
            <a:custGeom>
              <a:avLst/>
              <a:gdLst>
                <a:gd name="T0" fmla="*/ 267 w 277"/>
                <a:gd name="T1" fmla="*/ 64 h 149"/>
                <a:gd name="T2" fmla="*/ 213 w 277"/>
                <a:gd name="T3" fmla="*/ 64 h 149"/>
                <a:gd name="T4" fmla="*/ 213 w 277"/>
                <a:gd name="T5" fmla="*/ 96 h 149"/>
                <a:gd name="T6" fmla="*/ 203 w 277"/>
                <a:gd name="T7" fmla="*/ 107 h 149"/>
                <a:gd name="T8" fmla="*/ 192 w 277"/>
                <a:gd name="T9" fmla="*/ 96 h 149"/>
                <a:gd name="T10" fmla="*/ 192 w 277"/>
                <a:gd name="T11" fmla="*/ 0 h 149"/>
                <a:gd name="T12" fmla="*/ 0 w 277"/>
                <a:gd name="T13" fmla="*/ 0 h 149"/>
                <a:gd name="T14" fmla="*/ 0 w 277"/>
                <a:gd name="T15" fmla="*/ 149 h 149"/>
                <a:gd name="T16" fmla="*/ 13 w 277"/>
                <a:gd name="T17" fmla="*/ 149 h 149"/>
                <a:gd name="T18" fmla="*/ 43 w 277"/>
                <a:gd name="T19" fmla="*/ 128 h 149"/>
                <a:gd name="T20" fmla="*/ 73 w 277"/>
                <a:gd name="T21" fmla="*/ 149 h 149"/>
                <a:gd name="T22" fmla="*/ 194 w 277"/>
                <a:gd name="T23" fmla="*/ 149 h 149"/>
                <a:gd name="T24" fmla="*/ 224 w 277"/>
                <a:gd name="T25" fmla="*/ 128 h 149"/>
                <a:gd name="T26" fmla="*/ 254 w 277"/>
                <a:gd name="T27" fmla="*/ 149 h 149"/>
                <a:gd name="T28" fmla="*/ 277 w 277"/>
                <a:gd name="T29" fmla="*/ 149 h 149"/>
                <a:gd name="T30" fmla="*/ 277 w 277"/>
                <a:gd name="T31" fmla="*/ 75 h 149"/>
                <a:gd name="T32" fmla="*/ 267 w 277"/>
                <a:gd name="T33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149">
                  <a:moveTo>
                    <a:pt x="267" y="64"/>
                  </a:moveTo>
                  <a:cubicBezTo>
                    <a:pt x="213" y="64"/>
                    <a:pt x="213" y="64"/>
                    <a:pt x="213" y="64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2"/>
                    <a:pt x="209" y="107"/>
                    <a:pt x="203" y="107"/>
                  </a:cubicBezTo>
                  <a:cubicBezTo>
                    <a:pt x="197" y="107"/>
                    <a:pt x="192" y="102"/>
                    <a:pt x="192" y="96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3" y="149"/>
                    <a:pt x="13" y="149"/>
                    <a:pt x="13" y="149"/>
                  </a:cubicBezTo>
                  <a:cubicBezTo>
                    <a:pt x="17" y="137"/>
                    <a:pt x="29" y="128"/>
                    <a:pt x="43" y="128"/>
                  </a:cubicBezTo>
                  <a:cubicBezTo>
                    <a:pt x="57" y="128"/>
                    <a:pt x="68" y="137"/>
                    <a:pt x="73" y="149"/>
                  </a:cubicBezTo>
                  <a:cubicBezTo>
                    <a:pt x="194" y="149"/>
                    <a:pt x="194" y="149"/>
                    <a:pt x="194" y="149"/>
                  </a:cubicBezTo>
                  <a:cubicBezTo>
                    <a:pt x="198" y="137"/>
                    <a:pt x="210" y="128"/>
                    <a:pt x="224" y="128"/>
                  </a:cubicBezTo>
                  <a:cubicBezTo>
                    <a:pt x="238" y="128"/>
                    <a:pt x="250" y="137"/>
                    <a:pt x="254" y="149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69"/>
                    <a:pt x="273" y="64"/>
                    <a:pt x="26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Oval 665"/>
            <p:cNvSpPr>
              <a:spLocks noChangeArrowheads="1"/>
            </p:cNvSpPr>
            <p:nvPr/>
          </p:nvSpPr>
          <p:spPr bwMode="auto">
            <a:xfrm>
              <a:off x="2439" y="2559"/>
              <a:ext cx="14" cy="1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666"/>
            <p:cNvSpPr>
              <a:spLocks noEditPoints="1"/>
            </p:cNvSpPr>
            <p:nvPr/>
          </p:nvSpPr>
          <p:spPr bwMode="auto">
            <a:xfrm>
              <a:off x="2340" y="234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371 w 512"/>
                <a:gd name="T15" fmla="*/ 352 h 512"/>
                <a:gd name="T16" fmla="*/ 341 w 512"/>
                <a:gd name="T17" fmla="*/ 373 h 512"/>
                <a:gd name="T18" fmla="*/ 311 w 512"/>
                <a:gd name="T19" fmla="*/ 352 h 512"/>
                <a:gd name="T20" fmla="*/ 190 w 512"/>
                <a:gd name="T21" fmla="*/ 352 h 512"/>
                <a:gd name="T22" fmla="*/ 160 w 512"/>
                <a:gd name="T23" fmla="*/ 373 h 512"/>
                <a:gd name="T24" fmla="*/ 130 w 512"/>
                <a:gd name="T25" fmla="*/ 352 h 512"/>
                <a:gd name="T26" fmla="*/ 106 w 512"/>
                <a:gd name="T27" fmla="*/ 352 h 512"/>
                <a:gd name="T28" fmla="*/ 96 w 512"/>
                <a:gd name="T29" fmla="*/ 341 h 512"/>
                <a:gd name="T30" fmla="*/ 96 w 512"/>
                <a:gd name="T31" fmla="*/ 170 h 512"/>
                <a:gd name="T32" fmla="*/ 106 w 512"/>
                <a:gd name="T33" fmla="*/ 160 h 512"/>
                <a:gd name="T34" fmla="*/ 320 w 512"/>
                <a:gd name="T35" fmla="*/ 160 h 512"/>
                <a:gd name="T36" fmla="*/ 330 w 512"/>
                <a:gd name="T37" fmla="*/ 170 h 512"/>
                <a:gd name="T38" fmla="*/ 330 w 512"/>
                <a:gd name="T39" fmla="*/ 224 h 512"/>
                <a:gd name="T40" fmla="*/ 384 w 512"/>
                <a:gd name="T41" fmla="*/ 224 h 512"/>
                <a:gd name="T42" fmla="*/ 416 w 512"/>
                <a:gd name="T43" fmla="*/ 256 h 512"/>
                <a:gd name="T44" fmla="*/ 416 w 512"/>
                <a:gd name="T45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371" y="352"/>
                    <a:pt x="371" y="352"/>
                    <a:pt x="371" y="352"/>
                  </a:cubicBezTo>
                  <a:cubicBezTo>
                    <a:pt x="367" y="364"/>
                    <a:pt x="355" y="373"/>
                    <a:pt x="341" y="373"/>
                  </a:cubicBezTo>
                  <a:cubicBezTo>
                    <a:pt x="327" y="373"/>
                    <a:pt x="315" y="364"/>
                    <a:pt x="311" y="352"/>
                  </a:cubicBezTo>
                  <a:cubicBezTo>
                    <a:pt x="190" y="352"/>
                    <a:pt x="190" y="352"/>
                    <a:pt x="190" y="352"/>
                  </a:cubicBezTo>
                  <a:cubicBezTo>
                    <a:pt x="185" y="364"/>
                    <a:pt x="174" y="373"/>
                    <a:pt x="160" y="373"/>
                  </a:cubicBezTo>
                  <a:cubicBezTo>
                    <a:pt x="146" y="373"/>
                    <a:pt x="134" y="364"/>
                    <a:pt x="130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70"/>
                    <a:pt x="96" y="170"/>
                    <a:pt x="96" y="170"/>
                  </a:cubicBezTo>
                  <a:cubicBezTo>
                    <a:pt x="96" y="164"/>
                    <a:pt x="100" y="160"/>
                    <a:pt x="106" y="160"/>
                  </a:cubicBezTo>
                  <a:cubicBezTo>
                    <a:pt x="320" y="160"/>
                    <a:pt x="320" y="160"/>
                    <a:pt x="320" y="160"/>
                  </a:cubicBezTo>
                  <a:cubicBezTo>
                    <a:pt x="326" y="160"/>
                    <a:pt x="330" y="164"/>
                    <a:pt x="330" y="170"/>
                  </a:cubicBezTo>
                  <a:cubicBezTo>
                    <a:pt x="330" y="224"/>
                    <a:pt x="330" y="224"/>
                    <a:pt x="330" y="224"/>
                  </a:cubicBezTo>
                  <a:cubicBezTo>
                    <a:pt x="384" y="224"/>
                    <a:pt x="384" y="224"/>
                    <a:pt x="384" y="224"/>
                  </a:cubicBezTo>
                  <a:cubicBezTo>
                    <a:pt x="401" y="224"/>
                    <a:pt x="416" y="238"/>
                    <a:pt x="416" y="256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8" name="Freeform 516"/>
          <p:cNvSpPr>
            <a:spLocks noChangeAspect="1" noEditPoints="1"/>
          </p:cNvSpPr>
          <p:nvPr/>
        </p:nvSpPr>
        <p:spPr bwMode="auto">
          <a:xfrm>
            <a:off x="7396742" y="3751234"/>
            <a:ext cx="369064" cy="367982"/>
          </a:xfrm>
          <a:custGeom>
            <a:avLst/>
            <a:gdLst>
              <a:gd name="T0" fmla="*/ 141 w 512"/>
              <a:gd name="T1" fmla="*/ 138 h 512"/>
              <a:gd name="T2" fmla="*/ 203 w 512"/>
              <a:gd name="T3" fmla="*/ 213 h 512"/>
              <a:gd name="T4" fmla="*/ 245 w 512"/>
              <a:gd name="T5" fmla="*/ 309 h 512"/>
              <a:gd name="T6" fmla="*/ 266 w 512"/>
              <a:gd name="T7" fmla="*/ 266 h 512"/>
              <a:gd name="T8" fmla="*/ 245 w 512"/>
              <a:gd name="T9" fmla="*/ 309 h 512"/>
              <a:gd name="T10" fmla="*/ 224 w 512"/>
              <a:gd name="T11" fmla="*/ 330 h 512"/>
              <a:gd name="T12" fmla="*/ 139 w 512"/>
              <a:gd name="T13" fmla="*/ 234 h 512"/>
              <a:gd name="T14" fmla="*/ 170 w 512"/>
              <a:gd name="T15" fmla="*/ 373 h 512"/>
              <a:gd name="T16" fmla="*/ 213 w 512"/>
              <a:gd name="T17" fmla="*/ 352 h 512"/>
              <a:gd name="T18" fmla="*/ 170 w 512"/>
              <a:gd name="T19" fmla="*/ 373 h 512"/>
              <a:gd name="T20" fmla="*/ 341 w 512"/>
              <a:gd name="T21" fmla="*/ 373 h 512"/>
              <a:gd name="T22" fmla="*/ 298 w 512"/>
              <a:gd name="T23" fmla="*/ 352 h 512"/>
              <a:gd name="T24" fmla="*/ 512 w 512"/>
              <a:gd name="T25" fmla="*/ 256 h 512"/>
              <a:gd name="T26" fmla="*/ 0 w 512"/>
              <a:gd name="T27" fmla="*/ 256 h 512"/>
              <a:gd name="T28" fmla="*/ 512 w 512"/>
              <a:gd name="T29" fmla="*/ 256 h 512"/>
              <a:gd name="T30" fmla="*/ 392 w 512"/>
              <a:gd name="T31" fmla="*/ 217 h 512"/>
              <a:gd name="T32" fmla="*/ 376 w 512"/>
              <a:gd name="T33" fmla="*/ 213 h 512"/>
              <a:gd name="T34" fmla="*/ 392 w 512"/>
              <a:gd name="T35" fmla="*/ 121 h 512"/>
              <a:gd name="T36" fmla="*/ 288 w 512"/>
              <a:gd name="T37" fmla="*/ 117 h 512"/>
              <a:gd name="T38" fmla="*/ 277 w 512"/>
              <a:gd name="T39" fmla="*/ 129 h 512"/>
              <a:gd name="T40" fmla="*/ 277 w 512"/>
              <a:gd name="T41" fmla="*/ 213 h 512"/>
              <a:gd name="T42" fmla="*/ 266 w 512"/>
              <a:gd name="T43" fmla="*/ 245 h 512"/>
              <a:gd name="T44" fmla="*/ 245 w 512"/>
              <a:gd name="T45" fmla="*/ 224 h 512"/>
              <a:gd name="T46" fmla="*/ 225 w 512"/>
              <a:gd name="T47" fmla="*/ 213 h 512"/>
              <a:gd name="T48" fmla="*/ 232 w 512"/>
              <a:gd name="T49" fmla="*/ 121 h 512"/>
              <a:gd name="T50" fmla="*/ 128 w 512"/>
              <a:gd name="T51" fmla="*/ 117 h 512"/>
              <a:gd name="T52" fmla="*/ 117 w 512"/>
              <a:gd name="T53" fmla="*/ 130 h 512"/>
              <a:gd name="T54" fmla="*/ 128 w 512"/>
              <a:gd name="T55" fmla="*/ 213 h 512"/>
              <a:gd name="T56" fmla="*/ 117 w 512"/>
              <a:gd name="T57" fmla="*/ 225 h 512"/>
              <a:gd name="T58" fmla="*/ 139 w 512"/>
              <a:gd name="T59" fmla="*/ 352 h 512"/>
              <a:gd name="T60" fmla="*/ 149 w 512"/>
              <a:gd name="T61" fmla="*/ 384 h 512"/>
              <a:gd name="T62" fmla="*/ 224 w 512"/>
              <a:gd name="T63" fmla="*/ 394 h 512"/>
              <a:gd name="T64" fmla="*/ 234 w 512"/>
              <a:gd name="T65" fmla="*/ 352 h 512"/>
              <a:gd name="T66" fmla="*/ 245 w 512"/>
              <a:gd name="T67" fmla="*/ 330 h 512"/>
              <a:gd name="T68" fmla="*/ 266 w 512"/>
              <a:gd name="T69" fmla="*/ 341 h 512"/>
              <a:gd name="T70" fmla="*/ 277 w 512"/>
              <a:gd name="T71" fmla="*/ 384 h 512"/>
              <a:gd name="T72" fmla="*/ 352 w 512"/>
              <a:gd name="T73" fmla="*/ 394 h 512"/>
              <a:gd name="T74" fmla="*/ 362 w 512"/>
              <a:gd name="T75" fmla="*/ 352 h 512"/>
              <a:gd name="T76" fmla="*/ 383 w 512"/>
              <a:gd name="T77" fmla="*/ 342 h 512"/>
              <a:gd name="T78" fmla="*/ 354 w 512"/>
              <a:gd name="T79" fmla="*/ 213 h 512"/>
              <a:gd name="T80" fmla="*/ 300 w 512"/>
              <a:gd name="T81" fmla="*/ 138 h 512"/>
              <a:gd name="T82" fmla="*/ 354 w 512"/>
              <a:gd name="T83" fmla="*/ 213 h 512"/>
              <a:gd name="T84" fmla="*/ 362 w 512"/>
              <a:gd name="T85" fmla="*/ 330 h 512"/>
              <a:gd name="T86" fmla="*/ 288 w 512"/>
              <a:gd name="T87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158" y="213"/>
                </a:moveTo>
                <a:cubicBezTo>
                  <a:pt x="141" y="138"/>
                  <a:pt x="141" y="138"/>
                  <a:pt x="141" y="138"/>
                </a:cubicBezTo>
                <a:cubicBezTo>
                  <a:pt x="212" y="138"/>
                  <a:pt x="212" y="138"/>
                  <a:pt x="212" y="138"/>
                </a:cubicBezTo>
                <a:cubicBezTo>
                  <a:pt x="203" y="213"/>
                  <a:pt x="203" y="213"/>
                  <a:pt x="203" y="213"/>
                </a:cubicBezTo>
                <a:lnTo>
                  <a:pt x="158" y="213"/>
                </a:lnTo>
                <a:close/>
                <a:moveTo>
                  <a:pt x="245" y="309"/>
                </a:moveTo>
                <a:cubicBezTo>
                  <a:pt x="266" y="309"/>
                  <a:pt x="266" y="309"/>
                  <a:pt x="266" y="309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245" y="266"/>
                  <a:pt x="245" y="266"/>
                  <a:pt x="245" y="266"/>
                </a:cubicBezTo>
                <a:lnTo>
                  <a:pt x="245" y="309"/>
                </a:lnTo>
                <a:close/>
                <a:moveTo>
                  <a:pt x="149" y="330"/>
                </a:moveTo>
                <a:cubicBezTo>
                  <a:pt x="224" y="330"/>
                  <a:pt x="224" y="330"/>
                  <a:pt x="224" y="330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139" y="234"/>
                  <a:pt x="139" y="234"/>
                  <a:pt x="139" y="234"/>
                </a:cubicBezTo>
                <a:lnTo>
                  <a:pt x="149" y="330"/>
                </a:lnTo>
                <a:close/>
                <a:moveTo>
                  <a:pt x="170" y="373"/>
                </a:moveTo>
                <a:cubicBezTo>
                  <a:pt x="213" y="373"/>
                  <a:pt x="213" y="373"/>
                  <a:pt x="213" y="373"/>
                </a:cubicBezTo>
                <a:cubicBezTo>
                  <a:pt x="213" y="352"/>
                  <a:pt x="213" y="352"/>
                  <a:pt x="213" y="352"/>
                </a:cubicBezTo>
                <a:cubicBezTo>
                  <a:pt x="170" y="352"/>
                  <a:pt x="170" y="352"/>
                  <a:pt x="170" y="352"/>
                </a:cubicBezTo>
                <a:lnTo>
                  <a:pt x="170" y="373"/>
                </a:lnTo>
                <a:close/>
                <a:moveTo>
                  <a:pt x="298" y="373"/>
                </a:moveTo>
                <a:cubicBezTo>
                  <a:pt x="341" y="373"/>
                  <a:pt x="341" y="373"/>
                  <a:pt x="341" y="373"/>
                </a:cubicBezTo>
                <a:cubicBezTo>
                  <a:pt x="341" y="352"/>
                  <a:pt x="341" y="352"/>
                  <a:pt x="341" y="352"/>
                </a:cubicBezTo>
                <a:cubicBezTo>
                  <a:pt x="298" y="352"/>
                  <a:pt x="298" y="352"/>
                  <a:pt x="298" y="352"/>
                </a:cubicBezTo>
                <a:lnTo>
                  <a:pt x="298" y="3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25"/>
                </a:moveTo>
                <a:cubicBezTo>
                  <a:pt x="395" y="222"/>
                  <a:pt x="394" y="219"/>
                  <a:pt x="392" y="217"/>
                </a:cubicBezTo>
                <a:cubicBezTo>
                  <a:pt x="390" y="214"/>
                  <a:pt x="387" y="213"/>
                  <a:pt x="384" y="213"/>
                </a:cubicBezTo>
                <a:cubicBezTo>
                  <a:pt x="376" y="213"/>
                  <a:pt x="376" y="213"/>
                  <a:pt x="376" y="213"/>
                </a:cubicBezTo>
                <a:cubicBezTo>
                  <a:pt x="394" y="130"/>
                  <a:pt x="394" y="130"/>
                  <a:pt x="394" y="130"/>
                </a:cubicBezTo>
                <a:cubicBezTo>
                  <a:pt x="395" y="127"/>
                  <a:pt x="394" y="124"/>
                  <a:pt x="392" y="121"/>
                </a:cubicBezTo>
                <a:cubicBezTo>
                  <a:pt x="390" y="118"/>
                  <a:pt x="387" y="117"/>
                  <a:pt x="38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5" y="117"/>
                  <a:pt x="282" y="118"/>
                  <a:pt x="280" y="121"/>
                </a:cubicBezTo>
                <a:cubicBezTo>
                  <a:pt x="278" y="123"/>
                  <a:pt x="277" y="126"/>
                  <a:pt x="277" y="129"/>
                </a:cubicBezTo>
                <a:cubicBezTo>
                  <a:pt x="286" y="213"/>
                  <a:pt x="286" y="213"/>
                  <a:pt x="286" y="213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271" y="213"/>
                  <a:pt x="266" y="218"/>
                  <a:pt x="266" y="224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18"/>
                  <a:pt x="240" y="213"/>
                  <a:pt x="234" y="213"/>
                </a:cubicBezTo>
                <a:cubicBezTo>
                  <a:pt x="225" y="213"/>
                  <a:pt x="225" y="213"/>
                  <a:pt x="225" y="213"/>
                </a:cubicBezTo>
                <a:cubicBezTo>
                  <a:pt x="234" y="129"/>
                  <a:pt x="234" y="129"/>
                  <a:pt x="234" y="129"/>
                </a:cubicBezTo>
                <a:cubicBezTo>
                  <a:pt x="235" y="126"/>
                  <a:pt x="234" y="123"/>
                  <a:pt x="232" y="121"/>
                </a:cubicBezTo>
                <a:cubicBezTo>
                  <a:pt x="230" y="118"/>
                  <a:pt x="227" y="117"/>
                  <a:pt x="22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4" y="117"/>
                  <a:pt x="121" y="118"/>
                  <a:pt x="119" y="121"/>
                </a:cubicBezTo>
                <a:cubicBezTo>
                  <a:pt x="117" y="124"/>
                  <a:pt x="117" y="127"/>
                  <a:pt x="117" y="130"/>
                </a:cubicBezTo>
                <a:cubicBezTo>
                  <a:pt x="136" y="213"/>
                  <a:pt x="136" y="213"/>
                  <a:pt x="136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5" y="213"/>
                  <a:pt x="122" y="214"/>
                  <a:pt x="120" y="217"/>
                </a:cubicBezTo>
                <a:cubicBezTo>
                  <a:pt x="118" y="219"/>
                  <a:pt x="117" y="222"/>
                  <a:pt x="117" y="225"/>
                </a:cubicBezTo>
                <a:cubicBezTo>
                  <a:pt x="129" y="342"/>
                  <a:pt x="129" y="342"/>
                  <a:pt x="129" y="342"/>
                </a:cubicBezTo>
                <a:cubicBezTo>
                  <a:pt x="129" y="348"/>
                  <a:pt x="134" y="352"/>
                  <a:pt x="139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9" y="384"/>
                  <a:pt x="149" y="384"/>
                  <a:pt x="149" y="384"/>
                </a:cubicBezTo>
                <a:cubicBezTo>
                  <a:pt x="149" y="390"/>
                  <a:pt x="154" y="394"/>
                  <a:pt x="160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cubicBezTo>
                  <a:pt x="234" y="352"/>
                  <a:pt x="234" y="352"/>
                  <a:pt x="234" y="352"/>
                </a:cubicBezTo>
                <a:cubicBezTo>
                  <a:pt x="245" y="352"/>
                  <a:pt x="245" y="347"/>
                  <a:pt x="245" y="341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41"/>
                  <a:pt x="266" y="341"/>
                  <a:pt x="266" y="341"/>
                </a:cubicBezTo>
                <a:cubicBezTo>
                  <a:pt x="266" y="347"/>
                  <a:pt x="266" y="352"/>
                  <a:pt x="277" y="352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8" y="394"/>
                  <a:pt x="362" y="390"/>
                  <a:pt x="362" y="384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72" y="352"/>
                  <a:pt x="372" y="352"/>
                  <a:pt x="372" y="352"/>
                </a:cubicBezTo>
                <a:cubicBezTo>
                  <a:pt x="377" y="352"/>
                  <a:pt x="382" y="348"/>
                  <a:pt x="383" y="342"/>
                </a:cubicBezTo>
                <a:lnTo>
                  <a:pt x="394" y="225"/>
                </a:lnTo>
                <a:close/>
                <a:moveTo>
                  <a:pt x="354" y="213"/>
                </a:moveTo>
                <a:cubicBezTo>
                  <a:pt x="370" y="138"/>
                  <a:pt x="370" y="138"/>
                  <a:pt x="370" y="138"/>
                </a:cubicBezTo>
                <a:cubicBezTo>
                  <a:pt x="300" y="138"/>
                  <a:pt x="300" y="138"/>
                  <a:pt x="300" y="138"/>
                </a:cubicBezTo>
                <a:cubicBezTo>
                  <a:pt x="308" y="213"/>
                  <a:pt x="308" y="213"/>
                  <a:pt x="308" y="213"/>
                </a:cubicBezTo>
                <a:lnTo>
                  <a:pt x="354" y="213"/>
                </a:lnTo>
                <a:close/>
                <a:moveTo>
                  <a:pt x="288" y="330"/>
                </a:moveTo>
                <a:cubicBezTo>
                  <a:pt x="362" y="330"/>
                  <a:pt x="362" y="330"/>
                  <a:pt x="362" y="330"/>
                </a:cubicBezTo>
                <a:cubicBezTo>
                  <a:pt x="372" y="234"/>
                  <a:pt x="372" y="234"/>
                  <a:pt x="372" y="234"/>
                </a:cubicBezTo>
                <a:cubicBezTo>
                  <a:pt x="288" y="234"/>
                  <a:pt x="288" y="234"/>
                  <a:pt x="288" y="234"/>
                </a:cubicBezTo>
                <a:lnTo>
                  <a:pt x="288" y="3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89" name="Group 519"/>
          <p:cNvGrpSpPr>
            <a:grpSpLocks noChangeAspect="1"/>
          </p:cNvGrpSpPr>
          <p:nvPr/>
        </p:nvGrpSpPr>
        <p:grpSpPr bwMode="auto">
          <a:xfrm>
            <a:off x="7894359" y="3751234"/>
            <a:ext cx="367982" cy="367982"/>
            <a:chOff x="4190" y="2983"/>
            <a:chExt cx="340" cy="340"/>
          </a:xfrm>
          <a:solidFill>
            <a:schemeClr val="accent6"/>
          </a:solidFill>
        </p:grpSpPr>
        <p:sp>
          <p:nvSpPr>
            <p:cNvPr id="190" name="Freeform 520"/>
            <p:cNvSpPr>
              <a:spLocks noEditPoints="1"/>
            </p:cNvSpPr>
            <p:nvPr/>
          </p:nvSpPr>
          <p:spPr bwMode="auto">
            <a:xfrm>
              <a:off x="4268" y="3061"/>
              <a:ext cx="184" cy="184"/>
            </a:xfrm>
            <a:custGeom>
              <a:avLst/>
              <a:gdLst>
                <a:gd name="T0" fmla="*/ 267 w 278"/>
                <a:gd name="T1" fmla="*/ 96 h 277"/>
                <a:gd name="T2" fmla="*/ 277 w 278"/>
                <a:gd name="T3" fmla="*/ 13 h 277"/>
                <a:gd name="T4" fmla="*/ 267 w 278"/>
                <a:gd name="T5" fmla="*/ 0 h 277"/>
                <a:gd name="T6" fmla="*/ 163 w 278"/>
                <a:gd name="T7" fmla="*/ 4 h 277"/>
                <a:gd name="T8" fmla="*/ 169 w 278"/>
                <a:gd name="T9" fmla="*/ 96 h 277"/>
                <a:gd name="T10" fmla="*/ 149 w 278"/>
                <a:gd name="T11" fmla="*/ 107 h 277"/>
                <a:gd name="T12" fmla="*/ 128 w 278"/>
                <a:gd name="T13" fmla="*/ 128 h 277"/>
                <a:gd name="T14" fmla="*/ 117 w 278"/>
                <a:gd name="T15" fmla="*/ 96 h 277"/>
                <a:gd name="T16" fmla="*/ 117 w 278"/>
                <a:gd name="T17" fmla="*/ 12 h 277"/>
                <a:gd name="T18" fmla="*/ 107 w 278"/>
                <a:gd name="T19" fmla="*/ 0 h 277"/>
                <a:gd name="T20" fmla="*/ 2 w 278"/>
                <a:gd name="T21" fmla="*/ 4 h 277"/>
                <a:gd name="T22" fmla="*/ 19 w 278"/>
                <a:gd name="T23" fmla="*/ 96 h 277"/>
                <a:gd name="T24" fmla="*/ 3 w 278"/>
                <a:gd name="T25" fmla="*/ 100 h 277"/>
                <a:gd name="T26" fmla="*/ 12 w 278"/>
                <a:gd name="T27" fmla="*/ 225 h 277"/>
                <a:gd name="T28" fmla="*/ 32 w 278"/>
                <a:gd name="T29" fmla="*/ 235 h 277"/>
                <a:gd name="T30" fmla="*/ 43 w 278"/>
                <a:gd name="T31" fmla="*/ 277 h 277"/>
                <a:gd name="T32" fmla="*/ 117 w 278"/>
                <a:gd name="T33" fmla="*/ 267 h 277"/>
                <a:gd name="T34" fmla="*/ 128 w 278"/>
                <a:gd name="T35" fmla="*/ 224 h 277"/>
                <a:gd name="T36" fmla="*/ 149 w 278"/>
                <a:gd name="T37" fmla="*/ 213 h 277"/>
                <a:gd name="T38" fmla="*/ 160 w 278"/>
                <a:gd name="T39" fmla="*/ 235 h 277"/>
                <a:gd name="T40" fmla="*/ 171 w 278"/>
                <a:gd name="T41" fmla="*/ 277 h 277"/>
                <a:gd name="T42" fmla="*/ 245 w 278"/>
                <a:gd name="T43" fmla="*/ 267 h 277"/>
                <a:gd name="T44" fmla="*/ 255 w 278"/>
                <a:gd name="T45" fmla="*/ 235 h 277"/>
                <a:gd name="T46" fmla="*/ 277 w 278"/>
                <a:gd name="T47" fmla="*/ 108 h 277"/>
                <a:gd name="T48" fmla="*/ 183 w 278"/>
                <a:gd name="T49" fmla="*/ 21 h 277"/>
                <a:gd name="T50" fmla="*/ 237 w 278"/>
                <a:gd name="T51" fmla="*/ 96 h 277"/>
                <a:gd name="T52" fmla="*/ 183 w 278"/>
                <a:gd name="T53" fmla="*/ 21 h 277"/>
                <a:gd name="T54" fmla="*/ 95 w 278"/>
                <a:gd name="T55" fmla="*/ 21 h 277"/>
                <a:gd name="T56" fmla="*/ 41 w 278"/>
                <a:gd name="T57" fmla="*/ 96 h 277"/>
                <a:gd name="T58" fmla="*/ 107 w 278"/>
                <a:gd name="T59" fmla="*/ 117 h 277"/>
                <a:gd name="T60" fmla="*/ 32 w 278"/>
                <a:gd name="T61" fmla="*/ 213 h 277"/>
                <a:gd name="T62" fmla="*/ 107 w 278"/>
                <a:gd name="T63" fmla="*/ 117 h 277"/>
                <a:gd name="T64" fmla="*/ 53 w 278"/>
                <a:gd name="T65" fmla="*/ 256 h 277"/>
                <a:gd name="T66" fmla="*/ 96 w 278"/>
                <a:gd name="T67" fmla="*/ 235 h 277"/>
                <a:gd name="T68" fmla="*/ 128 w 278"/>
                <a:gd name="T69" fmla="*/ 192 h 277"/>
                <a:gd name="T70" fmla="*/ 149 w 278"/>
                <a:gd name="T71" fmla="*/ 149 h 277"/>
                <a:gd name="T72" fmla="*/ 128 w 278"/>
                <a:gd name="T73" fmla="*/ 192 h 277"/>
                <a:gd name="T74" fmla="*/ 181 w 278"/>
                <a:gd name="T75" fmla="*/ 256 h 277"/>
                <a:gd name="T76" fmla="*/ 224 w 278"/>
                <a:gd name="T77" fmla="*/ 235 h 277"/>
                <a:gd name="T78" fmla="*/ 245 w 278"/>
                <a:gd name="T79" fmla="*/ 213 h 277"/>
                <a:gd name="T80" fmla="*/ 171 w 278"/>
                <a:gd name="T81" fmla="*/ 117 h 277"/>
                <a:gd name="T82" fmla="*/ 245 w 278"/>
                <a:gd name="T83" fmla="*/ 213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8" h="277">
                  <a:moveTo>
                    <a:pt x="275" y="100"/>
                  </a:moveTo>
                  <a:cubicBezTo>
                    <a:pt x="273" y="97"/>
                    <a:pt x="270" y="96"/>
                    <a:pt x="267" y="96"/>
                  </a:cubicBezTo>
                  <a:cubicBezTo>
                    <a:pt x="259" y="96"/>
                    <a:pt x="259" y="96"/>
                    <a:pt x="259" y="96"/>
                  </a:cubicBezTo>
                  <a:cubicBezTo>
                    <a:pt x="277" y="13"/>
                    <a:pt x="277" y="13"/>
                    <a:pt x="277" y="13"/>
                  </a:cubicBezTo>
                  <a:cubicBezTo>
                    <a:pt x="278" y="10"/>
                    <a:pt x="277" y="7"/>
                    <a:pt x="275" y="4"/>
                  </a:cubicBezTo>
                  <a:cubicBezTo>
                    <a:pt x="273" y="1"/>
                    <a:pt x="270" y="0"/>
                    <a:pt x="267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68" y="0"/>
                    <a:pt x="165" y="1"/>
                    <a:pt x="163" y="4"/>
                  </a:cubicBezTo>
                  <a:cubicBezTo>
                    <a:pt x="161" y="6"/>
                    <a:pt x="160" y="9"/>
                    <a:pt x="160" y="12"/>
                  </a:cubicBezTo>
                  <a:cubicBezTo>
                    <a:pt x="169" y="96"/>
                    <a:pt x="169" y="96"/>
                    <a:pt x="169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54" y="96"/>
                    <a:pt x="149" y="101"/>
                    <a:pt x="149" y="107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8" y="101"/>
                    <a:pt x="123" y="96"/>
                    <a:pt x="117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8" y="9"/>
                    <a:pt x="117" y="6"/>
                    <a:pt x="115" y="4"/>
                  </a:cubicBezTo>
                  <a:cubicBezTo>
                    <a:pt x="113" y="1"/>
                    <a:pt x="110" y="0"/>
                    <a:pt x="10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7"/>
                    <a:pt x="0" y="10"/>
                    <a:pt x="0" y="13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8" y="96"/>
                    <a:pt x="5" y="97"/>
                    <a:pt x="3" y="100"/>
                  </a:cubicBezTo>
                  <a:cubicBezTo>
                    <a:pt x="1" y="102"/>
                    <a:pt x="0" y="105"/>
                    <a:pt x="0" y="108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2" y="231"/>
                    <a:pt x="17" y="235"/>
                    <a:pt x="22" y="235"/>
                  </a:cubicBezTo>
                  <a:cubicBezTo>
                    <a:pt x="32" y="235"/>
                    <a:pt x="32" y="235"/>
                    <a:pt x="32" y="235"/>
                  </a:cubicBezTo>
                  <a:cubicBezTo>
                    <a:pt x="32" y="267"/>
                    <a:pt x="32" y="267"/>
                    <a:pt x="32" y="267"/>
                  </a:cubicBezTo>
                  <a:cubicBezTo>
                    <a:pt x="32" y="273"/>
                    <a:pt x="37" y="277"/>
                    <a:pt x="43" y="277"/>
                  </a:cubicBezTo>
                  <a:cubicBezTo>
                    <a:pt x="107" y="277"/>
                    <a:pt x="107" y="277"/>
                    <a:pt x="107" y="277"/>
                  </a:cubicBezTo>
                  <a:cubicBezTo>
                    <a:pt x="113" y="277"/>
                    <a:pt x="117" y="273"/>
                    <a:pt x="117" y="267"/>
                  </a:cubicBezTo>
                  <a:cubicBezTo>
                    <a:pt x="117" y="235"/>
                    <a:pt x="117" y="235"/>
                    <a:pt x="117" y="235"/>
                  </a:cubicBezTo>
                  <a:cubicBezTo>
                    <a:pt x="123" y="235"/>
                    <a:pt x="128" y="230"/>
                    <a:pt x="128" y="224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24"/>
                    <a:pt x="149" y="224"/>
                    <a:pt x="149" y="224"/>
                  </a:cubicBezTo>
                  <a:cubicBezTo>
                    <a:pt x="149" y="230"/>
                    <a:pt x="154" y="235"/>
                    <a:pt x="160" y="235"/>
                  </a:cubicBezTo>
                  <a:cubicBezTo>
                    <a:pt x="160" y="267"/>
                    <a:pt x="160" y="267"/>
                    <a:pt x="160" y="267"/>
                  </a:cubicBezTo>
                  <a:cubicBezTo>
                    <a:pt x="160" y="273"/>
                    <a:pt x="165" y="277"/>
                    <a:pt x="171" y="277"/>
                  </a:cubicBezTo>
                  <a:cubicBezTo>
                    <a:pt x="235" y="277"/>
                    <a:pt x="235" y="277"/>
                    <a:pt x="235" y="277"/>
                  </a:cubicBezTo>
                  <a:cubicBezTo>
                    <a:pt x="241" y="277"/>
                    <a:pt x="245" y="273"/>
                    <a:pt x="245" y="267"/>
                  </a:cubicBezTo>
                  <a:cubicBezTo>
                    <a:pt x="245" y="235"/>
                    <a:pt x="245" y="235"/>
                    <a:pt x="245" y="235"/>
                  </a:cubicBezTo>
                  <a:cubicBezTo>
                    <a:pt x="255" y="235"/>
                    <a:pt x="255" y="235"/>
                    <a:pt x="255" y="235"/>
                  </a:cubicBezTo>
                  <a:cubicBezTo>
                    <a:pt x="260" y="235"/>
                    <a:pt x="265" y="231"/>
                    <a:pt x="266" y="225"/>
                  </a:cubicBezTo>
                  <a:cubicBezTo>
                    <a:pt x="277" y="108"/>
                    <a:pt x="277" y="108"/>
                    <a:pt x="277" y="108"/>
                  </a:cubicBezTo>
                  <a:cubicBezTo>
                    <a:pt x="278" y="105"/>
                    <a:pt x="277" y="102"/>
                    <a:pt x="275" y="100"/>
                  </a:cubicBezTo>
                  <a:close/>
                  <a:moveTo>
                    <a:pt x="183" y="21"/>
                  </a:moveTo>
                  <a:cubicBezTo>
                    <a:pt x="253" y="21"/>
                    <a:pt x="253" y="21"/>
                    <a:pt x="253" y="21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191" y="96"/>
                    <a:pt x="191" y="96"/>
                    <a:pt x="191" y="96"/>
                  </a:cubicBezTo>
                  <a:lnTo>
                    <a:pt x="183" y="21"/>
                  </a:lnTo>
                  <a:close/>
                  <a:moveTo>
                    <a:pt x="24" y="21"/>
                  </a:moveTo>
                  <a:cubicBezTo>
                    <a:pt x="95" y="21"/>
                    <a:pt x="95" y="21"/>
                    <a:pt x="95" y="21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41" y="96"/>
                    <a:pt x="41" y="96"/>
                    <a:pt x="41" y="96"/>
                  </a:cubicBezTo>
                  <a:lnTo>
                    <a:pt x="24" y="21"/>
                  </a:lnTo>
                  <a:close/>
                  <a:moveTo>
                    <a:pt x="107" y="117"/>
                  </a:moveTo>
                  <a:cubicBezTo>
                    <a:pt x="107" y="213"/>
                    <a:pt x="107" y="213"/>
                    <a:pt x="107" y="213"/>
                  </a:cubicBezTo>
                  <a:cubicBezTo>
                    <a:pt x="32" y="213"/>
                    <a:pt x="32" y="213"/>
                    <a:pt x="32" y="213"/>
                  </a:cubicBezTo>
                  <a:cubicBezTo>
                    <a:pt x="22" y="117"/>
                    <a:pt x="22" y="117"/>
                    <a:pt x="22" y="117"/>
                  </a:cubicBezTo>
                  <a:lnTo>
                    <a:pt x="107" y="117"/>
                  </a:lnTo>
                  <a:close/>
                  <a:moveTo>
                    <a:pt x="96" y="256"/>
                  </a:moveTo>
                  <a:cubicBezTo>
                    <a:pt x="53" y="256"/>
                    <a:pt x="53" y="256"/>
                    <a:pt x="53" y="256"/>
                  </a:cubicBezTo>
                  <a:cubicBezTo>
                    <a:pt x="53" y="235"/>
                    <a:pt x="53" y="235"/>
                    <a:pt x="53" y="235"/>
                  </a:cubicBezTo>
                  <a:cubicBezTo>
                    <a:pt x="96" y="235"/>
                    <a:pt x="96" y="235"/>
                    <a:pt x="96" y="235"/>
                  </a:cubicBezTo>
                  <a:lnTo>
                    <a:pt x="96" y="256"/>
                  </a:lnTo>
                  <a:close/>
                  <a:moveTo>
                    <a:pt x="128" y="192"/>
                  </a:moveTo>
                  <a:cubicBezTo>
                    <a:pt x="128" y="149"/>
                    <a:pt x="128" y="149"/>
                    <a:pt x="128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92"/>
                    <a:pt x="149" y="192"/>
                    <a:pt x="149" y="192"/>
                  </a:cubicBezTo>
                  <a:lnTo>
                    <a:pt x="128" y="192"/>
                  </a:lnTo>
                  <a:close/>
                  <a:moveTo>
                    <a:pt x="224" y="256"/>
                  </a:moveTo>
                  <a:cubicBezTo>
                    <a:pt x="181" y="256"/>
                    <a:pt x="181" y="256"/>
                    <a:pt x="181" y="256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224" y="235"/>
                    <a:pt x="224" y="235"/>
                    <a:pt x="224" y="235"/>
                  </a:cubicBezTo>
                  <a:lnTo>
                    <a:pt x="224" y="256"/>
                  </a:lnTo>
                  <a:close/>
                  <a:moveTo>
                    <a:pt x="245" y="213"/>
                  </a:moveTo>
                  <a:cubicBezTo>
                    <a:pt x="171" y="213"/>
                    <a:pt x="171" y="213"/>
                    <a:pt x="171" y="213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255" y="117"/>
                    <a:pt x="255" y="117"/>
                    <a:pt x="255" y="117"/>
                  </a:cubicBezTo>
                  <a:lnTo>
                    <a:pt x="245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521"/>
            <p:cNvSpPr>
              <a:spLocks noEditPoints="1"/>
            </p:cNvSpPr>
            <p:nvPr/>
          </p:nvSpPr>
          <p:spPr bwMode="auto">
            <a:xfrm>
              <a:off x="4190" y="29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2" name="Group 226"/>
          <p:cNvGrpSpPr>
            <a:grpSpLocks noChangeAspect="1"/>
          </p:cNvGrpSpPr>
          <p:nvPr/>
        </p:nvGrpSpPr>
        <p:grpSpPr bwMode="auto">
          <a:xfrm>
            <a:off x="8889123" y="3751235"/>
            <a:ext cx="369676" cy="369676"/>
            <a:chOff x="5048" y="783"/>
            <a:chExt cx="340" cy="340"/>
          </a:xfrm>
          <a:solidFill>
            <a:schemeClr val="accent3"/>
          </a:solidFill>
        </p:grpSpPr>
        <p:sp>
          <p:nvSpPr>
            <p:cNvPr id="193" name="Freeform 227"/>
            <p:cNvSpPr>
              <a:spLocks noEditPoints="1"/>
            </p:cNvSpPr>
            <p:nvPr/>
          </p:nvSpPr>
          <p:spPr bwMode="auto">
            <a:xfrm>
              <a:off x="5112" y="868"/>
              <a:ext cx="212" cy="127"/>
            </a:xfrm>
            <a:custGeom>
              <a:avLst/>
              <a:gdLst>
                <a:gd name="T0" fmla="*/ 282 w 320"/>
                <a:gd name="T1" fmla="*/ 56 h 192"/>
                <a:gd name="T2" fmla="*/ 296 w 320"/>
                <a:gd name="T3" fmla="*/ 38 h 192"/>
                <a:gd name="T4" fmla="*/ 295 w 320"/>
                <a:gd name="T5" fmla="*/ 24 h 192"/>
                <a:gd name="T6" fmla="*/ 281 w 320"/>
                <a:gd name="T7" fmla="*/ 23 h 192"/>
                <a:gd name="T8" fmla="*/ 263 w 320"/>
                <a:gd name="T9" fmla="*/ 37 h 192"/>
                <a:gd name="T10" fmla="*/ 160 w 320"/>
                <a:gd name="T11" fmla="*/ 0 h 192"/>
                <a:gd name="T12" fmla="*/ 0 w 320"/>
                <a:gd name="T13" fmla="*/ 160 h 192"/>
                <a:gd name="T14" fmla="*/ 10 w 320"/>
                <a:gd name="T15" fmla="*/ 170 h 192"/>
                <a:gd name="T16" fmla="*/ 21 w 320"/>
                <a:gd name="T17" fmla="*/ 160 h 192"/>
                <a:gd name="T18" fmla="*/ 160 w 320"/>
                <a:gd name="T19" fmla="*/ 21 h 192"/>
                <a:gd name="T20" fmla="*/ 245 w 320"/>
                <a:gd name="T21" fmla="*/ 51 h 192"/>
                <a:gd name="T22" fmla="*/ 137 w 320"/>
                <a:gd name="T23" fmla="*/ 133 h 192"/>
                <a:gd name="T24" fmla="*/ 136 w 320"/>
                <a:gd name="T25" fmla="*/ 134 h 192"/>
                <a:gd name="T26" fmla="*/ 126 w 320"/>
                <a:gd name="T27" fmla="*/ 158 h 192"/>
                <a:gd name="T28" fmla="*/ 136 w 320"/>
                <a:gd name="T29" fmla="*/ 182 h 192"/>
                <a:gd name="T30" fmla="*/ 160 w 320"/>
                <a:gd name="T31" fmla="*/ 192 h 192"/>
                <a:gd name="T32" fmla="*/ 160 w 320"/>
                <a:gd name="T33" fmla="*/ 192 h 192"/>
                <a:gd name="T34" fmla="*/ 183 w 320"/>
                <a:gd name="T35" fmla="*/ 182 h 192"/>
                <a:gd name="T36" fmla="*/ 184 w 320"/>
                <a:gd name="T37" fmla="*/ 181 h 192"/>
                <a:gd name="T38" fmla="*/ 268 w 320"/>
                <a:gd name="T39" fmla="*/ 74 h 192"/>
                <a:gd name="T40" fmla="*/ 298 w 320"/>
                <a:gd name="T41" fmla="*/ 160 h 192"/>
                <a:gd name="T42" fmla="*/ 309 w 320"/>
                <a:gd name="T43" fmla="*/ 170 h 192"/>
                <a:gd name="T44" fmla="*/ 320 w 320"/>
                <a:gd name="T45" fmla="*/ 160 h 192"/>
                <a:gd name="T46" fmla="*/ 282 w 320"/>
                <a:gd name="T47" fmla="*/ 56 h 192"/>
                <a:gd name="T48" fmla="*/ 168 w 320"/>
                <a:gd name="T49" fmla="*/ 167 h 192"/>
                <a:gd name="T50" fmla="*/ 160 w 320"/>
                <a:gd name="T51" fmla="*/ 170 h 192"/>
                <a:gd name="T52" fmla="*/ 160 w 320"/>
                <a:gd name="T53" fmla="*/ 170 h 192"/>
                <a:gd name="T54" fmla="*/ 151 w 320"/>
                <a:gd name="T55" fmla="*/ 167 h 192"/>
                <a:gd name="T56" fmla="*/ 147 w 320"/>
                <a:gd name="T57" fmla="*/ 158 h 192"/>
                <a:gd name="T58" fmla="*/ 151 w 320"/>
                <a:gd name="T59" fmla="*/ 150 h 192"/>
                <a:gd name="T60" fmla="*/ 227 w 320"/>
                <a:gd name="T61" fmla="*/ 91 h 192"/>
                <a:gd name="T62" fmla="*/ 168 w 320"/>
                <a:gd name="T63" fmla="*/ 16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0" h="192">
                  <a:moveTo>
                    <a:pt x="282" y="56"/>
                  </a:moveTo>
                  <a:cubicBezTo>
                    <a:pt x="296" y="38"/>
                    <a:pt x="296" y="38"/>
                    <a:pt x="296" y="38"/>
                  </a:cubicBezTo>
                  <a:cubicBezTo>
                    <a:pt x="299" y="34"/>
                    <a:pt x="299" y="28"/>
                    <a:pt x="295" y="24"/>
                  </a:cubicBezTo>
                  <a:cubicBezTo>
                    <a:pt x="291" y="20"/>
                    <a:pt x="285" y="20"/>
                    <a:pt x="281" y="23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35" y="14"/>
                    <a:pt x="199" y="0"/>
                    <a:pt x="160" y="0"/>
                  </a:cubicBezTo>
                  <a:cubicBezTo>
                    <a:pt x="71" y="0"/>
                    <a:pt x="0" y="71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16" y="170"/>
                    <a:pt x="21" y="166"/>
                    <a:pt x="21" y="160"/>
                  </a:cubicBezTo>
                  <a:cubicBezTo>
                    <a:pt x="21" y="83"/>
                    <a:pt x="83" y="21"/>
                    <a:pt x="160" y="21"/>
                  </a:cubicBezTo>
                  <a:cubicBezTo>
                    <a:pt x="192" y="21"/>
                    <a:pt x="222" y="32"/>
                    <a:pt x="245" y="51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37" y="134"/>
                    <a:pt x="136" y="134"/>
                    <a:pt x="136" y="134"/>
                  </a:cubicBezTo>
                  <a:cubicBezTo>
                    <a:pt x="130" y="141"/>
                    <a:pt x="126" y="149"/>
                    <a:pt x="126" y="158"/>
                  </a:cubicBezTo>
                  <a:cubicBezTo>
                    <a:pt x="126" y="167"/>
                    <a:pt x="130" y="175"/>
                    <a:pt x="136" y="182"/>
                  </a:cubicBezTo>
                  <a:cubicBezTo>
                    <a:pt x="142" y="188"/>
                    <a:pt x="151" y="192"/>
                    <a:pt x="160" y="192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169" y="192"/>
                    <a:pt x="177" y="188"/>
                    <a:pt x="183" y="182"/>
                  </a:cubicBezTo>
                  <a:cubicBezTo>
                    <a:pt x="184" y="182"/>
                    <a:pt x="184" y="181"/>
                    <a:pt x="184" y="181"/>
                  </a:cubicBezTo>
                  <a:cubicBezTo>
                    <a:pt x="268" y="74"/>
                    <a:pt x="268" y="74"/>
                    <a:pt x="268" y="74"/>
                  </a:cubicBezTo>
                  <a:cubicBezTo>
                    <a:pt x="287" y="97"/>
                    <a:pt x="298" y="127"/>
                    <a:pt x="298" y="160"/>
                  </a:cubicBezTo>
                  <a:cubicBezTo>
                    <a:pt x="298" y="166"/>
                    <a:pt x="303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20"/>
                    <a:pt x="305" y="84"/>
                    <a:pt x="282" y="56"/>
                  </a:cubicBezTo>
                  <a:close/>
                  <a:moveTo>
                    <a:pt x="168" y="167"/>
                  </a:moveTo>
                  <a:cubicBezTo>
                    <a:pt x="166" y="169"/>
                    <a:pt x="163" y="170"/>
                    <a:pt x="160" y="170"/>
                  </a:cubicBezTo>
                  <a:cubicBezTo>
                    <a:pt x="160" y="170"/>
                    <a:pt x="160" y="170"/>
                    <a:pt x="160" y="170"/>
                  </a:cubicBezTo>
                  <a:cubicBezTo>
                    <a:pt x="156" y="170"/>
                    <a:pt x="153" y="169"/>
                    <a:pt x="151" y="167"/>
                  </a:cubicBezTo>
                  <a:cubicBezTo>
                    <a:pt x="149" y="164"/>
                    <a:pt x="147" y="161"/>
                    <a:pt x="147" y="158"/>
                  </a:cubicBezTo>
                  <a:cubicBezTo>
                    <a:pt x="147" y="155"/>
                    <a:pt x="149" y="152"/>
                    <a:pt x="151" y="150"/>
                  </a:cubicBezTo>
                  <a:cubicBezTo>
                    <a:pt x="227" y="91"/>
                    <a:pt x="227" y="91"/>
                    <a:pt x="227" y="91"/>
                  </a:cubicBezTo>
                  <a:lnTo>
                    <a:pt x="168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28"/>
            <p:cNvSpPr>
              <a:spLocks noEditPoints="1"/>
            </p:cNvSpPr>
            <p:nvPr/>
          </p:nvSpPr>
          <p:spPr bwMode="auto">
            <a:xfrm>
              <a:off x="5048" y="7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5" name="Freeform 232"/>
          <p:cNvSpPr>
            <a:spLocks noChangeAspect="1" noEditPoints="1"/>
          </p:cNvSpPr>
          <p:nvPr/>
        </p:nvSpPr>
        <p:spPr bwMode="auto">
          <a:xfrm>
            <a:off x="8390894" y="3751235"/>
            <a:ext cx="369676" cy="369676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96" name="Group 305"/>
          <p:cNvGrpSpPr>
            <a:grpSpLocks noChangeAspect="1"/>
          </p:cNvGrpSpPr>
          <p:nvPr/>
        </p:nvGrpSpPr>
        <p:grpSpPr bwMode="auto">
          <a:xfrm>
            <a:off x="918398" y="4578621"/>
            <a:ext cx="369676" cy="369676"/>
            <a:chOff x="6599" y="1143"/>
            <a:chExt cx="340" cy="340"/>
          </a:xfrm>
          <a:solidFill>
            <a:schemeClr val="accent4"/>
          </a:solidFill>
        </p:grpSpPr>
        <p:sp>
          <p:nvSpPr>
            <p:cNvPr id="197" name="Freeform 306"/>
            <p:cNvSpPr>
              <a:spLocks noEditPoints="1"/>
            </p:cNvSpPr>
            <p:nvPr/>
          </p:nvSpPr>
          <p:spPr bwMode="auto">
            <a:xfrm>
              <a:off x="6599" y="114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307"/>
            <p:cNvSpPr>
              <a:spLocks noEditPoints="1"/>
            </p:cNvSpPr>
            <p:nvPr/>
          </p:nvSpPr>
          <p:spPr bwMode="auto">
            <a:xfrm>
              <a:off x="6712" y="1205"/>
              <a:ext cx="113" cy="214"/>
            </a:xfrm>
            <a:custGeom>
              <a:avLst/>
              <a:gdLst>
                <a:gd name="T0" fmla="*/ 160 w 171"/>
                <a:gd name="T1" fmla="*/ 88 h 323"/>
                <a:gd name="T2" fmla="*/ 128 w 171"/>
                <a:gd name="T3" fmla="*/ 88 h 323"/>
                <a:gd name="T4" fmla="*/ 128 w 171"/>
                <a:gd name="T5" fmla="*/ 35 h 323"/>
                <a:gd name="T6" fmla="*/ 128 w 171"/>
                <a:gd name="T7" fmla="*/ 35 h 323"/>
                <a:gd name="T8" fmla="*/ 138 w 171"/>
                <a:gd name="T9" fmla="*/ 27 h 323"/>
                <a:gd name="T10" fmla="*/ 132 w 171"/>
                <a:gd name="T11" fmla="*/ 12 h 323"/>
                <a:gd name="T12" fmla="*/ 39 w 171"/>
                <a:gd name="T13" fmla="*/ 12 h 323"/>
                <a:gd name="T14" fmla="*/ 33 w 171"/>
                <a:gd name="T15" fmla="*/ 25 h 323"/>
                <a:gd name="T16" fmla="*/ 43 w 171"/>
                <a:gd name="T17" fmla="*/ 32 h 323"/>
                <a:gd name="T18" fmla="*/ 43 w 171"/>
                <a:gd name="T19" fmla="*/ 88 h 323"/>
                <a:gd name="T20" fmla="*/ 11 w 171"/>
                <a:gd name="T21" fmla="*/ 88 h 323"/>
                <a:gd name="T22" fmla="*/ 0 w 171"/>
                <a:gd name="T23" fmla="*/ 99 h 323"/>
                <a:gd name="T24" fmla="*/ 0 w 171"/>
                <a:gd name="T25" fmla="*/ 291 h 323"/>
                <a:gd name="T26" fmla="*/ 11 w 171"/>
                <a:gd name="T27" fmla="*/ 301 h 323"/>
                <a:gd name="T28" fmla="*/ 22 w 171"/>
                <a:gd name="T29" fmla="*/ 301 h 323"/>
                <a:gd name="T30" fmla="*/ 22 w 171"/>
                <a:gd name="T31" fmla="*/ 312 h 323"/>
                <a:gd name="T32" fmla="*/ 32 w 171"/>
                <a:gd name="T33" fmla="*/ 323 h 323"/>
                <a:gd name="T34" fmla="*/ 43 w 171"/>
                <a:gd name="T35" fmla="*/ 312 h 323"/>
                <a:gd name="T36" fmla="*/ 43 w 171"/>
                <a:gd name="T37" fmla="*/ 301 h 323"/>
                <a:gd name="T38" fmla="*/ 128 w 171"/>
                <a:gd name="T39" fmla="*/ 301 h 323"/>
                <a:gd name="T40" fmla="*/ 128 w 171"/>
                <a:gd name="T41" fmla="*/ 312 h 323"/>
                <a:gd name="T42" fmla="*/ 139 w 171"/>
                <a:gd name="T43" fmla="*/ 323 h 323"/>
                <a:gd name="T44" fmla="*/ 150 w 171"/>
                <a:gd name="T45" fmla="*/ 312 h 323"/>
                <a:gd name="T46" fmla="*/ 150 w 171"/>
                <a:gd name="T47" fmla="*/ 301 h 323"/>
                <a:gd name="T48" fmla="*/ 160 w 171"/>
                <a:gd name="T49" fmla="*/ 301 h 323"/>
                <a:gd name="T50" fmla="*/ 171 w 171"/>
                <a:gd name="T51" fmla="*/ 291 h 323"/>
                <a:gd name="T52" fmla="*/ 171 w 171"/>
                <a:gd name="T53" fmla="*/ 99 h 323"/>
                <a:gd name="T54" fmla="*/ 160 w 171"/>
                <a:gd name="T55" fmla="*/ 88 h 323"/>
                <a:gd name="T56" fmla="*/ 64 w 171"/>
                <a:gd name="T57" fmla="*/ 26 h 323"/>
                <a:gd name="T58" fmla="*/ 107 w 171"/>
                <a:gd name="T59" fmla="*/ 26 h 323"/>
                <a:gd name="T60" fmla="*/ 107 w 171"/>
                <a:gd name="T61" fmla="*/ 88 h 323"/>
                <a:gd name="T62" fmla="*/ 64 w 171"/>
                <a:gd name="T63" fmla="*/ 88 h 323"/>
                <a:gd name="T64" fmla="*/ 64 w 171"/>
                <a:gd name="T65" fmla="*/ 26 h 323"/>
                <a:gd name="T66" fmla="*/ 150 w 171"/>
                <a:gd name="T67" fmla="*/ 280 h 323"/>
                <a:gd name="T68" fmla="*/ 22 w 171"/>
                <a:gd name="T69" fmla="*/ 280 h 323"/>
                <a:gd name="T70" fmla="*/ 22 w 171"/>
                <a:gd name="T71" fmla="*/ 109 h 323"/>
                <a:gd name="T72" fmla="*/ 150 w 171"/>
                <a:gd name="T73" fmla="*/ 109 h 323"/>
                <a:gd name="T74" fmla="*/ 150 w 171"/>
                <a:gd name="T75" fmla="*/ 280 h 323"/>
                <a:gd name="T76" fmla="*/ 118 w 171"/>
                <a:gd name="T77" fmla="*/ 131 h 323"/>
                <a:gd name="T78" fmla="*/ 128 w 171"/>
                <a:gd name="T79" fmla="*/ 141 h 323"/>
                <a:gd name="T80" fmla="*/ 118 w 171"/>
                <a:gd name="T81" fmla="*/ 152 h 323"/>
                <a:gd name="T82" fmla="*/ 54 w 171"/>
                <a:gd name="T83" fmla="*/ 152 h 323"/>
                <a:gd name="T84" fmla="*/ 43 w 171"/>
                <a:gd name="T85" fmla="*/ 141 h 323"/>
                <a:gd name="T86" fmla="*/ 54 w 171"/>
                <a:gd name="T87" fmla="*/ 131 h 323"/>
                <a:gd name="T88" fmla="*/ 118 w 171"/>
                <a:gd name="T89" fmla="*/ 131 h 323"/>
                <a:gd name="T90" fmla="*/ 128 w 171"/>
                <a:gd name="T91" fmla="*/ 248 h 323"/>
                <a:gd name="T92" fmla="*/ 118 w 171"/>
                <a:gd name="T93" fmla="*/ 259 h 323"/>
                <a:gd name="T94" fmla="*/ 54 w 171"/>
                <a:gd name="T95" fmla="*/ 259 h 323"/>
                <a:gd name="T96" fmla="*/ 43 w 171"/>
                <a:gd name="T97" fmla="*/ 248 h 323"/>
                <a:gd name="T98" fmla="*/ 54 w 171"/>
                <a:gd name="T99" fmla="*/ 237 h 323"/>
                <a:gd name="T100" fmla="*/ 118 w 171"/>
                <a:gd name="T101" fmla="*/ 237 h 323"/>
                <a:gd name="T102" fmla="*/ 128 w 171"/>
                <a:gd name="T103" fmla="*/ 248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1" h="323">
                  <a:moveTo>
                    <a:pt x="160" y="88"/>
                  </a:moveTo>
                  <a:cubicBezTo>
                    <a:pt x="128" y="88"/>
                    <a:pt x="128" y="88"/>
                    <a:pt x="128" y="88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33" y="35"/>
                    <a:pt x="137" y="31"/>
                    <a:pt x="138" y="27"/>
                  </a:cubicBezTo>
                  <a:cubicBezTo>
                    <a:pt x="140" y="21"/>
                    <a:pt x="138" y="14"/>
                    <a:pt x="132" y="12"/>
                  </a:cubicBezTo>
                  <a:cubicBezTo>
                    <a:pt x="103" y="0"/>
                    <a:pt x="69" y="0"/>
                    <a:pt x="39" y="12"/>
                  </a:cubicBezTo>
                  <a:cubicBezTo>
                    <a:pt x="34" y="14"/>
                    <a:pt x="31" y="20"/>
                    <a:pt x="33" y="25"/>
                  </a:cubicBezTo>
                  <a:cubicBezTo>
                    <a:pt x="35" y="30"/>
                    <a:pt x="39" y="32"/>
                    <a:pt x="43" y="32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5" y="88"/>
                    <a:pt x="0" y="93"/>
                    <a:pt x="0" y="99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0" y="297"/>
                    <a:pt x="5" y="301"/>
                    <a:pt x="11" y="301"/>
                  </a:cubicBezTo>
                  <a:cubicBezTo>
                    <a:pt x="22" y="301"/>
                    <a:pt x="22" y="301"/>
                    <a:pt x="22" y="301"/>
                  </a:cubicBezTo>
                  <a:cubicBezTo>
                    <a:pt x="22" y="312"/>
                    <a:pt x="22" y="312"/>
                    <a:pt x="22" y="312"/>
                  </a:cubicBezTo>
                  <a:cubicBezTo>
                    <a:pt x="22" y="318"/>
                    <a:pt x="26" y="323"/>
                    <a:pt x="32" y="323"/>
                  </a:cubicBezTo>
                  <a:cubicBezTo>
                    <a:pt x="38" y="323"/>
                    <a:pt x="43" y="318"/>
                    <a:pt x="43" y="312"/>
                  </a:cubicBezTo>
                  <a:cubicBezTo>
                    <a:pt x="43" y="301"/>
                    <a:pt x="43" y="301"/>
                    <a:pt x="43" y="301"/>
                  </a:cubicBezTo>
                  <a:cubicBezTo>
                    <a:pt x="128" y="301"/>
                    <a:pt x="128" y="301"/>
                    <a:pt x="128" y="301"/>
                  </a:cubicBezTo>
                  <a:cubicBezTo>
                    <a:pt x="128" y="312"/>
                    <a:pt x="128" y="312"/>
                    <a:pt x="128" y="312"/>
                  </a:cubicBezTo>
                  <a:cubicBezTo>
                    <a:pt x="128" y="318"/>
                    <a:pt x="133" y="323"/>
                    <a:pt x="139" y="323"/>
                  </a:cubicBezTo>
                  <a:cubicBezTo>
                    <a:pt x="145" y="323"/>
                    <a:pt x="150" y="318"/>
                    <a:pt x="150" y="312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60" y="301"/>
                    <a:pt x="160" y="301"/>
                    <a:pt x="160" y="301"/>
                  </a:cubicBezTo>
                  <a:cubicBezTo>
                    <a:pt x="166" y="301"/>
                    <a:pt x="171" y="297"/>
                    <a:pt x="171" y="291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71" y="93"/>
                    <a:pt x="166" y="88"/>
                    <a:pt x="160" y="88"/>
                  </a:cubicBezTo>
                  <a:close/>
                  <a:moveTo>
                    <a:pt x="64" y="26"/>
                  </a:moveTo>
                  <a:cubicBezTo>
                    <a:pt x="78" y="23"/>
                    <a:pt x="93" y="23"/>
                    <a:pt x="107" y="26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64" y="88"/>
                    <a:pt x="64" y="88"/>
                    <a:pt x="64" y="88"/>
                  </a:cubicBezTo>
                  <a:lnTo>
                    <a:pt x="64" y="26"/>
                  </a:lnTo>
                  <a:close/>
                  <a:moveTo>
                    <a:pt x="150" y="280"/>
                  </a:moveTo>
                  <a:cubicBezTo>
                    <a:pt x="22" y="280"/>
                    <a:pt x="22" y="280"/>
                    <a:pt x="22" y="280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150" y="109"/>
                    <a:pt x="150" y="109"/>
                    <a:pt x="150" y="109"/>
                  </a:cubicBezTo>
                  <a:lnTo>
                    <a:pt x="150" y="280"/>
                  </a:lnTo>
                  <a:close/>
                  <a:moveTo>
                    <a:pt x="118" y="131"/>
                  </a:moveTo>
                  <a:cubicBezTo>
                    <a:pt x="124" y="131"/>
                    <a:pt x="128" y="135"/>
                    <a:pt x="128" y="141"/>
                  </a:cubicBezTo>
                  <a:cubicBezTo>
                    <a:pt x="128" y="147"/>
                    <a:pt x="124" y="152"/>
                    <a:pt x="118" y="152"/>
                  </a:cubicBezTo>
                  <a:cubicBezTo>
                    <a:pt x="54" y="152"/>
                    <a:pt x="54" y="152"/>
                    <a:pt x="54" y="152"/>
                  </a:cubicBezTo>
                  <a:cubicBezTo>
                    <a:pt x="48" y="152"/>
                    <a:pt x="43" y="147"/>
                    <a:pt x="43" y="141"/>
                  </a:cubicBezTo>
                  <a:cubicBezTo>
                    <a:pt x="43" y="135"/>
                    <a:pt x="48" y="131"/>
                    <a:pt x="54" y="131"/>
                  </a:cubicBezTo>
                  <a:lnTo>
                    <a:pt x="118" y="131"/>
                  </a:lnTo>
                  <a:close/>
                  <a:moveTo>
                    <a:pt x="128" y="248"/>
                  </a:moveTo>
                  <a:cubicBezTo>
                    <a:pt x="128" y="254"/>
                    <a:pt x="124" y="259"/>
                    <a:pt x="118" y="259"/>
                  </a:cubicBezTo>
                  <a:cubicBezTo>
                    <a:pt x="54" y="259"/>
                    <a:pt x="54" y="259"/>
                    <a:pt x="54" y="259"/>
                  </a:cubicBezTo>
                  <a:cubicBezTo>
                    <a:pt x="48" y="259"/>
                    <a:pt x="43" y="254"/>
                    <a:pt x="43" y="248"/>
                  </a:cubicBezTo>
                  <a:cubicBezTo>
                    <a:pt x="43" y="242"/>
                    <a:pt x="48" y="237"/>
                    <a:pt x="54" y="237"/>
                  </a:cubicBezTo>
                  <a:cubicBezTo>
                    <a:pt x="118" y="237"/>
                    <a:pt x="118" y="237"/>
                    <a:pt x="118" y="237"/>
                  </a:cubicBezTo>
                  <a:cubicBezTo>
                    <a:pt x="124" y="237"/>
                    <a:pt x="128" y="242"/>
                    <a:pt x="128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9" name="Freeform 311"/>
          <p:cNvSpPr>
            <a:spLocks noChangeAspect="1" noEditPoints="1"/>
          </p:cNvSpPr>
          <p:nvPr/>
        </p:nvSpPr>
        <p:spPr bwMode="auto">
          <a:xfrm>
            <a:off x="427128" y="4578621"/>
            <a:ext cx="369676" cy="369676"/>
          </a:xfrm>
          <a:custGeom>
            <a:avLst/>
            <a:gdLst>
              <a:gd name="T0" fmla="*/ 277 w 512"/>
              <a:gd name="T1" fmla="*/ 181 h 512"/>
              <a:gd name="T2" fmla="*/ 234 w 512"/>
              <a:gd name="T3" fmla="*/ 181 h 512"/>
              <a:gd name="T4" fmla="*/ 234 w 512"/>
              <a:gd name="T5" fmla="*/ 119 h 512"/>
              <a:gd name="T6" fmla="*/ 277 w 512"/>
              <a:gd name="T7" fmla="*/ 119 h 512"/>
              <a:gd name="T8" fmla="*/ 277 w 512"/>
              <a:gd name="T9" fmla="*/ 181 h 512"/>
              <a:gd name="T10" fmla="*/ 192 w 512"/>
              <a:gd name="T11" fmla="*/ 202 h 512"/>
              <a:gd name="T12" fmla="*/ 320 w 512"/>
              <a:gd name="T13" fmla="*/ 202 h 512"/>
              <a:gd name="T14" fmla="*/ 320 w 512"/>
              <a:gd name="T15" fmla="*/ 373 h 512"/>
              <a:gd name="T16" fmla="*/ 192 w 512"/>
              <a:gd name="T17" fmla="*/ 373 h 512"/>
              <a:gd name="T18" fmla="*/ 192 w 512"/>
              <a:gd name="T19" fmla="*/ 202 h 512"/>
              <a:gd name="T20" fmla="*/ 213 w 512"/>
              <a:gd name="T21" fmla="*/ 234 h 512"/>
              <a:gd name="T22" fmla="*/ 224 w 512"/>
              <a:gd name="T23" fmla="*/ 245 h 512"/>
              <a:gd name="T24" fmla="*/ 288 w 512"/>
              <a:gd name="T25" fmla="*/ 245 h 512"/>
              <a:gd name="T26" fmla="*/ 298 w 512"/>
              <a:gd name="T27" fmla="*/ 234 h 512"/>
              <a:gd name="T28" fmla="*/ 288 w 512"/>
              <a:gd name="T29" fmla="*/ 224 h 512"/>
              <a:gd name="T30" fmla="*/ 224 w 512"/>
              <a:gd name="T31" fmla="*/ 224 h 512"/>
              <a:gd name="T32" fmla="*/ 213 w 512"/>
              <a:gd name="T33" fmla="*/ 234 h 512"/>
              <a:gd name="T34" fmla="*/ 213 w 512"/>
              <a:gd name="T35" fmla="*/ 341 h 512"/>
              <a:gd name="T36" fmla="*/ 224 w 512"/>
              <a:gd name="T37" fmla="*/ 352 h 512"/>
              <a:gd name="T38" fmla="*/ 288 w 512"/>
              <a:gd name="T39" fmla="*/ 352 h 512"/>
              <a:gd name="T40" fmla="*/ 298 w 512"/>
              <a:gd name="T41" fmla="*/ 341 h 512"/>
              <a:gd name="T42" fmla="*/ 288 w 512"/>
              <a:gd name="T43" fmla="*/ 330 h 512"/>
              <a:gd name="T44" fmla="*/ 224 w 512"/>
              <a:gd name="T45" fmla="*/ 330 h 512"/>
              <a:gd name="T46" fmla="*/ 213 w 512"/>
              <a:gd name="T47" fmla="*/ 341 h 512"/>
              <a:gd name="T48" fmla="*/ 512 w 512"/>
              <a:gd name="T49" fmla="*/ 256 h 512"/>
              <a:gd name="T50" fmla="*/ 256 w 512"/>
              <a:gd name="T51" fmla="*/ 512 h 512"/>
              <a:gd name="T52" fmla="*/ 0 w 512"/>
              <a:gd name="T53" fmla="*/ 256 h 512"/>
              <a:gd name="T54" fmla="*/ 256 w 512"/>
              <a:gd name="T55" fmla="*/ 0 h 512"/>
              <a:gd name="T56" fmla="*/ 512 w 512"/>
              <a:gd name="T57" fmla="*/ 256 h 512"/>
              <a:gd name="T58" fmla="*/ 341 w 512"/>
              <a:gd name="T59" fmla="*/ 192 h 512"/>
              <a:gd name="T60" fmla="*/ 330 w 512"/>
              <a:gd name="T61" fmla="*/ 181 h 512"/>
              <a:gd name="T62" fmla="*/ 298 w 512"/>
              <a:gd name="T63" fmla="*/ 181 h 512"/>
              <a:gd name="T64" fmla="*/ 298 w 512"/>
              <a:gd name="T65" fmla="*/ 128 h 512"/>
              <a:gd name="T66" fmla="*/ 298 w 512"/>
              <a:gd name="T67" fmla="*/ 128 h 512"/>
              <a:gd name="T68" fmla="*/ 308 w 512"/>
              <a:gd name="T69" fmla="*/ 120 h 512"/>
              <a:gd name="T70" fmla="*/ 302 w 512"/>
              <a:gd name="T71" fmla="*/ 105 h 512"/>
              <a:gd name="T72" fmla="*/ 209 w 512"/>
              <a:gd name="T73" fmla="*/ 105 h 512"/>
              <a:gd name="T74" fmla="*/ 203 w 512"/>
              <a:gd name="T75" fmla="*/ 118 h 512"/>
              <a:gd name="T76" fmla="*/ 213 w 512"/>
              <a:gd name="T77" fmla="*/ 125 h 512"/>
              <a:gd name="T78" fmla="*/ 213 w 512"/>
              <a:gd name="T79" fmla="*/ 181 h 512"/>
              <a:gd name="T80" fmla="*/ 181 w 512"/>
              <a:gd name="T81" fmla="*/ 181 h 512"/>
              <a:gd name="T82" fmla="*/ 170 w 512"/>
              <a:gd name="T83" fmla="*/ 192 h 512"/>
              <a:gd name="T84" fmla="*/ 170 w 512"/>
              <a:gd name="T85" fmla="*/ 384 h 512"/>
              <a:gd name="T86" fmla="*/ 181 w 512"/>
              <a:gd name="T87" fmla="*/ 394 h 512"/>
              <a:gd name="T88" fmla="*/ 192 w 512"/>
              <a:gd name="T89" fmla="*/ 394 h 512"/>
              <a:gd name="T90" fmla="*/ 192 w 512"/>
              <a:gd name="T91" fmla="*/ 405 h 512"/>
              <a:gd name="T92" fmla="*/ 202 w 512"/>
              <a:gd name="T93" fmla="*/ 416 h 512"/>
              <a:gd name="T94" fmla="*/ 213 w 512"/>
              <a:gd name="T95" fmla="*/ 405 h 512"/>
              <a:gd name="T96" fmla="*/ 213 w 512"/>
              <a:gd name="T97" fmla="*/ 394 h 512"/>
              <a:gd name="T98" fmla="*/ 298 w 512"/>
              <a:gd name="T99" fmla="*/ 394 h 512"/>
              <a:gd name="T100" fmla="*/ 298 w 512"/>
              <a:gd name="T101" fmla="*/ 405 h 512"/>
              <a:gd name="T102" fmla="*/ 309 w 512"/>
              <a:gd name="T103" fmla="*/ 416 h 512"/>
              <a:gd name="T104" fmla="*/ 320 w 512"/>
              <a:gd name="T105" fmla="*/ 405 h 512"/>
              <a:gd name="T106" fmla="*/ 320 w 512"/>
              <a:gd name="T107" fmla="*/ 394 h 512"/>
              <a:gd name="T108" fmla="*/ 330 w 512"/>
              <a:gd name="T109" fmla="*/ 394 h 512"/>
              <a:gd name="T110" fmla="*/ 341 w 512"/>
              <a:gd name="T111" fmla="*/ 384 h 512"/>
              <a:gd name="T112" fmla="*/ 341 w 512"/>
              <a:gd name="T113" fmla="*/ 19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77" y="181"/>
                </a:moveTo>
                <a:cubicBezTo>
                  <a:pt x="234" y="181"/>
                  <a:pt x="234" y="181"/>
                  <a:pt x="234" y="181"/>
                </a:cubicBezTo>
                <a:cubicBezTo>
                  <a:pt x="234" y="119"/>
                  <a:pt x="234" y="119"/>
                  <a:pt x="234" y="119"/>
                </a:cubicBezTo>
                <a:cubicBezTo>
                  <a:pt x="248" y="116"/>
                  <a:pt x="263" y="116"/>
                  <a:pt x="277" y="119"/>
                </a:cubicBezTo>
                <a:lnTo>
                  <a:pt x="277" y="181"/>
                </a:lnTo>
                <a:close/>
                <a:moveTo>
                  <a:pt x="192" y="202"/>
                </a:moveTo>
                <a:cubicBezTo>
                  <a:pt x="320" y="202"/>
                  <a:pt x="320" y="202"/>
                  <a:pt x="320" y="202"/>
                </a:cubicBezTo>
                <a:cubicBezTo>
                  <a:pt x="320" y="373"/>
                  <a:pt x="320" y="373"/>
                  <a:pt x="320" y="373"/>
                </a:cubicBezTo>
                <a:cubicBezTo>
                  <a:pt x="192" y="373"/>
                  <a:pt x="192" y="373"/>
                  <a:pt x="192" y="373"/>
                </a:cubicBezTo>
                <a:lnTo>
                  <a:pt x="192" y="202"/>
                </a:lnTo>
                <a:close/>
                <a:moveTo>
                  <a:pt x="213" y="234"/>
                </a:moveTo>
                <a:cubicBezTo>
                  <a:pt x="213" y="240"/>
                  <a:pt x="218" y="245"/>
                  <a:pt x="224" y="245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94" y="245"/>
                  <a:pt x="298" y="240"/>
                  <a:pt x="298" y="234"/>
                </a:cubicBezTo>
                <a:cubicBezTo>
                  <a:pt x="298" y="228"/>
                  <a:pt x="294" y="224"/>
                  <a:pt x="288" y="224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18" y="224"/>
                  <a:pt x="213" y="228"/>
                  <a:pt x="213" y="234"/>
                </a:cubicBezTo>
                <a:close/>
                <a:moveTo>
                  <a:pt x="213" y="341"/>
                </a:moveTo>
                <a:cubicBezTo>
                  <a:pt x="213" y="347"/>
                  <a:pt x="218" y="352"/>
                  <a:pt x="224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94" y="352"/>
                  <a:pt x="298" y="347"/>
                  <a:pt x="298" y="341"/>
                </a:cubicBezTo>
                <a:cubicBezTo>
                  <a:pt x="298" y="335"/>
                  <a:pt x="294" y="330"/>
                  <a:pt x="288" y="330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18" y="330"/>
                  <a:pt x="213" y="335"/>
                  <a:pt x="213" y="34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192"/>
                </a:moveTo>
                <a:cubicBezTo>
                  <a:pt x="341" y="186"/>
                  <a:pt x="336" y="181"/>
                  <a:pt x="330" y="181"/>
                </a:cubicBezTo>
                <a:cubicBezTo>
                  <a:pt x="298" y="181"/>
                  <a:pt x="298" y="181"/>
                  <a:pt x="298" y="181"/>
                </a:cubicBezTo>
                <a:cubicBezTo>
                  <a:pt x="298" y="128"/>
                  <a:pt x="298" y="128"/>
                  <a:pt x="298" y="128"/>
                </a:cubicBezTo>
                <a:cubicBezTo>
                  <a:pt x="298" y="128"/>
                  <a:pt x="298" y="128"/>
                  <a:pt x="298" y="128"/>
                </a:cubicBezTo>
                <a:cubicBezTo>
                  <a:pt x="303" y="128"/>
                  <a:pt x="307" y="124"/>
                  <a:pt x="308" y="120"/>
                </a:cubicBezTo>
                <a:cubicBezTo>
                  <a:pt x="310" y="114"/>
                  <a:pt x="308" y="107"/>
                  <a:pt x="302" y="105"/>
                </a:cubicBezTo>
                <a:cubicBezTo>
                  <a:pt x="273" y="93"/>
                  <a:pt x="239" y="93"/>
                  <a:pt x="209" y="105"/>
                </a:cubicBezTo>
                <a:cubicBezTo>
                  <a:pt x="204" y="107"/>
                  <a:pt x="201" y="113"/>
                  <a:pt x="203" y="118"/>
                </a:cubicBezTo>
                <a:cubicBezTo>
                  <a:pt x="205" y="123"/>
                  <a:pt x="209" y="125"/>
                  <a:pt x="213" y="125"/>
                </a:cubicBezTo>
                <a:cubicBezTo>
                  <a:pt x="213" y="181"/>
                  <a:pt x="213" y="181"/>
                  <a:pt x="213" y="181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175" y="181"/>
                  <a:pt x="170" y="186"/>
                  <a:pt x="170" y="192"/>
                </a:cubicBezTo>
                <a:cubicBezTo>
                  <a:pt x="170" y="384"/>
                  <a:pt x="170" y="384"/>
                  <a:pt x="170" y="384"/>
                </a:cubicBezTo>
                <a:cubicBezTo>
                  <a:pt x="170" y="390"/>
                  <a:pt x="175" y="394"/>
                  <a:pt x="181" y="394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92" y="405"/>
                  <a:pt x="192" y="405"/>
                  <a:pt x="192" y="405"/>
                </a:cubicBezTo>
                <a:cubicBezTo>
                  <a:pt x="192" y="411"/>
                  <a:pt x="196" y="416"/>
                  <a:pt x="202" y="416"/>
                </a:cubicBezTo>
                <a:cubicBezTo>
                  <a:pt x="208" y="416"/>
                  <a:pt x="213" y="411"/>
                  <a:pt x="213" y="405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98" y="394"/>
                  <a:pt x="298" y="394"/>
                  <a:pt x="298" y="394"/>
                </a:cubicBezTo>
                <a:cubicBezTo>
                  <a:pt x="298" y="405"/>
                  <a:pt x="298" y="405"/>
                  <a:pt x="298" y="405"/>
                </a:cubicBezTo>
                <a:cubicBezTo>
                  <a:pt x="298" y="411"/>
                  <a:pt x="303" y="416"/>
                  <a:pt x="309" y="416"/>
                </a:cubicBezTo>
                <a:cubicBezTo>
                  <a:pt x="315" y="416"/>
                  <a:pt x="320" y="411"/>
                  <a:pt x="320" y="405"/>
                </a:cubicBezTo>
                <a:cubicBezTo>
                  <a:pt x="320" y="394"/>
                  <a:pt x="320" y="394"/>
                  <a:pt x="320" y="394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336" y="394"/>
                  <a:pt x="341" y="390"/>
                  <a:pt x="341" y="384"/>
                </a:cubicBezTo>
                <a:lnTo>
                  <a:pt x="341" y="1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0" name="Freeform 768"/>
          <p:cNvSpPr>
            <a:spLocks noChangeAspect="1" noEditPoints="1"/>
          </p:cNvSpPr>
          <p:nvPr/>
        </p:nvSpPr>
        <p:spPr bwMode="auto">
          <a:xfrm>
            <a:off x="1428963" y="4578625"/>
            <a:ext cx="367041" cy="367041"/>
          </a:xfrm>
          <a:custGeom>
            <a:avLst/>
            <a:gdLst>
              <a:gd name="T0" fmla="*/ 117 w 512"/>
              <a:gd name="T1" fmla="*/ 167 h 512"/>
              <a:gd name="T2" fmla="*/ 170 w 512"/>
              <a:gd name="T3" fmla="*/ 144 h 512"/>
              <a:gd name="T4" fmla="*/ 170 w 512"/>
              <a:gd name="T5" fmla="*/ 323 h 512"/>
              <a:gd name="T6" fmla="*/ 117 w 512"/>
              <a:gd name="T7" fmla="*/ 346 h 512"/>
              <a:gd name="T8" fmla="*/ 117 w 512"/>
              <a:gd name="T9" fmla="*/ 167 h 512"/>
              <a:gd name="T10" fmla="*/ 266 w 512"/>
              <a:gd name="T11" fmla="*/ 346 h 512"/>
              <a:gd name="T12" fmla="*/ 320 w 512"/>
              <a:gd name="T13" fmla="*/ 323 h 512"/>
              <a:gd name="T14" fmla="*/ 320 w 512"/>
              <a:gd name="T15" fmla="*/ 144 h 512"/>
              <a:gd name="T16" fmla="*/ 266 w 512"/>
              <a:gd name="T17" fmla="*/ 167 h 512"/>
              <a:gd name="T18" fmla="*/ 266 w 512"/>
              <a:gd name="T19" fmla="*/ 346 h 512"/>
              <a:gd name="T20" fmla="*/ 192 w 512"/>
              <a:gd name="T21" fmla="*/ 323 h 512"/>
              <a:gd name="T22" fmla="*/ 245 w 512"/>
              <a:gd name="T23" fmla="*/ 346 h 512"/>
              <a:gd name="T24" fmla="*/ 245 w 512"/>
              <a:gd name="T25" fmla="*/ 167 h 512"/>
              <a:gd name="T26" fmla="*/ 192 w 512"/>
              <a:gd name="T27" fmla="*/ 144 h 512"/>
              <a:gd name="T28" fmla="*/ 192 w 512"/>
              <a:gd name="T29" fmla="*/ 323 h 512"/>
              <a:gd name="T30" fmla="*/ 341 w 512"/>
              <a:gd name="T31" fmla="*/ 323 h 512"/>
              <a:gd name="T32" fmla="*/ 394 w 512"/>
              <a:gd name="T33" fmla="*/ 346 h 512"/>
              <a:gd name="T34" fmla="*/ 394 w 512"/>
              <a:gd name="T35" fmla="*/ 167 h 512"/>
              <a:gd name="T36" fmla="*/ 341 w 512"/>
              <a:gd name="T37" fmla="*/ 144 h 512"/>
              <a:gd name="T38" fmla="*/ 341 w 512"/>
              <a:gd name="T39" fmla="*/ 323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416 w 512"/>
              <a:gd name="T51" fmla="*/ 160 h 512"/>
              <a:gd name="T52" fmla="*/ 409 w 512"/>
              <a:gd name="T53" fmla="*/ 150 h 512"/>
              <a:gd name="T54" fmla="*/ 335 w 512"/>
              <a:gd name="T55" fmla="*/ 118 h 512"/>
              <a:gd name="T56" fmla="*/ 326 w 512"/>
              <a:gd name="T57" fmla="*/ 118 h 512"/>
              <a:gd name="T58" fmla="*/ 256 w 512"/>
              <a:gd name="T59" fmla="*/ 148 h 512"/>
              <a:gd name="T60" fmla="*/ 185 w 512"/>
              <a:gd name="T61" fmla="*/ 118 h 512"/>
              <a:gd name="T62" fmla="*/ 177 w 512"/>
              <a:gd name="T63" fmla="*/ 118 h 512"/>
              <a:gd name="T64" fmla="*/ 102 w 512"/>
              <a:gd name="T65" fmla="*/ 150 h 512"/>
              <a:gd name="T66" fmla="*/ 96 w 512"/>
              <a:gd name="T67" fmla="*/ 160 h 512"/>
              <a:gd name="T68" fmla="*/ 96 w 512"/>
              <a:gd name="T69" fmla="*/ 362 h 512"/>
              <a:gd name="T70" fmla="*/ 100 w 512"/>
              <a:gd name="T71" fmla="*/ 371 h 512"/>
              <a:gd name="T72" fmla="*/ 111 w 512"/>
              <a:gd name="T73" fmla="*/ 372 h 512"/>
              <a:gd name="T74" fmla="*/ 181 w 512"/>
              <a:gd name="T75" fmla="*/ 342 h 512"/>
              <a:gd name="T76" fmla="*/ 251 w 512"/>
              <a:gd name="T77" fmla="*/ 372 h 512"/>
              <a:gd name="T78" fmla="*/ 260 w 512"/>
              <a:gd name="T79" fmla="*/ 372 h 512"/>
              <a:gd name="T80" fmla="*/ 330 w 512"/>
              <a:gd name="T81" fmla="*/ 342 h 512"/>
              <a:gd name="T82" fmla="*/ 401 w 512"/>
              <a:gd name="T83" fmla="*/ 372 h 512"/>
              <a:gd name="T84" fmla="*/ 405 w 512"/>
              <a:gd name="T85" fmla="*/ 373 h 512"/>
              <a:gd name="T86" fmla="*/ 411 w 512"/>
              <a:gd name="T87" fmla="*/ 371 h 512"/>
              <a:gd name="T88" fmla="*/ 416 w 512"/>
              <a:gd name="T89" fmla="*/ 362 h 512"/>
              <a:gd name="T90" fmla="*/ 416 w 512"/>
              <a:gd name="T91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12" h="512">
                <a:moveTo>
                  <a:pt x="117" y="167"/>
                </a:moveTo>
                <a:cubicBezTo>
                  <a:pt x="170" y="144"/>
                  <a:pt x="170" y="144"/>
                  <a:pt x="170" y="144"/>
                </a:cubicBezTo>
                <a:cubicBezTo>
                  <a:pt x="170" y="323"/>
                  <a:pt x="170" y="323"/>
                  <a:pt x="170" y="323"/>
                </a:cubicBezTo>
                <a:cubicBezTo>
                  <a:pt x="117" y="346"/>
                  <a:pt x="117" y="346"/>
                  <a:pt x="117" y="346"/>
                </a:cubicBezTo>
                <a:lnTo>
                  <a:pt x="117" y="167"/>
                </a:lnTo>
                <a:close/>
                <a:moveTo>
                  <a:pt x="266" y="346"/>
                </a:moveTo>
                <a:cubicBezTo>
                  <a:pt x="320" y="323"/>
                  <a:pt x="320" y="323"/>
                  <a:pt x="320" y="323"/>
                </a:cubicBezTo>
                <a:cubicBezTo>
                  <a:pt x="320" y="144"/>
                  <a:pt x="320" y="144"/>
                  <a:pt x="320" y="144"/>
                </a:cubicBezTo>
                <a:cubicBezTo>
                  <a:pt x="266" y="167"/>
                  <a:pt x="266" y="167"/>
                  <a:pt x="266" y="167"/>
                </a:cubicBezTo>
                <a:lnTo>
                  <a:pt x="266" y="346"/>
                </a:lnTo>
                <a:close/>
                <a:moveTo>
                  <a:pt x="192" y="323"/>
                </a:moveTo>
                <a:cubicBezTo>
                  <a:pt x="245" y="346"/>
                  <a:pt x="245" y="346"/>
                  <a:pt x="245" y="346"/>
                </a:cubicBezTo>
                <a:cubicBezTo>
                  <a:pt x="245" y="167"/>
                  <a:pt x="245" y="167"/>
                  <a:pt x="245" y="167"/>
                </a:cubicBezTo>
                <a:cubicBezTo>
                  <a:pt x="192" y="144"/>
                  <a:pt x="192" y="144"/>
                  <a:pt x="192" y="144"/>
                </a:cubicBezTo>
                <a:lnTo>
                  <a:pt x="192" y="323"/>
                </a:lnTo>
                <a:close/>
                <a:moveTo>
                  <a:pt x="341" y="323"/>
                </a:moveTo>
                <a:cubicBezTo>
                  <a:pt x="394" y="346"/>
                  <a:pt x="394" y="346"/>
                  <a:pt x="394" y="346"/>
                </a:cubicBezTo>
                <a:cubicBezTo>
                  <a:pt x="394" y="167"/>
                  <a:pt x="394" y="167"/>
                  <a:pt x="394" y="167"/>
                </a:cubicBezTo>
                <a:cubicBezTo>
                  <a:pt x="341" y="144"/>
                  <a:pt x="341" y="144"/>
                  <a:pt x="341" y="144"/>
                </a:cubicBezTo>
                <a:lnTo>
                  <a:pt x="341" y="32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60"/>
                </a:moveTo>
                <a:cubicBezTo>
                  <a:pt x="416" y="155"/>
                  <a:pt x="413" y="152"/>
                  <a:pt x="409" y="150"/>
                </a:cubicBezTo>
                <a:cubicBezTo>
                  <a:pt x="335" y="118"/>
                  <a:pt x="335" y="118"/>
                  <a:pt x="335" y="118"/>
                </a:cubicBezTo>
                <a:cubicBezTo>
                  <a:pt x="332" y="117"/>
                  <a:pt x="329" y="117"/>
                  <a:pt x="326" y="118"/>
                </a:cubicBezTo>
                <a:cubicBezTo>
                  <a:pt x="256" y="148"/>
                  <a:pt x="256" y="148"/>
                  <a:pt x="256" y="148"/>
                </a:cubicBezTo>
                <a:cubicBezTo>
                  <a:pt x="185" y="118"/>
                  <a:pt x="185" y="118"/>
                  <a:pt x="185" y="118"/>
                </a:cubicBezTo>
                <a:cubicBezTo>
                  <a:pt x="183" y="117"/>
                  <a:pt x="179" y="117"/>
                  <a:pt x="177" y="118"/>
                </a:cubicBezTo>
                <a:cubicBezTo>
                  <a:pt x="102" y="150"/>
                  <a:pt x="102" y="150"/>
                  <a:pt x="102" y="150"/>
                </a:cubicBezTo>
                <a:cubicBezTo>
                  <a:pt x="98" y="152"/>
                  <a:pt x="96" y="155"/>
                  <a:pt x="96" y="160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6"/>
                  <a:pt x="97" y="369"/>
                  <a:pt x="100" y="371"/>
                </a:cubicBezTo>
                <a:cubicBezTo>
                  <a:pt x="103" y="373"/>
                  <a:pt x="107" y="374"/>
                  <a:pt x="111" y="372"/>
                </a:cubicBezTo>
                <a:cubicBezTo>
                  <a:pt x="181" y="342"/>
                  <a:pt x="181" y="342"/>
                  <a:pt x="181" y="342"/>
                </a:cubicBezTo>
                <a:cubicBezTo>
                  <a:pt x="251" y="372"/>
                  <a:pt x="251" y="372"/>
                  <a:pt x="251" y="372"/>
                </a:cubicBezTo>
                <a:cubicBezTo>
                  <a:pt x="254" y="373"/>
                  <a:pt x="257" y="373"/>
                  <a:pt x="260" y="372"/>
                </a:cubicBezTo>
                <a:cubicBezTo>
                  <a:pt x="330" y="342"/>
                  <a:pt x="330" y="342"/>
                  <a:pt x="330" y="342"/>
                </a:cubicBezTo>
                <a:cubicBezTo>
                  <a:pt x="401" y="372"/>
                  <a:pt x="401" y="372"/>
                  <a:pt x="401" y="372"/>
                </a:cubicBezTo>
                <a:cubicBezTo>
                  <a:pt x="402" y="373"/>
                  <a:pt x="404" y="373"/>
                  <a:pt x="405" y="373"/>
                </a:cubicBezTo>
                <a:cubicBezTo>
                  <a:pt x="407" y="373"/>
                  <a:pt x="409" y="372"/>
                  <a:pt x="411" y="371"/>
                </a:cubicBezTo>
                <a:cubicBezTo>
                  <a:pt x="414" y="369"/>
                  <a:pt x="416" y="366"/>
                  <a:pt x="416" y="362"/>
                </a:cubicBezTo>
                <a:lnTo>
                  <a:pt x="416" y="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01" name="Group 784"/>
          <p:cNvGrpSpPr>
            <a:grpSpLocks noChangeAspect="1"/>
          </p:cNvGrpSpPr>
          <p:nvPr/>
        </p:nvGrpSpPr>
        <p:grpSpPr bwMode="auto">
          <a:xfrm>
            <a:off x="1926139" y="4578625"/>
            <a:ext cx="367041" cy="367041"/>
            <a:chOff x="2657" y="3361"/>
            <a:chExt cx="340" cy="340"/>
          </a:xfrm>
          <a:solidFill>
            <a:schemeClr val="accent3"/>
          </a:solidFill>
        </p:grpSpPr>
        <p:sp>
          <p:nvSpPr>
            <p:cNvPr id="202" name="Freeform 785"/>
            <p:cNvSpPr>
              <a:spLocks noEditPoints="1"/>
            </p:cNvSpPr>
            <p:nvPr/>
          </p:nvSpPr>
          <p:spPr bwMode="auto">
            <a:xfrm>
              <a:off x="2721" y="3439"/>
              <a:ext cx="212" cy="170"/>
            </a:xfrm>
            <a:custGeom>
              <a:avLst/>
              <a:gdLst>
                <a:gd name="T0" fmla="*/ 313 w 320"/>
                <a:gd name="T1" fmla="*/ 33 h 257"/>
                <a:gd name="T2" fmla="*/ 239 w 320"/>
                <a:gd name="T3" fmla="*/ 1 h 257"/>
                <a:gd name="T4" fmla="*/ 230 w 320"/>
                <a:gd name="T5" fmla="*/ 1 h 257"/>
                <a:gd name="T6" fmla="*/ 160 w 320"/>
                <a:gd name="T7" fmla="*/ 31 h 257"/>
                <a:gd name="T8" fmla="*/ 89 w 320"/>
                <a:gd name="T9" fmla="*/ 1 h 257"/>
                <a:gd name="T10" fmla="*/ 81 w 320"/>
                <a:gd name="T11" fmla="*/ 1 h 257"/>
                <a:gd name="T12" fmla="*/ 6 w 320"/>
                <a:gd name="T13" fmla="*/ 33 h 257"/>
                <a:gd name="T14" fmla="*/ 0 w 320"/>
                <a:gd name="T15" fmla="*/ 43 h 257"/>
                <a:gd name="T16" fmla="*/ 0 w 320"/>
                <a:gd name="T17" fmla="*/ 245 h 257"/>
                <a:gd name="T18" fmla="*/ 4 w 320"/>
                <a:gd name="T19" fmla="*/ 254 h 257"/>
                <a:gd name="T20" fmla="*/ 15 w 320"/>
                <a:gd name="T21" fmla="*/ 255 h 257"/>
                <a:gd name="T22" fmla="*/ 85 w 320"/>
                <a:gd name="T23" fmla="*/ 225 h 257"/>
                <a:gd name="T24" fmla="*/ 155 w 320"/>
                <a:gd name="T25" fmla="*/ 255 h 257"/>
                <a:gd name="T26" fmla="*/ 164 w 320"/>
                <a:gd name="T27" fmla="*/ 255 h 257"/>
                <a:gd name="T28" fmla="*/ 234 w 320"/>
                <a:gd name="T29" fmla="*/ 225 h 257"/>
                <a:gd name="T30" fmla="*/ 305 w 320"/>
                <a:gd name="T31" fmla="*/ 255 h 257"/>
                <a:gd name="T32" fmla="*/ 309 w 320"/>
                <a:gd name="T33" fmla="*/ 256 h 257"/>
                <a:gd name="T34" fmla="*/ 315 w 320"/>
                <a:gd name="T35" fmla="*/ 254 h 257"/>
                <a:gd name="T36" fmla="*/ 320 w 320"/>
                <a:gd name="T37" fmla="*/ 245 h 257"/>
                <a:gd name="T38" fmla="*/ 320 w 320"/>
                <a:gd name="T39" fmla="*/ 43 h 257"/>
                <a:gd name="T40" fmla="*/ 313 w 320"/>
                <a:gd name="T41" fmla="*/ 33 h 257"/>
                <a:gd name="T42" fmla="*/ 96 w 320"/>
                <a:gd name="T43" fmla="*/ 27 h 257"/>
                <a:gd name="T44" fmla="*/ 149 w 320"/>
                <a:gd name="T45" fmla="*/ 50 h 257"/>
                <a:gd name="T46" fmla="*/ 149 w 320"/>
                <a:gd name="T47" fmla="*/ 229 h 257"/>
                <a:gd name="T48" fmla="*/ 96 w 320"/>
                <a:gd name="T49" fmla="*/ 206 h 257"/>
                <a:gd name="T50" fmla="*/ 96 w 320"/>
                <a:gd name="T51" fmla="*/ 27 h 257"/>
                <a:gd name="T52" fmla="*/ 170 w 320"/>
                <a:gd name="T53" fmla="*/ 50 h 257"/>
                <a:gd name="T54" fmla="*/ 224 w 320"/>
                <a:gd name="T55" fmla="*/ 27 h 257"/>
                <a:gd name="T56" fmla="*/ 224 w 320"/>
                <a:gd name="T57" fmla="*/ 206 h 257"/>
                <a:gd name="T58" fmla="*/ 170 w 320"/>
                <a:gd name="T59" fmla="*/ 229 h 257"/>
                <a:gd name="T60" fmla="*/ 170 w 320"/>
                <a:gd name="T61" fmla="*/ 50 h 257"/>
                <a:gd name="T62" fmla="*/ 21 w 320"/>
                <a:gd name="T63" fmla="*/ 50 h 257"/>
                <a:gd name="T64" fmla="*/ 74 w 320"/>
                <a:gd name="T65" fmla="*/ 27 h 257"/>
                <a:gd name="T66" fmla="*/ 74 w 320"/>
                <a:gd name="T67" fmla="*/ 206 h 257"/>
                <a:gd name="T68" fmla="*/ 21 w 320"/>
                <a:gd name="T69" fmla="*/ 229 h 257"/>
                <a:gd name="T70" fmla="*/ 21 w 320"/>
                <a:gd name="T71" fmla="*/ 50 h 257"/>
                <a:gd name="T72" fmla="*/ 298 w 320"/>
                <a:gd name="T73" fmla="*/ 229 h 257"/>
                <a:gd name="T74" fmla="*/ 245 w 320"/>
                <a:gd name="T75" fmla="*/ 206 h 257"/>
                <a:gd name="T76" fmla="*/ 245 w 320"/>
                <a:gd name="T77" fmla="*/ 27 h 257"/>
                <a:gd name="T78" fmla="*/ 298 w 320"/>
                <a:gd name="T79" fmla="*/ 50 h 257"/>
                <a:gd name="T80" fmla="*/ 298 w 320"/>
                <a:gd name="T8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0" h="257">
                  <a:moveTo>
                    <a:pt x="313" y="33"/>
                  </a:moveTo>
                  <a:cubicBezTo>
                    <a:pt x="239" y="1"/>
                    <a:pt x="239" y="1"/>
                    <a:pt x="239" y="1"/>
                  </a:cubicBezTo>
                  <a:cubicBezTo>
                    <a:pt x="236" y="0"/>
                    <a:pt x="233" y="0"/>
                    <a:pt x="230" y="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7" y="0"/>
                    <a:pt x="83" y="0"/>
                    <a:pt x="81" y="1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" y="35"/>
                    <a:pt x="0" y="38"/>
                    <a:pt x="0" y="43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49"/>
                    <a:pt x="1" y="252"/>
                    <a:pt x="4" y="254"/>
                  </a:cubicBezTo>
                  <a:cubicBezTo>
                    <a:pt x="7" y="256"/>
                    <a:pt x="11" y="257"/>
                    <a:pt x="15" y="255"/>
                  </a:cubicBezTo>
                  <a:cubicBezTo>
                    <a:pt x="85" y="225"/>
                    <a:pt x="85" y="225"/>
                    <a:pt x="85" y="225"/>
                  </a:cubicBezTo>
                  <a:cubicBezTo>
                    <a:pt x="155" y="255"/>
                    <a:pt x="155" y="255"/>
                    <a:pt x="155" y="255"/>
                  </a:cubicBezTo>
                  <a:cubicBezTo>
                    <a:pt x="158" y="256"/>
                    <a:pt x="161" y="256"/>
                    <a:pt x="164" y="255"/>
                  </a:cubicBezTo>
                  <a:cubicBezTo>
                    <a:pt x="234" y="225"/>
                    <a:pt x="234" y="225"/>
                    <a:pt x="234" y="225"/>
                  </a:cubicBezTo>
                  <a:cubicBezTo>
                    <a:pt x="305" y="255"/>
                    <a:pt x="305" y="255"/>
                    <a:pt x="305" y="255"/>
                  </a:cubicBezTo>
                  <a:cubicBezTo>
                    <a:pt x="306" y="256"/>
                    <a:pt x="308" y="256"/>
                    <a:pt x="309" y="256"/>
                  </a:cubicBezTo>
                  <a:cubicBezTo>
                    <a:pt x="311" y="256"/>
                    <a:pt x="313" y="255"/>
                    <a:pt x="315" y="254"/>
                  </a:cubicBezTo>
                  <a:cubicBezTo>
                    <a:pt x="318" y="252"/>
                    <a:pt x="320" y="249"/>
                    <a:pt x="320" y="245"/>
                  </a:cubicBezTo>
                  <a:cubicBezTo>
                    <a:pt x="320" y="43"/>
                    <a:pt x="320" y="43"/>
                    <a:pt x="320" y="43"/>
                  </a:cubicBezTo>
                  <a:cubicBezTo>
                    <a:pt x="320" y="38"/>
                    <a:pt x="317" y="35"/>
                    <a:pt x="313" y="33"/>
                  </a:cubicBezTo>
                  <a:close/>
                  <a:moveTo>
                    <a:pt x="96" y="27"/>
                  </a:moveTo>
                  <a:cubicBezTo>
                    <a:pt x="149" y="50"/>
                    <a:pt x="149" y="50"/>
                    <a:pt x="149" y="50"/>
                  </a:cubicBezTo>
                  <a:cubicBezTo>
                    <a:pt x="149" y="229"/>
                    <a:pt x="149" y="229"/>
                    <a:pt x="149" y="229"/>
                  </a:cubicBezTo>
                  <a:cubicBezTo>
                    <a:pt x="96" y="206"/>
                    <a:pt x="96" y="206"/>
                    <a:pt x="96" y="206"/>
                  </a:cubicBezTo>
                  <a:lnTo>
                    <a:pt x="96" y="27"/>
                  </a:lnTo>
                  <a:close/>
                  <a:moveTo>
                    <a:pt x="170" y="50"/>
                  </a:moveTo>
                  <a:cubicBezTo>
                    <a:pt x="224" y="27"/>
                    <a:pt x="224" y="27"/>
                    <a:pt x="224" y="27"/>
                  </a:cubicBezTo>
                  <a:cubicBezTo>
                    <a:pt x="224" y="206"/>
                    <a:pt x="224" y="206"/>
                    <a:pt x="224" y="206"/>
                  </a:cubicBezTo>
                  <a:cubicBezTo>
                    <a:pt x="170" y="229"/>
                    <a:pt x="170" y="229"/>
                    <a:pt x="170" y="229"/>
                  </a:cubicBezTo>
                  <a:lnTo>
                    <a:pt x="170" y="50"/>
                  </a:lnTo>
                  <a:close/>
                  <a:moveTo>
                    <a:pt x="21" y="50"/>
                  </a:moveTo>
                  <a:cubicBezTo>
                    <a:pt x="74" y="27"/>
                    <a:pt x="74" y="27"/>
                    <a:pt x="74" y="27"/>
                  </a:cubicBezTo>
                  <a:cubicBezTo>
                    <a:pt x="74" y="206"/>
                    <a:pt x="74" y="206"/>
                    <a:pt x="74" y="206"/>
                  </a:cubicBezTo>
                  <a:cubicBezTo>
                    <a:pt x="21" y="229"/>
                    <a:pt x="21" y="229"/>
                    <a:pt x="21" y="229"/>
                  </a:cubicBezTo>
                  <a:lnTo>
                    <a:pt x="21" y="50"/>
                  </a:lnTo>
                  <a:close/>
                  <a:moveTo>
                    <a:pt x="298" y="229"/>
                  </a:moveTo>
                  <a:cubicBezTo>
                    <a:pt x="245" y="206"/>
                    <a:pt x="245" y="206"/>
                    <a:pt x="245" y="206"/>
                  </a:cubicBezTo>
                  <a:cubicBezTo>
                    <a:pt x="245" y="27"/>
                    <a:pt x="245" y="27"/>
                    <a:pt x="245" y="27"/>
                  </a:cubicBezTo>
                  <a:cubicBezTo>
                    <a:pt x="298" y="50"/>
                    <a:pt x="298" y="50"/>
                    <a:pt x="298" y="50"/>
                  </a:cubicBezTo>
                  <a:lnTo>
                    <a:pt x="298" y="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786"/>
            <p:cNvSpPr>
              <a:spLocks noEditPoints="1"/>
            </p:cNvSpPr>
            <p:nvPr/>
          </p:nvSpPr>
          <p:spPr bwMode="auto">
            <a:xfrm>
              <a:off x="2657" y="336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4" name="Freeform 288"/>
          <p:cNvSpPr>
            <a:spLocks noChangeAspect="1" noEditPoints="1"/>
          </p:cNvSpPr>
          <p:nvPr/>
        </p:nvSpPr>
        <p:spPr bwMode="auto">
          <a:xfrm>
            <a:off x="2415747" y="4578625"/>
            <a:ext cx="367041" cy="367041"/>
          </a:xfrm>
          <a:custGeom>
            <a:avLst/>
            <a:gdLst>
              <a:gd name="T0" fmla="*/ 117 w 512"/>
              <a:gd name="T1" fmla="*/ 213 h 512"/>
              <a:gd name="T2" fmla="*/ 320 w 512"/>
              <a:gd name="T3" fmla="*/ 213 h 512"/>
              <a:gd name="T4" fmla="*/ 320 w 512"/>
              <a:gd name="T5" fmla="*/ 224 h 512"/>
              <a:gd name="T6" fmla="*/ 320 w 512"/>
              <a:gd name="T7" fmla="*/ 298 h 512"/>
              <a:gd name="T8" fmla="*/ 117 w 512"/>
              <a:gd name="T9" fmla="*/ 298 h 512"/>
              <a:gd name="T10" fmla="*/ 117 w 512"/>
              <a:gd name="T11" fmla="*/ 213 h 512"/>
              <a:gd name="T12" fmla="*/ 362 w 512"/>
              <a:gd name="T13" fmla="*/ 320 h 512"/>
              <a:gd name="T14" fmla="*/ 352 w 512"/>
              <a:gd name="T15" fmla="*/ 330 h 512"/>
              <a:gd name="T16" fmla="*/ 362 w 512"/>
              <a:gd name="T17" fmla="*/ 341 h 512"/>
              <a:gd name="T18" fmla="*/ 373 w 512"/>
              <a:gd name="T19" fmla="*/ 330 h 512"/>
              <a:gd name="T20" fmla="*/ 362 w 512"/>
              <a:gd name="T21" fmla="*/ 320 h 512"/>
              <a:gd name="T22" fmla="*/ 202 w 512"/>
              <a:gd name="T23" fmla="*/ 320 h 512"/>
              <a:gd name="T24" fmla="*/ 192 w 512"/>
              <a:gd name="T25" fmla="*/ 330 h 512"/>
              <a:gd name="T26" fmla="*/ 202 w 512"/>
              <a:gd name="T27" fmla="*/ 341 h 512"/>
              <a:gd name="T28" fmla="*/ 213 w 512"/>
              <a:gd name="T29" fmla="*/ 330 h 512"/>
              <a:gd name="T30" fmla="*/ 202 w 512"/>
              <a:gd name="T31" fmla="*/ 320 h 512"/>
              <a:gd name="T32" fmla="*/ 149 w 512"/>
              <a:gd name="T33" fmla="*/ 320 h 512"/>
              <a:gd name="T34" fmla="*/ 138 w 512"/>
              <a:gd name="T35" fmla="*/ 330 h 512"/>
              <a:gd name="T36" fmla="*/ 149 w 512"/>
              <a:gd name="T37" fmla="*/ 341 h 512"/>
              <a:gd name="T38" fmla="*/ 160 w 512"/>
              <a:gd name="T39" fmla="*/ 330 h 512"/>
              <a:gd name="T40" fmla="*/ 149 w 512"/>
              <a:gd name="T41" fmla="*/ 320 h 512"/>
              <a:gd name="T42" fmla="*/ 512 w 512"/>
              <a:gd name="T43" fmla="*/ 256 h 512"/>
              <a:gd name="T44" fmla="*/ 256 w 512"/>
              <a:gd name="T45" fmla="*/ 512 h 512"/>
              <a:gd name="T46" fmla="*/ 0 w 512"/>
              <a:gd name="T47" fmla="*/ 256 h 512"/>
              <a:gd name="T48" fmla="*/ 256 w 512"/>
              <a:gd name="T49" fmla="*/ 0 h 512"/>
              <a:gd name="T50" fmla="*/ 512 w 512"/>
              <a:gd name="T51" fmla="*/ 256 h 512"/>
              <a:gd name="T52" fmla="*/ 416 w 512"/>
              <a:gd name="T53" fmla="*/ 245 h 512"/>
              <a:gd name="T54" fmla="*/ 413 w 512"/>
              <a:gd name="T55" fmla="*/ 237 h 512"/>
              <a:gd name="T56" fmla="*/ 391 w 512"/>
              <a:gd name="T57" fmla="*/ 216 h 512"/>
              <a:gd name="T58" fmla="*/ 384 w 512"/>
              <a:gd name="T59" fmla="*/ 213 h 512"/>
              <a:gd name="T60" fmla="*/ 341 w 512"/>
              <a:gd name="T61" fmla="*/ 213 h 512"/>
              <a:gd name="T62" fmla="*/ 341 w 512"/>
              <a:gd name="T63" fmla="*/ 202 h 512"/>
              <a:gd name="T64" fmla="*/ 330 w 512"/>
              <a:gd name="T65" fmla="*/ 192 h 512"/>
              <a:gd name="T66" fmla="*/ 106 w 512"/>
              <a:gd name="T67" fmla="*/ 192 h 512"/>
              <a:gd name="T68" fmla="*/ 96 w 512"/>
              <a:gd name="T69" fmla="*/ 202 h 512"/>
              <a:gd name="T70" fmla="*/ 96 w 512"/>
              <a:gd name="T71" fmla="*/ 309 h 512"/>
              <a:gd name="T72" fmla="*/ 106 w 512"/>
              <a:gd name="T73" fmla="*/ 320 h 512"/>
              <a:gd name="T74" fmla="*/ 119 w 512"/>
              <a:gd name="T75" fmla="*/ 320 h 512"/>
              <a:gd name="T76" fmla="*/ 117 w 512"/>
              <a:gd name="T77" fmla="*/ 330 h 512"/>
              <a:gd name="T78" fmla="*/ 149 w 512"/>
              <a:gd name="T79" fmla="*/ 362 h 512"/>
              <a:gd name="T80" fmla="*/ 176 w 512"/>
              <a:gd name="T81" fmla="*/ 348 h 512"/>
              <a:gd name="T82" fmla="*/ 202 w 512"/>
              <a:gd name="T83" fmla="*/ 362 h 512"/>
              <a:gd name="T84" fmla="*/ 234 w 512"/>
              <a:gd name="T85" fmla="*/ 330 h 512"/>
              <a:gd name="T86" fmla="*/ 232 w 512"/>
              <a:gd name="T87" fmla="*/ 320 h 512"/>
              <a:gd name="T88" fmla="*/ 330 w 512"/>
              <a:gd name="T89" fmla="*/ 320 h 512"/>
              <a:gd name="T90" fmla="*/ 332 w 512"/>
              <a:gd name="T91" fmla="*/ 320 h 512"/>
              <a:gd name="T92" fmla="*/ 330 w 512"/>
              <a:gd name="T93" fmla="*/ 330 h 512"/>
              <a:gd name="T94" fmla="*/ 362 w 512"/>
              <a:gd name="T95" fmla="*/ 362 h 512"/>
              <a:gd name="T96" fmla="*/ 394 w 512"/>
              <a:gd name="T97" fmla="*/ 330 h 512"/>
              <a:gd name="T98" fmla="*/ 392 w 512"/>
              <a:gd name="T99" fmla="*/ 320 h 512"/>
              <a:gd name="T100" fmla="*/ 405 w 512"/>
              <a:gd name="T101" fmla="*/ 320 h 512"/>
              <a:gd name="T102" fmla="*/ 416 w 512"/>
              <a:gd name="T103" fmla="*/ 309 h 512"/>
              <a:gd name="T104" fmla="*/ 416 w 512"/>
              <a:gd name="T105" fmla="*/ 245 h 512"/>
              <a:gd name="T106" fmla="*/ 341 w 512"/>
              <a:gd name="T107" fmla="*/ 234 h 512"/>
              <a:gd name="T108" fmla="*/ 341 w 512"/>
              <a:gd name="T109" fmla="*/ 298 h 512"/>
              <a:gd name="T110" fmla="*/ 394 w 512"/>
              <a:gd name="T111" fmla="*/ 298 h 512"/>
              <a:gd name="T112" fmla="*/ 394 w 512"/>
              <a:gd name="T113" fmla="*/ 249 h 512"/>
              <a:gd name="T114" fmla="*/ 379 w 512"/>
              <a:gd name="T115" fmla="*/ 234 h 512"/>
              <a:gd name="T116" fmla="*/ 341 w 512"/>
              <a:gd name="T117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17" y="213"/>
                </a:moveTo>
                <a:cubicBezTo>
                  <a:pt x="320" y="213"/>
                  <a:pt x="320" y="213"/>
                  <a:pt x="320" y="213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117" y="298"/>
                  <a:pt x="117" y="298"/>
                  <a:pt x="117" y="298"/>
                </a:cubicBezTo>
                <a:lnTo>
                  <a:pt x="117" y="213"/>
                </a:lnTo>
                <a:close/>
                <a:moveTo>
                  <a:pt x="362" y="320"/>
                </a:moveTo>
                <a:cubicBezTo>
                  <a:pt x="356" y="320"/>
                  <a:pt x="352" y="324"/>
                  <a:pt x="352" y="330"/>
                </a:cubicBezTo>
                <a:cubicBezTo>
                  <a:pt x="352" y="336"/>
                  <a:pt x="356" y="341"/>
                  <a:pt x="362" y="341"/>
                </a:cubicBezTo>
                <a:cubicBezTo>
                  <a:pt x="368" y="341"/>
                  <a:pt x="373" y="336"/>
                  <a:pt x="373" y="330"/>
                </a:cubicBezTo>
                <a:cubicBezTo>
                  <a:pt x="373" y="324"/>
                  <a:pt x="368" y="320"/>
                  <a:pt x="362" y="320"/>
                </a:cubicBezTo>
                <a:close/>
                <a:moveTo>
                  <a:pt x="202" y="320"/>
                </a:moveTo>
                <a:cubicBezTo>
                  <a:pt x="196" y="320"/>
                  <a:pt x="192" y="324"/>
                  <a:pt x="192" y="330"/>
                </a:cubicBezTo>
                <a:cubicBezTo>
                  <a:pt x="192" y="336"/>
                  <a:pt x="196" y="341"/>
                  <a:pt x="202" y="341"/>
                </a:cubicBezTo>
                <a:cubicBezTo>
                  <a:pt x="208" y="341"/>
                  <a:pt x="213" y="336"/>
                  <a:pt x="213" y="330"/>
                </a:cubicBezTo>
                <a:cubicBezTo>
                  <a:pt x="213" y="324"/>
                  <a:pt x="208" y="320"/>
                  <a:pt x="202" y="320"/>
                </a:cubicBezTo>
                <a:close/>
                <a:moveTo>
                  <a:pt x="149" y="320"/>
                </a:moveTo>
                <a:cubicBezTo>
                  <a:pt x="143" y="320"/>
                  <a:pt x="138" y="324"/>
                  <a:pt x="138" y="330"/>
                </a:cubicBezTo>
                <a:cubicBezTo>
                  <a:pt x="138" y="336"/>
                  <a:pt x="143" y="341"/>
                  <a:pt x="149" y="341"/>
                </a:cubicBezTo>
                <a:cubicBezTo>
                  <a:pt x="155" y="341"/>
                  <a:pt x="160" y="336"/>
                  <a:pt x="160" y="330"/>
                </a:cubicBezTo>
                <a:cubicBezTo>
                  <a:pt x="160" y="324"/>
                  <a:pt x="155" y="320"/>
                  <a:pt x="149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45"/>
                </a:moveTo>
                <a:cubicBezTo>
                  <a:pt x="416" y="242"/>
                  <a:pt x="415" y="239"/>
                  <a:pt x="413" y="237"/>
                </a:cubicBezTo>
                <a:cubicBezTo>
                  <a:pt x="391" y="216"/>
                  <a:pt x="391" y="216"/>
                  <a:pt x="391" y="216"/>
                </a:cubicBezTo>
                <a:cubicBezTo>
                  <a:pt x="389" y="214"/>
                  <a:pt x="386" y="213"/>
                  <a:pt x="384" y="213"/>
                </a:cubicBezTo>
                <a:cubicBezTo>
                  <a:pt x="341" y="213"/>
                  <a:pt x="341" y="213"/>
                  <a:pt x="341" y="213"/>
                </a:cubicBezTo>
                <a:cubicBezTo>
                  <a:pt x="341" y="202"/>
                  <a:pt x="341" y="202"/>
                  <a:pt x="341" y="202"/>
                </a:cubicBezTo>
                <a:cubicBezTo>
                  <a:pt x="341" y="196"/>
                  <a:pt x="336" y="192"/>
                  <a:pt x="330" y="192"/>
                </a:cubicBezTo>
                <a:cubicBezTo>
                  <a:pt x="106" y="192"/>
                  <a:pt x="106" y="192"/>
                  <a:pt x="106" y="192"/>
                </a:cubicBezTo>
                <a:cubicBezTo>
                  <a:pt x="100" y="192"/>
                  <a:pt x="96" y="196"/>
                  <a:pt x="96" y="202"/>
                </a:cubicBezTo>
                <a:cubicBezTo>
                  <a:pt x="96" y="309"/>
                  <a:pt x="96" y="309"/>
                  <a:pt x="96" y="309"/>
                </a:cubicBezTo>
                <a:cubicBezTo>
                  <a:pt x="96" y="315"/>
                  <a:pt x="100" y="320"/>
                  <a:pt x="106" y="320"/>
                </a:cubicBezTo>
                <a:cubicBezTo>
                  <a:pt x="119" y="320"/>
                  <a:pt x="119" y="320"/>
                  <a:pt x="119" y="320"/>
                </a:cubicBezTo>
                <a:cubicBezTo>
                  <a:pt x="118" y="323"/>
                  <a:pt x="117" y="327"/>
                  <a:pt x="117" y="330"/>
                </a:cubicBezTo>
                <a:cubicBezTo>
                  <a:pt x="117" y="348"/>
                  <a:pt x="131" y="362"/>
                  <a:pt x="149" y="362"/>
                </a:cubicBezTo>
                <a:cubicBezTo>
                  <a:pt x="160" y="362"/>
                  <a:pt x="170" y="357"/>
                  <a:pt x="176" y="348"/>
                </a:cubicBezTo>
                <a:cubicBezTo>
                  <a:pt x="181" y="357"/>
                  <a:pt x="191" y="362"/>
                  <a:pt x="202" y="362"/>
                </a:cubicBezTo>
                <a:cubicBezTo>
                  <a:pt x="220" y="362"/>
                  <a:pt x="234" y="348"/>
                  <a:pt x="234" y="330"/>
                </a:cubicBezTo>
                <a:cubicBezTo>
                  <a:pt x="234" y="327"/>
                  <a:pt x="234" y="323"/>
                  <a:pt x="232" y="320"/>
                </a:cubicBezTo>
                <a:cubicBezTo>
                  <a:pt x="330" y="320"/>
                  <a:pt x="330" y="320"/>
                  <a:pt x="330" y="320"/>
                </a:cubicBezTo>
                <a:cubicBezTo>
                  <a:pt x="332" y="320"/>
                  <a:pt x="332" y="320"/>
                  <a:pt x="332" y="320"/>
                </a:cubicBezTo>
                <a:cubicBezTo>
                  <a:pt x="331" y="323"/>
                  <a:pt x="330" y="327"/>
                  <a:pt x="330" y="330"/>
                </a:cubicBezTo>
                <a:cubicBezTo>
                  <a:pt x="330" y="348"/>
                  <a:pt x="345" y="362"/>
                  <a:pt x="362" y="362"/>
                </a:cubicBezTo>
                <a:cubicBezTo>
                  <a:pt x="380" y="362"/>
                  <a:pt x="394" y="348"/>
                  <a:pt x="394" y="330"/>
                </a:cubicBezTo>
                <a:cubicBezTo>
                  <a:pt x="394" y="327"/>
                  <a:pt x="394" y="323"/>
                  <a:pt x="392" y="32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15"/>
                  <a:pt x="416" y="309"/>
                </a:cubicBezTo>
                <a:lnTo>
                  <a:pt x="416" y="245"/>
                </a:lnTo>
                <a:close/>
                <a:moveTo>
                  <a:pt x="341" y="234"/>
                </a:moveTo>
                <a:cubicBezTo>
                  <a:pt x="341" y="298"/>
                  <a:pt x="341" y="298"/>
                  <a:pt x="341" y="298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49"/>
                  <a:pt x="394" y="249"/>
                  <a:pt x="394" y="249"/>
                </a:cubicBezTo>
                <a:cubicBezTo>
                  <a:pt x="379" y="234"/>
                  <a:pt x="379" y="234"/>
                  <a:pt x="379" y="234"/>
                </a:cubicBezTo>
                <a:lnTo>
                  <a:pt x="341" y="23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05" name="Group 291"/>
          <p:cNvGrpSpPr>
            <a:grpSpLocks noChangeAspect="1"/>
          </p:cNvGrpSpPr>
          <p:nvPr/>
        </p:nvGrpSpPr>
        <p:grpSpPr bwMode="auto">
          <a:xfrm>
            <a:off x="2922227" y="4578625"/>
            <a:ext cx="367041" cy="367041"/>
            <a:chOff x="1197" y="1315"/>
            <a:chExt cx="340" cy="340"/>
          </a:xfrm>
          <a:solidFill>
            <a:schemeClr val="accent4"/>
          </a:solidFill>
        </p:grpSpPr>
        <p:sp>
          <p:nvSpPr>
            <p:cNvPr id="206" name="Freeform 292"/>
            <p:cNvSpPr>
              <a:spLocks noEditPoints="1"/>
            </p:cNvSpPr>
            <p:nvPr/>
          </p:nvSpPr>
          <p:spPr bwMode="auto">
            <a:xfrm>
              <a:off x="1197" y="131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293"/>
            <p:cNvSpPr>
              <a:spLocks noEditPoints="1"/>
            </p:cNvSpPr>
            <p:nvPr/>
          </p:nvSpPr>
          <p:spPr bwMode="auto">
            <a:xfrm>
              <a:off x="1261" y="1442"/>
              <a:ext cx="212" cy="113"/>
            </a:xfrm>
            <a:custGeom>
              <a:avLst/>
              <a:gdLst>
                <a:gd name="T0" fmla="*/ 317 w 320"/>
                <a:gd name="T1" fmla="*/ 45 h 170"/>
                <a:gd name="T2" fmla="*/ 295 w 320"/>
                <a:gd name="T3" fmla="*/ 24 h 170"/>
                <a:gd name="T4" fmla="*/ 288 w 320"/>
                <a:gd name="T5" fmla="*/ 21 h 170"/>
                <a:gd name="T6" fmla="*/ 245 w 320"/>
                <a:gd name="T7" fmla="*/ 21 h 170"/>
                <a:gd name="T8" fmla="*/ 245 w 320"/>
                <a:gd name="T9" fmla="*/ 10 h 170"/>
                <a:gd name="T10" fmla="*/ 234 w 320"/>
                <a:gd name="T11" fmla="*/ 0 h 170"/>
                <a:gd name="T12" fmla="*/ 10 w 320"/>
                <a:gd name="T13" fmla="*/ 0 h 170"/>
                <a:gd name="T14" fmla="*/ 0 w 320"/>
                <a:gd name="T15" fmla="*/ 10 h 170"/>
                <a:gd name="T16" fmla="*/ 0 w 320"/>
                <a:gd name="T17" fmla="*/ 117 h 170"/>
                <a:gd name="T18" fmla="*/ 10 w 320"/>
                <a:gd name="T19" fmla="*/ 128 h 170"/>
                <a:gd name="T20" fmla="*/ 23 w 320"/>
                <a:gd name="T21" fmla="*/ 128 h 170"/>
                <a:gd name="T22" fmla="*/ 21 w 320"/>
                <a:gd name="T23" fmla="*/ 138 h 170"/>
                <a:gd name="T24" fmla="*/ 53 w 320"/>
                <a:gd name="T25" fmla="*/ 170 h 170"/>
                <a:gd name="T26" fmla="*/ 80 w 320"/>
                <a:gd name="T27" fmla="*/ 156 h 170"/>
                <a:gd name="T28" fmla="*/ 106 w 320"/>
                <a:gd name="T29" fmla="*/ 170 h 170"/>
                <a:gd name="T30" fmla="*/ 138 w 320"/>
                <a:gd name="T31" fmla="*/ 138 h 170"/>
                <a:gd name="T32" fmla="*/ 136 w 320"/>
                <a:gd name="T33" fmla="*/ 128 h 170"/>
                <a:gd name="T34" fmla="*/ 234 w 320"/>
                <a:gd name="T35" fmla="*/ 128 h 170"/>
                <a:gd name="T36" fmla="*/ 236 w 320"/>
                <a:gd name="T37" fmla="*/ 128 h 170"/>
                <a:gd name="T38" fmla="*/ 234 w 320"/>
                <a:gd name="T39" fmla="*/ 138 h 170"/>
                <a:gd name="T40" fmla="*/ 266 w 320"/>
                <a:gd name="T41" fmla="*/ 170 h 170"/>
                <a:gd name="T42" fmla="*/ 298 w 320"/>
                <a:gd name="T43" fmla="*/ 138 h 170"/>
                <a:gd name="T44" fmla="*/ 296 w 320"/>
                <a:gd name="T45" fmla="*/ 128 h 170"/>
                <a:gd name="T46" fmla="*/ 309 w 320"/>
                <a:gd name="T47" fmla="*/ 128 h 170"/>
                <a:gd name="T48" fmla="*/ 320 w 320"/>
                <a:gd name="T49" fmla="*/ 117 h 170"/>
                <a:gd name="T50" fmla="*/ 320 w 320"/>
                <a:gd name="T51" fmla="*/ 53 h 170"/>
                <a:gd name="T52" fmla="*/ 317 w 320"/>
                <a:gd name="T53" fmla="*/ 45 h 170"/>
                <a:gd name="T54" fmla="*/ 21 w 320"/>
                <a:gd name="T55" fmla="*/ 21 h 170"/>
                <a:gd name="T56" fmla="*/ 224 w 320"/>
                <a:gd name="T57" fmla="*/ 21 h 170"/>
                <a:gd name="T58" fmla="*/ 224 w 320"/>
                <a:gd name="T59" fmla="*/ 32 h 170"/>
                <a:gd name="T60" fmla="*/ 224 w 320"/>
                <a:gd name="T61" fmla="*/ 106 h 170"/>
                <a:gd name="T62" fmla="*/ 21 w 320"/>
                <a:gd name="T63" fmla="*/ 106 h 170"/>
                <a:gd name="T64" fmla="*/ 21 w 320"/>
                <a:gd name="T65" fmla="*/ 21 h 170"/>
                <a:gd name="T66" fmla="*/ 53 w 320"/>
                <a:gd name="T67" fmla="*/ 149 h 170"/>
                <a:gd name="T68" fmla="*/ 42 w 320"/>
                <a:gd name="T69" fmla="*/ 138 h 170"/>
                <a:gd name="T70" fmla="*/ 53 w 320"/>
                <a:gd name="T71" fmla="*/ 128 h 170"/>
                <a:gd name="T72" fmla="*/ 64 w 320"/>
                <a:gd name="T73" fmla="*/ 138 h 170"/>
                <a:gd name="T74" fmla="*/ 53 w 320"/>
                <a:gd name="T75" fmla="*/ 149 h 170"/>
                <a:gd name="T76" fmla="*/ 117 w 320"/>
                <a:gd name="T77" fmla="*/ 138 h 170"/>
                <a:gd name="T78" fmla="*/ 106 w 320"/>
                <a:gd name="T79" fmla="*/ 149 h 170"/>
                <a:gd name="T80" fmla="*/ 96 w 320"/>
                <a:gd name="T81" fmla="*/ 138 h 170"/>
                <a:gd name="T82" fmla="*/ 106 w 320"/>
                <a:gd name="T83" fmla="*/ 128 h 170"/>
                <a:gd name="T84" fmla="*/ 117 w 320"/>
                <a:gd name="T85" fmla="*/ 138 h 170"/>
                <a:gd name="T86" fmla="*/ 277 w 320"/>
                <a:gd name="T87" fmla="*/ 138 h 170"/>
                <a:gd name="T88" fmla="*/ 266 w 320"/>
                <a:gd name="T89" fmla="*/ 149 h 170"/>
                <a:gd name="T90" fmla="*/ 256 w 320"/>
                <a:gd name="T91" fmla="*/ 138 h 170"/>
                <a:gd name="T92" fmla="*/ 266 w 320"/>
                <a:gd name="T93" fmla="*/ 128 h 170"/>
                <a:gd name="T94" fmla="*/ 277 w 320"/>
                <a:gd name="T95" fmla="*/ 138 h 170"/>
                <a:gd name="T96" fmla="*/ 298 w 320"/>
                <a:gd name="T97" fmla="*/ 106 h 170"/>
                <a:gd name="T98" fmla="*/ 245 w 320"/>
                <a:gd name="T99" fmla="*/ 106 h 170"/>
                <a:gd name="T100" fmla="*/ 245 w 320"/>
                <a:gd name="T101" fmla="*/ 42 h 170"/>
                <a:gd name="T102" fmla="*/ 283 w 320"/>
                <a:gd name="T103" fmla="*/ 42 h 170"/>
                <a:gd name="T104" fmla="*/ 298 w 320"/>
                <a:gd name="T105" fmla="*/ 57 h 170"/>
                <a:gd name="T106" fmla="*/ 298 w 320"/>
                <a:gd name="T107" fmla="*/ 10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170">
                  <a:moveTo>
                    <a:pt x="317" y="45"/>
                  </a:moveTo>
                  <a:cubicBezTo>
                    <a:pt x="295" y="24"/>
                    <a:pt x="295" y="24"/>
                    <a:pt x="295" y="24"/>
                  </a:cubicBezTo>
                  <a:cubicBezTo>
                    <a:pt x="293" y="22"/>
                    <a:pt x="290" y="21"/>
                    <a:pt x="288" y="21"/>
                  </a:cubicBezTo>
                  <a:cubicBezTo>
                    <a:pt x="245" y="21"/>
                    <a:pt x="245" y="21"/>
                    <a:pt x="245" y="21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4"/>
                    <a:pt x="240" y="0"/>
                    <a:pt x="2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2" y="131"/>
                    <a:pt x="21" y="135"/>
                    <a:pt x="21" y="138"/>
                  </a:cubicBezTo>
                  <a:cubicBezTo>
                    <a:pt x="21" y="156"/>
                    <a:pt x="35" y="170"/>
                    <a:pt x="53" y="170"/>
                  </a:cubicBezTo>
                  <a:cubicBezTo>
                    <a:pt x="64" y="170"/>
                    <a:pt x="74" y="165"/>
                    <a:pt x="80" y="156"/>
                  </a:cubicBezTo>
                  <a:cubicBezTo>
                    <a:pt x="85" y="165"/>
                    <a:pt x="95" y="170"/>
                    <a:pt x="106" y="170"/>
                  </a:cubicBezTo>
                  <a:cubicBezTo>
                    <a:pt x="124" y="170"/>
                    <a:pt x="138" y="156"/>
                    <a:pt x="138" y="138"/>
                  </a:cubicBezTo>
                  <a:cubicBezTo>
                    <a:pt x="138" y="135"/>
                    <a:pt x="138" y="131"/>
                    <a:pt x="136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35" y="131"/>
                    <a:pt x="234" y="135"/>
                    <a:pt x="234" y="138"/>
                  </a:cubicBezTo>
                  <a:cubicBezTo>
                    <a:pt x="234" y="156"/>
                    <a:pt x="249" y="170"/>
                    <a:pt x="266" y="170"/>
                  </a:cubicBezTo>
                  <a:cubicBezTo>
                    <a:pt x="284" y="170"/>
                    <a:pt x="298" y="156"/>
                    <a:pt x="298" y="138"/>
                  </a:cubicBezTo>
                  <a:cubicBezTo>
                    <a:pt x="298" y="135"/>
                    <a:pt x="298" y="131"/>
                    <a:pt x="296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20" y="50"/>
                    <a:pt x="319" y="47"/>
                    <a:pt x="317" y="45"/>
                  </a:cubicBezTo>
                  <a:close/>
                  <a:moveTo>
                    <a:pt x="2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24" y="32"/>
                    <a:pt x="224" y="32"/>
                    <a:pt x="224" y="32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1" y="106"/>
                    <a:pt x="21" y="106"/>
                    <a:pt x="21" y="106"/>
                  </a:cubicBezTo>
                  <a:lnTo>
                    <a:pt x="21" y="21"/>
                  </a:lnTo>
                  <a:close/>
                  <a:moveTo>
                    <a:pt x="53" y="149"/>
                  </a:moveTo>
                  <a:cubicBezTo>
                    <a:pt x="47" y="149"/>
                    <a:pt x="42" y="144"/>
                    <a:pt x="42" y="138"/>
                  </a:cubicBezTo>
                  <a:cubicBezTo>
                    <a:pt x="42" y="132"/>
                    <a:pt x="47" y="128"/>
                    <a:pt x="53" y="128"/>
                  </a:cubicBezTo>
                  <a:cubicBezTo>
                    <a:pt x="59" y="128"/>
                    <a:pt x="64" y="132"/>
                    <a:pt x="64" y="138"/>
                  </a:cubicBezTo>
                  <a:cubicBezTo>
                    <a:pt x="64" y="144"/>
                    <a:pt x="59" y="149"/>
                    <a:pt x="53" y="149"/>
                  </a:cubicBezTo>
                  <a:close/>
                  <a:moveTo>
                    <a:pt x="117" y="138"/>
                  </a:moveTo>
                  <a:cubicBezTo>
                    <a:pt x="117" y="144"/>
                    <a:pt x="112" y="149"/>
                    <a:pt x="106" y="149"/>
                  </a:cubicBezTo>
                  <a:cubicBezTo>
                    <a:pt x="100" y="149"/>
                    <a:pt x="96" y="144"/>
                    <a:pt x="96" y="138"/>
                  </a:cubicBezTo>
                  <a:cubicBezTo>
                    <a:pt x="96" y="132"/>
                    <a:pt x="100" y="128"/>
                    <a:pt x="106" y="128"/>
                  </a:cubicBezTo>
                  <a:cubicBezTo>
                    <a:pt x="112" y="128"/>
                    <a:pt x="117" y="132"/>
                    <a:pt x="117" y="138"/>
                  </a:cubicBezTo>
                  <a:close/>
                  <a:moveTo>
                    <a:pt x="277" y="138"/>
                  </a:moveTo>
                  <a:cubicBezTo>
                    <a:pt x="277" y="144"/>
                    <a:pt x="272" y="149"/>
                    <a:pt x="266" y="149"/>
                  </a:cubicBezTo>
                  <a:cubicBezTo>
                    <a:pt x="260" y="149"/>
                    <a:pt x="256" y="144"/>
                    <a:pt x="256" y="138"/>
                  </a:cubicBezTo>
                  <a:cubicBezTo>
                    <a:pt x="256" y="132"/>
                    <a:pt x="260" y="128"/>
                    <a:pt x="266" y="128"/>
                  </a:cubicBezTo>
                  <a:cubicBezTo>
                    <a:pt x="272" y="128"/>
                    <a:pt x="277" y="132"/>
                    <a:pt x="277" y="138"/>
                  </a:cubicBezTo>
                  <a:close/>
                  <a:moveTo>
                    <a:pt x="298" y="106"/>
                  </a:moveTo>
                  <a:cubicBezTo>
                    <a:pt x="245" y="106"/>
                    <a:pt x="245" y="106"/>
                    <a:pt x="245" y="106"/>
                  </a:cubicBezTo>
                  <a:cubicBezTo>
                    <a:pt x="245" y="42"/>
                    <a:pt x="245" y="42"/>
                    <a:pt x="245" y="42"/>
                  </a:cubicBezTo>
                  <a:cubicBezTo>
                    <a:pt x="283" y="42"/>
                    <a:pt x="283" y="42"/>
                    <a:pt x="283" y="42"/>
                  </a:cubicBezTo>
                  <a:cubicBezTo>
                    <a:pt x="298" y="57"/>
                    <a:pt x="298" y="57"/>
                    <a:pt x="298" y="57"/>
                  </a:cubicBezTo>
                  <a:lnTo>
                    <a:pt x="298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9" name="Freeform 66"/>
          <p:cNvSpPr>
            <a:spLocks noChangeAspect="1" noEditPoints="1"/>
          </p:cNvSpPr>
          <p:nvPr/>
        </p:nvSpPr>
        <p:spPr bwMode="auto">
          <a:xfrm>
            <a:off x="9387352" y="3751238"/>
            <a:ext cx="367631" cy="367631"/>
          </a:xfrm>
          <a:custGeom>
            <a:avLst/>
            <a:gdLst>
              <a:gd name="T0" fmla="*/ 275 w 512"/>
              <a:gd name="T1" fmla="*/ 260 h 512"/>
              <a:gd name="T2" fmla="*/ 295 w 512"/>
              <a:gd name="T3" fmla="*/ 217 h 512"/>
              <a:gd name="T4" fmla="*/ 251 w 512"/>
              <a:gd name="T5" fmla="*/ 236 h 512"/>
              <a:gd name="T6" fmla="*/ 275 w 512"/>
              <a:gd name="T7" fmla="*/ 260 h 512"/>
              <a:gd name="T8" fmla="*/ 384 w 512"/>
              <a:gd name="T9" fmla="*/ 245 h 512"/>
              <a:gd name="T10" fmla="*/ 394 w 512"/>
              <a:gd name="T11" fmla="*/ 245 h 512"/>
              <a:gd name="T12" fmla="*/ 266 w 512"/>
              <a:gd name="T13" fmla="*/ 118 h 512"/>
              <a:gd name="T14" fmla="*/ 266 w 512"/>
              <a:gd name="T15" fmla="*/ 128 h 512"/>
              <a:gd name="T16" fmla="*/ 256 w 512"/>
              <a:gd name="T17" fmla="*/ 138 h 512"/>
              <a:gd name="T18" fmla="*/ 245 w 512"/>
              <a:gd name="T19" fmla="*/ 128 h 512"/>
              <a:gd name="T20" fmla="*/ 245 w 512"/>
              <a:gd name="T21" fmla="*/ 118 h 512"/>
              <a:gd name="T22" fmla="*/ 118 w 512"/>
              <a:gd name="T23" fmla="*/ 245 h 512"/>
              <a:gd name="T24" fmla="*/ 128 w 512"/>
              <a:gd name="T25" fmla="*/ 245 h 512"/>
              <a:gd name="T26" fmla="*/ 138 w 512"/>
              <a:gd name="T27" fmla="*/ 256 h 512"/>
              <a:gd name="T28" fmla="*/ 128 w 512"/>
              <a:gd name="T29" fmla="*/ 266 h 512"/>
              <a:gd name="T30" fmla="*/ 118 w 512"/>
              <a:gd name="T31" fmla="*/ 266 h 512"/>
              <a:gd name="T32" fmla="*/ 245 w 512"/>
              <a:gd name="T33" fmla="*/ 394 h 512"/>
              <a:gd name="T34" fmla="*/ 245 w 512"/>
              <a:gd name="T35" fmla="*/ 384 h 512"/>
              <a:gd name="T36" fmla="*/ 256 w 512"/>
              <a:gd name="T37" fmla="*/ 373 h 512"/>
              <a:gd name="T38" fmla="*/ 266 w 512"/>
              <a:gd name="T39" fmla="*/ 384 h 512"/>
              <a:gd name="T40" fmla="*/ 266 w 512"/>
              <a:gd name="T41" fmla="*/ 394 h 512"/>
              <a:gd name="T42" fmla="*/ 394 w 512"/>
              <a:gd name="T43" fmla="*/ 266 h 512"/>
              <a:gd name="T44" fmla="*/ 384 w 512"/>
              <a:gd name="T45" fmla="*/ 266 h 512"/>
              <a:gd name="T46" fmla="*/ 373 w 512"/>
              <a:gd name="T47" fmla="*/ 256 h 512"/>
              <a:gd name="T48" fmla="*/ 384 w 512"/>
              <a:gd name="T49" fmla="*/ 245 h 512"/>
              <a:gd name="T50" fmla="*/ 326 w 512"/>
              <a:gd name="T51" fmla="*/ 200 h 512"/>
              <a:gd name="T52" fmla="*/ 288 w 512"/>
              <a:gd name="T53" fmla="*/ 283 h 512"/>
              <a:gd name="T54" fmla="*/ 283 w 512"/>
              <a:gd name="T55" fmla="*/ 288 h 512"/>
              <a:gd name="T56" fmla="*/ 200 w 512"/>
              <a:gd name="T57" fmla="*/ 326 h 512"/>
              <a:gd name="T58" fmla="*/ 195 w 512"/>
              <a:gd name="T59" fmla="*/ 327 h 512"/>
              <a:gd name="T60" fmla="*/ 188 w 512"/>
              <a:gd name="T61" fmla="*/ 324 h 512"/>
              <a:gd name="T62" fmla="*/ 186 w 512"/>
              <a:gd name="T63" fmla="*/ 312 h 512"/>
              <a:gd name="T64" fmla="*/ 223 w 512"/>
              <a:gd name="T65" fmla="*/ 229 h 512"/>
              <a:gd name="T66" fmla="*/ 229 w 512"/>
              <a:gd name="T67" fmla="*/ 223 h 512"/>
              <a:gd name="T68" fmla="*/ 312 w 512"/>
              <a:gd name="T69" fmla="*/ 186 h 512"/>
              <a:gd name="T70" fmla="*/ 324 w 512"/>
              <a:gd name="T71" fmla="*/ 188 h 512"/>
              <a:gd name="T72" fmla="*/ 326 w 512"/>
              <a:gd name="T73" fmla="*/ 200 h 512"/>
              <a:gd name="T74" fmla="*/ 217 w 512"/>
              <a:gd name="T75" fmla="*/ 295 h 512"/>
              <a:gd name="T76" fmla="*/ 260 w 512"/>
              <a:gd name="T77" fmla="*/ 275 h 512"/>
              <a:gd name="T78" fmla="*/ 236 w 512"/>
              <a:gd name="T79" fmla="*/ 251 h 512"/>
              <a:gd name="T80" fmla="*/ 217 w 512"/>
              <a:gd name="T81" fmla="*/ 295 h 512"/>
              <a:gd name="T82" fmla="*/ 256 w 512"/>
              <a:gd name="T83" fmla="*/ 0 h 512"/>
              <a:gd name="T84" fmla="*/ 0 w 512"/>
              <a:gd name="T85" fmla="*/ 256 h 512"/>
              <a:gd name="T86" fmla="*/ 256 w 512"/>
              <a:gd name="T87" fmla="*/ 512 h 512"/>
              <a:gd name="T88" fmla="*/ 512 w 512"/>
              <a:gd name="T89" fmla="*/ 256 h 512"/>
              <a:gd name="T90" fmla="*/ 256 w 512"/>
              <a:gd name="T91" fmla="*/ 0 h 512"/>
              <a:gd name="T92" fmla="*/ 256 w 512"/>
              <a:gd name="T93" fmla="*/ 416 h 512"/>
              <a:gd name="T94" fmla="*/ 96 w 512"/>
              <a:gd name="T95" fmla="*/ 256 h 512"/>
              <a:gd name="T96" fmla="*/ 256 w 512"/>
              <a:gd name="T97" fmla="*/ 96 h 512"/>
              <a:gd name="T98" fmla="*/ 416 w 512"/>
              <a:gd name="T99" fmla="*/ 256 h 512"/>
              <a:gd name="T100" fmla="*/ 256 w 512"/>
              <a:gd name="T10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75" y="260"/>
                </a:moveTo>
                <a:cubicBezTo>
                  <a:pt x="295" y="217"/>
                  <a:pt x="295" y="217"/>
                  <a:pt x="295" y="217"/>
                </a:cubicBezTo>
                <a:cubicBezTo>
                  <a:pt x="251" y="236"/>
                  <a:pt x="251" y="236"/>
                  <a:pt x="251" y="236"/>
                </a:cubicBezTo>
                <a:lnTo>
                  <a:pt x="275" y="260"/>
                </a:lnTo>
                <a:close/>
                <a:moveTo>
                  <a:pt x="384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89" y="177"/>
                  <a:pt x="334" y="123"/>
                  <a:pt x="266" y="118"/>
                </a:cubicBezTo>
                <a:cubicBezTo>
                  <a:pt x="266" y="128"/>
                  <a:pt x="266" y="128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ubicBezTo>
                  <a:pt x="245" y="118"/>
                  <a:pt x="245" y="118"/>
                  <a:pt x="245" y="118"/>
                </a:cubicBezTo>
                <a:cubicBezTo>
                  <a:pt x="177" y="123"/>
                  <a:pt x="123" y="177"/>
                  <a:pt x="118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34" y="245"/>
                  <a:pt x="138" y="250"/>
                  <a:pt x="138" y="256"/>
                </a:cubicBezTo>
                <a:cubicBezTo>
                  <a:pt x="138" y="262"/>
                  <a:pt x="134" y="266"/>
                  <a:pt x="128" y="266"/>
                </a:cubicBezTo>
                <a:cubicBezTo>
                  <a:pt x="118" y="266"/>
                  <a:pt x="118" y="266"/>
                  <a:pt x="118" y="266"/>
                </a:cubicBezTo>
                <a:cubicBezTo>
                  <a:pt x="123" y="334"/>
                  <a:pt x="177" y="389"/>
                  <a:pt x="245" y="394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334" y="389"/>
                  <a:pt x="389" y="334"/>
                  <a:pt x="394" y="266"/>
                </a:cubicBezTo>
                <a:cubicBezTo>
                  <a:pt x="384" y="266"/>
                  <a:pt x="384" y="266"/>
                  <a:pt x="384" y="266"/>
                </a:cubicBezTo>
                <a:cubicBezTo>
                  <a:pt x="378" y="266"/>
                  <a:pt x="373" y="262"/>
                  <a:pt x="373" y="256"/>
                </a:cubicBezTo>
                <a:cubicBezTo>
                  <a:pt x="373" y="250"/>
                  <a:pt x="378" y="245"/>
                  <a:pt x="384" y="245"/>
                </a:cubicBezTo>
                <a:close/>
                <a:moveTo>
                  <a:pt x="326" y="200"/>
                </a:moveTo>
                <a:cubicBezTo>
                  <a:pt x="288" y="283"/>
                  <a:pt x="288" y="283"/>
                  <a:pt x="288" y="283"/>
                </a:cubicBezTo>
                <a:cubicBezTo>
                  <a:pt x="287" y="285"/>
                  <a:pt x="285" y="287"/>
                  <a:pt x="283" y="288"/>
                </a:cubicBezTo>
                <a:cubicBezTo>
                  <a:pt x="200" y="326"/>
                  <a:pt x="200" y="326"/>
                  <a:pt x="200" y="326"/>
                </a:cubicBezTo>
                <a:cubicBezTo>
                  <a:pt x="198" y="326"/>
                  <a:pt x="197" y="327"/>
                  <a:pt x="195" y="327"/>
                </a:cubicBezTo>
                <a:cubicBezTo>
                  <a:pt x="193" y="327"/>
                  <a:pt x="190" y="326"/>
                  <a:pt x="188" y="324"/>
                </a:cubicBezTo>
                <a:cubicBezTo>
                  <a:pt x="185" y="320"/>
                  <a:pt x="184" y="316"/>
                  <a:pt x="186" y="312"/>
                </a:cubicBezTo>
                <a:cubicBezTo>
                  <a:pt x="223" y="229"/>
                  <a:pt x="223" y="229"/>
                  <a:pt x="223" y="229"/>
                </a:cubicBezTo>
                <a:cubicBezTo>
                  <a:pt x="224" y="226"/>
                  <a:pt x="226" y="224"/>
                  <a:pt x="229" y="223"/>
                </a:cubicBezTo>
                <a:cubicBezTo>
                  <a:pt x="312" y="186"/>
                  <a:pt x="312" y="186"/>
                  <a:pt x="312" y="186"/>
                </a:cubicBezTo>
                <a:cubicBezTo>
                  <a:pt x="316" y="184"/>
                  <a:pt x="320" y="185"/>
                  <a:pt x="324" y="188"/>
                </a:cubicBezTo>
                <a:cubicBezTo>
                  <a:pt x="327" y="191"/>
                  <a:pt x="328" y="196"/>
                  <a:pt x="326" y="200"/>
                </a:cubicBezTo>
                <a:close/>
                <a:moveTo>
                  <a:pt x="217" y="295"/>
                </a:moveTo>
                <a:cubicBezTo>
                  <a:pt x="260" y="275"/>
                  <a:pt x="260" y="275"/>
                  <a:pt x="260" y="275"/>
                </a:cubicBezTo>
                <a:cubicBezTo>
                  <a:pt x="236" y="251"/>
                  <a:pt x="236" y="251"/>
                  <a:pt x="236" y="251"/>
                </a:cubicBezTo>
                <a:lnTo>
                  <a:pt x="217" y="295"/>
                </a:ln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16"/>
                </a:moveTo>
                <a:cubicBezTo>
                  <a:pt x="167" y="416"/>
                  <a:pt x="96" y="344"/>
                  <a:pt x="96" y="256"/>
                </a:cubicBezTo>
                <a:cubicBezTo>
                  <a:pt x="96" y="167"/>
                  <a:pt x="167" y="96"/>
                  <a:pt x="256" y="96"/>
                </a:cubicBezTo>
                <a:cubicBezTo>
                  <a:pt x="344" y="96"/>
                  <a:pt x="416" y="167"/>
                  <a:pt x="416" y="256"/>
                </a:cubicBezTo>
                <a:cubicBezTo>
                  <a:pt x="416" y="344"/>
                  <a:pt x="344" y="416"/>
                  <a:pt x="256" y="4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10" name="Group 69"/>
          <p:cNvGrpSpPr>
            <a:grpSpLocks noChangeAspect="1"/>
          </p:cNvGrpSpPr>
          <p:nvPr/>
        </p:nvGrpSpPr>
        <p:grpSpPr bwMode="auto">
          <a:xfrm>
            <a:off x="9883545" y="3751238"/>
            <a:ext cx="367631" cy="367631"/>
            <a:chOff x="4334" y="1990"/>
            <a:chExt cx="340" cy="340"/>
          </a:xfrm>
          <a:solidFill>
            <a:schemeClr val="accent1"/>
          </a:solidFill>
        </p:grpSpPr>
        <p:sp>
          <p:nvSpPr>
            <p:cNvPr id="211" name="Freeform 70"/>
            <p:cNvSpPr>
              <a:spLocks noEditPoints="1"/>
            </p:cNvSpPr>
            <p:nvPr/>
          </p:nvSpPr>
          <p:spPr bwMode="auto">
            <a:xfrm>
              <a:off x="4398" y="2054"/>
              <a:ext cx="212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170 w 320"/>
                <a:gd name="T11" fmla="*/ 298 h 320"/>
                <a:gd name="T12" fmla="*/ 170 w 320"/>
                <a:gd name="T13" fmla="*/ 288 h 320"/>
                <a:gd name="T14" fmla="*/ 160 w 320"/>
                <a:gd name="T15" fmla="*/ 277 h 320"/>
                <a:gd name="T16" fmla="*/ 149 w 320"/>
                <a:gd name="T17" fmla="*/ 288 h 320"/>
                <a:gd name="T18" fmla="*/ 149 w 320"/>
                <a:gd name="T19" fmla="*/ 298 h 320"/>
                <a:gd name="T20" fmla="*/ 22 w 320"/>
                <a:gd name="T21" fmla="*/ 170 h 320"/>
                <a:gd name="T22" fmla="*/ 32 w 320"/>
                <a:gd name="T23" fmla="*/ 170 h 320"/>
                <a:gd name="T24" fmla="*/ 42 w 320"/>
                <a:gd name="T25" fmla="*/ 160 h 320"/>
                <a:gd name="T26" fmla="*/ 32 w 320"/>
                <a:gd name="T27" fmla="*/ 149 h 320"/>
                <a:gd name="T28" fmla="*/ 22 w 320"/>
                <a:gd name="T29" fmla="*/ 149 h 320"/>
                <a:gd name="T30" fmla="*/ 149 w 320"/>
                <a:gd name="T31" fmla="*/ 22 h 320"/>
                <a:gd name="T32" fmla="*/ 149 w 320"/>
                <a:gd name="T33" fmla="*/ 32 h 320"/>
                <a:gd name="T34" fmla="*/ 160 w 320"/>
                <a:gd name="T35" fmla="*/ 42 h 320"/>
                <a:gd name="T36" fmla="*/ 170 w 320"/>
                <a:gd name="T37" fmla="*/ 32 h 320"/>
                <a:gd name="T38" fmla="*/ 170 w 320"/>
                <a:gd name="T39" fmla="*/ 22 h 320"/>
                <a:gd name="T40" fmla="*/ 298 w 320"/>
                <a:gd name="T41" fmla="*/ 149 h 320"/>
                <a:gd name="T42" fmla="*/ 288 w 320"/>
                <a:gd name="T43" fmla="*/ 149 h 320"/>
                <a:gd name="T44" fmla="*/ 277 w 320"/>
                <a:gd name="T45" fmla="*/ 160 h 320"/>
                <a:gd name="T46" fmla="*/ 288 w 320"/>
                <a:gd name="T47" fmla="*/ 170 h 320"/>
                <a:gd name="T48" fmla="*/ 298 w 320"/>
                <a:gd name="T49" fmla="*/ 170 h 320"/>
                <a:gd name="T50" fmla="*/ 170 w 320"/>
                <a:gd name="T51" fmla="*/ 298 h 320"/>
                <a:gd name="T52" fmla="*/ 216 w 320"/>
                <a:gd name="T53" fmla="*/ 90 h 320"/>
                <a:gd name="T54" fmla="*/ 133 w 320"/>
                <a:gd name="T55" fmla="*/ 127 h 320"/>
                <a:gd name="T56" fmla="*/ 127 w 320"/>
                <a:gd name="T57" fmla="*/ 133 h 320"/>
                <a:gd name="T58" fmla="*/ 90 w 320"/>
                <a:gd name="T59" fmla="*/ 216 h 320"/>
                <a:gd name="T60" fmla="*/ 92 w 320"/>
                <a:gd name="T61" fmla="*/ 228 h 320"/>
                <a:gd name="T62" fmla="*/ 99 w 320"/>
                <a:gd name="T63" fmla="*/ 231 h 320"/>
                <a:gd name="T64" fmla="*/ 104 w 320"/>
                <a:gd name="T65" fmla="*/ 230 h 320"/>
                <a:gd name="T66" fmla="*/ 187 w 320"/>
                <a:gd name="T67" fmla="*/ 192 h 320"/>
                <a:gd name="T68" fmla="*/ 192 w 320"/>
                <a:gd name="T69" fmla="*/ 187 h 320"/>
                <a:gd name="T70" fmla="*/ 230 w 320"/>
                <a:gd name="T71" fmla="*/ 104 h 320"/>
                <a:gd name="T72" fmla="*/ 228 w 320"/>
                <a:gd name="T73" fmla="*/ 92 h 320"/>
                <a:gd name="T74" fmla="*/ 216 w 320"/>
                <a:gd name="T75" fmla="*/ 90 h 320"/>
                <a:gd name="T76" fmla="*/ 140 w 320"/>
                <a:gd name="T77" fmla="*/ 155 h 320"/>
                <a:gd name="T78" fmla="*/ 164 w 320"/>
                <a:gd name="T79" fmla="*/ 179 h 320"/>
                <a:gd name="T80" fmla="*/ 121 w 320"/>
                <a:gd name="T81" fmla="*/ 199 h 320"/>
                <a:gd name="T82" fmla="*/ 140 w 320"/>
                <a:gd name="T83" fmla="*/ 155 h 320"/>
                <a:gd name="T84" fmla="*/ 179 w 320"/>
                <a:gd name="T85" fmla="*/ 164 h 320"/>
                <a:gd name="T86" fmla="*/ 155 w 320"/>
                <a:gd name="T87" fmla="*/ 140 h 320"/>
                <a:gd name="T88" fmla="*/ 199 w 320"/>
                <a:gd name="T89" fmla="*/ 121 h 320"/>
                <a:gd name="T90" fmla="*/ 179 w 320"/>
                <a:gd name="T91" fmla="*/ 1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170" y="298"/>
                  </a:moveTo>
                  <a:cubicBezTo>
                    <a:pt x="170" y="288"/>
                    <a:pt x="170" y="288"/>
                    <a:pt x="170" y="288"/>
                  </a:cubicBezTo>
                  <a:cubicBezTo>
                    <a:pt x="170" y="282"/>
                    <a:pt x="166" y="277"/>
                    <a:pt x="160" y="277"/>
                  </a:cubicBezTo>
                  <a:cubicBezTo>
                    <a:pt x="154" y="277"/>
                    <a:pt x="149" y="282"/>
                    <a:pt x="149" y="288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81" y="293"/>
                    <a:pt x="27" y="238"/>
                    <a:pt x="22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8" y="170"/>
                    <a:pt x="42" y="166"/>
                    <a:pt x="42" y="160"/>
                  </a:cubicBezTo>
                  <a:cubicBezTo>
                    <a:pt x="42" y="154"/>
                    <a:pt x="38" y="149"/>
                    <a:pt x="32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7" y="81"/>
                    <a:pt x="81" y="27"/>
                    <a:pt x="149" y="2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8"/>
                    <a:pt x="154" y="42"/>
                    <a:pt x="160" y="42"/>
                  </a:cubicBezTo>
                  <a:cubicBezTo>
                    <a:pt x="166" y="42"/>
                    <a:pt x="170" y="38"/>
                    <a:pt x="170" y="32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238" y="27"/>
                    <a:pt x="293" y="81"/>
                    <a:pt x="298" y="149"/>
                  </a:cubicBezTo>
                  <a:cubicBezTo>
                    <a:pt x="288" y="149"/>
                    <a:pt x="288" y="149"/>
                    <a:pt x="288" y="149"/>
                  </a:cubicBezTo>
                  <a:cubicBezTo>
                    <a:pt x="282" y="149"/>
                    <a:pt x="277" y="154"/>
                    <a:pt x="277" y="160"/>
                  </a:cubicBezTo>
                  <a:cubicBezTo>
                    <a:pt x="277" y="166"/>
                    <a:pt x="282" y="170"/>
                    <a:pt x="288" y="170"/>
                  </a:cubicBezTo>
                  <a:cubicBezTo>
                    <a:pt x="298" y="170"/>
                    <a:pt x="298" y="170"/>
                    <a:pt x="298" y="170"/>
                  </a:cubicBezTo>
                  <a:cubicBezTo>
                    <a:pt x="293" y="238"/>
                    <a:pt x="238" y="293"/>
                    <a:pt x="170" y="298"/>
                  </a:cubicBezTo>
                  <a:close/>
                  <a:moveTo>
                    <a:pt x="216" y="90"/>
                  </a:moveTo>
                  <a:cubicBezTo>
                    <a:pt x="133" y="127"/>
                    <a:pt x="133" y="127"/>
                    <a:pt x="133" y="127"/>
                  </a:cubicBezTo>
                  <a:cubicBezTo>
                    <a:pt x="130" y="128"/>
                    <a:pt x="128" y="130"/>
                    <a:pt x="127" y="133"/>
                  </a:cubicBezTo>
                  <a:cubicBezTo>
                    <a:pt x="90" y="216"/>
                    <a:pt x="90" y="216"/>
                    <a:pt x="90" y="216"/>
                  </a:cubicBezTo>
                  <a:cubicBezTo>
                    <a:pt x="88" y="220"/>
                    <a:pt x="89" y="224"/>
                    <a:pt x="92" y="228"/>
                  </a:cubicBezTo>
                  <a:cubicBezTo>
                    <a:pt x="94" y="230"/>
                    <a:pt x="97" y="231"/>
                    <a:pt x="99" y="231"/>
                  </a:cubicBezTo>
                  <a:cubicBezTo>
                    <a:pt x="101" y="231"/>
                    <a:pt x="102" y="230"/>
                    <a:pt x="104" y="230"/>
                  </a:cubicBezTo>
                  <a:cubicBezTo>
                    <a:pt x="187" y="192"/>
                    <a:pt x="187" y="192"/>
                    <a:pt x="187" y="192"/>
                  </a:cubicBezTo>
                  <a:cubicBezTo>
                    <a:pt x="189" y="191"/>
                    <a:pt x="191" y="189"/>
                    <a:pt x="192" y="187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32" y="100"/>
                    <a:pt x="231" y="95"/>
                    <a:pt x="228" y="92"/>
                  </a:cubicBezTo>
                  <a:cubicBezTo>
                    <a:pt x="224" y="89"/>
                    <a:pt x="220" y="88"/>
                    <a:pt x="216" y="90"/>
                  </a:cubicBezTo>
                  <a:close/>
                  <a:moveTo>
                    <a:pt x="140" y="155"/>
                  </a:moveTo>
                  <a:cubicBezTo>
                    <a:pt x="164" y="179"/>
                    <a:pt x="164" y="179"/>
                    <a:pt x="164" y="179"/>
                  </a:cubicBezTo>
                  <a:cubicBezTo>
                    <a:pt x="121" y="199"/>
                    <a:pt x="121" y="199"/>
                    <a:pt x="121" y="199"/>
                  </a:cubicBezTo>
                  <a:lnTo>
                    <a:pt x="140" y="155"/>
                  </a:lnTo>
                  <a:close/>
                  <a:moveTo>
                    <a:pt x="179" y="164"/>
                  </a:moveTo>
                  <a:cubicBezTo>
                    <a:pt x="155" y="140"/>
                    <a:pt x="155" y="140"/>
                    <a:pt x="155" y="140"/>
                  </a:cubicBezTo>
                  <a:cubicBezTo>
                    <a:pt x="199" y="121"/>
                    <a:pt x="199" y="121"/>
                    <a:pt x="199" y="121"/>
                  </a:cubicBezTo>
                  <a:lnTo>
                    <a:pt x="179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" name="Freeform 71"/>
            <p:cNvSpPr>
              <a:spLocks noEditPoints="1"/>
            </p:cNvSpPr>
            <p:nvPr/>
          </p:nvSpPr>
          <p:spPr bwMode="auto">
            <a:xfrm>
              <a:off x="4334" y="199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5110832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Real Estat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58050" y="2434288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Key 1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43527" y="2436474"/>
            <a:ext cx="8339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Key 2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3440940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ouse 2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2443821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ouse 1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4438059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Houses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432297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2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9423651" y="2434288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5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5435178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1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426535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4</a:t>
            </a:r>
          </a:p>
        </p:txBody>
      </p:sp>
      <p:sp>
        <p:nvSpPr>
          <p:cNvPr id="472" name="TextBox 471"/>
          <p:cNvSpPr txBox="1"/>
          <p:nvPr/>
        </p:nvSpPr>
        <p:spPr>
          <a:xfrm>
            <a:off x="489950" y="3315653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Realtor sign</a:t>
            </a:r>
          </a:p>
        </p:txBody>
      </p:sp>
      <p:grpSp>
        <p:nvGrpSpPr>
          <p:cNvPr id="256" name="Group 447"/>
          <p:cNvGrpSpPr>
            <a:grpSpLocks noChangeAspect="1"/>
          </p:cNvGrpSpPr>
          <p:nvPr/>
        </p:nvGrpSpPr>
        <p:grpSpPr bwMode="auto">
          <a:xfrm>
            <a:off x="445972" y="2051054"/>
            <a:ext cx="367041" cy="367041"/>
            <a:chOff x="5601" y="1820"/>
            <a:chExt cx="340" cy="340"/>
          </a:xfrm>
          <a:solidFill>
            <a:schemeClr val="accent5"/>
          </a:solidFill>
        </p:grpSpPr>
        <p:sp>
          <p:nvSpPr>
            <p:cNvPr id="257" name="Freeform 448"/>
            <p:cNvSpPr>
              <a:spLocks noEditPoints="1"/>
            </p:cNvSpPr>
            <p:nvPr/>
          </p:nvSpPr>
          <p:spPr bwMode="auto">
            <a:xfrm>
              <a:off x="5679" y="1948"/>
              <a:ext cx="182" cy="85"/>
            </a:xfrm>
            <a:custGeom>
              <a:avLst/>
              <a:gdLst>
                <a:gd name="T0" fmla="*/ 131 w 275"/>
                <a:gd name="T1" fmla="*/ 43 h 128"/>
                <a:gd name="T2" fmla="*/ 122 w 275"/>
                <a:gd name="T3" fmla="*/ 37 h 128"/>
                <a:gd name="T4" fmla="*/ 64 w 275"/>
                <a:gd name="T5" fmla="*/ 0 h 128"/>
                <a:gd name="T6" fmla="*/ 0 w 275"/>
                <a:gd name="T7" fmla="*/ 64 h 128"/>
                <a:gd name="T8" fmla="*/ 64 w 275"/>
                <a:gd name="T9" fmla="*/ 128 h 128"/>
                <a:gd name="T10" fmla="*/ 122 w 275"/>
                <a:gd name="T11" fmla="*/ 92 h 128"/>
                <a:gd name="T12" fmla="*/ 131 w 275"/>
                <a:gd name="T13" fmla="*/ 86 h 128"/>
                <a:gd name="T14" fmla="*/ 177 w 275"/>
                <a:gd name="T15" fmla="*/ 86 h 128"/>
                <a:gd name="T16" fmla="*/ 195 w 275"/>
                <a:gd name="T17" fmla="*/ 67 h 128"/>
                <a:gd name="T18" fmla="*/ 210 w 275"/>
                <a:gd name="T19" fmla="*/ 67 h 128"/>
                <a:gd name="T20" fmla="*/ 224 w 275"/>
                <a:gd name="T21" fmla="*/ 81 h 128"/>
                <a:gd name="T22" fmla="*/ 238 w 275"/>
                <a:gd name="T23" fmla="*/ 67 h 128"/>
                <a:gd name="T24" fmla="*/ 253 w 275"/>
                <a:gd name="T25" fmla="*/ 67 h 128"/>
                <a:gd name="T26" fmla="*/ 265 w 275"/>
                <a:gd name="T27" fmla="*/ 79 h 128"/>
                <a:gd name="T28" fmla="*/ 275 w 275"/>
                <a:gd name="T29" fmla="*/ 64 h 128"/>
                <a:gd name="T30" fmla="*/ 261 w 275"/>
                <a:gd name="T31" fmla="*/ 43 h 128"/>
                <a:gd name="T32" fmla="*/ 131 w 275"/>
                <a:gd name="T33" fmla="*/ 43 h 128"/>
                <a:gd name="T34" fmla="*/ 53 w 275"/>
                <a:gd name="T35" fmla="*/ 85 h 128"/>
                <a:gd name="T36" fmla="*/ 32 w 275"/>
                <a:gd name="T37" fmla="*/ 64 h 128"/>
                <a:gd name="T38" fmla="*/ 53 w 275"/>
                <a:gd name="T39" fmla="*/ 43 h 128"/>
                <a:gd name="T40" fmla="*/ 75 w 275"/>
                <a:gd name="T41" fmla="*/ 64 h 128"/>
                <a:gd name="T42" fmla="*/ 53 w 275"/>
                <a:gd name="T43" fmla="*/ 8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5" h="128">
                  <a:moveTo>
                    <a:pt x="131" y="43"/>
                  </a:moveTo>
                  <a:cubicBezTo>
                    <a:pt x="127" y="43"/>
                    <a:pt x="124" y="41"/>
                    <a:pt x="122" y="37"/>
                  </a:cubicBezTo>
                  <a:cubicBezTo>
                    <a:pt x="111" y="15"/>
                    <a:pt x="89" y="0"/>
                    <a:pt x="64" y="0"/>
                  </a:cubicBez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89" y="128"/>
                    <a:pt x="111" y="114"/>
                    <a:pt x="122" y="92"/>
                  </a:cubicBezTo>
                  <a:cubicBezTo>
                    <a:pt x="124" y="88"/>
                    <a:pt x="127" y="86"/>
                    <a:pt x="131" y="86"/>
                  </a:cubicBezTo>
                  <a:cubicBezTo>
                    <a:pt x="177" y="86"/>
                    <a:pt x="177" y="86"/>
                    <a:pt x="177" y="86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9" y="63"/>
                    <a:pt x="206" y="63"/>
                    <a:pt x="210" y="67"/>
                  </a:cubicBezTo>
                  <a:cubicBezTo>
                    <a:pt x="224" y="81"/>
                    <a:pt x="224" y="81"/>
                    <a:pt x="224" y="81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42" y="63"/>
                    <a:pt x="249" y="63"/>
                    <a:pt x="253" y="67"/>
                  </a:cubicBezTo>
                  <a:cubicBezTo>
                    <a:pt x="265" y="79"/>
                    <a:pt x="265" y="79"/>
                    <a:pt x="265" y="79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261" y="43"/>
                    <a:pt x="261" y="43"/>
                    <a:pt x="261" y="43"/>
                  </a:cubicBezTo>
                  <a:lnTo>
                    <a:pt x="131" y="43"/>
                  </a:lnTo>
                  <a:close/>
                  <a:moveTo>
                    <a:pt x="53" y="85"/>
                  </a:moveTo>
                  <a:cubicBezTo>
                    <a:pt x="42" y="85"/>
                    <a:pt x="32" y="76"/>
                    <a:pt x="32" y="64"/>
                  </a:cubicBezTo>
                  <a:cubicBezTo>
                    <a:pt x="32" y="52"/>
                    <a:pt x="42" y="43"/>
                    <a:pt x="53" y="43"/>
                  </a:cubicBezTo>
                  <a:cubicBezTo>
                    <a:pt x="65" y="43"/>
                    <a:pt x="75" y="52"/>
                    <a:pt x="75" y="64"/>
                  </a:cubicBezTo>
                  <a:cubicBezTo>
                    <a:pt x="75" y="76"/>
                    <a:pt x="65" y="85"/>
                    <a:pt x="5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449"/>
            <p:cNvSpPr>
              <a:spLocks noEditPoints="1"/>
            </p:cNvSpPr>
            <p:nvPr/>
          </p:nvSpPr>
          <p:spPr bwMode="auto">
            <a:xfrm>
              <a:off x="5601" y="182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4 w 512"/>
                <a:gd name="T11" fmla="*/ 262 h 512"/>
                <a:gd name="T12" fmla="*/ 393 w 512"/>
                <a:gd name="T13" fmla="*/ 294 h 512"/>
                <a:gd name="T14" fmla="*/ 385 w 512"/>
                <a:gd name="T15" fmla="*/ 299 h 512"/>
                <a:gd name="T16" fmla="*/ 376 w 512"/>
                <a:gd name="T17" fmla="*/ 296 h 512"/>
                <a:gd name="T18" fmla="*/ 362 w 512"/>
                <a:gd name="T19" fmla="*/ 282 h 512"/>
                <a:gd name="T20" fmla="*/ 349 w 512"/>
                <a:gd name="T21" fmla="*/ 296 h 512"/>
                <a:gd name="T22" fmla="*/ 333 w 512"/>
                <a:gd name="T23" fmla="*/ 296 h 512"/>
                <a:gd name="T24" fmla="*/ 320 w 512"/>
                <a:gd name="T25" fmla="*/ 282 h 512"/>
                <a:gd name="T26" fmla="*/ 306 w 512"/>
                <a:gd name="T27" fmla="*/ 296 h 512"/>
                <a:gd name="T28" fmla="*/ 298 w 512"/>
                <a:gd name="T29" fmla="*/ 299 h 512"/>
                <a:gd name="T30" fmla="*/ 255 w 512"/>
                <a:gd name="T31" fmla="*/ 299 h 512"/>
                <a:gd name="T32" fmla="*/ 181 w 512"/>
                <a:gd name="T33" fmla="*/ 342 h 512"/>
                <a:gd name="T34" fmla="*/ 96 w 512"/>
                <a:gd name="T35" fmla="*/ 256 h 512"/>
                <a:gd name="T36" fmla="*/ 181 w 512"/>
                <a:gd name="T37" fmla="*/ 171 h 512"/>
                <a:gd name="T38" fmla="*/ 255 w 512"/>
                <a:gd name="T39" fmla="*/ 214 h 512"/>
                <a:gd name="T40" fmla="*/ 384 w 512"/>
                <a:gd name="T41" fmla="*/ 214 h 512"/>
                <a:gd name="T42" fmla="*/ 393 w 512"/>
                <a:gd name="T43" fmla="*/ 218 h 512"/>
                <a:gd name="T44" fmla="*/ 414 w 512"/>
                <a:gd name="T45" fmla="*/ 250 h 512"/>
                <a:gd name="T46" fmla="*/ 414 w 512"/>
                <a:gd name="T47" fmla="*/ 2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4" y="262"/>
                  </a:moveTo>
                  <a:cubicBezTo>
                    <a:pt x="393" y="294"/>
                    <a:pt x="393" y="294"/>
                    <a:pt x="393" y="294"/>
                  </a:cubicBezTo>
                  <a:cubicBezTo>
                    <a:pt x="391" y="297"/>
                    <a:pt x="388" y="298"/>
                    <a:pt x="385" y="299"/>
                  </a:cubicBezTo>
                  <a:cubicBezTo>
                    <a:pt x="381" y="299"/>
                    <a:pt x="378" y="298"/>
                    <a:pt x="376" y="296"/>
                  </a:cubicBezTo>
                  <a:cubicBezTo>
                    <a:pt x="362" y="282"/>
                    <a:pt x="362" y="282"/>
                    <a:pt x="362" y="282"/>
                  </a:cubicBezTo>
                  <a:cubicBezTo>
                    <a:pt x="349" y="296"/>
                    <a:pt x="349" y="296"/>
                    <a:pt x="349" y="296"/>
                  </a:cubicBezTo>
                  <a:cubicBezTo>
                    <a:pt x="344" y="300"/>
                    <a:pt x="338" y="300"/>
                    <a:pt x="333" y="296"/>
                  </a:cubicBezTo>
                  <a:cubicBezTo>
                    <a:pt x="320" y="282"/>
                    <a:pt x="320" y="282"/>
                    <a:pt x="320" y="282"/>
                  </a:cubicBezTo>
                  <a:cubicBezTo>
                    <a:pt x="306" y="296"/>
                    <a:pt x="306" y="296"/>
                    <a:pt x="306" y="296"/>
                  </a:cubicBezTo>
                  <a:cubicBezTo>
                    <a:pt x="304" y="298"/>
                    <a:pt x="301" y="299"/>
                    <a:pt x="298" y="299"/>
                  </a:cubicBezTo>
                  <a:cubicBezTo>
                    <a:pt x="255" y="299"/>
                    <a:pt x="255" y="299"/>
                    <a:pt x="255" y="299"/>
                  </a:cubicBezTo>
                  <a:cubicBezTo>
                    <a:pt x="240" y="325"/>
                    <a:pt x="211" y="342"/>
                    <a:pt x="181" y="342"/>
                  </a:cubicBezTo>
                  <a:cubicBezTo>
                    <a:pt x="134" y="342"/>
                    <a:pt x="96" y="303"/>
                    <a:pt x="96" y="256"/>
                  </a:cubicBezTo>
                  <a:cubicBezTo>
                    <a:pt x="96" y="209"/>
                    <a:pt x="134" y="171"/>
                    <a:pt x="181" y="171"/>
                  </a:cubicBezTo>
                  <a:cubicBezTo>
                    <a:pt x="211" y="171"/>
                    <a:pt x="240" y="187"/>
                    <a:pt x="255" y="214"/>
                  </a:cubicBezTo>
                  <a:cubicBezTo>
                    <a:pt x="384" y="214"/>
                    <a:pt x="384" y="214"/>
                    <a:pt x="384" y="214"/>
                  </a:cubicBezTo>
                  <a:cubicBezTo>
                    <a:pt x="387" y="214"/>
                    <a:pt x="391" y="215"/>
                    <a:pt x="393" y="218"/>
                  </a:cubicBezTo>
                  <a:cubicBezTo>
                    <a:pt x="414" y="250"/>
                    <a:pt x="414" y="250"/>
                    <a:pt x="414" y="250"/>
                  </a:cubicBezTo>
                  <a:cubicBezTo>
                    <a:pt x="416" y="254"/>
                    <a:pt x="416" y="258"/>
                    <a:pt x="414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9" name="Group 452"/>
          <p:cNvGrpSpPr>
            <a:grpSpLocks noChangeAspect="1"/>
          </p:cNvGrpSpPr>
          <p:nvPr/>
        </p:nvGrpSpPr>
        <p:grpSpPr bwMode="auto">
          <a:xfrm>
            <a:off x="942059" y="2051054"/>
            <a:ext cx="367041" cy="367041"/>
            <a:chOff x="6020" y="1753"/>
            <a:chExt cx="340" cy="340"/>
          </a:xfrm>
          <a:solidFill>
            <a:schemeClr val="accent5"/>
          </a:solidFill>
        </p:grpSpPr>
        <p:sp>
          <p:nvSpPr>
            <p:cNvPr id="260" name="Freeform 453"/>
            <p:cNvSpPr>
              <a:spLocks noEditPoints="1"/>
            </p:cNvSpPr>
            <p:nvPr/>
          </p:nvSpPr>
          <p:spPr bwMode="auto">
            <a:xfrm>
              <a:off x="6020" y="17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454"/>
            <p:cNvSpPr>
              <a:spLocks noEditPoints="1"/>
            </p:cNvSpPr>
            <p:nvPr/>
          </p:nvSpPr>
          <p:spPr bwMode="auto">
            <a:xfrm>
              <a:off x="6084" y="1867"/>
              <a:ext cx="212" cy="113"/>
            </a:xfrm>
            <a:custGeom>
              <a:avLst/>
              <a:gdLst>
                <a:gd name="T0" fmla="*/ 318 w 320"/>
                <a:gd name="T1" fmla="*/ 79 h 171"/>
                <a:gd name="T2" fmla="*/ 297 w 320"/>
                <a:gd name="T3" fmla="*/ 47 h 171"/>
                <a:gd name="T4" fmla="*/ 288 w 320"/>
                <a:gd name="T5" fmla="*/ 43 h 171"/>
                <a:gd name="T6" fmla="*/ 159 w 320"/>
                <a:gd name="T7" fmla="*/ 43 h 171"/>
                <a:gd name="T8" fmla="*/ 85 w 320"/>
                <a:gd name="T9" fmla="*/ 0 h 171"/>
                <a:gd name="T10" fmla="*/ 0 w 320"/>
                <a:gd name="T11" fmla="*/ 85 h 171"/>
                <a:gd name="T12" fmla="*/ 85 w 320"/>
                <a:gd name="T13" fmla="*/ 171 h 171"/>
                <a:gd name="T14" fmla="*/ 159 w 320"/>
                <a:gd name="T15" fmla="*/ 128 h 171"/>
                <a:gd name="T16" fmla="*/ 202 w 320"/>
                <a:gd name="T17" fmla="*/ 128 h 171"/>
                <a:gd name="T18" fmla="*/ 210 w 320"/>
                <a:gd name="T19" fmla="*/ 125 h 171"/>
                <a:gd name="T20" fmla="*/ 224 w 320"/>
                <a:gd name="T21" fmla="*/ 111 h 171"/>
                <a:gd name="T22" fmla="*/ 237 w 320"/>
                <a:gd name="T23" fmla="*/ 125 h 171"/>
                <a:gd name="T24" fmla="*/ 253 w 320"/>
                <a:gd name="T25" fmla="*/ 125 h 171"/>
                <a:gd name="T26" fmla="*/ 266 w 320"/>
                <a:gd name="T27" fmla="*/ 111 h 171"/>
                <a:gd name="T28" fmla="*/ 280 w 320"/>
                <a:gd name="T29" fmla="*/ 125 h 171"/>
                <a:gd name="T30" fmla="*/ 289 w 320"/>
                <a:gd name="T31" fmla="*/ 128 h 171"/>
                <a:gd name="T32" fmla="*/ 297 w 320"/>
                <a:gd name="T33" fmla="*/ 123 h 171"/>
                <a:gd name="T34" fmla="*/ 318 w 320"/>
                <a:gd name="T35" fmla="*/ 91 h 171"/>
                <a:gd name="T36" fmla="*/ 318 w 320"/>
                <a:gd name="T37" fmla="*/ 79 h 171"/>
                <a:gd name="T38" fmla="*/ 286 w 320"/>
                <a:gd name="T39" fmla="*/ 100 h 171"/>
                <a:gd name="T40" fmla="*/ 274 w 320"/>
                <a:gd name="T41" fmla="*/ 88 h 171"/>
                <a:gd name="T42" fmla="*/ 259 w 320"/>
                <a:gd name="T43" fmla="*/ 88 h 171"/>
                <a:gd name="T44" fmla="*/ 245 w 320"/>
                <a:gd name="T45" fmla="*/ 102 h 171"/>
                <a:gd name="T46" fmla="*/ 231 w 320"/>
                <a:gd name="T47" fmla="*/ 88 h 171"/>
                <a:gd name="T48" fmla="*/ 216 w 320"/>
                <a:gd name="T49" fmla="*/ 88 h 171"/>
                <a:gd name="T50" fmla="*/ 198 w 320"/>
                <a:gd name="T51" fmla="*/ 107 h 171"/>
                <a:gd name="T52" fmla="*/ 152 w 320"/>
                <a:gd name="T53" fmla="*/ 107 h 171"/>
                <a:gd name="T54" fmla="*/ 143 w 320"/>
                <a:gd name="T55" fmla="*/ 113 h 171"/>
                <a:gd name="T56" fmla="*/ 85 w 320"/>
                <a:gd name="T57" fmla="*/ 149 h 171"/>
                <a:gd name="T58" fmla="*/ 21 w 320"/>
                <a:gd name="T59" fmla="*/ 85 h 171"/>
                <a:gd name="T60" fmla="*/ 85 w 320"/>
                <a:gd name="T61" fmla="*/ 21 h 171"/>
                <a:gd name="T62" fmla="*/ 143 w 320"/>
                <a:gd name="T63" fmla="*/ 58 h 171"/>
                <a:gd name="T64" fmla="*/ 152 w 320"/>
                <a:gd name="T65" fmla="*/ 64 h 171"/>
                <a:gd name="T66" fmla="*/ 282 w 320"/>
                <a:gd name="T67" fmla="*/ 64 h 171"/>
                <a:gd name="T68" fmla="*/ 296 w 320"/>
                <a:gd name="T69" fmla="*/ 85 h 171"/>
                <a:gd name="T70" fmla="*/ 286 w 320"/>
                <a:gd name="T71" fmla="*/ 10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0" h="171">
                  <a:moveTo>
                    <a:pt x="318" y="79"/>
                  </a:moveTo>
                  <a:cubicBezTo>
                    <a:pt x="297" y="47"/>
                    <a:pt x="297" y="47"/>
                    <a:pt x="297" y="47"/>
                  </a:cubicBezTo>
                  <a:cubicBezTo>
                    <a:pt x="295" y="44"/>
                    <a:pt x="291" y="43"/>
                    <a:pt x="288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44" y="16"/>
                    <a:pt x="115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1"/>
                    <a:pt x="85" y="171"/>
                  </a:cubicBezTo>
                  <a:cubicBezTo>
                    <a:pt x="115" y="171"/>
                    <a:pt x="144" y="154"/>
                    <a:pt x="159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5" y="128"/>
                    <a:pt x="208" y="127"/>
                    <a:pt x="210" y="125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42" y="129"/>
                    <a:pt x="248" y="129"/>
                    <a:pt x="253" y="125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280" y="125"/>
                    <a:pt x="280" y="125"/>
                    <a:pt x="280" y="125"/>
                  </a:cubicBezTo>
                  <a:cubicBezTo>
                    <a:pt x="282" y="127"/>
                    <a:pt x="285" y="128"/>
                    <a:pt x="289" y="128"/>
                  </a:cubicBezTo>
                  <a:cubicBezTo>
                    <a:pt x="292" y="127"/>
                    <a:pt x="295" y="126"/>
                    <a:pt x="297" y="123"/>
                  </a:cubicBezTo>
                  <a:cubicBezTo>
                    <a:pt x="318" y="91"/>
                    <a:pt x="318" y="91"/>
                    <a:pt x="318" y="91"/>
                  </a:cubicBezTo>
                  <a:cubicBezTo>
                    <a:pt x="320" y="87"/>
                    <a:pt x="320" y="83"/>
                    <a:pt x="318" y="79"/>
                  </a:cubicBezTo>
                  <a:close/>
                  <a:moveTo>
                    <a:pt x="286" y="100"/>
                  </a:moveTo>
                  <a:cubicBezTo>
                    <a:pt x="274" y="88"/>
                    <a:pt x="274" y="88"/>
                    <a:pt x="274" y="88"/>
                  </a:cubicBezTo>
                  <a:cubicBezTo>
                    <a:pt x="270" y="84"/>
                    <a:pt x="263" y="84"/>
                    <a:pt x="259" y="88"/>
                  </a:cubicBezTo>
                  <a:cubicBezTo>
                    <a:pt x="245" y="102"/>
                    <a:pt x="245" y="102"/>
                    <a:pt x="245" y="102"/>
                  </a:cubicBezTo>
                  <a:cubicBezTo>
                    <a:pt x="231" y="88"/>
                    <a:pt x="231" y="88"/>
                    <a:pt x="231" y="88"/>
                  </a:cubicBezTo>
                  <a:cubicBezTo>
                    <a:pt x="227" y="84"/>
                    <a:pt x="220" y="84"/>
                    <a:pt x="216" y="88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48" y="107"/>
                    <a:pt x="145" y="109"/>
                    <a:pt x="143" y="113"/>
                  </a:cubicBezTo>
                  <a:cubicBezTo>
                    <a:pt x="132" y="135"/>
                    <a:pt x="110" y="149"/>
                    <a:pt x="85" y="149"/>
                  </a:cubicBezTo>
                  <a:cubicBezTo>
                    <a:pt x="50" y="149"/>
                    <a:pt x="21" y="120"/>
                    <a:pt x="21" y="85"/>
                  </a:cubicBezTo>
                  <a:cubicBezTo>
                    <a:pt x="21" y="50"/>
                    <a:pt x="50" y="21"/>
                    <a:pt x="85" y="21"/>
                  </a:cubicBezTo>
                  <a:cubicBezTo>
                    <a:pt x="110" y="21"/>
                    <a:pt x="132" y="36"/>
                    <a:pt x="143" y="58"/>
                  </a:cubicBezTo>
                  <a:cubicBezTo>
                    <a:pt x="145" y="62"/>
                    <a:pt x="148" y="64"/>
                    <a:pt x="152" y="64"/>
                  </a:cubicBezTo>
                  <a:cubicBezTo>
                    <a:pt x="282" y="64"/>
                    <a:pt x="282" y="64"/>
                    <a:pt x="282" y="64"/>
                  </a:cubicBezTo>
                  <a:cubicBezTo>
                    <a:pt x="296" y="85"/>
                    <a:pt x="296" y="85"/>
                    <a:pt x="296" y="85"/>
                  </a:cubicBezTo>
                  <a:lnTo>
                    <a:pt x="286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Oval 455"/>
            <p:cNvSpPr>
              <a:spLocks noChangeArrowheads="1"/>
            </p:cNvSpPr>
            <p:nvPr/>
          </p:nvSpPr>
          <p:spPr bwMode="auto">
            <a:xfrm>
              <a:off x="6119" y="1909"/>
              <a:ext cx="28" cy="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3" name="Freeform 459"/>
          <p:cNvSpPr>
            <a:spLocks noChangeAspect="1" noEditPoints="1"/>
          </p:cNvSpPr>
          <p:nvPr/>
        </p:nvSpPr>
        <p:spPr bwMode="auto">
          <a:xfrm>
            <a:off x="1438146" y="2051054"/>
            <a:ext cx="367041" cy="367041"/>
          </a:xfrm>
          <a:custGeom>
            <a:avLst/>
            <a:gdLst>
              <a:gd name="T0" fmla="*/ 202 w 512"/>
              <a:gd name="T1" fmla="*/ 256 h 512"/>
              <a:gd name="T2" fmla="*/ 160 w 512"/>
              <a:gd name="T3" fmla="*/ 298 h 512"/>
              <a:gd name="T4" fmla="*/ 117 w 512"/>
              <a:gd name="T5" fmla="*/ 256 h 512"/>
              <a:gd name="T6" fmla="*/ 160 w 512"/>
              <a:gd name="T7" fmla="*/ 213 h 512"/>
              <a:gd name="T8" fmla="*/ 202 w 512"/>
              <a:gd name="T9" fmla="*/ 256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416 w 512"/>
              <a:gd name="T21" fmla="*/ 256 h 512"/>
              <a:gd name="T22" fmla="*/ 405 w 512"/>
              <a:gd name="T23" fmla="*/ 245 h 512"/>
              <a:gd name="T24" fmla="*/ 223 w 512"/>
              <a:gd name="T25" fmla="*/ 245 h 512"/>
              <a:gd name="T26" fmla="*/ 160 w 512"/>
              <a:gd name="T27" fmla="*/ 192 h 512"/>
              <a:gd name="T28" fmla="*/ 96 w 512"/>
              <a:gd name="T29" fmla="*/ 256 h 512"/>
              <a:gd name="T30" fmla="*/ 160 w 512"/>
              <a:gd name="T31" fmla="*/ 320 h 512"/>
              <a:gd name="T32" fmla="*/ 223 w 512"/>
              <a:gd name="T33" fmla="*/ 266 h 512"/>
              <a:gd name="T34" fmla="*/ 352 w 512"/>
              <a:gd name="T35" fmla="*/ 266 h 512"/>
              <a:gd name="T36" fmla="*/ 352 w 512"/>
              <a:gd name="T37" fmla="*/ 288 h 512"/>
              <a:gd name="T38" fmla="*/ 362 w 512"/>
              <a:gd name="T39" fmla="*/ 298 h 512"/>
              <a:gd name="T40" fmla="*/ 373 w 512"/>
              <a:gd name="T41" fmla="*/ 288 h 512"/>
              <a:gd name="T42" fmla="*/ 373 w 512"/>
              <a:gd name="T43" fmla="*/ 266 h 512"/>
              <a:gd name="T44" fmla="*/ 394 w 512"/>
              <a:gd name="T45" fmla="*/ 266 h 512"/>
              <a:gd name="T46" fmla="*/ 394 w 512"/>
              <a:gd name="T47" fmla="*/ 309 h 512"/>
              <a:gd name="T48" fmla="*/ 405 w 512"/>
              <a:gd name="T49" fmla="*/ 320 h 512"/>
              <a:gd name="T50" fmla="*/ 416 w 512"/>
              <a:gd name="T51" fmla="*/ 309 h 512"/>
              <a:gd name="T52" fmla="*/ 416 w 512"/>
              <a:gd name="T53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02" y="256"/>
                </a:moveTo>
                <a:cubicBezTo>
                  <a:pt x="202" y="279"/>
                  <a:pt x="183" y="298"/>
                  <a:pt x="160" y="298"/>
                </a:cubicBezTo>
                <a:cubicBezTo>
                  <a:pt x="136" y="298"/>
                  <a:pt x="117" y="279"/>
                  <a:pt x="117" y="256"/>
                </a:cubicBezTo>
                <a:cubicBezTo>
                  <a:pt x="117" y="232"/>
                  <a:pt x="136" y="213"/>
                  <a:pt x="160" y="213"/>
                </a:cubicBezTo>
                <a:cubicBezTo>
                  <a:pt x="183" y="213"/>
                  <a:pt x="202" y="232"/>
                  <a:pt x="202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250"/>
                  <a:pt x="411" y="245"/>
                  <a:pt x="405" y="245"/>
                </a:cubicBezTo>
                <a:cubicBezTo>
                  <a:pt x="223" y="245"/>
                  <a:pt x="223" y="245"/>
                  <a:pt x="223" y="245"/>
                </a:cubicBezTo>
                <a:cubicBezTo>
                  <a:pt x="218" y="215"/>
                  <a:pt x="191" y="192"/>
                  <a:pt x="160" y="192"/>
                </a:cubicBezTo>
                <a:cubicBezTo>
                  <a:pt x="124" y="192"/>
                  <a:pt x="96" y="220"/>
                  <a:pt x="96" y="256"/>
                </a:cubicBezTo>
                <a:cubicBezTo>
                  <a:pt x="96" y="291"/>
                  <a:pt x="124" y="320"/>
                  <a:pt x="160" y="320"/>
                </a:cubicBezTo>
                <a:cubicBezTo>
                  <a:pt x="191" y="320"/>
                  <a:pt x="218" y="297"/>
                  <a:pt x="223" y="266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52" y="288"/>
                  <a:pt x="352" y="288"/>
                  <a:pt x="352" y="288"/>
                </a:cubicBezTo>
                <a:cubicBezTo>
                  <a:pt x="352" y="294"/>
                  <a:pt x="356" y="298"/>
                  <a:pt x="362" y="298"/>
                </a:cubicBezTo>
                <a:cubicBezTo>
                  <a:pt x="368" y="298"/>
                  <a:pt x="373" y="294"/>
                  <a:pt x="373" y="288"/>
                </a:cubicBezTo>
                <a:cubicBezTo>
                  <a:pt x="373" y="266"/>
                  <a:pt x="373" y="266"/>
                  <a:pt x="373" y="266"/>
                </a:cubicBezTo>
                <a:cubicBezTo>
                  <a:pt x="394" y="266"/>
                  <a:pt x="394" y="266"/>
                  <a:pt x="394" y="266"/>
                </a:cubicBezTo>
                <a:cubicBezTo>
                  <a:pt x="394" y="309"/>
                  <a:pt x="394" y="309"/>
                  <a:pt x="394" y="309"/>
                </a:cubicBezTo>
                <a:cubicBezTo>
                  <a:pt x="394" y="315"/>
                  <a:pt x="399" y="320"/>
                  <a:pt x="405" y="320"/>
                </a:cubicBezTo>
                <a:cubicBezTo>
                  <a:pt x="411" y="320"/>
                  <a:pt x="416" y="315"/>
                  <a:pt x="416" y="309"/>
                </a:cubicBezTo>
                <a:lnTo>
                  <a:pt x="416" y="25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4" name="Group 462"/>
          <p:cNvGrpSpPr>
            <a:grpSpLocks noChangeAspect="1"/>
          </p:cNvGrpSpPr>
          <p:nvPr/>
        </p:nvGrpSpPr>
        <p:grpSpPr bwMode="auto">
          <a:xfrm>
            <a:off x="1934233" y="2051054"/>
            <a:ext cx="368121" cy="367041"/>
            <a:chOff x="6232" y="2834"/>
            <a:chExt cx="341" cy="340"/>
          </a:xfrm>
          <a:solidFill>
            <a:schemeClr val="accent5"/>
          </a:solidFill>
        </p:grpSpPr>
        <p:sp>
          <p:nvSpPr>
            <p:cNvPr id="265" name="Freeform 463"/>
            <p:cNvSpPr>
              <a:spLocks noEditPoints="1"/>
            </p:cNvSpPr>
            <p:nvPr/>
          </p:nvSpPr>
          <p:spPr bwMode="auto">
            <a:xfrm>
              <a:off x="6232" y="283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464"/>
            <p:cNvSpPr>
              <a:spLocks noEditPoints="1"/>
            </p:cNvSpPr>
            <p:nvPr/>
          </p:nvSpPr>
          <p:spPr bwMode="auto">
            <a:xfrm>
              <a:off x="6296" y="2961"/>
              <a:ext cx="213" cy="85"/>
            </a:xfrm>
            <a:custGeom>
              <a:avLst/>
              <a:gdLst>
                <a:gd name="T0" fmla="*/ 309 w 320"/>
                <a:gd name="T1" fmla="*/ 53 h 128"/>
                <a:gd name="T2" fmla="*/ 127 w 320"/>
                <a:gd name="T3" fmla="*/ 53 h 128"/>
                <a:gd name="T4" fmla="*/ 64 w 320"/>
                <a:gd name="T5" fmla="*/ 0 h 128"/>
                <a:gd name="T6" fmla="*/ 0 w 320"/>
                <a:gd name="T7" fmla="*/ 64 h 128"/>
                <a:gd name="T8" fmla="*/ 64 w 320"/>
                <a:gd name="T9" fmla="*/ 128 h 128"/>
                <a:gd name="T10" fmla="*/ 127 w 320"/>
                <a:gd name="T11" fmla="*/ 74 h 128"/>
                <a:gd name="T12" fmla="*/ 256 w 320"/>
                <a:gd name="T13" fmla="*/ 74 h 128"/>
                <a:gd name="T14" fmla="*/ 256 w 320"/>
                <a:gd name="T15" fmla="*/ 96 h 128"/>
                <a:gd name="T16" fmla="*/ 266 w 320"/>
                <a:gd name="T17" fmla="*/ 106 h 128"/>
                <a:gd name="T18" fmla="*/ 277 w 320"/>
                <a:gd name="T19" fmla="*/ 96 h 128"/>
                <a:gd name="T20" fmla="*/ 277 w 320"/>
                <a:gd name="T21" fmla="*/ 74 h 128"/>
                <a:gd name="T22" fmla="*/ 298 w 320"/>
                <a:gd name="T23" fmla="*/ 74 h 128"/>
                <a:gd name="T24" fmla="*/ 298 w 320"/>
                <a:gd name="T25" fmla="*/ 117 h 128"/>
                <a:gd name="T26" fmla="*/ 309 w 320"/>
                <a:gd name="T27" fmla="*/ 128 h 128"/>
                <a:gd name="T28" fmla="*/ 320 w 320"/>
                <a:gd name="T29" fmla="*/ 117 h 128"/>
                <a:gd name="T30" fmla="*/ 320 w 320"/>
                <a:gd name="T31" fmla="*/ 64 h 128"/>
                <a:gd name="T32" fmla="*/ 309 w 320"/>
                <a:gd name="T33" fmla="*/ 53 h 128"/>
                <a:gd name="T34" fmla="*/ 64 w 320"/>
                <a:gd name="T35" fmla="*/ 106 h 128"/>
                <a:gd name="T36" fmla="*/ 21 w 320"/>
                <a:gd name="T37" fmla="*/ 64 h 128"/>
                <a:gd name="T38" fmla="*/ 64 w 320"/>
                <a:gd name="T39" fmla="*/ 21 h 128"/>
                <a:gd name="T40" fmla="*/ 106 w 320"/>
                <a:gd name="T41" fmla="*/ 64 h 128"/>
                <a:gd name="T42" fmla="*/ 64 w 320"/>
                <a:gd name="T4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9" name="Freeform 314"/>
          <p:cNvSpPr>
            <a:spLocks noChangeAspect="1" noEditPoints="1"/>
          </p:cNvSpPr>
          <p:nvPr/>
        </p:nvSpPr>
        <p:spPr bwMode="auto">
          <a:xfrm>
            <a:off x="3424653" y="2051054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90" name="Group 317"/>
          <p:cNvGrpSpPr>
            <a:grpSpLocks noChangeAspect="1"/>
          </p:cNvGrpSpPr>
          <p:nvPr/>
        </p:nvGrpSpPr>
        <p:grpSpPr bwMode="auto">
          <a:xfrm>
            <a:off x="3920740" y="2051054"/>
            <a:ext cx="367041" cy="367041"/>
            <a:chOff x="3039" y="1341"/>
            <a:chExt cx="340" cy="340"/>
          </a:xfrm>
          <a:solidFill>
            <a:schemeClr val="accent4"/>
          </a:solidFill>
        </p:grpSpPr>
        <p:sp>
          <p:nvSpPr>
            <p:cNvPr id="291" name="Freeform 318"/>
            <p:cNvSpPr>
              <a:spLocks noEditPoints="1"/>
            </p:cNvSpPr>
            <p:nvPr/>
          </p:nvSpPr>
          <p:spPr bwMode="auto">
            <a:xfrm>
              <a:off x="3152" y="1490"/>
              <a:ext cx="42" cy="42"/>
            </a:xfrm>
            <a:custGeom>
              <a:avLst/>
              <a:gdLst>
                <a:gd name="T0" fmla="*/ 54 w 64"/>
                <a:gd name="T1" fmla="*/ 0 h 64"/>
                <a:gd name="T2" fmla="*/ 11 w 64"/>
                <a:gd name="T3" fmla="*/ 0 h 64"/>
                <a:gd name="T4" fmla="*/ 0 w 64"/>
                <a:gd name="T5" fmla="*/ 10 h 64"/>
                <a:gd name="T6" fmla="*/ 0 w 64"/>
                <a:gd name="T7" fmla="*/ 53 h 64"/>
                <a:gd name="T8" fmla="*/ 11 w 64"/>
                <a:gd name="T9" fmla="*/ 64 h 64"/>
                <a:gd name="T10" fmla="*/ 54 w 64"/>
                <a:gd name="T11" fmla="*/ 64 h 64"/>
                <a:gd name="T12" fmla="*/ 64 w 64"/>
                <a:gd name="T13" fmla="*/ 53 h 64"/>
                <a:gd name="T14" fmla="*/ 64 w 64"/>
                <a:gd name="T15" fmla="*/ 10 h 64"/>
                <a:gd name="T16" fmla="*/ 54 w 64"/>
                <a:gd name="T17" fmla="*/ 0 h 64"/>
                <a:gd name="T18" fmla="*/ 43 w 64"/>
                <a:gd name="T19" fmla="*/ 42 h 64"/>
                <a:gd name="T20" fmla="*/ 22 w 64"/>
                <a:gd name="T21" fmla="*/ 42 h 64"/>
                <a:gd name="T22" fmla="*/ 22 w 64"/>
                <a:gd name="T23" fmla="*/ 21 h 64"/>
                <a:gd name="T24" fmla="*/ 43 w 64"/>
                <a:gd name="T25" fmla="*/ 21 h 64"/>
                <a:gd name="T26" fmla="*/ 43 w 64"/>
                <a:gd name="T27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64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60" y="64"/>
                    <a:pt x="64" y="59"/>
                    <a:pt x="64" y="53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4"/>
                    <a:pt x="60" y="0"/>
                    <a:pt x="54" y="0"/>
                  </a:cubicBezTo>
                  <a:close/>
                  <a:moveTo>
                    <a:pt x="43" y="42"/>
                  </a:moveTo>
                  <a:cubicBezTo>
                    <a:pt x="22" y="42"/>
                    <a:pt x="22" y="42"/>
                    <a:pt x="22" y="4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43" y="21"/>
                    <a:pt x="43" y="21"/>
                    <a:pt x="43" y="21"/>
                  </a:cubicBezTo>
                  <a:lnTo>
                    <a:pt x="43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319"/>
            <p:cNvSpPr>
              <a:spLocks noEditPoints="1"/>
            </p:cNvSpPr>
            <p:nvPr/>
          </p:nvSpPr>
          <p:spPr bwMode="auto">
            <a:xfrm>
              <a:off x="3223" y="1490"/>
              <a:ext cx="42" cy="42"/>
            </a:xfrm>
            <a:custGeom>
              <a:avLst/>
              <a:gdLst>
                <a:gd name="T0" fmla="*/ 11 w 64"/>
                <a:gd name="T1" fmla="*/ 64 h 64"/>
                <a:gd name="T2" fmla="*/ 53 w 64"/>
                <a:gd name="T3" fmla="*/ 64 h 64"/>
                <a:gd name="T4" fmla="*/ 64 w 64"/>
                <a:gd name="T5" fmla="*/ 53 h 64"/>
                <a:gd name="T6" fmla="*/ 64 w 64"/>
                <a:gd name="T7" fmla="*/ 10 h 64"/>
                <a:gd name="T8" fmla="*/ 53 w 64"/>
                <a:gd name="T9" fmla="*/ 0 h 64"/>
                <a:gd name="T10" fmla="*/ 11 w 64"/>
                <a:gd name="T11" fmla="*/ 0 h 64"/>
                <a:gd name="T12" fmla="*/ 0 w 64"/>
                <a:gd name="T13" fmla="*/ 10 h 64"/>
                <a:gd name="T14" fmla="*/ 0 w 64"/>
                <a:gd name="T15" fmla="*/ 53 h 64"/>
                <a:gd name="T16" fmla="*/ 11 w 64"/>
                <a:gd name="T17" fmla="*/ 64 h 64"/>
                <a:gd name="T18" fmla="*/ 21 w 64"/>
                <a:gd name="T19" fmla="*/ 21 h 64"/>
                <a:gd name="T20" fmla="*/ 43 w 64"/>
                <a:gd name="T21" fmla="*/ 21 h 64"/>
                <a:gd name="T22" fmla="*/ 43 w 64"/>
                <a:gd name="T23" fmla="*/ 42 h 64"/>
                <a:gd name="T24" fmla="*/ 21 w 64"/>
                <a:gd name="T25" fmla="*/ 42 h 64"/>
                <a:gd name="T26" fmla="*/ 21 w 64"/>
                <a:gd name="T27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64">
                  <a:moveTo>
                    <a:pt x="11" y="64"/>
                  </a:move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4"/>
                    <a:pt x="59" y="0"/>
                    <a:pt x="5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lose/>
                  <a:moveTo>
                    <a:pt x="21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21" y="42"/>
                    <a:pt x="21" y="42"/>
                    <a:pt x="21" y="42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320"/>
            <p:cNvSpPr>
              <a:spLocks noEditPoints="1"/>
            </p:cNvSpPr>
            <p:nvPr/>
          </p:nvSpPr>
          <p:spPr bwMode="auto">
            <a:xfrm>
              <a:off x="3102" y="1404"/>
              <a:ext cx="214" cy="199"/>
            </a:xfrm>
            <a:custGeom>
              <a:avLst/>
              <a:gdLst>
                <a:gd name="T0" fmla="*/ 317 w 322"/>
                <a:gd name="T1" fmla="*/ 131 h 299"/>
                <a:gd name="T2" fmla="*/ 168 w 322"/>
                <a:gd name="T3" fmla="*/ 3 h 299"/>
                <a:gd name="T4" fmla="*/ 154 w 322"/>
                <a:gd name="T5" fmla="*/ 3 h 299"/>
                <a:gd name="T6" fmla="*/ 4 w 322"/>
                <a:gd name="T7" fmla="*/ 131 h 299"/>
                <a:gd name="T8" fmla="*/ 1 w 322"/>
                <a:gd name="T9" fmla="*/ 143 h 299"/>
                <a:gd name="T10" fmla="*/ 11 w 322"/>
                <a:gd name="T11" fmla="*/ 150 h 299"/>
                <a:gd name="T12" fmla="*/ 33 w 322"/>
                <a:gd name="T13" fmla="*/ 150 h 299"/>
                <a:gd name="T14" fmla="*/ 33 w 322"/>
                <a:gd name="T15" fmla="*/ 289 h 299"/>
                <a:gd name="T16" fmla="*/ 43 w 322"/>
                <a:gd name="T17" fmla="*/ 299 h 299"/>
                <a:gd name="T18" fmla="*/ 139 w 322"/>
                <a:gd name="T19" fmla="*/ 299 h 299"/>
                <a:gd name="T20" fmla="*/ 150 w 322"/>
                <a:gd name="T21" fmla="*/ 289 h 299"/>
                <a:gd name="T22" fmla="*/ 150 w 322"/>
                <a:gd name="T23" fmla="*/ 235 h 299"/>
                <a:gd name="T24" fmla="*/ 171 w 322"/>
                <a:gd name="T25" fmla="*/ 235 h 299"/>
                <a:gd name="T26" fmla="*/ 171 w 322"/>
                <a:gd name="T27" fmla="*/ 289 h 299"/>
                <a:gd name="T28" fmla="*/ 182 w 322"/>
                <a:gd name="T29" fmla="*/ 299 h 299"/>
                <a:gd name="T30" fmla="*/ 278 w 322"/>
                <a:gd name="T31" fmla="*/ 299 h 299"/>
                <a:gd name="T32" fmla="*/ 289 w 322"/>
                <a:gd name="T33" fmla="*/ 289 h 299"/>
                <a:gd name="T34" fmla="*/ 289 w 322"/>
                <a:gd name="T35" fmla="*/ 150 h 299"/>
                <a:gd name="T36" fmla="*/ 310 w 322"/>
                <a:gd name="T37" fmla="*/ 150 h 299"/>
                <a:gd name="T38" fmla="*/ 320 w 322"/>
                <a:gd name="T39" fmla="*/ 143 h 299"/>
                <a:gd name="T40" fmla="*/ 317 w 322"/>
                <a:gd name="T41" fmla="*/ 131 h 299"/>
                <a:gd name="T42" fmla="*/ 278 w 322"/>
                <a:gd name="T43" fmla="*/ 129 h 299"/>
                <a:gd name="T44" fmla="*/ 267 w 322"/>
                <a:gd name="T45" fmla="*/ 139 h 299"/>
                <a:gd name="T46" fmla="*/ 267 w 322"/>
                <a:gd name="T47" fmla="*/ 278 h 299"/>
                <a:gd name="T48" fmla="*/ 193 w 322"/>
                <a:gd name="T49" fmla="*/ 278 h 299"/>
                <a:gd name="T50" fmla="*/ 193 w 322"/>
                <a:gd name="T51" fmla="*/ 225 h 299"/>
                <a:gd name="T52" fmla="*/ 182 w 322"/>
                <a:gd name="T53" fmla="*/ 214 h 299"/>
                <a:gd name="T54" fmla="*/ 139 w 322"/>
                <a:gd name="T55" fmla="*/ 214 h 299"/>
                <a:gd name="T56" fmla="*/ 129 w 322"/>
                <a:gd name="T57" fmla="*/ 225 h 299"/>
                <a:gd name="T58" fmla="*/ 129 w 322"/>
                <a:gd name="T59" fmla="*/ 278 h 299"/>
                <a:gd name="T60" fmla="*/ 54 w 322"/>
                <a:gd name="T61" fmla="*/ 278 h 299"/>
                <a:gd name="T62" fmla="*/ 54 w 322"/>
                <a:gd name="T63" fmla="*/ 139 h 299"/>
                <a:gd name="T64" fmla="*/ 43 w 322"/>
                <a:gd name="T65" fmla="*/ 129 h 299"/>
                <a:gd name="T66" fmla="*/ 40 w 322"/>
                <a:gd name="T67" fmla="*/ 129 h 299"/>
                <a:gd name="T68" fmla="*/ 161 w 322"/>
                <a:gd name="T69" fmla="*/ 25 h 299"/>
                <a:gd name="T70" fmla="*/ 281 w 322"/>
                <a:gd name="T71" fmla="*/ 129 h 299"/>
                <a:gd name="T72" fmla="*/ 278 w 322"/>
                <a:gd name="T73" fmla="*/ 12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2" h="299">
                  <a:moveTo>
                    <a:pt x="317" y="131"/>
                  </a:moveTo>
                  <a:cubicBezTo>
                    <a:pt x="168" y="3"/>
                    <a:pt x="168" y="3"/>
                    <a:pt x="168" y="3"/>
                  </a:cubicBezTo>
                  <a:cubicBezTo>
                    <a:pt x="164" y="0"/>
                    <a:pt x="158" y="0"/>
                    <a:pt x="154" y="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1" y="134"/>
                    <a:pt x="0" y="139"/>
                    <a:pt x="1" y="143"/>
                  </a:cubicBezTo>
                  <a:cubicBezTo>
                    <a:pt x="3" y="147"/>
                    <a:pt x="7" y="150"/>
                    <a:pt x="11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3" y="289"/>
                    <a:pt x="33" y="289"/>
                    <a:pt x="33" y="289"/>
                  </a:cubicBezTo>
                  <a:cubicBezTo>
                    <a:pt x="33" y="295"/>
                    <a:pt x="37" y="299"/>
                    <a:pt x="43" y="299"/>
                  </a:cubicBezTo>
                  <a:cubicBezTo>
                    <a:pt x="139" y="299"/>
                    <a:pt x="139" y="299"/>
                    <a:pt x="139" y="299"/>
                  </a:cubicBezTo>
                  <a:cubicBezTo>
                    <a:pt x="145" y="299"/>
                    <a:pt x="150" y="295"/>
                    <a:pt x="150" y="289"/>
                  </a:cubicBezTo>
                  <a:cubicBezTo>
                    <a:pt x="150" y="235"/>
                    <a:pt x="150" y="235"/>
                    <a:pt x="150" y="235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171" y="289"/>
                    <a:pt x="171" y="289"/>
                    <a:pt x="171" y="289"/>
                  </a:cubicBezTo>
                  <a:cubicBezTo>
                    <a:pt x="171" y="295"/>
                    <a:pt x="176" y="299"/>
                    <a:pt x="182" y="299"/>
                  </a:cubicBezTo>
                  <a:cubicBezTo>
                    <a:pt x="278" y="299"/>
                    <a:pt x="278" y="299"/>
                    <a:pt x="278" y="299"/>
                  </a:cubicBezTo>
                  <a:cubicBezTo>
                    <a:pt x="284" y="299"/>
                    <a:pt x="289" y="295"/>
                    <a:pt x="289" y="289"/>
                  </a:cubicBezTo>
                  <a:cubicBezTo>
                    <a:pt x="289" y="150"/>
                    <a:pt x="289" y="150"/>
                    <a:pt x="289" y="150"/>
                  </a:cubicBezTo>
                  <a:cubicBezTo>
                    <a:pt x="310" y="150"/>
                    <a:pt x="310" y="150"/>
                    <a:pt x="310" y="150"/>
                  </a:cubicBezTo>
                  <a:cubicBezTo>
                    <a:pt x="314" y="150"/>
                    <a:pt x="318" y="147"/>
                    <a:pt x="320" y="143"/>
                  </a:cubicBezTo>
                  <a:cubicBezTo>
                    <a:pt x="322" y="139"/>
                    <a:pt x="320" y="134"/>
                    <a:pt x="317" y="131"/>
                  </a:cubicBezTo>
                  <a:close/>
                  <a:moveTo>
                    <a:pt x="278" y="129"/>
                  </a:moveTo>
                  <a:cubicBezTo>
                    <a:pt x="272" y="129"/>
                    <a:pt x="267" y="133"/>
                    <a:pt x="267" y="139"/>
                  </a:cubicBezTo>
                  <a:cubicBezTo>
                    <a:pt x="267" y="278"/>
                    <a:pt x="267" y="278"/>
                    <a:pt x="267" y="278"/>
                  </a:cubicBezTo>
                  <a:cubicBezTo>
                    <a:pt x="193" y="278"/>
                    <a:pt x="193" y="278"/>
                    <a:pt x="193" y="278"/>
                  </a:cubicBezTo>
                  <a:cubicBezTo>
                    <a:pt x="193" y="225"/>
                    <a:pt x="193" y="225"/>
                    <a:pt x="193" y="225"/>
                  </a:cubicBezTo>
                  <a:cubicBezTo>
                    <a:pt x="193" y="219"/>
                    <a:pt x="188" y="214"/>
                    <a:pt x="182" y="214"/>
                  </a:cubicBezTo>
                  <a:cubicBezTo>
                    <a:pt x="139" y="214"/>
                    <a:pt x="139" y="214"/>
                    <a:pt x="139" y="214"/>
                  </a:cubicBezTo>
                  <a:cubicBezTo>
                    <a:pt x="133" y="214"/>
                    <a:pt x="129" y="219"/>
                    <a:pt x="129" y="225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54" y="278"/>
                    <a:pt x="54" y="278"/>
                    <a:pt x="54" y="278"/>
                  </a:cubicBezTo>
                  <a:cubicBezTo>
                    <a:pt x="54" y="139"/>
                    <a:pt x="54" y="139"/>
                    <a:pt x="54" y="139"/>
                  </a:cubicBezTo>
                  <a:cubicBezTo>
                    <a:pt x="54" y="133"/>
                    <a:pt x="49" y="129"/>
                    <a:pt x="43" y="129"/>
                  </a:cubicBezTo>
                  <a:cubicBezTo>
                    <a:pt x="40" y="129"/>
                    <a:pt x="40" y="129"/>
                    <a:pt x="40" y="129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281" y="129"/>
                    <a:pt x="281" y="129"/>
                    <a:pt x="281" y="129"/>
                  </a:cubicBezTo>
                  <a:lnTo>
                    <a:pt x="278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Freeform 321"/>
            <p:cNvSpPr>
              <a:spLocks noEditPoints="1"/>
            </p:cNvSpPr>
            <p:nvPr/>
          </p:nvSpPr>
          <p:spPr bwMode="auto">
            <a:xfrm>
              <a:off x="3039" y="134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3" name="Freeform 337"/>
          <p:cNvSpPr>
            <a:spLocks noChangeAspect="1" noEditPoints="1"/>
          </p:cNvSpPr>
          <p:nvPr/>
        </p:nvSpPr>
        <p:spPr bwMode="auto">
          <a:xfrm>
            <a:off x="2431400" y="2051050"/>
            <a:ext cx="368120" cy="36812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15 w 512"/>
              <a:gd name="T11" fmla="*/ 238 h 512"/>
              <a:gd name="T12" fmla="*/ 405 w 512"/>
              <a:gd name="T13" fmla="*/ 245 h 512"/>
              <a:gd name="T14" fmla="*/ 384 w 512"/>
              <a:gd name="T15" fmla="*/ 245 h 512"/>
              <a:gd name="T16" fmla="*/ 384 w 512"/>
              <a:gd name="T17" fmla="*/ 384 h 512"/>
              <a:gd name="T18" fmla="*/ 373 w 512"/>
              <a:gd name="T19" fmla="*/ 394 h 512"/>
              <a:gd name="T20" fmla="*/ 277 w 512"/>
              <a:gd name="T21" fmla="*/ 394 h 512"/>
              <a:gd name="T22" fmla="*/ 266 w 512"/>
              <a:gd name="T23" fmla="*/ 384 h 512"/>
              <a:gd name="T24" fmla="*/ 266 w 512"/>
              <a:gd name="T25" fmla="*/ 330 h 512"/>
              <a:gd name="T26" fmla="*/ 245 w 512"/>
              <a:gd name="T27" fmla="*/ 330 h 512"/>
              <a:gd name="T28" fmla="*/ 245 w 512"/>
              <a:gd name="T29" fmla="*/ 384 h 512"/>
              <a:gd name="T30" fmla="*/ 234 w 512"/>
              <a:gd name="T31" fmla="*/ 394 h 512"/>
              <a:gd name="T32" fmla="*/ 138 w 512"/>
              <a:gd name="T33" fmla="*/ 394 h 512"/>
              <a:gd name="T34" fmla="*/ 128 w 512"/>
              <a:gd name="T35" fmla="*/ 384 h 512"/>
              <a:gd name="T36" fmla="*/ 128 w 512"/>
              <a:gd name="T37" fmla="*/ 245 h 512"/>
              <a:gd name="T38" fmla="*/ 106 w 512"/>
              <a:gd name="T39" fmla="*/ 245 h 512"/>
              <a:gd name="T40" fmla="*/ 96 w 512"/>
              <a:gd name="T41" fmla="*/ 238 h 512"/>
              <a:gd name="T42" fmla="*/ 99 w 512"/>
              <a:gd name="T43" fmla="*/ 226 h 512"/>
              <a:gd name="T44" fmla="*/ 249 w 512"/>
              <a:gd name="T45" fmla="*/ 98 h 512"/>
              <a:gd name="T46" fmla="*/ 263 w 512"/>
              <a:gd name="T47" fmla="*/ 98 h 512"/>
              <a:gd name="T48" fmla="*/ 412 w 512"/>
              <a:gd name="T49" fmla="*/ 226 h 512"/>
              <a:gd name="T50" fmla="*/ 415 w 512"/>
              <a:gd name="T51" fmla="*/ 238 h 512"/>
              <a:gd name="T52" fmla="*/ 256 w 512"/>
              <a:gd name="T53" fmla="*/ 120 h 512"/>
              <a:gd name="T54" fmla="*/ 376 w 512"/>
              <a:gd name="T55" fmla="*/ 224 h 512"/>
              <a:gd name="T56" fmla="*/ 373 w 512"/>
              <a:gd name="T57" fmla="*/ 224 h 512"/>
              <a:gd name="T58" fmla="*/ 362 w 512"/>
              <a:gd name="T59" fmla="*/ 234 h 512"/>
              <a:gd name="T60" fmla="*/ 362 w 512"/>
              <a:gd name="T61" fmla="*/ 373 h 512"/>
              <a:gd name="T62" fmla="*/ 288 w 512"/>
              <a:gd name="T63" fmla="*/ 373 h 512"/>
              <a:gd name="T64" fmla="*/ 288 w 512"/>
              <a:gd name="T65" fmla="*/ 320 h 512"/>
              <a:gd name="T66" fmla="*/ 277 w 512"/>
              <a:gd name="T67" fmla="*/ 309 h 512"/>
              <a:gd name="T68" fmla="*/ 234 w 512"/>
              <a:gd name="T69" fmla="*/ 309 h 512"/>
              <a:gd name="T70" fmla="*/ 224 w 512"/>
              <a:gd name="T71" fmla="*/ 320 h 512"/>
              <a:gd name="T72" fmla="*/ 224 w 512"/>
              <a:gd name="T73" fmla="*/ 373 h 512"/>
              <a:gd name="T74" fmla="*/ 149 w 512"/>
              <a:gd name="T75" fmla="*/ 373 h 512"/>
              <a:gd name="T76" fmla="*/ 149 w 512"/>
              <a:gd name="T77" fmla="*/ 234 h 512"/>
              <a:gd name="T78" fmla="*/ 138 w 512"/>
              <a:gd name="T79" fmla="*/ 224 h 512"/>
              <a:gd name="T80" fmla="*/ 135 w 512"/>
              <a:gd name="T81" fmla="*/ 224 h 512"/>
              <a:gd name="T82" fmla="*/ 256 w 512"/>
              <a:gd name="T83" fmla="*/ 1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5" y="238"/>
                </a:moveTo>
                <a:cubicBezTo>
                  <a:pt x="413" y="242"/>
                  <a:pt x="409" y="245"/>
                  <a:pt x="405" y="245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384" y="384"/>
                  <a:pt x="384" y="384"/>
                  <a:pt x="384" y="384"/>
                </a:cubicBezTo>
                <a:cubicBezTo>
                  <a:pt x="384" y="390"/>
                  <a:pt x="379" y="394"/>
                  <a:pt x="373" y="394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71" y="394"/>
                  <a:pt x="266" y="390"/>
                  <a:pt x="266" y="384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90"/>
                  <a:pt x="240" y="394"/>
                  <a:pt x="234" y="394"/>
                </a:cubicBezTo>
                <a:cubicBezTo>
                  <a:pt x="138" y="394"/>
                  <a:pt x="138" y="394"/>
                  <a:pt x="138" y="394"/>
                </a:cubicBezTo>
                <a:cubicBezTo>
                  <a:pt x="132" y="394"/>
                  <a:pt x="128" y="390"/>
                  <a:pt x="128" y="384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2" y="245"/>
                  <a:pt x="98" y="242"/>
                  <a:pt x="96" y="238"/>
                </a:cubicBezTo>
                <a:cubicBezTo>
                  <a:pt x="95" y="234"/>
                  <a:pt x="96" y="229"/>
                  <a:pt x="99" y="226"/>
                </a:cubicBezTo>
                <a:cubicBezTo>
                  <a:pt x="249" y="98"/>
                  <a:pt x="249" y="98"/>
                  <a:pt x="249" y="98"/>
                </a:cubicBezTo>
                <a:cubicBezTo>
                  <a:pt x="253" y="95"/>
                  <a:pt x="259" y="95"/>
                  <a:pt x="263" y="98"/>
                </a:cubicBezTo>
                <a:cubicBezTo>
                  <a:pt x="412" y="226"/>
                  <a:pt x="412" y="226"/>
                  <a:pt x="412" y="226"/>
                </a:cubicBezTo>
                <a:cubicBezTo>
                  <a:pt x="415" y="229"/>
                  <a:pt x="417" y="234"/>
                  <a:pt x="415" y="238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4" name="Group 340"/>
          <p:cNvGrpSpPr>
            <a:grpSpLocks noChangeAspect="1"/>
          </p:cNvGrpSpPr>
          <p:nvPr/>
        </p:nvGrpSpPr>
        <p:grpSpPr bwMode="auto">
          <a:xfrm>
            <a:off x="2928566" y="2051054"/>
            <a:ext cx="367041" cy="367041"/>
            <a:chOff x="4436" y="1680"/>
            <a:chExt cx="340" cy="340"/>
          </a:xfrm>
          <a:solidFill>
            <a:schemeClr val="accent4"/>
          </a:solidFill>
        </p:grpSpPr>
        <p:sp>
          <p:nvSpPr>
            <p:cNvPr id="305" name="Freeform 341"/>
            <p:cNvSpPr>
              <a:spLocks noEditPoints="1"/>
            </p:cNvSpPr>
            <p:nvPr/>
          </p:nvSpPr>
          <p:spPr bwMode="auto">
            <a:xfrm>
              <a:off x="4499" y="1743"/>
              <a:ext cx="214" cy="199"/>
            </a:xfrm>
            <a:custGeom>
              <a:avLst/>
              <a:gdLst>
                <a:gd name="T0" fmla="*/ 278 w 322"/>
                <a:gd name="T1" fmla="*/ 299 h 299"/>
                <a:gd name="T2" fmla="*/ 182 w 322"/>
                <a:gd name="T3" fmla="*/ 299 h 299"/>
                <a:gd name="T4" fmla="*/ 171 w 322"/>
                <a:gd name="T5" fmla="*/ 289 h 299"/>
                <a:gd name="T6" fmla="*/ 171 w 322"/>
                <a:gd name="T7" fmla="*/ 235 h 299"/>
                <a:gd name="T8" fmla="*/ 150 w 322"/>
                <a:gd name="T9" fmla="*/ 235 h 299"/>
                <a:gd name="T10" fmla="*/ 150 w 322"/>
                <a:gd name="T11" fmla="*/ 289 h 299"/>
                <a:gd name="T12" fmla="*/ 139 w 322"/>
                <a:gd name="T13" fmla="*/ 299 h 299"/>
                <a:gd name="T14" fmla="*/ 43 w 322"/>
                <a:gd name="T15" fmla="*/ 299 h 299"/>
                <a:gd name="T16" fmla="*/ 33 w 322"/>
                <a:gd name="T17" fmla="*/ 289 h 299"/>
                <a:gd name="T18" fmla="*/ 33 w 322"/>
                <a:gd name="T19" fmla="*/ 150 h 299"/>
                <a:gd name="T20" fmla="*/ 11 w 322"/>
                <a:gd name="T21" fmla="*/ 150 h 299"/>
                <a:gd name="T22" fmla="*/ 1 w 322"/>
                <a:gd name="T23" fmla="*/ 143 h 299"/>
                <a:gd name="T24" fmla="*/ 4 w 322"/>
                <a:gd name="T25" fmla="*/ 131 h 299"/>
                <a:gd name="T26" fmla="*/ 154 w 322"/>
                <a:gd name="T27" fmla="*/ 3 h 299"/>
                <a:gd name="T28" fmla="*/ 168 w 322"/>
                <a:gd name="T29" fmla="*/ 3 h 299"/>
                <a:gd name="T30" fmla="*/ 317 w 322"/>
                <a:gd name="T31" fmla="*/ 131 h 299"/>
                <a:gd name="T32" fmla="*/ 320 w 322"/>
                <a:gd name="T33" fmla="*/ 143 h 299"/>
                <a:gd name="T34" fmla="*/ 310 w 322"/>
                <a:gd name="T35" fmla="*/ 150 h 299"/>
                <a:gd name="T36" fmla="*/ 289 w 322"/>
                <a:gd name="T37" fmla="*/ 150 h 299"/>
                <a:gd name="T38" fmla="*/ 289 w 322"/>
                <a:gd name="T39" fmla="*/ 289 h 299"/>
                <a:gd name="T40" fmla="*/ 278 w 322"/>
                <a:gd name="T41" fmla="*/ 299 h 299"/>
                <a:gd name="T42" fmla="*/ 193 w 322"/>
                <a:gd name="T43" fmla="*/ 278 h 299"/>
                <a:gd name="T44" fmla="*/ 267 w 322"/>
                <a:gd name="T45" fmla="*/ 278 h 299"/>
                <a:gd name="T46" fmla="*/ 267 w 322"/>
                <a:gd name="T47" fmla="*/ 139 h 299"/>
                <a:gd name="T48" fmla="*/ 278 w 322"/>
                <a:gd name="T49" fmla="*/ 129 h 299"/>
                <a:gd name="T50" fmla="*/ 281 w 322"/>
                <a:gd name="T51" fmla="*/ 129 h 299"/>
                <a:gd name="T52" fmla="*/ 161 w 322"/>
                <a:gd name="T53" fmla="*/ 25 h 299"/>
                <a:gd name="T54" fmla="*/ 40 w 322"/>
                <a:gd name="T55" fmla="*/ 129 h 299"/>
                <a:gd name="T56" fmla="*/ 43 w 322"/>
                <a:gd name="T57" fmla="*/ 129 h 299"/>
                <a:gd name="T58" fmla="*/ 54 w 322"/>
                <a:gd name="T59" fmla="*/ 139 h 299"/>
                <a:gd name="T60" fmla="*/ 54 w 322"/>
                <a:gd name="T61" fmla="*/ 278 h 299"/>
                <a:gd name="T62" fmla="*/ 129 w 322"/>
                <a:gd name="T63" fmla="*/ 278 h 299"/>
                <a:gd name="T64" fmla="*/ 129 w 322"/>
                <a:gd name="T65" fmla="*/ 225 h 299"/>
                <a:gd name="T66" fmla="*/ 139 w 322"/>
                <a:gd name="T67" fmla="*/ 214 h 299"/>
                <a:gd name="T68" fmla="*/ 182 w 322"/>
                <a:gd name="T69" fmla="*/ 214 h 299"/>
                <a:gd name="T70" fmla="*/ 193 w 322"/>
                <a:gd name="T71" fmla="*/ 225 h 299"/>
                <a:gd name="T72" fmla="*/ 193 w 322"/>
                <a:gd name="T73" fmla="*/ 27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2" h="299">
                  <a:moveTo>
                    <a:pt x="278" y="299"/>
                  </a:moveTo>
                  <a:cubicBezTo>
                    <a:pt x="182" y="299"/>
                    <a:pt x="182" y="299"/>
                    <a:pt x="182" y="299"/>
                  </a:cubicBezTo>
                  <a:cubicBezTo>
                    <a:pt x="176" y="299"/>
                    <a:pt x="171" y="295"/>
                    <a:pt x="171" y="289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150" y="235"/>
                    <a:pt x="150" y="235"/>
                    <a:pt x="150" y="235"/>
                  </a:cubicBezTo>
                  <a:cubicBezTo>
                    <a:pt x="150" y="289"/>
                    <a:pt x="150" y="289"/>
                    <a:pt x="150" y="289"/>
                  </a:cubicBezTo>
                  <a:cubicBezTo>
                    <a:pt x="150" y="295"/>
                    <a:pt x="145" y="299"/>
                    <a:pt x="139" y="299"/>
                  </a:cubicBezTo>
                  <a:cubicBezTo>
                    <a:pt x="43" y="299"/>
                    <a:pt x="43" y="299"/>
                    <a:pt x="43" y="299"/>
                  </a:cubicBezTo>
                  <a:cubicBezTo>
                    <a:pt x="37" y="299"/>
                    <a:pt x="33" y="295"/>
                    <a:pt x="33" y="289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7" y="150"/>
                    <a:pt x="3" y="147"/>
                    <a:pt x="1" y="143"/>
                  </a:cubicBezTo>
                  <a:cubicBezTo>
                    <a:pt x="0" y="139"/>
                    <a:pt x="1" y="134"/>
                    <a:pt x="4" y="131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8" y="0"/>
                    <a:pt x="164" y="0"/>
                    <a:pt x="168" y="3"/>
                  </a:cubicBezTo>
                  <a:cubicBezTo>
                    <a:pt x="317" y="131"/>
                    <a:pt x="317" y="131"/>
                    <a:pt x="317" y="131"/>
                  </a:cubicBezTo>
                  <a:cubicBezTo>
                    <a:pt x="320" y="134"/>
                    <a:pt x="322" y="139"/>
                    <a:pt x="320" y="143"/>
                  </a:cubicBezTo>
                  <a:cubicBezTo>
                    <a:pt x="318" y="147"/>
                    <a:pt x="314" y="150"/>
                    <a:pt x="310" y="150"/>
                  </a:cubicBezTo>
                  <a:cubicBezTo>
                    <a:pt x="289" y="150"/>
                    <a:pt x="289" y="150"/>
                    <a:pt x="289" y="150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89" y="295"/>
                    <a:pt x="284" y="299"/>
                    <a:pt x="278" y="299"/>
                  </a:cubicBezTo>
                  <a:close/>
                  <a:moveTo>
                    <a:pt x="193" y="278"/>
                  </a:moveTo>
                  <a:cubicBezTo>
                    <a:pt x="267" y="278"/>
                    <a:pt x="267" y="278"/>
                    <a:pt x="267" y="278"/>
                  </a:cubicBezTo>
                  <a:cubicBezTo>
                    <a:pt x="267" y="139"/>
                    <a:pt x="267" y="139"/>
                    <a:pt x="267" y="139"/>
                  </a:cubicBezTo>
                  <a:cubicBezTo>
                    <a:pt x="267" y="133"/>
                    <a:pt x="272" y="129"/>
                    <a:pt x="278" y="129"/>
                  </a:cubicBezTo>
                  <a:cubicBezTo>
                    <a:pt x="281" y="129"/>
                    <a:pt x="281" y="129"/>
                    <a:pt x="281" y="129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40" y="129"/>
                    <a:pt x="40" y="129"/>
                    <a:pt x="40" y="129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49" y="129"/>
                    <a:pt x="54" y="133"/>
                    <a:pt x="54" y="139"/>
                  </a:cubicBezTo>
                  <a:cubicBezTo>
                    <a:pt x="54" y="278"/>
                    <a:pt x="54" y="278"/>
                    <a:pt x="54" y="278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29" y="225"/>
                    <a:pt x="129" y="225"/>
                    <a:pt x="129" y="225"/>
                  </a:cubicBezTo>
                  <a:cubicBezTo>
                    <a:pt x="129" y="219"/>
                    <a:pt x="133" y="214"/>
                    <a:pt x="139" y="214"/>
                  </a:cubicBezTo>
                  <a:cubicBezTo>
                    <a:pt x="182" y="214"/>
                    <a:pt x="182" y="214"/>
                    <a:pt x="182" y="214"/>
                  </a:cubicBezTo>
                  <a:cubicBezTo>
                    <a:pt x="188" y="214"/>
                    <a:pt x="193" y="219"/>
                    <a:pt x="193" y="225"/>
                  </a:cubicBezTo>
                  <a:lnTo>
                    <a:pt x="193" y="2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Freeform 342"/>
            <p:cNvSpPr>
              <a:spLocks noEditPoints="1"/>
            </p:cNvSpPr>
            <p:nvPr/>
          </p:nvSpPr>
          <p:spPr bwMode="auto">
            <a:xfrm>
              <a:off x="4436" y="168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7" name="Freeform 346"/>
          <p:cNvSpPr>
            <a:spLocks noChangeAspect="1" noEditPoints="1"/>
          </p:cNvSpPr>
          <p:nvPr/>
        </p:nvSpPr>
        <p:spPr bwMode="auto">
          <a:xfrm>
            <a:off x="4416827" y="2051054"/>
            <a:ext cx="367041" cy="367041"/>
          </a:xfrm>
          <a:custGeom>
            <a:avLst/>
            <a:gdLst>
              <a:gd name="T0" fmla="*/ 202 w 512"/>
              <a:gd name="T1" fmla="*/ 320 h 512"/>
              <a:gd name="T2" fmla="*/ 181 w 512"/>
              <a:gd name="T3" fmla="*/ 373 h 512"/>
              <a:gd name="T4" fmla="*/ 170 w 512"/>
              <a:gd name="T5" fmla="*/ 341 h 512"/>
              <a:gd name="T6" fmla="*/ 160 w 512"/>
              <a:gd name="T7" fmla="*/ 373 h 512"/>
              <a:gd name="T8" fmla="*/ 138 w 512"/>
              <a:gd name="T9" fmla="*/ 320 h 512"/>
              <a:gd name="T10" fmla="*/ 318 w 512"/>
              <a:gd name="T11" fmla="*/ 298 h 512"/>
              <a:gd name="T12" fmla="*/ 341 w 512"/>
              <a:gd name="T13" fmla="*/ 280 h 512"/>
              <a:gd name="T14" fmla="*/ 233 w 512"/>
              <a:gd name="T15" fmla="*/ 138 h 512"/>
              <a:gd name="T16" fmla="*/ 256 w 512"/>
              <a:gd name="T17" fmla="*/ 120 h 512"/>
              <a:gd name="T18" fmla="*/ 245 w 512"/>
              <a:gd name="T19" fmla="*/ 213 h 512"/>
              <a:gd name="T20" fmla="*/ 256 w 512"/>
              <a:gd name="T21" fmla="*/ 181 h 512"/>
              <a:gd name="T22" fmla="*/ 266 w 512"/>
              <a:gd name="T23" fmla="*/ 213 h 512"/>
              <a:gd name="T24" fmla="*/ 288 w 512"/>
              <a:gd name="T25" fmla="*/ 160 h 512"/>
              <a:gd name="T26" fmla="*/ 224 w 512"/>
              <a:gd name="T27" fmla="*/ 213 h 512"/>
              <a:gd name="T28" fmla="*/ 256 w 512"/>
              <a:gd name="T29" fmla="*/ 512 h 512"/>
              <a:gd name="T30" fmla="*/ 256 w 512"/>
              <a:gd name="T31" fmla="*/ 0 h 512"/>
              <a:gd name="T32" fmla="*/ 230 w 512"/>
              <a:gd name="T33" fmla="*/ 301 h 512"/>
              <a:gd name="T34" fmla="*/ 164 w 512"/>
              <a:gd name="T35" fmla="*/ 258 h 512"/>
              <a:gd name="T36" fmla="*/ 107 w 512"/>
              <a:gd name="T37" fmla="*/ 313 h 512"/>
              <a:gd name="T38" fmla="*/ 117 w 512"/>
              <a:gd name="T39" fmla="*/ 384 h 512"/>
              <a:gd name="T40" fmla="*/ 213 w 512"/>
              <a:gd name="T41" fmla="*/ 394 h 512"/>
              <a:gd name="T42" fmla="*/ 224 w 512"/>
              <a:gd name="T43" fmla="*/ 320 h 512"/>
              <a:gd name="T44" fmla="*/ 230 w 512"/>
              <a:gd name="T45" fmla="*/ 301 h 512"/>
              <a:gd name="T46" fmla="*/ 309 w 512"/>
              <a:gd name="T47" fmla="*/ 224 h 512"/>
              <a:gd name="T48" fmla="*/ 319 w 512"/>
              <a:gd name="T49" fmla="*/ 153 h 512"/>
              <a:gd name="T50" fmla="*/ 262 w 512"/>
              <a:gd name="T51" fmla="*/ 98 h 512"/>
              <a:gd name="T52" fmla="*/ 196 w 512"/>
              <a:gd name="T53" fmla="*/ 141 h 512"/>
              <a:gd name="T54" fmla="*/ 202 w 512"/>
              <a:gd name="T55" fmla="*/ 160 h 512"/>
              <a:gd name="T56" fmla="*/ 213 w 512"/>
              <a:gd name="T57" fmla="*/ 234 h 512"/>
              <a:gd name="T58" fmla="*/ 401 w 512"/>
              <a:gd name="T59" fmla="*/ 301 h 512"/>
              <a:gd name="T60" fmla="*/ 334 w 512"/>
              <a:gd name="T61" fmla="*/ 258 h 512"/>
              <a:gd name="T62" fmla="*/ 278 w 512"/>
              <a:gd name="T63" fmla="*/ 313 h 512"/>
              <a:gd name="T64" fmla="*/ 288 w 512"/>
              <a:gd name="T65" fmla="*/ 384 h 512"/>
              <a:gd name="T66" fmla="*/ 384 w 512"/>
              <a:gd name="T67" fmla="*/ 394 h 512"/>
              <a:gd name="T68" fmla="*/ 394 w 512"/>
              <a:gd name="T69" fmla="*/ 320 h 512"/>
              <a:gd name="T70" fmla="*/ 401 w 512"/>
              <a:gd name="T71" fmla="*/ 301 h 512"/>
              <a:gd name="T72" fmla="*/ 147 w 512"/>
              <a:gd name="T73" fmla="*/ 298 h 512"/>
              <a:gd name="T74" fmla="*/ 170 w 512"/>
              <a:gd name="T75" fmla="*/ 280 h 512"/>
              <a:gd name="T76" fmla="*/ 330 w 512"/>
              <a:gd name="T77" fmla="*/ 373 h 512"/>
              <a:gd name="T78" fmla="*/ 341 w 512"/>
              <a:gd name="T79" fmla="*/ 341 h 512"/>
              <a:gd name="T80" fmla="*/ 352 w 512"/>
              <a:gd name="T81" fmla="*/ 373 h 512"/>
              <a:gd name="T82" fmla="*/ 373 w 512"/>
              <a:gd name="T83" fmla="*/ 320 h 512"/>
              <a:gd name="T84" fmla="*/ 309 w 512"/>
              <a:gd name="T85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138" y="320"/>
                </a:moveTo>
                <a:cubicBezTo>
                  <a:pt x="202" y="320"/>
                  <a:pt x="202" y="320"/>
                  <a:pt x="202" y="320"/>
                </a:cubicBezTo>
                <a:cubicBezTo>
                  <a:pt x="202" y="373"/>
                  <a:pt x="202" y="373"/>
                  <a:pt x="202" y="373"/>
                </a:cubicBezTo>
                <a:cubicBezTo>
                  <a:pt x="181" y="373"/>
                  <a:pt x="181" y="373"/>
                  <a:pt x="181" y="373"/>
                </a:cubicBezTo>
                <a:cubicBezTo>
                  <a:pt x="181" y="352"/>
                  <a:pt x="181" y="352"/>
                  <a:pt x="181" y="352"/>
                </a:cubicBezTo>
                <a:cubicBezTo>
                  <a:pt x="181" y="346"/>
                  <a:pt x="176" y="341"/>
                  <a:pt x="170" y="341"/>
                </a:cubicBezTo>
                <a:cubicBezTo>
                  <a:pt x="164" y="341"/>
                  <a:pt x="160" y="346"/>
                  <a:pt x="160" y="352"/>
                </a:cubicBezTo>
                <a:cubicBezTo>
                  <a:pt x="160" y="373"/>
                  <a:pt x="160" y="373"/>
                  <a:pt x="160" y="373"/>
                </a:cubicBezTo>
                <a:cubicBezTo>
                  <a:pt x="138" y="373"/>
                  <a:pt x="138" y="373"/>
                  <a:pt x="138" y="373"/>
                </a:cubicBezTo>
                <a:lnTo>
                  <a:pt x="138" y="320"/>
                </a:lnTo>
                <a:close/>
                <a:moveTo>
                  <a:pt x="341" y="280"/>
                </a:moveTo>
                <a:cubicBezTo>
                  <a:pt x="318" y="298"/>
                  <a:pt x="318" y="298"/>
                  <a:pt x="318" y="298"/>
                </a:cubicBezTo>
                <a:cubicBezTo>
                  <a:pt x="364" y="298"/>
                  <a:pt x="364" y="298"/>
                  <a:pt x="364" y="298"/>
                </a:cubicBezTo>
                <a:lnTo>
                  <a:pt x="341" y="280"/>
                </a:lnTo>
                <a:close/>
                <a:moveTo>
                  <a:pt x="256" y="120"/>
                </a:moveTo>
                <a:cubicBezTo>
                  <a:pt x="233" y="138"/>
                  <a:pt x="233" y="138"/>
                  <a:pt x="233" y="138"/>
                </a:cubicBezTo>
                <a:cubicBezTo>
                  <a:pt x="279" y="138"/>
                  <a:pt x="279" y="138"/>
                  <a:pt x="279" y="138"/>
                </a:cubicBezTo>
                <a:lnTo>
                  <a:pt x="256" y="120"/>
                </a:lnTo>
                <a:close/>
                <a:moveTo>
                  <a:pt x="224" y="213"/>
                </a:moveTo>
                <a:cubicBezTo>
                  <a:pt x="245" y="213"/>
                  <a:pt x="245" y="213"/>
                  <a:pt x="245" y="213"/>
                </a:cubicBezTo>
                <a:cubicBezTo>
                  <a:pt x="245" y="192"/>
                  <a:pt x="245" y="192"/>
                  <a:pt x="245" y="192"/>
                </a:cubicBezTo>
                <a:cubicBezTo>
                  <a:pt x="245" y="186"/>
                  <a:pt x="250" y="181"/>
                  <a:pt x="256" y="181"/>
                </a:cubicBezTo>
                <a:cubicBezTo>
                  <a:pt x="262" y="181"/>
                  <a:pt x="266" y="186"/>
                  <a:pt x="266" y="192"/>
                </a:cubicBezTo>
                <a:cubicBezTo>
                  <a:pt x="266" y="213"/>
                  <a:pt x="266" y="213"/>
                  <a:pt x="266" y="213"/>
                </a:cubicBezTo>
                <a:cubicBezTo>
                  <a:pt x="288" y="213"/>
                  <a:pt x="288" y="213"/>
                  <a:pt x="288" y="213"/>
                </a:cubicBezTo>
                <a:cubicBezTo>
                  <a:pt x="288" y="160"/>
                  <a:pt x="288" y="160"/>
                  <a:pt x="288" y="160"/>
                </a:cubicBezTo>
                <a:cubicBezTo>
                  <a:pt x="224" y="160"/>
                  <a:pt x="224" y="160"/>
                  <a:pt x="224" y="160"/>
                </a:cubicBezTo>
                <a:lnTo>
                  <a:pt x="224" y="21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0" y="301"/>
                </a:moveTo>
                <a:cubicBezTo>
                  <a:pt x="177" y="258"/>
                  <a:pt x="177" y="258"/>
                  <a:pt x="177" y="258"/>
                </a:cubicBezTo>
                <a:cubicBezTo>
                  <a:pt x="173" y="255"/>
                  <a:pt x="168" y="255"/>
                  <a:pt x="164" y="258"/>
                </a:cubicBezTo>
                <a:cubicBezTo>
                  <a:pt x="110" y="301"/>
                  <a:pt x="110" y="301"/>
                  <a:pt x="110" y="301"/>
                </a:cubicBezTo>
                <a:cubicBezTo>
                  <a:pt x="107" y="304"/>
                  <a:pt x="105" y="308"/>
                  <a:pt x="107" y="313"/>
                </a:cubicBezTo>
                <a:cubicBezTo>
                  <a:pt x="108" y="317"/>
                  <a:pt x="112" y="320"/>
                  <a:pt x="117" y="320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13" y="394"/>
                  <a:pt x="213" y="394"/>
                  <a:pt x="213" y="394"/>
                </a:cubicBezTo>
                <a:cubicBezTo>
                  <a:pt x="219" y="394"/>
                  <a:pt x="224" y="390"/>
                  <a:pt x="224" y="384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8" y="320"/>
                  <a:pt x="232" y="317"/>
                  <a:pt x="234" y="313"/>
                </a:cubicBezTo>
                <a:cubicBezTo>
                  <a:pt x="235" y="308"/>
                  <a:pt x="234" y="304"/>
                  <a:pt x="230" y="301"/>
                </a:cubicBezTo>
                <a:close/>
                <a:moveTo>
                  <a:pt x="298" y="234"/>
                </a:moveTo>
                <a:cubicBezTo>
                  <a:pt x="304" y="234"/>
                  <a:pt x="309" y="230"/>
                  <a:pt x="309" y="224"/>
                </a:cubicBezTo>
                <a:cubicBezTo>
                  <a:pt x="309" y="160"/>
                  <a:pt x="309" y="160"/>
                  <a:pt x="309" y="160"/>
                </a:cubicBezTo>
                <a:cubicBezTo>
                  <a:pt x="314" y="160"/>
                  <a:pt x="318" y="157"/>
                  <a:pt x="319" y="153"/>
                </a:cubicBezTo>
                <a:cubicBezTo>
                  <a:pt x="321" y="148"/>
                  <a:pt x="319" y="143"/>
                  <a:pt x="316" y="141"/>
                </a:cubicBezTo>
                <a:cubicBezTo>
                  <a:pt x="262" y="98"/>
                  <a:pt x="262" y="98"/>
                  <a:pt x="262" y="98"/>
                </a:cubicBezTo>
                <a:cubicBezTo>
                  <a:pt x="258" y="95"/>
                  <a:pt x="253" y="95"/>
                  <a:pt x="249" y="98"/>
                </a:cubicBezTo>
                <a:cubicBezTo>
                  <a:pt x="196" y="141"/>
                  <a:pt x="196" y="141"/>
                  <a:pt x="196" y="141"/>
                </a:cubicBezTo>
                <a:cubicBezTo>
                  <a:pt x="192" y="143"/>
                  <a:pt x="191" y="148"/>
                  <a:pt x="192" y="153"/>
                </a:cubicBezTo>
                <a:cubicBezTo>
                  <a:pt x="194" y="157"/>
                  <a:pt x="198" y="160"/>
                  <a:pt x="202" y="160"/>
                </a:cubicBezTo>
                <a:cubicBezTo>
                  <a:pt x="202" y="224"/>
                  <a:pt x="202" y="224"/>
                  <a:pt x="202" y="224"/>
                </a:cubicBezTo>
                <a:cubicBezTo>
                  <a:pt x="202" y="230"/>
                  <a:pt x="207" y="234"/>
                  <a:pt x="213" y="234"/>
                </a:cubicBezTo>
                <a:lnTo>
                  <a:pt x="298" y="234"/>
                </a:lnTo>
                <a:close/>
                <a:moveTo>
                  <a:pt x="401" y="301"/>
                </a:moveTo>
                <a:cubicBezTo>
                  <a:pt x="348" y="258"/>
                  <a:pt x="348" y="258"/>
                  <a:pt x="348" y="258"/>
                </a:cubicBezTo>
                <a:cubicBezTo>
                  <a:pt x="344" y="255"/>
                  <a:pt x="338" y="255"/>
                  <a:pt x="334" y="258"/>
                </a:cubicBezTo>
                <a:cubicBezTo>
                  <a:pt x="281" y="301"/>
                  <a:pt x="281" y="301"/>
                  <a:pt x="281" y="301"/>
                </a:cubicBezTo>
                <a:cubicBezTo>
                  <a:pt x="277" y="304"/>
                  <a:pt x="276" y="308"/>
                  <a:pt x="278" y="313"/>
                </a:cubicBezTo>
                <a:cubicBezTo>
                  <a:pt x="279" y="317"/>
                  <a:pt x="283" y="320"/>
                  <a:pt x="288" y="320"/>
                </a:cubicBezTo>
                <a:cubicBezTo>
                  <a:pt x="288" y="384"/>
                  <a:pt x="288" y="384"/>
                  <a:pt x="288" y="384"/>
                </a:cubicBezTo>
                <a:cubicBezTo>
                  <a:pt x="288" y="390"/>
                  <a:pt x="292" y="394"/>
                  <a:pt x="29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cubicBezTo>
                  <a:pt x="394" y="320"/>
                  <a:pt x="394" y="320"/>
                  <a:pt x="394" y="320"/>
                </a:cubicBezTo>
                <a:cubicBezTo>
                  <a:pt x="399" y="320"/>
                  <a:pt x="403" y="317"/>
                  <a:pt x="404" y="313"/>
                </a:cubicBezTo>
                <a:cubicBezTo>
                  <a:pt x="406" y="308"/>
                  <a:pt x="405" y="304"/>
                  <a:pt x="401" y="301"/>
                </a:cubicBezTo>
                <a:close/>
                <a:moveTo>
                  <a:pt x="170" y="280"/>
                </a:moveTo>
                <a:cubicBezTo>
                  <a:pt x="147" y="298"/>
                  <a:pt x="147" y="298"/>
                  <a:pt x="147" y="298"/>
                </a:cubicBezTo>
                <a:cubicBezTo>
                  <a:pt x="193" y="298"/>
                  <a:pt x="193" y="298"/>
                  <a:pt x="193" y="298"/>
                </a:cubicBezTo>
                <a:lnTo>
                  <a:pt x="170" y="280"/>
                </a:lnTo>
                <a:close/>
                <a:moveTo>
                  <a:pt x="309" y="373"/>
                </a:moveTo>
                <a:cubicBezTo>
                  <a:pt x="330" y="373"/>
                  <a:pt x="330" y="373"/>
                  <a:pt x="330" y="373"/>
                </a:cubicBezTo>
                <a:cubicBezTo>
                  <a:pt x="330" y="352"/>
                  <a:pt x="330" y="352"/>
                  <a:pt x="330" y="352"/>
                </a:cubicBezTo>
                <a:cubicBezTo>
                  <a:pt x="330" y="346"/>
                  <a:pt x="335" y="341"/>
                  <a:pt x="341" y="341"/>
                </a:cubicBezTo>
                <a:cubicBezTo>
                  <a:pt x="347" y="341"/>
                  <a:pt x="352" y="346"/>
                  <a:pt x="352" y="352"/>
                </a:cubicBezTo>
                <a:cubicBezTo>
                  <a:pt x="352" y="373"/>
                  <a:pt x="352" y="373"/>
                  <a:pt x="352" y="373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09" y="320"/>
                  <a:pt x="309" y="320"/>
                  <a:pt x="309" y="320"/>
                </a:cubicBezTo>
                <a:lnTo>
                  <a:pt x="309" y="37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08" name="Group 349"/>
          <p:cNvGrpSpPr>
            <a:grpSpLocks noChangeAspect="1"/>
          </p:cNvGrpSpPr>
          <p:nvPr/>
        </p:nvGrpSpPr>
        <p:grpSpPr bwMode="auto">
          <a:xfrm>
            <a:off x="4912914" y="2051054"/>
            <a:ext cx="367041" cy="367041"/>
            <a:chOff x="5071" y="1628"/>
            <a:chExt cx="340" cy="340"/>
          </a:xfrm>
          <a:solidFill>
            <a:schemeClr val="accent4"/>
          </a:solidFill>
        </p:grpSpPr>
        <p:sp>
          <p:nvSpPr>
            <p:cNvPr id="309" name="Freeform 350"/>
            <p:cNvSpPr>
              <a:spLocks noEditPoints="1"/>
            </p:cNvSpPr>
            <p:nvPr/>
          </p:nvSpPr>
          <p:spPr bwMode="auto">
            <a:xfrm>
              <a:off x="5071" y="162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Freeform 351"/>
            <p:cNvSpPr>
              <a:spLocks noEditPoints="1"/>
            </p:cNvSpPr>
            <p:nvPr/>
          </p:nvSpPr>
          <p:spPr bwMode="auto">
            <a:xfrm>
              <a:off x="5141" y="1691"/>
              <a:ext cx="200" cy="199"/>
            </a:xfrm>
            <a:custGeom>
              <a:avLst/>
              <a:gdLst>
                <a:gd name="T0" fmla="*/ 59 w 301"/>
                <a:gd name="T1" fmla="*/ 163 h 299"/>
                <a:gd name="T2" fmla="*/ 2 w 301"/>
                <a:gd name="T3" fmla="*/ 218 h 299"/>
                <a:gd name="T4" fmla="*/ 12 w 301"/>
                <a:gd name="T5" fmla="*/ 289 h 299"/>
                <a:gd name="T6" fmla="*/ 108 w 301"/>
                <a:gd name="T7" fmla="*/ 299 h 299"/>
                <a:gd name="T8" fmla="*/ 119 w 301"/>
                <a:gd name="T9" fmla="*/ 225 h 299"/>
                <a:gd name="T10" fmla="*/ 125 w 301"/>
                <a:gd name="T11" fmla="*/ 206 h 299"/>
                <a:gd name="T12" fmla="*/ 65 w 301"/>
                <a:gd name="T13" fmla="*/ 185 h 299"/>
                <a:gd name="T14" fmla="*/ 42 w 301"/>
                <a:gd name="T15" fmla="*/ 203 h 299"/>
                <a:gd name="T16" fmla="*/ 97 w 301"/>
                <a:gd name="T17" fmla="*/ 278 h 299"/>
                <a:gd name="T18" fmla="*/ 76 w 301"/>
                <a:gd name="T19" fmla="*/ 257 h 299"/>
                <a:gd name="T20" fmla="*/ 55 w 301"/>
                <a:gd name="T21" fmla="*/ 257 h 299"/>
                <a:gd name="T22" fmla="*/ 33 w 301"/>
                <a:gd name="T23" fmla="*/ 278 h 299"/>
                <a:gd name="T24" fmla="*/ 97 w 301"/>
                <a:gd name="T25" fmla="*/ 225 h 299"/>
                <a:gd name="T26" fmla="*/ 296 w 301"/>
                <a:gd name="T27" fmla="*/ 206 h 299"/>
                <a:gd name="T28" fmla="*/ 229 w 301"/>
                <a:gd name="T29" fmla="*/ 163 h 299"/>
                <a:gd name="T30" fmla="*/ 173 w 301"/>
                <a:gd name="T31" fmla="*/ 218 h 299"/>
                <a:gd name="T32" fmla="*/ 183 w 301"/>
                <a:gd name="T33" fmla="*/ 289 h 299"/>
                <a:gd name="T34" fmla="*/ 279 w 301"/>
                <a:gd name="T35" fmla="*/ 299 h 299"/>
                <a:gd name="T36" fmla="*/ 289 w 301"/>
                <a:gd name="T37" fmla="*/ 225 h 299"/>
                <a:gd name="T38" fmla="*/ 296 w 301"/>
                <a:gd name="T39" fmla="*/ 206 h 299"/>
                <a:gd name="T40" fmla="*/ 259 w 301"/>
                <a:gd name="T41" fmla="*/ 203 h 299"/>
                <a:gd name="T42" fmla="*/ 236 w 301"/>
                <a:gd name="T43" fmla="*/ 185 h 299"/>
                <a:gd name="T44" fmla="*/ 247 w 301"/>
                <a:gd name="T45" fmla="*/ 278 h 299"/>
                <a:gd name="T46" fmla="*/ 236 w 301"/>
                <a:gd name="T47" fmla="*/ 246 h 299"/>
                <a:gd name="T48" fmla="*/ 225 w 301"/>
                <a:gd name="T49" fmla="*/ 278 h 299"/>
                <a:gd name="T50" fmla="*/ 204 w 301"/>
                <a:gd name="T51" fmla="*/ 225 h 299"/>
                <a:gd name="T52" fmla="*/ 268 w 301"/>
                <a:gd name="T53" fmla="*/ 278 h 299"/>
                <a:gd name="T54" fmla="*/ 204 w 301"/>
                <a:gd name="T55" fmla="*/ 65 h 299"/>
                <a:gd name="T56" fmla="*/ 211 w 301"/>
                <a:gd name="T57" fmla="*/ 46 h 299"/>
                <a:gd name="T58" fmla="*/ 144 w 301"/>
                <a:gd name="T59" fmla="*/ 3 h 299"/>
                <a:gd name="T60" fmla="*/ 87 w 301"/>
                <a:gd name="T61" fmla="*/ 58 h 299"/>
                <a:gd name="T62" fmla="*/ 97 w 301"/>
                <a:gd name="T63" fmla="*/ 129 h 299"/>
                <a:gd name="T64" fmla="*/ 193 w 301"/>
                <a:gd name="T65" fmla="*/ 139 h 299"/>
                <a:gd name="T66" fmla="*/ 151 w 301"/>
                <a:gd name="T67" fmla="*/ 25 h 299"/>
                <a:gd name="T68" fmla="*/ 128 w 301"/>
                <a:gd name="T69" fmla="*/ 43 h 299"/>
                <a:gd name="T70" fmla="*/ 183 w 301"/>
                <a:gd name="T71" fmla="*/ 118 h 299"/>
                <a:gd name="T72" fmla="*/ 161 w 301"/>
                <a:gd name="T73" fmla="*/ 97 h 299"/>
                <a:gd name="T74" fmla="*/ 140 w 301"/>
                <a:gd name="T75" fmla="*/ 97 h 299"/>
                <a:gd name="T76" fmla="*/ 119 w 301"/>
                <a:gd name="T77" fmla="*/ 118 h 299"/>
                <a:gd name="T78" fmla="*/ 183 w 301"/>
                <a:gd name="T79" fmla="*/ 65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1" h="299">
                  <a:moveTo>
                    <a:pt x="72" y="163"/>
                  </a:moveTo>
                  <a:cubicBezTo>
                    <a:pt x="68" y="160"/>
                    <a:pt x="63" y="160"/>
                    <a:pt x="59" y="163"/>
                  </a:cubicBezTo>
                  <a:cubicBezTo>
                    <a:pt x="5" y="206"/>
                    <a:pt x="5" y="206"/>
                    <a:pt x="5" y="206"/>
                  </a:cubicBezTo>
                  <a:cubicBezTo>
                    <a:pt x="2" y="209"/>
                    <a:pt x="0" y="213"/>
                    <a:pt x="2" y="218"/>
                  </a:cubicBezTo>
                  <a:cubicBezTo>
                    <a:pt x="3" y="222"/>
                    <a:pt x="7" y="225"/>
                    <a:pt x="12" y="225"/>
                  </a:cubicBezTo>
                  <a:cubicBezTo>
                    <a:pt x="12" y="289"/>
                    <a:pt x="12" y="289"/>
                    <a:pt x="12" y="289"/>
                  </a:cubicBezTo>
                  <a:cubicBezTo>
                    <a:pt x="12" y="295"/>
                    <a:pt x="17" y="299"/>
                    <a:pt x="23" y="299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114" y="299"/>
                    <a:pt x="119" y="295"/>
                    <a:pt x="119" y="289"/>
                  </a:cubicBezTo>
                  <a:cubicBezTo>
                    <a:pt x="119" y="225"/>
                    <a:pt x="119" y="225"/>
                    <a:pt x="119" y="225"/>
                  </a:cubicBezTo>
                  <a:cubicBezTo>
                    <a:pt x="123" y="225"/>
                    <a:pt x="127" y="222"/>
                    <a:pt x="129" y="218"/>
                  </a:cubicBezTo>
                  <a:cubicBezTo>
                    <a:pt x="130" y="213"/>
                    <a:pt x="129" y="209"/>
                    <a:pt x="125" y="206"/>
                  </a:cubicBezTo>
                  <a:lnTo>
                    <a:pt x="72" y="163"/>
                  </a:lnTo>
                  <a:close/>
                  <a:moveTo>
                    <a:pt x="65" y="185"/>
                  </a:moveTo>
                  <a:cubicBezTo>
                    <a:pt x="88" y="203"/>
                    <a:pt x="88" y="203"/>
                    <a:pt x="88" y="203"/>
                  </a:cubicBezTo>
                  <a:cubicBezTo>
                    <a:pt x="42" y="203"/>
                    <a:pt x="42" y="203"/>
                    <a:pt x="42" y="203"/>
                  </a:cubicBezTo>
                  <a:lnTo>
                    <a:pt x="65" y="185"/>
                  </a:lnTo>
                  <a:close/>
                  <a:moveTo>
                    <a:pt x="97" y="278"/>
                  </a:moveTo>
                  <a:cubicBezTo>
                    <a:pt x="76" y="278"/>
                    <a:pt x="76" y="278"/>
                    <a:pt x="76" y="278"/>
                  </a:cubicBezTo>
                  <a:cubicBezTo>
                    <a:pt x="76" y="257"/>
                    <a:pt x="76" y="257"/>
                    <a:pt x="76" y="257"/>
                  </a:cubicBezTo>
                  <a:cubicBezTo>
                    <a:pt x="76" y="251"/>
                    <a:pt x="71" y="246"/>
                    <a:pt x="65" y="246"/>
                  </a:cubicBezTo>
                  <a:cubicBezTo>
                    <a:pt x="59" y="246"/>
                    <a:pt x="55" y="251"/>
                    <a:pt x="55" y="257"/>
                  </a:cubicBezTo>
                  <a:cubicBezTo>
                    <a:pt x="55" y="278"/>
                    <a:pt x="55" y="278"/>
                    <a:pt x="55" y="278"/>
                  </a:cubicBezTo>
                  <a:cubicBezTo>
                    <a:pt x="33" y="278"/>
                    <a:pt x="33" y="278"/>
                    <a:pt x="33" y="278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97" y="225"/>
                    <a:pt x="97" y="225"/>
                    <a:pt x="97" y="225"/>
                  </a:cubicBezTo>
                  <a:lnTo>
                    <a:pt x="97" y="278"/>
                  </a:lnTo>
                  <a:close/>
                  <a:moveTo>
                    <a:pt x="296" y="206"/>
                  </a:moveTo>
                  <a:cubicBezTo>
                    <a:pt x="243" y="163"/>
                    <a:pt x="243" y="163"/>
                    <a:pt x="243" y="163"/>
                  </a:cubicBezTo>
                  <a:cubicBezTo>
                    <a:pt x="239" y="160"/>
                    <a:pt x="233" y="160"/>
                    <a:pt x="229" y="163"/>
                  </a:cubicBezTo>
                  <a:cubicBezTo>
                    <a:pt x="176" y="206"/>
                    <a:pt x="176" y="206"/>
                    <a:pt x="176" y="206"/>
                  </a:cubicBezTo>
                  <a:cubicBezTo>
                    <a:pt x="172" y="209"/>
                    <a:pt x="171" y="213"/>
                    <a:pt x="173" y="218"/>
                  </a:cubicBezTo>
                  <a:cubicBezTo>
                    <a:pt x="174" y="222"/>
                    <a:pt x="178" y="225"/>
                    <a:pt x="183" y="225"/>
                  </a:cubicBezTo>
                  <a:cubicBezTo>
                    <a:pt x="183" y="289"/>
                    <a:pt x="183" y="289"/>
                    <a:pt x="183" y="289"/>
                  </a:cubicBezTo>
                  <a:cubicBezTo>
                    <a:pt x="183" y="295"/>
                    <a:pt x="187" y="299"/>
                    <a:pt x="193" y="299"/>
                  </a:cubicBezTo>
                  <a:cubicBezTo>
                    <a:pt x="279" y="299"/>
                    <a:pt x="279" y="299"/>
                    <a:pt x="279" y="299"/>
                  </a:cubicBezTo>
                  <a:cubicBezTo>
                    <a:pt x="285" y="299"/>
                    <a:pt x="289" y="295"/>
                    <a:pt x="289" y="289"/>
                  </a:cubicBezTo>
                  <a:cubicBezTo>
                    <a:pt x="289" y="225"/>
                    <a:pt x="289" y="225"/>
                    <a:pt x="289" y="225"/>
                  </a:cubicBezTo>
                  <a:cubicBezTo>
                    <a:pt x="294" y="225"/>
                    <a:pt x="298" y="222"/>
                    <a:pt x="299" y="218"/>
                  </a:cubicBezTo>
                  <a:cubicBezTo>
                    <a:pt x="301" y="213"/>
                    <a:pt x="300" y="209"/>
                    <a:pt x="296" y="206"/>
                  </a:cubicBezTo>
                  <a:close/>
                  <a:moveTo>
                    <a:pt x="236" y="185"/>
                  </a:moveTo>
                  <a:cubicBezTo>
                    <a:pt x="259" y="203"/>
                    <a:pt x="259" y="203"/>
                    <a:pt x="259" y="203"/>
                  </a:cubicBezTo>
                  <a:cubicBezTo>
                    <a:pt x="213" y="203"/>
                    <a:pt x="213" y="203"/>
                    <a:pt x="213" y="203"/>
                  </a:cubicBezTo>
                  <a:lnTo>
                    <a:pt x="236" y="185"/>
                  </a:lnTo>
                  <a:close/>
                  <a:moveTo>
                    <a:pt x="268" y="278"/>
                  </a:moveTo>
                  <a:cubicBezTo>
                    <a:pt x="247" y="278"/>
                    <a:pt x="247" y="278"/>
                    <a:pt x="247" y="278"/>
                  </a:cubicBezTo>
                  <a:cubicBezTo>
                    <a:pt x="247" y="257"/>
                    <a:pt x="247" y="257"/>
                    <a:pt x="247" y="257"/>
                  </a:cubicBezTo>
                  <a:cubicBezTo>
                    <a:pt x="247" y="251"/>
                    <a:pt x="242" y="246"/>
                    <a:pt x="236" y="246"/>
                  </a:cubicBezTo>
                  <a:cubicBezTo>
                    <a:pt x="230" y="246"/>
                    <a:pt x="225" y="251"/>
                    <a:pt x="225" y="257"/>
                  </a:cubicBezTo>
                  <a:cubicBezTo>
                    <a:pt x="225" y="278"/>
                    <a:pt x="225" y="278"/>
                    <a:pt x="225" y="278"/>
                  </a:cubicBezTo>
                  <a:cubicBezTo>
                    <a:pt x="204" y="278"/>
                    <a:pt x="204" y="278"/>
                    <a:pt x="204" y="278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68" y="225"/>
                    <a:pt x="268" y="225"/>
                    <a:pt x="268" y="225"/>
                  </a:cubicBezTo>
                  <a:lnTo>
                    <a:pt x="268" y="278"/>
                  </a:lnTo>
                  <a:close/>
                  <a:moveTo>
                    <a:pt x="204" y="129"/>
                  </a:moveTo>
                  <a:cubicBezTo>
                    <a:pt x="204" y="65"/>
                    <a:pt x="204" y="65"/>
                    <a:pt x="204" y="65"/>
                  </a:cubicBezTo>
                  <a:cubicBezTo>
                    <a:pt x="209" y="65"/>
                    <a:pt x="213" y="62"/>
                    <a:pt x="214" y="58"/>
                  </a:cubicBezTo>
                  <a:cubicBezTo>
                    <a:pt x="216" y="53"/>
                    <a:pt x="214" y="48"/>
                    <a:pt x="211" y="46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3" y="0"/>
                    <a:pt x="148" y="0"/>
                    <a:pt x="144" y="3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87" y="48"/>
                    <a:pt x="86" y="53"/>
                    <a:pt x="87" y="58"/>
                  </a:cubicBezTo>
                  <a:cubicBezTo>
                    <a:pt x="89" y="62"/>
                    <a:pt x="93" y="65"/>
                    <a:pt x="97" y="65"/>
                  </a:cubicBezTo>
                  <a:cubicBezTo>
                    <a:pt x="97" y="129"/>
                    <a:pt x="97" y="129"/>
                    <a:pt x="97" y="129"/>
                  </a:cubicBezTo>
                  <a:cubicBezTo>
                    <a:pt x="97" y="135"/>
                    <a:pt x="102" y="139"/>
                    <a:pt x="108" y="139"/>
                  </a:cubicBezTo>
                  <a:cubicBezTo>
                    <a:pt x="193" y="139"/>
                    <a:pt x="193" y="139"/>
                    <a:pt x="193" y="139"/>
                  </a:cubicBezTo>
                  <a:cubicBezTo>
                    <a:pt x="199" y="139"/>
                    <a:pt x="204" y="135"/>
                    <a:pt x="204" y="129"/>
                  </a:cubicBezTo>
                  <a:close/>
                  <a:moveTo>
                    <a:pt x="151" y="25"/>
                  </a:moveTo>
                  <a:cubicBezTo>
                    <a:pt x="174" y="43"/>
                    <a:pt x="174" y="43"/>
                    <a:pt x="174" y="43"/>
                  </a:cubicBezTo>
                  <a:cubicBezTo>
                    <a:pt x="128" y="43"/>
                    <a:pt x="128" y="43"/>
                    <a:pt x="128" y="43"/>
                  </a:cubicBezTo>
                  <a:lnTo>
                    <a:pt x="151" y="25"/>
                  </a:lnTo>
                  <a:close/>
                  <a:moveTo>
                    <a:pt x="183" y="118"/>
                  </a:moveTo>
                  <a:cubicBezTo>
                    <a:pt x="161" y="118"/>
                    <a:pt x="161" y="118"/>
                    <a:pt x="161" y="118"/>
                  </a:cubicBezTo>
                  <a:cubicBezTo>
                    <a:pt x="161" y="97"/>
                    <a:pt x="161" y="97"/>
                    <a:pt x="161" y="97"/>
                  </a:cubicBezTo>
                  <a:cubicBezTo>
                    <a:pt x="161" y="91"/>
                    <a:pt x="157" y="86"/>
                    <a:pt x="151" y="86"/>
                  </a:cubicBezTo>
                  <a:cubicBezTo>
                    <a:pt x="145" y="86"/>
                    <a:pt x="140" y="91"/>
                    <a:pt x="140" y="97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83" y="65"/>
                    <a:pt x="183" y="65"/>
                    <a:pt x="183" y="65"/>
                  </a:cubicBezTo>
                  <a:lnTo>
                    <a:pt x="183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1" name="Freeform 26"/>
          <p:cNvSpPr>
            <a:spLocks noEditPoints="1"/>
          </p:cNvSpPr>
          <p:nvPr/>
        </p:nvSpPr>
        <p:spPr bwMode="auto">
          <a:xfrm>
            <a:off x="8395613" y="2051053"/>
            <a:ext cx="368300" cy="371475"/>
          </a:xfrm>
          <a:custGeom>
            <a:avLst/>
            <a:gdLst>
              <a:gd name="T0" fmla="*/ 94 w 137"/>
              <a:gd name="T1" fmla="*/ 95 h 138"/>
              <a:gd name="T2" fmla="*/ 98 w 137"/>
              <a:gd name="T3" fmla="*/ 83 h 138"/>
              <a:gd name="T4" fmla="*/ 101 w 137"/>
              <a:gd name="T5" fmla="*/ 95 h 138"/>
              <a:gd name="T6" fmla="*/ 106 w 137"/>
              <a:gd name="T7" fmla="*/ 43 h 138"/>
              <a:gd name="T8" fmla="*/ 88 w 137"/>
              <a:gd name="T9" fmla="*/ 95 h 138"/>
              <a:gd name="T10" fmla="*/ 100 w 137"/>
              <a:gd name="T11" fmla="*/ 52 h 138"/>
              <a:gd name="T12" fmla="*/ 94 w 137"/>
              <a:gd name="T13" fmla="*/ 52 h 138"/>
              <a:gd name="T14" fmla="*/ 97 w 137"/>
              <a:gd name="T15" fmla="*/ 60 h 138"/>
              <a:gd name="T16" fmla="*/ 97 w 137"/>
              <a:gd name="T17" fmla="*/ 66 h 138"/>
              <a:gd name="T18" fmla="*/ 97 w 137"/>
              <a:gd name="T19" fmla="*/ 60 h 138"/>
              <a:gd name="T20" fmla="*/ 100 w 137"/>
              <a:gd name="T21" fmla="*/ 75 h 138"/>
              <a:gd name="T22" fmla="*/ 94 w 137"/>
              <a:gd name="T23" fmla="*/ 75 h 138"/>
              <a:gd name="T24" fmla="*/ 68 w 137"/>
              <a:gd name="T25" fmla="*/ 0 h 138"/>
              <a:gd name="T26" fmla="*/ 68 w 137"/>
              <a:gd name="T27" fmla="*/ 138 h 138"/>
              <a:gd name="T28" fmla="*/ 68 w 137"/>
              <a:gd name="T29" fmla="*/ 0 h 138"/>
              <a:gd name="T30" fmla="*/ 108 w 137"/>
              <a:gd name="T31" fmla="*/ 102 h 138"/>
              <a:gd name="T32" fmla="*/ 25 w 137"/>
              <a:gd name="T33" fmla="*/ 98 h 138"/>
              <a:gd name="T34" fmla="*/ 28 w 137"/>
              <a:gd name="T35" fmla="*/ 36 h 138"/>
              <a:gd name="T36" fmla="*/ 49 w 137"/>
              <a:gd name="T37" fmla="*/ 29 h 138"/>
              <a:gd name="T38" fmla="*/ 86 w 137"/>
              <a:gd name="T39" fmla="*/ 26 h 138"/>
              <a:gd name="T40" fmla="*/ 88 w 137"/>
              <a:gd name="T41" fmla="*/ 36 h 138"/>
              <a:gd name="T42" fmla="*/ 112 w 137"/>
              <a:gd name="T43" fmla="*/ 40 h 138"/>
              <a:gd name="T44" fmla="*/ 54 w 137"/>
              <a:gd name="T45" fmla="*/ 95 h 138"/>
              <a:gd name="T46" fmla="*/ 60 w 137"/>
              <a:gd name="T47" fmla="*/ 86 h 138"/>
              <a:gd name="T48" fmla="*/ 65 w 137"/>
              <a:gd name="T49" fmla="*/ 86 h 138"/>
              <a:gd name="T50" fmla="*/ 82 w 137"/>
              <a:gd name="T51" fmla="*/ 95 h 138"/>
              <a:gd name="T52" fmla="*/ 54 w 137"/>
              <a:gd name="T53" fmla="*/ 31 h 138"/>
              <a:gd name="T54" fmla="*/ 74 w 137"/>
              <a:gd name="T55" fmla="*/ 38 h 138"/>
              <a:gd name="T56" fmla="*/ 74 w 137"/>
              <a:gd name="T57" fmla="*/ 43 h 138"/>
              <a:gd name="T58" fmla="*/ 74 w 137"/>
              <a:gd name="T59" fmla="*/ 38 h 138"/>
              <a:gd name="T60" fmla="*/ 77 w 137"/>
              <a:gd name="T61" fmla="*/ 52 h 138"/>
              <a:gd name="T62" fmla="*/ 71 w 137"/>
              <a:gd name="T63" fmla="*/ 52 h 138"/>
              <a:gd name="T64" fmla="*/ 74 w 137"/>
              <a:gd name="T65" fmla="*/ 60 h 138"/>
              <a:gd name="T66" fmla="*/ 74 w 137"/>
              <a:gd name="T67" fmla="*/ 66 h 138"/>
              <a:gd name="T68" fmla="*/ 74 w 137"/>
              <a:gd name="T69" fmla="*/ 60 h 138"/>
              <a:gd name="T70" fmla="*/ 77 w 137"/>
              <a:gd name="T71" fmla="*/ 75 h 138"/>
              <a:gd name="T72" fmla="*/ 71 w 137"/>
              <a:gd name="T73" fmla="*/ 75 h 138"/>
              <a:gd name="T74" fmla="*/ 63 w 137"/>
              <a:gd name="T75" fmla="*/ 38 h 138"/>
              <a:gd name="T76" fmla="*/ 63 w 137"/>
              <a:gd name="T77" fmla="*/ 43 h 138"/>
              <a:gd name="T78" fmla="*/ 63 w 137"/>
              <a:gd name="T79" fmla="*/ 38 h 138"/>
              <a:gd name="T80" fmla="*/ 65 w 137"/>
              <a:gd name="T81" fmla="*/ 52 h 138"/>
              <a:gd name="T82" fmla="*/ 60 w 137"/>
              <a:gd name="T83" fmla="*/ 52 h 138"/>
              <a:gd name="T84" fmla="*/ 63 w 137"/>
              <a:gd name="T85" fmla="*/ 60 h 138"/>
              <a:gd name="T86" fmla="*/ 63 w 137"/>
              <a:gd name="T87" fmla="*/ 66 h 138"/>
              <a:gd name="T88" fmla="*/ 63 w 137"/>
              <a:gd name="T89" fmla="*/ 60 h 138"/>
              <a:gd name="T90" fmla="*/ 65 w 137"/>
              <a:gd name="T91" fmla="*/ 75 h 138"/>
              <a:gd name="T92" fmla="*/ 60 w 137"/>
              <a:gd name="T93" fmla="*/ 75 h 138"/>
              <a:gd name="T94" fmla="*/ 30 w 137"/>
              <a:gd name="T95" fmla="*/ 95 h 138"/>
              <a:gd name="T96" fmla="*/ 36 w 137"/>
              <a:gd name="T97" fmla="*/ 86 h 138"/>
              <a:gd name="T98" fmla="*/ 42 w 137"/>
              <a:gd name="T99" fmla="*/ 86 h 138"/>
              <a:gd name="T100" fmla="*/ 49 w 137"/>
              <a:gd name="T101" fmla="*/ 95 h 138"/>
              <a:gd name="T102" fmla="*/ 30 w 137"/>
              <a:gd name="T103" fmla="*/ 43 h 138"/>
              <a:gd name="T104" fmla="*/ 40 w 137"/>
              <a:gd name="T105" fmla="*/ 49 h 138"/>
              <a:gd name="T106" fmla="*/ 40 w 137"/>
              <a:gd name="T107" fmla="*/ 55 h 138"/>
              <a:gd name="T108" fmla="*/ 40 w 137"/>
              <a:gd name="T109" fmla="*/ 49 h 138"/>
              <a:gd name="T110" fmla="*/ 43 w 137"/>
              <a:gd name="T111" fmla="*/ 63 h 138"/>
              <a:gd name="T112" fmla="*/ 37 w 137"/>
              <a:gd name="T113" fmla="*/ 63 h 138"/>
              <a:gd name="T114" fmla="*/ 40 w 137"/>
              <a:gd name="T115" fmla="*/ 72 h 138"/>
              <a:gd name="T116" fmla="*/ 40 w 137"/>
              <a:gd name="T117" fmla="*/ 78 h 138"/>
              <a:gd name="T118" fmla="*/ 40 w 137"/>
              <a:gd name="T119" fmla="*/ 7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" h="138">
                <a:moveTo>
                  <a:pt x="88" y="95"/>
                </a:moveTo>
                <a:cubicBezTo>
                  <a:pt x="94" y="95"/>
                  <a:pt x="94" y="95"/>
                  <a:pt x="94" y="95"/>
                </a:cubicBezTo>
                <a:cubicBezTo>
                  <a:pt x="94" y="86"/>
                  <a:pt x="94" y="86"/>
                  <a:pt x="94" y="86"/>
                </a:cubicBezTo>
                <a:cubicBezTo>
                  <a:pt x="94" y="85"/>
                  <a:pt x="96" y="83"/>
                  <a:pt x="98" y="83"/>
                </a:cubicBezTo>
                <a:cubicBezTo>
                  <a:pt x="99" y="83"/>
                  <a:pt x="101" y="85"/>
                  <a:pt x="101" y="86"/>
                </a:cubicBezTo>
                <a:cubicBezTo>
                  <a:pt x="101" y="95"/>
                  <a:pt x="101" y="95"/>
                  <a:pt x="101" y="95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06" y="43"/>
                  <a:pt x="106" y="43"/>
                  <a:pt x="106" y="43"/>
                </a:cubicBezTo>
                <a:cubicBezTo>
                  <a:pt x="88" y="43"/>
                  <a:pt x="88" y="43"/>
                  <a:pt x="88" y="43"/>
                </a:cubicBezTo>
                <a:lnTo>
                  <a:pt x="88" y="95"/>
                </a:lnTo>
                <a:close/>
                <a:moveTo>
                  <a:pt x="97" y="49"/>
                </a:moveTo>
                <a:cubicBezTo>
                  <a:pt x="99" y="49"/>
                  <a:pt x="100" y="50"/>
                  <a:pt x="100" y="52"/>
                </a:cubicBezTo>
                <a:cubicBezTo>
                  <a:pt x="100" y="53"/>
                  <a:pt x="99" y="55"/>
                  <a:pt x="97" y="55"/>
                </a:cubicBezTo>
                <a:cubicBezTo>
                  <a:pt x="95" y="55"/>
                  <a:pt x="94" y="53"/>
                  <a:pt x="94" y="52"/>
                </a:cubicBezTo>
                <a:cubicBezTo>
                  <a:pt x="94" y="50"/>
                  <a:pt x="95" y="49"/>
                  <a:pt x="97" y="49"/>
                </a:cubicBezTo>
                <a:close/>
                <a:moveTo>
                  <a:pt x="97" y="60"/>
                </a:moveTo>
                <a:cubicBezTo>
                  <a:pt x="99" y="60"/>
                  <a:pt x="100" y="62"/>
                  <a:pt x="100" y="63"/>
                </a:cubicBezTo>
                <a:cubicBezTo>
                  <a:pt x="100" y="65"/>
                  <a:pt x="99" y="66"/>
                  <a:pt x="97" y="66"/>
                </a:cubicBezTo>
                <a:cubicBezTo>
                  <a:pt x="95" y="66"/>
                  <a:pt x="94" y="65"/>
                  <a:pt x="94" y="63"/>
                </a:cubicBezTo>
                <a:cubicBezTo>
                  <a:pt x="94" y="62"/>
                  <a:pt x="95" y="60"/>
                  <a:pt x="97" y="60"/>
                </a:cubicBezTo>
                <a:close/>
                <a:moveTo>
                  <a:pt x="97" y="72"/>
                </a:moveTo>
                <a:cubicBezTo>
                  <a:pt x="99" y="72"/>
                  <a:pt x="100" y="73"/>
                  <a:pt x="100" y="75"/>
                </a:cubicBezTo>
                <a:cubicBezTo>
                  <a:pt x="100" y="76"/>
                  <a:pt x="99" y="78"/>
                  <a:pt x="97" y="78"/>
                </a:cubicBezTo>
                <a:cubicBezTo>
                  <a:pt x="95" y="78"/>
                  <a:pt x="94" y="76"/>
                  <a:pt x="94" y="75"/>
                </a:cubicBezTo>
                <a:cubicBezTo>
                  <a:pt x="94" y="73"/>
                  <a:pt x="95" y="72"/>
                  <a:pt x="97" y="72"/>
                </a:cubicBezTo>
                <a:close/>
                <a:moveTo>
                  <a:pt x="68" y="0"/>
                </a:moveTo>
                <a:cubicBezTo>
                  <a:pt x="30" y="0"/>
                  <a:pt x="0" y="31"/>
                  <a:pt x="0" y="69"/>
                </a:cubicBezTo>
                <a:cubicBezTo>
                  <a:pt x="0" y="107"/>
                  <a:pt x="30" y="138"/>
                  <a:pt x="68" y="138"/>
                </a:cubicBezTo>
                <a:cubicBezTo>
                  <a:pt x="106" y="138"/>
                  <a:pt x="137" y="107"/>
                  <a:pt x="137" y="69"/>
                </a:cubicBezTo>
                <a:cubicBezTo>
                  <a:pt x="137" y="31"/>
                  <a:pt x="106" y="0"/>
                  <a:pt x="68" y="0"/>
                </a:cubicBezTo>
                <a:close/>
                <a:moveTo>
                  <a:pt x="112" y="98"/>
                </a:moveTo>
                <a:cubicBezTo>
                  <a:pt x="112" y="99"/>
                  <a:pt x="110" y="102"/>
                  <a:pt x="108" y="102"/>
                </a:cubicBezTo>
                <a:cubicBezTo>
                  <a:pt x="28" y="102"/>
                  <a:pt x="28" y="102"/>
                  <a:pt x="28" y="102"/>
                </a:cubicBezTo>
                <a:cubicBezTo>
                  <a:pt x="27" y="102"/>
                  <a:pt x="25" y="99"/>
                  <a:pt x="25" y="98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39"/>
                  <a:pt x="27" y="36"/>
                  <a:pt x="28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7"/>
                  <a:pt x="50" y="26"/>
                  <a:pt x="51" y="26"/>
                </a:cubicBezTo>
                <a:cubicBezTo>
                  <a:pt x="86" y="26"/>
                  <a:pt x="86" y="26"/>
                  <a:pt x="86" y="26"/>
                </a:cubicBezTo>
                <a:cubicBezTo>
                  <a:pt x="87" y="26"/>
                  <a:pt x="88" y="27"/>
                  <a:pt x="88" y="29"/>
                </a:cubicBezTo>
                <a:cubicBezTo>
                  <a:pt x="88" y="36"/>
                  <a:pt x="88" y="36"/>
                  <a:pt x="88" y="36"/>
                </a:cubicBezTo>
                <a:cubicBezTo>
                  <a:pt x="108" y="36"/>
                  <a:pt x="108" y="36"/>
                  <a:pt x="108" y="36"/>
                </a:cubicBezTo>
                <a:cubicBezTo>
                  <a:pt x="110" y="36"/>
                  <a:pt x="112" y="39"/>
                  <a:pt x="112" y="40"/>
                </a:cubicBezTo>
                <a:lnTo>
                  <a:pt x="112" y="98"/>
                </a:lnTo>
                <a:close/>
                <a:moveTo>
                  <a:pt x="54" y="95"/>
                </a:moveTo>
                <a:cubicBezTo>
                  <a:pt x="60" y="95"/>
                  <a:pt x="60" y="95"/>
                  <a:pt x="60" y="95"/>
                </a:cubicBezTo>
                <a:cubicBezTo>
                  <a:pt x="60" y="86"/>
                  <a:pt x="60" y="86"/>
                  <a:pt x="60" y="86"/>
                </a:cubicBezTo>
                <a:cubicBezTo>
                  <a:pt x="60" y="85"/>
                  <a:pt x="61" y="83"/>
                  <a:pt x="62" y="83"/>
                </a:cubicBezTo>
                <a:cubicBezTo>
                  <a:pt x="64" y="83"/>
                  <a:pt x="65" y="85"/>
                  <a:pt x="65" y="86"/>
                </a:cubicBezTo>
                <a:cubicBezTo>
                  <a:pt x="65" y="95"/>
                  <a:pt x="65" y="95"/>
                  <a:pt x="65" y="95"/>
                </a:cubicBezTo>
                <a:cubicBezTo>
                  <a:pt x="82" y="95"/>
                  <a:pt x="82" y="95"/>
                  <a:pt x="82" y="95"/>
                </a:cubicBezTo>
                <a:cubicBezTo>
                  <a:pt x="82" y="31"/>
                  <a:pt x="82" y="31"/>
                  <a:pt x="82" y="31"/>
                </a:cubicBezTo>
                <a:cubicBezTo>
                  <a:pt x="54" y="31"/>
                  <a:pt x="54" y="31"/>
                  <a:pt x="54" y="31"/>
                </a:cubicBezTo>
                <a:lnTo>
                  <a:pt x="54" y="95"/>
                </a:lnTo>
                <a:close/>
                <a:moveTo>
                  <a:pt x="74" y="38"/>
                </a:moveTo>
                <a:cubicBezTo>
                  <a:pt x="76" y="38"/>
                  <a:pt x="77" y="39"/>
                  <a:pt x="77" y="40"/>
                </a:cubicBezTo>
                <a:cubicBezTo>
                  <a:pt x="77" y="42"/>
                  <a:pt x="76" y="43"/>
                  <a:pt x="74" y="43"/>
                </a:cubicBezTo>
                <a:cubicBezTo>
                  <a:pt x="72" y="43"/>
                  <a:pt x="71" y="42"/>
                  <a:pt x="71" y="40"/>
                </a:cubicBezTo>
                <a:cubicBezTo>
                  <a:pt x="71" y="39"/>
                  <a:pt x="72" y="38"/>
                  <a:pt x="74" y="38"/>
                </a:cubicBezTo>
                <a:close/>
                <a:moveTo>
                  <a:pt x="74" y="49"/>
                </a:moveTo>
                <a:cubicBezTo>
                  <a:pt x="76" y="49"/>
                  <a:pt x="77" y="50"/>
                  <a:pt x="77" y="52"/>
                </a:cubicBezTo>
                <a:cubicBezTo>
                  <a:pt x="77" y="53"/>
                  <a:pt x="76" y="55"/>
                  <a:pt x="74" y="55"/>
                </a:cubicBezTo>
                <a:cubicBezTo>
                  <a:pt x="72" y="55"/>
                  <a:pt x="71" y="53"/>
                  <a:pt x="71" y="52"/>
                </a:cubicBezTo>
                <a:cubicBezTo>
                  <a:pt x="71" y="50"/>
                  <a:pt x="72" y="49"/>
                  <a:pt x="74" y="49"/>
                </a:cubicBezTo>
                <a:close/>
                <a:moveTo>
                  <a:pt x="74" y="60"/>
                </a:moveTo>
                <a:cubicBezTo>
                  <a:pt x="76" y="60"/>
                  <a:pt x="77" y="62"/>
                  <a:pt x="77" y="63"/>
                </a:cubicBezTo>
                <a:cubicBezTo>
                  <a:pt x="77" y="65"/>
                  <a:pt x="76" y="66"/>
                  <a:pt x="74" y="66"/>
                </a:cubicBezTo>
                <a:cubicBezTo>
                  <a:pt x="72" y="66"/>
                  <a:pt x="71" y="65"/>
                  <a:pt x="71" y="63"/>
                </a:cubicBezTo>
                <a:cubicBezTo>
                  <a:pt x="71" y="62"/>
                  <a:pt x="72" y="60"/>
                  <a:pt x="74" y="60"/>
                </a:cubicBezTo>
                <a:close/>
                <a:moveTo>
                  <a:pt x="74" y="72"/>
                </a:moveTo>
                <a:cubicBezTo>
                  <a:pt x="76" y="72"/>
                  <a:pt x="77" y="73"/>
                  <a:pt x="77" y="75"/>
                </a:cubicBezTo>
                <a:cubicBezTo>
                  <a:pt x="77" y="76"/>
                  <a:pt x="76" y="78"/>
                  <a:pt x="74" y="78"/>
                </a:cubicBezTo>
                <a:cubicBezTo>
                  <a:pt x="72" y="78"/>
                  <a:pt x="71" y="76"/>
                  <a:pt x="71" y="75"/>
                </a:cubicBezTo>
                <a:cubicBezTo>
                  <a:pt x="71" y="73"/>
                  <a:pt x="72" y="72"/>
                  <a:pt x="74" y="72"/>
                </a:cubicBezTo>
                <a:close/>
                <a:moveTo>
                  <a:pt x="63" y="38"/>
                </a:moveTo>
                <a:cubicBezTo>
                  <a:pt x="64" y="38"/>
                  <a:pt x="65" y="39"/>
                  <a:pt x="65" y="40"/>
                </a:cubicBezTo>
                <a:cubicBezTo>
                  <a:pt x="65" y="42"/>
                  <a:pt x="64" y="43"/>
                  <a:pt x="63" y="43"/>
                </a:cubicBezTo>
                <a:cubicBezTo>
                  <a:pt x="61" y="43"/>
                  <a:pt x="60" y="42"/>
                  <a:pt x="60" y="40"/>
                </a:cubicBezTo>
                <a:cubicBezTo>
                  <a:pt x="60" y="39"/>
                  <a:pt x="61" y="38"/>
                  <a:pt x="63" y="38"/>
                </a:cubicBezTo>
                <a:close/>
                <a:moveTo>
                  <a:pt x="63" y="49"/>
                </a:moveTo>
                <a:cubicBezTo>
                  <a:pt x="64" y="49"/>
                  <a:pt x="65" y="50"/>
                  <a:pt x="65" y="52"/>
                </a:cubicBezTo>
                <a:cubicBezTo>
                  <a:pt x="65" y="53"/>
                  <a:pt x="64" y="55"/>
                  <a:pt x="63" y="55"/>
                </a:cubicBezTo>
                <a:cubicBezTo>
                  <a:pt x="61" y="55"/>
                  <a:pt x="60" y="53"/>
                  <a:pt x="60" y="52"/>
                </a:cubicBezTo>
                <a:cubicBezTo>
                  <a:pt x="60" y="50"/>
                  <a:pt x="61" y="49"/>
                  <a:pt x="63" y="49"/>
                </a:cubicBezTo>
                <a:close/>
                <a:moveTo>
                  <a:pt x="63" y="60"/>
                </a:moveTo>
                <a:cubicBezTo>
                  <a:pt x="64" y="60"/>
                  <a:pt x="65" y="62"/>
                  <a:pt x="65" y="63"/>
                </a:cubicBezTo>
                <a:cubicBezTo>
                  <a:pt x="65" y="65"/>
                  <a:pt x="64" y="66"/>
                  <a:pt x="63" y="66"/>
                </a:cubicBezTo>
                <a:cubicBezTo>
                  <a:pt x="61" y="66"/>
                  <a:pt x="60" y="65"/>
                  <a:pt x="60" y="63"/>
                </a:cubicBezTo>
                <a:cubicBezTo>
                  <a:pt x="60" y="62"/>
                  <a:pt x="61" y="60"/>
                  <a:pt x="63" y="60"/>
                </a:cubicBezTo>
                <a:close/>
                <a:moveTo>
                  <a:pt x="63" y="72"/>
                </a:moveTo>
                <a:cubicBezTo>
                  <a:pt x="64" y="72"/>
                  <a:pt x="65" y="73"/>
                  <a:pt x="65" y="75"/>
                </a:cubicBezTo>
                <a:cubicBezTo>
                  <a:pt x="65" y="76"/>
                  <a:pt x="64" y="78"/>
                  <a:pt x="63" y="78"/>
                </a:cubicBezTo>
                <a:cubicBezTo>
                  <a:pt x="61" y="78"/>
                  <a:pt x="60" y="76"/>
                  <a:pt x="60" y="75"/>
                </a:cubicBezTo>
                <a:cubicBezTo>
                  <a:pt x="60" y="73"/>
                  <a:pt x="61" y="72"/>
                  <a:pt x="63" y="72"/>
                </a:cubicBezTo>
                <a:close/>
                <a:moveTo>
                  <a:pt x="30" y="95"/>
                </a:moveTo>
                <a:cubicBezTo>
                  <a:pt x="36" y="95"/>
                  <a:pt x="36" y="95"/>
                  <a:pt x="36" y="95"/>
                </a:cubicBezTo>
                <a:cubicBezTo>
                  <a:pt x="36" y="86"/>
                  <a:pt x="36" y="86"/>
                  <a:pt x="36" y="86"/>
                </a:cubicBezTo>
                <a:cubicBezTo>
                  <a:pt x="36" y="85"/>
                  <a:pt x="37" y="83"/>
                  <a:pt x="39" y="83"/>
                </a:cubicBezTo>
                <a:cubicBezTo>
                  <a:pt x="41" y="83"/>
                  <a:pt x="42" y="85"/>
                  <a:pt x="42" y="86"/>
                </a:cubicBezTo>
                <a:cubicBezTo>
                  <a:pt x="42" y="95"/>
                  <a:pt x="42" y="95"/>
                  <a:pt x="42" y="95"/>
                </a:cubicBezTo>
                <a:cubicBezTo>
                  <a:pt x="49" y="95"/>
                  <a:pt x="49" y="95"/>
                  <a:pt x="49" y="95"/>
                </a:cubicBezTo>
                <a:cubicBezTo>
                  <a:pt x="49" y="43"/>
                  <a:pt x="49" y="43"/>
                  <a:pt x="49" y="43"/>
                </a:cubicBezTo>
                <a:cubicBezTo>
                  <a:pt x="30" y="43"/>
                  <a:pt x="30" y="43"/>
                  <a:pt x="30" y="43"/>
                </a:cubicBezTo>
                <a:lnTo>
                  <a:pt x="30" y="95"/>
                </a:lnTo>
                <a:close/>
                <a:moveTo>
                  <a:pt x="40" y="49"/>
                </a:moveTo>
                <a:cubicBezTo>
                  <a:pt x="41" y="49"/>
                  <a:pt x="43" y="50"/>
                  <a:pt x="43" y="52"/>
                </a:cubicBezTo>
                <a:cubicBezTo>
                  <a:pt x="43" y="53"/>
                  <a:pt x="41" y="55"/>
                  <a:pt x="40" y="55"/>
                </a:cubicBezTo>
                <a:cubicBezTo>
                  <a:pt x="38" y="55"/>
                  <a:pt x="37" y="53"/>
                  <a:pt x="37" y="52"/>
                </a:cubicBezTo>
                <a:cubicBezTo>
                  <a:pt x="37" y="50"/>
                  <a:pt x="38" y="49"/>
                  <a:pt x="40" y="49"/>
                </a:cubicBezTo>
                <a:close/>
                <a:moveTo>
                  <a:pt x="40" y="60"/>
                </a:moveTo>
                <a:cubicBezTo>
                  <a:pt x="41" y="60"/>
                  <a:pt x="43" y="62"/>
                  <a:pt x="43" y="63"/>
                </a:cubicBezTo>
                <a:cubicBezTo>
                  <a:pt x="43" y="65"/>
                  <a:pt x="41" y="66"/>
                  <a:pt x="40" y="66"/>
                </a:cubicBezTo>
                <a:cubicBezTo>
                  <a:pt x="38" y="66"/>
                  <a:pt x="37" y="65"/>
                  <a:pt x="37" y="63"/>
                </a:cubicBezTo>
                <a:cubicBezTo>
                  <a:pt x="37" y="62"/>
                  <a:pt x="38" y="60"/>
                  <a:pt x="40" y="60"/>
                </a:cubicBezTo>
                <a:close/>
                <a:moveTo>
                  <a:pt x="40" y="72"/>
                </a:moveTo>
                <a:cubicBezTo>
                  <a:pt x="41" y="72"/>
                  <a:pt x="43" y="73"/>
                  <a:pt x="43" y="75"/>
                </a:cubicBezTo>
                <a:cubicBezTo>
                  <a:pt x="43" y="76"/>
                  <a:pt x="41" y="78"/>
                  <a:pt x="40" y="78"/>
                </a:cubicBezTo>
                <a:cubicBezTo>
                  <a:pt x="38" y="78"/>
                  <a:pt x="37" y="76"/>
                  <a:pt x="37" y="75"/>
                </a:cubicBezTo>
                <a:cubicBezTo>
                  <a:pt x="37" y="73"/>
                  <a:pt x="38" y="72"/>
                  <a:pt x="40" y="7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2" name="Group 29"/>
          <p:cNvGrpSpPr>
            <a:grpSpLocks noChangeAspect="1"/>
          </p:cNvGrpSpPr>
          <p:nvPr/>
        </p:nvGrpSpPr>
        <p:grpSpPr bwMode="auto">
          <a:xfrm>
            <a:off x="8892959" y="2051053"/>
            <a:ext cx="371475" cy="371475"/>
            <a:chOff x="2077" y="567"/>
            <a:chExt cx="234" cy="234"/>
          </a:xfrm>
          <a:solidFill>
            <a:schemeClr val="accent1"/>
          </a:solidFill>
        </p:grpSpPr>
        <p:sp>
          <p:nvSpPr>
            <p:cNvPr id="313" name="Freeform 30"/>
            <p:cNvSpPr>
              <a:spLocks noEditPoints="1"/>
            </p:cNvSpPr>
            <p:nvPr/>
          </p:nvSpPr>
          <p:spPr bwMode="auto">
            <a:xfrm>
              <a:off x="2077" y="567"/>
              <a:ext cx="234" cy="234"/>
            </a:xfrm>
            <a:custGeom>
              <a:avLst/>
              <a:gdLst>
                <a:gd name="T0" fmla="*/ 97 w 194"/>
                <a:gd name="T1" fmla="*/ 8 h 194"/>
                <a:gd name="T2" fmla="*/ 186 w 194"/>
                <a:gd name="T3" fmla="*/ 97 h 194"/>
                <a:gd name="T4" fmla="*/ 97 w 194"/>
                <a:gd name="T5" fmla="*/ 186 h 194"/>
                <a:gd name="T6" fmla="*/ 8 w 194"/>
                <a:gd name="T7" fmla="*/ 97 h 194"/>
                <a:gd name="T8" fmla="*/ 97 w 194"/>
                <a:gd name="T9" fmla="*/ 8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8"/>
                  </a:moveTo>
                  <a:cubicBezTo>
                    <a:pt x="146" y="8"/>
                    <a:pt x="186" y="48"/>
                    <a:pt x="186" y="97"/>
                  </a:cubicBezTo>
                  <a:cubicBezTo>
                    <a:pt x="186" y="146"/>
                    <a:pt x="146" y="186"/>
                    <a:pt x="97" y="186"/>
                  </a:cubicBezTo>
                  <a:cubicBezTo>
                    <a:pt x="48" y="186"/>
                    <a:pt x="8" y="146"/>
                    <a:pt x="8" y="97"/>
                  </a:cubicBezTo>
                  <a:cubicBezTo>
                    <a:pt x="8" y="48"/>
                    <a:pt x="48" y="8"/>
                    <a:pt x="97" y="8"/>
                  </a:cubicBezTo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31"/>
            <p:cNvSpPr>
              <a:spLocks noEditPoints="1"/>
            </p:cNvSpPr>
            <p:nvPr/>
          </p:nvSpPr>
          <p:spPr bwMode="auto">
            <a:xfrm>
              <a:off x="2118" y="608"/>
              <a:ext cx="152" cy="129"/>
            </a:xfrm>
            <a:custGeom>
              <a:avLst/>
              <a:gdLst>
                <a:gd name="T0" fmla="*/ 91 w 126"/>
                <a:gd name="T1" fmla="*/ 19 h 107"/>
                <a:gd name="T2" fmla="*/ 87 w 126"/>
                <a:gd name="T3" fmla="*/ 0 h 107"/>
                <a:gd name="T4" fmla="*/ 35 w 126"/>
                <a:gd name="T5" fmla="*/ 6 h 107"/>
                <a:gd name="T6" fmla="*/ 6 w 126"/>
                <a:gd name="T7" fmla="*/ 19 h 107"/>
                <a:gd name="T8" fmla="*/ 0 w 126"/>
                <a:gd name="T9" fmla="*/ 104 h 107"/>
                <a:gd name="T10" fmla="*/ 120 w 126"/>
                <a:gd name="T11" fmla="*/ 107 h 107"/>
                <a:gd name="T12" fmla="*/ 126 w 126"/>
                <a:gd name="T13" fmla="*/ 22 h 107"/>
                <a:gd name="T14" fmla="*/ 35 w 126"/>
                <a:gd name="T15" fmla="*/ 100 h 107"/>
                <a:gd name="T16" fmla="*/ 26 w 126"/>
                <a:gd name="T17" fmla="*/ 87 h 107"/>
                <a:gd name="T18" fmla="*/ 19 w 126"/>
                <a:gd name="T19" fmla="*/ 87 h 107"/>
                <a:gd name="T20" fmla="*/ 11 w 126"/>
                <a:gd name="T21" fmla="*/ 100 h 107"/>
                <a:gd name="T22" fmla="*/ 35 w 126"/>
                <a:gd name="T23" fmla="*/ 26 h 107"/>
                <a:gd name="T24" fmla="*/ 83 w 126"/>
                <a:gd name="T25" fmla="*/ 100 h 107"/>
                <a:gd name="T26" fmla="*/ 58 w 126"/>
                <a:gd name="T27" fmla="*/ 87 h 107"/>
                <a:gd name="T28" fmla="*/ 52 w 126"/>
                <a:gd name="T29" fmla="*/ 87 h 107"/>
                <a:gd name="T30" fmla="*/ 43 w 126"/>
                <a:gd name="T31" fmla="*/ 100 h 107"/>
                <a:gd name="T32" fmla="*/ 83 w 126"/>
                <a:gd name="T33" fmla="*/ 11 h 107"/>
                <a:gd name="T34" fmla="*/ 115 w 126"/>
                <a:gd name="T35" fmla="*/ 100 h 107"/>
                <a:gd name="T36" fmla="*/ 107 w 126"/>
                <a:gd name="T37" fmla="*/ 87 h 107"/>
                <a:gd name="T38" fmla="*/ 100 w 126"/>
                <a:gd name="T39" fmla="*/ 87 h 107"/>
                <a:gd name="T40" fmla="*/ 91 w 126"/>
                <a:gd name="T41" fmla="*/ 100 h 107"/>
                <a:gd name="T42" fmla="*/ 115 w 126"/>
                <a:gd name="T43" fmla="*/ 26 h 107"/>
                <a:gd name="T44" fmla="*/ 18 w 126"/>
                <a:gd name="T45" fmla="*/ 71 h 107"/>
                <a:gd name="T46" fmla="*/ 26 w 126"/>
                <a:gd name="T47" fmla="*/ 71 h 107"/>
                <a:gd name="T48" fmla="*/ 18 w 126"/>
                <a:gd name="T49" fmla="*/ 71 h 107"/>
                <a:gd name="T50" fmla="*/ 22 w 126"/>
                <a:gd name="T51" fmla="*/ 51 h 107"/>
                <a:gd name="T52" fmla="*/ 22 w 126"/>
                <a:gd name="T53" fmla="*/ 59 h 107"/>
                <a:gd name="T54" fmla="*/ 18 w 126"/>
                <a:gd name="T55" fmla="*/ 39 h 107"/>
                <a:gd name="T56" fmla="*/ 26 w 126"/>
                <a:gd name="T57" fmla="*/ 39 h 107"/>
                <a:gd name="T58" fmla="*/ 18 w 126"/>
                <a:gd name="T59" fmla="*/ 39 h 107"/>
                <a:gd name="T60" fmla="*/ 55 w 126"/>
                <a:gd name="T61" fmla="*/ 67 h 107"/>
                <a:gd name="T62" fmla="*/ 55 w 126"/>
                <a:gd name="T63" fmla="*/ 75 h 107"/>
                <a:gd name="T64" fmla="*/ 51 w 126"/>
                <a:gd name="T65" fmla="*/ 55 h 107"/>
                <a:gd name="T66" fmla="*/ 59 w 126"/>
                <a:gd name="T67" fmla="*/ 55 h 107"/>
                <a:gd name="T68" fmla="*/ 51 w 126"/>
                <a:gd name="T69" fmla="*/ 55 h 107"/>
                <a:gd name="T70" fmla="*/ 55 w 126"/>
                <a:gd name="T71" fmla="*/ 35 h 107"/>
                <a:gd name="T72" fmla="*/ 55 w 126"/>
                <a:gd name="T73" fmla="*/ 43 h 107"/>
                <a:gd name="T74" fmla="*/ 67 w 126"/>
                <a:gd name="T75" fmla="*/ 71 h 107"/>
                <a:gd name="T76" fmla="*/ 75 w 126"/>
                <a:gd name="T77" fmla="*/ 71 h 107"/>
                <a:gd name="T78" fmla="*/ 67 w 126"/>
                <a:gd name="T79" fmla="*/ 71 h 107"/>
                <a:gd name="T80" fmla="*/ 71 w 126"/>
                <a:gd name="T81" fmla="*/ 51 h 107"/>
                <a:gd name="T82" fmla="*/ 71 w 126"/>
                <a:gd name="T83" fmla="*/ 59 h 107"/>
                <a:gd name="T84" fmla="*/ 67 w 126"/>
                <a:gd name="T85" fmla="*/ 39 h 107"/>
                <a:gd name="T86" fmla="*/ 75 w 126"/>
                <a:gd name="T87" fmla="*/ 39 h 107"/>
                <a:gd name="T88" fmla="*/ 67 w 126"/>
                <a:gd name="T89" fmla="*/ 39 h 107"/>
                <a:gd name="T90" fmla="*/ 104 w 126"/>
                <a:gd name="T91" fmla="*/ 67 h 107"/>
                <a:gd name="T92" fmla="*/ 104 w 126"/>
                <a:gd name="T93" fmla="*/ 75 h 107"/>
                <a:gd name="T94" fmla="*/ 100 w 126"/>
                <a:gd name="T95" fmla="*/ 55 h 107"/>
                <a:gd name="T96" fmla="*/ 108 w 126"/>
                <a:gd name="T97" fmla="*/ 55 h 107"/>
                <a:gd name="T98" fmla="*/ 100 w 126"/>
                <a:gd name="T99" fmla="*/ 55 h 107"/>
                <a:gd name="T100" fmla="*/ 104 w 126"/>
                <a:gd name="T101" fmla="*/ 35 h 107"/>
                <a:gd name="T102" fmla="*/ 104 w 126"/>
                <a:gd name="T103" fmla="*/ 43 h 107"/>
                <a:gd name="T104" fmla="*/ 51 w 126"/>
                <a:gd name="T105" fmla="*/ 22 h 107"/>
                <a:gd name="T106" fmla="*/ 59 w 126"/>
                <a:gd name="T107" fmla="*/ 22 h 107"/>
                <a:gd name="T108" fmla="*/ 51 w 126"/>
                <a:gd name="T109" fmla="*/ 22 h 107"/>
                <a:gd name="T110" fmla="*/ 71 w 126"/>
                <a:gd name="T111" fmla="*/ 18 h 107"/>
                <a:gd name="T112" fmla="*/ 71 w 126"/>
                <a:gd name="T113" fmla="*/ 2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" h="107">
                  <a:moveTo>
                    <a:pt x="120" y="19"/>
                  </a:moveTo>
                  <a:cubicBezTo>
                    <a:pt x="91" y="19"/>
                    <a:pt x="91" y="19"/>
                    <a:pt x="91" y="19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91" y="4"/>
                    <a:pt x="90" y="0"/>
                    <a:pt x="8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6" y="0"/>
                    <a:pt x="35" y="4"/>
                    <a:pt x="35" y="6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4" y="19"/>
                    <a:pt x="0" y="20"/>
                    <a:pt x="0" y="2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6"/>
                    <a:pt x="4" y="107"/>
                    <a:pt x="6" y="107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2" y="107"/>
                    <a:pt x="126" y="106"/>
                    <a:pt x="126" y="104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0"/>
                    <a:pt x="122" y="19"/>
                    <a:pt x="120" y="19"/>
                  </a:cubicBezTo>
                  <a:close/>
                  <a:moveTo>
                    <a:pt x="35" y="100"/>
                  </a:moveTo>
                  <a:cubicBezTo>
                    <a:pt x="26" y="100"/>
                    <a:pt x="26" y="100"/>
                    <a:pt x="26" y="100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5"/>
                    <a:pt x="25" y="83"/>
                    <a:pt x="22" y="83"/>
                  </a:cubicBezTo>
                  <a:cubicBezTo>
                    <a:pt x="20" y="83"/>
                    <a:pt x="19" y="85"/>
                    <a:pt x="19" y="87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35" y="26"/>
                    <a:pt x="35" y="26"/>
                    <a:pt x="35" y="26"/>
                  </a:cubicBezTo>
                  <a:lnTo>
                    <a:pt x="35" y="100"/>
                  </a:lnTo>
                  <a:close/>
                  <a:moveTo>
                    <a:pt x="83" y="100"/>
                  </a:moveTo>
                  <a:cubicBezTo>
                    <a:pt x="58" y="100"/>
                    <a:pt x="58" y="100"/>
                    <a:pt x="58" y="100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5"/>
                    <a:pt x="57" y="83"/>
                    <a:pt x="55" y="83"/>
                  </a:cubicBezTo>
                  <a:cubicBezTo>
                    <a:pt x="53" y="83"/>
                    <a:pt x="52" y="85"/>
                    <a:pt x="52" y="87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83" y="11"/>
                    <a:pt x="83" y="11"/>
                    <a:pt x="83" y="11"/>
                  </a:cubicBezTo>
                  <a:lnTo>
                    <a:pt x="83" y="100"/>
                  </a:lnTo>
                  <a:close/>
                  <a:moveTo>
                    <a:pt x="115" y="100"/>
                  </a:moveTo>
                  <a:cubicBezTo>
                    <a:pt x="107" y="100"/>
                    <a:pt x="107" y="100"/>
                    <a:pt x="107" y="100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7" y="85"/>
                    <a:pt x="106" y="83"/>
                    <a:pt x="104" y="83"/>
                  </a:cubicBezTo>
                  <a:cubicBezTo>
                    <a:pt x="101" y="83"/>
                    <a:pt x="100" y="85"/>
                    <a:pt x="100" y="87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91" y="100"/>
                    <a:pt x="91" y="100"/>
                    <a:pt x="91" y="100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115" y="26"/>
                    <a:pt x="115" y="26"/>
                    <a:pt x="115" y="26"/>
                  </a:cubicBezTo>
                  <a:lnTo>
                    <a:pt x="115" y="100"/>
                  </a:lnTo>
                  <a:close/>
                  <a:moveTo>
                    <a:pt x="18" y="71"/>
                  </a:moveTo>
                  <a:cubicBezTo>
                    <a:pt x="18" y="69"/>
                    <a:pt x="20" y="67"/>
                    <a:pt x="22" y="67"/>
                  </a:cubicBezTo>
                  <a:cubicBezTo>
                    <a:pt x="25" y="67"/>
                    <a:pt x="26" y="69"/>
                    <a:pt x="26" y="71"/>
                  </a:cubicBezTo>
                  <a:cubicBezTo>
                    <a:pt x="26" y="73"/>
                    <a:pt x="25" y="75"/>
                    <a:pt x="22" y="75"/>
                  </a:cubicBezTo>
                  <a:cubicBezTo>
                    <a:pt x="20" y="75"/>
                    <a:pt x="18" y="73"/>
                    <a:pt x="18" y="71"/>
                  </a:cubicBezTo>
                  <a:close/>
                  <a:moveTo>
                    <a:pt x="18" y="55"/>
                  </a:moveTo>
                  <a:cubicBezTo>
                    <a:pt x="18" y="53"/>
                    <a:pt x="20" y="51"/>
                    <a:pt x="22" y="51"/>
                  </a:cubicBezTo>
                  <a:cubicBezTo>
                    <a:pt x="25" y="51"/>
                    <a:pt x="26" y="53"/>
                    <a:pt x="26" y="55"/>
                  </a:cubicBezTo>
                  <a:cubicBezTo>
                    <a:pt x="26" y="57"/>
                    <a:pt x="25" y="59"/>
                    <a:pt x="22" y="59"/>
                  </a:cubicBezTo>
                  <a:cubicBezTo>
                    <a:pt x="20" y="59"/>
                    <a:pt x="18" y="57"/>
                    <a:pt x="18" y="55"/>
                  </a:cubicBezTo>
                  <a:close/>
                  <a:moveTo>
                    <a:pt x="18" y="39"/>
                  </a:moveTo>
                  <a:cubicBezTo>
                    <a:pt x="18" y="36"/>
                    <a:pt x="20" y="35"/>
                    <a:pt x="22" y="35"/>
                  </a:cubicBezTo>
                  <a:cubicBezTo>
                    <a:pt x="25" y="35"/>
                    <a:pt x="26" y="36"/>
                    <a:pt x="26" y="39"/>
                  </a:cubicBezTo>
                  <a:cubicBezTo>
                    <a:pt x="26" y="41"/>
                    <a:pt x="25" y="43"/>
                    <a:pt x="22" y="43"/>
                  </a:cubicBezTo>
                  <a:cubicBezTo>
                    <a:pt x="20" y="43"/>
                    <a:pt x="18" y="41"/>
                    <a:pt x="18" y="39"/>
                  </a:cubicBezTo>
                  <a:close/>
                  <a:moveTo>
                    <a:pt x="51" y="71"/>
                  </a:moveTo>
                  <a:cubicBezTo>
                    <a:pt x="51" y="69"/>
                    <a:pt x="53" y="67"/>
                    <a:pt x="55" y="67"/>
                  </a:cubicBezTo>
                  <a:cubicBezTo>
                    <a:pt x="57" y="67"/>
                    <a:pt x="59" y="69"/>
                    <a:pt x="59" y="71"/>
                  </a:cubicBezTo>
                  <a:cubicBezTo>
                    <a:pt x="59" y="73"/>
                    <a:pt x="57" y="75"/>
                    <a:pt x="55" y="75"/>
                  </a:cubicBezTo>
                  <a:cubicBezTo>
                    <a:pt x="53" y="75"/>
                    <a:pt x="51" y="73"/>
                    <a:pt x="51" y="71"/>
                  </a:cubicBezTo>
                  <a:close/>
                  <a:moveTo>
                    <a:pt x="51" y="55"/>
                  </a:moveTo>
                  <a:cubicBezTo>
                    <a:pt x="51" y="53"/>
                    <a:pt x="53" y="51"/>
                    <a:pt x="55" y="51"/>
                  </a:cubicBezTo>
                  <a:cubicBezTo>
                    <a:pt x="57" y="51"/>
                    <a:pt x="59" y="53"/>
                    <a:pt x="59" y="55"/>
                  </a:cubicBezTo>
                  <a:cubicBezTo>
                    <a:pt x="59" y="57"/>
                    <a:pt x="57" y="59"/>
                    <a:pt x="55" y="59"/>
                  </a:cubicBezTo>
                  <a:cubicBezTo>
                    <a:pt x="53" y="59"/>
                    <a:pt x="51" y="57"/>
                    <a:pt x="51" y="55"/>
                  </a:cubicBezTo>
                  <a:close/>
                  <a:moveTo>
                    <a:pt x="51" y="39"/>
                  </a:moveTo>
                  <a:cubicBezTo>
                    <a:pt x="51" y="36"/>
                    <a:pt x="53" y="35"/>
                    <a:pt x="55" y="35"/>
                  </a:cubicBezTo>
                  <a:cubicBezTo>
                    <a:pt x="57" y="35"/>
                    <a:pt x="59" y="36"/>
                    <a:pt x="59" y="39"/>
                  </a:cubicBezTo>
                  <a:cubicBezTo>
                    <a:pt x="59" y="41"/>
                    <a:pt x="57" y="43"/>
                    <a:pt x="55" y="43"/>
                  </a:cubicBezTo>
                  <a:cubicBezTo>
                    <a:pt x="53" y="43"/>
                    <a:pt x="51" y="41"/>
                    <a:pt x="51" y="39"/>
                  </a:cubicBezTo>
                  <a:close/>
                  <a:moveTo>
                    <a:pt x="67" y="71"/>
                  </a:moveTo>
                  <a:cubicBezTo>
                    <a:pt x="67" y="69"/>
                    <a:pt x="69" y="67"/>
                    <a:pt x="71" y="67"/>
                  </a:cubicBezTo>
                  <a:cubicBezTo>
                    <a:pt x="73" y="67"/>
                    <a:pt x="75" y="69"/>
                    <a:pt x="75" y="71"/>
                  </a:cubicBezTo>
                  <a:cubicBezTo>
                    <a:pt x="75" y="73"/>
                    <a:pt x="73" y="75"/>
                    <a:pt x="71" y="75"/>
                  </a:cubicBezTo>
                  <a:cubicBezTo>
                    <a:pt x="69" y="75"/>
                    <a:pt x="67" y="73"/>
                    <a:pt x="67" y="71"/>
                  </a:cubicBezTo>
                  <a:close/>
                  <a:moveTo>
                    <a:pt x="67" y="55"/>
                  </a:moveTo>
                  <a:cubicBezTo>
                    <a:pt x="67" y="53"/>
                    <a:pt x="69" y="51"/>
                    <a:pt x="71" y="51"/>
                  </a:cubicBezTo>
                  <a:cubicBezTo>
                    <a:pt x="73" y="51"/>
                    <a:pt x="75" y="53"/>
                    <a:pt x="75" y="55"/>
                  </a:cubicBezTo>
                  <a:cubicBezTo>
                    <a:pt x="75" y="57"/>
                    <a:pt x="73" y="59"/>
                    <a:pt x="71" y="59"/>
                  </a:cubicBezTo>
                  <a:cubicBezTo>
                    <a:pt x="69" y="59"/>
                    <a:pt x="67" y="57"/>
                    <a:pt x="67" y="55"/>
                  </a:cubicBezTo>
                  <a:close/>
                  <a:moveTo>
                    <a:pt x="67" y="39"/>
                  </a:moveTo>
                  <a:cubicBezTo>
                    <a:pt x="67" y="36"/>
                    <a:pt x="69" y="35"/>
                    <a:pt x="71" y="35"/>
                  </a:cubicBezTo>
                  <a:cubicBezTo>
                    <a:pt x="73" y="35"/>
                    <a:pt x="75" y="36"/>
                    <a:pt x="75" y="39"/>
                  </a:cubicBezTo>
                  <a:cubicBezTo>
                    <a:pt x="75" y="41"/>
                    <a:pt x="73" y="43"/>
                    <a:pt x="71" y="43"/>
                  </a:cubicBezTo>
                  <a:cubicBezTo>
                    <a:pt x="69" y="43"/>
                    <a:pt x="67" y="41"/>
                    <a:pt x="67" y="39"/>
                  </a:cubicBezTo>
                  <a:close/>
                  <a:moveTo>
                    <a:pt x="100" y="71"/>
                  </a:moveTo>
                  <a:cubicBezTo>
                    <a:pt x="100" y="69"/>
                    <a:pt x="101" y="67"/>
                    <a:pt x="104" y="67"/>
                  </a:cubicBezTo>
                  <a:cubicBezTo>
                    <a:pt x="106" y="67"/>
                    <a:pt x="108" y="69"/>
                    <a:pt x="108" y="71"/>
                  </a:cubicBezTo>
                  <a:cubicBezTo>
                    <a:pt x="108" y="73"/>
                    <a:pt x="106" y="75"/>
                    <a:pt x="104" y="75"/>
                  </a:cubicBezTo>
                  <a:cubicBezTo>
                    <a:pt x="101" y="75"/>
                    <a:pt x="100" y="73"/>
                    <a:pt x="100" y="71"/>
                  </a:cubicBezTo>
                  <a:close/>
                  <a:moveTo>
                    <a:pt x="100" y="55"/>
                  </a:moveTo>
                  <a:cubicBezTo>
                    <a:pt x="100" y="53"/>
                    <a:pt x="101" y="51"/>
                    <a:pt x="104" y="51"/>
                  </a:cubicBezTo>
                  <a:cubicBezTo>
                    <a:pt x="106" y="51"/>
                    <a:pt x="108" y="53"/>
                    <a:pt x="108" y="55"/>
                  </a:cubicBezTo>
                  <a:cubicBezTo>
                    <a:pt x="108" y="57"/>
                    <a:pt x="106" y="59"/>
                    <a:pt x="104" y="59"/>
                  </a:cubicBezTo>
                  <a:cubicBezTo>
                    <a:pt x="101" y="59"/>
                    <a:pt x="100" y="57"/>
                    <a:pt x="100" y="55"/>
                  </a:cubicBezTo>
                  <a:close/>
                  <a:moveTo>
                    <a:pt x="100" y="39"/>
                  </a:moveTo>
                  <a:cubicBezTo>
                    <a:pt x="100" y="36"/>
                    <a:pt x="101" y="35"/>
                    <a:pt x="104" y="35"/>
                  </a:cubicBezTo>
                  <a:cubicBezTo>
                    <a:pt x="106" y="35"/>
                    <a:pt x="108" y="36"/>
                    <a:pt x="108" y="39"/>
                  </a:cubicBezTo>
                  <a:cubicBezTo>
                    <a:pt x="108" y="41"/>
                    <a:pt x="106" y="43"/>
                    <a:pt x="104" y="43"/>
                  </a:cubicBezTo>
                  <a:cubicBezTo>
                    <a:pt x="101" y="43"/>
                    <a:pt x="100" y="41"/>
                    <a:pt x="100" y="39"/>
                  </a:cubicBezTo>
                  <a:close/>
                  <a:moveTo>
                    <a:pt x="51" y="22"/>
                  </a:moveTo>
                  <a:cubicBezTo>
                    <a:pt x="51" y="20"/>
                    <a:pt x="53" y="18"/>
                    <a:pt x="55" y="18"/>
                  </a:cubicBezTo>
                  <a:cubicBezTo>
                    <a:pt x="57" y="18"/>
                    <a:pt x="59" y="20"/>
                    <a:pt x="59" y="22"/>
                  </a:cubicBezTo>
                  <a:cubicBezTo>
                    <a:pt x="59" y="25"/>
                    <a:pt x="57" y="26"/>
                    <a:pt x="55" y="26"/>
                  </a:cubicBezTo>
                  <a:cubicBezTo>
                    <a:pt x="53" y="26"/>
                    <a:pt x="51" y="25"/>
                    <a:pt x="51" y="22"/>
                  </a:cubicBezTo>
                  <a:close/>
                  <a:moveTo>
                    <a:pt x="67" y="22"/>
                  </a:moveTo>
                  <a:cubicBezTo>
                    <a:pt x="67" y="20"/>
                    <a:pt x="69" y="18"/>
                    <a:pt x="71" y="18"/>
                  </a:cubicBezTo>
                  <a:cubicBezTo>
                    <a:pt x="73" y="18"/>
                    <a:pt x="75" y="20"/>
                    <a:pt x="75" y="22"/>
                  </a:cubicBezTo>
                  <a:cubicBezTo>
                    <a:pt x="75" y="25"/>
                    <a:pt x="73" y="26"/>
                    <a:pt x="71" y="26"/>
                  </a:cubicBezTo>
                  <a:cubicBezTo>
                    <a:pt x="69" y="26"/>
                    <a:pt x="67" y="25"/>
                    <a:pt x="6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5" name="Freeform 5"/>
          <p:cNvSpPr>
            <a:spLocks noChangeAspect="1" noEditPoints="1"/>
          </p:cNvSpPr>
          <p:nvPr/>
        </p:nvSpPr>
        <p:spPr bwMode="auto">
          <a:xfrm>
            <a:off x="7398394" y="2051054"/>
            <a:ext cx="369021" cy="369021"/>
          </a:xfrm>
          <a:custGeom>
            <a:avLst/>
            <a:gdLst>
              <a:gd name="T0" fmla="*/ 138 w 512"/>
              <a:gd name="T1" fmla="*/ 277 h 512"/>
              <a:gd name="T2" fmla="*/ 202 w 512"/>
              <a:gd name="T3" fmla="*/ 277 h 512"/>
              <a:gd name="T4" fmla="*/ 394 w 512"/>
              <a:gd name="T5" fmla="*/ 160 h 512"/>
              <a:gd name="T6" fmla="*/ 362 w 512"/>
              <a:gd name="T7" fmla="*/ 181 h 512"/>
              <a:gd name="T8" fmla="*/ 352 w 512"/>
              <a:gd name="T9" fmla="*/ 192 h 512"/>
              <a:gd name="T10" fmla="*/ 373 w 512"/>
              <a:gd name="T11" fmla="*/ 234 h 512"/>
              <a:gd name="T12" fmla="*/ 362 w 512"/>
              <a:gd name="T13" fmla="*/ 224 h 512"/>
              <a:gd name="T14" fmla="*/ 362 w 512"/>
              <a:gd name="T15" fmla="*/ 288 h 512"/>
              <a:gd name="T16" fmla="*/ 362 w 512"/>
              <a:gd name="T17" fmla="*/ 309 h 512"/>
              <a:gd name="T18" fmla="*/ 352 w 512"/>
              <a:gd name="T19" fmla="*/ 320 h 512"/>
              <a:gd name="T20" fmla="*/ 330 w 512"/>
              <a:gd name="T21" fmla="*/ 192 h 512"/>
              <a:gd name="T22" fmla="*/ 320 w 512"/>
              <a:gd name="T23" fmla="*/ 181 h 512"/>
              <a:gd name="T24" fmla="*/ 320 w 512"/>
              <a:gd name="T25" fmla="*/ 245 h 512"/>
              <a:gd name="T26" fmla="*/ 320 w 512"/>
              <a:gd name="T27" fmla="*/ 266 h 512"/>
              <a:gd name="T28" fmla="*/ 309 w 512"/>
              <a:gd name="T29" fmla="*/ 277 h 512"/>
              <a:gd name="T30" fmla="*/ 330 w 512"/>
              <a:gd name="T31" fmla="*/ 320 h 512"/>
              <a:gd name="T32" fmla="*/ 320 w 512"/>
              <a:gd name="T33" fmla="*/ 309 h 512"/>
              <a:gd name="T34" fmla="*/ 277 w 512"/>
              <a:gd name="T35" fmla="*/ 202 h 512"/>
              <a:gd name="T36" fmla="*/ 277 w 512"/>
              <a:gd name="T37" fmla="*/ 224 h 512"/>
              <a:gd name="T38" fmla="*/ 266 w 512"/>
              <a:gd name="T39" fmla="*/ 234 h 512"/>
              <a:gd name="T40" fmla="*/ 288 w 512"/>
              <a:gd name="T41" fmla="*/ 277 h 512"/>
              <a:gd name="T42" fmla="*/ 277 w 512"/>
              <a:gd name="T43" fmla="*/ 266 h 512"/>
              <a:gd name="T44" fmla="*/ 277 w 512"/>
              <a:gd name="T45" fmla="*/ 330 h 512"/>
              <a:gd name="T46" fmla="*/ 234 w 512"/>
              <a:gd name="T47" fmla="*/ 181 h 512"/>
              <a:gd name="T48" fmla="*/ 224 w 512"/>
              <a:gd name="T49" fmla="*/ 192 h 512"/>
              <a:gd name="T50" fmla="*/ 245 w 512"/>
              <a:gd name="T51" fmla="*/ 234 h 512"/>
              <a:gd name="T52" fmla="*/ 234 w 512"/>
              <a:gd name="T53" fmla="*/ 224 h 512"/>
              <a:gd name="T54" fmla="*/ 234 w 512"/>
              <a:gd name="T55" fmla="*/ 288 h 512"/>
              <a:gd name="T56" fmla="*/ 234 w 512"/>
              <a:gd name="T57" fmla="*/ 309 h 512"/>
              <a:gd name="T58" fmla="*/ 224 w 512"/>
              <a:gd name="T59" fmla="*/ 320 h 512"/>
              <a:gd name="T60" fmla="*/ 202 w 512"/>
              <a:gd name="T61" fmla="*/ 192 h 512"/>
              <a:gd name="T62" fmla="*/ 192 w 512"/>
              <a:gd name="T63" fmla="*/ 181 h 512"/>
              <a:gd name="T64" fmla="*/ 192 w 512"/>
              <a:gd name="T65" fmla="*/ 245 h 512"/>
              <a:gd name="T66" fmla="*/ 149 w 512"/>
              <a:gd name="T67" fmla="*/ 181 h 512"/>
              <a:gd name="T68" fmla="*/ 138 w 512"/>
              <a:gd name="T69" fmla="*/ 192 h 512"/>
              <a:gd name="T70" fmla="*/ 160 w 512"/>
              <a:gd name="T71" fmla="*/ 234 h 512"/>
              <a:gd name="T72" fmla="*/ 149 w 512"/>
              <a:gd name="T73" fmla="*/ 224 h 512"/>
              <a:gd name="T74" fmla="*/ 256 w 512"/>
              <a:gd name="T75" fmla="*/ 512 h 512"/>
              <a:gd name="T76" fmla="*/ 416 w 512"/>
              <a:gd name="T77" fmla="*/ 362 h 512"/>
              <a:gd name="T78" fmla="*/ 96 w 512"/>
              <a:gd name="T79" fmla="*/ 362 h 512"/>
              <a:gd name="T80" fmla="*/ 405 w 512"/>
              <a:gd name="T81" fmla="*/ 138 h 512"/>
              <a:gd name="T82" fmla="*/ 160 w 512"/>
              <a:gd name="T83" fmla="*/ 288 h 512"/>
              <a:gd name="T84" fmla="*/ 160 w 512"/>
              <a:gd name="T85" fmla="*/ 35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2" h="512">
                <a:moveTo>
                  <a:pt x="117" y="352"/>
                </a:moveTo>
                <a:cubicBezTo>
                  <a:pt x="138" y="352"/>
                  <a:pt x="138" y="352"/>
                  <a:pt x="138" y="352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38" y="271"/>
                  <a:pt x="143" y="266"/>
                  <a:pt x="149" y="266"/>
                </a:cubicBezTo>
                <a:cubicBezTo>
                  <a:pt x="192" y="266"/>
                  <a:pt x="192" y="266"/>
                  <a:pt x="192" y="266"/>
                </a:cubicBezTo>
                <a:cubicBezTo>
                  <a:pt x="198" y="266"/>
                  <a:pt x="202" y="271"/>
                  <a:pt x="202" y="277"/>
                </a:cubicBezTo>
                <a:cubicBezTo>
                  <a:pt x="202" y="352"/>
                  <a:pt x="202" y="352"/>
                  <a:pt x="202" y="352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52"/>
                </a:lnTo>
                <a:close/>
                <a:moveTo>
                  <a:pt x="362" y="181"/>
                </a:moveTo>
                <a:cubicBezTo>
                  <a:pt x="368" y="181"/>
                  <a:pt x="373" y="186"/>
                  <a:pt x="373" y="192"/>
                </a:cubicBezTo>
                <a:cubicBezTo>
                  <a:pt x="373" y="198"/>
                  <a:pt x="368" y="202"/>
                  <a:pt x="362" y="202"/>
                </a:cubicBezTo>
                <a:cubicBezTo>
                  <a:pt x="356" y="202"/>
                  <a:pt x="352" y="198"/>
                  <a:pt x="352" y="192"/>
                </a:cubicBezTo>
                <a:cubicBezTo>
                  <a:pt x="352" y="186"/>
                  <a:pt x="356" y="181"/>
                  <a:pt x="362" y="181"/>
                </a:cubicBezTo>
                <a:close/>
                <a:moveTo>
                  <a:pt x="362" y="224"/>
                </a:moveTo>
                <a:cubicBezTo>
                  <a:pt x="368" y="224"/>
                  <a:pt x="373" y="228"/>
                  <a:pt x="373" y="234"/>
                </a:cubicBezTo>
                <a:cubicBezTo>
                  <a:pt x="373" y="240"/>
                  <a:pt x="368" y="245"/>
                  <a:pt x="362" y="245"/>
                </a:cubicBezTo>
                <a:cubicBezTo>
                  <a:pt x="356" y="245"/>
                  <a:pt x="352" y="240"/>
                  <a:pt x="352" y="234"/>
                </a:cubicBezTo>
                <a:cubicBezTo>
                  <a:pt x="352" y="228"/>
                  <a:pt x="356" y="224"/>
                  <a:pt x="362" y="224"/>
                </a:cubicBezTo>
                <a:close/>
                <a:moveTo>
                  <a:pt x="362" y="266"/>
                </a:moveTo>
                <a:cubicBezTo>
                  <a:pt x="368" y="266"/>
                  <a:pt x="373" y="271"/>
                  <a:pt x="373" y="277"/>
                </a:cubicBezTo>
                <a:cubicBezTo>
                  <a:pt x="373" y="283"/>
                  <a:pt x="368" y="288"/>
                  <a:pt x="362" y="288"/>
                </a:cubicBezTo>
                <a:cubicBezTo>
                  <a:pt x="356" y="288"/>
                  <a:pt x="352" y="283"/>
                  <a:pt x="352" y="277"/>
                </a:cubicBezTo>
                <a:cubicBezTo>
                  <a:pt x="352" y="271"/>
                  <a:pt x="356" y="266"/>
                  <a:pt x="362" y="266"/>
                </a:cubicBezTo>
                <a:close/>
                <a:moveTo>
                  <a:pt x="362" y="309"/>
                </a:moveTo>
                <a:cubicBezTo>
                  <a:pt x="368" y="309"/>
                  <a:pt x="373" y="314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cubicBezTo>
                  <a:pt x="352" y="314"/>
                  <a:pt x="356" y="309"/>
                  <a:pt x="362" y="309"/>
                </a:cubicBezTo>
                <a:close/>
                <a:moveTo>
                  <a:pt x="320" y="181"/>
                </a:moveTo>
                <a:cubicBezTo>
                  <a:pt x="326" y="181"/>
                  <a:pt x="330" y="186"/>
                  <a:pt x="330" y="192"/>
                </a:cubicBezTo>
                <a:cubicBezTo>
                  <a:pt x="330" y="198"/>
                  <a:pt x="326" y="202"/>
                  <a:pt x="320" y="202"/>
                </a:cubicBezTo>
                <a:cubicBezTo>
                  <a:pt x="314" y="202"/>
                  <a:pt x="309" y="198"/>
                  <a:pt x="309" y="192"/>
                </a:cubicBezTo>
                <a:cubicBezTo>
                  <a:pt x="309" y="186"/>
                  <a:pt x="314" y="181"/>
                  <a:pt x="320" y="181"/>
                </a:cubicBezTo>
                <a:close/>
                <a:moveTo>
                  <a:pt x="320" y="224"/>
                </a:moveTo>
                <a:cubicBezTo>
                  <a:pt x="326" y="224"/>
                  <a:pt x="330" y="228"/>
                  <a:pt x="330" y="234"/>
                </a:cubicBezTo>
                <a:cubicBezTo>
                  <a:pt x="330" y="240"/>
                  <a:pt x="326" y="245"/>
                  <a:pt x="320" y="245"/>
                </a:cubicBezTo>
                <a:cubicBezTo>
                  <a:pt x="314" y="245"/>
                  <a:pt x="309" y="240"/>
                  <a:pt x="309" y="234"/>
                </a:cubicBezTo>
                <a:cubicBezTo>
                  <a:pt x="309" y="228"/>
                  <a:pt x="314" y="224"/>
                  <a:pt x="320" y="224"/>
                </a:cubicBezTo>
                <a:close/>
                <a:moveTo>
                  <a:pt x="320" y="266"/>
                </a:moveTo>
                <a:cubicBezTo>
                  <a:pt x="326" y="266"/>
                  <a:pt x="330" y="271"/>
                  <a:pt x="330" y="277"/>
                </a:cubicBezTo>
                <a:cubicBezTo>
                  <a:pt x="330" y="283"/>
                  <a:pt x="326" y="288"/>
                  <a:pt x="320" y="288"/>
                </a:cubicBezTo>
                <a:cubicBezTo>
                  <a:pt x="314" y="288"/>
                  <a:pt x="309" y="283"/>
                  <a:pt x="309" y="277"/>
                </a:cubicBezTo>
                <a:cubicBezTo>
                  <a:pt x="309" y="271"/>
                  <a:pt x="314" y="266"/>
                  <a:pt x="320" y="266"/>
                </a:cubicBezTo>
                <a:close/>
                <a:moveTo>
                  <a:pt x="320" y="309"/>
                </a:moveTo>
                <a:cubicBezTo>
                  <a:pt x="326" y="309"/>
                  <a:pt x="330" y="314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cubicBezTo>
                  <a:pt x="309" y="314"/>
                  <a:pt x="314" y="309"/>
                  <a:pt x="320" y="309"/>
                </a:cubicBezTo>
                <a:close/>
                <a:moveTo>
                  <a:pt x="277" y="181"/>
                </a:moveTo>
                <a:cubicBezTo>
                  <a:pt x="283" y="181"/>
                  <a:pt x="288" y="186"/>
                  <a:pt x="288" y="192"/>
                </a:cubicBezTo>
                <a:cubicBezTo>
                  <a:pt x="288" y="198"/>
                  <a:pt x="283" y="202"/>
                  <a:pt x="277" y="202"/>
                </a:cubicBezTo>
                <a:cubicBezTo>
                  <a:pt x="271" y="202"/>
                  <a:pt x="266" y="198"/>
                  <a:pt x="266" y="192"/>
                </a:cubicBezTo>
                <a:cubicBezTo>
                  <a:pt x="266" y="186"/>
                  <a:pt x="271" y="181"/>
                  <a:pt x="277" y="181"/>
                </a:cubicBezTo>
                <a:close/>
                <a:moveTo>
                  <a:pt x="277" y="224"/>
                </a:moveTo>
                <a:cubicBezTo>
                  <a:pt x="283" y="224"/>
                  <a:pt x="288" y="228"/>
                  <a:pt x="288" y="234"/>
                </a:cubicBezTo>
                <a:cubicBezTo>
                  <a:pt x="288" y="240"/>
                  <a:pt x="283" y="245"/>
                  <a:pt x="277" y="245"/>
                </a:cubicBezTo>
                <a:cubicBezTo>
                  <a:pt x="271" y="245"/>
                  <a:pt x="266" y="240"/>
                  <a:pt x="266" y="234"/>
                </a:cubicBezTo>
                <a:cubicBezTo>
                  <a:pt x="266" y="228"/>
                  <a:pt x="271" y="224"/>
                  <a:pt x="277" y="224"/>
                </a:cubicBezTo>
                <a:close/>
                <a:moveTo>
                  <a:pt x="277" y="266"/>
                </a:moveTo>
                <a:cubicBezTo>
                  <a:pt x="283" y="266"/>
                  <a:pt x="288" y="271"/>
                  <a:pt x="288" y="277"/>
                </a:cubicBezTo>
                <a:cubicBezTo>
                  <a:pt x="288" y="283"/>
                  <a:pt x="283" y="288"/>
                  <a:pt x="277" y="288"/>
                </a:cubicBezTo>
                <a:cubicBezTo>
                  <a:pt x="271" y="288"/>
                  <a:pt x="266" y="283"/>
                  <a:pt x="266" y="277"/>
                </a:cubicBezTo>
                <a:cubicBezTo>
                  <a:pt x="266" y="271"/>
                  <a:pt x="271" y="266"/>
                  <a:pt x="277" y="266"/>
                </a:cubicBezTo>
                <a:close/>
                <a:moveTo>
                  <a:pt x="277" y="309"/>
                </a:moveTo>
                <a:cubicBezTo>
                  <a:pt x="283" y="309"/>
                  <a:pt x="288" y="314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71" y="330"/>
                  <a:pt x="266" y="326"/>
                  <a:pt x="266" y="320"/>
                </a:cubicBezTo>
                <a:cubicBezTo>
                  <a:pt x="266" y="314"/>
                  <a:pt x="271" y="309"/>
                  <a:pt x="277" y="309"/>
                </a:cubicBezTo>
                <a:close/>
                <a:moveTo>
                  <a:pt x="234" y="181"/>
                </a:moveTo>
                <a:cubicBezTo>
                  <a:pt x="240" y="181"/>
                  <a:pt x="245" y="186"/>
                  <a:pt x="245" y="192"/>
                </a:cubicBezTo>
                <a:cubicBezTo>
                  <a:pt x="245" y="198"/>
                  <a:pt x="240" y="202"/>
                  <a:pt x="234" y="202"/>
                </a:cubicBezTo>
                <a:cubicBezTo>
                  <a:pt x="228" y="202"/>
                  <a:pt x="224" y="198"/>
                  <a:pt x="224" y="192"/>
                </a:cubicBezTo>
                <a:cubicBezTo>
                  <a:pt x="224" y="186"/>
                  <a:pt x="228" y="181"/>
                  <a:pt x="234" y="181"/>
                </a:cubicBezTo>
                <a:close/>
                <a:moveTo>
                  <a:pt x="234" y="224"/>
                </a:moveTo>
                <a:cubicBezTo>
                  <a:pt x="240" y="224"/>
                  <a:pt x="245" y="228"/>
                  <a:pt x="245" y="234"/>
                </a:cubicBezTo>
                <a:cubicBezTo>
                  <a:pt x="245" y="240"/>
                  <a:pt x="240" y="245"/>
                  <a:pt x="234" y="245"/>
                </a:cubicBezTo>
                <a:cubicBezTo>
                  <a:pt x="228" y="245"/>
                  <a:pt x="224" y="240"/>
                  <a:pt x="224" y="234"/>
                </a:cubicBezTo>
                <a:cubicBezTo>
                  <a:pt x="224" y="228"/>
                  <a:pt x="228" y="224"/>
                  <a:pt x="234" y="224"/>
                </a:cubicBezTo>
                <a:close/>
                <a:moveTo>
                  <a:pt x="234" y="266"/>
                </a:moveTo>
                <a:cubicBezTo>
                  <a:pt x="240" y="266"/>
                  <a:pt x="245" y="271"/>
                  <a:pt x="245" y="277"/>
                </a:cubicBezTo>
                <a:cubicBezTo>
                  <a:pt x="245" y="283"/>
                  <a:pt x="240" y="288"/>
                  <a:pt x="234" y="288"/>
                </a:cubicBezTo>
                <a:cubicBezTo>
                  <a:pt x="228" y="288"/>
                  <a:pt x="224" y="283"/>
                  <a:pt x="224" y="277"/>
                </a:cubicBezTo>
                <a:cubicBezTo>
                  <a:pt x="224" y="271"/>
                  <a:pt x="228" y="266"/>
                  <a:pt x="234" y="266"/>
                </a:cubicBezTo>
                <a:close/>
                <a:moveTo>
                  <a:pt x="234" y="309"/>
                </a:moveTo>
                <a:cubicBezTo>
                  <a:pt x="240" y="309"/>
                  <a:pt x="245" y="314"/>
                  <a:pt x="245" y="320"/>
                </a:cubicBezTo>
                <a:cubicBezTo>
                  <a:pt x="245" y="326"/>
                  <a:pt x="240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cubicBezTo>
                  <a:pt x="224" y="314"/>
                  <a:pt x="228" y="309"/>
                  <a:pt x="234" y="309"/>
                </a:cubicBezTo>
                <a:close/>
                <a:moveTo>
                  <a:pt x="192" y="181"/>
                </a:moveTo>
                <a:cubicBezTo>
                  <a:pt x="198" y="181"/>
                  <a:pt x="202" y="186"/>
                  <a:pt x="202" y="192"/>
                </a:cubicBezTo>
                <a:cubicBezTo>
                  <a:pt x="202" y="198"/>
                  <a:pt x="198" y="202"/>
                  <a:pt x="192" y="202"/>
                </a:cubicBezTo>
                <a:cubicBezTo>
                  <a:pt x="186" y="202"/>
                  <a:pt x="181" y="198"/>
                  <a:pt x="181" y="192"/>
                </a:cubicBezTo>
                <a:cubicBezTo>
                  <a:pt x="181" y="186"/>
                  <a:pt x="186" y="181"/>
                  <a:pt x="192" y="181"/>
                </a:cubicBezTo>
                <a:close/>
                <a:moveTo>
                  <a:pt x="192" y="224"/>
                </a:moveTo>
                <a:cubicBezTo>
                  <a:pt x="198" y="224"/>
                  <a:pt x="202" y="228"/>
                  <a:pt x="202" y="234"/>
                </a:cubicBezTo>
                <a:cubicBezTo>
                  <a:pt x="202" y="240"/>
                  <a:pt x="198" y="245"/>
                  <a:pt x="192" y="245"/>
                </a:cubicBezTo>
                <a:cubicBezTo>
                  <a:pt x="186" y="245"/>
                  <a:pt x="181" y="240"/>
                  <a:pt x="181" y="234"/>
                </a:cubicBezTo>
                <a:cubicBezTo>
                  <a:pt x="181" y="228"/>
                  <a:pt x="186" y="224"/>
                  <a:pt x="192" y="224"/>
                </a:cubicBezTo>
                <a:close/>
                <a:moveTo>
                  <a:pt x="149" y="181"/>
                </a:moveTo>
                <a:cubicBezTo>
                  <a:pt x="155" y="181"/>
                  <a:pt x="160" y="186"/>
                  <a:pt x="160" y="192"/>
                </a:cubicBezTo>
                <a:cubicBezTo>
                  <a:pt x="160" y="198"/>
                  <a:pt x="155" y="202"/>
                  <a:pt x="149" y="202"/>
                </a:cubicBezTo>
                <a:cubicBezTo>
                  <a:pt x="143" y="202"/>
                  <a:pt x="138" y="198"/>
                  <a:pt x="138" y="192"/>
                </a:cubicBezTo>
                <a:cubicBezTo>
                  <a:pt x="138" y="186"/>
                  <a:pt x="143" y="181"/>
                  <a:pt x="149" y="181"/>
                </a:cubicBezTo>
                <a:close/>
                <a:moveTo>
                  <a:pt x="149" y="224"/>
                </a:moveTo>
                <a:cubicBezTo>
                  <a:pt x="155" y="224"/>
                  <a:pt x="160" y="228"/>
                  <a:pt x="160" y="234"/>
                </a:cubicBezTo>
                <a:cubicBezTo>
                  <a:pt x="160" y="240"/>
                  <a:pt x="155" y="245"/>
                  <a:pt x="149" y="245"/>
                </a:cubicBezTo>
                <a:cubicBezTo>
                  <a:pt x="143" y="245"/>
                  <a:pt x="138" y="240"/>
                  <a:pt x="138" y="234"/>
                </a:cubicBezTo>
                <a:cubicBezTo>
                  <a:pt x="138" y="228"/>
                  <a:pt x="143" y="224"/>
                  <a:pt x="149" y="22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62"/>
                </a:moveTo>
                <a:cubicBezTo>
                  <a:pt x="416" y="368"/>
                  <a:pt x="411" y="373"/>
                  <a:pt x="405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62"/>
                </a:lnTo>
                <a:close/>
                <a:moveTo>
                  <a:pt x="160" y="288"/>
                </a:moveTo>
                <a:cubicBezTo>
                  <a:pt x="181" y="288"/>
                  <a:pt x="181" y="288"/>
                  <a:pt x="181" y="288"/>
                </a:cubicBezTo>
                <a:cubicBezTo>
                  <a:pt x="181" y="352"/>
                  <a:pt x="181" y="352"/>
                  <a:pt x="181" y="352"/>
                </a:cubicBezTo>
                <a:cubicBezTo>
                  <a:pt x="160" y="352"/>
                  <a:pt x="160" y="352"/>
                  <a:pt x="160" y="352"/>
                </a:cubicBezTo>
                <a:lnTo>
                  <a:pt x="160" y="2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16" name="Group 8"/>
          <p:cNvGrpSpPr>
            <a:grpSpLocks noChangeAspect="1"/>
          </p:cNvGrpSpPr>
          <p:nvPr/>
        </p:nvGrpSpPr>
        <p:grpSpPr bwMode="auto">
          <a:xfrm>
            <a:off x="7896461" y="2051054"/>
            <a:ext cx="370106" cy="369021"/>
            <a:chOff x="407" y="-13"/>
            <a:chExt cx="341" cy="340"/>
          </a:xfrm>
          <a:solidFill>
            <a:schemeClr val="accent1"/>
          </a:solidFill>
        </p:grpSpPr>
        <p:sp>
          <p:nvSpPr>
            <p:cNvPr id="317" name="Freeform 9"/>
            <p:cNvSpPr>
              <a:spLocks noEditPoints="1"/>
            </p:cNvSpPr>
            <p:nvPr/>
          </p:nvSpPr>
          <p:spPr bwMode="auto">
            <a:xfrm>
              <a:off x="407" y="-1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10"/>
            <p:cNvSpPr>
              <a:spLocks noEditPoints="1"/>
            </p:cNvSpPr>
            <p:nvPr/>
          </p:nvSpPr>
          <p:spPr bwMode="auto">
            <a:xfrm>
              <a:off x="471" y="79"/>
              <a:ext cx="213" cy="156"/>
            </a:xfrm>
            <a:custGeom>
              <a:avLst/>
              <a:gdLst>
                <a:gd name="T0" fmla="*/ 10 w 320"/>
                <a:gd name="T1" fmla="*/ 0 h 235"/>
                <a:gd name="T2" fmla="*/ 0 w 320"/>
                <a:gd name="T3" fmla="*/ 224 h 235"/>
                <a:gd name="T4" fmla="*/ 309 w 320"/>
                <a:gd name="T5" fmla="*/ 235 h 235"/>
                <a:gd name="T6" fmla="*/ 320 w 320"/>
                <a:gd name="T7" fmla="*/ 11 h 235"/>
                <a:gd name="T8" fmla="*/ 85 w 320"/>
                <a:gd name="T9" fmla="*/ 214 h 235"/>
                <a:gd name="T10" fmla="*/ 64 w 320"/>
                <a:gd name="T11" fmla="*/ 150 h 235"/>
                <a:gd name="T12" fmla="*/ 85 w 320"/>
                <a:gd name="T13" fmla="*/ 214 h 235"/>
                <a:gd name="T14" fmla="*/ 106 w 320"/>
                <a:gd name="T15" fmla="*/ 214 h 235"/>
                <a:gd name="T16" fmla="*/ 96 w 320"/>
                <a:gd name="T17" fmla="*/ 128 h 235"/>
                <a:gd name="T18" fmla="*/ 42 w 320"/>
                <a:gd name="T19" fmla="*/ 139 h 235"/>
                <a:gd name="T20" fmla="*/ 21 w 320"/>
                <a:gd name="T21" fmla="*/ 214 h 235"/>
                <a:gd name="T22" fmla="*/ 298 w 320"/>
                <a:gd name="T23" fmla="*/ 22 h 235"/>
                <a:gd name="T24" fmla="*/ 42 w 320"/>
                <a:gd name="T25" fmla="*/ 96 h 235"/>
                <a:gd name="T26" fmla="*/ 64 w 320"/>
                <a:gd name="T27" fmla="*/ 96 h 235"/>
                <a:gd name="T28" fmla="*/ 42 w 320"/>
                <a:gd name="T29" fmla="*/ 96 h 235"/>
                <a:gd name="T30" fmla="*/ 53 w 320"/>
                <a:gd name="T31" fmla="*/ 43 h 235"/>
                <a:gd name="T32" fmla="*/ 53 w 320"/>
                <a:gd name="T33" fmla="*/ 64 h 235"/>
                <a:gd name="T34" fmla="*/ 85 w 320"/>
                <a:gd name="T35" fmla="*/ 96 h 235"/>
                <a:gd name="T36" fmla="*/ 106 w 320"/>
                <a:gd name="T37" fmla="*/ 96 h 235"/>
                <a:gd name="T38" fmla="*/ 85 w 320"/>
                <a:gd name="T39" fmla="*/ 96 h 235"/>
                <a:gd name="T40" fmla="*/ 96 w 320"/>
                <a:gd name="T41" fmla="*/ 43 h 235"/>
                <a:gd name="T42" fmla="*/ 96 w 320"/>
                <a:gd name="T43" fmla="*/ 64 h 235"/>
                <a:gd name="T44" fmla="*/ 128 w 320"/>
                <a:gd name="T45" fmla="*/ 96 h 235"/>
                <a:gd name="T46" fmla="*/ 149 w 320"/>
                <a:gd name="T47" fmla="*/ 96 h 235"/>
                <a:gd name="T48" fmla="*/ 128 w 320"/>
                <a:gd name="T49" fmla="*/ 96 h 235"/>
                <a:gd name="T50" fmla="*/ 138 w 320"/>
                <a:gd name="T51" fmla="*/ 43 h 235"/>
                <a:gd name="T52" fmla="*/ 138 w 320"/>
                <a:gd name="T53" fmla="*/ 64 h 235"/>
                <a:gd name="T54" fmla="*/ 170 w 320"/>
                <a:gd name="T55" fmla="*/ 96 h 235"/>
                <a:gd name="T56" fmla="*/ 192 w 320"/>
                <a:gd name="T57" fmla="*/ 96 h 235"/>
                <a:gd name="T58" fmla="*/ 170 w 320"/>
                <a:gd name="T59" fmla="*/ 96 h 235"/>
                <a:gd name="T60" fmla="*/ 181 w 320"/>
                <a:gd name="T61" fmla="*/ 43 h 235"/>
                <a:gd name="T62" fmla="*/ 181 w 320"/>
                <a:gd name="T63" fmla="*/ 64 h 235"/>
                <a:gd name="T64" fmla="*/ 213 w 320"/>
                <a:gd name="T65" fmla="*/ 96 h 235"/>
                <a:gd name="T66" fmla="*/ 234 w 320"/>
                <a:gd name="T67" fmla="*/ 96 h 235"/>
                <a:gd name="T68" fmla="*/ 213 w 320"/>
                <a:gd name="T69" fmla="*/ 96 h 235"/>
                <a:gd name="T70" fmla="*/ 224 w 320"/>
                <a:gd name="T71" fmla="*/ 43 h 235"/>
                <a:gd name="T72" fmla="*/ 224 w 320"/>
                <a:gd name="T73" fmla="*/ 64 h 235"/>
                <a:gd name="T74" fmla="*/ 256 w 320"/>
                <a:gd name="T75" fmla="*/ 96 h 235"/>
                <a:gd name="T76" fmla="*/ 277 w 320"/>
                <a:gd name="T77" fmla="*/ 96 h 235"/>
                <a:gd name="T78" fmla="*/ 256 w 320"/>
                <a:gd name="T79" fmla="*/ 96 h 235"/>
                <a:gd name="T80" fmla="*/ 138 w 320"/>
                <a:gd name="T81" fmla="*/ 128 h 235"/>
                <a:gd name="T82" fmla="*/ 138 w 320"/>
                <a:gd name="T83" fmla="*/ 150 h 235"/>
                <a:gd name="T84" fmla="*/ 170 w 320"/>
                <a:gd name="T85" fmla="*/ 139 h 235"/>
                <a:gd name="T86" fmla="*/ 192 w 320"/>
                <a:gd name="T87" fmla="*/ 139 h 235"/>
                <a:gd name="T88" fmla="*/ 170 w 320"/>
                <a:gd name="T89" fmla="*/ 139 h 235"/>
                <a:gd name="T90" fmla="*/ 224 w 320"/>
                <a:gd name="T91" fmla="*/ 128 h 235"/>
                <a:gd name="T92" fmla="*/ 224 w 320"/>
                <a:gd name="T93" fmla="*/ 150 h 235"/>
                <a:gd name="T94" fmla="*/ 256 w 320"/>
                <a:gd name="T95" fmla="*/ 139 h 235"/>
                <a:gd name="T96" fmla="*/ 277 w 320"/>
                <a:gd name="T97" fmla="*/ 139 h 235"/>
                <a:gd name="T98" fmla="*/ 256 w 320"/>
                <a:gd name="T99" fmla="*/ 139 h 235"/>
                <a:gd name="T100" fmla="*/ 138 w 320"/>
                <a:gd name="T101" fmla="*/ 171 h 235"/>
                <a:gd name="T102" fmla="*/ 138 w 320"/>
                <a:gd name="T103" fmla="*/ 192 h 235"/>
                <a:gd name="T104" fmla="*/ 170 w 320"/>
                <a:gd name="T105" fmla="*/ 182 h 235"/>
                <a:gd name="T106" fmla="*/ 192 w 320"/>
                <a:gd name="T107" fmla="*/ 182 h 235"/>
                <a:gd name="T108" fmla="*/ 170 w 320"/>
                <a:gd name="T109" fmla="*/ 182 h 235"/>
                <a:gd name="T110" fmla="*/ 224 w 320"/>
                <a:gd name="T111" fmla="*/ 171 h 235"/>
                <a:gd name="T112" fmla="*/ 224 w 320"/>
                <a:gd name="T113" fmla="*/ 192 h 235"/>
                <a:gd name="T114" fmla="*/ 256 w 320"/>
                <a:gd name="T115" fmla="*/ 182 h 235"/>
                <a:gd name="T116" fmla="*/ 277 w 320"/>
                <a:gd name="T117" fmla="*/ 182 h 235"/>
                <a:gd name="T118" fmla="*/ 256 w 320"/>
                <a:gd name="T119" fmla="*/ 182 h 235"/>
                <a:gd name="T120" fmla="*/ 266 w 320"/>
                <a:gd name="T121" fmla="*/ 43 h 235"/>
                <a:gd name="T122" fmla="*/ 266 w 320"/>
                <a:gd name="T123" fmla="*/ 6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85" y="214"/>
                  </a:moveTo>
                  <a:cubicBezTo>
                    <a:pt x="64" y="214"/>
                    <a:pt x="64" y="214"/>
                    <a:pt x="64" y="214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85" y="150"/>
                    <a:pt x="85" y="150"/>
                    <a:pt x="85" y="150"/>
                  </a:cubicBezTo>
                  <a:lnTo>
                    <a:pt x="85" y="214"/>
                  </a:lnTo>
                  <a:close/>
                  <a:moveTo>
                    <a:pt x="298" y="214"/>
                  </a:moveTo>
                  <a:cubicBezTo>
                    <a:pt x="106" y="214"/>
                    <a:pt x="106" y="214"/>
                    <a:pt x="106" y="214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6" y="133"/>
                    <a:pt x="102" y="128"/>
                    <a:pt x="96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47" y="128"/>
                    <a:pt x="42" y="133"/>
                    <a:pt x="42" y="139"/>
                  </a:cubicBezTo>
                  <a:cubicBezTo>
                    <a:pt x="42" y="214"/>
                    <a:pt x="42" y="214"/>
                    <a:pt x="42" y="214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214"/>
                  </a:lnTo>
                  <a:close/>
                  <a:moveTo>
                    <a:pt x="42" y="96"/>
                  </a:moveTo>
                  <a:cubicBezTo>
                    <a:pt x="42" y="90"/>
                    <a:pt x="47" y="86"/>
                    <a:pt x="53" y="86"/>
                  </a:cubicBezTo>
                  <a:cubicBezTo>
                    <a:pt x="59" y="86"/>
                    <a:pt x="64" y="90"/>
                    <a:pt x="64" y="96"/>
                  </a:cubicBezTo>
                  <a:cubicBezTo>
                    <a:pt x="64" y="102"/>
                    <a:pt x="59" y="107"/>
                    <a:pt x="53" y="107"/>
                  </a:cubicBezTo>
                  <a:cubicBezTo>
                    <a:pt x="47" y="107"/>
                    <a:pt x="42" y="102"/>
                    <a:pt x="42" y="96"/>
                  </a:cubicBezTo>
                  <a:close/>
                  <a:moveTo>
                    <a:pt x="42" y="54"/>
                  </a:moveTo>
                  <a:cubicBezTo>
                    <a:pt x="42" y="48"/>
                    <a:pt x="47" y="43"/>
                    <a:pt x="53" y="43"/>
                  </a:cubicBezTo>
                  <a:cubicBezTo>
                    <a:pt x="59" y="43"/>
                    <a:pt x="64" y="48"/>
                    <a:pt x="64" y="54"/>
                  </a:cubicBezTo>
                  <a:cubicBezTo>
                    <a:pt x="64" y="60"/>
                    <a:pt x="59" y="64"/>
                    <a:pt x="53" y="64"/>
                  </a:cubicBezTo>
                  <a:cubicBezTo>
                    <a:pt x="47" y="64"/>
                    <a:pt x="42" y="60"/>
                    <a:pt x="42" y="54"/>
                  </a:cubicBezTo>
                  <a:close/>
                  <a:moveTo>
                    <a:pt x="85" y="96"/>
                  </a:moveTo>
                  <a:cubicBezTo>
                    <a:pt x="85" y="90"/>
                    <a:pt x="90" y="86"/>
                    <a:pt x="96" y="86"/>
                  </a:cubicBezTo>
                  <a:cubicBezTo>
                    <a:pt x="102" y="86"/>
                    <a:pt x="106" y="90"/>
                    <a:pt x="106" y="96"/>
                  </a:cubicBezTo>
                  <a:cubicBezTo>
                    <a:pt x="106" y="102"/>
                    <a:pt x="102" y="107"/>
                    <a:pt x="96" y="107"/>
                  </a:cubicBezTo>
                  <a:cubicBezTo>
                    <a:pt x="90" y="107"/>
                    <a:pt x="85" y="102"/>
                    <a:pt x="85" y="96"/>
                  </a:cubicBezTo>
                  <a:close/>
                  <a:moveTo>
                    <a:pt x="85" y="54"/>
                  </a:moveTo>
                  <a:cubicBezTo>
                    <a:pt x="85" y="48"/>
                    <a:pt x="90" y="43"/>
                    <a:pt x="96" y="43"/>
                  </a:cubicBezTo>
                  <a:cubicBezTo>
                    <a:pt x="102" y="43"/>
                    <a:pt x="106" y="48"/>
                    <a:pt x="106" y="54"/>
                  </a:cubicBezTo>
                  <a:cubicBezTo>
                    <a:pt x="106" y="60"/>
                    <a:pt x="102" y="64"/>
                    <a:pt x="96" y="64"/>
                  </a:cubicBezTo>
                  <a:cubicBezTo>
                    <a:pt x="90" y="64"/>
                    <a:pt x="85" y="60"/>
                    <a:pt x="85" y="54"/>
                  </a:cubicBezTo>
                  <a:close/>
                  <a:moveTo>
                    <a:pt x="128" y="96"/>
                  </a:moveTo>
                  <a:cubicBezTo>
                    <a:pt x="128" y="90"/>
                    <a:pt x="132" y="86"/>
                    <a:pt x="138" y="86"/>
                  </a:cubicBezTo>
                  <a:cubicBezTo>
                    <a:pt x="144" y="86"/>
                    <a:pt x="149" y="90"/>
                    <a:pt x="149" y="96"/>
                  </a:cubicBezTo>
                  <a:cubicBezTo>
                    <a:pt x="149" y="102"/>
                    <a:pt x="144" y="107"/>
                    <a:pt x="138" y="107"/>
                  </a:cubicBezTo>
                  <a:cubicBezTo>
                    <a:pt x="132" y="107"/>
                    <a:pt x="128" y="102"/>
                    <a:pt x="128" y="96"/>
                  </a:cubicBezTo>
                  <a:close/>
                  <a:moveTo>
                    <a:pt x="128" y="54"/>
                  </a:moveTo>
                  <a:cubicBezTo>
                    <a:pt x="128" y="48"/>
                    <a:pt x="132" y="43"/>
                    <a:pt x="138" y="43"/>
                  </a:cubicBezTo>
                  <a:cubicBezTo>
                    <a:pt x="144" y="43"/>
                    <a:pt x="149" y="48"/>
                    <a:pt x="149" y="54"/>
                  </a:cubicBezTo>
                  <a:cubicBezTo>
                    <a:pt x="149" y="60"/>
                    <a:pt x="144" y="64"/>
                    <a:pt x="138" y="64"/>
                  </a:cubicBezTo>
                  <a:cubicBezTo>
                    <a:pt x="132" y="64"/>
                    <a:pt x="128" y="60"/>
                    <a:pt x="128" y="54"/>
                  </a:cubicBezTo>
                  <a:close/>
                  <a:moveTo>
                    <a:pt x="170" y="96"/>
                  </a:moveTo>
                  <a:cubicBezTo>
                    <a:pt x="170" y="90"/>
                    <a:pt x="175" y="86"/>
                    <a:pt x="181" y="86"/>
                  </a:cubicBezTo>
                  <a:cubicBezTo>
                    <a:pt x="187" y="86"/>
                    <a:pt x="192" y="90"/>
                    <a:pt x="192" y="96"/>
                  </a:cubicBezTo>
                  <a:cubicBezTo>
                    <a:pt x="192" y="102"/>
                    <a:pt x="187" y="107"/>
                    <a:pt x="181" y="107"/>
                  </a:cubicBezTo>
                  <a:cubicBezTo>
                    <a:pt x="175" y="107"/>
                    <a:pt x="170" y="102"/>
                    <a:pt x="170" y="96"/>
                  </a:cubicBezTo>
                  <a:close/>
                  <a:moveTo>
                    <a:pt x="170" y="54"/>
                  </a:moveTo>
                  <a:cubicBezTo>
                    <a:pt x="170" y="48"/>
                    <a:pt x="175" y="43"/>
                    <a:pt x="181" y="43"/>
                  </a:cubicBezTo>
                  <a:cubicBezTo>
                    <a:pt x="187" y="43"/>
                    <a:pt x="192" y="48"/>
                    <a:pt x="192" y="54"/>
                  </a:cubicBezTo>
                  <a:cubicBezTo>
                    <a:pt x="192" y="60"/>
                    <a:pt x="187" y="64"/>
                    <a:pt x="181" y="64"/>
                  </a:cubicBezTo>
                  <a:cubicBezTo>
                    <a:pt x="175" y="64"/>
                    <a:pt x="170" y="60"/>
                    <a:pt x="170" y="54"/>
                  </a:cubicBezTo>
                  <a:close/>
                  <a:moveTo>
                    <a:pt x="213" y="96"/>
                  </a:moveTo>
                  <a:cubicBezTo>
                    <a:pt x="213" y="90"/>
                    <a:pt x="218" y="86"/>
                    <a:pt x="224" y="86"/>
                  </a:cubicBezTo>
                  <a:cubicBezTo>
                    <a:pt x="230" y="86"/>
                    <a:pt x="234" y="90"/>
                    <a:pt x="234" y="96"/>
                  </a:cubicBezTo>
                  <a:cubicBezTo>
                    <a:pt x="234" y="102"/>
                    <a:pt x="230" y="107"/>
                    <a:pt x="224" y="107"/>
                  </a:cubicBezTo>
                  <a:cubicBezTo>
                    <a:pt x="218" y="107"/>
                    <a:pt x="213" y="102"/>
                    <a:pt x="213" y="96"/>
                  </a:cubicBezTo>
                  <a:close/>
                  <a:moveTo>
                    <a:pt x="213" y="54"/>
                  </a:moveTo>
                  <a:cubicBezTo>
                    <a:pt x="213" y="48"/>
                    <a:pt x="218" y="43"/>
                    <a:pt x="224" y="43"/>
                  </a:cubicBezTo>
                  <a:cubicBezTo>
                    <a:pt x="230" y="43"/>
                    <a:pt x="234" y="48"/>
                    <a:pt x="234" y="54"/>
                  </a:cubicBezTo>
                  <a:cubicBezTo>
                    <a:pt x="234" y="60"/>
                    <a:pt x="230" y="64"/>
                    <a:pt x="224" y="64"/>
                  </a:cubicBezTo>
                  <a:cubicBezTo>
                    <a:pt x="218" y="64"/>
                    <a:pt x="213" y="60"/>
                    <a:pt x="213" y="54"/>
                  </a:cubicBezTo>
                  <a:close/>
                  <a:moveTo>
                    <a:pt x="256" y="96"/>
                  </a:moveTo>
                  <a:cubicBezTo>
                    <a:pt x="256" y="90"/>
                    <a:pt x="260" y="86"/>
                    <a:pt x="266" y="86"/>
                  </a:cubicBezTo>
                  <a:cubicBezTo>
                    <a:pt x="272" y="86"/>
                    <a:pt x="277" y="90"/>
                    <a:pt x="277" y="96"/>
                  </a:cubicBezTo>
                  <a:cubicBezTo>
                    <a:pt x="277" y="102"/>
                    <a:pt x="272" y="107"/>
                    <a:pt x="266" y="107"/>
                  </a:cubicBezTo>
                  <a:cubicBezTo>
                    <a:pt x="260" y="107"/>
                    <a:pt x="256" y="102"/>
                    <a:pt x="256" y="96"/>
                  </a:cubicBezTo>
                  <a:close/>
                  <a:moveTo>
                    <a:pt x="128" y="139"/>
                  </a:moveTo>
                  <a:cubicBezTo>
                    <a:pt x="128" y="133"/>
                    <a:pt x="132" y="128"/>
                    <a:pt x="138" y="128"/>
                  </a:cubicBezTo>
                  <a:cubicBezTo>
                    <a:pt x="144" y="128"/>
                    <a:pt x="149" y="133"/>
                    <a:pt x="149" y="139"/>
                  </a:cubicBezTo>
                  <a:cubicBezTo>
                    <a:pt x="149" y="145"/>
                    <a:pt x="144" y="150"/>
                    <a:pt x="138" y="150"/>
                  </a:cubicBezTo>
                  <a:cubicBezTo>
                    <a:pt x="132" y="150"/>
                    <a:pt x="128" y="145"/>
                    <a:pt x="128" y="139"/>
                  </a:cubicBezTo>
                  <a:close/>
                  <a:moveTo>
                    <a:pt x="170" y="139"/>
                  </a:moveTo>
                  <a:cubicBezTo>
                    <a:pt x="170" y="133"/>
                    <a:pt x="175" y="128"/>
                    <a:pt x="181" y="128"/>
                  </a:cubicBezTo>
                  <a:cubicBezTo>
                    <a:pt x="187" y="128"/>
                    <a:pt x="192" y="133"/>
                    <a:pt x="192" y="139"/>
                  </a:cubicBezTo>
                  <a:cubicBezTo>
                    <a:pt x="192" y="145"/>
                    <a:pt x="187" y="150"/>
                    <a:pt x="181" y="150"/>
                  </a:cubicBezTo>
                  <a:cubicBezTo>
                    <a:pt x="175" y="150"/>
                    <a:pt x="170" y="145"/>
                    <a:pt x="170" y="139"/>
                  </a:cubicBezTo>
                  <a:close/>
                  <a:moveTo>
                    <a:pt x="213" y="139"/>
                  </a:moveTo>
                  <a:cubicBezTo>
                    <a:pt x="213" y="133"/>
                    <a:pt x="218" y="128"/>
                    <a:pt x="224" y="128"/>
                  </a:cubicBezTo>
                  <a:cubicBezTo>
                    <a:pt x="230" y="128"/>
                    <a:pt x="234" y="133"/>
                    <a:pt x="234" y="139"/>
                  </a:cubicBezTo>
                  <a:cubicBezTo>
                    <a:pt x="234" y="145"/>
                    <a:pt x="230" y="150"/>
                    <a:pt x="224" y="150"/>
                  </a:cubicBezTo>
                  <a:cubicBezTo>
                    <a:pt x="218" y="150"/>
                    <a:pt x="213" y="145"/>
                    <a:pt x="213" y="139"/>
                  </a:cubicBezTo>
                  <a:close/>
                  <a:moveTo>
                    <a:pt x="256" y="139"/>
                  </a:moveTo>
                  <a:cubicBezTo>
                    <a:pt x="256" y="133"/>
                    <a:pt x="260" y="128"/>
                    <a:pt x="266" y="128"/>
                  </a:cubicBezTo>
                  <a:cubicBezTo>
                    <a:pt x="272" y="128"/>
                    <a:pt x="277" y="133"/>
                    <a:pt x="277" y="139"/>
                  </a:cubicBezTo>
                  <a:cubicBezTo>
                    <a:pt x="277" y="145"/>
                    <a:pt x="272" y="150"/>
                    <a:pt x="266" y="150"/>
                  </a:cubicBezTo>
                  <a:cubicBezTo>
                    <a:pt x="260" y="150"/>
                    <a:pt x="256" y="145"/>
                    <a:pt x="256" y="139"/>
                  </a:cubicBezTo>
                  <a:close/>
                  <a:moveTo>
                    <a:pt x="128" y="182"/>
                  </a:moveTo>
                  <a:cubicBezTo>
                    <a:pt x="128" y="176"/>
                    <a:pt x="132" y="171"/>
                    <a:pt x="138" y="171"/>
                  </a:cubicBezTo>
                  <a:cubicBezTo>
                    <a:pt x="144" y="171"/>
                    <a:pt x="149" y="176"/>
                    <a:pt x="149" y="182"/>
                  </a:cubicBezTo>
                  <a:cubicBezTo>
                    <a:pt x="149" y="188"/>
                    <a:pt x="144" y="192"/>
                    <a:pt x="138" y="192"/>
                  </a:cubicBezTo>
                  <a:cubicBezTo>
                    <a:pt x="132" y="192"/>
                    <a:pt x="128" y="188"/>
                    <a:pt x="128" y="182"/>
                  </a:cubicBezTo>
                  <a:close/>
                  <a:moveTo>
                    <a:pt x="170" y="182"/>
                  </a:moveTo>
                  <a:cubicBezTo>
                    <a:pt x="170" y="176"/>
                    <a:pt x="175" y="171"/>
                    <a:pt x="181" y="171"/>
                  </a:cubicBezTo>
                  <a:cubicBezTo>
                    <a:pt x="187" y="171"/>
                    <a:pt x="192" y="176"/>
                    <a:pt x="192" y="182"/>
                  </a:cubicBezTo>
                  <a:cubicBezTo>
                    <a:pt x="192" y="188"/>
                    <a:pt x="187" y="192"/>
                    <a:pt x="181" y="192"/>
                  </a:cubicBezTo>
                  <a:cubicBezTo>
                    <a:pt x="175" y="192"/>
                    <a:pt x="170" y="188"/>
                    <a:pt x="170" y="182"/>
                  </a:cubicBezTo>
                  <a:close/>
                  <a:moveTo>
                    <a:pt x="213" y="182"/>
                  </a:moveTo>
                  <a:cubicBezTo>
                    <a:pt x="213" y="176"/>
                    <a:pt x="218" y="171"/>
                    <a:pt x="224" y="171"/>
                  </a:cubicBezTo>
                  <a:cubicBezTo>
                    <a:pt x="230" y="171"/>
                    <a:pt x="234" y="176"/>
                    <a:pt x="234" y="182"/>
                  </a:cubicBezTo>
                  <a:cubicBezTo>
                    <a:pt x="234" y="188"/>
                    <a:pt x="230" y="192"/>
                    <a:pt x="224" y="192"/>
                  </a:cubicBezTo>
                  <a:cubicBezTo>
                    <a:pt x="218" y="192"/>
                    <a:pt x="213" y="188"/>
                    <a:pt x="213" y="182"/>
                  </a:cubicBezTo>
                  <a:close/>
                  <a:moveTo>
                    <a:pt x="256" y="182"/>
                  </a:moveTo>
                  <a:cubicBezTo>
                    <a:pt x="256" y="176"/>
                    <a:pt x="260" y="171"/>
                    <a:pt x="266" y="171"/>
                  </a:cubicBezTo>
                  <a:cubicBezTo>
                    <a:pt x="272" y="171"/>
                    <a:pt x="277" y="176"/>
                    <a:pt x="277" y="182"/>
                  </a:cubicBezTo>
                  <a:cubicBezTo>
                    <a:pt x="277" y="188"/>
                    <a:pt x="272" y="192"/>
                    <a:pt x="266" y="192"/>
                  </a:cubicBezTo>
                  <a:cubicBezTo>
                    <a:pt x="260" y="192"/>
                    <a:pt x="256" y="188"/>
                    <a:pt x="256" y="182"/>
                  </a:cubicBezTo>
                  <a:close/>
                  <a:moveTo>
                    <a:pt x="256" y="54"/>
                  </a:moveTo>
                  <a:cubicBezTo>
                    <a:pt x="256" y="48"/>
                    <a:pt x="260" y="43"/>
                    <a:pt x="266" y="43"/>
                  </a:cubicBezTo>
                  <a:cubicBezTo>
                    <a:pt x="272" y="43"/>
                    <a:pt x="277" y="48"/>
                    <a:pt x="277" y="54"/>
                  </a:cubicBezTo>
                  <a:cubicBezTo>
                    <a:pt x="277" y="60"/>
                    <a:pt x="272" y="64"/>
                    <a:pt x="266" y="64"/>
                  </a:cubicBezTo>
                  <a:cubicBezTo>
                    <a:pt x="260" y="64"/>
                    <a:pt x="256" y="60"/>
                    <a:pt x="256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9" name="Freeform 14"/>
          <p:cNvSpPr>
            <a:spLocks noChangeAspect="1" noEditPoints="1"/>
          </p:cNvSpPr>
          <p:nvPr/>
        </p:nvSpPr>
        <p:spPr bwMode="auto">
          <a:xfrm>
            <a:off x="9393480" y="2051054"/>
            <a:ext cx="369021" cy="369021"/>
          </a:xfrm>
          <a:custGeom>
            <a:avLst/>
            <a:gdLst>
              <a:gd name="T0" fmla="*/ 266 w 512"/>
              <a:gd name="T1" fmla="*/ 138 h 512"/>
              <a:gd name="T2" fmla="*/ 309 w 512"/>
              <a:gd name="T3" fmla="*/ 117 h 512"/>
              <a:gd name="T4" fmla="*/ 373 w 512"/>
              <a:gd name="T5" fmla="*/ 234 h 512"/>
              <a:gd name="T6" fmla="*/ 394 w 512"/>
              <a:gd name="T7" fmla="*/ 352 h 512"/>
              <a:gd name="T8" fmla="*/ 160 w 512"/>
              <a:gd name="T9" fmla="*/ 320 h 512"/>
              <a:gd name="T10" fmla="*/ 138 w 512"/>
              <a:gd name="T11" fmla="*/ 320 h 512"/>
              <a:gd name="T12" fmla="*/ 117 w 512"/>
              <a:gd name="T13" fmla="*/ 352 h 512"/>
              <a:gd name="T14" fmla="*/ 138 w 512"/>
              <a:gd name="T15" fmla="*/ 234 h 512"/>
              <a:gd name="T16" fmla="*/ 149 w 512"/>
              <a:gd name="T17" fmla="*/ 202 h 512"/>
              <a:gd name="T18" fmla="*/ 362 w 512"/>
              <a:gd name="T19" fmla="*/ 224 h 512"/>
              <a:gd name="T20" fmla="*/ 160 w 512"/>
              <a:gd name="T21" fmla="*/ 277 h 512"/>
              <a:gd name="T22" fmla="*/ 138 w 512"/>
              <a:gd name="T23" fmla="*/ 277 h 512"/>
              <a:gd name="T24" fmla="*/ 160 w 512"/>
              <a:gd name="T25" fmla="*/ 277 h 512"/>
              <a:gd name="T26" fmla="*/ 192 w 512"/>
              <a:gd name="T27" fmla="*/ 309 h 512"/>
              <a:gd name="T28" fmla="*/ 192 w 512"/>
              <a:gd name="T29" fmla="*/ 330 h 512"/>
              <a:gd name="T30" fmla="*/ 202 w 512"/>
              <a:gd name="T31" fmla="*/ 277 h 512"/>
              <a:gd name="T32" fmla="*/ 181 w 512"/>
              <a:gd name="T33" fmla="*/ 277 h 512"/>
              <a:gd name="T34" fmla="*/ 202 w 512"/>
              <a:gd name="T35" fmla="*/ 277 h 512"/>
              <a:gd name="T36" fmla="*/ 192 w 512"/>
              <a:gd name="T37" fmla="*/ 224 h 512"/>
              <a:gd name="T38" fmla="*/ 192 w 512"/>
              <a:gd name="T39" fmla="*/ 245 h 512"/>
              <a:gd name="T40" fmla="*/ 245 w 512"/>
              <a:gd name="T41" fmla="*/ 320 h 512"/>
              <a:gd name="T42" fmla="*/ 224 w 512"/>
              <a:gd name="T43" fmla="*/ 320 h 512"/>
              <a:gd name="T44" fmla="*/ 245 w 512"/>
              <a:gd name="T45" fmla="*/ 320 h 512"/>
              <a:gd name="T46" fmla="*/ 234 w 512"/>
              <a:gd name="T47" fmla="*/ 266 h 512"/>
              <a:gd name="T48" fmla="*/ 234 w 512"/>
              <a:gd name="T49" fmla="*/ 288 h 512"/>
              <a:gd name="T50" fmla="*/ 245 w 512"/>
              <a:gd name="T51" fmla="*/ 234 h 512"/>
              <a:gd name="T52" fmla="*/ 224 w 512"/>
              <a:gd name="T53" fmla="*/ 234 h 512"/>
              <a:gd name="T54" fmla="*/ 245 w 512"/>
              <a:gd name="T55" fmla="*/ 234 h 512"/>
              <a:gd name="T56" fmla="*/ 277 w 512"/>
              <a:gd name="T57" fmla="*/ 309 h 512"/>
              <a:gd name="T58" fmla="*/ 277 w 512"/>
              <a:gd name="T59" fmla="*/ 330 h 512"/>
              <a:gd name="T60" fmla="*/ 288 w 512"/>
              <a:gd name="T61" fmla="*/ 277 h 512"/>
              <a:gd name="T62" fmla="*/ 266 w 512"/>
              <a:gd name="T63" fmla="*/ 277 h 512"/>
              <a:gd name="T64" fmla="*/ 288 w 512"/>
              <a:gd name="T65" fmla="*/ 277 h 512"/>
              <a:gd name="T66" fmla="*/ 277 w 512"/>
              <a:gd name="T67" fmla="*/ 224 h 512"/>
              <a:gd name="T68" fmla="*/ 277 w 512"/>
              <a:gd name="T69" fmla="*/ 245 h 512"/>
              <a:gd name="T70" fmla="*/ 330 w 512"/>
              <a:gd name="T71" fmla="*/ 320 h 512"/>
              <a:gd name="T72" fmla="*/ 309 w 512"/>
              <a:gd name="T73" fmla="*/ 320 h 512"/>
              <a:gd name="T74" fmla="*/ 330 w 512"/>
              <a:gd name="T75" fmla="*/ 320 h 512"/>
              <a:gd name="T76" fmla="*/ 320 w 512"/>
              <a:gd name="T77" fmla="*/ 266 h 512"/>
              <a:gd name="T78" fmla="*/ 320 w 512"/>
              <a:gd name="T79" fmla="*/ 288 h 512"/>
              <a:gd name="T80" fmla="*/ 330 w 512"/>
              <a:gd name="T81" fmla="*/ 234 h 512"/>
              <a:gd name="T82" fmla="*/ 309 w 512"/>
              <a:gd name="T83" fmla="*/ 234 h 512"/>
              <a:gd name="T84" fmla="*/ 330 w 512"/>
              <a:gd name="T85" fmla="*/ 234 h 512"/>
              <a:gd name="T86" fmla="*/ 362 w 512"/>
              <a:gd name="T87" fmla="*/ 309 h 512"/>
              <a:gd name="T88" fmla="*/ 362 w 512"/>
              <a:gd name="T89" fmla="*/ 330 h 512"/>
              <a:gd name="T90" fmla="*/ 373 w 512"/>
              <a:gd name="T91" fmla="*/ 277 h 512"/>
              <a:gd name="T92" fmla="*/ 352 w 512"/>
              <a:gd name="T93" fmla="*/ 277 h 512"/>
              <a:gd name="T94" fmla="*/ 373 w 512"/>
              <a:gd name="T95" fmla="*/ 277 h 512"/>
              <a:gd name="T96" fmla="*/ 256 w 512"/>
              <a:gd name="T97" fmla="*/ 512 h 512"/>
              <a:gd name="T98" fmla="*/ 256 w 512"/>
              <a:gd name="T99" fmla="*/ 0 h 512"/>
              <a:gd name="T100" fmla="*/ 416 w 512"/>
              <a:gd name="T101" fmla="*/ 224 h 512"/>
              <a:gd name="T102" fmla="*/ 384 w 512"/>
              <a:gd name="T103" fmla="*/ 213 h 512"/>
              <a:gd name="T104" fmla="*/ 373 w 512"/>
              <a:gd name="T105" fmla="*/ 181 h 512"/>
              <a:gd name="T106" fmla="*/ 266 w 512"/>
              <a:gd name="T107" fmla="*/ 160 h 512"/>
              <a:gd name="T108" fmla="*/ 330 w 512"/>
              <a:gd name="T109" fmla="*/ 149 h 512"/>
              <a:gd name="T110" fmla="*/ 320 w 512"/>
              <a:gd name="T111" fmla="*/ 96 h 512"/>
              <a:gd name="T112" fmla="*/ 245 w 512"/>
              <a:gd name="T113" fmla="*/ 106 h 512"/>
              <a:gd name="T114" fmla="*/ 245 w 512"/>
              <a:gd name="T115" fmla="*/ 181 h 512"/>
              <a:gd name="T116" fmla="*/ 128 w 512"/>
              <a:gd name="T117" fmla="*/ 192 h 512"/>
              <a:gd name="T118" fmla="*/ 106 w 512"/>
              <a:gd name="T119" fmla="*/ 213 h 512"/>
              <a:gd name="T120" fmla="*/ 96 w 512"/>
              <a:gd name="T121" fmla="*/ 362 h 512"/>
              <a:gd name="T122" fmla="*/ 405 w 512"/>
              <a:gd name="T123" fmla="*/ 373 h 512"/>
              <a:gd name="T124" fmla="*/ 416 w 512"/>
              <a:gd name="T125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09" y="138"/>
                </a:moveTo>
                <a:cubicBezTo>
                  <a:pt x="266" y="138"/>
                  <a:pt x="266" y="138"/>
                  <a:pt x="266" y="138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309" y="117"/>
                  <a:pt x="309" y="117"/>
                  <a:pt x="309" y="117"/>
                </a:cubicBezTo>
                <a:lnTo>
                  <a:pt x="309" y="138"/>
                </a:lnTo>
                <a:close/>
                <a:moveTo>
                  <a:pt x="373" y="234"/>
                </a:moveTo>
                <a:cubicBezTo>
                  <a:pt x="394" y="234"/>
                  <a:pt x="394" y="234"/>
                  <a:pt x="394" y="234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160" y="352"/>
                  <a:pt x="160" y="352"/>
                  <a:pt x="160" y="352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14"/>
                  <a:pt x="155" y="309"/>
                  <a:pt x="149" y="309"/>
                </a:cubicBezTo>
                <a:cubicBezTo>
                  <a:pt x="143" y="309"/>
                  <a:pt x="138" y="314"/>
                  <a:pt x="138" y="320"/>
                </a:cubicBezTo>
                <a:cubicBezTo>
                  <a:pt x="138" y="352"/>
                  <a:pt x="138" y="352"/>
                  <a:pt x="138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8" y="234"/>
                  <a:pt x="138" y="234"/>
                  <a:pt x="138" y="234"/>
                </a:cubicBezTo>
                <a:cubicBezTo>
                  <a:pt x="144" y="234"/>
                  <a:pt x="149" y="230"/>
                  <a:pt x="149" y="224"/>
                </a:cubicBezTo>
                <a:cubicBezTo>
                  <a:pt x="149" y="202"/>
                  <a:pt x="149" y="202"/>
                  <a:pt x="149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2" y="224"/>
                  <a:pt x="362" y="224"/>
                  <a:pt x="362" y="224"/>
                </a:cubicBezTo>
                <a:cubicBezTo>
                  <a:pt x="362" y="230"/>
                  <a:pt x="367" y="234"/>
                  <a:pt x="373" y="234"/>
                </a:cubicBezTo>
                <a:close/>
                <a:moveTo>
                  <a:pt x="160" y="277"/>
                </a:moveTo>
                <a:cubicBezTo>
                  <a:pt x="160" y="271"/>
                  <a:pt x="155" y="266"/>
                  <a:pt x="149" y="266"/>
                </a:cubicBezTo>
                <a:cubicBezTo>
                  <a:pt x="143" y="266"/>
                  <a:pt x="138" y="271"/>
                  <a:pt x="138" y="277"/>
                </a:cubicBezTo>
                <a:cubicBezTo>
                  <a:pt x="138" y="283"/>
                  <a:pt x="143" y="288"/>
                  <a:pt x="149" y="288"/>
                </a:cubicBezTo>
                <a:cubicBezTo>
                  <a:pt x="155" y="288"/>
                  <a:pt x="160" y="283"/>
                  <a:pt x="160" y="277"/>
                </a:cubicBezTo>
                <a:close/>
                <a:moveTo>
                  <a:pt x="202" y="320"/>
                </a:moveTo>
                <a:cubicBezTo>
                  <a:pt x="202" y="314"/>
                  <a:pt x="198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ubicBezTo>
                  <a:pt x="181" y="326"/>
                  <a:pt x="186" y="330"/>
                  <a:pt x="192" y="330"/>
                </a:cubicBezTo>
                <a:cubicBezTo>
                  <a:pt x="198" y="330"/>
                  <a:pt x="202" y="326"/>
                  <a:pt x="202" y="320"/>
                </a:cubicBezTo>
                <a:close/>
                <a:moveTo>
                  <a:pt x="202" y="277"/>
                </a:moveTo>
                <a:cubicBezTo>
                  <a:pt x="202" y="271"/>
                  <a:pt x="198" y="266"/>
                  <a:pt x="192" y="266"/>
                </a:cubicBezTo>
                <a:cubicBezTo>
                  <a:pt x="186" y="266"/>
                  <a:pt x="181" y="271"/>
                  <a:pt x="181" y="277"/>
                </a:cubicBezTo>
                <a:cubicBezTo>
                  <a:pt x="181" y="283"/>
                  <a:pt x="186" y="288"/>
                  <a:pt x="192" y="288"/>
                </a:cubicBezTo>
                <a:cubicBezTo>
                  <a:pt x="198" y="288"/>
                  <a:pt x="202" y="283"/>
                  <a:pt x="202" y="277"/>
                </a:cubicBezTo>
                <a:close/>
                <a:moveTo>
                  <a:pt x="202" y="234"/>
                </a:moveTo>
                <a:cubicBezTo>
                  <a:pt x="202" y="228"/>
                  <a:pt x="198" y="224"/>
                  <a:pt x="192" y="224"/>
                </a:cubicBezTo>
                <a:cubicBezTo>
                  <a:pt x="186" y="224"/>
                  <a:pt x="181" y="228"/>
                  <a:pt x="181" y="234"/>
                </a:cubicBezTo>
                <a:cubicBezTo>
                  <a:pt x="181" y="240"/>
                  <a:pt x="186" y="245"/>
                  <a:pt x="192" y="245"/>
                </a:cubicBezTo>
                <a:cubicBezTo>
                  <a:pt x="198" y="245"/>
                  <a:pt x="202" y="240"/>
                  <a:pt x="202" y="234"/>
                </a:cubicBezTo>
                <a:close/>
                <a:moveTo>
                  <a:pt x="245" y="320"/>
                </a:moveTo>
                <a:cubicBezTo>
                  <a:pt x="245" y="314"/>
                  <a:pt x="240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26"/>
                  <a:pt x="228" y="330"/>
                  <a:pt x="234" y="330"/>
                </a:cubicBezTo>
                <a:cubicBezTo>
                  <a:pt x="240" y="330"/>
                  <a:pt x="245" y="326"/>
                  <a:pt x="245" y="320"/>
                </a:cubicBezTo>
                <a:close/>
                <a:moveTo>
                  <a:pt x="245" y="277"/>
                </a:moveTo>
                <a:cubicBezTo>
                  <a:pt x="245" y="271"/>
                  <a:pt x="240" y="266"/>
                  <a:pt x="234" y="266"/>
                </a:cubicBezTo>
                <a:cubicBezTo>
                  <a:pt x="228" y="266"/>
                  <a:pt x="224" y="271"/>
                  <a:pt x="224" y="277"/>
                </a:cubicBezTo>
                <a:cubicBezTo>
                  <a:pt x="224" y="283"/>
                  <a:pt x="228" y="288"/>
                  <a:pt x="234" y="288"/>
                </a:cubicBezTo>
                <a:cubicBezTo>
                  <a:pt x="240" y="288"/>
                  <a:pt x="245" y="283"/>
                  <a:pt x="245" y="277"/>
                </a:cubicBezTo>
                <a:close/>
                <a:moveTo>
                  <a:pt x="245" y="234"/>
                </a:moveTo>
                <a:cubicBezTo>
                  <a:pt x="245" y="228"/>
                  <a:pt x="240" y="224"/>
                  <a:pt x="234" y="224"/>
                </a:cubicBezTo>
                <a:cubicBezTo>
                  <a:pt x="228" y="224"/>
                  <a:pt x="224" y="228"/>
                  <a:pt x="224" y="234"/>
                </a:cubicBezTo>
                <a:cubicBezTo>
                  <a:pt x="224" y="240"/>
                  <a:pt x="228" y="245"/>
                  <a:pt x="234" y="245"/>
                </a:cubicBezTo>
                <a:cubicBezTo>
                  <a:pt x="240" y="245"/>
                  <a:pt x="245" y="240"/>
                  <a:pt x="245" y="234"/>
                </a:cubicBezTo>
                <a:close/>
                <a:moveTo>
                  <a:pt x="288" y="320"/>
                </a:moveTo>
                <a:cubicBezTo>
                  <a:pt x="288" y="314"/>
                  <a:pt x="283" y="309"/>
                  <a:pt x="277" y="309"/>
                </a:cubicBezTo>
                <a:cubicBezTo>
                  <a:pt x="271" y="309"/>
                  <a:pt x="266" y="314"/>
                  <a:pt x="266" y="320"/>
                </a:cubicBezTo>
                <a:cubicBezTo>
                  <a:pt x="266" y="326"/>
                  <a:pt x="271" y="330"/>
                  <a:pt x="277" y="330"/>
                </a:cubicBezTo>
                <a:cubicBezTo>
                  <a:pt x="283" y="330"/>
                  <a:pt x="288" y="326"/>
                  <a:pt x="288" y="320"/>
                </a:cubicBezTo>
                <a:close/>
                <a:moveTo>
                  <a:pt x="288" y="277"/>
                </a:moveTo>
                <a:cubicBezTo>
                  <a:pt x="288" y="271"/>
                  <a:pt x="283" y="266"/>
                  <a:pt x="277" y="266"/>
                </a:cubicBezTo>
                <a:cubicBezTo>
                  <a:pt x="271" y="266"/>
                  <a:pt x="266" y="271"/>
                  <a:pt x="266" y="277"/>
                </a:cubicBezTo>
                <a:cubicBezTo>
                  <a:pt x="266" y="283"/>
                  <a:pt x="271" y="288"/>
                  <a:pt x="277" y="288"/>
                </a:cubicBezTo>
                <a:cubicBezTo>
                  <a:pt x="283" y="288"/>
                  <a:pt x="288" y="283"/>
                  <a:pt x="288" y="277"/>
                </a:cubicBezTo>
                <a:close/>
                <a:moveTo>
                  <a:pt x="288" y="234"/>
                </a:moveTo>
                <a:cubicBezTo>
                  <a:pt x="288" y="228"/>
                  <a:pt x="283" y="224"/>
                  <a:pt x="277" y="224"/>
                </a:cubicBezTo>
                <a:cubicBezTo>
                  <a:pt x="271" y="224"/>
                  <a:pt x="266" y="228"/>
                  <a:pt x="266" y="234"/>
                </a:cubicBezTo>
                <a:cubicBezTo>
                  <a:pt x="266" y="240"/>
                  <a:pt x="271" y="245"/>
                  <a:pt x="277" y="245"/>
                </a:cubicBezTo>
                <a:cubicBezTo>
                  <a:pt x="283" y="245"/>
                  <a:pt x="288" y="240"/>
                  <a:pt x="288" y="234"/>
                </a:cubicBezTo>
                <a:close/>
                <a:moveTo>
                  <a:pt x="330" y="320"/>
                </a:moveTo>
                <a:cubicBezTo>
                  <a:pt x="330" y="314"/>
                  <a:pt x="326" y="309"/>
                  <a:pt x="320" y="309"/>
                </a:cubicBezTo>
                <a:cubicBezTo>
                  <a:pt x="314" y="309"/>
                  <a:pt x="309" y="314"/>
                  <a:pt x="309" y="320"/>
                </a:cubicBezTo>
                <a:cubicBezTo>
                  <a:pt x="309" y="326"/>
                  <a:pt x="314" y="330"/>
                  <a:pt x="320" y="330"/>
                </a:cubicBezTo>
                <a:cubicBezTo>
                  <a:pt x="326" y="330"/>
                  <a:pt x="330" y="326"/>
                  <a:pt x="330" y="320"/>
                </a:cubicBezTo>
                <a:close/>
                <a:moveTo>
                  <a:pt x="330" y="277"/>
                </a:moveTo>
                <a:cubicBezTo>
                  <a:pt x="330" y="271"/>
                  <a:pt x="326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3"/>
                  <a:pt x="314" y="288"/>
                  <a:pt x="320" y="288"/>
                </a:cubicBezTo>
                <a:cubicBezTo>
                  <a:pt x="326" y="288"/>
                  <a:pt x="330" y="283"/>
                  <a:pt x="330" y="277"/>
                </a:cubicBezTo>
                <a:close/>
                <a:moveTo>
                  <a:pt x="330" y="234"/>
                </a:moveTo>
                <a:cubicBezTo>
                  <a:pt x="330" y="228"/>
                  <a:pt x="326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26" y="245"/>
                  <a:pt x="330" y="240"/>
                  <a:pt x="330" y="234"/>
                </a:cubicBezTo>
                <a:close/>
                <a:moveTo>
                  <a:pt x="373" y="320"/>
                </a:moveTo>
                <a:cubicBezTo>
                  <a:pt x="373" y="314"/>
                  <a:pt x="368" y="309"/>
                  <a:pt x="362" y="309"/>
                </a:cubicBezTo>
                <a:cubicBezTo>
                  <a:pt x="356" y="309"/>
                  <a:pt x="352" y="314"/>
                  <a:pt x="352" y="320"/>
                </a:cubicBezTo>
                <a:cubicBezTo>
                  <a:pt x="352" y="326"/>
                  <a:pt x="356" y="330"/>
                  <a:pt x="362" y="330"/>
                </a:cubicBezTo>
                <a:cubicBezTo>
                  <a:pt x="368" y="330"/>
                  <a:pt x="373" y="326"/>
                  <a:pt x="373" y="320"/>
                </a:cubicBezTo>
                <a:close/>
                <a:moveTo>
                  <a:pt x="373" y="277"/>
                </a:moveTo>
                <a:cubicBezTo>
                  <a:pt x="373" y="271"/>
                  <a:pt x="368" y="266"/>
                  <a:pt x="362" y="266"/>
                </a:cubicBezTo>
                <a:cubicBezTo>
                  <a:pt x="356" y="266"/>
                  <a:pt x="352" y="271"/>
                  <a:pt x="352" y="277"/>
                </a:cubicBezTo>
                <a:cubicBezTo>
                  <a:pt x="352" y="283"/>
                  <a:pt x="356" y="288"/>
                  <a:pt x="362" y="288"/>
                </a:cubicBezTo>
                <a:cubicBezTo>
                  <a:pt x="368" y="288"/>
                  <a:pt x="373" y="283"/>
                  <a:pt x="373" y="27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24"/>
                </a:moveTo>
                <a:cubicBezTo>
                  <a:pt x="416" y="218"/>
                  <a:pt x="411" y="213"/>
                  <a:pt x="405" y="213"/>
                </a:cubicBezTo>
                <a:cubicBezTo>
                  <a:pt x="384" y="213"/>
                  <a:pt x="384" y="213"/>
                  <a:pt x="384" y="213"/>
                </a:cubicBezTo>
                <a:cubicBezTo>
                  <a:pt x="384" y="192"/>
                  <a:pt x="384" y="192"/>
                  <a:pt x="384" y="192"/>
                </a:cubicBezTo>
                <a:cubicBezTo>
                  <a:pt x="384" y="186"/>
                  <a:pt x="379" y="181"/>
                  <a:pt x="373" y="181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326" y="160"/>
                  <a:pt x="330" y="155"/>
                  <a:pt x="330" y="149"/>
                </a:cubicBezTo>
                <a:cubicBezTo>
                  <a:pt x="330" y="106"/>
                  <a:pt x="330" y="106"/>
                  <a:pt x="330" y="106"/>
                </a:cubicBezTo>
                <a:cubicBezTo>
                  <a:pt x="330" y="100"/>
                  <a:pt x="326" y="96"/>
                  <a:pt x="320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49"/>
                  <a:pt x="245" y="149"/>
                  <a:pt x="245" y="149"/>
                </a:cubicBezTo>
                <a:cubicBezTo>
                  <a:pt x="245" y="181"/>
                  <a:pt x="245" y="181"/>
                  <a:pt x="245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32" y="181"/>
                  <a:pt x="128" y="186"/>
                  <a:pt x="128" y="192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06" y="213"/>
                  <a:pt x="106" y="213"/>
                  <a:pt x="106" y="213"/>
                </a:cubicBezTo>
                <a:cubicBezTo>
                  <a:pt x="100" y="213"/>
                  <a:pt x="96" y="218"/>
                  <a:pt x="96" y="224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0" name="Group 17"/>
          <p:cNvGrpSpPr>
            <a:grpSpLocks noChangeAspect="1"/>
          </p:cNvGrpSpPr>
          <p:nvPr/>
        </p:nvGrpSpPr>
        <p:grpSpPr bwMode="auto">
          <a:xfrm>
            <a:off x="9891539" y="2051050"/>
            <a:ext cx="369021" cy="369021"/>
            <a:chOff x="1240" y="-1"/>
            <a:chExt cx="340" cy="340"/>
          </a:xfrm>
          <a:solidFill>
            <a:schemeClr val="accent1"/>
          </a:solidFill>
        </p:grpSpPr>
        <p:sp>
          <p:nvSpPr>
            <p:cNvPr id="321" name="Freeform 18"/>
            <p:cNvSpPr>
              <a:spLocks noEditPoints="1"/>
            </p:cNvSpPr>
            <p:nvPr/>
          </p:nvSpPr>
          <p:spPr bwMode="auto">
            <a:xfrm>
              <a:off x="1240" y="-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19"/>
            <p:cNvSpPr>
              <a:spLocks noEditPoints="1"/>
            </p:cNvSpPr>
            <p:nvPr/>
          </p:nvSpPr>
          <p:spPr bwMode="auto">
            <a:xfrm>
              <a:off x="1304" y="63"/>
              <a:ext cx="212" cy="184"/>
            </a:xfrm>
            <a:custGeom>
              <a:avLst/>
              <a:gdLst>
                <a:gd name="T0" fmla="*/ 288 w 320"/>
                <a:gd name="T1" fmla="*/ 117 h 277"/>
                <a:gd name="T2" fmla="*/ 277 w 320"/>
                <a:gd name="T3" fmla="*/ 85 h 277"/>
                <a:gd name="T4" fmla="*/ 170 w 320"/>
                <a:gd name="T5" fmla="*/ 64 h 277"/>
                <a:gd name="T6" fmla="*/ 234 w 320"/>
                <a:gd name="T7" fmla="*/ 53 h 277"/>
                <a:gd name="T8" fmla="*/ 224 w 320"/>
                <a:gd name="T9" fmla="*/ 0 h 277"/>
                <a:gd name="T10" fmla="*/ 149 w 320"/>
                <a:gd name="T11" fmla="*/ 10 h 277"/>
                <a:gd name="T12" fmla="*/ 149 w 320"/>
                <a:gd name="T13" fmla="*/ 85 h 277"/>
                <a:gd name="T14" fmla="*/ 32 w 320"/>
                <a:gd name="T15" fmla="*/ 96 h 277"/>
                <a:gd name="T16" fmla="*/ 10 w 320"/>
                <a:gd name="T17" fmla="*/ 117 h 277"/>
                <a:gd name="T18" fmla="*/ 0 w 320"/>
                <a:gd name="T19" fmla="*/ 266 h 277"/>
                <a:gd name="T20" fmla="*/ 309 w 320"/>
                <a:gd name="T21" fmla="*/ 277 h 277"/>
                <a:gd name="T22" fmla="*/ 320 w 320"/>
                <a:gd name="T23" fmla="*/ 128 h 277"/>
                <a:gd name="T24" fmla="*/ 170 w 320"/>
                <a:gd name="T25" fmla="*/ 21 h 277"/>
                <a:gd name="T26" fmla="*/ 213 w 320"/>
                <a:gd name="T27" fmla="*/ 42 h 277"/>
                <a:gd name="T28" fmla="*/ 170 w 320"/>
                <a:gd name="T29" fmla="*/ 21 h 277"/>
                <a:gd name="T30" fmla="*/ 64 w 320"/>
                <a:gd name="T31" fmla="*/ 256 h 277"/>
                <a:gd name="T32" fmla="*/ 53 w 320"/>
                <a:gd name="T33" fmla="*/ 213 h 277"/>
                <a:gd name="T34" fmla="*/ 42 w 320"/>
                <a:gd name="T35" fmla="*/ 256 h 277"/>
                <a:gd name="T36" fmla="*/ 21 w 320"/>
                <a:gd name="T37" fmla="*/ 138 h 277"/>
                <a:gd name="T38" fmla="*/ 53 w 320"/>
                <a:gd name="T39" fmla="*/ 128 h 277"/>
                <a:gd name="T40" fmla="*/ 266 w 320"/>
                <a:gd name="T41" fmla="*/ 106 h 277"/>
                <a:gd name="T42" fmla="*/ 277 w 320"/>
                <a:gd name="T43" fmla="*/ 138 h 277"/>
                <a:gd name="T44" fmla="*/ 298 w 320"/>
                <a:gd name="T45" fmla="*/ 256 h 277"/>
                <a:gd name="T46" fmla="*/ 53 w 320"/>
                <a:gd name="T47" fmla="*/ 192 h 277"/>
                <a:gd name="T48" fmla="*/ 53 w 320"/>
                <a:gd name="T49" fmla="*/ 170 h 277"/>
                <a:gd name="T50" fmla="*/ 106 w 320"/>
                <a:gd name="T51" fmla="*/ 181 h 277"/>
                <a:gd name="T52" fmla="*/ 85 w 320"/>
                <a:gd name="T53" fmla="*/ 181 h 277"/>
                <a:gd name="T54" fmla="*/ 106 w 320"/>
                <a:gd name="T55" fmla="*/ 181 h 277"/>
                <a:gd name="T56" fmla="*/ 138 w 320"/>
                <a:gd name="T57" fmla="*/ 192 h 277"/>
                <a:gd name="T58" fmla="*/ 138 w 320"/>
                <a:gd name="T59" fmla="*/ 170 h 277"/>
                <a:gd name="T60" fmla="*/ 192 w 320"/>
                <a:gd name="T61" fmla="*/ 181 h 277"/>
                <a:gd name="T62" fmla="*/ 170 w 320"/>
                <a:gd name="T63" fmla="*/ 181 h 277"/>
                <a:gd name="T64" fmla="*/ 192 w 320"/>
                <a:gd name="T65" fmla="*/ 181 h 277"/>
                <a:gd name="T66" fmla="*/ 224 w 320"/>
                <a:gd name="T67" fmla="*/ 192 h 277"/>
                <a:gd name="T68" fmla="*/ 224 w 320"/>
                <a:gd name="T69" fmla="*/ 170 h 277"/>
                <a:gd name="T70" fmla="*/ 106 w 320"/>
                <a:gd name="T71" fmla="*/ 138 h 277"/>
                <a:gd name="T72" fmla="*/ 85 w 320"/>
                <a:gd name="T73" fmla="*/ 138 h 277"/>
                <a:gd name="T74" fmla="*/ 106 w 320"/>
                <a:gd name="T75" fmla="*/ 138 h 277"/>
                <a:gd name="T76" fmla="*/ 138 w 320"/>
                <a:gd name="T77" fmla="*/ 149 h 277"/>
                <a:gd name="T78" fmla="*/ 138 w 320"/>
                <a:gd name="T79" fmla="*/ 128 h 277"/>
                <a:gd name="T80" fmla="*/ 192 w 320"/>
                <a:gd name="T81" fmla="*/ 138 h 277"/>
                <a:gd name="T82" fmla="*/ 170 w 320"/>
                <a:gd name="T83" fmla="*/ 138 h 277"/>
                <a:gd name="T84" fmla="*/ 192 w 320"/>
                <a:gd name="T85" fmla="*/ 138 h 277"/>
                <a:gd name="T86" fmla="*/ 224 w 320"/>
                <a:gd name="T87" fmla="*/ 149 h 277"/>
                <a:gd name="T88" fmla="*/ 224 w 320"/>
                <a:gd name="T89" fmla="*/ 128 h 277"/>
                <a:gd name="T90" fmla="*/ 277 w 320"/>
                <a:gd name="T91" fmla="*/ 181 h 277"/>
                <a:gd name="T92" fmla="*/ 256 w 320"/>
                <a:gd name="T93" fmla="*/ 181 h 277"/>
                <a:gd name="T94" fmla="*/ 277 w 320"/>
                <a:gd name="T95" fmla="*/ 181 h 277"/>
                <a:gd name="T96" fmla="*/ 96 w 320"/>
                <a:gd name="T97" fmla="*/ 234 h 277"/>
                <a:gd name="T98" fmla="*/ 96 w 320"/>
                <a:gd name="T99" fmla="*/ 213 h 277"/>
                <a:gd name="T100" fmla="*/ 149 w 320"/>
                <a:gd name="T101" fmla="*/ 224 h 277"/>
                <a:gd name="T102" fmla="*/ 128 w 320"/>
                <a:gd name="T103" fmla="*/ 224 h 277"/>
                <a:gd name="T104" fmla="*/ 149 w 320"/>
                <a:gd name="T105" fmla="*/ 224 h 277"/>
                <a:gd name="T106" fmla="*/ 181 w 320"/>
                <a:gd name="T107" fmla="*/ 234 h 277"/>
                <a:gd name="T108" fmla="*/ 181 w 320"/>
                <a:gd name="T109" fmla="*/ 213 h 277"/>
                <a:gd name="T110" fmla="*/ 234 w 320"/>
                <a:gd name="T111" fmla="*/ 224 h 277"/>
                <a:gd name="T112" fmla="*/ 213 w 320"/>
                <a:gd name="T113" fmla="*/ 224 h 277"/>
                <a:gd name="T114" fmla="*/ 234 w 320"/>
                <a:gd name="T115" fmla="*/ 224 h 277"/>
                <a:gd name="T116" fmla="*/ 266 w 320"/>
                <a:gd name="T117" fmla="*/ 234 h 277"/>
                <a:gd name="T118" fmla="*/ 266 w 320"/>
                <a:gd name="T119" fmla="*/ 213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0" h="277">
                  <a:moveTo>
                    <a:pt x="309" y="117"/>
                  </a:moveTo>
                  <a:cubicBezTo>
                    <a:pt x="288" y="117"/>
                    <a:pt x="288" y="117"/>
                    <a:pt x="288" y="117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88" y="90"/>
                    <a:pt x="283" y="85"/>
                    <a:pt x="277" y="85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30" y="64"/>
                    <a:pt x="234" y="59"/>
                    <a:pt x="234" y="53"/>
                  </a:cubicBezTo>
                  <a:cubicBezTo>
                    <a:pt x="234" y="10"/>
                    <a:pt x="234" y="10"/>
                    <a:pt x="234" y="10"/>
                  </a:cubicBezTo>
                  <a:cubicBezTo>
                    <a:pt x="234" y="4"/>
                    <a:pt x="230" y="0"/>
                    <a:pt x="224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53"/>
                    <a:pt x="149" y="53"/>
                    <a:pt x="149" y="53"/>
                  </a:cubicBezTo>
                  <a:cubicBezTo>
                    <a:pt x="149" y="85"/>
                    <a:pt x="149" y="85"/>
                    <a:pt x="149" y="85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36" y="85"/>
                    <a:pt x="32" y="90"/>
                    <a:pt x="32" y="96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4" y="117"/>
                    <a:pt x="0" y="122"/>
                    <a:pt x="0" y="128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309" y="277"/>
                    <a:pt x="309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128"/>
                    <a:pt x="320" y="128"/>
                    <a:pt x="320" y="128"/>
                  </a:cubicBezTo>
                  <a:cubicBezTo>
                    <a:pt x="320" y="122"/>
                    <a:pt x="315" y="117"/>
                    <a:pt x="309" y="117"/>
                  </a:cubicBezTo>
                  <a:close/>
                  <a:moveTo>
                    <a:pt x="170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170" y="42"/>
                    <a:pt x="170" y="42"/>
                    <a:pt x="170" y="42"/>
                  </a:cubicBezTo>
                  <a:lnTo>
                    <a:pt x="170" y="21"/>
                  </a:lnTo>
                  <a:close/>
                  <a:moveTo>
                    <a:pt x="298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18"/>
                    <a:pt x="59" y="213"/>
                    <a:pt x="53" y="213"/>
                  </a:cubicBezTo>
                  <a:cubicBezTo>
                    <a:pt x="47" y="213"/>
                    <a:pt x="42" y="218"/>
                    <a:pt x="42" y="224"/>
                  </a:cubicBezTo>
                  <a:cubicBezTo>
                    <a:pt x="42" y="256"/>
                    <a:pt x="42" y="256"/>
                    <a:pt x="42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138"/>
                    <a:pt x="21" y="138"/>
                    <a:pt x="21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48" y="138"/>
                    <a:pt x="53" y="134"/>
                    <a:pt x="53" y="128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266" y="106"/>
                    <a:pt x="266" y="106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266" y="134"/>
                    <a:pt x="271" y="138"/>
                    <a:pt x="277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56"/>
                  </a:lnTo>
                  <a:close/>
                  <a:moveTo>
                    <a:pt x="64" y="181"/>
                  </a:moveTo>
                  <a:cubicBezTo>
                    <a:pt x="64" y="187"/>
                    <a:pt x="59" y="192"/>
                    <a:pt x="53" y="192"/>
                  </a:cubicBezTo>
                  <a:cubicBezTo>
                    <a:pt x="47" y="192"/>
                    <a:pt x="42" y="187"/>
                    <a:pt x="42" y="181"/>
                  </a:cubicBezTo>
                  <a:cubicBezTo>
                    <a:pt x="42" y="175"/>
                    <a:pt x="47" y="170"/>
                    <a:pt x="53" y="170"/>
                  </a:cubicBezTo>
                  <a:cubicBezTo>
                    <a:pt x="59" y="170"/>
                    <a:pt x="64" y="175"/>
                    <a:pt x="64" y="181"/>
                  </a:cubicBezTo>
                  <a:close/>
                  <a:moveTo>
                    <a:pt x="106" y="181"/>
                  </a:moveTo>
                  <a:cubicBezTo>
                    <a:pt x="106" y="187"/>
                    <a:pt x="102" y="192"/>
                    <a:pt x="96" y="192"/>
                  </a:cubicBezTo>
                  <a:cubicBezTo>
                    <a:pt x="90" y="192"/>
                    <a:pt x="85" y="187"/>
                    <a:pt x="85" y="181"/>
                  </a:cubicBezTo>
                  <a:cubicBezTo>
                    <a:pt x="85" y="175"/>
                    <a:pt x="90" y="170"/>
                    <a:pt x="96" y="170"/>
                  </a:cubicBezTo>
                  <a:cubicBezTo>
                    <a:pt x="102" y="170"/>
                    <a:pt x="106" y="175"/>
                    <a:pt x="106" y="181"/>
                  </a:cubicBezTo>
                  <a:close/>
                  <a:moveTo>
                    <a:pt x="149" y="181"/>
                  </a:moveTo>
                  <a:cubicBezTo>
                    <a:pt x="149" y="187"/>
                    <a:pt x="144" y="192"/>
                    <a:pt x="138" y="192"/>
                  </a:cubicBezTo>
                  <a:cubicBezTo>
                    <a:pt x="132" y="192"/>
                    <a:pt x="128" y="187"/>
                    <a:pt x="128" y="181"/>
                  </a:cubicBezTo>
                  <a:cubicBezTo>
                    <a:pt x="128" y="175"/>
                    <a:pt x="132" y="170"/>
                    <a:pt x="138" y="170"/>
                  </a:cubicBezTo>
                  <a:cubicBezTo>
                    <a:pt x="144" y="170"/>
                    <a:pt x="149" y="175"/>
                    <a:pt x="149" y="181"/>
                  </a:cubicBezTo>
                  <a:close/>
                  <a:moveTo>
                    <a:pt x="192" y="181"/>
                  </a:moveTo>
                  <a:cubicBezTo>
                    <a:pt x="192" y="187"/>
                    <a:pt x="187" y="192"/>
                    <a:pt x="181" y="192"/>
                  </a:cubicBezTo>
                  <a:cubicBezTo>
                    <a:pt x="175" y="192"/>
                    <a:pt x="170" y="187"/>
                    <a:pt x="170" y="181"/>
                  </a:cubicBezTo>
                  <a:cubicBezTo>
                    <a:pt x="170" y="175"/>
                    <a:pt x="175" y="170"/>
                    <a:pt x="181" y="170"/>
                  </a:cubicBezTo>
                  <a:cubicBezTo>
                    <a:pt x="187" y="170"/>
                    <a:pt x="192" y="175"/>
                    <a:pt x="192" y="181"/>
                  </a:cubicBezTo>
                  <a:close/>
                  <a:moveTo>
                    <a:pt x="234" y="181"/>
                  </a:moveTo>
                  <a:cubicBezTo>
                    <a:pt x="234" y="187"/>
                    <a:pt x="230" y="192"/>
                    <a:pt x="224" y="192"/>
                  </a:cubicBezTo>
                  <a:cubicBezTo>
                    <a:pt x="218" y="192"/>
                    <a:pt x="213" y="187"/>
                    <a:pt x="213" y="181"/>
                  </a:cubicBezTo>
                  <a:cubicBezTo>
                    <a:pt x="213" y="175"/>
                    <a:pt x="218" y="170"/>
                    <a:pt x="224" y="170"/>
                  </a:cubicBezTo>
                  <a:cubicBezTo>
                    <a:pt x="230" y="170"/>
                    <a:pt x="234" y="175"/>
                    <a:pt x="234" y="181"/>
                  </a:cubicBezTo>
                  <a:close/>
                  <a:moveTo>
                    <a:pt x="106" y="138"/>
                  </a:moveTo>
                  <a:cubicBezTo>
                    <a:pt x="106" y="144"/>
                    <a:pt x="102" y="149"/>
                    <a:pt x="96" y="149"/>
                  </a:cubicBezTo>
                  <a:cubicBezTo>
                    <a:pt x="90" y="149"/>
                    <a:pt x="85" y="144"/>
                    <a:pt x="85" y="138"/>
                  </a:cubicBezTo>
                  <a:cubicBezTo>
                    <a:pt x="85" y="132"/>
                    <a:pt x="90" y="128"/>
                    <a:pt x="96" y="128"/>
                  </a:cubicBezTo>
                  <a:cubicBezTo>
                    <a:pt x="102" y="128"/>
                    <a:pt x="106" y="132"/>
                    <a:pt x="106" y="138"/>
                  </a:cubicBezTo>
                  <a:close/>
                  <a:moveTo>
                    <a:pt x="149" y="138"/>
                  </a:moveTo>
                  <a:cubicBezTo>
                    <a:pt x="149" y="144"/>
                    <a:pt x="144" y="149"/>
                    <a:pt x="138" y="149"/>
                  </a:cubicBezTo>
                  <a:cubicBezTo>
                    <a:pt x="132" y="149"/>
                    <a:pt x="128" y="144"/>
                    <a:pt x="128" y="138"/>
                  </a:cubicBezTo>
                  <a:cubicBezTo>
                    <a:pt x="128" y="132"/>
                    <a:pt x="132" y="128"/>
                    <a:pt x="138" y="128"/>
                  </a:cubicBezTo>
                  <a:cubicBezTo>
                    <a:pt x="144" y="128"/>
                    <a:pt x="149" y="132"/>
                    <a:pt x="149" y="138"/>
                  </a:cubicBezTo>
                  <a:close/>
                  <a:moveTo>
                    <a:pt x="192" y="138"/>
                  </a:moveTo>
                  <a:cubicBezTo>
                    <a:pt x="192" y="144"/>
                    <a:pt x="187" y="149"/>
                    <a:pt x="181" y="149"/>
                  </a:cubicBezTo>
                  <a:cubicBezTo>
                    <a:pt x="175" y="149"/>
                    <a:pt x="170" y="144"/>
                    <a:pt x="170" y="138"/>
                  </a:cubicBezTo>
                  <a:cubicBezTo>
                    <a:pt x="170" y="132"/>
                    <a:pt x="175" y="128"/>
                    <a:pt x="181" y="128"/>
                  </a:cubicBezTo>
                  <a:cubicBezTo>
                    <a:pt x="187" y="128"/>
                    <a:pt x="192" y="132"/>
                    <a:pt x="192" y="138"/>
                  </a:cubicBezTo>
                  <a:close/>
                  <a:moveTo>
                    <a:pt x="234" y="138"/>
                  </a:moveTo>
                  <a:cubicBezTo>
                    <a:pt x="234" y="144"/>
                    <a:pt x="230" y="149"/>
                    <a:pt x="224" y="149"/>
                  </a:cubicBezTo>
                  <a:cubicBezTo>
                    <a:pt x="218" y="149"/>
                    <a:pt x="213" y="144"/>
                    <a:pt x="213" y="138"/>
                  </a:cubicBezTo>
                  <a:cubicBezTo>
                    <a:pt x="213" y="132"/>
                    <a:pt x="218" y="128"/>
                    <a:pt x="224" y="128"/>
                  </a:cubicBezTo>
                  <a:cubicBezTo>
                    <a:pt x="230" y="128"/>
                    <a:pt x="234" y="132"/>
                    <a:pt x="234" y="138"/>
                  </a:cubicBezTo>
                  <a:close/>
                  <a:moveTo>
                    <a:pt x="277" y="181"/>
                  </a:moveTo>
                  <a:cubicBezTo>
                    <a:pt x="277" y="187"/>
                    <a:pt x="272" y="192"/>
                    <a:pt x="266" y="192"/>
                  </a:cubicBezTo>
                  <a:cubicBezTo>
                    <a:pt x="260" y="192"/>
                    <a:pt x="256" y="187"/>
                    <a:pt x="256" y="181"/>
                  </a:cubicBezTo>
                  <a:cubicBezTo>
                    <a:pt x="256" y="175"/>
                    <a:pt x="260" y="170"/>
                    <a:pt x="266" y="170"/>
                  </a:cubicBezTo>
                  <a:cubicBezTo>
                    <a:pt x="272" y="170"/>
                    <a:pt x="277" y="175"/>
                    <a:pt x="277" y="181"/>
                  </a:cubicBezTo>
                  <a:close/>
                  <a:moveTo>
                    <a:pt x="106" y="224"/>
                  </a:moveTo>
                  <a:cubicBezTo>
                    <a:pt x="106" y="230"/>
                    <a:pt x="102" y="234"/>
                    <a:pt x="96" y="234"/>
                  </a:cubicBezTo>
                  <a:cubicBezTo>
                    <a:pt x="90" y="234"/>
                    <a:pt x="85" y="230"/>
                    <a:pt x="85" y="224"/>
                  </a:cubicBezTo>
                  <a:cubicBezTo>
                    <a:pt x="85" y="218"/>
                    <a:pt x="90" y="213"/>
                    <a:pt x="96" y="213"/>
                  </a:cubicBezTo>
                  <a:cubicBezTo>
                    <a:pt x="102" y="213"/>
                    <a:pt x="106" y="218"/>
                    <a:pt x="106" y="224"/>
                  </a:cubicBezTo>
                  <a:close/>
                  <a:moveTo>
                    <a:pt x="149" y="224"/>
                  </a:moveTo>
                  <a:cubicBezTo>
                    <a:pt x="149" y="230"/>
                    <a:pt x="144" y="234"/>
                    <a:pt x="138" y="234"/>
                  </a:cubicBezTo>
                  <a:cubicBezTo>
                    <a:pt x="132" y="234"/>
                    <a:pt x="128" y="230"/>
                    <a:pt x="128" y="224"/>
                  </a:cubicBezTo>
                  <a:cubicBezTo>
                    <a:pt x="128" y="218"/>
                    <a:pt x="132" y="213"/>
                    <a:pt x="138" y="213"/>
                  </a:cubicBezTo>
                  <a:cubicBezTo>
                    <a:pt x="144" y="213"/>
                    <a:pt x="149" y="218"/>
                    <a:pt x="149" y="224"/>
                  </a:cubicBezTo>
                  <a:close/>
                  <a:moveTo>
                    <a:pt x="192" y="224"/>
                  </a:moveTo>
                  <a:cubicBezTo>
                    <a:pt x="192" y="230"/>
                    <a:pt x="187" y="234"/>
                    <a:pt x="181" y="234"/>
                  </a:cubicBezTo>
                  <a:cubicBezTo>
                    <a:pt x="175" y="234"/>
                    <a:pt x="170" y="230"/>
                    <a:pt x="170" y="224"/>
                  </a:cubicBezTo>
                  <a:cubicBezTo>
                    <a:pt x="170" y="218"/>
                    <a:pt x="175" y="213"/>
                    <a:pt x="181" y="213"/>
                  </a:cubicBezTo>
                  <a:cubicBezTo>
                    <a:pt x="187" y="213"/>
                    <a:pt x="192" y="218"/>
                    <a:pt x="192" y="224"/>
                  </a:cubicBezTo>
                  <a:close/>
                  <a:moveTo>
                    <a:pt x="234" y="224"/>
                  </a:moveTo>
                  <a:cubicBezTo>
                    <a:pt x="234" y="230"/>
                    <a:pt x="230" y="234"/>
                    <a:pt x="224" y="234"/>
                  </a:cubicBezTo>
                  <a:cubicBezTo>
                    <a:pt x="218" y="234"/>
                    <a:pt x="213" y="230"/>
                    <a:pt x="213" y="224"/>
                  </a:cubicBezTo>
                  <a:cubicBezTo>
                    <a:pt x="213" y="218"/>
                    <a:pt x="218" y="213"/>
                    <a:pt x="224" y="213"/>
                  </a:cubicBezTo>
                  <a:cubicBezTo>
                    <a:pt x="230" y="213"/>
                    <a:pt x="234" y="218"/>
                    <a:pt x="234" y="224"/>
                  </a:cubicBezTo>
                  <a:close/>
                  <a:moveTo>
                    <a:pt x="277" y="224"/>
                  </a:moveTo>
                  <a:cubicBezTo>
                    <a:pt x="277" y="230"/>
                    <a:pt x="272" y="234"/>
                    <a:pt x="266" y="234"/>
                  </a:cubicBezTo>
                  <a:cubicBezTo>
                    <a:pt x="260" y="234"/>
                    <a:pt x="256" y="230"/>
                    <a:pt x="256" y="224"/>
                  </a:cubicBezTo>
                  <a:cubicBezTo>
                    <a:pt x="256" y="218"/>
                    <a:pt x="260" y="213"/>
                    <a:pt x="266" y="213"/>
                  </a:cubicBezTo>
                  <a:cubicBezTo>
                    <a:pt x="272" y="213"/>
                    <a:pt x="277" y="218"/>
                    <a:pt x="277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3" name="Freeform 23"/>
          <p:cNvSpPr>
            <a:spLocks noChangeAspect="1" noEditPoints="1"/>
          </p:cNvSpPr>
          <p:nvPr/>
        </p:nvSpPr>
        <p:spPr bwMode="auto">
          <a:xfrm>
            <a:off x="6401175" y="2051054"/>
            <a:ext cx="370106" cy="369021"/>
          </a:xfrm>
          <a:custGeom>
            <a:avLst/>
            <a:gdLst>
              <a:gd name="T0" fmla="*/ 192 w 512"/>
              <a:gd name="T1" fmla="*/ 352 h 512"/>
              <a:gd name="T2" fmla="*/ 266 w 512"/>
              <a:gd name="T3" fmla="*/ 117 h 512"/>
              <a:gd name="T4" fmla="*/ 227 w 512"/>
              <a:gd name="T5" fmla="*/ 141 h 512"/>
              <a:gd name="T6" fmla="*/ 245 w 512"/>
              <a:gd name="T7" fmla="*/ 149 h 512"/>
              <a:gd name="T8" fmla="*/ 234 w 512"/>
              <a:gd name="T9" fmla="*/ 160 h 512"/>
              <a:gd name="T10" fmla="*/ 225 w 512"/>
              <a:gd name="T11" fmla="*/ 188 h 512"/>
              <a:gd name="T12" fmla="*/ 244 w 512"/>
              <a:gd name="T13" fmla="*/ 188 h 512"/>
              <a:gd name="T14" fmla="*/ 234 w 512"/>
              <a:gd name="T15" fmla="*/ 202 h 512"/>
              <a:gd name="T16" fmla="*/ 225 w 512"/>
              <a:gd name="T17" fmla="*/ 188 h 512"/>
              <a:gd name="T18" fmla="*/ 238 w 512"/>
              <a:gd name="T19" fmla="*/ 225 h 512"/>
              <a:gd name="T20" fmla="*/ 242 w 512"/>
              <a:gd name="T21" fmla="*/ 242 h 512"/>
              <a:gd name="T22" fmla="*/ 227 w 512"/>
              <a:gd name="T23" fmla="*/ 242 h 512"/>
              <a:gd name="T24" fmla="*/ 225 w 512"/>
              <a:gd name="T25" fmla="*/ 273 h 512"/>
              <a:gd name="T26" fmla="*/ 245 w 512"/>
              <a:gd name="T27" fmla="*/ 277 h 512"/>
              <a:gd name="T28" fmla="*/ 230 w 512"/>
              <a:gd name="T29" fmla="*/ 287 h 512"/>
              <a:gd name="T30" fmla="*/ 227 w 512"/>
              <a:gd name="T31" fmla="*/ 312 h 512"/>
              <a:gd name="T32" fmla="*/ 242 w 512"/>
              <a:gd name="T33" fmla="*/ 312 h 512"/>
              <a:gd name="T34" fmla="*/ 238 w 512"/>
              <a:gd name="T35" fmla="*/ 329 h 512"/>
              <a:gd name="T36" fmla="*/ 224 w 512"/>
              <a:gd name="T37" fmla="*/ 320 h 512"/>
              <a:gd name="T38" fmla="*/ 230 w 512"/>
              <a:gd name="T39" fmla="*/ 353 h 512"/>
              <a:gd name="T40" fmla="*/ 244 w 512"/>
              <a:gd name="T41" fmla="*/ 366 h 512"/>
              <a:gd name="T42" fmla="*/ 230 w 512"/>
              <a:gd name="T43" fmla="*/ 372 h 512"/>
              <a:gd name="T44" fmla="*/ 225 w 512"/>
              <a:gd name="T45" fmla="*/ 358 h 512"/>
              <a:gd name="T46" fmla="*/ 201 w 512"/>
              <a:gd name="T47" fmla="*/ 145 h 512"/>
              <a:gd name="T48" fmla="*/ 188 w 512"/>
              <a:gd name="T49" fmla="*/ 159 h 512"/>
              <a:gd name="T50" fmla="*/ 182 w 512"/>
              <a:gd name="T51" fmla="*/ 188 h 512"/>
              <a:gd name="T52" fmla="*/ 190 w 512"/>
              <a:gd name="T53" fmla="*/ 181 h 512"/>
              <a:gd name="T54" fmla="*/ 202 w 512"/>
              <a:gd name="T55" fmla="*/ 192 h 512"/>
              <a:gd name="T56" fmla="*/ 184 w 512"/>
              <a:gd name="T57" fmla="*/ 199 h 512"/>
              <a:gd name="T58" fmla="*/ 186 w 512"/>
              <a:gd name="T59" fmla="*/ 225 h 512"/>
              <a:gd name="T60" fmla="*/ 196 w 512"/>
              <a:gd name="T61" fmla="*/ 225 h 512"/>
              <a:gd name="T62" fmla="*/ 201 w 512"/>
              <a:gd name="T63" fmla="*/ 238 h 512"/>
              <a:gd name="T64" fmla="*/ 188 w 512"/>
              <a:gd name="T65" fmla="*/ 244 h 512"/>
              <a:gd name="T66" fmla="*/ 182 w 512"/>
              <a:gd name="T67" fmla="*/ 273 h 512"/>
              <a:gd name="T68" fmla="*/ 199 w 512"/>
              <a:gd name="T69" fmla="*/ 269 h 512"/>
              <a:gd name="T70" fmla="*/ 199 w 512"/>
              <a:gd name="T71" fmla="*/ 285 h 512"/>
              <a:gd name="T72" fmla="*/ 182 w 512"/>
              <a:gd name="T73" fmla="*/ 273 h 512"/>
              <a:gd name="T74" fmla="*/ 202 w 512"/>
              <a:gd name="T75" fmla="*/ 320 h 512"/>
              <a:gd name="T76" fmla="*/ 192 w 512"/>
              <a:gd name="T77" fmla="*/ 330 h 512"/>
              <a:gd name="T78" fmla="*/ 184 w 512"/>
              <a:gd name="T79" fmla="*/ 312 h 512"/>
              <a:gd name="T80" fmla="*/ 320 w 512"/>
              <a:gd name="T81" fmla="*/ 352 h 512"/>
              <a:gd name="T82" fmla="*/ 352 w 512"/>
              <a:gd name="T83" fmla="*/ 202 h 512"/>
              <a:gd name="T84" fmla="*/ 314 w 512"/>
              <a:gd name="T85" fmla="*/ 225 h 512"/>
              <a:gd name="T86" fmla="*/ 330 w 512"/>
              <a:gd name="T87" fmla="*/ 234 h 512"/>
              <a:gd name="T88" fmla="*/ 320 w 512"/>
              <a:gd name="T89" fmla="*/ 245 h 512"/>
              <a:gd name="T90" fmla="*/ 309 w 512"/>
              <a:gd name="T91" fmla="*/ 234 h 512"/>
              <a:gd name="T92" fmla="*/ 316 w 512"/>
              <a:gd name="T93" fmla="*/ 267 h 512"/>
              <a:gd name="T94" fmla="*/ 330 w 512"/>
              <a:gd name="T95" fmla="*/ 277 h 512"/>
              <a:gd name="T96" fmla="*/ 320 w 512"/>
              <a:gd name="T97" fmla="*/ 288 h 512"/>
              <a:gd name="T98" fmla="*/ 309 w 512"/>
              <a:gd name="T99" fmla="*/ 277 h 512"/>
              <a:gd name="T100" fmla="*/ 314 w 512"/>
              <a:gd name="T101" fmla="*/ 311 h 512"/>
              <a:gd name="T102" fmla="*/ 324 w 512"/>
              <a:gd name="T103" fmla="*/ 310 h 512"/>
              <a:gd name="T104" fmla="*/ 330 w 512"/>
              <a:gd name="T105" fmla="*/ 320 h 512"/>
              <a:gd name="T106" fmla="*/ 312 w 512"/>
              <a:gd name="T107" fmla="*/ 327 h 512"/>
              <a:gd name="T108" fmla="*/ 256 w 512"/>
              <a:gd name="T109" fmla="*/ 0 h 512"/>
              <a:gd name="T110" fmla="*/ 256 w 512"/>
              <a:gd name="T111" fmla="*/ 0 h 512"/>
              <a:gd name="T112" fmla="*/ 138 w 512"/>
              <a:gd name="T113" fmla="*/ 405 h 512"/>
              <a:gd name="T114" fmla="*/ 288 w 512"/>
              <a:gd name="T115" fmla="*/ 106 h 512"/>
              <a:gd name="T116" fmla="*/ 373 w 512"/>
              <a:gd name="T117" fmla="*/ 40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60" y="394"/>
                </a:moveTo>
                <a:cubicBezTo>
                  <a:pt x="181" y="394"/>
                  <a:pt x="181" y="394"/>
                  <a:pt x="181" y="394"/>
                </a:cubicBezTo>
                <a:cubicBezTo>
                  <a:pt x="181" y="362"/>
                  <a:pt x="181" y="362"/>
                  <a:pt x="181" y="362"/>
                </a:cubicBezTo>
                <a:cubicBezTo>
                  <a:pt x="181" y="356"/>
                  <a:pt x="186" y="352"/>
                  <a:pt x="192" y="352"/>
                </a:cubicBezTo>
                <a:cubicBezTo>
                  <a:pt x="198" y="352"/>
                  <a:pt x="202" y="356"/>
                  <a:pt x="202" y="362"/>
                </a:cubicBezTo>
                <a:cubicBezTo>
                  <a:pt x="202" y="394"/>
                  <a:pt x="202" y="394"/>
                  <a:pt x="202" y="394"/>
                </a:cubicBezTo>
                <a:cubicBezTo>
                  <a:pt x="266" y="394"/>
                  <a:pt x="266" y="394"/>
                  <a:pt x="266" y="394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160" y="117"/>
                  <a:pt x="160" y="117"/>
                  <a:pt x="160" y="117"/>
                </a:cubicBezTo>
                <a:lnTo>
                  <a:pt x="160" y="394"/>
                </a:lnTo>
                <a:close/>
                <a:moveTo>
                  <a:pt x="225" y="145"/>
                </a:moveTo>
                <a:cubicBezTo>
                  <a:pt x="225" y="144"/>
                  <a:pt x="226" y="142"/>
                  <a:pt x="227" y="141"/>
                </a:cubicBezTo>
                <a:cubicBezTo>
                  <a:pt x="230" y="138"/>
                  <a:pt x="235" y="137"/>
                  <a:pt x="238" y="139"/>
                </a:cubicBezTo>
                <a:cubicBezTo>
                  <a:pt x="240" y="140"/>
                  <a:pt x="241" y="140"/>
                  <a:pt x="242" y="141"/>
                </a:cubicBezTo>
                <a:cubicBezTo>
                  <a:pt x="243" y="142"/>
                  <a:pt x="244" y="144"/>
                  <a:pt x="244" y="145"/>
                </a:cubicBezTo>
                <a:cubicBezTo>
                  <a:pt x="245" y="146"/>
                  <a:pt x="245" y="148"/>
                  <a:pt x="245" y="149"/>
                </a:cubicBezTo>
                <a:cubicBezTo>
                  <a:pt x="245" y="150"/>
                  <a:pt x="245" y="152"/>
                  <a:pt x="244" y="153"/>
                </a:cubicBezTo>
                <a:cubicBezTo>
                  <a:pt x="244" y="154"/>
                  <a:pt x="243" y="155"/>
                  <a:pt x="242" y="157"/>
                </a:cubicBezTo>
                <a:cubicBezTo>
                  <a:pt x="241" y="158"/>
                  <a:pt x="240" y="158"/>
                  <a:pt x="238" y="159"/>
                </a:cubicBezTo>
                <a:cubicBezTo>
                  <a:pt x="237" y="159"/>
                  <a:pt x="236" y="160"/>
                  <a:pt x="234" y="160"/>
                </a:cubicBezTo>
                <a:cubicBezTo>
                  <a:pt x="231" y="160"/>
                  <a:pt x="229" y="159"/>
                  <a:pt x="227" y="157"/>
                </a:cubicBezTo>
                <a:cubicBezTo>
                  <a:pt x="225" y="155"/>
                  <a:pt x="224" y="152"/>
                  <a:pt x="224" y="149"/>
                </a:cubicBezTo>
                <a:cubicBezTo>
                  <a:pt x="224" y="148"/>
                  <a:pt x="224" y="146"/>
                  <a:pt x="225" y="145"/>
                </a:cubicBezTo>
                <a:close/>
                <a:moveTo>
                  <a:pt x="225" y="188"/>
                </a:moveTo>
                <a:cubicBezTo>
                  <a:pt x="225" y="186"/>
                  <a:pt x="226" y="185"/>
                  <a:pt x="227" y="184"/>
                </a:cubicBezTo>
                <a:cubicBezTo>
                  <a:pt x="228" y="183"/>
                  <a:pt x="229" y="182"/>
                  <a:pt x="230" y="182"/>
                </a:cubicBezTo>
                <a:cubicBezTo>
                  <a:pt x="234" y="180"/>
                  <a:pt x="239" y="181"/>
                  <a:pt x="242" y="184"/>
                </a:cubicBezTo>
                <a:cubicBezTo>
                  <a:pt x="243" y="185"/>
                  <a:pt x="244" y="186"/>
                  <a:pt x="244" y="188"/>
                </a:cubicBezTo>
                <a:cubicBezTo>
                  <a:pt x="245" y="189"/>
                  <a:pt x="245" y="190"/>
                  <a:pt x="245" y="192"/>
                </a:cubicBezTo>
                <a:cubicBezTo>
                  <a:pt x="245" y="195"/>
                  <a:pt x="244" y="197"/>
                  <a:pt x="242" y="199"/>
                </a:cubicBezTo>
                <a:cubicBezTo>
                  <a:pt x="241" y="200"/>
                  <a:pt x="240" y="201"/>
                  <a:pt x="238" y="201"/>
                </a:cubicBezTo>
                <a:cubicBezTo>
                  <a:pt x="237" y="202"/>
                  <a:pt x="236" y="202"/>
                  <a:pt x="234" y="202"/>
                </a:cubicBezTo>
                <a:cubicBezTo>
                  <a:pt x="233" y="202"/>
                  <a:pt x="232" y="202"/>
                  <a:pt x="230" y="201"/>
                </a:cubicBezTo>
                <a:cubicBezTo>
                  <a:pt x="229" y="201"/>
                  <a:pt x="228" y="200"/>
                  <a:pt x="227" y="199"/>
                </a:cubicBezTo>
                <a:cubicBezTo>
                  <a:pt x="225" y="197"/>
                  <a:pt x="224" y="195"/>
                  <a:pt x="224" y="192"/>
                </a:cubicBezTo>
                <a:cubicBezTo>
                  <a:pt x="224" y="190"/>
                  <a:pt x="224" y="189"/>
                  <a:pt x="225" y="188"/>
                </a:cubicBezTo>
                <a:close/>
                <a:moveTo>
                  <a:pt x="227" y="227"/>
                </a:moveTo>
                <a:cubicBezTo>
                  <a:pt x="228" y="226"/>
                  <a:pt x="229" y="225"/>
                  <a:pt x="230" y="225"/>
                </a:cubicBezTo>
                <a:cubicBezTo>
                  <a:pt x="232" y="224"/>
                  <a:pt x="234" y="223"/>
                  <a:pt x="236" y="224"/>
                </a:cubicBezTo>
                <a:cubicBezTo>
                  <a:pt x="237" y="224"/>
                  <a:pt x="238" y="224"/>
                  <a:pt x="238" y="225"/>
                </a:cubicBezTo>
                <a:cubicBezTo>
                  <a:pt x="239" y="225"/>
                  <a:pt x="240" y="225"/>
                  <a:pt x="240" y="225"/>
                </a:cubicBezTo>
                <a:cubicBezTo>
                  <a:pt x="241" y="226"/>
                  <a:pt x="241" y="226"/>
                  <a:pt x="242" y="227"/>
                </a:cubicBezTo>
                <a:cubicBezTo>
                  <a:pt x="244" y="229"/>
                  <a:pt x="245" y="232"/>
                  <a:pt x="245" y="234"/>
                </a:cubicBezTo>
                <a:cubicBezTo>
                  <a:pt x="245" y="237"/>
                  <a:pt x="244" y="240"/>
                  <a:pt x="242" y="242"/>
                </a:cubicBezTo>
                <a:cubicBezTo>
                  <a:pt x="241" y="243"/>
                  <a:pt x="240" y="244"/>
                  <a:pt x="238" y="244"/>
                </a:cubicBezTo>
                <a:cubicBezTo>
                  <a:pt x="237" y="245"/>
                  <a:pt x="236" y="245"/>
                  <a:pt x="234" y="245"/>
                </a:cubicBezTo>
                <a:cubicBezTo>
                  <a:pt x="233" y="245"/>
                  <a:pt x="232" y="245"/>
                  <a:pt x="230" y="244"/>
                </a:cubicBezTo>
                <a:cubicBezTo>
                  <a:pt x="229" y="244"/>
                  <a:pt x="228" y="243"/>
                  <a:pt x="227" y="242"/>
                </a:cubicBezTo>
                <a:cubicBezTo>
                  <a:pt x="226" y="241"/>
                  <a:pt x="225" y="240"/>
                  <a:pt x="225" y="238"/>
                </a:cubicBezTo>
                <a:cubicBezTo>
                  <a:pt x="224" y="237"/>
                  <a:pt x="224" y="236"/>
                  <a:pt x="224" y="234"/>
                </a:cubicBezTo>
                <a:cubicBezTo>
                  <a:pt x="224" y="232"/>
                  <a:pt x="225" y="229"/>
                  <a:pt x="227" y="227"/>
                </a:cubicBezTo>
                <a:close/>
                <a:moveTo>
                  <a:pt x="225" y="273"/>
                </a:moveTo>
                <a:cubicBezTo>
                  <a:pt x="225" y="272"/>
                  <a:pt x="226" y="270"/>
                  <a:pt x="227" y="269"/>
                </a:cubicBezTo>
                <a:cubicBezTo>
                  <a:pt x="231" y="265"/>
                  <a:pt x="238" y="265"/>
                  <a:pt x="242" y="269"/>
                </a:cubicBezTo>
                <a:cubicBezTo>
                  <a:pt x="243" y="270"/>
                  <a:pt x="244" y="272"/>
                  <a:pt x="244" y="273"/>
                </a:cubicBezTo>
                <a:cubicBezTo>
                  <a:pt x="245" y="274"/>
                  <a:pt x="245" y="276"/>
                  <a:pt x="245" y="277"/>
                </a:cubicBezTo>
                <a:cubicBezTo>
                  <a:pt x="245" y="278"/>
                  <a:pt x="245" y="280"/>
                  <a:pt x="244" y="281"/>
                </a:cubicBezTo>
                <a:cubicBezTo>
                  <a:pt x="244" y="282"/>
                  <a:pt x="243" y="284"/>
                  <a:pt x="242" y="285"/>
                </a:cubicBezTo>
                <a:cubicBezTo>
                  <a:pt x="240" y="287"/>
                  <a:pt x="237" y="288"/>
                  <a:pt x="234" y="288"/>
                </a:cubicBezTo>
                <a:cubicBezTo>
                  <a:pt x="233" y="288"/>
                  <a:pt x="232" y="287"/>
                  <a:pt x="230" y="287"/>
                </a:cubicBezTo>
                <a:cubicBezTo>
                  <a:pt x="229" y="286"/>
                  <a:pt x="228" y="286"/>
                  <a:pt x="227" y="285"/>
                </a:cubicBezTo>
                <a:cubicBezTo>
                  <a:pt x="225" y="283"/>
                  <a:pt x="224" y="280"/>
                  <a:pt x="224" y="277"/>
                </a:cubicBezTo>
                <a:cubicBezTo>
                  <a:pt x="224" y="276"/>
                  <a:pt x="224" y="274"/>
                  <a:pt x="225" y="273"/>
                </a:cubicBezTo>
                <a:close/>
                <a:moveTo>
                  <a:pt x="227" y="312"/>
                </a:moveTo>
                <a:cubicBezTo>
                  <a:pt x="227" y="312"/>
                  <a:pt x="228" y="311"/>
                  <a:pt x="228" y="311"/>
                </a:cubicBezTo>
                <a:cubicBezTo>
                  <a:pt x="229" y="310"/>
                  <a:pt x="230" y="310"/>
                  <a:pt x="230" y="310"/>
                </a:cubicBezTo>
                <a:cubicBezTo>
                  <a:pt x="231" y="310"/>
                  <a:pt x="232" y="309"/>
                  <a:pt x="232" y="309"/>
                </a:cubicBezTo>
                <a:cubicBezTo>
                  <a:pt x="236" y="308"/>
                  <a:pt x="239" y="310"/>
                  <a:pt x="242" y="312"/>
                </a:cubicBezTo>
                <a:cubicBezTo>
                  <a:pt x="244" y="314"/>
                  <a:pt x="245" y="317"/>
                  <a:pt x="245" y="320"/>
                </a:cubicBezTo>
                <a:cubicBezTo>
                  <a:pt x="245" y="321"/>
                  <a:pt x="245" y="322"/>
                  <a:pt x="244" y="324"/>
                </a:cubicBezTo>
                <a:cubicBezTo>
                  <a:pt x="244" y="325"/>
                  <a:pt x="243" y="326"/>
                  <a:pt x="242" y="327"/>
                </a:cubicBezTo>
                <a:cubicBezTo>
                  <a:pt x="241" y="328"/>
                  <a:pt x="240" y="329"/>
                  <a:pt x="238" y="329"/>
                </a:cubicBezTo>
                <a:cubicBezTo>
                  <a:pt x="237" y="330"/>
                  <a:pt x="236" y="330"/>
                  <a:pt x="234" y="330"/>
                </a:cubicBezTo>
                <a:cubicBezTo>
                  <a:pt x="231" y="330"/>
                  <a:pt x="229" y="329"/>
                  <a:pt x="227" y="327"/>
                </a:cubicBezTo>
                <a:cubicBezTo>
                  <a:pt x="226" y="326"/>
                  <a:pt x="225" y="325"/>
                  <a:pt x="225" y="324"/>
                </a:cubicBezTo>
                <a:cubicBezTo>
                  <a:pt x="224" y="322"/>
                  <a:pt x="224" y="321"/>
                  <a:pt x="224" y="320"/>
                </a:cubicBezTo>
                <a:cubicBezTo>
                  <a:pt x="224" y="317"/>
                  <a:pt x="225" y="314"/>
                  <a:pt x="227" y="312"/>
                </a:cubicBezTo>
                <a:close/>
                <a:moveTo>
                  <a:pt x="225" y="358"/>
                </a:moveTo>
                <a:cubicBezTo>
                  <a:pt x="225" y="357"/>
                  <a:pt x="226" y="356"/>
                  <a:pt x="227" y="355"/>
                </a:cubicBezTo>
                <a:cubicBezTo>
                  <a:pt x="228" y="354"/>
                  <a:pt x="229" y="353"/>
                  <a:pt x="230" y="353"/>
                </a:cubicBezTo>
                <a:cubicBezTo>
                  <a:pt x="234" y="351"/>
                  <a:pt x="239" y="352"/>
                  <a:pt x="242" y="355"/>
                </a:cubicBezTo>
                <a:cubicBezTo>
                  <a:pt x="243" y="356"/>
                  <a:pt x="244" y="357"/>
                  <a:pt x="244" y="358"/>
                </a:cubicBezTo>
                <a:cubicBezTo>
                  <a:pt x="245" y="360"/>
                  <a:pt x="245" y="361"/>
                  <a:pt x="245" y="362"/>
                </a:cubicBezTo>
                <a:cubicBezTo>
                  <a:pt x="245" y="364"/>
                  <a:pt x="245" y="365"/>
                  <a:pt x="244" y="366"/>
                </a:cubicBezTo>
                <a:cubicBezTo>
                  <a:pt x="244" y="368"/>
                  <a:pt x="243" y="369"/>
                  <a:pt x="242" y="370"/>
                </a:cubicBezTo>
                <a:cubicBezTo>
                  <a:pt x="241" y="371"/>
                  <a:pt x="240" y="372"/>
                  <a:pt x="238" y="372"/>
                </a:cubicBezTo>
                <a:cubicBezTo>
                  <a:pt x="237" y="373"/>
                  <a:pt x="236" y="373"/>
                  <a:pt x="234" y="373"/>
                </a:cubicBezTo>
                <a:cubicBezTo>
                  <a:pt x="233" y="373"/>
                  <a:pt x="232" y="373"/>
                  <a:pt x="230" y="372"/>
                </a:cubicBezTo>
                <a:cubicBezTo>
                  <a:pt x="229" y="372"/>
                  <a:pt x="228" y="371"/>
                  <a:pt x="227" y="370"/>
                </a:cubicBezTo>
                <a:cubicBezTo>
                  <a:pt x="226" y="369"/>
                  <a:pt x="225" y="368"/>
                  <a:pt x="225" y="366"/>
                </a:cubicBezTo>
                <a:cubicBezTo>
                  <a:pt x="224" y="365"/>
                  <a:pt x="224" y="364"/>
                  <a:pt x="224" y="362"/>
                </a:cubicBezTo>
                <a:cubicBezTo>
                  <a:pt x="224" y="361"/>
                  <a:pt x="224" y="360"/>
                  <a:pt x="225" y="358"/>
                </a:cubicBezTo>
                <a:close/>
                <a:moveTo>
                  <a:pt x="182" y="145"/>
                </a:moveTo>
                <a:cubicBezTo>
                  <a:pt x="182" y="144"/>
                  <a:pt x="183" y="142"/>
                  <a:pt x="184" y="141"/>
                </a:cubicBezTo>
                <a:cubicBezTo>
                  <a:pt x="188" y="137"/>
                  <a:pt x="195" y="137"/>
                  <a:pt x="199" y="141"/>
                </a:cubicBezTo>
                <a:cubicBezTo>
                  <a:pt x="200" y="142"/>
                  <a:pt x="201" y="144"/>
                  <a:pt x="201" y="145"/>
                </a:cubicBezTo>
                <a:cubicBezTo>
                  <a:pt x="202" y="146"/>
                  <a:pt x="202" y="148"/>
                  <a:pt x="202" y="149"/>
                </a:cubicBezTo>
                <a:cubicBezTo>
                  <a:pt x="202" y="152"/>
                  <a:pt x="201" y="155"/>
                  <a:pt x="199" y="157"/>
                </a:cubicBezTo>
                <a:cubicBezTo>
                  <a:pt x="197" y="159"/>
                  <a:pt x="195" y="160"/>
                  <a:pt x="192" y="160"/>
                </a:cubicBezTo>
                <a:cubicBezTo>
                  <a:pt x="190" y="160"/>
                  <a:pt x="189" y="159"/>
                  <a:pt x="188" y="159"/>
                </a:cubicBezTo>
                <a:cubicBezTo>
                  <a:pt x="186" y="158"/>
                  <a:pt x="185" y="158"/>
                  <a:pt x="184" y="157"/>
                </a:cubicBezTo>
                <a:cubicBezTo>
                  <a:pt x="182" y="155"/>
                  <a:pt x="181" y="152"/>
                  <a:pt x="181" y="149"/>
                </a:cubicBezTo>
                <a:cubicBezTo>
                  <a:pt x="181" y="148"/>
                  <a:pt x="181" y="146"/>
                  <a:pt x="182" y="145"/>
                </a:cubicBezTo>
                <a:close/>
                <a:moveTo>
                  <a:pt x="182" y="188"/>
                </a:moveTo>
                <a:cubicBezTo>
                  <a:pt x="182" y="186"/>
                  <a:pt x="183" y="185"/>
                  <a:pt x="184" y="184"/>
                </a:cubicBezTo>
                <a:cubicBezTo>
                  <a:pt x="185" y="184"/>
                  <a:pt x="185" y="183"/>
                  <a:pt x="186" y="183"/>
                </a:cubicBezTo>
                <a:cubicBezTo>
                  <a:pt x="186" y="182"/>
                  <a:pt x="187" y="182"/>
                  <a:pt x="188" y="182"/>
                </a:cubicBezTo>
                <a:cubicBezTo>
                  <a:pt x="188" y="182"/>
                  <a:pt x="189" y="181"/>
                  <a:pt x="190" y="181"/>
                </a:cubicBezTo>
                <a:cubicBezTo>
                  <a:pt x="192" y="181"/>
                  <a:pt x="194" y="181"/>
                  <a:pt x="196" y="182"/>
                </a:cubicBezTo>
                <a:cubicBezTo>
                  <a:pt x="197" y="182"/>
                  <a:pt x="198" y="183"/>
                  <a:pt x="199" y="184"/>
                </a:cubicBezTo>
                <a:cubicBezTo>
                  <a:pt x="200" y="185"/>
                  <a:pt x="201" y="186"/>
                  <a:pt x="201" y="188"/>
                </a:cubicBezTo>
                <a:cubicBezTo>
                  <a:pt x="202" y="189"/>
                  <a:pt x="202" y="190"/>
                  <a:pt x="202" y="192"/>
                </a:cubicBezTo>
                <a:cubicBezTo>
                  <a:pt x="202" y="195"/>
                  <a:pt x="201" y="197"/>
                  <a:pt x="199" y="199"/>
                </a:cubicBezTo>
                <a:cubicBezTo>
                  <a:pt x="197" y="201"/>
                  <a:pt x="195" y="202"/>
                  <a:pt x="192" y="202"/>
                </a:cubicBezTo>
                <a:cubicBezTo>
                  <a:pt x="190" y="202"/>
                  <a:pt x="189" y="202"/>
                  <a:pt x="188" y="201"/>
                </a:cubicBezTo>
                <a:cubicBezTo>
                  <a:pt x="186" y="201"/>
                  <a:pt x="185" y="200"/>
                  <a:pt x="184" y="199"/>
                </a:cubicBezTo>
                <a:cubicBezTo>
                  <a:pt x="182" y="197"/>
                  <a:pt x="181" y="195"/>
                  <a:pt x="181" y="192"/>
                </a:cubicBezTo>
                <a:cubicBezTo>
                  <a:pt x="181" y="190"/>
                  <a:pt x="181" y="189"/>
                  <a:pt x="182" y="188"/>
                </a:cubicBezTo>
                <a:close/>
                <a:moveTo>
                  <a:pt x="184" y="227"/>
                </a:moveTo>
                <a:cubicBezTo>
                  <a:pt x="185" y="226"/>
                  <a:pt x="185" y="226"/>
                  <a:pt x="186" y="225"/>
                </a:cubicBezTo>
                <a:cubicBezTo>
                  <a:pt x="186" y="225"/>
                  <a:pt x="187" y="225"/>
                  <a:pt x="188" y="225"/>
                </a:cubicBezTo>
                <a:cubicBezTo>
                  <a:pt x="188" y="224"/>
                  <a:pt x="189" y="224"/>
                  <a:pt x="190" y="224"/>
                </a:cubicBezTo>
                <a:cubicBezTo>
                  <a:pt x="191" y="224"/>
                  <a:pt x="192" y="224"/>
                  <a:pt x="194" y="224"/>
                </a:cubicBezTo>
                <a:cubicBezTo>
                  <a:pt x="194" y="224"/>
                  <a:pt x="195" y="224"/>
                  <a:pt x="196" y="225"/>
                </a:cubicBezTo>
                <a:cubicBezTo>
                  <a:pt x="196" y="225"/>
                  <a:pt x="197" y="225"/>
                  <a:pt x="198" y="225"/>
                </a:cubicBezTo>
                <a:cubicBezTo>
                  <a:pt x="198" y="226"/>
                  <a:pt x="199" y="226"/>
                  <a:pt x="199" y="227"/>
                </a:cubicBezTo>
                <a:cubicBezTo>
                  <a:pt x="201" y="229"/>
                  <a:pt x="202" y="232"/>
                  <a:pt x="202" y="234"/>
                </a:cubicBezTo>
                <a:cubicBezTo>
                  <a:pt x="202" y="236"/>
                  <a:pt x="202" y="237"/>
                  <a:pt x="201" y="238"/>
                </a:cubicBezTo>
                <a:cubicBezTo>
                  <a:pt x="201" y="240"/>
                  <a:pt x="200" y="241"/>
                  <a:pt x="199" y="242"/>
                </a:cubicBezTo>
                <a:cubicBezTo>
                  <a:pt x="198" y="243"/>
                  <a:pt x="197" y="244"/>
                  <a:pt x="196" y="244"/>
                </a:cubicBezTo>
                <a:cubicBezTo>
                  <a:pt x="194" y="245"/>
                  <a:pt x="193" y="245"/>
                  <a:pt x="192" y="245"/>
                </a:cubicBezTo>
                <a:cubicBezTo>
                  <a:pt x="190" y="245"/>
                  <a:pt x="189" y="245"/>
                  <a:pt x="188" y="244"/>
                </a:cubicBezTo>
                <a:cubicBezTo>
                  <a:pt x="186" y="244"/>
                  <a:pt x="185" y="243"/>
                  <a:pt x="184" y="242"/>
                </a:cubicBezTo>
                <a:cubicBezTo>
                  <a:pt x="182" y="240"/>
                  <a:pt x="181" y="237"/>
                  <a:pt x="181" y="234"/>
                </a:cubicBezTo>
                <a:cubicBezTo>
                  <a:pt x="181" y="232"/>
                  <a:pt x="182" y="229"/>
                  <a:pt x="184" y="227"/>
                </a:cubicBezTo>
                <a:close/>
                <a:moveTo>
                  <a:pt x="182" y="273"/>
                </a:moveTo>
                <a:cubicBezTo>
                  <a:pt x="182" y="272"/>
                  <a:pt x="183" y="270"/>
                  <a:pt x="184" y="269"/>
                </a:cubicBezTo>
                <a:cubicBezTo>
                  <a:pt x="185" y="268"/>
                  <a:pt x="186" y="268"/>
                  <a:pt x="188" y="267"/>
                </a:cubicBezTo>
                <a:cubicBezTo>
                  <a:pt x="190" y="266"/>
                  <a:pt x="193" y="266"/>
                  <a:pt x="196" y="267"/>
                </a:cubicBezTo>
                <a:cubicBezTo>
                  <a:pt x="197" y="268"/>
                  <a:pt x="198" y="268"/>
                  <a:pt x="199" y="269"/>
                </a:cubicBezTo>
                <a:cubicBezTo>
                  <a:pt x="200" y="270"/>
                  <a:pt x="201" y="272"/>
                  <a:pt x="201" y="273"/>
                </a:cubicBezTo>
                <a:cubicBezTo>
                  <a:pt x="202" y="274"/>
                  <a:pt x="202" y="276"/>
                  <a:pt x="202" y="277"/>
                </a:cubicBezTo>
                <a:cubicBezTo>
                  <a:pt x="202" y="278"/>
                  <a:pt x="202" y="280"/>
                  <a:pt x="201" y="281"/>
                </a:cubicBezTo>
                <a:cubicBezTo>
                  <a:pt x="201" y="282"/>
                  <a:pt x="200" y="284"/>
                  <a:pt x="199" y="285"/>
                </a:cubicBezTo>
                <a:cubicBezTo>
                  <a:pt x="197" y="287"/>
                  <a:pt x="195" y="288"/>
                  <a:pt x="192" y="288"/>
                </a:cubicBezTo>
                <a:cubicBezTo>
                  <a:pt x="189" y="288"/>
                  <a:pt x="186" y="287"/>
                  <a:pt x="184" y="285"/>
                </a:cubicBezTo>
                <a:cubicBezTo>
                  <a:pt x="182" y="283"/>
                  <a:pt x="181" y="280"/>
                  <a:pt x="181" y="277"/>
                </a:cubicBezTo>
                <a:cubicBezTo>
                  <a:pt x="181" y="276"/>
                  <a:pt x="181" y="274"/>
                  <a:pt x="182" y="273"/>
                </a:cubicBezTo>
                <a:close/>
                <a:moveTo>
                  <a:pt x="184" y="312"/>
                </a:moveTo>
                <a:cubicBezTo>
                  <a:pt x="187" y="309"/>
                  <a:pt x="192" y="308"/>
                  <a:pt x="196" y="310"/>
                </a:cubicBezTo>
                <a:cubicBezTo>
                  <a:pt x="197" y="310"/>
                  <a:pt x="198" y="311"/>
                  <a:pt x="199" y="312"/>
                </a:cubicBezTo>
                <a:cubicBezTo>
                  <a:pt x="201" y="314"/>
                  <a:pt x="202" y="317"/>
                  <a:pt x="202" y="320"/>
                </a:cubicBezTo>
                <a:cubicBezTo>
                  <a:pt x="202" y="321"/>
                  <a:pt x="202" y="322"/>
                  <a:pt x="201" y="324"/>
                </a:cubicBezTo>
                <a:cubicBezTo>
                  <a:pt x="201" y="325"/>
                  <a:pt x="200" y="326"/>
                  <a:pt x="199" y="327"/>
                </a:cubicBezTo>
                <a:cubicBezTo>
                  <a:pt x="198" y="328"/>
                  <a:pt x="197" y="329"/>
                  <a:pt x="196" y="329"/>
                </a:cubicBezTo>
                <a:cubicBezTo>
                  <a:pt x="194" y="330"/>
                  <a:pt x="193" y="330"/>
                  <a:pt x="192" y="330"/>
                </a:cubicBezTo>
                <a:cubicBezTo>
                  <a:pt x="189" y="330"/>
                  <a:pt x="186" y="329"/>
                  <a:pt x="184" y="327"/>
                </a:cubicBezTo>
                <a:cubicBezTo>
                  <a:pt x="183" y="326"/>
                  <a:pt x="182" y="325"/>
                  <a:pt x="182" y="324"/>
                </a:cubicBezTo>
                <a:cubicBezTo>
                  <a:pt x="181" y="322"/>
                  <a:pt x="181" y="321"/>
                  <a:pt x="181" y="320"/>
                </a:cubicBezTo>
                <a:cubicBezTo>
                  <a:pt x="181" y="317"/>
                  <a:pt x="182" y="314"/>
                  <a:pt x="184" y="312"/>
                </a:cubicBezTo>
                <a:close/>
                <a:moveTo>
                  <a:pt x="288" y="394"/>
                </a:moveTo>
                <a:cubicBezTo>
                  <a:pt x="309" y="394"/>
                  <a:pt x="309" y="394"/>
                  <a:pt x="309" y="394"/>
                </a:cubicBezTo>
                <a:cubicBezTo>
                  <a:pt x="309" y="362"/>
                  <a:pt x="309" y="362"/>
                  <a:pt x="309" y="362"/>
                </a:cubicBezTo>
                <a:cubicBezTo>
                  <a:pt x="309" y="356"/>
                  <a:pt x="314" y="352"/>
                  <a:pt x="320" y="352"/>
                </a:cubicBezTo>
                <a:cubicBezTo>
                  <a:pt x="326" y="352"/>
                  <a:pt x="330" y="356"/>
                  <a:pt x="330" y="362"/>
                </a:cubicBezTo>
                <a:cubicBezTo>
                  <a:pt x="330" y="394"/>
                  <a:pt x="330" y="394"/>
                  <a:pt x="330" y="394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288" y="202"/>
                  <a:pt x="288" y="202"/>
                  <a:pt x="288" y="202"/>
                </a:cubicBezTo>
                <a:lnTo>
                  <a:pt x="288" y="394"/>
                </a:lnTo>
                <a:close/>
                <a:moveTo>
                  <a:pt x="312" y="227"/>
                </a:moveTo>
                <a:cubicBezTo>
                  <a:pt x="313" y="226"/>
                  <a:pt x="313" y="226"/>
                  <a:pt x="314" y="225"/>
                </a:cubicBezTo>
                <a:cubicBezTo>
                  <a:pt x="314" y="225"/>
                  <a:pt x="315" y="225"/>
                  <a:pt x="316" y="225"/>
                </a:cubicBezTo>
                <a:cubicBezTo>
                  <a:pt x="316" y="224"/>
                  <a:pt x="317" y="224"/>
                  <a:pt x="318" y="224"/>
                </a:cubicBezTo>
                <a:cubicBezTo>
                  <a:pt x="321" y="223"/>
                  <a:pt x="325" y="224"/>
                  <a:pt x="327" y="227"/>
                </a:cubicBezTo>
                <a:cubicBezTo>
                  <a:pt x="329" y="229"/>
                  <a:pt x="330" y="232"/>
                  <a:pt x="330" y="234"/>
                </a:cubicBezTo>
                <a:cubicBezTo>
                  <a:pt x="330" y="236"/>
                  <a:pt x="330" y="237"/>
                  <a:pt x="329" y="238"/>
                </a:cubicBezTo>
                <a:cubicBezTo>
                  <a:pt x="329" y="240"/>
                  <a:pt x="328" y="241"/>
                  <a:pt x="327" y="242"/>
                </a:cubicBezTo>
                <a:cubicBezTo>
                  <a:pt x="326" y="243"/>
                  <a:pt x="325" y="244"/>
                  <a:pt x="324" y="244"/>
                </a:cubicBezTo>
                <a:cubicBezTo>
                  <a:pt x="322" y="245"/>
                  <a:pt x="321" y="245"/>
                  <a:pt x="320" y="245"/>
                </a:cubicBezTo>
                <a:cubicBezTo>
                  <a:pt x="318" y="245"/>
                  <a:pt x="317" y="245"/>
                  <a:pt x="316" y="244"/>
                </a:cubicBezTo>
                <a:cubicBezTo>
                  <a:pt x="314" y="244"/>
                  <a:pt x="313" y="243"/>
                  <a:pt x="312" y="242"/>
                </a:cubicBezTo>
                <a:cubicBezTo>
                  <a:pt x="311" y="241"/>
                  <a:pt x="310" y="240"/>
                  <a:pt x="310" y="238"/>
                </a:cubicBezTo>
                <a:cubicBezTo>
                  <a:pt x="309" y="237"/>
                  <a:pt x="309" y="236"/>
                  <a:pt x="309" y="234"/>
                </a:cubicBezTo>
                <a:cubicBezTo>
                  <a:pt x="309" y="232"/>
                  <a:pt x="310" y="229"/>
                  <a:pt x="312" y="227"/>
                </a:cubicBezTo>
                <a:close/>
                <a:moveTo>
                  <a:pt x="310" y="273"/>
                </a:moveTo>
                <a:cubicBezTo>
                  <a:pt x="310" y="272"/>
                  <a:pt x="311" y="270"/>
                  <a:pt x="312" y="269"/>
                </a:cubicBezTo>
                <a:cubicBezTo>
                  <a:pt x="313" y="268"/>
                  <a:pt x="314" y="268"/>
                  <a:pt x="316" y="267"/>
                </a:cubicBezTo>
                <a:cubicBezTo>
                  <a:pt x="318" y="266"/>
                  <a:pt x="321" y="266"/>
                  <a:pt x="324" y="267"/>
                </a:cubicBezTo>
                <a:cubicBezTo>
                  <a:pt x="325" y="268"/>
                  <a:pt x="326" y="268"/>
                  <a:pt x="327" y="269"/>
                </a:cubicBezTo>
                <a:cubicBezTo>
                  <a:pt x="328" y="270"/>
                  <a:pt x="329" y="272"/>
                  <a:pt x="329" y="273"/>
                </a:cubicBezTo>
                <a:cubicBezTo>
                  <a:pt x="330" y="274"/>
                  <a:pt x="330" y="276"/>
                  <a:pt x="330" y="277"/>
                </a:cubicBezTo>
                <a:cubicBezTo>
                  <a:pt x="330" y="278"/>
                  <a:pt x="330" y="280"/>
                  <a:pt x="329" y="281"/>
                </a:cubicBezTo>
                <a:cubicBezTo>
                  <a:pt x="329" y="282"/>
                  <a:pt x="328" y="284"/>
                  <a:pt x="327" y="285"/>
                </a:cubicBezTo>
                <a:cubicBezTo>
                  <a:pt x="326" y="286"/>
                  <a:pt x="325" y="286"/>
                  <a:pt x="324" y="287"/>
                </a:cubicBezTo>
                <a:cubicBezTo>
                  <a:pt x="322" y="287"/>
                  <a:pt x="321" y="288"/>
                  <a:pt x="320" y="288"/>
                </a:cubicBezTo>
                <a:cubicBezTo>
                  <a:pt x="318" y="288"/>
                  <a:pt x="317" y="287"/>
                  <a:pt x="316" y="287"/>
                </a:cubicBezTo>
                <a:cubicBezTo>
                  <a:pt x="314" y="286"/>
                  <a:pt x="313" y="286"/>
                  <a:pt x="312" y="285"/>
                </a:cubicBezTo>
                <a:cubicBezTo>
                  <a:pt x="311" y="284"/>
                  <a:pt x="310" y="282"/>
                  <a:pt x="310" y="281"/>
                </a:cubicBezTo>
                <a:cubicBezTo>
                  <a:pt x="309" y="280"/>
                  <a:pt x="309" y="278"/>
                  <a:pt x="309" y="277"/>
                </a:cubicBezTo>
                <a:cubicBezTo>
                  <a:pt x="309" y="276"/>
                  <a:pt x="309" y="274"/>
                  <a:pt x="310" y="273"/>
                </a:cubicBezTo>
                <a:close/>
                <a:moveTo>
                  <a:pt x="310" y="316"/>
                </a:moveTo>
                <a:cubicBezTo>
                  <a:pt x="310" y="314"/>
                  <a:pt x="311" y="313"/>
                  <a:pt x="312" y="312"/>
                </a:cubicBezTo>
                <a:cubicBezTo>
                  <a:pt x="313" y="312"/>
                  <a:pt x="313" y="311"/>
                  <a:pt x="314" y="311"/>
                </a:cubicBezTo>
                <a:cubicBezTo>
                  <a:pt x="314" y="310"/>
                  <a:pt x="315" y="310"/>
                  <a:pt x="316" y="310"/>
                </a:cubicBezTo>
                <a:cubicBezTo>
                  <a:pt x="316" y="310"/>
                  <a:pt x="317" y="309"/>
                  <a:pt x="318" y="309"/>
                </a:cubicBezTo>
                <a:cubicBezTo>
                  <a:pt x="319" y="309"/>
                  <a:pt x="320" y="309"/>
                  <a:pt x="322" y="309"/>
                </a:cubicBezTo>
                <a:cubicBezTo>
                  <a:pt x="322" y="309"/>
                  <a:pt x="323" y="310"/>
                  <a:pt x="324" y="310"/>
                </a:cubicBezTo>
                <a:cubicBezTo>
                  <a:pt x="324" y="310"/>
                  <a:pt x="325" y="310"/>
                  <a:pt x="326" y="311"/>
                </a:cubicBezTo>
                <a:cubicBezTo>
                  <a:pt x="326" y="311"/>
                  <a:pt x="327" y="312"/>
                  <a:pt x="327" y="312"/>
                </a:cubicBezTo>
                <a:cubicBezTo>
                  <a:pt x="328" y="313"/>
                  <a:pt x="329" y="314"/>
                  <a:pt x="329" y="316"/>
                </a:cubicBezTo>
                <a:cubicBezTo>
                  <a:pt x="330" y="317"/>
                  <a:pt x="330" y="318"/>
                  <a:pt x="330" y="320"/>
                </a:cubicBezTo>
                <a:cubicBezTo>
                  <a:pt x="330" y="321"/>
                  <a:pt x="330" y="322"/>
                  <a:pt x="329" y="324"/>
                </a:cubicBezTo>
                <a:cubicBezTo>
                  <a:pt x="329" y="325"/>
                  <a:pt x="328" y="326"/>
                  <a:pt x="327" y="327"/>
                </a:cubicBezTo>
                <a:cubicBezTo>
                  <a:pt x="325" y="329"/>
                  <a:pt x="322" y="330"/>
                  <a:pt x="320" y="330"/>
                </a:cubicBezTo>
                <a:cubicBezTo>
                  <a:pt x="317" y="330"/>
                  <a:pt x="314" y="329"/>
                  <a:pt x="312" y="327"/>
                </a:cubicBezTo>
                <a:cubicBezTo>
                  <a:pt x="311" y="326"/>
                  <a:pt x="310" y="325"/>
                  <a:pt x="310" y="324"/>
                </a:cubicBezTo>
                <a:cubicBezTo>
                  <a:pt x="309" y="322"/>
                  <a:pt x="309" y="321"/>
                  <a:pt x="309" y="320"/>
                </a:cubicBezTo>
                <a:cubicBezTo>
                  <a:pt x="309" y="318"/>
                  <a:pt x="309" y="317"/>
                  <a:pt x="310" y="31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3" y="405"/>
                </a:moveTo>
                <a:cubicBezTo>
                  <a:pt x="373" y="411"/>
                  <a:pt x="368" y="416"/>
                  <a:pt x="362" y="416"/>
                </a:cubicBezTo>
                <a:cubicBezTo>
                  <a:pt x="149" y="416"/>
                  <a:pt x="149" y="416"/>
                  <a:pt x="149" y="416"/>
                </a:cubicBezTo>
                <a:cubicBezTo>
                  <a:pt x="143" y="416"/>
                  <a:pt x="138" y="411"/>
                  <a:pt x="138" y="405"/>
                </a:cubicBezTo>
                <a:cubicBezTo>
                  <a:pt x="138" y="106"/>
                  <a:pt x="138" y="106"/>
                  <a:pt x="138" y="106"/>
                </a:cubicBezTo>
                <a:cubicBezTo>
                  <a:pt x="138" y="100"/>
                  <a:pt x="143" y="96"/>
                  <a:pt x="149" y="96"/>
                </a:cubicBezTo>
                <a:cubicBezTo>
                  <a:pt x="277" y="96"/>
                  <a:pt x="277" y="96"/>
                  <a:pt x="277" y="96"/>
                </a:cubicBezTo>
                <a:cubicBezTo>
                  <a:pt x="283" y="96"/>
                  <a:pt x="288" y="100"/>
                  <a:pt x="288" y="106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362" y="181"/>
                  <a:pt x="362" y="181"/>
                  <a:pt x="362" y="181"/>
                </a:cubicBezTo>
                <a:cubicBezTo>
                  <a:pt x="368" y="181"/>
                  <a:pt x="373" y="186"/>
                  <a:pt x="373" y="192"/>
                </a:cubicBezTo>
                <a:lnTo>
                  <a:pt x="373" y="4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4" name="Group 323"/>
          <p:cNvGrpSpPr>
            <a:grpSpLocks noChangeAspect="1"/>
          </p:cNvGrpSpPr>
          <p:nvPr/>
        </p:nvGrpSpPr>
        <p:grpSpPr bwMode="auto">
          <a:xfrm>
            <a:off x="6900327" y="2051054"/>
            <a:ext cx="369021" cy="369021"/>
            <a:chOff x="1925" y="6"/>
            <a:chExt cx="340" cy="340"/>
          </a:xfrm>
          <a:solidFill>
            <a:schemeClr val="accent1"/>
          </a:solidFill>
        </p:grpSpPr>
        <p:sp>
          <p:nvSpPr>
            <p:cNvPr id="325" name="Freeform 324"/>
            <p:cNvSpPr>
              <a:spLocks noEditPoints="1"/>
            </p:cNvSpPr>
            <p:nvPr/>
          </p:nvSpPr>
          <p:spPr bwMode="auto">
            <a:xfrm>
              <a:off x="2017" y="70"/>
              <a:ext cx="156" cy="212"/>
            </a:xfrm>
            <a:custGeom>
              <a:avLst/>
              <a:gdLst>
                <a:gd name="T0" fmla="*/ 90 w 235"/>
                <a:gd name="T1" fmla="*/ 215 h 320"/>
                <a:gd name="T2" fmla="*/ 107 w 235"/>
                <a:gd name="T3" fmla="*/ 224 h 320"/>
                <a:gd name="T4" fmla="*/ 96 w 235"/>
                <a:gd name="T5" fmla="*/ 234 h 320"/>
                <a:gd name="T6" fmla="*/ 92 w 235"/>
                <a:gd name="T7" fmla="*/ 276 h 320"/>
                <a:gd name="T8" fmla="*/ 106 w 235"/>
                <a:gd name="T9" fmla="*/ 270 h 320"/>
                <a:gd name="T10" fmla="*/ 92 w 235"/>
                <a:gd name="T11" fmla="*/ 257 h 320"/>
                <a:gd name="T12" fmla="*/ 87 w 235"/>
                <a:gd name="T13" fmla="*/ 270 h 320"/>
                <a:gd name="T14" fmla="*/ 58 w 235"/>
                <a:gd name="T15" fmla="*/ 233 h 320"/>
                <a:gd name="T16" fmla="*/ 61 w 235"/>
                <a:gd name="T17" fmla="*/ 216 h 320"/>
                <a:gd name="T18" fmla="*/ 44 w 235"/>
                <a:gd name="T19" fmla="*/ 228 h 320"/>
                <a:gd name="T20" fmla="*/ 63 w 235"/>
                <a:gd name="T21" fmla="*/ 185 h 320"/>
                <a:gd name="T22" fmla="*/ 58 w 235"/>
                <a:gd name="T23" fmla="*/ 171 h 320"/>
                <a:gd name="T24" fmla="*/ 43 w 235"/>
                <a:gd name="T25" fmla="*/ 181 h 320"/>
                <a:gd name="T26" fmla="*/ 96 w 235"/>
                <a:gd name="T27" fmla="*/ 192 h 320"/>
                <a:gd name="T28" fmla="*/ 106 w 235"/>
                <a:gd name="T29" fmla="*/ 177 h 320"/>
                <a:gd name="T30" fmla="*/ 86 w 235"/>
                <a:gd name="T31" fmla="*/ 181 h 320"/>
                <a:gd name="T32" fmla="*/ 92 w 235"/>
                <a:gd name="T33" fmla="*/ 148 h 320"/>
                <a:gd name="T34" fmla="*/ 107 w 235"/>
                <a:gd name="T35" fmla="*/ 138 h 320"/>
                <a:gd name="T36" fmla="*/ 98 w 235"/>
                <a:gd name="T37" fmla="*/ 128 h 320"/>
                <a:gd name="T38" fmla="*/ 87 w 235"/>
                <a:gd name="T39" fmla="*/ 142 h 320"/>
                <a:gd name="T40" fmla="*/ 58 w 235"/>
                <a:gd name="T41" fmla="*/ 148 h 320"/>
                <a:gd name="T42" fmla="*/ 61 w 235"/>
                <a:gd name="T43" fmla="*/ 131 h 320"/>
                <a:gd name="T44" fmla="*/ 52 w 235"/>
                <a:gd name="T45" fmla="*/ 128 h 320"/>
                <a:gd name="T46" fmla="*/ 43 w 235"/>
                <a:gd name="T47" fmla="*/ 138 h 320"/>
                <a:gd name="T48" fmla="*/ 54 w 235"/>
                <a:gd name="T49" fmla="*/ 106 h 320"/>
                <a:gd name="T50" fmla="*/ 61 w 235"/>
                <a:gd name="T51" fmla="*/ 88 h 320"/>
                <a:gd name="T52" fmla="*/ 48 w 235"/>
                <a:gd name="T53" fmla="*/ 87 h 320"/>
                <a:gd name="T54" fmla="*/ 46 w 235"/>
                <a:gd name="T55" fmla="*/ 103 h 320"/>
                <a:gd name="T56" fmla="*/ 100 w 235"/>
                <a:gd name="T57" fmla="*/ 105 h 320"/>
                <a:gd name="T58" fmla="*/ 104 w 235"/>
                <a:gd name="T59" fmla="*/ 88 h 320"/>
                <a:gd name="T60" fmla="*/ 86 w 235"/>
                <a:gd name="T61" fmla="*/ 96 h 320"/>
                <a:gd name="T62" fmla="*/ 100 w 235"/>
                <a:gd name="T63" fmla="*/ 63 h 320"/>
                <a:gd name="T64" fmla="*/ 106 w 235"/>
                <a:gd name="T65" fmla="*/ 49 h 320"/>
                <a:gd name="T66" fmla="*/ 87 w 235"/>
                <a:gd name="T67" fmla="*/ 49 h 320"/>
                <a:gd name="T68" fmla="*/ 50 w 235"/>
                <a:gd name="T69" fmla="*/ 63 h 320"/>
                <a:gd name="T70" fmla="*/ 63 w 235"/>
                <a:gd name="T71" fmla="*/ 49 h 320"/>
                <a:gd name="T72" fmla="*/ 43 w 235"/>
                <a:gd name="T73" fmla="*/ 53 h 320"/>
                <a:gd name="T74" fmla="*/ 182 w 235"/>
                <a:gd name="T75" fmla="*/ 234 h 320"/>
                <a:gd name="T76" fmla="*/ 191 w 235"/>
                <a:gd name="T77" fmla="*/ 220 h 320"/>
                <a:gd name="T78" fmla="*/ 184 w 235"/>
                <a:gd name="T79" fmla="*/ 213 h 320"/>
                <a:gd name="T80" fmla="*/ 174 w 235"/>
                <a:gd name="T81" fmla="*/ 216 h 320"/>
                <a:gd name="T82" fmla="*/ 174 w 235"/>
                <a:gd name="T83" fmla="*/ 231 h 320"/>
                <a:gd name="T84" fmla="*/ 186 w 235"/>
                <a:gd name="T85" fmla="*/ 191 h 320"/>
                <a:gd name="T86" fmla="*/ 191 w 235"/>
                <a:gd name="T87" fmla="*/ 177 h 320"/>
                <a:gd name="T88" fmla="*/ 174 w 235"/>
                <a:gd name="T89" fmla="*/ 173 h 320"/>
                <a:gd name="T90" fmla="*/ 174 w 235"/>
                <a:gd name="T91" fmla="*/ 189 h 320"/>
                <a:gd name="T92" fmla="*/ 186 w 235"/>
                <a:gd name="T93" fmla="*/ 148 h 320"/>
                <a:gd name="T94" fmla="*/ 189 w 235"/>
                <a:gd name="T95" fmla="*/ 131 h 320"/>
                <a:gd name="T96" fmla="*/ 174 w 235"/>
                <a:gd name="T97" fmla="*/ 131 h 320"/>
                <a:gd name="T98" fmla="*/ 235 w 235"/>
                <a:gd name="T99" fmla="*/ 96 h 320"/>
                <a:gd name="T100" fmla="*/ 0 w 235"/>
                <a:gd name="T101" fmla="*/ 309 h 320"/>
                <a:gd name="T102" fmla="*/ 150 w 235"/>
                <a:gd name="T103" fmla="*/ 10 h 320"/>
                <a:gd name="T104" fmla="*/ 22 w 235"/>
                <a:gd name="T105" fmla="*/ 298 h 320"/>
                <a:gd name="T106" fmla="*/ 64 w 235"/>
                <a:gd name="T107" fmla="*/ 266 h 320"/>
                <a:gd name="T108" fmla="*/ 22 w 235"/>
                <a:gd name="T109" fmla="*/ 21 h 320"/>
                <a:gd name="T110" fmla="*/ 150 w 235"/>
                <a:gd name="T111" fmla="*/ 298 h 320"/>
                <a:gd name="T112" fmla="*/ 192 w 235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5" h="320">
                  <a:moveTo>
                    <a:pt x="87" y="228"/>
                  </a:moveTo>
                  <a:cubicBezTo>
                    <a:pt x="86" y="226"/>
                    <a:pt x="86" y="225"/>
                    <a:pt x="86" y="224"/>
                  </a:cubicBezTo>
                  <a:cubicBezTo>
                    <a:pt x="86" y="221"/>
                    <a:pt x="87" y="218"/>
                    <a:pt x="89" y="216"/>
                  </a:cubicBezTo>
                  <a:cubicBezTo>
                    <a:pt x="89" y="216"/>
                    <a:pt x="90" y="215"/>
                    <a:pt x="90" y="215"/>
                  </a:cubicBezTo>
                  <a:cubicBezTo>
                    <a:pt x="91" y="214"/>
                    <a:pt x="92" y="214"/>
                    <a:pt x="92" y="214"/>
                  </a:cubicBezTo>
                  <a:cubicBezTo>
                    <a:pt x="93" y="214"/>
                    <a:pt x="94" y="213"/>
                    <a:pt x="94" y="213"/>
                  </a:cubicBezTo>
                  <a:cubicBezTo>
                    <a:pt x="98" y="212"/>
                    <a:pt x="101" y="214"/>
                    <a:pt x="104" y="216"/>
                  </a:cubicBezTo>
                  <a:cubicBezTo>
                    <a:pt x="106" y="218"/>
                    <a:pt x="107" y="221"/>
                    <a:pt x="107" y="224"/>
                  </a:cubicBezTo>
                  <a:cubicBezTo>
                    <a:pt x="107" y="225"/>
                    <a:pt x="107" y="226"/>
                    <a:pt x="106" y="228"/>
                  </a:cubicBezTo>
                  <a:cubicBezTo>
                    <a:pt x="106" y="229"/>
                    <a:pt x="105" y="230"/>
                    <a:pt x="104" y="231"/>
                  </a:cubicBezTo>
                  <a:cubicBezTo>
                    <a:pt x="103" y="232"/>
                    <a:pt x="102" y="233"/>
                    <a:pt x="100" y="233"/>
                  </a:cubicBezTo>
                  <a:cubicBezTo>
                    <a:pt x="99" y="234"/>
                    <a:pt x="98" y="234"/>
                    <a:pt x="96" y="234"/>
                  </a:cubicBezTo>
                  <a:cubicBezTo>
                    <a:pt x="93" y="234"/>
                    <a:pt x="91" y="233"/>
                    <a:pt x="89" y="231"/>
                  </a:cubicBezTo>
                  <a:cubicBezTo>
                    <a:pt x="88" y="230"/>
                    <a:pt x="87" y="229"/>
                    <a:pt x="87" y="228"/>
                  </a:cubicBezTo>
                  <a:close/>
                  <a:moveTo>
                    <a:pt x="89" y="274"/>
                  </a:moveTo>
                  <a:cubicBezTo>
                    <a:pt x="90" y="275"/>
                    <a:pt x="91" y="276"/>
                    <a:pt x="92" y="276"/>
                  </a:cubicBezTo>
                  <a:cubicBezTo>
                    <a:pt x="94" y="277"/>
                    <a:pt x="95" y="277"/>
                    <a:pt x="96" y="277"/>
                  </a:cubicBezTo>
                  <a:cubicBezTo>
                    <a:pt x="98" y="277"/>
                    <a:pt x="99" y="277"/>
                    <a:pt x="100" y="276"/>
                  </a:cubicBezTo>
                  <a:cubicBezTo>
                    <a:pt x="102" y="276"/>
                    <a:pt x="103" y="275"/>
                    <a:pt x="104" y="274"/>
                  </a:cubicBezTo>
                  <a:cubicBezTo>
                    <a:pt x="105" y="273"/>
                    <a:pt x="106" y="272"/>
                    <a:pt x="106" y="270"/>
                  </a:cubicBezTo>
                  <a:cubicBezTo>
                    <a:pt x="107" y="269"/>
                    <a:pt x="107" y="268"/>
                    <a:pt x="107" y="266"/>
                  </a:cubicBezTo>
                  <a:cubicBezTo>
                    <a:pt x="107" y="265"/>
                    <a:pt x="107" y="264"/>
                    <a:pt x="106" y="262"/>
                  </a:cubicBezTo>
                  <a:cubicBezTo>
                    <a:pt x="106" y="261"/>
                    <a:pt x="105" y="260"/>
                    <a:pt x="104" y="259"/>
                  </a:cubicBezTo>
                  <a:cubicBezTo>
                    <a:pt x="101" y="256"/>
                    <a:pt x="96" y="255"/>
                    <a:pt x="92" y="257"/>
                  </a:cubicBezTo>
                  <a:cubicBezTo>
                    <a:pt x="91" y="257"/>
                    <a:pt x="90" y="258"/>
                    <a:pt x="89" y="259"/>
                  </a:cubicBezTo>
                  <a:cubicBezTo>
                    <a:pt x="88" y="260"/>
                    <a:pt x="87" y="261"/>
                    <a:pt x="87" y="262"/>
                  </a:cubicBezTo>
                  <a:cubicBezTo>
                    <a:pt x="86" y="264"/>
                    <a:pt x="86" y="265"/>
                    <a:pt x="86" y="266"/>
                  </a:cubicBezTo>
                  <a:cubicBezTo>
                    <a:pt x="86" y="268"/>
                    <a:pt x="86" y="269"/>
                    <a:pt x="87" y="270"/>
                  </a:cubicBezTo>
                  <a:cubicBezTo>
                    <a:pt x="87" y="272"/>
                    <a:pt x="88" y="273"/>
                    <a:pt x="89" y="274"/>
                  </a:cubicBezTo>
                  <a:close/>
                  <a:moveTo>
                    <a:pt x="46" y="231"/>
                  </a:moveTo>
                  <a:cubicBezTo>
                    <a:pt x="48" y="233"/>
                    <a:pt x="51" y="234"/>
                    <a:pt x="54" y="234"/>
                  </a:cubicBezTo>
                  <a:cubicBezTo>
                    <a:pt x="55" y="234"/>
                    <a:pt x="56" y="234"/>
                    <a:pt x="58" y="233"/>
                  </a:cubicBezTo>
                  <a:cubicBezTo>
                    <a:pt x="59" y="233"/>
                    <a:pt x="60" y="232"/>
                    <a:pt x="61" y="231"/>
                  </a:cubicBezTo>
                  <a:cubicBezTo>
                    <a:pt x="62" y="230"/>
                    <a:pt x="63" y="229"/>
                    <a:pt x="63" y="228"/>
                  </a:cubicBezTo>
                  <a:cubicBezTo>
                    <a:pt x="64" y="226"/>
                    <a:pt x="64" y="225"/>
                    <a:pt x="64" y="224"/>
                  </a:cubicBezTo>
                  <a:cubicBezTo>
                    <a:pt x="64" y="221"/>
                    <a:pt x="63" y="218"/>
                    <a:pt x="61" y="216"/>
                  </a:cubicBezTo>
                  <a:cubicBezTo>
                    <a:pt x="60" y="215"/>
                    <a:pt x="59" y="214"/>
                    <a:pt x="58" y="214"/>
                  </a:cubicBezTo>
                  <a:cubicBezTo>
                    <a:pt x="54" y="212"/>
                    <a:pt x="49" y="213"/>
                    <a:pt x="46" y="216"/>
                  </a:cubicBezTo>
                  <a:cubicBezTo>
                    <a:pt x="44" y="218"/>
                    <a:pt x="43" y="221"/>
                    <a:pt x="43" y="224"/>
                  </a:cubicBezTo>
                  <a:cubicBezTo>
                    <a:pt x="43" y="225"/>
                    <a:pt x="43" y="226"/>
                    <a:pt x="44" y="228"/>
                  </a:cubicBezTo>
                  <a:cubicBezTo>
                    <a:pt x="44" y="229"/>
                    <a:pt x="45" y="230"/>
                    <a:pt x="46" y="231"/>
                  </a:cubicBezTo>
                  <a:close/>
                  <a:moveTo>
                    <a:pt x="54" y="192"/>
                  </a:moveTo>
                  <a:cubicBezTo>
                    <a:pt x="57" y="192"/>
                    <a:pt x="59" y="191"/>
                    <a:pt x="61" y="189"/>
                  </a:cubicBezTo>
                  <a:cubicBezTo>
                    <a:pt x="62" y="188"/>
                    <a:pt x="63" y="186"/>
                    <a:pt x="63" y="185"/>
                  </a:cubicBezTo>
                  <a:cubicBezTo>
                    <a:pt x="64" y="184"/>
                    <a:pt x="64" y="182"/>
                    <a:pt x="64" y="181"/>
                  </a:cubicBezTo>
                  <a:cubicBezTo>
                    <a:pt x="64" y="180"/>
                    <a:pt x="64" y="178"/>
                    <a:pt x="63" y="177"/>
                  </a:cubicBezTo>
                  <a:cubicBezTo>
                    <a:pt x="63" y="176"/>
                    <a:pt x="62" y="174"/>
                    <a:pt x="61" y="173"/>
                  </a:cubicBezTo>
                  <a:cubicBezTo>
                    <a:pt x="60" y="172"/>
                    <a:pt x="59" y="172"/>
                    <a:pt x="58" y="171"/>
                  </a:cubicBezTo>
                  <a:cubicBezTo>
                    <a:pt x="55" y="170"/>
                    <a:pt x="52" y="170"/>
                    <a:pt x="50" y="171"/>
                  </a:cubicBezTo>
                  <a:cubicBezTo>
                    <a:pt x="48" y="172"/>
                    <a:pt x="47" y="172"/>
                    <a:pt x="46" y="173"/>
                  </a:cubicBezTo>
                  <a:cubicBezTo>
                    <a:pt x="45" y="174"/>
                    <a:pt x="44" y="176"/>
                    <a:pt x="44" y="177"/>
                  </a:cubicBezTo>
                  <a:cubicBezTo>
                    <a:pt x="43" y="178"/>
                    <a:pt x="43" y="180"/>
                    <a:pt x="43" y="181"/>
                  </a:cubicBezTo>
                  <a:cubicBezTo>
                    <a:pt x="43" y="184"/>
                    <a:pt x="44" y="187"/>
                    <a:pt x="46" y="189"/>
                  </a:cubicBezTo>
                  <a:cubicBezTo>
                    <a:pt x="48" y="191"/>
                    <a:pt x="51" y="192"/>
                    <a:pt x="54" y="192"/>
                  </a:cubicBezTo>
                  <a:close/>
                  <a:moveTo>
                    <a:pt x="92" y="191"/>
                  </a:moveTo>
                  <a:cubicBezTo>
                    <a:pt x="94" y="191"/>
                    <a:pt x="95" y="192"/>
                    <a:pt x="96" y="192"/>
                  </a:cubicBezTo>
                  <a:cubicBezTo>
                    <a:pt x="99" y="192"/>
                    <a:pt x="102" y="191"/>
                    <a:pt x="104" y="189"/>
                  </a:cubicBezTo>
                  <a:cubicBezTo>
                    <a:pt x="105" y="188"/>
                    <a:pt x="106" y="186"/>
                    <a:pt x="106" y="185"/>
                  </a:cubicBezTo>
                  <a:cubicBezTo>
                    <a:pt x="107" y="184"/>
                    <a:pt x="107" y="182"/>
                    <a:pt x="107" y="181"/>
                  </a:cubicBezTo>
                  <a:cubicBezTo>
                    <a:pt x="107" y="180"/>
                    <a:pt x="107" y="178"/>
                    <a:pt x="106" y="177"/>
                  </a:cubicBezTo>
                  <a:cubicBezTo>
                    <a:pt x="106" y="176"/>
                    <a:pt x="105" y="174"/>
                    <a:pt x="104" y="173"/>
                  </a:cubicBezTo>
                  <a:cubicBezTo>
                    <a:pt x="100" y="169"/>
                    <a:pt x="93" y="169"/>
                    <a:pt x="89" y="173"/>
                  </a:cubicBezTo>
                  <a:cubicBezTo>
                    <a:pt x="88" y="174"/>
                    <a:pt x="87" y="176"/>
                    <a:pt x="87" y="177"/>
                  </a:cubicBezTo>
                  <a:cubicBezTo>
                    <a:pt x="86" y="178"/>
                    <a:pt x="86" y="180"/>
                    <a:pt x="86" y="181"/>
                  </a:cubicBezTo>
                  <a:cubicBezTo>
                    <a:pt x="86" y="184"/>
                    <a:pt x="87" y="187"/>
                    <a:pt x="89" y="189"/>
                  </a:cubicBezTo>
                  <a:cubicBezTo>
                    <a:pt x="90" y="190"/>
                    <a:pt x="91" y="190"/>
                    <a:pt x="92" y="191"/>
                  </a:cubicBezTo>
                  <a:close/>
                  <a:moveTo>
                    <a:pt x="89" y="146"/>
                  </a:moveTo>
                  <a:cubicBezTo>
                    <a:pt x="90" y="147"/>
                    <a:pt x="91" y="148"/>
                    <a:pt x="92" y="148"/>
                  </a:cubicBezTo>
                  <a:cubicBezTo>
                    <a:pt x="94" y="149"/>
                    <a:pt x="95" y="149"/>
                    <a:pt x="96" y="149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2" y="148"/>
                    <a:pt x="103" y="147"/>
                    <a:pt x="104" y="146"/>
                  </a:cubicBezTo>
                  <a:cubicBezTo>
                    <a:pt x="106" y="144"/>
                    <a:pt x="107" y="141"/>
                    <a:pt x="107" y="138"/>
                  </a:cubicBezTo>
                  <a:cubicBezTo>
                    <a:pt x="107" y="136"/>
                    <a:pt x="106" y="133"/>
                    <a:pt x="104" y="131"/>
                  </a:cubicBezTo>
                  <a:cubicBezTo>
                    <a:pt x="103" y="130"/>
                    <a:pt x="103" y="130"/>
                    <a:pt x="102" y="129"/>
                  </a:cubicBezTo>
                  <a:cubicBezTo>
                    <a:pt x="102" y="129"/>
                    <a:pt x="101" y="129"/>
                    <a:pt x="100" y="129"/>
                  </a:cubicBezTo>
                  <a:cubicBezTo>
                    <a:pt x="100" y="128"/>
                    <a:pt x="99" y="128"/>
                    <a:pt x="98" y="128"/>
                  </a:cubicBezTo>
                  <a:cubicBezTo>
                    <a:pt x="96" y="127"/>
                    <a:pt x="94" y="128"/>
                    <a:pt x="92" y="129"/>
                  </a:cubicBezTo>
                  <a:cubicBezTo>
                    <a:pt x="91" y="129"/>
                    <a:pt x="90" y="130"/>
                    <a:pt x="89" y="131"/>
                  </a:cubicBezTo>
                  <a:cubicBezTo>
                    <a:pt x="87" y="133"/>
                    <a:pt x="86" y="136"/>
                    <a:pt x="86" y="138"/>
                  </a:cubicBezTo>
                  <a:cubicBezTo>
                    <a:pt x="86" y="140"/>
                    <a:pt x="86" y="141"/>
                    <a:pt x="87" y="142"/>
                  </a:cubicBezTo>
                  <a:cubicBezTo>
                    <a:pt x="87" y="144"/>
                    <a:pt x="88" y="145"/>
                    <a:pt x="89" y="146"/>
                  </a:cubicBezTo>
                  <a:close/>
                  <a:moveTo>
                    <a:pt x="50" y="148"/>
                  </a:moveTo>
                  <a:cubicBezTo>
                    <a:pt x="51" y="149"/>
                    <a:pt x="52" y="149"/>
                    <a:pt x="54" y="149"/>
                  </a:cubicBezTo>
                  <a:cubicBezTo>
                    <a:pt x="55" y="149"/>
                    <a:pt x="56" y="149"/>
                    <a:pt x="58" y="148"/>
                  </a:cubicBezTo>
                  <a:cubicBezTo>
                    <a:pt x="59" y="148"/>
                    <a:pt x="60" y="147"/>
                    <a:pt x="61" y="146"/>
                  </a:cubicBezTo>
                  <a:cubicBezTo>
                    <a:pt x="62" y="145"/>
                    <a:pt x="63" y="144"/>
                    <a:pt x="63" y="142"/>
                  </a:cubicBezTo>
                  <a:cubicBezTo>
                    <a:pt x="64" y="141"/>
                    <a:pt x="64" y="140"/>
                    <a:pt x="64" y="138"/>
                  </a:cubicBezTo>
                  <a:cubicBezTo>
                    <a:pt x="64" y="136"/>
                    <a:pt x="63" y="133"/>
                    <a:pt x="61" y="131"/>
                  </a:cubicBezTo>
                  <a:cubicBezTo>
                    <a:pt x="61" y="130"/>
                    <a:pt x="60" y="130"/>
                    <a:pt x="60" y="129"/>
                  </a:cubicBezTo>
                  <a:cubicBezTo>
                    <a:pt x="59" y="129"/>
                    <a:pt x="58" y="129"/>
                    <a:pt x="58" y="129"/>
                  </a:cubicBezTo>
                  <a:cubicBezTo>
                    <a:pt x="57" y="128"/>
                    <a:pt x="56" y="128"/>
                    <a:pt x="56" y="128"/>
                  </a:cubicBezTo>
                  <a:cubicBezTo>
                    <a:pt x="54" y="128"/>
                    <a:pt x="53" y="128"/>
                    <a:pt x="52" y="128"/>
                  </a:cubicBezTo>
                  <a:cubicBezTo>
                    <a:pt x="51" y="128"/>
                    <a:pt x="50" y="128"/>
                    <a:pt x="50" y="129"/>
                  </a:cubicBezTo>
                  <a:cubicBezTo>
                    <a:pt x="49" y="129"/>
                    <a:pt x="48" y="129"/>
                    <a:pt x="48" y="129"/>
                  </a:cubicBezTo>
                  <a:cubicBezTo>
                    <a:pt x="47" y="130"/>
                    <a:pt x="47" y="130"/>
                    <a:pt x="46" y="131"/>
                  </a:cubicBezTo>
                  <a:cubicBezTo>
                    <a:pt x="44" y="133"/>
                    <a:pt x="43" y="136"/>
                    <a:pt x="43" y="138"/>
                  </a:cubicBezTo>
                  <a:cubicBezTo>
                    <a:pt x="43" y="141"/>
                    <a:pt x="44" y="144"/>
                    <a:pt x="46" y="146"/>
                  </a:cubicBezTo>
                  <a:cubicBezTo>
                    <a:pt x="47" y="147"/>
                    <a:pt x="48" y="148"/>
                    <a:pt x="50" y="148"/>
                  </a:cubicBezTo>
                  <a:close/>
                  <a:moveTo>
                    <a:pt x="50" y="105"/>
                  </a:moveTo>
                  <a:cubicBezTo>
                    <a:pt x="51" y="106"/>
                    <a:pt x="52" y="106"/>
                    <a:pt x="54" y="106"/>
                  </a:cubicBezTo>
                  <a:cubicBezTo>
                    <a:pt x="57" y="106"/>
                    <a:pt x="59" y="105"/>
                    <a:pt x="61" y="103"/>
                  </a:cubicBezTo>
                  <a:cubicBezTo>
                    <a:pt x="63" y="101"/>
                    <a:pt x="64" y="99"/>
                    <a:pt x="64" y="96"/>
                  </a:cubicBezTo>
                  <a:cubicBezTo>
                    <a:pt x="64" y="94"/>
                    <a:pt x="64" y="93"/>
                    <a:pt x="63" y="92"/>
                  </a:cubicBezTo>
                  <a:cubicBezTo>
                    <a:pt x="63" y="90"/>
                    <a:pt x="62" y="89"/>
                    <a:pt x="61" y="88"/>
                  </a:cubicBezTo>
                  <a:cubicBezTo>
                    <a:pt x="60" y="87"/>
                    <a:pt x="59" y="86"/>
                    <a:pt x="58" y="86"/>
                  </a:cubicBezTo>
                  <a:cubicBezTo>
                    <a:pt x="56" y="85"/>
                    <a:pt x="54" y="85"/>
                    <a:pt x="52" y="85"/>
                  </a:cubicBezTo>
                  <a:cubicBezTo>
                    <a:pt x="51" y="85"/>
                    <a:pt x="50" y="86"/>
                    <a:pt x="50" y="86"/>
                  </a:cubicBezTo>
                  <a:cubicBezTo>
                    <a:pt x="49" y="86"/>
                    <a:pt x="48" y="86"/>
                    <a:pt x="48" y="87"/>
                  </a:cubicBezTo>
                  <a:cubicBezTo>
                    <a:pt x="47" y="87"/>
                    <a:pt x="47" y="88"/>
                    <a:pt x="46" y="88"/>
                  </a:cubicBezTo>
                  <a:cubicBezTo>
                    <a:pt x="45" y="89"/>
                    <a:pt x="44" y="90"/>
                    <a:pt x="44" y="92"/>
                  </a:cubicBezTo>
                  <a:cubicBezTo>
                    <a:pt x="43" y="93"/>
                    <a:pt x="43" y="94"/>
                    <a:pt x="43" y="96"/>
                  </a:cubicBezTo>
                  <a:cubicBezTo>
                    <a:pt x="43" y="99"/>
                    <a:pt x="44" y="101"/>
                    <a:pt x="46" y="103"/>
                  </a:cubicBezTo>
                  <a:cubicBezTo>
                    <a:pt x="47" y="104"/>
                    <a:pt x="48" y="105"/>
                    <a:pt x="50" y="105"/>
                  </a:cubicBezTo>
                  <a:close/>
                  <a:moveTo>
                    <a:pt x="92" y="105"/>
                  </a:moveTo>
                  <a:cubicBezTo>
                    <a:pt x="94" y="106"/>
                    <a:pt x="95" y="106"/>
                    <a:pt x="96" y="106"/>
                  </a:cubicBezTo>
                  <a:cubicBezTo>
                    <a:pt x="98" y="106"/>
                    <a:pt x="99" y="106"/>
                    <a:pt x="100" y="105"/>
                  </a:cubicBezTo>
                  <a:cubicBezTo>
                    <a:pt x="102" y="105"/>
                    <a:pt x="103" y="104"/>
                    <a:pt x="104" y="103"/>
                  </a:cubicBezTo>
                  <a:cubicBezTo>
                    <a:pt x="106" y="101"/>
                    <a:pt x="107" y="99"/>
                    <a:pt x="107" y="96"/>
                  </a:cubicBezTo>
                  <a:cubicBezTo>
                    <a:pt x="107" y="94"/>
                    <a:pt x="107" y="93"/>
                    <a:pt x="106" y="92"/>
                  </a:cubicBezTo>
                  <a:cubicBezTo>
                    <a:pt x="106" y="90"/>
                    <a:pt x="105" y="89"/>
                    <a:pt x="104" y="88"/>
                  </a:cubicBezTo>
                  <a:cubicBezTo>
                    <a:pt x="101" y="85"/>
                    <a:pt x="96" y="84"/>
                    <a:pt x="92" y="86"/>
                  </a:cubicBezTo>
                  <a:cubicBezTo>
                    <a:pt x="91" y="86"/>
                    <a:pt x="90" y="87"/>
                    <a:pt x="89" y="88"/>
                  </a:cubicBezTo>
                  <a:cubicBezTo>
                    <a:pt x="88" y="89"/>
                    <a:pt x="87" y="90"/>
                    <a:pt x="87" y="92"/>
                  </a:cubicBezTo>
                  <a:cubicBezTo>
                    <a:pt x="86" y="93"/>
                    <a:pt x="86" y="94"/>
                    <a:pt x="86" y="96"/>
                  </a:cubicBezTo>
                  <a:cubicBezTo>
                    <a:pt x="86" y="99"/>
                    <a:pt x="87" y="101"/>
                    <a:pt x="89" y="103"/>
                  </a:cubicBezTo>
                  <a:cubicBezTo>
                    <a:pt x="90" y="104"/>
                    <a:pt x="91" y="105"/>
                    <a:pt x="92" y="105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3"/>
                    <a:pt x="100" y="63"/>
                  </a:cubicBezTo>
                  <a:cubicBezTo>
                    <a:pt x="102" y="62"/>
                    <a:pt x="103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7" y="56"/>
                    <a:pt x="107" y="54"/>
                    <a:pt x="107" y="53"/>
                  </a:cubicBezTo>
                  <a:cubicBezTo>
                    <a:pt x="107" y="52"/>
                    <a:pt x="107" y="50"/>
                    <a:pt x="106" y="49"/>
                  </a:cubicBezTo>
                  <a:cubicBezTo>
                    <a:pt x="106" y="48"/>
                    <a:pt x="105" y="46"/>
                    <a:pt x="104" y="45"/>
                  </a:cubicBezTo>
                  <a:cubicBezTo>
                    <a:pt x="103" y="44"/>
                    <a:pt x="102" y="44"/>
                    <a:pt x="100" y="43"/>
                  </a:cubicBezTo>
                  <a:cubicBezTo>
                    <a:pt x="97" y="41"/>
                    <a:pt x="92" y="42"/>
                    <a:pt x="89" y="45"/>
                  </a:cubicBezTo>
                  <a:cubicBezTo>
                    <a:pt x="88" y="46"/>
                    <a:pt x="87" y="48"/>
                    <a:pt x="87" y="49"/>
                  </a:cubicBezTo>
                  <a:cubicBezTo>
                    <a:pt x="86" y="50"/>
                    <a:pt x="86" y="52"/>
                    <a:pt x="86" y="53"/>
                  </a:cubicBezTo>
                  <a:cubicBezTo>
                    <a:pt x="86" y="56"/>
                    <a:pt x="87" y="59"/>
                    <a:pt x="89" y="61"/>
                  </a:cubicBezTo>
                  <a:cubicBezTo>
                    <a:pt x="91" y="63"/>
                    <a:pt x="93" y="64"/>
                    <a:pt x="96" y="64"/>
                  </a:cubicBezTo>
                  <a:close/>
                  <a:moveTo>
                    <a:pt x="50" y="63"/>
                  </a:moveTo>
                  <a:cubicBezTo>
                    <a:pt x="51" y="63"/>
                    <a:pt x="52" y="64"/>
                    <a:pt x="54" y="64"/>
                  </a:cubicBezTo>
                  <a:cubicBezTo>
                    <a:pt x="57" y="64"/>
                    <a:pt x="59" y="63"/>
                    <a:pt x="61" y="61"/>
                  </a:cubicBezTo>
                  <a:cubicBezTo>
                    <a:pt x="63" y="59"/>
                    <a:pt x="64" y="56"/>
                    <a:pt x="64" y="53"/>
                  </a:cubicBezTo>
                  <a:cubicBezTo>
                    <a:pt x="64" y="52"/>
                    <a:pt x="64" y="50"/>
                    <a:pt x="63" y="49"/>
                  </a:cubicBezTo>
                  <a:cubicBezTo>
                    <a:pt x="63" y="48"/>
                    <a:pt x="62" y="46"/>
                    <a:pt x="61" y="45"/>
                  </a:cubicBezTo>
                  <a:cubicBezTo>
                    <a:pt x="57" y="41"/>
                    <a:pt x="50" y="41"/>
                    <a:pt x="46" y="45"/>
                  </a:cubicBezTo>
                  <a:cubicBezTo>
                    <a:pt x="45" y="46"/>
                    <a:pt x="44" y="48"/>
                    <a:pt x="44" y="49"/>
                  </a:cubicBezTo>
                  <a:cubicBezTo>
                    <a:pt x="43" y="50"/>
                    <a:pt x="43" y="52"/>
                    <a:pt x="43" y="53"/>
                  </a:cubicBezTo>
                  <a:cubicBezTo>
                    <a:pt x="43" y="56"/>
                    <a:pt x="44" y="59"/>
                    <a:pt x="46" y="61"/>
                  </a:cubicBezTo>
                  <a:cubicBezTo>
                    <a:pt x="47" y="62"/>
                    <a:pt x="48" y="62"/>
                    <a:pt x="50" y="63"/>
                  </a:cubicBezTo>
                  <a:close/>
                  <a:moveTo>
                    <a:pt x="174" y="231"/>
                  </a:moveTo>
                  <a:cubicBezTo>
                    <a:pt x="176" y="233"/>
                    <a:pt x="179" y="234"/>
                    <a:pt x="182" y="234"/>
                  </a:cubicBezTo>
                  <a:cubicBezTo>
                    <a:pt x="184" y="234"/>
                    <a:pt x="187" y="233"/>
                    <a:pt x="189" y="231"/>
                  </a:cubicBezTo>
                  <a:cubicBezTo>
                    <a:pt x="190" y="230"/>
                    <a:pt x="191" y="229"/>
                    <a:pt x="191" y="228"/>
                  </a:cubicBezTo>
                  <a:cubicBezTo>
                    <a:pt x="192" y="226"/>
                    <a:pt x="192" y="225"/>
                    <a:pt x="192" y="224"/>
                  </a:cubicBezTo>
                  <a:cubicBezTo>
                    <a:pt x="192" y="222"/>
                    <a:pt x="192" y="221"/>
                    <a:pt x="191" y="220"/>
                  </a:cubicBezTo>
                  <a:cubicBezTo>
                    <a:pt x="191" y="218"/>
                    <a:pt x="190" y="217"/>
                    <a:pt x="189" y="216"/>
                  </a:cubicBezTo>
                  <a:cubicBezTo>
                    <a:pt x="189" y="216"/>
                    <a:pt x="188" y="215"/>
                    <a:pt x="188" y="215"/>
                  </a:cubicBezTo>
                  <a:cubicBezTo>
                    <a:pt x="187" y="214"/>
                    <a:pt x="186" y="214"/>
                    <a:pt x="186" y="214"/>
                  </a:cubicBezTo>
                  <a:cubicBezTo>
                    <a:pt x="185" y="214"/>
                    <a:pt x="184" y="213"/>
                    <a:pt x="184" y="213"/>
                  </a:cubicBezTo>
                  <a:cubicBezTo>
                    <a:pt x="182" y="213"/>
                    <a:pt x="181" y="213"/>
                    <a:pt x="180" y="213"/>
                  </a:cubicBezTo>
                  <a:cubicBezTo>
                    <a:pt x="179" y="213"/>
                    <a:pt x="178" y="214"/>
                    <a:pt x="178" y="214"/>
                  </a:cubicBezTo>
                  <a:cubicBezTo>
                    <a:pt x="177" y="214"/>
                    <a:pt x="176" y="214"/>
                    <a:pt x="176" y="215"/>
                  </a:cubicBezTo>
                  <a:cubicBezTo>
                    <a:pt x="175" y="215"/>
                    <a:pt x="175" y="216"/>
                    <a:pt x="174" y="216"/>
                  </a:cubicBezTo>
                  <a:cubicBezTo>
                    <a:pt x="173" y="217"/>
                    <a:pt x="172" y="218"/>
                    <a:pt x="172" y="220"/>
                  </a:cubicBezTo>
                  <a:cubicBezTo>
                    <a:pt x="171" y="221"/>
                    <a:pt x="171" y="222"/>
                    <a:pt x="171" y="224"/>
                  </a:cubicBezTo>
                  <a:cubicBezTo>
                    <a:pt x="171" y="225"/>
                    <a:pt x="171" y="226"/>
                    <a:pt x="172" y="228"/>
                  </a:cubicBezTo>
                  <a:cubicBezTo>
                    <a:pt x="172" y="229"/>
                    <a:pt x="173" y="230"/>
                    <a:pt x="174" y="231"/>
                  </a:cubicBezTo>
                  <a:close/>
                  <a:moveTo>
                    <a:pt x="174" y="189"/>
                  </a:moveTo>
                  <a:cubicBezTo>
                    <a:pt x="175" y="190"/>
                    <a:pt x="176" y="190"/>
                    <a:pt x="178" y="191"/>
                  </a:cubicBezTo>
                  <a:cubicBezTo>
                    <a:pt x="179" y="191"/>
                    <a:pt x="180" y="192"/>
                    <a:pt x="182" y="192"/>
                  </a:cubicBezTo>
                  <a:cubicBezTo>
                    <a:pt x="183" y="192"/>
                    <a:pt x="184" y="191"/>
                    <a:pt x="186" y="191"/>
                  </a:cubicBezTo>
                  <a:cubicBezTo>
                    <a:pt x="187" y="190"/>
                    <a:pt x="188" y="190"/>
                    <a:pt x="189" y="189"/>
                  </a:cubicBezTo>
                  <a:cubicBezTo>
                    <a:pt x="190" y="188"/>
                    <a:pt x="191" y="186"/>
                    <a:pt x="191" y="185"/>
                  </a:cubicBezTo>
                  <a:cubicBezTo>
                    <a:pt x="192" y="184"/>
                    <a:pt x="192" y="182"/>
                    <a:pt x="192" y="181"/>
                  </a:cubicBezTo>
                  <a:cubicBezTo>
                    <a:pt x="192" y="180"/>
                    <a:pt x="192" y="178"/>
                    <a:pt x="191" y="177"/>
                  </a:cubicBezTo>
                  <a:cubicBezTo>
                    <a:pt x="191" y="176"/>
                    <a:pt x="190" y="174"/>
                    <a:pt x="189" y="173"/>
                  </a:cubicBezTo>
                  <a:cubicBezTo>
                    <a:pt x="188" y="172"/>
                    <a:pt x="187" y="172"/>
                    <a:pt x="186" y="171"/>
                  </a:cubicBezTo>
                  <a:cubicBezTo>
                    <a:pt x="183" y="170"/>
                    <a:pt x="180" y="170"/>
                    <a:pt x="178" y="171"/>
                  </a:cubicBezTo>
                  <a:cubicBezTo>
                    <a:pt x="176" y="172"/>
                    <a:pt x="175" y="172"/>
                    <a:pt x="174" y="173"/>
                  </a:cubicBezTo>
                  <a:cubicBezTo>
                    <a:pt x="173" y="174"/>
                    <a:pt x="172" y="176"/>
                    <a:pt x="172" y="177"/>
                  </a:cubicBezTo>
                  <a:cubicBezTo>
                    <a:pt x="171" y="178"/>
                    <a:pt x="171" y="180"/>
                    <a:pt x="171" y="181"/>
                  </a:cubicBezTo>
                  <a:cubicBezTo>
                    <a:pt x="171" y="182"/>
                    <a:pt x="171" y="184"/>
                    <a:pt x="172" y="185"/>
                  </a:cubicBezTo>
                  <a:cubicBezTo>
                    <a:pt x="172" y="186"/>
                    <a:pt x="173" y="188"/>
                    <a:pt x="174" y="189"/>
                  </a:cubicBezTo>
                  <a:close/>
                  <a:moveTo>
                    <a:pt x="174" y="146"/>
                  </a:moveTo>
                  <a:cubicBezTo>
                    <a:pt x="175" y="147"/>
                    <a:pt x="176" y="148"/>
                    <a:pt x="178" y="148"/>
                  </a:cubicBezTo>
                  <a:cubicBezTo>
                    <a:pt x="179" y="149"/>
                    <a:pt x="180" y="149"/>
                    <a:pt x="182" y="149"/>
                  </a:cubicBezTo>
                  <a:cubicBezTo>
                    <a:pt x="183" y="149"/>
                    <a:pt x="184" y="149"/>
                    <a:pt x="186" y="148"/>
                  </a:cubicBezTo>
                  <a:cubicBezTo>
                    <a:pt x="187" y="148"/>
                    <a:pt x="188" y="147"/>
                    <a:pt x="189" y="146"/>
                  </a:cubicBezTo>
                  <a:cubicBezTo>
                    <a:pt x="190" y="145"/>
                    <a:pt x="191" y="144"/>
                    <a:pt x="191" y="142"/>
                  </a:cubicBezTo>
                  <a:cubicBezTo>
                    <a:pt x="192" y="141"/>
                    <a:pt x="192" y="140"/>
                    <a:pt x="192" y="138"/>
                  </a:cubicBezTo>
                  <a:cubicBezTo>
                    <a:pt x="192" y="136"/>
                    <a:pt x="191" y="133"/>
                    <a:pt x="189" y="131"/>
                  </a:cubicBezTo>
                  <a:cubicBezTo>
                    <a:pt x="187" y="128"/>
                    <a:pt x="183" y="127"/>
                    <a:pt x="180" y="128"/>
                  </a:cubicBezTo>
                  <a:cubicBezTo>
                    <a:pt x="179" y="128"/>
                    <a:pt x="178" y="128"/>
                    <a:pt x="178" y="129"/>
                  </a:cubicBezTo>
                  <a:cubicBezTo>
                    <a:pt x="177" y="129"/>
                    <a:pt x="176" y="129"/>
                    <a:pt x="176" y="129"/>
                  </a:cubicBezTo>
                  <a:cubicBezTo>
                    <a:pt x="175" y="130"/>
                    <a:pt x="175" y="130"/>
                    <a:pt x="174" y="131"/>
                  </a:cubicBezTo>
                  <a:cubicBezTo>
                    <a:pt x="172" y="133"/>
                    <a:pt x="171" y="136"/>
                    <a:pt x="171" y="138"/>
                  </a:cubicBezTo>
                  <a:cubicBezTo>
                    <a:pt x="171" y="140"/>
                    <a:pt x="171" y="141"/>
                    <a:pt x="172" y="142"/>
                  </a:cubicBezTo>
                  <a:cubicBezTo>
                    <a:pt x="172" y="144"/>
                    <a:pt x="173" y="145"/>
                    <a:pt x="174" y="146"/>
                  </a:cubicBezTo>
                  <a:close/>
                  <a:moveTo>
                    <a:pt x="235" y="96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5" y="0"/>
                    <a:pt x="150" y="4"/>
                    <a:pt x="150" y="10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30" y="85"/>
                    <a:pt x="235" y="90"/>
                    <a:pt x="235" y="96"/>
                  </a:cubicBezTo>
                  <a:close/>
                  <a:moveTo>
                    <a:pt x="22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298"/>
                  </a:lnTo>
                  <a:close/>
                  <a:moveTo>
                    <a:pt x="214" y="106"/>
                  </a:moveTo>
                  <a:cubicBezTo>
                    <a:pt x="150" y="106"/>
                    <a:pt x="150" y="106"/>
                    <a:pt x="150" y="106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0"/>
                    <a:pt x="176" y="256"/>
                    <a:pt x="182" y="256"/>
                  </a:cubicBezTo>
                  <a:cubicBezTo>
                    <a:pt x="188" y="256"/>
                    <a:pt x="192" y="260"/>
                    <a:pt x="192" y="266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325"/>
            <p:cNvSpPr>
              <a:spLocks noEditPoints="1"/>
            </p:cNvSpPr>
            <p:nvPr/>
          </p:nvSpPr>
          <p:spPr bwMode="auto">
            <a:xfrm>
              <a:off x="1925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7" name="TextBox 326"/>
          <p:cNvSpPr txBox="1"/>
          <p:nvPr/>
        </p:nvSpPr>
        <p:spPr>
          <a:xfrm>
            <a:off x="7429416" y="2436474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3</a:t>
            </a:r>
          </a:p>
        </p:txBody>
      </p:sp>
      <p:grpSp>
        <p:nvGrpSpPr>
          <p:cNvPr id="328" name="Group 603"/>
          <p:cNvGrpSpPr>
            <a:grpSpLocks noChangeAspect="1"/>
          </p:cNvGrpSpPr>
          <p:nvPr/>
        </p:nvGrpSpPr>
        <p:grpSpPr bwMode="auto">
          <a:xfrm>
            <a:off x="942059" y="2919488"/>
            <a:ext cx="369021" cy="369021"/>
            <a:chOff x="5044" y="2340"/>
            <a:chExt cx="340" cy="340"/>
          </a:xfrm>
          <a:solidFill>
            <a:schemeClr val="accent1"/>
          </a:solidFill>
        </p:grpSpPr>
        <p:sp>
          <p:nvSpPr>
            <p:cNvPr id="329" name="Freeform 604"/>
            <p:cNvSpPr>
              <a:spLocks noEditPoints="1"/>
            </p:cNvSpPr>
            <p:nvPr/>
          </p:nvSpPr>
          <p:spPr bwMode="auto">
            <a:xfrm>
              <a:off x="5044" y="234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Freeform 605"/>
            <p:cNvSpPr>
              <a:spLocks noEditPoints="1"/>
            </p:cNvSpPr>
            <p:nvPr/>
          </p:nvSpPr>
          <p:spPr bwMode="auto">
            <a:xfrm>
              <a:off x="5114" y="2410"/>
              <a:ext cx="206" cy="206"/>
            </a:xfrm>
            <a:custGeom>
              <a:avLst/>
              <a:gdLst>
                <a:gd name="T0" fmla="*/ 299 w 310"/>
                <a:gd name="T1" fmla="*/ 75 h 310"/>
                <a:gd name="T2" fmla="*/ 267 w 310"/>
                <a:gd name="T3" fmla="*/ 75 h 310"/>
                <a:gd name="T4" fmla="*/ 267 w 310"/>
                <a:gd name="T5" fmla="*/ 54 h 310"/>
                <a:gd name="T6" fmla="*/ 299 w 310"/>
                <a:gd name="T7" fmla="*/ 54 h 310"/>
                <a:gd name="T8" fmla="*/ 310 w 310"/>
                <a:gd name="T9" fmla="*/ 43 h 310"/>
                <a:gd name="T10" fmla="*/ 299 w 310"/>
                <a:gd name="T11" fmla="*/ 32 h 310"/>
                <a:gd name="T12" fmla="*/ 54 w 310"/>
                <a:gd name="T13" fmla="*/ 32 h 310"/>
                <a:gd name="T14" fmla="*/ 54 w 310"/>
                <a:gd name="T15" fmla="*/ 11 h 310"/>
                <a:gd name="T16" fmla="*/ 43 w 310"/>
                <a:gd name="T17" fmla="*/ 0 h 310"/>
                <a:gd name="T18" fmla="*/ 32 w 310"/>
                <a:gd name="T19" fmla="*/ 11 h 310"/>
                <a:gd name="T20" fmla="*/ 32 w 310"/>
                <a:gd name="T21" fmla="*/ 32 h 310"/>
                <a:gd name="T22" fmla="*/ 11 w 310"/>
                <a:gd name="T23" fmla="*/ 32 h 310"/>
                <a:gd name="T24" fmla="*/ 0 w 310"/>
                <a:gd name="T25" fmla="*/ 43 h 310"/>
                <a:gd name="T26" fmla="*/ 11 w 310"/>
                <a:gd name="T27" fmla="*/ 54 h 310"/>
                <a:gd name="T28" fmla="*/ 32 w 310"/>
                <a:gd name="T29" fmla="*/ 54 h 310"/>
                <a:gd name="T30" fmla="*/ 32 w 310"/>
                <a:gd name="T31" fmla="*/ 299 h 310"/>
                <a:gd name="T32" fmla="*/ 43 w 310"/>
                <a:gd name="T33" fmla="*/ 310 h 310"/>
                <a:gd name="T34" fmla="*/ 54 w 310"/>
                <a:gd name="T35" fmla="*/ 299 h 310"/>
                <a:gd name="T36" fmla="*/ 54 w 310"/>
                <a:gd name="T37" fmla="*/ 54 h 310"/>
                <a:gd name="T38" fmla="*/ 118 w 310"/>
                <a:gd name="T39" fmla="*/ 54 h 310"/>
                <a:gd name="T40" fmla="*/ 118 w 310"/>
                <a:gd name="T41" fmla="*/ 75 h 310"/>
                <a:gd name="T42" fmla="*/ 86 w 310"/>
                <a:gd name="T43" fmla="*/ 75 h 310"/>
                <a:gd name="T44" fmla="*/ 75 w 310"/>
                <a:gd name="T45" fmla="*/ 86 h 310"/>
                <a:gd name="T46" fmla="*/ 75 w 310"/>
                <a:gd name="T47" fmla="*/ 246 h 310"/>
                <a:gd name="T48" fmla="*/ 86 w 310"/>
                <a:gd name="T49" fmla="*/ 256 h 310"/>
                <a:gd name="T50" fmla="*/ 299 w 310"/>
                <a:gd name="T51" fmla="*/ 256 h 310"/>
                <a:gd name="T52" fmla="*/ 310 w 310"/>
                <a:gd name="T53" fmla="*/ 246 h 310"/>
                <a:gd name="T54" fmla="*/ 310 w 310"/>
                <a:gd name="T55" fmla="*/ 86 h 310"/>
                <a:gd name="T56" fmla="*/ 299 w 310"/>
                <a:gd name="T57" fmla="*/ 75 h 310"/>
                <a:gd name="T58" fmla="*/ 139 w 310"/>
                <a:gd name="T59" fmla="*/ 54 h 310"/>
                <a:gd name="T60" fmla="*/ 246 w 310"/>
                <a:gd name="T61" fmla="*/ 54 h 310"/>
                <a:gd name="T62" fmla="*/ 246 w 310"/>
                <a:gd name="T63" fmla="*/ 75 h 310"/>
                <a:gd name="T64" fmla="*/ 139 w 310"/>
                <a:gd name="T65" fmla="*/ 75 h 310"/>
                <a:gd name="T66" fmla="*/ 139 w 310"/>
                <a:gd name="T67" fmla="*/ 54 h 310"/>
                <a:gd name="T68" fmla="*/ 288 w 310"/>
                <a:gd name="T69" fmla="*/ 235 h 310"/>
                <a:gd name="T70" fmla="*/ 96 w 310"/>
                <a:gd name="T71" fmla="*/ 235 h 310"/>
                <a:gd name="T72" fmla="*/ 96 w 310"/>
                <a:gd name="T73" fmla="*/ 96 h 310"/>
                <a:gd name="T74" fmla="*/ 118 w 310"/>
                <a:gd name="T75" fmla="*/ 96 h 310"/>
                <a:gd name="T76" fmla="*/ 118 w 310"/>
                <a:gd name="T77" fmla="*/ 118 h 310"/>
                <a:gd name="T78" fmla="*/ 128 w 310"/>
                <a:gd name="T79" fmla="*/ 128 h 310"/>
                <a:gd name="T80" fmla="*/ 139 w 310"/>
                <a:gd name="T81" fmla="*/ 118 h 310"/>
                <a:gd name="T82" fmla="*/ 139 w 310"/>
                <a:gd name="T83" fmla="*/ 96 h 310"/>
                <a:gd name="T84" fmla="*/ 246 w 310"/>
                <a:gd name="T85" fmla="*/ 96 h 310"/>
                <a:gd name="T86" fmla="*/ 246 w 310"/>
                <a:gd name="T87" fmla="*/ 118 h 310"/>
                <a:gd name="T88" fmla="*/ 256 w 310"/>
                <a:gd name="T89" fmla="*/ 128 h 310"/>
                <a:gd name="T90" fmla="*/ 267 w 310"/>
                <a:gd name="T91" fmla="*/ 118 h 310"/>
                <a:gd name="T92" fmla="*/ 267 w 310"/>
                <a:gd name="T93" fmla="*/ 96 h 310"/>
                <a:gd name="T94" fmla="*/ 288 w 310"/>
                <a:gd name="T95" fmla="*/ 96 h 310"/>
                <a:gd name="T96" fmla="*/ 288 w 310"/>
                <a:gd name="T97" fmla="*/ 23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10" h="310">
                  <a:moveTo>
                    <a:pt x="299" y="75"/>
                  </a:moveTo>
                  <a:cubicBezTo>
                    <a:pt x="267" y="75"/>
                    <a:pt x="267" y="75"/>
                    <a:pt x="267" y="75"/>
                  </a:cubicBezTo>
                  <a:cubicBezTo>
                    <a:pt x="267" y="54"/>
                    <a:pt x="267" y="54"/>
                    <a:pt x="267" y="54"/>
                  </a:cubicBezTo>
                  <a:cubicBezTo>
                    <a:pt x="299" y="54"/>
                    <a:pt x="299" y="54"/>
                    <a:pt x="299" y="54"/>
                  </a:cubicBezTo>
                  <a:cubicBezTo>
                    <a:pt x="305" y="54"/>
                    <a:pt x="310" y="49"/>
                    <a:pt x="310" y="43"/>
                  </a:cubicBezTo>
                  <a:cubicBezTo>
                    <a:pt x="310" y="37"/>
                    <a:pt x="305" y="32"/>
                    <a:pt x="299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5"/>
                    <a:pt x="49" y="0"/>
                    <a:pt x="43" y="0"/>
                  </a:cubicBezTo>
                  <a:cubicBezTo>
                    <a:pt x="37" y="0"/>
                    <a:pt x="32" y="5"/>
                    <a:pt x="32" y="11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5" y="32"/>
                    <a:pt x="0" y="37"/>
                    <a:pt x="0" y="43"/>
                  </a:cubicBezTo>
                  <a:cubicBezTo>
                    <a:pt x="0" y="49"/>
                    <a:pt x="5" y="54"/>
                    <a:pt x="11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299"/>
                    <a:pt x="32" y="299"/>
                    <a:pt x="32" y="299"/>
                  </a:cubicBezTo>
                  <a:cubicBezTo>
                    <a:pt x="32" y="305"/>
                    <a:pt x="37" y="310"/>
                    <a:pt x="43" y="310"/>
                  </a:cubicBezTo>
                  <a:cubicBezTo>
                    <a:pt x="49" y="310"/>
                    <a:pt x="54" y="305"/>
                    <a:pt x="54" y="299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80" y="75"/>
                    <a:pt x="75" y="80"/>
                    <a:pt x="75" y="86"/>
                  </a:cubicBezTo>
                  <a:cubicBezTo>
                    <a:pt x="75" y="246"/>
                    <a:pt x="75" y="246"/>
                    <a:pt x="75" y="246"/>
                  </a:cubicBezTo>
                  <a:cubicBezTo>
                    <a:pt x="75" y="252"/>
                    <a:pt x="80" y="256"/>
                    <a:pt x="86" y="256"/>
                  </a:cubicBezTo>
                  <a:cubicBezTo>
                    <a:pt x="299" y="256"/>
                    <a:pt x="299" y="256"/>
                    <a:pt x="299" y="256"/>
                  </a:cubicBezTo>
                  <a:cubicBezTo>
                    <a:pt x="305" y="256"/>
                    <a:pt x="310" y="252"/>
                    <a:pt x="310" y="246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0"/>
                    <a:pt x="305" y="75"/>
                    <a:pt x="299" y="75"/>
                  </a:cubicBezTo>
                  <a:close/>
                  <a:moveTo>
                    <a:pt x="139" y="54"/>
                  </a:moveTo>
                  <a:cubicBezTo>
                    <a:pt x="246" y="54"/>
                    <a:pt x="246" y="54"/>
                    <a:pt x="246" y="54"/>
                  </a:cubicBezTo>
                  <a:cubicBezTo>
                    <a:pt x="246" y="75"/>
                    <a:pt x="246" y="75"/>
                    <a:pt x="246" y="75"/>
                  </a:cubicBezTo>
                  <a:cubicBezTo>
                    <a:pt x="139" y="75"/>
                    <a:pt x="139" y="75"/>
                    <a:pt x="139" y="75"/>
                  </a:cubicBezTo>
                  <a:lnTo>
                    <a:pt x="139" y="54"/>
                  </a:lnTo>
                  <a:close/>
                  <a:moveTo>
                    <a:pt x="288" y="235"/>
                  </a:moveTo>
                  <a:cubicBezTo>
                    <a:pt x="96" y="235"/>
                    <a:pt x="96" y="235"/>
                    <a:pt x="96" y="235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118" y="124"/>
                    <a:pt x="122" y="128"/>
                    <a:pt x="128" y="128"/>
                  </a:cubicBezTo>
                  <a:cubicBezTo>
                    <a:pt x="134" y="128"/>
                    <a:pt x="139" y="124"/>
                    <a:pt x="139" y="118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246" y="96"/>
                    <a:pt x="246" y="96"/>
                    <a:pt x="246" y="96"/>
                  </a:cubicBezTo>
                  <a:cubicBezTo>
                    <a:pt x="246" y="118"/>
                    <a:pt x="246" y="118"/>
                    <a:pt x="246" y="118"/>
                  </a:cubicBezTo>
                  <a:cubicBezTo>
                    <a:pt x="246" y="124"/>
                    <a:pt x="250" y="128"/>
                    <a:pt x="256" y="128"/>
                  </a:cubicBezTo>
                  <a:cubicBezTo>
                    <a:pt x="262" y="128"/>
                    <a:pt x="267" y="124"/>
                    <a:pt x="267" y="118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88" y="96"/>
                    <a:pt x="288" y="96"/>
                    <a:pt x="288" y="96"/>
                  </a:cubicBezTo>
                  <a:lnTo>
                    <a:pt x="288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1" name="Freeform 609"/>
          <p:cNvSpPr>
            <a:spLocks noChangeAspect="1" noEditPoints="1"/>
          </p:cNvSpPr>
          <p:nvPr/>
        </p:nvSpPr>
        <p:spPr bwMode="auto">
          <a:xfrm>
            <a:off x="443086" y="2919488"/>
            <a:ext cx="369021" cy="369021"/>
          </a:xfrm>
          <a:custGeom>
            <a:avLst/>
            <a:gdLst>
              <a:gd name="T0" fmla="*/ 352 w 512"/>
              <a:gd name="T1" fmla="*/ 181 h 512"/>
              <a:gd name="T2" fmla="*/ 245 w 512"/>
              <a:gd name="T3" fmla="*/ 181 h 512"/>
              <a:gd name="T4" fmla="*/ 245 w 512"/>
              <a:gd name="T5" fmla="*/ 160 h 512"/>
              <a:gd name="T6" fmla="*/ 352 w 512"/>
              <a:gd name="T7" fmla="*/ 160 h 512"/>
              <a:gd name="T8" fmla="*/ 352 w 512"/>
              <a:gd name="T9" fmla="*/ 181 h 512"/>
              <a:gd name="T10" fmla="*/ 373 w 512"/>
              <a:gd name="T11" fmla="*/ 224 h 512"/>
              <a:gd name="T12" fmla="*/ 362 w 512"/>
              <a:gd name="T13" fmla="*/ 234 h 512"/>
              <a:gd name="T14" fmla="*/ 352 w 512"/>
              <a:gd name="T15" fmla="*/ 224 h 512"/>
              <a:gd name="T16" fmla="*/ 352 w 512"/>
              <a:gd name="T17" fmla="*/ 202 h 512"/>
              <a:gd name="T18" fmla="*/ 245 w 512"/>
              <a:gd name="T19" fmla="*/ 202 h 512"/>
              <a:gd name="T20" fmla="*/ 245 w 512"/>
              <a:gd name="T21" fmla="*/ 224 h 512"/>
              <a:gd name="T22" fmla="*/ 234 w 512"/>
              <a:gd name="T23" fmla="*/ 234 h 512"/>
              <a:gd name="T24" fmla="*/ 224 w 512"/>
              <a:gd name="T25" fmla="*/ 224 h 512"/>
              <a:gd name="T26" fmla="*/ 224 w 512"/>
              <a:gd name="T27" fmla="*/ 202 h 512"/>
              <a:gd name="T28" fmla="*/ 202 w 512"/>
              <a:gd name="T29" fmla="*/ 202 h 512"/>
              <a:gd name="T30" fmla="*/ 202 w 512"/>
              <a:gd name="T31" fmla="*/ 341 h 512"/>
              <a:gd name="T32" fmla="*/ 394 w 512"/>
              <a:gd name="T33" fmla="*/ 341 h 512"/>
              <a:gd name="T34" fmla="*/ 394 w 512"/>
              <a:gd name="T35" fmla="*/ 202 h 512"/>
              <a:gd name="T36" fmla="*/ 373 w 512"/>
              <a:gd name="T37" fmla="*/ 202 h 512"/>
              <a:gd name="T38" fmla="*/ 373 w 512"/>
              <a:gd name="T39" fmla="*/ 224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373 w 512"/>
              <a:gd name="T51" fmla="*/ 181 h 512"/>
              <a:gd name="T52" fmla="*/ 373 w 512"/>
              <a:gd name="T53" fmla="*/ 160 h 512"/>
              <a:gd name="T54" fmla="*/ 405 w 512"/>
              <a:gd name="T55" fmla="*/ 160 h 512"/>
              <a:gd name="T56" fmla="*/ 416 w 512"/>
              <a:gd name="T57" fmla="*/ 149 h 512"/>
              <a:gd name="T58" fmla="*/ 405 w 512"/>
              <a:gd name="T59" fmla="*/ 138 h 512"/>
              <a:gd name="T60" fmla="*/ 160 w 512"/>
              <a:gd name="T61" fmla="*/ 138 h 512"/>
              <a:gd name="T62" fmla="*/ 160 w 512"/>
              <a:gd name="T63" fmla="*/ 117 h 512"/>
              <a:gd name="T64" fmla="*/ 149 w 512"/>
              <a:gd name="T65" fmla="*/ 106 h 512"/>
              <a:gd name="T66" fmla="*/ 138 w 512"/>
              <a:gd name="T67" fmla="*/ 117 h 512"/>
              <a:gd name="T68" fmla="*/ 138 w 512"/>
              <a:gd name="T69" fmla="*/ 138 h 512"/>
              <a:gd name="T70" fmla="*/ 117 w 512"/>
              <a:gd name="T71" fmla="*/ 138 h 512"/>
              <a:gd name="T72" fmla="*/ 106 w 512"/>
              <a:gd name="T73" fmla="*/ 149 h 512"/>
              <a:gd name="T74" fmla="*/ 117 w 512"/>
              <a:gd name="T75" fmla="*/ 160 h 512"/>
              <a:gd name="T76" fmla="*/ 138 w 512"/>
              <a:gd name="T77" fmla="*/ 160 h 512"/>
              <a:gd name="T78" fmla="*/ 138 w 512"/>
              <a:gd name="T79" fmla="*/ 405 h 512"/>
              <a:gd name="T80" fmla="*/ 149 w 512"/>
              <a:gd name="T81" fmla="*/ 416 h 512"/>
              <a:gd name="T82" fmla="*/ 160 w 512"/>
              <a:gd name="T83" fmla="*/ 405 h 512"/>
              <a:gd name="T84" fmla="*/ 160 w 512"/>
              <a:gd name="T85" fmla="*/ 160 h 512"/>
              <a:gd name="T86" fmla="*/ 224 w 512"/>
              <a:gd name="T87" fmla="*/ 160 h 512"/>
              <a:gd name="T88" fmla="*/ 224 w 512"/>
              <a:gd name="T89" fmla="*/ 181 h 512"/>
              <a:gd name="T90" fmla="*/ 192 w 512"/>
              <a:gd name="T91" fmla="*/ 181 h 512"/>
              <a:gd name="T92" fmla="*/ 181 w 512"/>
              <a:gd name="T93" fmla="*/ 192 h 512"/>
              <a:gd name="T94" fmla="*/ 181 w 512"/>
              <a:gd name="T95" fmla="*/ 352 h 512"/>
              <a:gd name="T96" fmla="*/ 192 w 512"/>
              <a:gd name="T97" fmla="*/ 362 h 512"/>
              <a:gd name="T98" fmla="*/ 405 w 512"/>
              <a:gd name="T99" fmla="*/ 362 h 512"/>
              <a:gd name="T100" fmla="*/ 416 w 512"/>
              <a:gd name="T101" fmla="*/ 352 h 512"/>
              <a:gd name="T102" fmla="*/ 416 w 512"/>
              <a:gd name="T103" fmla="*/ 192 h 512"/>
              <a:gd name="T104" fmla="*/ 405 w 512"/>
              <a:gd name="T105" fmla="*/ 181 h 512"/>
              <a:gd name="T106" fmla="*/ 373 w 512"/>
              <a:gd name="T107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352" y="181"/>
                </a:moveTo>
                <a:cubicBezTo>
                  <a:pt x="245" y="181"/>
                  <a:pt x="245" y="181"/>
                  <a:pt x="245" y="181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352" y="160"/>
                  <a:pt x="352" y="160"/>
                  <a:pt x="352" y="160"/>
                </a:cubicBezTo>
                <a:lnTo>
                  <a:pt x="352" y="181"/>
                </a:lnTo>
                <a:close/>
                <a:moveTo>
                  <a:pt x="373" y="224"/>
                </a:moveTo>
                <a:cubicBezTo>
                  <a:pt x="373" y="230"/>
                  <a:pt x="368" y="234"/>
                  <a:pt x="362" y="234"/>
                </a:cubicBezTo>
                <a:cubicBezTo>
                  <a:pt x="356" y="234"/>
                  <a:pt x="352" y="230"/>
                  <a:pt x="352" y="224"/>
                </a:cubicBezTo>
                <a:cubicBezTo>
                  <a:pt x="352" y="202"/>
                  <a:pt x="352" y="202"/>
                  <a:pt x="352" y="202"/>
                </a:cubicBezTo>
                <a:cubicBezTo>
                  <a:pt x="245" y="202"/>
                  <a:pt x="245" y="202"/>
                  <a:pt x="245" y="202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30"/>
                  <a:pt x="240" y="234"/>
                  <a:pt x="234" y="234"/>
                </a:cubicBezTo>
                <a:cubicBezTo>
                  <a:pt x="228" y="234"/>
                  <a:pt x="224" y="230"/>
                  <a:pt x="224" y="224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94" y="202"/>
                  <a:pt x="394" y="202"/>
                  <a:pt x="394" y="202"/>
                </a:cubicBezTo>
                <a:cubicBezTo>
                  <a:pt x="373" y="202"/>
                  <a:pt x="373" y="202"/>
                  <a:pt x="373" y="202"/>
                </a:cubicBezTo>
                <a:lnTo>
                  <a:pt x="373" y="22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81"/>
                </a:moveTo>
                <a:cubicBezTo>
                  <a:pt x="373" y="160"/>
                  <a:pt x="373" y="160"/>
                  <a:pt x="373" y="160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11" y="160"/>
                  <a:pt x="416" y="155"/>
                  <a:pt x="416" y="149"/>
                </a:cubicBezTo>
                <a:cubicBezTo>
                  <a:pt x="416" y="143"/>
                  <a:pt x="411" y="138"/>
                  <a:pt x="405" y="138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60" y="117"/>
                  <a:pt x="160" y="117"/>
                  <a:pt x="160" y="117"/>
                </a:cubicBezTo>
                <a:cubicBezTo>
                  <a:pt x="160" y="111"/>
                  <a:pt x="155" y="106"/>
                  <a:pt x="149" y="106"/>
                </a:cubicBezTo>
                <a:cubicBezTo>
                  <a:pt x="143" y="106"/>
                  <a:pt x="138" y="111"/>
                  <a:pt x="138" y="117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17" y="138"/>
                  <a:pt x="117" y="138"/>
                  <a:pt x="117" y="138"/>
                </a:cubicBezTo>
                <a:cubicBezTo>
                  <a:pt x="111" y="138"/>
                  <a:pt x="106" y="143"/>
                  <a:pt x="106" y="149"/>
                </a:cubicBezTo>
                <a:cubicBezTo>
                  <a:pt x="106" y="155"/>
                  <a:pt x="111" y="160"/>
                  <a:pt x="117" y="160"/>
                </a:cubicBezTo>
                <a:cubicBezTo>
                  <a:pt x="138" y="160"/>
                  <a:pt x="138" y="160"/>
                  <a:pt x="138" y="160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155" y="416"/>
                  <a:pt x="160" y="411"/>
                  <a:pt x="160" y="405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192" y="181"/>
                  <a:pt x="192" y="181"/>
                  <a:pt x="192" y="181"/>
                </a:cubicBezTo>
                <a:cubicBezTo>
                  <a:pt x="186" y="181"/>
                  <a:pt x="181" y="186"/>
                  <a:pt x="181" y="192"/>
                </a:cubicBezTo>
                <a:cubicBezTo>
                  <a:pt x="181" y="352"/>
                  <a:pt x="181" y="352"/>
                  <a:pt x="181" y="352"/>
                </a:cubicBezTo>
                <a:cubicBezTo>
                  <a:pt x="181" y="358"/>
                  <a:pt x="186" y="362"/>
                  <a:pt x="192" y="362"/>
                </a:cubicBezTo>
                <a:cubicBezTo>
                  <a:pt x="405" y="362"/>
                  <a:pt x="405" y="362"/>
                  <a:pt x="405" y="362"/>
                </a:cubicBezTo>
                <a:cubicBezTo>
                  <a:pt x="411" y="362"/>
                  <a:pt x="416" y="358"/>
                  <a:pt x="416" y="352"/>
                </a:cubicBezTo>
                <a:cubicBezTo>
                  <a:pt x="416" y="192"/>
                  <a:pt x="416" y="192"/>
                  <a:pt x="416" y="192"/>
                </a:cubicBezTo>
                <a:cubicBezTo>
                  <a:pt x="416" y="186"/>
                  <a:pt x="411" y="181"/>
                  <a:pt x="405" y="181"/>
                </a:cubicBezTo>
                <a:lnTo>
                  <a:pt x="373" y="1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2" name="Group 1037"/>
          <p:cNvGrpSpPr>
            <a:grpSpLocks noChangeAspect="1"/>
          </p:cNvGrpSpPr>
          <p:nvPr/>
        </p:nvGrpSpPr>
        <p:grpSpPr bwMode="auto">
          <a:xfrm>
            <a:off x="5905088" y="2051050"/>
            <a:ext cx="367041" cy="368120"/>
            <a:chOff x="7382" y="4025"/>
            <a:chExt cx="340" cy="341"/>
          </a:xfrm>
          <a:solidFill>
            <a:schemeClr val="accent5"/>
          </a:solidFill>
        </p:grpSpPr>
        <p:sp>
          <p:nvSpPr>
            <p:cNvPr id="333" name="Freeform 1038"/>
            <p:cNvSpPr>
              <a:spLocks noEditPoints="1"/>
            </p:cNvSpPr>
            <p:nvPr/>
          </p:nvSpPr>
          <p:spPr bwMode="auto">
            <a:xfrm>
              <a:off x="7382" y="402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1039"/>
            <p:cNvSpPr>
              <a:spLocks noEditPoints="1"/>
            </p:cNvSpPr>
            <p:nvPr/>
          </p:nvSpPr>
          <p:spPr bwMode="auto">
            <a:xfrm>
              <a:off x="7446" y="4103"/>
              <a:ext cx="212" cy="170"/>
            </a:xfrm>
            <a:custGeom>
              <a:avLst/>
              <a:gdLst>
                <a:gd name="T0" fmla="*/ 256 w 320"/>
                <a:gd name="T1" fmla="*/ 11 h 256"/>
                <a:gd name="T2" fmla="*/ 64 w 320"/>
                <a:gd name="T3" fmla="*/ 11 h 256"/>
                <a:gd name="T4" fmla="*/ 0 w 320"/>
                <a:gd name="T5" fmla="*/ 32 h 256"/>
                <a:gd name="T6" fmla="*/ 309 w 320"/>
                <a:gd name="T7" fmla="*/ 256 h 256"/>
                <a:gd name="T8" fmla="*/ 309 w 320"/>
                <a:gd name="T9" fmla="*/ 21 h 256"/>
                <a:gd name="T10" fmla="*/ 149 w 320"/>
                <a:gd name="T11" fmla="*/ 171 h 256"/>
                <a:gd name="T12" fmla="*/ 298 w 320"/>
                <a:gd name="T13" fmla="*/ 235 h 256"/>
                <a:gd name="T14" fmla="*/ 181 w 320"/>
                <a:gd name="T15" fmla="*/ 149 h 256"/>
                <a:gd name="T16" fmla="*/ 128 w 320"/>
                <a:gd name="T17" fmla="*/ 235 h 256"/>
                <a:gd name="T18" fmla="*/ 74 w 320"/>
                <a:gd name="T19" fmla="*/ 43 h 256"/>
                <a:gd name="T20" fmla="*/ 234 w 320"/>
                <a:gd name="T21" fmla="*/ 21 h 256"/>
                <a:gd name="T22" fmla="*/ 298 w 320"/>
                <a:gd name="T23" fmla="*/ 43 h 256"/>
                <a:gd name="T24" fmla="*/ 53 w 320"/>
                <a:gd name="T25" fmla="*/ 85 h 256"/>
                <a:gd name="T26" fmla="*/ 64 w 320"/>
                <a:gd name="T27" fmla="*/ 75 h 256"/>
                <a:gd name="T28" fmla="*/ 85 w 320"/>
                <a:gd name="T29" fmla="*/ 75 h 256"/>
                <a:gd name="T30" fmla="*/ 149 w 320"/>
                <a:gd name="T31" fmla="*/ 75 h 256"/>
                <a:gd name="T32" fmla="*/ 138 w 320"/>
                <a:gd name="T33" fmla="*/ 64 h 256"/>
                <a:gd name="T34" fmla="*/ 181 w 320"/>
                <a:gd name="T35" fmla="*/ 85 h 256"/>
                <a:gd name="T36" fmla="*/ 192 w 320"/>
                <a:gd name="T37" fmla="*/ 75 h 256"/>
                <a:gd name="T38" fmla="*/ 213 w 320"/>
                <a:gd name="T39" fmla="*/ 75 h 256"/>
                <a:gd name="T40" fmla="*/ 256 w 320"/>
                <a:gd name="T41" fmla="*/ 75 h 256"/>
                <a:gd name="T42" fmla="*/ 266 w 320"/>
                <a:gd name="T43" fmla="*/ 85 h 256"/>
                <a:gd name="T44" fmla="*/ 53 w 320"/>
                <a:gd name="T45" fmla="*/ 128 h 256"/>
                <a:gd name="T46" fmla="*/ 64 w 320"/>
                <a:gd name="T47" fmla="*/ 117 h 256"/>
                <a:gd name="T48" fmla="*/ 85 w 320"/>
                <a:gd name="T49" fmla="*/ 117 h 256"/>
                <a:gd name="T50" fmla="*/ 149 w 320"/>
                <a:gd name="T51" fmla="*/ 117 h 256"/>
                <a:gd name="T52" fmla="*/ 138 w 320"/>
                <a:gd name="T53" fmla="*/ 107 h 256"/>
                <a:gd name="T54" fmla="*/ 181 w 320"/>
                <a:gd name="T55" fmla="*/ 128 h 256"/>
                <a:gd name="T56" fmla="*/ 192 w 320"/>
                <a:gd name="T57" fmla="*/ 117 h 256"/>
                <a:gd name="T58" fmla="*/ 213 w 320"/>
                <a:gd name="T59" fmla="*/ 117 h 256"/>
                <a:gd name="T60" fmla="*/ 256 w 320"/>
                <a:gd name="T61" fmla="*/ 117 h 256"/>
                <a:gd name="T62" fmla="*/ 266 w 320"/>
                <a:gd name="T63" fmla="*/ 128 h 256"/>
                <a:gd name="T64" fmla="*/ 53 w 320"/>
                <a:gd name="T65" fmla="*/ 171 h 256"/>
                <a:gd name="T66" fmla="*/ 64 w 320"/>
                <a:gd name="T67" fmla="*/ 160 h 256"/>
                <a:gd name="T68" fmla="*/ 85 w 320"/>
                <a:gd name="T69" fmla="*/ 160 h 256"/>
                <a:gd name="T70" fmla="*/ 234 w 320"/>
                <a:gd name="T71" fmla="*/ 160 h 256"/>
                <a:gd name="T72" fmla="*/ 224 w 320"/>
                <a:gd name="T73" fmla="*/ 149 h 256"/>
                <a:gd name="T74" fmla="*/ 266 w 320"/>
                <a:gd name="T75" fmla="*/ 149 h 256"/>
                <a:gd name="T76" fmla="*/ 256 w 320"/>
                <a:gd name="T77" fmla="*/ 160 h 256"/>
                <a:gd name="T78" fmla="*/ 42 w 320"/>
                <a:gd name="T79" fmla="*/ 203 h 256"/>
                <a:gd name="T80" fmla="*/ 106 w 320"/>
                <a:gd name="T81" fmla="*/ 203 h 256"/>
                <a:gd name="T82" fmla="*/ 96 w 320"/>
                <a:gd name="T83" fmla="*/ 192 h 256"/>
                <a:gd name="T84" fmla="*/ 224 w 320"/>
                <a:gd name="T85" fmla="*/ 213 h 256"/>
                <a:gd name="T86" fmla="*/ 234 w 320"/>
                <a:gd name="T87" fmla="*/ 203 h 256"/>
                <a:gd name="T88" fmla="*/ 277 w 320"/>
                <a:gd name="T89" fmla="*/ 20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0" h="256">
                  <a:moveTo>
                    <a:pt x="309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1"/>
                    <a:pt x="256" y="11"/>
                    <a:pt x="256" y="11"/>
                  </a:cubicBezTo>
                  <a:cubicBezTo>
                    <a:pt x="256" y="5"/>
                    <a:pt x="251" y="0"/>
                    <a:pt x="24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8" y="0"/>
                    <a:pt x="64" y="5"/>
                    <a:pt x="64" y="1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26"/>
                    <a:pt x="0" y="32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51"/>
                    <a:pt x="4" y="256"/>
                    <a:pt x="10" y="256"/>
                  </a:cubicBezTo>
                  <a:cubicBezTo>
                    <a:pt x="309" y="256"/>
                    <a:pt x="309" y="256"/>
                    <a:pt x="309" y="256"/>
                  </a:cubicBezTo>
                  <a:cubicBezTo>
                    <a:pt x="315" y="256"/>
                    <a:pt x="320" y="251"/>
                    <a:pt x="320" y="245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320" y="26"/>
                    <a:pt x="315" y="21"/>
                    <a:pt x="309" y="21"/>
                  </a:cubicBezTo>
                  <a:close/>
                  <a:moveTo>
                    <a:pt x="170" y="235"/>
                  </a:moveTo>
                  <a:cubicBezTo>
                    <a:pt x="149" y="235"/>
                    <a:pt x="149" y="235"/>
                    <a:pt x="149" y="235"/>
                  </a:cubicBezTo>
                  <a:cubicBezTo>
                    <a:pt x="149" y="171"/>
                    <a:pt x="149" y="171"/>
                    <a:pt x="149" y="171"/>
                  </a:cubicBezTo>
                  <a:cubicBezTo>
                    <a:pt x="170" y="171"/>
                    <a:pt x="170" y="171"/>
                    <a:pt x="170" y="171"/>
                  </a:cubicBezTo>
                  <a:lnTo>
                    <a:pt x="170" y="235"/>
                  </a:lnTo>
                  <a:close/>
                  <a:moveTo>
                    <a:pt x="298" y="235"/>
                  </a:moveTo>
                  <a:cubicBezTo>
                    <a:pt x="192" y="235"/>
                    <a:pt x="192" y="235"/>
                    <a:pt x="192" y="235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2" y="154"/>
                    <a:pt x="187" y="149"/>
                    <a:pt x="181" y="149"/>
                  </a:cubicBezTo>
                  <a:cubicBezTo>
                    <a:pt x="138" y="149"/>
                    <a:pt x="138" y="149"/>
                    <a:pt x="138" y="149"/>
                  </a:cubicBezTo>
                  <a:cubicBezTo>
                    <a:pt x="132" y="149"/>
                    <a:pt x="128" y="154"/>
                    <a:pt x="128" y="160"/>
                  </a:cubicBezTo>
                  <a:cubicBezTo>
                    <a:pt x="128" y="235"/>
                    <a:pt x="128" y="235"/>
                    <a:pt x="128" y="235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80" y="43"/>
                    <a:pt x="85" y="38"/>
                    <a:pt x="85" y="32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234" y="21"/>
                    <a:pt x="234" y="21"/>
                    <a:pt x="234" y="21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38"/>
                    <a:pt x="239" y="43"/>
                    <a:pt x="245" y="43"/>
                  </a:cubicBezTo>
                  <a:cubicBezTo>
                    <a:pt x="298" y="43"/>
                    <a:pt x="298" y="43"/>
                    <a:pt x="298" y="43"/>
                  </a:cubicBezTo>
                  <a:lnTo>
                    <a:pt x="298" y="235"/>
                  </a:lnTo>
                  <a:close/>
                  <a:moveTo>
                    <a:pt x="64" y="75"/>
                  </a:moveTo>
                  <a:cubicBezTo>
                    <a:pt x="64" y="81"/>
                    <a:pt x="59" y="85"/>
                    <a:pt x="53" y="85"/>
                  </a:cubicBezTo>
                  <a:cubicBezTo>
                    <a:pt x="47" y="85"/>
                    <a:pt x="42" y="81"/>
                    <a:pt x="42" y="75"/>
                  </a:cubicBezTo>
                  <a:cubicBezTo>
                    <a:pt x="42" y="69"/>
                    <a:pt x="47" y="64"/>
                    <a:pt x="53" y="64"/>
                  </a:cubicBezTo>
                  <a:cubicBezTo>
                    <a:pt x="59" y="64"/>
                    <a:pt x="64" y="69"/>
                    <a:pt x="64" y="75"/>
                  </a:cubicBezTo>
                  <a:close/>
                  <a:moveTo>
                    <a:pt x="106" y="75"/>
                  </a:moveTo>
                  <a:cubicBezTo>
                    <a:pt x="106" y="81"/>
                    <a:pt x="102" y="85"/>
                    <a:pt x="96" y="85"/>
                  </a:cubicBezTo>
                  <a:cubicBezTo>
                    <a:pt x="90" y="85"/>
                    <a:pt x="85" y="81"/>
                    <a:pt x="85" y="75"/>
                  </a:cubicBezTo>
                  <a:cubicBezTo>
                    <a:pt x="85" y="69"/>
                    <a:pt x="90" y="64"/>
                    <a:pt x="96" y="64"/>
                  </a:cubicBezTo>
                  <a:cubicBezTo>
                    <a:pt x="102" y="64"/>
                    <a:pt x="106" y="69"/>
                    <a:pt x="106" y="75"/>
                  </a:cubicBezTo>
                  <a:close/>
                  <a:moveTo>
                    <a:pt x="149" y="75"/>
                  </a:moveTo>
                  <a:cubicBezTo>
                    <a:pt x="149" y="81"/>
                    <a:pt x="144" y="85"/>
                    <a:pt x="138" y="85"/>
                  </a:cubicBezTo>
                  <a:cubicBezTo>
                    <a:pt x="132" y="85"/>
                    <a:pt x="128" y="81"/>
                    <a:pt x="128" y="75"/>
                  </a:cubicBezTo>
                  <a:cubicBezTo>
                    <a:pt x="128" y="69"/>
                    <a:pt x="132" y="64"/>
                    <a:pt x="138" y="64"/>
                  </a:cubicBezTo>
                  <a:cubicBezTo>
                    <a:pt x="144" y="64"/>
                    <a:pt x="149" y="69"/>
                    <a:pt x="149" y="75"/>
                  </a:cubicBezTo>
                  <a:close/>
                  <a:moveTo>
                    <a:pt x="192" y="75"/>
                  </a:moveTo>
                  <a:cubicBezTo>
                    <a:pt x="192" y="81"/>
                    <a:pt x="187" y="85"/>
                    <a:pt x="181" y="85"/>
                  </a:cubicBezTo>
                  <a:cubicBezTo>
                    <a:pt x="175" y="85"/>
                    <a:pt x="170" y="81"/>
                    <a:pt x="170" y="75"/>
                  </a:cubicBezTo>
                  <a:cubicBezTo>
                    <a:pt x="170" y="69"/>
                    <a:pt x="175" y="64"/>
                    <a:pt x="181" y="64"/>
                  </a:cubicBezTo>
                  <a:cubicBezTo>
                    <a:pt x="187" y="64"/>
                    <a:pt x="192" y="69"/>
                    <a:pt x="192" y="75"/>
                  </a:cubicBezTo>
                  <a:close/>
                  <a:moveTo>
                    <a:pt x="234" y="75"/>
                  </a:moveTo>
                  <a:cubicBezTo>
                    <a:pt x="234" y="81"/>
                    <a:pt x="230" y="85"/>
                    <a:pt x="224" y="85"/>
                  </a:cubicBezTo>
                  <a:cubicBezTo>
                    <a:pt x="218" y="85"/>
                    <a:pt x="213" y="81"/>
                    <a:pt x="213" y="75"/>
                  </a:cubicBezTo>
                  <a:cubicBezTo>
                    <a:pt x="213" y="69"/>
                    <a:pt x="218" y="64"/>
                    <a:pt x="224" y="64"/>
                  </a:cubicBezTo>
                  <a:cubicBezTo>
                    <a:pt x="230" y="64"/>
                    <a:pt x="234" y="69"/>
                    <a:pt x="234" y="75"/>
                  </a:cubicBezTo>
                  <a:close/>
                  <a:moveTo>
                    <a:pt x="256" y="75"/>
                  </a:moveTo>
                  <a:cubicBezTo>
                    <a:pt x="256" y="69"/>
                    <a:pt x="260" y="64"/>
                    <a:pt x="266" y="64"/>
                  </a:cubicBezTo>
                  <a:cubicBezTo>
                    <a:pt x="272" y="64"/>
                    <a:pt x="277" y="69"/>
                    <a:pt x="277" y="75"/>
                  </a:cubicBezTo>
                  <a:cubicBezTo>
                    <a:pt x="277" y="81"/>
                    <a:pt x="272" y="85"/>
                    <a:pt x="266" y="85"/>
                  </a:cubicBezTo>
                  <a:cubicBezTo>
                    <a:pt x="260" y="85"/>
                    <a:pt x="256" y="81"/>
                    <a:pt x="256" y="75"/>
                  </a:cubicBezTo>
                  <a:close/>
                  <a:moveTo>
                    <a:pt x="64" y="117"/>
                  </a:moveTo>
                  <a:cubicBezTo>
                    <a:pt x="64" y="123"/>
                    <a:pt x="59" y="128"/>
                    <a:pt x="53" y="128"/>
                  </a:cubicBezTo>
                  <a:cubicBezTo>
                    <a:pt x="47" y="128"/>
                    <a:pt x="42" y="123"/>
                    <a:pt x="42" y="117"/>
                  </a:cubicBezTo>
                  <a:cubicBezTo>
                    <a:pt x="42" y="111"/>
                    <a:pt x="47" y="107"/>
                    <a:pt x="53" y="107"/>
                  </a:cubicBezTo>
                  <a:cubicBezTo>
                    <a:pt x="59" y="107"/>
                    <a:pt x="64" y="111"/>
                    <a:pt x="64" y="117"/>
                  </a:cubicBezTo>
                  <a:close/>
                  <a:moveTo>
                    <a:pt x="106" y="117"/>
                  </a:moveTo>
                  <a:cubicBezTo>
                    <a:pt x="106" y="123"/>
                    <a:pt x="102" y="128"/>
                    <a:pt x="96" y="128"/>
                  </a:cubicBezTo>
                  <a:cubicBezTo>
                    <a:pt x="90" y="128"/>
                    <a:pt x="85" y="123"/>
                    <a:pt x="85" y="117"/>
                  </a:cubicBezTo>
                  <a:cubicBezTo>
                    <a:pt x="85" y="111"/>
                    <a:pt x="90" y="107"/>
                    <a:pt x="96" y="107"/>
                  </a:cubicBezTo>
                  <a:cubicBezTo>
                    <a:pt x="102" y="107"/>
                    <a:pt x="106" y="111"/>
                    <a:pt x="106" y="117"/>
                  </a:cubicBezTo>
                  <a:close/>
                  <a:moveTo>
                    <a:pt x="149" y="117"/>
                  </a:moveTo>
                  <a:cubicBezTo>
                    <a:pt x="149" y="123"/>
                    <a:pt x="144" y="128"/>
                    <a:pt x="138" y="128"/>
                  </a:cubicBezTo>
                  <a:cubicBezTo>
                    <a:pt x="132" y="128"/>
                    <a:pt x="128" y="123"/>
                    <a:pt x="128" y="117"/>
                  </a:cubicBezTo>
                  <a:cubicBezTo>
                    <a:pt x="128" y="111"/>
                    <a:pt x="132" y="107"/>
                    <a:pt x="138" y="107"/>
                  </a:cubicBezTo>
                  <a:cubicBezTo>
                    <a:pt x="144" y="107"/>
                    <a:pt x="149" y="111"/>
                    <a:pt x="149" y="117"/>
                  </a:cubicBezTo>
                  <a:close/>
                  <a:moveTo>
                    <a:pt x="192" y="117"/>
                  </a:moveTo>
                  <a:cubicBezTo>
                    <a:pt x="192" y="123"/>
                    <a:pt x="187" y="128"/>
                    <a:pt x="181" y="128"/>
                  </a:cubicBezTo>
                  <a:cubicBezTo>
                    <a:pt x="175" y="128"/>
                    <a:pt x="170" y="123"/>
                    <a:pt x="170" y="117"/>
                  </a:cubicBezTo>
                  <a:cubicBezTo>
                    <a:pt x="170" y="111"/>
                    <a:pt x="175" y="107"/>
                    <a:pt x="181" y="107"/>
                  </a:cubicBezTo>
                  <a:cubicBezTo>
                    <a:pt x="187" y="107"/>
                    <a:pt x="192" y="111"/>
                    <a:pt x="192" y="117"/>
                  </a:cubicBezTo>
                  <a:close/>
                  <a:moveTo>
                    <a:pt x="234" y="117"/>
                  </a:moveTo>
                  <a:cubicBezTo>
                    <a:pt x="234" y="123"/>
                    <a:pt x="230" y="128"/>
                    <a:pt x="224" y="128"/>
                  </a:cubicBezTo>
                  <a:cubicBezTo>
                    <a:pt x="218" y="128"/>
                    <a:pt x="213" y="123"/>
                    <a:pt x="213" y="117"/>
                  </a:cubicBezTo>
                  <a:cubicBezTo>
                    <a:pt x="213" y="111"/>
                    <a:pt x="218" y="107"/>
                    <a:pt x="224" y="107"/>
                  </a:cubicBezTo>
                  <a:cubicBezTo>
                    <a:pt x="230" y="107"/>
                    <a:pt x="234" y="111"/>
                    <a:pt x="234" y="117"/>
                  </a:cubicBezTo>
                  <a:close/>
                  <a:moveTo>
                    <a:pt x="256" y="117"/>
                  </a:moveTo>
                  <a:cubicBezTo>
                    <a:pt x="256" y="111"/>
                    <a:pt x="260" y="107"/>
                    <a:pt x="266" y="107"/>
                  </a:cubicBezTo>
                  <a:cubicBezTo>
                    <a:pt x="272" y="107"/>
                    <a:pt x="277" y="111"/>
                    <a:pt x="277" y="117"/>
                  </a:cubicBezTo>
                  <a:cubicBezTo>
                    <a:pt x="277" y="123"/>
                    <a:pt x="272" y="128"/>
                    <a:pt x="266" y="128"/>
                  </a:cubicBezTo>
                  <a:cubicBezTo>
                    <a:pt x="260" y="128"/>
                    <a:pt x="256" y="123"/>
                    <a:pt x="256" y="117"/>
                  </a:cubicBezTo>
                  <a:close/>
                  <a:moveTo>
                    <a:pt x="64" y="160"/>
                  </a:moveTo>
                  <a:cubicBezTo>
                    <a:pt x="64" y="166"/>
                    <a:pt x="59" y="171"/>
                    <a:pt x="53" y="171"/>
                  </a:cubicBezTo>
                  <a:cubicBezTo>
                    <a:pt x="47" y="171"/>
                    <a:pt x="42" y="166"/>
                    <a:pt x="42" y="160"/>
                  </a:cubicBezTo>
                  <a:cubicBezTo>
                    <a:pt x="42" y="154"/>
                    <a:pt x="47" y="149"/>
                    <a:pt x="53" y="149"/>
                  </a:cubicBezTo>
                  <a:cubicBezTo>
                    <a:pt x="59" y="149"/>
                    <a:pt x="64" y="154"/>
                    <a:pt x="64" y="160"/>
                  </a:cubicBezTo>
                  <a:close/>
                  <a:moveTo>
                    <a:pt x="106" y="160"/>
                  </a:moveTo>
                  <a:cubicBezTo>
                    <a:pt x="106" y="166"/>
                    <a:pt x="102" y="171"/>
                    <a:pt x="96" y="171"/>
                  </a:cubicBezTo>
                  <a:cubicBezTo>
                    <a:pt x="90" y="171"/>
                    <a:pt x="85" y="166"/>
                    <a:pt x="85" y="160"/>
                  </a:cubicBezTo>
                  <a:cubicBezTo>
                    <a:pt x="85" y="154"/>
                    <a:pt x="90" y="149"/>
                    <a:pt x="96" y="149"/>
                  </a:cubicBezTo>
                  <a:cubicBezTo>
                    <a:pt x="102" y="149"/>
                    <a:pt x="106" y="154"/>
                    <a:pt x="106" y="160"/>
                  </a:cubicBezTo>
                  <a:close/>
                  <a:moveTo>
                    <a:pt x="234" y="160"/>
                  </a:moveTo>
                  <a:cubicBezTo>
                    <a:pt x="234" y="166"/>
                    <a:pt x="230" y="171"/>
                    <a:pt x="224" y="171"/>
                  </a:cubicBezTo>
                  <a:cubicBezTo>
                    <a:pt x="218" y="171"/>
                    <a:pt x="213" y="166"/>
                    <a:pt x="213" y="160"/>
                  </a:cubicBezTo>
                  <a:cubicBezTo>
                    <a:pt x="213" y="154"/>
                    <a:pt x="218" y="149"/>
                    <a:pt x="224" y="149"/>
                  </a:cubicBezTo>
                  <a:cubicBezTo>
                    <a:pt x="230" y="149"/>
                    <a:pt x="234" y="154"/>
                    <a:pt x="234" y="160"/>
                  </a:cubicBezTo>
                  <a:close/>
                  <a:moveTo>
                    <a:pt x="256" y="160"/>
                  </a:moveTo>
                  <a:cubicBezTo>
                    <a:pt x="256" y="154"/>
                    <a:pt x="260" y="149"/>
                    <a:pt x="266" y="149"/>
                  </a:cubicBezTo>
                  <a:cubicBezTo>
                    <a:pt x="272" y="149"/>
                    <a:pt x="277" y="154"/>
                    <a:pt x="277" y="160"/>
                  </a:cubicBezTo>
                  <a:cubicBezTo>
                    <a:pt x="277" y="166"/>
                    <a:pt x="272" y="171"/>
                    <a:pt x="266" y="171"/>
                  </a:cubicBezTo>
                  <a:cubicBezTo>
                    <a:pt x="260" y="171"/>
                    <a:pt x="256" y="166"/>
                    <a:pt x="256" y="160"/>
                  </a:cubicBezTo>
                  <a:close/>
                  <a:moveTo>
                    <a:pt x="64" y="203"/>
                  </a:moveTo>
                  <a:cubicBezTo>
                    <a:pt x="64" y="209"/>
                    <a:pt x="59" y="213"/>
                    <a:pt x="53" y="213"/>
                  </a:cubicBezTo>
                  <a:cubicBezTo>
                    <a:pt x="47" y="213"/>
                    <a:pt x="42" y="209"/>
                    <a:pt x="42" y="203"/>
                  </a:cubicBezTo>
                  <a:cubicBezTo>
                    <a:pt x="42" y="197"/>
                    <a:pt x="47" y="192"/>
                    <a:pt x="53" y="192"/>
                  </a:cubicBezTo>
                  <a:cubicBezTo>
                    <a:pt x="59" y="192"/>
                    <a:pt x="64" y="197"/>
                    <a:pt x="64" y="203"/>
                  </a:cubicBezTo>
                  <a:close/>
                  <a:moveTo>
                    <a:pt x="106" y="203"/>
                  </a:moveTo>
                  <a:cubicBezTo>
                    <a:pt x="106" y="209"/>
                    <a:pt x="102" y="213"/>
                    <a:pt x="96" y="213"/>
                  </a:cubicBezTo>
                  <a:cubicBezTo>
                    <a:pt x="90" y="213"/>
                    <a:pt x="85" y="209"/>
                    <a:pt x="85" y="203"/>
                  </a:cubicBezTo>
                  <a:cubicBezTo>
                    <a:pt x="85" y="197"/>
                    <a:pt x="90" y="192"/>
                    <a:pt x="96" y="192"/>
                  </a:cubicBezTo>
                  <a:cubicBezTo>
                    <a:pt x="102" y="192"/>
                    <a:pt x="106" y="197"/>
                    <a:pt x="106" y="203"/>
                  </a:cubicBezTo>
                  <a:close/>
                  <a:moveTo>
                    <a:pt x="234" y="203"/>
                  </a:moveTo>
                  <a:cubicBezTo>
                    <a:pt x="234" y="209"/>
                    <a:pt x="230" y="213"/>
                    <a:pt x="224" y="213"/>
                  </a:cubicBezTo>
                  <a:cubicBezTo>
                    <a:pt x="218" y="213"/>
                    <a:pt x="213" y="209"/>
                    <a:pt x="213" y="203"/>
                  </a:cubicBezTo>
                  <a:cubicBezTo>
                    <a:pt x="213" y="197"/>
                    <a:pt x="218" y="192"/>
                    <a:pt x="224" y="192"/>
                  </a:cubicBezTo>
                  <a:cubicBezTo>
                    <a:pt x="230" y="192"/>
                    <a:pt x="234" y="197"/>
                    <a:pt x="234" y="203"/>
                  </a:cubicBezTo>
                  <a:close/>
                  <a:moveTo>
                    <a:pt x="256" y="203"/>
                  </a:moveTo>
                  <a:cubicBezTo>
                    <a:pt x="256" y="197"/>
                    <a:pt x="260" y="192"/>
                    <a:pt x="266" y="192"/>
                  </a:cubicBezTo>
                  <a:cubicBezTo>
                    <a:pt x="272" y="192"/>
                    <a:pt x="277" y="197"/>
                    <a:pt x="277" y="203"/>
                  </a:cubicBezTo>
                  <a:cubicBezTo>
                    <a:pt x="277" y="209"/>
                    <a:pt x="272" y="213"/>
                    <a:pt x="266" y="213"/>
                  </a:cubicBezTo>
                  <a:cubicBezTo>
                    <a:pt x="260" y="213"/>
                    <a:pt x="256" y="209"/>
                    <a:pt x="25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5" name="Freeform 1043"/>
          <p:cNvSpPr>
            <a:spLocks noChangeAspect="1" noEditPoints="1"/>
          </p:cNvSpPr>
          <p:nvPr/>
        </p:nvSpPr>
        <p:spPr bwMode="auto">
          <a:xfrm>
            <a:off x="5409001" y="2051054"/>
            <a:ext cx="367041" cy="367041"/>
          </a:xfrm>
          <a:custGeom>
            <a:avLst/>
            <a:gdLst>
              <a:gd name="T0" fmla="*/ 266 w 512"/>
              <a:gd name="T1" fmla="*/ 352 h 512"/>
              <a:gd name="T2" fmla="*/ 341 w 512"/>
              <a:gd name="T3" fmla="*/ 160 h 512"/>
              <a:gd name="T4" fmla="*/ 288 w 512"/>
              <a:gd name="T5" fmla="*/ 352 h 512"/>
              <a:gd name="T6" fmla="*/ 234 w 512"/>
              <a:gd name="T7" fmla="*/ 266 h 512"/>
              <a:gd name="T8" fmla="*/ 117 w 512"/>
              <a:gd name="T9" fmla="*/ 352 h 512"/>
              <a:gd name="T10" fmla="*/ 181 w 512"/>
              <a:gd name="T11" fmla="*/ 149 h 512"/>
              <a:gd name="T12" fmla="*/ 330 w 512"/>
              <a:gd name="T13" fmla="*/ 149 h 512"/>
              <a:gd name="T14" fmla="*/ 149 w 512"/>
              <a:gd name="T15" fmla="*/ 309 h 512"/>
              <a:gd name="T16" fmla="*/ 160 w 512"/>
              <a:gd name="T17" fmla="*/ 320 h 512"/>
              <a:gd name="T18" fmla="*/ 138 w 512"/>
              <a:gd name="T19" fmla="*/ 277 h 512"/>
              <a:gd name="T20" fmla="*/ 160 w 512"/>
              <a:gd name="T21" fmla="*/ 234 h 512"/>
              <a:gd name="T22" fmla="*/ 149 w 512"/>
              <a:gd name="T23" fmla="*/ 245 h 512"/>
              <a:gd name="T24" fmla="*/ 149 w 512"/>
              <a:gd name="T25" fmla="*/ 181 h 512"/>
              <a:gd name="T26" fmla="*/ 160 w 512"/>
              <a:gd name="T27" fmla="*/ 192 h 512"/>
              <a:gd name="T28" fmla="*/ 181 w 512"/>
              <a:gd name="T29" fmla="*/ 320 h 512"/>
              <a:gd name="T30" fmla="*/ 202 w 512"/>
              <a:gd name="T31" fmla="*/ 277 h 512"/>
              <a:gd name="T32" fmla="*/ 192 w 512"/>
              <a:gd name="T33" fmla="*/ 288 h 512"/>
              <a:gd name="T34" fmla="*/ 192 w 512"/>
              <a:gd name="T35" fmla="*/ 224 h 512"/>
              <a:gd name="T36" fmla="*/ 202 w 512"/>
              <a:gd name="T37" fmla="*/ 234 h 512"/>
              <a:gd name="T38" fmla="*/ 181 w 512"/>
              <a:gd name="T39" fmla="*/ 192 h 512"/>
              <a:gd name="T40" fmla="*/ 245 w 512"/>
              <a:gd name="T41" fmla="*/ 234 h 512"/>
              <a:gd name="T42" fmla="*/ 234 w 512"/>
              <a:gd name="T43" fmla="*/ 245 h 512"/>
              <a:gd name="T44" fmla="*/ 234 w 512"/>
              <a:gd name="T45" fmla="*/ 181 h 512"/>
              <a:gd name="T46" fmla="*/ 245 w 512"/>
              <a:gd name="T47" fmla="*/ 192 h 512"/>
              <a:gd name="T48" fmla="*/ 266 w 512"/>
              <a:gd name="T49" fmla="*/ 234 h 512"/>
              <a:gd name="T50" fmla="*/ 288 w 512"/>
              <a:gd name="T51" fmla="*/ 192 h 512"/>
              <a:gd name="T52" fmla="*/ 277 w 512"/>
              <a:gd name="T53" fmla="*/ 202 h 512"/>
              <a:gd name="T54" fmla="*/ 320 w 512"/>
              <a:gd name="T55" fmla="*/ 309 h 512"/>
              <a:gd name="T56" fmla="*/ 330 w 512"/>
              <a:gd name="T57" fmla="*/ 320 h 512"/>
              <a:gd name="T58" fmla="*/ 309 w 512"/>
              <a:gd name="T59" fmla="*/ 277 h 512"/>
              <a:gd name="T60" fmla="*/ 330 w 512"/>
              <a:gd name="T61" fmla="*/ 234 h 512"/>
              <a:gd name="T62" fmla="*/ 320 w 512"/>
              <a:gd name="T63" fmla="*/ 245 h 512"/>
              <a:gd name="T64" fmla="*/ 320 w 512"/>
              <a:gd name="T65" fmla="*/ 181 h 512"/>
              <a:gd name="T66" fmla="*/ 330 w 512"/>
              <a:gd name="T67" fmla="*/ 192 h 512"/>
              <a:gd name="T68" fmla="*/ 373 w 512"/>
              <a:gd name="T69" fmla="*/ 192 h 512"/>
              <a:gd name="T70" fmla="*/ 352 w 512"/>
              <a:gd name="T71" fmla="*/ 234 h 512"/>
              <a:gd name="T72" fmla="*/ 362 w 512"/>
              <a:gd name="T73" fmla="*/ 224 h 512"/>
              <a:gd name="T74" fmla="*/ 362 w 512"/>
              <a:gd name="T75" fmla="*/ 288 h 512"/>
              <a:gd name="T76" fmla="*/ 352 w 512"/>
              <a:gd name="T77" fmla="*/ 277 h 512"/>
              <a:gd name="T78" fmla="*/ 373 w 512"/>
              <a:gd name="T79" fmla="*/ 320 h 512"/>
              <a:gd name="T80" fmla="*/ 512 w 512"/>
              <a:gd name="T81" fmla="*/ 256 h 512"/>
              <a:gd name="T82" fmla="*/ 256 w 512"/>
              <a:gd name="T83" fmla="*/ 0 h 512"/>
              <a:gd name="T84" fmla="*/ 405 w 512"/>
              <a:gd name="T85" fmla="*/ 138 h 512"/>
              <a:gd name="T86" fmla="*/ 341 w 512"/>
              <a:gd name="T87" fmla="*/ 117 h 512"/>
              <a:gd name="T88" fmla="*/ 160 w 512"/>
              <a:gd name="T89" fmla="*/ 138 h 512"/>
              <a:gd name="T90" fmla="*/ 96 w 512"/>
              <a:gd name="T91" fmla="*/ 362 h 512"/>
              <a:gd name="T92" fmla="*/ 416 w 512"/>
              <a:gd name="T93" fmla="*/ 36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45" y="288"/>
                </a:moveTo>
                <a:cubicBezTo>
                  <a:pt x="266" y="288"/>
                  <a:pt x="266" y="288"/>
                  <a:pt x="266" y="288"/>
                </a:cubicBezTo>
                <a:cubicBezTo>
                  <a:pt x="266" y="352"/>
                  <a:pt x="266" y="352"/>
                  <a:pt x="266" y="352"/>
                </a:cubicBezTo>
                <a:cubicBezTo>
                  <a:pt x="245" y="352"/>
                  <a:pt x="245" y="352"/>
                  <a:pt x="245" y="352"/>
                </a:cubicBezTo>
                <a:lnTo>
                  <a:pt x="245" y="288"/>
                </a:lnTo>
                <a:close/>
                <a:moveTo>
                  <a:pt x="341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8" y="271"/>
                  <a:pt x="283" y="266"/>
                  <a:pt x="277" y="266"/>
                </a:cubicBezTo>
                <a:cubicBezTo>
                  <a:pt x="234" y="266"/>
                  <a:pt x="234" y="266"/>
                  <a:pt x="234" y="266"/>
                </a:cubicBezTo>
                <a:cubicBezTo>
                  <a:pt x="228" y="266"/>
                  <a:pt x="224" y="271"/>
                  <a:pt x="224" y="277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70" y="160"/>
                  <a:pt x="170" y="160"/>
                  <a:pt x="170" y="160"/>
                </a:cubicBezTo>
                <a:cubicBezTo>
                  <a:pt x="176" y="160"/>
                  <a:pt x="181" y="155"/>
                  <a:pt x="181" y="149"/>
                </a:cubicBezTo>
                <a:cubicBezTo>
                  <a:pt x="181" y="138"/>
                  <a:pt x="181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0" y="149"/>
                  <a:pt x="330" y="149"/>
                  <a:pt x="330" y="149"/>
                </a:cubicBezTo>
                <a:cubicBezTo>
                  <a:pt x="330" y="155"/>
                  <a:pt x="335" y="160"/>
                  <a:pt x="341" y="160"/>
                </a:cubicBezTo>
                <a:close/>
                <a:moveTo>
                  <a:pt x="160" y="320"/>
                </a:moveTo>
                <a:cubicBezTo>
                  <a:pt x="160" y="314"/>
                  <a:pt x="155" y="309"/>
                  <a:pt x="149" y="309"/>
                </a:cubicBezTo>
                <a:cubicBezTo>
                  <a:pt x="143" y="309"/>
                  <a:pt x="138" y="314"/>
                  <a:pt x="138" y="320"/>
                </a:cubicBezTo>
                <a:cubicBezTo>
                  <a:pt x="138" y="326"/>
                  <a:pt x="143" y="330"/>
                  <a:pt x="149" y="330"/>
                </a:cubicBezTo>
                <a:cubicBezTo>
                  <a:pt x="155" y="330"/>
                  <a:pt x="160" y="326"/>
                  <a:pt x="160" y="320"/>
                </a:cubicBezTo>
                <a:close/>
                <a:moveTo>
                  <a:pt x="160" y="277"/>
                </a:moveTo>
                <a:cubicBezTo>
                  <a:pt x="160" y="271"/>
                  <a:pt x="155" y="266"/>
                  <a:pt x="149" y="266"/>
                </a:cubicBezTo>
                <a:cubicBezTo>
                  <a:pt x="143" y="266"/>
                  <a:pt x="138" y="271"/>
                  <a:pt x="138" y="277"/>
                </a:cubicBezTo>
                <a:cubicBezTo>
                  <a:pt x="138" y="283"/>
                  <a:pt x="143" y="288"/>
                  <a:pt x="149" y="288"/>
                </a:cubicBezTo>
                <a:cubicBezTo>
                  <a:pt x="155" y="288"/>
                  <a:pt x="160" y="283"/>
                  <a:pt x="160" y="277"/>
                </a:cubicBezTo>
                <a:close/>
                <a:moveTo>
                  <a:pt x="160" y="234"/>
                </a:moveTo>
                <a:cubicBezTo>
                  <a:pt x="160" y="228"/>
                  <a:pt x="155" y="224"/>
                  <a:pt x="149" y="224"/>
                </a:cubicBezTo>
                <a:cubicBezTo>
                  <a:pt x="143" y="224"/>
                  <a:pt x="138" y="228"/>
                  <a:pt x="138" y="234"/>
                </a:cubicBezTo>
                <a:cubicBezTo>
                  <a:pt x="138" y="240"/>
                  <a:pt x="143" y="245"/>
                  <a:pt x="149" y="245"/>
                </a:cubicBezTo>
                <a:cubicBezTo>
                  <a:pt x="155" y="245"/>
                  <a:pt x="160" y="240"/>
                  <a:pt x="160" y="234"/>
                </a:cubicBezTo>
                <a:close/>
                <a:moveTo>
                  <a:pt x="160" y="192"/>
                </a:moveTo>
                <a:cubicBezTo>
                  <a:pt x="160" y="186"/>
                  <a:pt x="155" y="181"/>
                  <a:pt x="149" y="181"/>
                </a:cubicBezTo>
                <a:cubicBezTo>
                  <a:pt x="143" y="181"/>
                  <a:pt x="138" y="186"/>
                  <a:pt x="138" y="192"/>
                </a:cubicBezTo>
                <a:cubicBezTo>
                  <a:pt x="138" y="198"/>
                  <a:pt x="143" y="202"/>
                  <a:pt x="149" y="202"/>
                </a:cubicBezTo>
                <a:cubicBezTo>
                  <a:pt x="155" y="202"/>
                  <a:pt x="160" y="198"/>
                  <a:pt x="160" y="192"/>
                </a:cubicBezTo>
                <a:close/>
                <a:moveTo>
                  <a:pt x="202" y="320"/>
                </a:moveTo>
                <a:cubicBezTo>
                  <a:pt x="202" y="314"/>
                  <a:pt x="198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ubicBezTo>
                  <a:pt x="181" y="326"/>
                  <a:pt x="186" y="330"/>
                  <a:pt x="192" y="330"/>
                </a:cubicBezTo>
                <a:cubicBezTo>
                  <a:pt x="198" y="330"/>
                  <a:pt x="202" y="326"/>
                  <a:pt x="202" y="320"/>
                </a:cubicBezTo>
                <a:close/>
                <a:moveTo>
                  <a:pt x="202" y="277"/>
                </a:moveTo>
                <a:cubicBezTo>
                  <a:pt x="202" y="271"/>
                  <a:pt x="198" y="266"/>
                  <a:pt x="192" y="266"/>
                </a:cubicBezTo>
                <a:cubicBezTo>
                  <a:pt x="186" y="266"/>
                  <a:pt x="181" y="271"/>
                  <a:pt x="181" y="277"/>
                </a:cubicBezTo>
                <a:cubicBezTo>
                  <a:pt x="181" y="283"/>
                  <a:pt x="186" y="288"/>
                  <a:pt x="192" y="288"/>
                </a:cubicBezTo>
                <a:cubicBezTo>
                  <a:pt x="198" y="288"/>
                  <a:pt x="202" y="283"/>
                  <a:pt x="202" y="277"/>
                </a:cubicBezTo>
                <a:close/>
                <a:moveTo>
                  <a:pt x="202" y="234"/>
                </a:moveTo>
                <a:cubicBezTo>
                  <a:pt x="202" y="228"/>
                  <a:pt x="198" y="224"/>
                  <a:pt x="192" y="224"/>
                </a:cubicBezTo>
                <a:cubicBezTo>
                  <a:pt x="186" y="224"/>
                  <a:pt x="181" y="228"/>
                  <a:pt x="181" y="234"/>
                </a:cubicBezTo>
                <a:cubicBezTo>
                  <a:pt x="181" y="240"/>
                  <a:pt x="186" y="245"/>
                  <a:pt x="192" y="245"/>
                </a:cubicBezTo>
                <a:cubicBezTo>
                  <a:pt x="198" y="245"/>
                  <a:pt x="202" y="240"/>
                  <a:pt x="202" y="234"/>
                </a:cubicBezTo>
                <a:close/>
                <a:moveTo>
                  <a:pt x="202" y="192"/>
                </a:moveTo>
                <a:cubicBezTo>
                  <a:pt x="202" y="186"/>
                  <a:pt x="198" y="181"/>
                  <a:pt x="192" y="181"/>
                </a:cubicBezTo>
                <a:cubicBezTo>
                  <a:pt x="186" y="181"/>
                  <a:pt x="181" y="186"/>
                  <a:pt x="181" y="192"/>
                </a:cubicBezTo>
                <a:cubicBezTo>
                  <a:pt x="181" y="198"/>
                  <a:pt x="186" y="202"/>
                  <a:pt x="192" y="202"/>
                </a:cubicBezTo>
                <a:cubicBezTo>
                  <a:pt x="198" y="202"/>
                  <a:pt x="202" y="198"/>
                  <a:pt x="202" y="192"/>
                </a:cubicBezTo>
                <a:close/>
                <a:moveTo>
                  <a:pt x="245" y="234"/>
                </a:moveTo>
                <a:cubicBezTo>
                  <a:pt x="245" y="228"/>
                  <a:pt x="240" y="224"/>
                  <a:pt x="234" y="224"/>
                </a:cubicBezTo>
                <a:cubicBezTo>
                  <a:pt x="228" y="224"/>
                  <a:pt x="224" y="228"/>
                  <a:pt x="224" y="234"/>
                </a:cubicBezTo>
                <a:cubicBezTo>
                  <a:pt x="224" y="240"/>
                  <a:pt x="228" y="245"/>
                  <a:pt x="234" y="245"/>
                </a:cubicBezTo>
                <a:cubicBezTo>
                  <a:pt x="240" y="245"/>
                  <a:pt x="245" y="240"/>
                  <a:pt x="245" y="234"/>
                </a:cubicBezTo>
                <a:close/>
                <a:moveTo>
                  <a:pt x="245" y="192"/>
                </a:moveTo>
                <a:cubicBezTo>
                  <a:pt x="245" y="186"/>
                  <a:pt x="240" y="181"/>
                  <a:pt x="234" y="181"/>
                </a:cubicBezTo>
                <a:cubicBezTo>
                  <a:pt x="228" y="181"/>
                  <a:pt x="224" y="186"/>
                  <a:pt x="224" y="192"/>
                </a:cubicBezTo>
                <a:cubicBezTo>
                  <a:pt x="224" y="198"/>
                  <a:pt x="228" y="202"/>
                  <a:pt x="234" y="202"/>
                </a:cubicBezTo>
                <a:cubicBezTo>
                  <a:pt x="240" y="202"/>
                  <a:pt x="245" y="198"/>
                  <a:pt x="245" y="192"/>
                </a:cubicBezTo>
                <a:close/>
                <a:moveTo>
                  <a:pt x="288" y="234"/>
                </a:moveTo>
                <a:cubicBezTo>
                  <a:pt x="288" y="228"/>
                  <a:pt x="283" y="224"/>
                  <a:pt x="277" y="224"/>
                </a:cubicBezTo>
                <a:cubicBezTo>
                  <a:pt x="271" y="224"/>
                  <a:pt x="266" y="228"/>
                  <a:pt x="266" y="234"/>
                </a:cubicBezTo>
                <a:cubicBezTo>
                  <a:pt x="266" y="240"/>
                  <a:pt x="271" y="245"/>
                  <a:pt x="277" y="245"/>
                </a:cubicBezTo>
                <a:cubicBezTo>
                  <a:pt x="283" y="245"/>
                  <a:pt x="288" y="240"/>
                  <a:pt x="288" y="234"/>
                </a:cubicBezTo>
                <a:close/>
                <a:moveTo>
                  <a:pt x="288" y="192"/>
                </a:moveTo>
                <a:cubicBezTo>
                  <a:pt x="288" y="186"/>
                  <a:pt x="283" y="181"/>
                  <a:pt x="277" y="181"/>
                </a:cubicBezTo>
                <a:cubicBezTo>
                  <a:pt x="271" y="181"/>
                  <a:pt x="266" y="186"/>
                  <a:pt x="266" y="192"/>
                </a:cubicBezTo>
                <a:cubicBezTo>
                  <a:pt x="266" y="198"/>
                  <a:pt x="271" y="202"/>
                  <a:pt x="277" y="202"/>
                </a:cubicBezTo>
                <a:cubicBezTo>
                  <a:pt x="283" y="202"/>
                  <a:pt x="288" y="198"/>
                  <a:pt x="288" y="192"/>
                </a:cubicBezTo>
                <a:close/>
                <a:moveTo>
                  <a:pt x="330" y="320"/>
                </a:moveTo>
                <a:cubicBezTo>
                  <a:pt x="330" y="314"/>
                  <a:pt x="326" y="309"/>
                  <a:pt x="320" y="309"/>
                </a:cubicBezTo>
                <a:cubicBezTo>
                  <a:pt x="314" y="309"/>
                  <a:pt x="309" y="314"/>
                  <a:pt x="309" y="320"/>
                </a:cubicBezTo>
                <a:cubicBezTo>
                  <a:pt x="309" y="326"/>
                  <a:pt x="314" y="330"/>
                  <a:pt x="320" y="330"/>
                </a:cubicBezTo>
                <a:cubicBezTo>
                  <a:pt x="326" y="330"/>
                  <a:pt x="330" y="326"/>
                  <a:pt x="330" y="320"/>
                </a:cubicBezTo>
                <a:close/>
                <a:moveTo>
                  <a:pt x="330" y="277"/>
                </a:moveTo>
                <a:cubicBezTo>
                  <a:pt x="330" y="271"/>
                  <a:pt x="326" y="266"/>
                  <a:pt x="320" y="266"/>
                </a:cubicBezTo>
                <a:cubicBezTo>
                  <a:pt x="314" y="266"/>
                  <a:pt x="309" y="271"/>
                  <a:pt x="309" y="277"/>
                </a:cubicBezTo>
                <a:cubicBezTo>
                  <a:pt x="309" y="283"/>
                  <a:pt x="314" y="288"/>
                  <a:pt x="320" y="288"/>
                </a:cubicBezTo>
                <a:cubicBezTo>
                  <a:pt x="326" y="288"/>
                  <a:pt x="330" y="283"/>
                  <a:pt x="330" y="277"/>
                </a:cubicBezTo>
                <a:close/>
                <a:moveTo>
                  <a:pt x="330" y="234"/>
                </a:moveTo>
                <a:cubicBezTo>
                  <a:pt x="330" y="228"/>
                  <a:pt x="326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26" y="245"/>
                  <a:pt x="330" y="240"/>
                  <a:pt x="330" y="234"/>
                </a:cubicBezTo>
                <a:close/>
                <a:moveTo>
                  <a:pt x="330" y="192"/>
                </a:moveTo>
                <a:cubicBezTo>
                  <a:pt x="330" y="186"/>
                  <a:pt x="326" y="181"/>
                  <a:pt x="320" y="181"/>
                </a:cubicBezTo>
                <a:cubicBezTo>
                  <a:pt x="314" y="181"/>
                  <a:pt x="309" y="186"/>
                  <a:pt x="309" y="192"/>
                </a:cubicBezTo>
                <a:cubicBezTo>
                  <a:pt x="309" y="198"/>
                  <a:pt x="314" y="202"/>
                  <a:pt x="320" y="202"/>
                </a:cubicBezTo>
                <a:cubicBezTo>
                  <a:pt x="326" y="202"/>
                  <a:pt x="330" y="198"/>
                  <a:pt x="330" y="192"/>
                </a:cubicBezTo>
                <a:close/>
                <a:moveTo>
                  <a:pt x="352" y="192"/>
                </a:moveTo>
                <a:cubicBezTo>
                  <a:pt x="352" y="198"/>
                  <a:pt x="356" y="202"/>
                  <a:pt x="362" y="202"/>
                </a:cubicBezTo>
                <a:cubicBezTo>
                  <a:pt x="368" y="202"/>
                  <a:pt x="373" y="198"/>
                  <a:pt x="373" y="192"/>
                </a:cubicBezTo>
                <a:cubicBezTo>
                  <a:pt x="373" y="186"/>
                  <a:pt x="368" y="181"/>
                  <a:pt x="362" y="181"/>
                </a:cubicBezTo>
                <a:cubicBezTo>
                  <a:pt x="356" y="181"/>
                  <a:pt x="352" y="186"/>
                  <a:pt x="352" y="192"/>
                </a:cubicBezTo>
                <a:close/>
                <a:moveTo>
                  <a:pt x="352" y="234"/>
                </a:moveTo>
                <a:cubicBezTo>
                  <a:pt x="352" y="240"/>
                  <a:pt x="356" y="245"/>
                  <a:pt x="362" y="245"/>
                </a:cubicBezTo>
                <a:cubicBezTo>
                  <a:pt x="368" y="245"/>
                  <a:pt x="373" y="240"/>
                  <a:pt x="373" y="234"/>
                </a:cubicBezTo>
                <a:cubicBezTo>
                  <a:pt x="373" y="228"/>
                  <a:pt x="368" y="224"/>
                  <a:pt x="362" y="224"/>
                </a:cubicBezTo>
                <a:cubicBezTo>
                  <a:pt x="356" y="224"/>
                  <a:pt x="352" y="228"/>
                  <a:pt x="352" y="234"/>
                </a:cubicBezTo>
                <a:close/>
                <a:moveTo>
                  <a:pt x="352" y="277"/>
                </a:moveTo>
                <a:cubicBezTo>
                  <a:pt x="352" y="283"/>
                  <a:pt x="356" y="288"/>
                  <a:pt x="362" y="288"/>
                </a:cubicBezTo>
                <a:cubicBezTo>
                  <a:pt x="368" y="288"/>
                  <a:pt x="373" y="283"/>
                  <a:pt x="373" y="277"/>
                </a:cubicBezTo>
                <a:cubicBezTo>
                  <a:pt x="373" y="271"/>
                  <a:pt x="368" y="266"/>
                  <a:pt x="362" y="266"/>
                </a:cubicBezTo>
                <a:cubicBezTo>
                  <a:pt x="356" y="266"/>
                  <a:pt x="352" y="271"/>
                  <a:pt x="352" y="277"/>
                </a:cubicBezTo>
                <a:close/>
                <a:moveTo>
                  <a:pt x="352" y="320"/>
                </a:moveTo>
                <a:cubicBezTo>
                  <a:pt x="352" y="326"/>
                  <a:pt x="356" y="330"/>
                  <a:pt x="362" y="330"/>
                </a:cubicBezTo>
                <a:cubicBezTo>
                  <a:pt x="368" y="330"/>
                  <a:pt x="373" y="326"/>
                  <a:pt x="373" y="320"/>
                </a:cubicBezTo>
                <a:cubicBezTo>
                  <a:pt x="373" y="314"/>
                  <a:pt x="368" y="309"/>
                  <a:pt x="362" y="309"/>
                </a:cubicBezTo>
                <a:cubicBezTo>
                  <a:pt x="356" y="309"/>
                  <a:pt x="352" y="314"/>
                  <a:pt x="352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352" y="138"/>
                  <a:pt x="352" y="138"/>
                  <a:pt x="352" y="138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52" y="122"/>
                  <a:pt x="347" y="117"/>
                  <a:pt x="341" y="117"/>
                </a:cubicBezTo>
                <a:cubicBezTo>
                  <a:pt x="170" y="117"/>
                  <a:pt x="170" y="117"/>
                  <a:pt x="170" y="117"/>
                </a:cubicBezTo>
                <a:cubicBezTo>
                  <a:pt x="164" y="117"/>
                  <a:pt x="160" y="122"/>
                  <a:pt x="160" y="128"/>
                </a:cubicBezTo>
                <a:cubicBezTo>
                  <a:pt x="160" y="138"/>
                  <a:pt x="160" y="138"/>
                  <a:pt x="160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14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04358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nten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sz="quarter" idx="10"/>
          </p:nvPr>
        </p:nvSpPr>
        <p:spPr>
          <a:xfrm>
            <a:off x="433388" y="1119217"/>
            <a:ext cx="3914619" cy="5915485"/>
          </a:xfrm>
        </p:spPr>
        <p:txBody>
          <a:bodyPr/>
          <a:lstStyle/>
          <a:p>
            <a:r>
              <a:rPr lang="en-US" noProof="0" dirty="0"/>
              <a:t>	</a:t>
            </a:r>
          </a:p>
          <a:p>
            <a:r>
              <a:rPr lang="en-US" sz="1800" u="sng" noProof="0" dirty="0">
                <a:solidFill>
                  <a:schemeClr val="accent1">
                    <a:lumMod val="75000"/>
                  </a:schemeClr>
                </a:solidFill>
              </a:rPr>
              <a:t>Know </a:t>
            </a:r>
            <a:r>
              <a:rPr lang="en-US" sz="1800" u="sng" dirty="0">
                <a:solidFill>
                  <a:schemeClr val="accent1">
                    <a:lumMod val="75000"/>
                  </a:schemeClr>
                </a:solidFill>
              </a:rPr>
              <a:t>H</a:t>
            </a:r>
            <a:r>
              <a:rPr lang="en-US" sz="1800" u="sng" noProof="0" dirty="0">
                <a:solidFill>
                  <a:schemeClr val="accent1">
                    <a:lumMod val="75000"/>
                  </a:schemeClr>
                </a:solidFill>
              </a:rPr>
              <a:t>ow</a:t>
            </a:r>
            <a:r>
              <a:rPr lang="en-US" sz="1800" noProof="0" dirty="0"/>
              <a:t>	</a:t>
            </a:r>
          </a:p>
          <a:p>
            <a:pPr lvl="1"/>
            <a:r>
              <a:rPr lang="en-US" sz="1800" noProof="0" dirty="0"/>
              <a:t>To Generate a SSH Key</a:t>
            </a:r>
          </a:p>
          <a:p>
            <a:pPr lvl="1"/>
            <a:r>
              <a:rPr lang="en-US" sz="1800" dirty="0"/>
              <a:t>To Clone the entire repository </a:t>
            </a:r>
            <a:r>
              <a:rPr lang="en-US" sz="1800" noProof="0" dirty="0"/>
              <a:t>	</a:t>
            </a:r>
          </a:p>
          <a:p>
            <a:pPr lvl="1"/>
            <a:r>
              <a:rPr lang="en-US" sz="1800" noProof="0" dirty="0"/>
              <a:t>To follow a branching discipline	</a:t>
            </a:r>
          </a:p>
          <a:p>
            <a:pPr lvl="1"/>
            <a:r>
              <a:rPr lang="en-US" sz="1800" noProof="0" dirty="0"/>
              <a:t>To use Stash</a:t>
            </a:r>
          </a:p>
          <a:p>
            <a:pPr lvl="1"/>
            <a:r>
              <a:rPr lang="en-US" sz="1800" dirty="0"/>
              <a:t>To pull before push</a:t>
            </a:r>
          </a:p>
          <a:p>
            <a:pPr lvl="1"/>
            <a:r>
              <a:rPr lang="en-US" sz="1800" noProof="0" dirty="0"/>
              <a:t>To commit with discipline</a:t>
            </a:r>
          </a:p>
          <a:p>
            <a:pPr lvl="1"/>
            <a:r>
              <a:rPr lang="en-US" sz="1800" dirty="0"/>
              <a:t>To resolve merge conflicts</a:t>
            </a:r>
          </a:p>
          <a:p>
            <a:pPr lvl="1"/>
            <a:r>
              <a:rPr lang="en-US" sz="1800" noProof="0" dirty="0"/>
              <a:t>To Push</a:t>
            </a:r>
          </a:p>
          <a:p>
            <a:pPr lvl="1"/>
            <a:r>
              <a:rPr lang="en-US" sz="1800" dirty="0"/>
              <a:t>To raise a Pull Request</a:t>
            </a:r>
          </a:p>
          <a:p>
            <a:pPr marL="0" lvl="1" indent="0">
              <a:buNone/>
            </a:pPr>
            <a:r>
              <a:rPr lang="en-US" noProof="0" dirty="0"/>
              <a:t>	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23385E-D9FD-48DA-B848-0DD19969AD2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</p:spTree>
    <p:extLst>
      <p:ext uri="{BB962C8B-B14F-4D97-AF65-F5344CB8AC3E}">
        <p14:creationId xmlns:p14="http://schemas.microsoft.com/office/powerpoint/2010/main" val="2338008872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ns Deloitte specific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481881" y="2472001"/>
            <a:ext cx="8191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ubmit RFP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1461688" y="2472001"/>
            <a:ext cx="8339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Office locator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2460572" y="2472001"/>
            <a:ext cx="8307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000" dirty="0"/>
              <a:t>Search jobs</a:t>
            </a:r>
          </a:p>
        </p:txBody>
      </p:sp>
      <p:grpSp>
        <p:nvGrpSpPr>
          <p:cNvPr id="256" name="Group 314"/>
          <p:cNvGrpSpPr>
            <a:grpSpLocks noChangeAspect="1"/>
          </p:cNvGrpSpPr>
          <p:nvPr/>
        </p:nvGrpSpPr>
        <p:grpSpPr bwMode="auto">
          <a:xfrm>
            <a:off x="931355" y="2051051"/>
            <a:ext cx="369676" cy="369676"/>
            <a:chOff x="5811" y="1152"/>
            <a:chExt cx="340" cy="340"/>
          </a:xfrm>
          <a:solidFill>
            <a:schemeClr val="accent4"/>
          </a:solidFill>
        </p:grpSpPr>
        <p:sp>
          <p:nvSpPr>
            <p:cNvPr id="257" name="Freeform 315"/>
            <p:cNvSpPr>
              <a:spLocks noEditPoints="1"/>
            </p:cNvSpPr>
            <p:nvPr/>
          </p:nvSpPr>
          <p:spPr bwMode="auto">
            <a:xfrm>
              <a:off x="5889" y="1222"/>
              <a:ext cx="184" cy="192"/>
            </a:xfrm>
            <a:custGeom>
              <a:avLst/>
              <a:gdLst>
                <a:gd name="T0" fmla="*/ 267 w 277"/>
                <a:gd name="T1" fmla="*/ 32 h 288"/>
                <a:gd name="T2" fmla="*/ 224 w 277"/>
                <a:gd name="T3" fmla="*/ 32 h 288"/>
                <a:gd name="T4" fmla="*/ 224 w 277"/>
                <a:gd name="T5" fmla="*/ 11 h 288"/>
                <a:gd name="T6" fmla="*/ 213 w 277"/>
                <a:gd name="T7" fmla="*/ 0 h 288"/>
                <a:gd name="T8" fmla="*/ 64 w 277"/>
                <a:gd name="T9" fmla="*/ 0 h 288"/>
                <a:gd name="T10" fmla="*/ 53 w 277"/>
                <a:gd name="T11" fmla="*/ 11 h 288"/>
                <a:gd name="T12" fmla="*/ 53 w 277"/>
                <a:gd name="T13" fmla="*/ 32 h 288"/>
                <a:gd name="T14" fmla="*/ 11 w 277"/>
                <a:gd name="T15" fmla="*/ 32 h 288"/>
                <a:gd name="T16" fmla="*/ 0 w 277"/>
                <a:gd name="T17" fmla="*/ 43 h 288"/>
                <a:gd name="T18" fmla="*/ 0 w 277"/>
                <a:gd name="T19" fmla="*/ 278 h 288"/>
                <a:gd name="T20" fmla="*/ 11 w 277"/>
                <a:gd name="T21" fmla="*/ 288 h 288"/>
                <a:gd name="T22" fmla="*/ 267 w 277"/>
                <a:gd name="T23" fmla="*/ 288 h 288"/>
                <a:gd name="T24" fmla="*/ 277 w 277"/>
                <a:gd name="T25" fmla="*/ 278 h 288"/>
                <a:gd name="T26" fmla="*/ 277 w 277"/>
                <a:gd name="T27" fmla="*/ 43 h 288"/>
                <a:gd name="T28" fmla="*/ 267 w 277"/>
                <a:gd name="T29" fmla="*/ 32 h 288"/>
                <a:gd name="T30" fmla="*/ 75 w 277"/>
                <a:gd name="T31" fmla="*/ 22 h 288"/>
                <a:gd name="T32" fmla="*/ 203 w 277"/>
                <a:gd name="T33" fmla="*/ 22 h 288"/>
                <a:gd name="T34" fmla="*/ 203 w 277"/>
                <a:gd name="T35" fmla="*/ 105 h 288"/>
                <a:gd name="T36" fmla="*/ 138 w 277"/>
                <a:gd name="T37" fmla="*/ 139 h 288"/>
                <a:gd name="T38" fmla="*/ 75 w 277"/>
                <a:gd name="T39" fmla="*/ 105 h 288"/>
                <a:gd name="T40" fmla="*/ 75 w 277"/>
                <a:gd name="T41" fmla="*/ 22 h 288"/>
                <a:gd name="T42" fmla="*/ 256 w 277"/>
                <a:gd name="T43" fmla="*/ 267 h 288"/>
                <a:gd name="T44" fmla="*/ 21 w 277"/>
                <a:gd name="T45" fmla="*/ 267 h 288"/>
                <a:gd name="T46" fmla="*/ 21 w 277"/>
                <a:gd name="T47" fmla="*/ 54 h 288"/>
                <a:gd name="T48" fmla="*/ 53 w 277"/>
                <a:gd name="T49" fmla="*/ 54 h 288"/>
                <a:gd name="T50" fmla="*/ 53 w 277"/>
                <a:gd name="T51" fmla="*/ 107 h 288"/>
                <a:gd name="T52" fmla="*/ 54 w 277"/>
                <a:gd name="T53" fmla="*/ 111 h 288"/>
                <a:gd name="T54" fmla="*/ 138 w 277"/>
                <a:gd name="T55" fmla="*/ 160 h 288"/>
                <a:gd name="T56" fmla="*/ 223 w 277"/>
                <a:gd name="T57" fmla="*/ 111 h 288"/>
                <a:gd name="T58" fmla="*/ 224 w 277"/>
                <a:gd name="T59" fmla="*/ 107 h 288"/>
                <a:gd name="T60" fmla="*/ 224 w 277"/>
                <a:gd name="T61" fmla="*/ 54 h 288"/>
                <a:gd name="T62" fmla="*/ 256 w 277"/>
                <a:gd name="T63" fmla="*/ 54 h 288"/>
                <a:gd name="T64" fmla="*/ 256 w 277"/>
                <a:gd name="T65" fmla="*/ 267 h 288"/>
                <a:gd name="T66" fmla="*/ 99 w 277"/>
                <a:gd name="T67" fmla="*/ 83 h 288"/>
                <a:gd name="T68" fmla="*/ 99 w 277"/>
                <a:gd name="T69" fmla="*/ 67 h 288"/>
                <a:gd name="T70" fmla="*/ 114 w 277"/>
                <a:gd name="T71" fmla="*/ 67 h 288"/>
                <a:gd name="T72" fmla="*/ 128 w 277"/>
                <a:gd name="T73" fmla="*/ 81 h 288"/>
                <a:gd name="T74" fmla="*/ 128 w 277"/>
                <a:gd name="T75" fmla="*/ 54 h 288"/>
                <a:gd name="T76" fmla="*/ 139 w 277"/>
                <a:gd name="T77" fmla="*/ 43 h 288"/>
                <a:gd name="T78" fmla="*/ 149 w 277"/>
                <a:gd name="T79" fmla="*/ 54 h 288"/>
                <a:gd name="T80" fmla="*/ 149 w 277"/>
                <a:gd name="T81" fmla="*/ 81 h 288"/>
                <a:gd name="T82" fmla="*/ 163 w 277"/>
                <a:gd name="T83" fmla="*/ 67 h 288"/>
                <a:gd name="T84" fmla="*/ 178 w 277"/>
                <a:gd name="T85" fmla="*/ 67 h 288"/>
                <a:gd name="T86" fmla="*/ 178 w 277"/>
                <a:gd name="T87" fmla="*/ 83 h 288"/>
                <a:gd name="T88" fmla="*/ 146 w 277"/>
                <a:gd name="T89" fmla="*/ 115 h 288"/>
                <a:gd name="T90" fmla="*/ 139 w 277"/>
                <a:gd name="T91" fmla="*/ 118 h 288"/>
                <a:gd name="T92" fmla="*/ 131 w 277"/>
                <a:gd name="T93" fmla="*/ 115 h 288"/>
                <a:gd name="T94" fmla="*/ 99 w 277"/>
                <a:gd name="T95" fmla="*/ 83 h 288"/>
                <a:gd name="T96" fmla="*/ 235 w 277"/>
                <a:gd name="T97" fmla="*/ 192 h 288"/>
                <a:gd name="T98" fmla="*/ 224 w 277"/>
                <a:gd name="T99" fmla="*/ 203 h 288"/>
                <a:gd name="T100" fmla="*/ 53 w 277"/>
                <a:gd name="T101" fmla="*/ 203 h 288"/>
                <a:gd name="T102" fmla="*/ 43 w 277"/>
                <a:gd name="T103" fmla="*/ 192 h 288"/>
                <a:gd name="T104" fmla="*/ 53 w 277"/>
                <a:gd name="T105" fmla="*/ 182 h 288"/>
                <a:gd name="T106" fmla="*/ 224 w 277"/>
                <a:gd name="T107" fmla="*/ 182 h 288"/>
                <a:gd name="T108" fmla="*/ 235 w 277"/>
                <a:gd name="T109" fmla="*/ 192 h 288"/>
                <a:gd name="T110" fmla="*/ 235 w 277"/>
                <a:gd name="T111" fmla="*/ 235 h 288"/>
                <a:gd name="T112" fmla="*/ 224 w 277"/>
                <a:gd name="T113" fmla="*/ 246 h 288"/>
                <a:gd name="T114" fmla="*/ 53 w 277"/>
                <a:gd name="T115" fmla="*/ 246 h 288"/>
                <a:gd name="T116" fmla="*/ 43 w 277"/>
                <a:gd name="T117" fmla="*/ 235 h 288"/>
                <a:gd name="T118" fmla="*/ 53 w 277"/>
                <a:gd name="T119" fmla="*/ 224 h 288"/>
                <a:gd name="T120" fmla="*/ 224 w 277"/>
                <a:gd name="T121" fmla="*/ 224 h 288"/>
                <a:gd name="T122" fmla="*/ 235 w 277"/>
                <a:gd name="T123" fmla="*/ 23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7" h="288">
                  <a:moveTo>
                    <a:pt x="267" y="32"/>
                  </a:moveTo>
                  <a:cubicBezTo>
                    <a:pt x="224" y="32"/>
                    <a:pt x="224" y="32"/>
                    <a:pt x="224" y="32"/>
                  </a:cubicBezTo>
                  <a:cubicBezTo>
                    <a:pt x="224" y="11"/>
                    <a:pt x="224" y="11"/>
                    <a:pt x="224" y="11"/>
                  </a:cubicBezTo>
                  <a:cubicBezTo>
                    <a:pt x="224" y="5"/>
                    <a:pt x="219" y="0"/>
                    <a:pt x="21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58" y="0"/>
                    <a:pt x="53" y="5"/>
                    <a:pt x="53" y="11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5" y="32"/>
                    <a:pt x="0" y="37"/>
                    <a:pt x="0" y="43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284"/>
                    <a:pt x="5" y="288"/>
                    <a:pt x="11" y="288"/>
                  </a:cubicBezTo>
                  <a:cubicBezTo>
                    <a:pt x="267" y="288"/>
                    <a:pt x="267" y="288"/>
                    <a:pt x="267" y="288"/>
                  </a:cubicBezTo>
                  <a:cubicBezTo>
                    <a:pt x="273" y="288"/>
                    <a:pt x="277" y="284"/>
                    <a:pt x="277" y="278"/>
                  </a:cubicBezTo>
                  <a:cubicBezTo>
                    <a:pt x="277" y="43"/>
                    <a:pt x="277" y="43"/>
                    <a:pt x="277" y="43"/>
                  </a:cubicBezTo>
                  <a:cubicBezTo>
                    <a:pt x="277" y="37"/>
                    <a:pt x="273" y="32"/>
                    <a:pt x="267" y="32"/>
                  </a:cubicBezTo>
                  <a:close/>
                  <a:moveTo>
                    <a:pt x="75" y="22"/>
                  </a:moveTo>
                  <a:cubicBezTo>
                    <a:pt x="203" y="22"/>
                    <a:pt x="203" y="22"/>
                    <a:pt x="203" y="22"/>
                  </a:cubicBezTo>
                  <a:cubicBezTo>
                    <a:pt x="203" y="105"/>
                    <a:pt x="203" y="105"/>
                    <a:pt x="203" y="105"/>
                  </a:cubicBezTo>
                  <a:cubicBezTo>
                    <a:pt x="192" y="125"/>
                    <a:pt x="166" y="139"/>
                    <a:pt x="138" y="139"/>
                  </a:cubicBezTo>
                  <a:cubicBezTo>
                    <a:pt x="106" y="139"/>
                    <a:pt x="84" y="122"/>
                    <a:pt x="75" y="105"/>
                  </a:cubicBezTo>
                  <a:lnTo>
                    <a:pt x="75" y="22"/>
                  </a:lnTo>
                  <a:close/>
                  <a:moveTo>
                    <a:pt x="256" y="267"/>
                  </a:moveTo>
                  <a:cubicBezTo>
                    <a:pt x="21" y="267"/>
                    <a:pt x="21" y="267"/>
                    <a:pt x="21" y="267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9"/>
                    <a:pt x="54" y="110"/>
                    <a:pt x="54" y="111"/>
                  </a:cubicBezTo>
                  <a:cubicBezTo>
                    <a:pt x="68" y="141"/>
                    <a:pt x="101" y="160"/>
                    <a:pt x="138" y="160"/>
                  </a:cubicBezTo>
                  <a:cubicBezTo>
                    <a:pt x="176" y="160"/>
                    <a:pt x="210" y="141"/>
                    <a:pt x="223" y="111"/>
                  </a:cubicBezTo>
                  <a:cubicBezTo>
                    <a:pt x="224" y="110"/>
                    <a:pt x="224" y="109"/>
                    <a:pt x="224" y="107"/>
                  </a:cubicBezTo>
                  <a:cubicBezTo>
                    <a:pt x="224" y="54"/>
                    <a:pt x="224" y="54"/>
                    <a:pt x="224" y="54"/>
                  </a:cubicBezTo>
                  <a:cubicBezTo>
                    <a:pt x="256" y="54"/>
                    <a:pt x="256" y="54"/>
                    <a:pt x="256" y="54"/>
                  </a:cubicBezTo>
                  <a:lnTo>
                    <a:pt x="256" y="267"/>
                  </a:lnTo>
                  <a:close/>
                  <a:moveTo>
                    <a:pt x="99" y="83"/>
                  </a:moveTo>
                  <a:cubicBezTo>
                    <a:pt x="95" y="78"/>
                    <a:pt x="95" y="72"/>
                    <a:pt x="99" y="67"/>
                  </a:cubicBezTo>
                  <a:cubicBezTo>
                    <a:pt x="103" y="63"/>
                    <a:pt x="110" y="63"/>
                    <a:pt x="114" y="67"/>
                  </a:cubicBezTo>
                  <a:cubicBezTo>
                    <a:pt x="128" y="81"/>
                    <a:pt x="128" y="81"/>
                    <a:pt x="128" y="81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48"/>
                    <a:pt x="133" y="43"/>
                    <a:pt x="139" y="43"/>
                  </a:cubicBezTo>
                  <a:cubicBezTo>
                    <a:pt x="145" y="43"/>
                    <a:pt x="149" y="48"/>
                    <a:pt x="149" y="54"/>
                  </a:cubicBezTo>
                  <a:cubicBezTo>
                    <a:pt x="149" y="81"/>
                    <a:pt x="149" y="81"/>
                    <a:pt x="149" y="81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7" y="63"/>
                    <a:pt x="174" y="63"/>
                    <a:pt x="178" y="67"/>
                  </a:cubicBezTo>
                  <a:cubicBezTo>
                    <a:pt x="182" y="72"/>
                    <a:pt x="182" y="78"/>
                    <a:pt x="178" y="8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7"/>
                    <a:pt x="141" y="118"/>
                    <a:pt x="139" y="118"/>
                  </a:cubicBezTo>
                  <a:cubicBezTo>
                    <a:pt x="136" y="118"/>
                    <a:pt x="133" y="117"/>
                    <a:pt x="131" y="115"/>
                  </a:cubicBezTo>
                  <a:lnTo>
                    <a:pt x="99" y="83"/>
                  </a:lnTo>
                  <a:close/>
                  <a:moveTo>
                    <a:pt x="235" y="192"/>
                  </a:moveTo>
                  <a:cubicBezTo>
                    <a:pt x="235" y="198"/>
                    <a:pt x="230" y="203"/>
                    <a:pt x="224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47" y="203"/>
                    <a:pt x="43" y="198"/>
                    <a:pt x="43" y="192"/>
                  </a:cubicBezTo>
                  <a:cubicBezTo>
                    <a:pt x="43" y="186"/>
                    <a:pt x="47" y="182"/>
                    <a:pt x="53" y="182"/>
                  </a:cubicBezTo>
                  <a:cubicBezTo>
                    <a:pt x="224" y="182"/>
                    <a:pt x="224" y="182"/>
                    <a:pt x="224" y="182"/>
                  </a:cubicBezTo>
                  <a:cubicBezTo>
                    <a:pt x="230" y="182"/>
                    <a:pt x="235" y="186"/>
                    <a:pt x="235" y="192"/>
                  </a:cubicBezTo>
                  <a:close/>
                  <a:moveTo>
                    <a:pt x="235" y="235"/>
                  </a:moveTo>
                  <a:cubicBezTo>
                    <a:pt x="235" y="241"/>
                    <a:pt x="230" y="246"/>
                    <a:pt x="224" y="246"/>
                  </a:cubicBezTo>
                  <a:cubicBezTo>
                    <a:pt x="53" y="246"/>
                    <a:pt x="53" y="246"/>
                    <a:pt x="53" y="246"/>
                  </a:cubicBezTo>
                  <a:cubicBezTo>
                    <a:pt x="47" y="246"/>
                    <a:pt x="43" y="241"/>
                    <a:pt x="43" y="235"/>
                  </a:cubicBezTo>
                  <a:cubicBezTo>
                    <a:pt x="43" y="229"/>
                    <a:pt x="47" y="224"/>
                    <a:pt x="53" y="224"/>
                  </a:cubicBezTo>
                  <a:cubicBezTo>
                    <a:pt x="224" y="224"/>
                    <a:pt x="224" y="224"/>
                    <a:pt x="224" y="224"/>
                  </a:cubicBezTo>
                  <a:cubicBezTo>
                    <a:pt x="230" y="224"/>
                    <a:pt x="235" y="229"/>
                    <a:pt x="235" y="2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316"/>
            <p:cNvSpPr>
              <a:spLocks noEditPoints="1"/>
            </p:cNvSpPr>
            <p:nvPr/>
          </p:nvSpPr>
          <p:spPr bwMode="auto">
            <a:xfrm>
              <a:off x="5811" y="115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9" name="Group 319"/>
          <p:cNvGrpSpPr>
            <a:grpSpLocks noChangeAspect="1"/>
          </p:cNvGrpSpPr>
          <p:nvPr/>
        </p:nvGrpSpPr>
        <p:grpSpPr bwMode="auto">
          <a:xfrm>
            <a:off x="433388" y="2051051"/>
            <a:ext cx="369676" cy="369676"/>
            <a:chOff x="5426" y="1148"/>
            <a:chExt cx="340" cy="340"/>
          </a:xfrm>
          <a:solidFill>
            <a:schemeClr val="accent4"/>
          </a:solidFill>
        </p:grpSpPr>
        <p:sp>
          <p:nvSpPr>
            <p:cNvPr id="260" name="Freeform 320"/>
            <p:cNvSpPr>
              <a:spLocks noEditPoints="1"/>
            </p:cNvSpPr>
            <p:nvPr/>
          </p:nvSpPr>
          <p:spPr bwMode="auto">
            <a:xfrm>
              <a:off x="5518" y="1254"/>
              <a:ext cx="156" cy="142"/>
            </a:xfrm>
            <a:custGeom>
              <a:avLst/>
              <a:gdLst>
                <a:gd name="T0" fmla="*/ 203 w 235"/>
                <a:gd name="T1" fmla="*/ 53 h 213"/>
                <a:gd name="T2" fmla="*/ 202 w 235"/>
                <a:gd name="T3" fmla="*/ 57 h 213"/>
                <a:gd name="T4" fmla="*/ 117 w 235"/>
                <a:gd name="T5" fmla="*/ 106 h 213"/>
                <a:gd name="T6" fmla="*/ 33 w 235"/>
                <a:gd name="T7" fmla="*/ 57 h 213"/>
                <a:gd name="T8" fmla="*/ 32 w 235"/>
                <a:gd name="T9" fmla="*/ 53 h 213"/>
                <a:gd name="T10" fmla="*/ 32 w 235"/>
                <a:gd name="T11" fmla="*/ 0 h 213"/>
                <a:gd name="T12" fmla="*/ 0 w 235"/>
                <a:gd name="T13" fmla="*/ 0 h 213"/>
                <a:gd name="T14" fmla="*/ 0 w 235"/>
                <a:gd name="T15" fmla="*/ 213 h 213"/>
                <a:gd name="T16" fmla="*/ 235 w 235"/>
                <a:gd name="T17" fmla="*/ 213 h 213"/>
                <a:gd name="T18" fmla="*/ 235 w 235"/>
                <a:gd name="T19" fmla="*/ 0 h 213"/>
                <a:gd name="T20" fmla="*/ 203 w 235"/>
                <a:gd name="T21" fmla="*/ 0 h 213"/>
                <a:gd name="T22" fmla="*/ 203 w 235"/>
                <a:gd name="T23" fmla="*/ 53 h 213"/>
                <a:gd name="T24" fmla="*/ 203 w 235"/>
                <a:gd name="T25" fmla="*/ 192 h 213"/>
                <a:gd name="T26" fmla="*/ 32 w 235"/>
                <a:gd name="T27" fmla="*/ 192 h 213"/>
                <a:gd name="T28" fmla="*/ 22 w 235"/>
                <a:gd name="T29" fmla="*/ 181 h 213"/>
                <a:gd name="T30" fmla="*/ 32 w 235"/>
                <a:gd name="T31" fmla="*/ 170 h 213"/>
                <a:gd name="T32" fmla="*/ 203 w 235"/>
                <a:gd name="T33" fmla="*/ 170 h 213"/>
                <a:gd name="T34" fmla="*/ 214 w 235"/>
                <a:gd name="T35" fmla="*/ 181 h 213"/>
                <a:gd name="T36" fmla="*/ 203 w 235"/>
                <a:gd name="T37" fmla="*/ 192 h 213"/>
                <a:gd name="T38" fmla="*/ 214 w 235"/>
                <a:gd name="T39" fmla="*/ 138 h 213"/>
                <a:gd name="T40" fmla="*/ 203 w 235"/>
                <a:gd name="T41" fmla="*/ 149 h 213"/>
                <a:gd name="T42" fmla="*/ 32 w 235"/>
                <a:gd name="T43" fmla="*/ 149 h 213"/>
                <a:gd name="T44" fmla="*/ 22 w 235"/>
                <a:gd name="T45" fmla="*/ 138 h 213"/>
                <a:gd name="T46" fmla="*/ 32 w 235"/>
                <a:gd name="T47" fmla="*/ 128 h 213"/>
                <a:gd name="T48" fmla="*/ 203 w 235"/>
                <a:gd name="T49" fmla="*/ 128 h 213"/>
                <a:gd name="T50" fmla="*/ 214 w 235"/>
                <a:gd name="T51" fmla="*/ 1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5" h="213">
                  <a:moveTo>
                    <a:pt x="203" y="53"/>
                  </a:moveTo>
                  <a:cubicBezTo>
                    <a:pt x="203" y="55"/>
                    <a:pt x="203" y="56"/>
                    <a:pt x="202" y="57"/>
                  </a:cubicBezTo>
                  <a:cubicBezTo>
                    <a:pt x="189" y="87"/>
                    <a:pt x="155" y="106"/>
                    <a:pt x="117" y="106"/>
                  </a:cubicBezTo>
                  <a:cubicBezTo>
                    <a:pt x="80" y="106"/>
                    <a:pt x="47" y="87"/>
                    <a:pt x="33" y="57"/>
                  </a:cubicBezTo>
                  <a:cubicBezTo>
                    <a:pt x="33" y="56"/>
                    <a:pt x="32" y="55"/>
                    <a:pt x="32" y="5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235" y="213"/>
                    <a:pt x="235" y="213"/>
                    <a:pt x="235" y="213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53"/>
                  </a:lnTo>
                  <a:close/>
                  <a:moveTo>
                    <a:pt x="203" y="192"/>
                  </a:moveTo>
                  <a:cubicBezTo>
                    <a:pt x="32" y="192"/>
                    <a:pt x="32" y="192"/>
                    <a:pt x="32" y="192"/>
                  </a:cubicBezTo>
                  <a:cubicBezTo>
                    <a:pt x="26" y="192"/>
                    <a:pt x="22" y="187"/>
                    <a:pt x="22" y="181"/>
                  </a:cubicBezTo>
                  <a:cubicBezTo>
                    <a:pt x="22" y="175"/>
                    <a:pt x="26" y="170"/>
                    <a:pt x="32" y="170"/>
                  </a:cubicBezTo>
                  <a:cubicBezTo>
                    <a:pt x="203" y="170"/>
                    <a:pt x="203" y="170"/>
                    <a:pt x="203" y="170"/>
                  </a:cubicBezTo>
                  <a:cubicBezTo>
                    <a:pt x="209" y="170"/>
                    <a:pt x="214" y="175"/>
                    <a:pt x="214" y="181"/>
                  </a:cubicBezTo>
                  <a:cubicBezTo>
                    <a:pt x="214" y="187"/>
                    <a:pt x="209" y="192"/>
                    <a:pt x="203" y="192"/>
                  </a:cubicBezTo>
                  <a:close/>
                  <a:moveTo>
                    <a:pt x="214" y="138"/>
                  </a:moveTo>
                  <a:cubicBezTo>
                    <a:pt x="214" y="144"/>
                    <a:pt x="209" y="149"/>
                    <a:pt x="20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6" y="149"/>
                    <a:pt x="22" y="144"/>
                    <a:pt x="22" y="138"/>
                  </a:cubicBezTo>
                  <a:cubicBezTo>
                    <a:pt x="22" y="132"/>
                    <a:pt x="26" y="128"/>
                    <a:pt x="32" y="128"/>
                  </a:cubicBezTo>
                  <a:cubicBezTo>
                    <a:pt x="203" y="128"/>
                    <a:pt x="203" y="128"/>
                    <a:pt x="203" y="128"/>
                  </a:cubicBezTo>
                  <a:cubicBezTo>
                    <a:pt x="209" y="128"/>
                    <a:pt x="214" y="132"/>
                    <a:pt x="214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321"/>
            <p:cNvSpPr>
              <a:spLocks noEditPoints="1"/>
            </p:cNvSpPr>
            <p:nvPr/>
          </p:nvSpPr>
          <p:spPr bwMode="auto">
            <a:xfrm>
              <a:off x="5553" y="1233"/>
              <a:ext cx="85" cy="78"/>
            </a:xfrm>
            <a:custGeom>
              <a:avLst/>
              <a:gdLst>
                <a:gd name="T0" fmla="*/ 63 w 128"/>
                <a:gd name="T1" fmla="*/ 117 h 117"/>
                <a:gd name="T2" fmla="*/ 128 w 128"/>
                <a:gd name="T3" fmla="*/ 83 h 117"/>
                <a:gd name="T4" fmla="*/ 128 w 128"/>
                <a:gd name="T5" fmla="*/ 0 h 117"/>
                <a:gd name="T6" fmla="*/ 0 w 128"/>
                <a:gd name="T7" fmla="*/ 0 h 117"/>
                <a:gd name="T8" fmla="*/ 0 w 128"/>
                <a:gd name="T9" fmla="*/ 83 h 117"/>
                <a:gd name="T10" fmla="*/ 63 w 128"/>
                <a:gd name="T11" fmla="*/ 117 h 117"/>
                <a:gd name="T12" fmla="*/ 24 w 128"/>
                <a:gd name="T13" fmla="*/ 45 h 117"/>
                <a:gd name="T14" fmla="*/ 39 w 128"/>
                <a:gd name="T15" fmla="*/ 45 h 117"/>
                <a:gd name="T16" fmla="*/ 53 w 128"/>
                <a:gd name="T17" fmla="*/ 59 h 117"/>
                <a:gd name="T18" fmla="*/ 53 w 128"/>
                <a:gd name="T19" fmla="*/ 32 h 117"/>
                <a:gd name="T20" fmla="*/ 64 w 128"/>
                <a:gd name="T21" fmla="*/ 21 h 117"/>
                <a:gd name="T22" fmla="*/ 74 w 128"/>
                <a:gd name="T23" fmla="*/ 32 h 117"/>
                <a:gd name="T24" fmla="*/ 74 w 128"/>
                <a:gd name="T25" fmla="*/ 59 h 117"/>
                <a:gd name="T26" fmla="*/ 88 w 128"/>
                <a:gd name="T27" fmla="*/ 45 h 117"/>
                <a:gd name="T28" fmla="*/ 103 w 128"/>
                <a:gd name="T29" fmla="*/ 45 h 117"/>
                <a:gd name="T30" fmla="*/ 103 w 128"/>
                <a:gd name="T31" fmla="*/ 61 h 117"/>
                <a:gd name="T32" fmla="*/ 71 w 128"/>
                <a:gd name="T33" fmla="*/ 93 h 117"/>
                <a:gd name="T34" fmla="*/ 64 w 128"/>
                <a:gd name="T35" fmla="*/ 96 h 117"/>
                <a:gd name="T36" fmla="*/ 56 w 128"/>
                <a:gd name="T37" fmla="*/ 93 h 117"/>
                <a:gd name="T38" fmla="*/ 24 w 128"/>
                <a:gd name="T39" fmla="*/ 61 h 117"/>
                <a:gd name="T40" fmla="*/ 24 w 128"/>
                <a:gd name="T41" fmla="*/ 4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17">
                  <a:moveTo>
                    <a:pt x="63" y="117"/>
                  </a:moveTo>
                  <a:cubicBezTo>
                    <a:pt x="91" y="117"/>
                    <a:pt x="117" y="103"/>
                    <a:pt x="128" y="83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9" y="100"/>
                    <a:pt x="31" y="117"/>
                    <a:pt x="63" y="117"/>
                  </a:cubicBezTo>
                  <a:close/>
                  <a:moveTo>
                    <a:pt x="24" y="45"/>
                  </a:moveTo>
                  <a:cubicBezTo>
                    <a:pt x="28" y="41"/>
                    <a:pt x="35" y="41"/>
                    <a:pt x="39" y="45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26"/>
                    <a:pt x="58" y="21"/>
                    <a:pt x="64" y="21"/>
                  </a:cubicBezTo>
                  <a:cubicBezTo>
                    <a:pt x="70" y="21"/>
                    <a:pt x="74" y="26"/>
                    <a:pt x="74" y="32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92" y="41"/>
                    <a:pt x="99" y="41"/>
                    <a:pt x="103" y="45"/>
                  </a:cubicBezTo>
                  <a:cubicBezTo>
                    <a:pt x="107" y="50"/>
                    <a:pt x="107" y="56"/>
                    <a:pt x="103" y="61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69" y="95"/>
                    <a:pt x="66" y="96"/>
                    <a:pt x="64" y="96"/>
                  </a:cubicBezTo>
                  <a:cubicBezTo>
                    <a:pt x="61" y="96"/>
                    <a:pt x="58" y="95"/>
                    <a:pt x="56" y="93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0" y="56"/>
                    <a:pt x="20" y="50"/>
                    <a:pt x="24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322"/>
            <p:cNvSpPr>
              <a:spLocks noEditPoints="1"/>
            </p:cNvSpPr>
            <p:nvPr/>
          </p:nvSpPr>
          <p:spPr bwMode="auto">
            <a:xfrm>
              <a:off x="5426" y="114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84 h 512"/>
                <a:gd name="T12" fmla="*/ 384 w 512"/>
                <a:gd name="T13" fmla="*/ 394 h 512"/>
                <a:gd name="T14" fmla="*/ 128 w 512"/>
                <a:gd name="T15" fmla="*/ 394 h 512"/>
                <a:gd name="T16" fmla="*/ 117 w 512"/>
                <a:gd name="T17" fmla="*/ 384 h 512"/>
                <a:gd name="T18" fmla="*/ 117 w 512"/>
                <a:gd name="T19" fmla="*/ 149 h 512"/>
                <a:gd name="T20" fmla="*/ 128 w 512"/>
                <a:gd name="T21" fmla="*/ 138 h 512"/>
                <a:gd name="T22" fmla="*/ 170 w 512"/>
                <a:gd name="T23" fmla="*/ 138 h 512"/>
                <a:gd name="T24" fmla="*/ 170 w 512"/>
                <a:gd name="T25" fmla="*/ 117 h 512"/>
                <a:gd name="T26" fmla="*/ 181 w 512"/>
                <a:gd name="T27" fmla="*/ 106 h 512"/>
                <a:gd name="T28" fmla="*/ 330 w 512"/>
                <a:gd name="T29" fmla="*/ 106 h 512"/>
                <a:gd name="T30" fmla="*/ 341 w 512"/>
                <a:gd name="T31" fmla="*/ 117 h 512"/>
                <a:gd name="T32" fmla="*/ 341 w 512"/>
                <a:gd name="T33" fmla="*/ 138 h 512"/>
                <a:gd name="T34" fmla="*/ 384 w 512"/>
                <a:gd name="T35" fmla="*/ 138 h 512"/>
                <a:gd name="T36" fmla="*/ 394 w 512"/>
                <a:gd name="T37" fmla="*/ 149 h 512"/>
                <a:gd name="T38" fmla="*/ 394 w 512"/>
                <a:gd name="T39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84"/>
                  </a:moveTo>
                  <a:cubicBezTo>
                    <a:pt x="394" y="390"/>
                    <a:pt x="390" y="394"/>
                    <a:pt x="384" y="394"/>
                  </a:cubicBezTo>
                  <a:cubicBezTo>
                    <a:pt x="128" y="394"/>
                    <a:pt x="128" y="394"/>
                    <a:pt x="128" y="394"/>
                  </a:cubicBezTo>
                  <a:cubicBezTo>
                    <a:pt x="122" y="394"/>
                    <a:pt x="117" y="390"/>
                    <a:pt x="117" y="384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7" y="143"/>
                    <a:pt x="122" y="138"/>
                    <a:pt x="128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17"/>
                    <a:pt x="170" y="117"/>
                    <a:pt x="170" y="117"/>
                  </a:cubicBezTo>
                  <a:cubicBezTo>
                    <a:pt x="170" y="111"/>
                    <a:pt x="175" y="106"/>
                    <a:pt x="181" y="106"/>
                  </a:cubicBezTo>
                  <a:cubicBezTo>
                    <a:pt x="330" y="106"/>
                    <a:pt x="330" y="106"/>
                    <a:pt x="330" y="106"/>
                  </a:cubicBezTo>
                  <a:cubicBezTo>
                    <a:pt x="336" y="106"/>
                    <a:pt x="341" y="111"/>
                    <a:pt x="341" y="117"/>
                  </a:cubicBezTo>
                  <a:cubicBezTo>
                    <a:pt x="341" y="138"/>
                    <a:pt x="341" y="138"/>
                    <a:pt x="341" y="138"/>
                  </a:cubicBezTo>
                  <a:cubicBezTo>
                    <a:pt x="384" y="138"/>
                    <a:pt x="384" y="138"/>
                    <a:pt x="384" y="138"/>
                  </a:cubicBezTo>
                  <a:cubicBezTo>
                    <a:pt x="390" y="138"/>
                    <a:pt x="394" y="143"/>
                    <a:pt x="394" y="149"/>
                  </a:cubicBezTo>
                  <a:lnTo>
                    <a:pt x="394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3" name="Freeform 32"/>
          <p:cNvSpPr>
            <a:spLocks noChangeAspect="1" noEditPoints="1"/>
          </p:cNvSpPr>
          <p:nvPr/>
        </p:nvSpPr>
        <p:spPr bwMode="auto">
          <a:xfrm>
            <a:off x="1429322" y="2051054"/>
            <a:ext cx="369021" cy="369021"/>
          </a:xfrm>
          <a:custGeom>
            <a:avLst/>
            <a:gdLst>
              <a:gd name="T0" fmla="*/ 305 w 512"/>
              <a:gd name="T1" fmla="*/ 330 h 512"/>
              <a:gd name="T2" fmla="*/ 249 w 512"/>
              <a:gd name="T3" fmla="*/ 330 h 512"/>
              <a:gd name="T4" fmla="*/ 128 w 512"/>
              <a:gd name="T5" fmla="*/ 170 h 512"/>
              <a:gd name="T6" fmla="*/ 192 w 512"/>
              <a:gd name="T7" fmla="*/ 170 h 512"/>
              <a:gd name="T8" fmla="*/ 160 w 512"/>
              <a:gd name="T9" fmla="*/ 181 h 512"/>
              <a:gd name="T10" fmla="*/ 160 w 512"/>
              <a:gd name="T11" fmla="*/ 160 h 512"/>
              <a:gd name="T12" fmla="*/ 160 w 512"/>
              <a:gd name="T13" fmla="*/ 181 h 512"/>
              <a:gd name="T14" fmla="*/ 242 w 512"/>
              <a:gd name="T15" fmla="*/ 378 h 512"/>
              <a:gd name="T16" fmla="*/ 185 w 512"/>
              <a:gd name="T17" fmla="*/ 330 h 512"/>
              <a:gd name="T18" fmla="*/ 244 w 512"/>
              <a:gd name="T19" fmla="*/ 277 h 512"/>
              <a:gd name="T20" fmla="*/ 309 w 512"/>
              <a:gd name="T21" fmla="*/ 309 h 512"/>
              <a:gd name="T22" fmla="*/ 309 w 512"/>
              <a:gd name="T23" fmla="*/ 245 h 512"/>
              <a:gd name="T24" fmla="*/ 277 w 512"/>
              <a:gd name="T25" fmla="*/ 170 h 512"/>
              <a:gd name="T26" fmla="*/ 305 w 512"/>
              <a:gd name="T27" fmla="*/ 224 h 512"/>
              <a:gd name="T28" fmla="*/ 312 w 512"/>
              <a:gd name="T29" fmla="*/ 176 h 512"/>
              <a:gd name="T30" fmla="*/ 369 w 512"/>
              <a:gd name="T31" fmla="*/ 224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152 w 512"/>
              <a:gd name="T39" fmla="*/ 253 h 512"/>
              <a:gd name="T40" fmla="*/ 167 w 512"/>
              <a:gd name="T41" fmla="*/ 253 h 512"/>
              <a:gd name="T42" fmla="*/ 160 w 512"/>
              <a:gd name="T43" fmla="*/ 117 h 512"/>
              <a:gd name="T44" fmla="*/ 405 w 512"/>
              <a:gd name="T45" fmla="*/ 277 h 512"/>
              <a:gd name="T46" fmla="*/ 242 w 512"/>
              <a:gd name="T47" fmla="*/ 154 h 512"/>
              <a:gd name="T48" fmla="*/ 243 w 512"/>
              <a:gd name="T49" fmla="*/ 174 h 512"/>
              <a:gd name="T50" fmla="*/ 224 w 512"/>
              <a:gd name="T51" fmla="*/ 224 h 512"/>
              <a:gd name="T52" fmla="*/ 224 w 512"/>
              <a:gd name="T53" fmla="*/ 245 h 512"/>
              <a:gd name="T54" fmla="*/ 222 w 512"/>
              <a:gd name="T55" fmla="*/ 277 h 512"/>
              <a:gd name="T56" fmla="*/ 175 w 512"/>
              <a:gd name="T57" fmla="*/ 309 h 512"/>
              <a:gd name="T58" fmla="*/ 159 w 512"/>
              <a:gd name="T59" fmla="*/ 277 h 512"/>
              <a:gd name="T60" fmla="*/ 277 w 512"/>
              <a:gd name="T61" fmla="*/ 405 h 512"/>
              <a:gd name="T62" fmla="*/ 332 w 512"/>
              <a:gd name="T63" fmla="*/ 277 h 512"/>
              <a:gd name="T64" fmla="*/ 379 w 512"/>
              <a:gd name="T65" fmla="*/ 309 h 512"/>
              <a:gd name="T66" fmla="*/ 379 w 512"/>
              <a:gd name="T67" fmla="*/ 245 h 512"/>
              <a:gd name="T68" fmla="*/ 332 w 512"/>
              <a:gd name="T69" fmla="*/ 277 h 512"/>
              <a:gd name="T70" fmla="*/ 369 w 512"/>
              <a:gd name="T71" fmla="*/ 330 h 512"/>
              <a:gd name="T72" fmla="*/ 312 w 512"/>
              <a:gd name="T73" fmla="*/ 3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9" y="330"/>
                </a:moveTo>
                <a:cubicBezTo>
                  <a:pt x="305" y="330"/>
                  <a:pt x="305" y="330"/>
                  <a:pt x="305" y="330"/>
                </a:cubicBezTo>
                <a:cubicBezTo>
                  <a:pt x="299" y="364"/>
                  <a:pt x="286" y="384"/>
                  <a:pt x="277" y="384"/>
                </a:cubicBezTo>
                <a:cubicBezTo>
                  <a:pt x="268" y="384"/>
                  <a:pt x="255" y="364"/>
                  <a:pt x="249" y="330"/>
                </a:cubicBezTo>
                <a:close/>
                <a:moveTo>
                  <a:pt x="160" y="230"/>
                </a:moveTo>
                <a:cubicBezTo>
                  <a:pt x="129" y="195"/>
                  <a:pt x="128" y="171"/>
                  <a:pt x="128" y="170"/>
                </a:cubicBezTo>
                <a:cubicBezTo>
                  <a:pt x="128" y="153"/>
                  <a:pt x="142" y="138"/>
                  <a:pt x="160" y="138"/>
                </a:cubicBezTo>
                <a:cubicBezTo>
                  <a:pt x="177" y="138"/>
                  <a:pt x="192" y="153"/>
                  <a:pt x="192" y="170"/>
                </a:cubicBezTo>
                <a:cubicBezTo>
                  <a:pt x="192" y="171"/>
                  <a:pt x="191" y="195"/>
                  <a:pt x="160" y="230"/>
                </a:cubicBezTo>
                <a:close/>
                <a:moveTo>
                  <a:pt x="160" y="181"/>
                </a:moveTo>
                <a:cubicBezTo>
                  <a:pt x="166" y="181"/>
                  <a:pt x="170" y="176"/>
                  <a:pt x="170" y="170"/>
                </a:cubicBezTo>
                <a:cubicBezTo>
                  <a:pt x="170" y="164"/>
                  <a:pt x="166" y="160"/>
                  <a:pt x="160" y="160"/>
                </a:cubicBezTo>
                <a:cubicBezTo>
                  <a:pt x="154" y="160"/>
                  <a:pt x="149" y="164"/>
                  <a:pt x="149" y="170"/>
                </a:cubicBezTo>
                <a:cubicBezTo>
                  <a:pt x="149" y="176"/>
                  <a:pt x="154" y="181"/>
                  <a:pt x="160" y="181"/>
                </a:cubicBezTo>
                <a:close/>
                <a:moveTo>
                  <a:pt x="185" y="330"/>
                </a:moveTo>
                <a:cubicBezTo>
                  <a:pt x="197" y="353"/>
                  <a:pt x="218" y="369"/>
                  <a:pt x="242" y="378"/>
                </a:cubicBezTo>
                <a:cubicBezTo>
                  <a:pt x="235" y="365"/>
                  <a:pt x="230" y="349"/>
                  <a:pt x="227" y="330"/>
                </a:cubicBezTo>
                <a:lnTo>
                  <a:pt x="185" y="330"/>
                </a:lnTo>
                <a:close/>
                <a:moveTo>
                  <a:pt x="245" y="245"/>
                </a:moveTo>
                <a:cubicBezTo>
                  <a:pt x="244" y="255"/>
                  <a:pt x="244" y="266"/>
                  <a:pt x="244" y="277"/>
                </a:cubicBezTo>
                <a:cubicBezTo>
                  <a:pt x="244" y="288"/>
                  <a:pt x="244" y="299"/>
                  <a:pt x="245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0" y="299"/>
                  <a:pt x="310" y="288"/>
                  <a:pt x="310" y="277"/>
                </a:cubicBezTo>
                <a:cubicBezTo>
                  <a:pt x="310" y="266"/>
                  <a:pt x="310" y="255"/>
                  <a:pt x="309" y="245"/>
                </a:cubicBezTo>
                <a:lnTo>
                  <a:pt x="245" y="245"/>
                </a:lnTo>
                <a:close/>
                <a:moveTo>
                  <a:pt x="277" y="170"/>
                </a:moveTo>
                <a:cubicBezTo>
                  <a:pt x="268" y="170"/>
                  <a:pt x="255" y="190"/>
                  <a:pt x="249" y="224"/>
                </a:cubicBezTo>
                <a:cubicBezTo>
                  <a:pt x="305" y="224"/>
                  <a:pt x="305" y="224"/>
                  <a:pt x="305" y="224"/>
                </a:cubicBezTo>
                <a:cubicBezTo>
                  <a:pt x="299" y="190"/>
                  <a:pt x="286" y="170"/>
                  <a:pt x="277" y="170"/>
                </a:cubicBezTo>
                <a:close/>
                <a:moveTo>
                  <a:pt x="312" y="176"/>
                </a:moveTo>
                <a:cubicBezTo>
                  <a:pt x="319" y="189"/>
                  <a:pt x="324" y="206"/>
                  <a:pt x="327" y="224"/>
                </a:cubicBezTo>
                <a:cubicBezTo>
                  <a:pt x="369" y="224"/>
                  <a:pt x="369" y="224"/>
                  <a:pt x="369" y="224"/>
                </a:cubicBezTo>
                <a:cubicBezTo>
                  <a:pt x="356" y="202"/>
                  <a:pt x="336" y="185"/>
                  <a:pt x="312" y="17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06" y="170"/>
                </a:moveTo>
                <a:cubicBezTo>
                  <a:pt x="106" y="172"/>
                  <a:pt x="106" y="207"/>
                  <a:pt x="152" y="253"/>
                </a:cubicBezTo>
                <a:cubicBezTo>
                  <a:pt x="154" y="255"/>
                  <a:pt x="157" y="256"/>
                  <a:pt x="160" y="256"/>
                </a:cubicBezTo>
                <a:cubicBezTo>
                  <a:pt x="162" y="256"/>
                  <a:pt x="165" y="255"/>
                  <a:pt x="167" y="253"/>
                </a:cubicBezTo>
                <a:cubicBezTo>
                  <a:pt x="213" y="207"/>
                  <a:pt x="213" y="172"/>
                  <a:pt x="213" y="170"/>
                </a:cubicBezTo>
                <a:cubicBezTo>
                  <a:pt x="213" y="141"/>
                  <a:pt x="189" y="117"/>
                  <a:pt x="160" y="117"/>
                </a:cubicBezTo>
                <a:cubicBezTo>
                  <a:pt x="130" y="117"/>
                  <a:pt x="106" y="141"/>
                  <a:pt x="106" y="170"/>
                </a:cubicBezTo>
                <a:close/>
                <a:moveTo>
                  <a:pt x="405" y="277"/>
                </a:moveTo>
                <a:cubicBezTo>
                  <a:pt x="405" y="206"/>
                  <a:pt x="348" y="149"/>
                  <a:pt x="277" y="149"/>
                </a:cubicBezTo>
                <a:cubicBezTo>
                  <a:pt x="265" y="149"/>
                  <a:pt x="253" y="151"/>
                  <a:pt x="242" y="154"/>
                </a:cubicBezTo>
                <a:cubicBezTo>
                  <a:pt x="236" y="155"/>
                  <a:pt x="233" y="161"/>
                  <a:pt x="235" y="167"/>
                </a:cubicBezTo>
                <a:cubicBezTo>
                  <a:pt x="236" y="171"/>
                  <a:pt x="239" y="174"/>
                  <a:pt x="243" y="174"/>
                </a:cubicBezTo>
                <a:cubicBezTo>
                  <a:pt x="236" y="188"/>
                  <a:pt x="230" y="205"/>
                  <a:pt x="227" y="224"/>
                </a:cubicBezTo>
                <a:cubicBezTo>
                  <a:pt x="224" y="224"/>
                  <a:pt x="224" y="224"/>
                  <a:pt x="224" y="224"/>
                </a:cubicBezTo>
                <a:cubicBezTo>
                  <a:pt x="218" y="224"/>
                  <a:pt x="213" y="228"/>
                  <a:pt x="213" y="234"/>
                </a:cubicBezTo>
                <a:cubicBezTo>
                  <a:pt x="213" y="240"/>
                  <a:pt x="218" y="245"/>
                  <a:pt x="224" y="245"/>
                </a:cubicBezTo>
                <a:cubicBezTo>
                  <a:pt x="224" y="245"/>
                  <a:pt x="224" y="245"/>
                  <a:pt x="224" y="245"/>
                </a:cubicBezTo>
                <a:cubicBezTo>
                  <a:pt x="223" y="255"/>
                  <a:pt x="222" y="266"/>
                  <a:pt x="222" y="277"/>
                </a:cubicBezTo>
                <a:cubicBezTo>
                  <a:pt x="222" y="288"/>
                  <a:pt x="223" y="299"/>
                  <a:pt x="224" y="309"/>
                </a:cubicBezTo>
                <a:cubicBezTo>
                  <a:pt x="175" y="309"/>
                  <a:pt x="175" y="309"/>
                  <a:pt x="175" y="309"/>
                </a:cubicBezTo>
                <a:cubicBezTo>
                  <a:pt x="173" y="302"/>
                  <a:pt x="171" y="294"/>
                  <a:pt x="171" y="287"/>
                </a:cubicBezTo>
                <a:cubicBezTo>
                  <a:pt x="170" y="281"/>
                  <a:pt x="165" y="276"/>
                  <a:pt x="159" y="277"/>
                </a:cubicBezTo>
                <a:cubicBezTo>
                  <a:pt x="153" y="278"/>
                  <a:pt x="149" y="283"/>
                  <a:pt x="150" y="289"/>
                </a:cubicBezTo>
                <a:cubicBezTo>
                  <a:pt x="155" y="355"/>
                  <a:pt x="210" y="405"/>
                  <a:pt x="277" y="405"/>
                </a:cubicBezTo>
                <a:cubicBezTo>
                  <a:pt x="348" y="405"/>
                  <a:pt x="405" y="348"/>
                  <a:pt x="405" y="277"/>
                </a:cubicBezTo>
                <a:close/>
                <a:moveTo>
                  <a:pt x="332" y="277"/>
                </a:moveTo>
                <a:cubicBezTo>
                  <a:pt x="332" y="288"/>
                  <a:pt x="331" y="299"/>
                  <a:pt x="330" y="309"/>
                </a:cubicBezTo>
                <a:cubicBezTo>
                  <a:pt x="379" y="309"/>
                  <a:pt x="379" y="309"/>
                  <a:pt x="379" y="309"/>
                </a:cubicBezTo>
                <a:cubicBezTo>
                  <a:pt x="382" y="299"/>
                  <a:pt x="384" y="288"/>
                  <a:pt x="384" y="277"/>
                </a:cubicBezTo>
                <a:cubicBezTo>
                  <a:pt x="384" y="266"/>
                  <a:pt x="382" y="255"/>
                  <a:pt x="379" y="245"/>
                </a:cubicBezTo>
                <a:cubicBezTo>
                  <a:pt x="330" y="245"/>
                  <a:pt x="330" y="245"/>
                  <a:pt x="330" y="245"/>
                </a:cubicBezTo>
                <a:cubicBezTo>
                  <a:pt x="331" y="255"/>
                  <a:pt x="332" y="266"/>
                  <a:pt x="332" y="277"/>
                </a:cubicBezTo>
                <a:close/>
                <a:moveTo>
                  <a:pt x="312" y="378"/>
                </a:moveTo>
                <a:cubicBezTo>
                  <a:pt x="336" y="369"/>
                  <a:pt x="356" y="352"/>
                  <a:pt x="369" y="330"/>
                </a:cubicBezTo>
                <a:cubicBezTo>
                  <a:pt x="327" y="330"/>
                  <a:pt x="327" y="330"/>
                  <a:pt x="327" y="330"/>
                </a:cubicBezTo>
                <a:cubicBezTo>
                  <a:pt x="324" y="348"/>
                  <a:pt x="319" y="365"/>
                  <a:pt x="312" y="3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64" name="Group 35"/>
          <p:cNvGrpSpPr>
            <a:grpSpLocks noChangeAspect="1"/>
          </p:cNvGrpSpPr>
          <p:nvPr/>
        </p:nvGrpSpPr>
        <p:grpSpPr bwMode="auto">
          <a:xfrm>
            <a:off x="1926634" y="2051054"/>
            <a:ext cx="369021" cy="369021"/>
            <a:chOff x="2709" y="6"/>
            <a:chExt cx="340" cy="340"/>
          </a:xfrm>
          <a:solidFill>
            <a:schemeClr val="accent1"/>
          </a:solidFill>
        </p:grpSpPr>
        <p:sp>
          <p:nvSpPr>
            <p:cNvPr id="265" name="Freeform 36"/>
            <p:cNvSpPr>
              <a:spLocks noEditPoints="1"/>
            </p:cNvSpPr>
            <p:nvPr/>
          </p:nvSpPr>
          <p:spPr bwMode="auto">
            <a:xfrm>
              <a:off x="2779" y="84"/>
              <a:ext cx="71" cy="92"/>
            </a:xfrm>
            <a:custGeom>
              <a:avLst/>
              <a:gdLst>
                <a:gd name="T0" fmla="*/ 54 w 107"/>
                <a:gd name="T1" fmla="*/ 139 h 139"/>
                <a:gd name="T2" fmla="*/ 61 w 107"/>
                <a:gd name="T3" fmla="*/ 136 h 139"/>
                <a:gd name="T4" fmla="*/ 107 w 107"/>
                <a:gd name="T5" fmla="*/ 53 h 139"/>
                <a:gd name="T6" fmla="*/ 54 w 107"/>
                <a:gd name="T7" fmla="*/ 0 h 139"/>
                <a:gd name="T8" fmla="*/ 0 w 107"/>
                <a:gd name="T9" fmla="*/ 53 h 139"/>
                <a:gd name="T10" fmla="*/ 46 w 107"/>
                <a:gd name="T11" fmla="*/ 136 h 139"/>
                <a:gd name="T12" fmla="*/ 54 w 107"/>
                <a:gd name="T13" fmla="*/ 139 h 139"/>
                <a:gd name="T14" fmla="*/ 54 w 107"/>
                <a:gd name="T15" fmla="*/ 21 h 139"/>
                <a:gd name="T16" fmla="*/ 86 w 107"/>
                <a:gd name="T17" fmla="*/ 53 h 139"/>
                <a:gd name="T18" fmla="*/ 54 w 107"/>
                <a:gd name="T19" fmla="*/ 113 h 139"/>
                <a:gd name="T20" fmla="*/ 22 w 107"/>
                <a:gd name="T21" fmla="*/ 53 h 139"/>
                <a:gd name="T22" fmla="*/ 54 w 107"/>
                <a:gd name="T23" fmla="*/ 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39">
                  <a:moveTo>
                    <a:pt x="54" y="139"/>
                  </a:moveTo>
                  <a:cubicBezTo>
                    <a:pt x="56" y="139"/>
                    <a:pt x="59" y="138"/>
                    <a:pt x="61" y="136"/>
                  </a:cubicBezTo>
                  <a:cubicBezTo>
                    <a:pt x="107" y="90"/>
                    <a:pt x="107" y="55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55"/>
                    <a:pt x="0" y="90"/>
                    <a:pt x="46" y="136"/>
                  </a:cubicBezTo>
                  <a:cubicBezTo>
                    <a:pt x="48" y="138"/>
                    <a:pt x="51" y="139"/>
                    <a:pt x="54" y="139"/>
                  </a:cubicBezTo>
                  <a:close/>
                  <a:moveTo>
                    <a:pt x="54" y="21"/>
                  </a:moveTo>
                  <a:cubicBezTo>
                    <a:pt x="71" y="21"/>
                    <a:pt x="86" y="36"/>
                    <a:pt x="86" y="53"/>
                  </a:cubicBezTo>
                  <a:cubicBezTo>
                    <a:pt x="86" y="54"/>
                    <a:pt x="85" y="78"/>
                    <a:pt x="54" y="113"/>
                  </a:cubicBezTo>
                  <a:cubicBezTo>
                    <a:pt x="23" y="78"/>
                    <a:pt x="22" y="54"/>
                    <a:pt x="22" y="53"/>
                  </a:cubicBezTo>
                  <a:cubicBezTo>
                    <a:pt x="22" y="36"/>
                    <a:pt x="36" y="21"/>
                    <a:pt x="5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Oval 37"/>
            <p:cNvSpPr>
              <a:spLocks noChangeArrowheads="1"/>
            </p:cNvSpPr>
            <p:nvPr/>
          </p:nvSpPr>
          <p:spPr bwMode="auto">
            <a:xfrm>
              <a:off x="2808" y="112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38"/>
            <p:cNvSpPr>
              <a:spLocks noEditPoints="1"/>
            </p:cNvSpPr>
            <p:nvPr/>
          </p:nvSpPr>
          <p:spPr bwMode="auto">
            <a:xfrm>
              <a:off x="2808" y="105"/>
              <a:ext cx="170" cy="170"/>
            </a:xfrm>
            <a:custGeom>
              <a:avLst/>
              <a:gdLst>
                <a:gd name="T0" fmla="*/ 128 w 256"/>
                <a:gd name="T1" fmla="*/ 0 h 256"/>
                <a:gd name="T2" fmla="*/ 93 w 256"/>
                <a:gd name="T3" fmla="*/ 5 h 256"/>
                <a:gd name="T4" fmla="*/ 86 w 256"/>
                <a:gd name="T5" fmla="*/ 18 h 256"/>
                <a:gd name="T6" fmla="*/ 94 w 256"/>
                <a:gd name="T7" fmla="*/ 25 h 256"/>
                <a:gd name="T8" fmla="*/ 78 w 256"/>
                <a:gd name="T9" fmla="*/ 75 h 256"/>
                <a:gd name="T10" fmla="*/ 75 w 256"/>
                <a:gd name="T11" fmla="*/ 75 h 256"/>
                <a:gd name="T12" fmla="*/ 64 w 256"/>
                <a:gd name="T13" fmla="*/ 85 h 256"/>
                <a:gd name="T14" fmla="*/ 75 w 256"/>
                <a:gd name="T15" fmla="*/ 96 h 256"/>
                <a:gd name="T16" fmla="*/ 75 w 256"/>
                <a:gd name="T17" fmla="*/ 96 h 256"/>
                <a:gd name="T18" fmla="*/ 73 w 256"/>
                <a:gd name="T19" fmla="*/ 128 h 256"/>
                <a:gd name="T20" fmla="*/ 75 w 256"/>
                <a:gd name="T21" fmla="*/ 160 h 256"/>
                <a:gd name="T22" fmla="*/ 26 w 256"/>
                <a:gd name="T23" fmla="*/ 160 h 256"/>
                <a:gd name="T24" fmla="*/ 22 w 256"/>
                <a:gd name="T25" fmla="*/ 138 h 256"/>
                <a:gd name="T26" fmla="*/ 10 w 256"/>
                <a:gd name="T27" fmla="*/ 128 h 256"/>
                <a:gd name="T28" fmla="*/ 1 w 256"/>
                <a:gd name="T29" fmla="*/ 140 h 256"/>
                <a:gd name="T30" fmla="*/ 128 w 256"/>
                <a:gd name="T31" fmla="*/ 256 h 256"/>
                <a:gd name="T32" fmla="*/ 256 w 256"/>
                <a:gd name="T33" fmla="*/ 128 h 256"/>
                <a:gd name="T34" fmla="*/ 128 w 256"/>
                <a:gd name="T35" fmla="*/ 0 h 256"/>
                <a:gd name="T36" fmla="*/ 36 w 256"/>
                <a:gd name="T37" fmla="*/ 181 h 256"/>
                <a:gd name="T38" fmla="*/ 78 w 256"/>
                <a:gd name="T39" fmla="*/ 181 h 256"/>
                <a:gd name="T40" fmla="*/ 93 w 256"/>
                <a:gd name="T41" fmla="*/ 229 h 256"/>
                <a:gd name="T42" fmla="*/ 36 w 256"/>
                <a:gd name="T43" fmla="*/ 181 h 256"/>
                <a:gd name="T44" fmla="*/ 220 w 256"/>
                <a:gd name="T45" fmla="*/ 75 h 256"/>
                <a:gd name="T46" fmla="*/ 178 w 256"/>
                <a:gd name="T47" fmla="*/ 75 h 256"/>
                <a:gd name="T48" fmla="*/ 163 w 256"/>
                <a:gd name="T49" fmla="*/ 27 h 256"/>
                <a:gd name="T50" fmla="*/ 220 w 256"/>
                <a:gd name="T51" fmla="*/ 75 h 256"/>
                <a:gd name="T52" fmla="*/ 128 w 256"/>
                <a:gd name="T53" fmla="*/ 21 h 256"/>
                <a:gd name="T54" fmla="*/ 156 w 256"/>
                <a:gd name="T55" fmla="*/ 75 h 256"/>
                <a:gd name="T56" fmla="*/ 100 w 256"/>
                <a:gd name="T57" fmla="*/ 75 h 256"/>
                <a:gd name="T58" fmla="*/ 128 w 256"/>
                <a:gd name="T59" fmla="*/ 21 h 256"/>
                <a:gd name="T60" fmla="*/ 128 w 256"/>
                <a:gd name="T61" fmla="*/ 235 h 256"/>
                <a:gd name="T62" fmla="*/ 100 w 256"/>
                <a:gd name="T63" fmla="*/ 181 h 256"/>
                <a:gd name="T64" fmla="*/ 156 w 256"/>
                <a:gd name="T65" fmla="*/ 181 h 256"/>
                <a:gd name="T66" fmla="*/ 128 w 256"/>
                <a:gd name="T67" fmla="*/ 235 h 256"/>
                <a:gd name="T68" fmla="*/ 160 w 256"/>
                <a:gd name="T69" fmla="*/ 160 h 256"/>
                <a:gd name="T70" fmla="*/ 96 w 256"/>
                <a:gd name="T71" fmla="*/ 160 h 256"/>
                <a:gd name="T72" fmla="*/ 95 w 256"/>
                <a:gd name="T73" fmla="*/ 128 h 256"/>
                <a:gd name="T74" fmla="*/ 96 w 256"/>
                <a:gd name="T75" fmla="*/ 96 h 256"/>
                <a:gd name="T76" fmla="*/ 160 w 256"/>
                <a:gd name="T77" fmla="*/ 96 h 256"/>
                <a:gd name="T78" fmla="*/ 161 w 256"/>
                <a:gd name="T79" fmla="*/ 128 h 256"/>
                <a:gd name="T80" fmla="*/ 160 w 256"/>
                <a:gd name="T81" fmla="*/ 160 h 256"/>
                <a:gd name="T82" fmla="*/ 163 w 256"/>
                <a:gd name="T83" fmla="*/ 229 h 256"/>
                <a:gd name="T84" fmla="*/ 178 w 256"/>
                <a:gd name="T85" fmla="*/ 181 h 256"/>
                <a:gd name="T86" fmla="*/ 220 w 256"/>
                <a:gd name="T87" fmla="*/ 181 h 256"/>
                <a:gd name="T88" fmla="*/ 163 w 256"/>
                <a:gd name="T89" fmla="*/ 229 h 256"/>
                <a:gd name="T90" fmla="*/ 181 w 256"/>
                <a:gd name="T91" fmla="*/ 160 h 256"/>
                <a:gd name="T92" fmla="*/ 183 w 256"/>
                <a:gd name="T93" fmla="*/ 128 h 256"/>
                <a:gd name="T94" fmla="*/ 181 w 256"/>
                <a:gd name="T95" fmla="*/ 96 h 256"/>
                <a:gd name="T96" fmla="*/ 230 w 256"/>
                <a:gd name="T97" fmla="*/ 96 h 256"/>
                <a:gd name="T98" fmla="*/ 235 w 256"/>
                <a:gd name="T99" fmla="*/ 128 h 256"/>
                <a:gd name="T100" fmla="*/ 230 w 256"/>
                <a:gd name="T101" fmla="*/ 160 h 256"/>
                <a:gd name="T102" fmla="*/ 181 w 256"/>
                <a:gd name="T103" fmla="*/ 16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116" y="0"/>
                    <a:pt x="104" y="2"/>
                    <a:pt x="93" y="5"/>
                  </a:cubicBezTo>
                  <a:cubicBezTo>
                    <a:pt x="87" y="6"/>
                    <a:pt x="84" y="12"/>
                    <a:pt x="86" y="18"/>
                  </a:cubicBezTo>
                  <a:cubicBezTo>
                    <a:pt x="87" y="22"/>
                    <a:pt x="90" y="25"/>
                    <a:pt x="94" y="25"/>
                  </a:cubicBezTo>
                  <a:cubicBezTo>
                    <a:pt x="87" y="39"/>
                    <a:pt x="81" y="56"/>
                    <a:pt x="78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69" y="75"/>
                    <a:pt x="64" y="79"/>
                    <a:pt x="64" y="85"/>
                  </a:cubicBezTo>
                  <a:cubicBezTo>
                    <a:pt x="64" y="91"/>
                    <a:pt x="69" y="96"/>
                    <a:pt x="75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4" y="106"/>
                    <a:pt x="73" y="117"/>
                    <a:pt x="73" y="128"/>
                  </a:cubicBezTo>
                  <a:cubicBezTo>
                    <a:pt x="73" y="139"/>
                    <a:pt x="74" y="150"/>
                    <a:pt x="75" y="160"/>
                  </a:cubicBezTo>
                  <a:cubicBezTo>
                    <a:pt x="26" y="160"/>
                    <a:pt x="26" y="160"/>
                    <a:pt x="26" y="160"/>
                  </a:cubicBezTo>
                  <a:cubicBezTo>
                    <a:pt x="24" y="153"/>
                    <a:pt x="22" y="145"/>
                    <a:pt x="22" y="138"/>
                  </a:cubicBezTo>
                  <a:cubicBezTo>
                    <a:pt x="21" y="132"/>
                    <a:pt x="16" y="127"/>
                    <a:pt x="10" y="128"/>
                  </a:cubicBezTo>
                  <a:cubicBezTo>
                    <a:pt x="4" y="129"/>
                    <a:pt x="0" y="134"/>
                    <a:pt x="1" y="140"/>
                  </a:cubicBezTo>
                  <a:cubicBezTo>
                    <a:pt x="6" y="206"/>
                    <a:pt x="61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36" y="181"/>
                  </a:moveTo>
                  <a:cubicBezTo>
                    <a:pt x="78" y="181"/>
                    <a:pt x="78" y="181"/>
                    <a:pt x="78" y="181"/>
                  </a:cubicBezTo>
                  <a:cubicBezTo>
                    <a:pt x="81" y="200"/>
                    <a:pt x="86" y="216"/>
                    <a:pt x="93" y="229"/>
                  </a:cubicBezTo>
                  <a:cubicBezTo>
                    <a:pt x="69" y="220"/>
                    <a:pt x="48" y="204"/>
                    <a:pt x="36" y="181"/>
                  </a:cubicBezTo>
                  <a:close/>
                  <a:moveTo>
                    <a:pt x="220" y="75"/>
                  </a:moveTo>
                  <a:cubicBezTo>
                    <a:pt x="178" y="75"/>
                    <a:pt x="178" y="75"/>
                    <a:pt x="178" y="75"/>
                  </a:cubicBezTo>
                  <a:cubicBezTo>
                    <a:pt x="175" y="57"/>
                    <a:pt x="170" y="40"/>
                    <a:pt x="163" y="27"/>
                  </a:cubicBezTo>
                  <a:cubicBezTo>
                    <a:pt x="187" y="36"/>
                    <a:pt x="207" y="53"/>
                    <a:pt x="220" y="75"/>
                  </a:cubicBezTo>
                  <a:close/>
                  <a:moveTo>
                    <a:pt x="128" y="21"/>
                  </a:moveTo>
                  <a:cubicBezTo>
                    <a:pt x="137" y="21"/>
                    <a:pt x="150" y="41"/>
                    <a:pt x="156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6" y="41"/>
                    <a:pt x="119" y="21"/>
                    <a:pt x="128" y="21"/>
                  </a:cubicBezTo>
                  <a:close/>
                  <a:moveTo>
                    <a:pt x="128" y="235"/>
                  </a:moveTo>
                  <a:cubicBezTo>
                    <a:pt x="119" y="235"/>
                    <a:pt x="106" y="215"/>
                    <a:pt x="100" y="181"/>
                  </a:cubicBezTo>
                  <a:cubicBezTo>
                    <a:pt x="156" y="181"/>
                    <a:pt x="156" y="181"/>
                    <a:pt x="156" y="181"/>
                  </a:cubicBezTo>
                  <a:cubicBezTo>
                    <a:pt x="150" y="215"/>
                    <a:pt x="137" y="235"/>
                    <a:pt x="128" y="235"/>
                  </a:cubicBezTo>
                  <a:close/>
                  <a:moveTo>
                    <a:pt x="160" y="160"/>
                  </a:moveTo>
                  <a:cubicBezTo>
                    <a:pt x="96" y="160"/>
                    <a:pt x="96" y="160"/>
                    <a:pt x="96" y="160"/>
                  </a:cubicBezTo>
                  <a:cubicBezTo>
                    <a:pt x="95" y="150"/>
                    <a:pt x="95" y="139"/>
                    <a:pt x="95" y="128"/>
                  </a:cubicBezTo>
                  <a:cubicBezTo>
                    <a:pt x="95" y="117"/>
                    <a:pt x="95" y="106"/>
                    <a:pt x="96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1" y="106"/>
                    <a:pt x="161" y="117"/>
                    <a:pt x="161" y="128"/>
                  </a:cubicBezTo>
                  <a:cubicBezTo>
                    <a:pt x="161" y="139"/>
                    <a:pt x="161" y="150"/>
                    <a:pt x="160" y="160"/>
                  </a:cubicBezTo>
                  <a:close/>
                  <a:moveTo>
                    <a:pt x="163" y="229"/>
                  </a:moveTo>
                  <a:cubicBezTo>
                    <a:pt x="170" y="216"/>
                    <a:pt x="175" y="199"/>
                    <a:pt x="178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07" y="203"/>
                    <a:pt x="187" y="220"/>
                    <a:pt x="163" y="229"/>
                  </a:cubicBezTo>
                  <a:close/>
                  <a:moveTo>
                    <a:pt x="181" y="160"/>
                  </a:moveTo>
                  <a:cubicBezTo>
                    <a:pt x="182" y="150"/>
                    <a:pt x="183" y="139"/>
                    <a:pt x="183" y="128"/>
                  </a:cubicBezTo>
                  <a:cubicBezTo>
                    <a:pt x="183" y="117"/>
                    <a:pt x="182" y="106"/>
                    <a:pt x="181" y="96"/>
                  </a:cubicBezTo>
                  <a:cubicBezTo>
                    <a:pt x="230" y="96"/>
                    <a:pt x="230" y="96"/>
                    <a:pt x="230" y="96"/>
                  </a:cubicBezTo>
                  <a:cubicBezTo>
                    <a:pt x="233" y="106"/>
                    <a:pt x="235" y="117"/>
                    <a:pt x="235" y="128"/>
                  </a:cubicBezTo>
                  <a:cubicBezTo>
                    <a:pt x="235" y="139"/>
                    <a:pt x="233" y="150"/>
                    <a:pt x="230" y="160"/>
                  </a:cubicBezTo>
                  <a:lnTo>
                    <a:pt x="18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39"/>
            <p:cNvSpPr>
              <a:spLocks noEditPoints="1"/>
            </p:cNvSpPr>
            <p:nvPr/>
          </p:nvSpPr>
          <p:spPr bwMode="auto">
            <a:xfrm>
              <a:off x="2709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9" name="Group 902"/>
          <p:cNvGrpSpPr>
            <a:grpSpLocks noChangeAspect="1"/>
          </p:cNvGrpSpPr>
          <p:nvPr/>
        </p:nvGrpSpPr>
        <p:grpSpPr bwMode="auto">
          <a:xfrm>
            <a:off x="2921258" y="2051054"/>
            <a:ext cx="370106" cy="369021"/>
            <a:chOff x="3456" y="3471"/>
            <a:chExt cx="341" cy="340"/>
          </a:xfrm>
          <a:solidFill>
            <a:schemeClr val="accent4"/>
          </a:solidFill>
        </p:grpSpPr>
        <p:sp>
          <p:nvSpPr>
            <p:cNvPr id="270" name="Freeform 903"/>
            <p:cNvSpPr>
              <a:spLocks noEditPoints="1"/>
            </p:cNvSpPr>
            <p:nvPr/>
          </p:nvSpPr>
          <p:spPr bwMode="auto">
            <a:xfrm>
              <a:off x="3456" y="347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904"/>
            <p:cNvSpPr>
              <a:spLocks noEditPoints="1"/>
            </p:cNvSpPr>
            <p:nvPr/>
          </p:nvSpPr>
          <p:spPr bwMode="auto">
            <a:xfrm>
              <a:off x="3520" y="3546"/>
              <a:ext cx="214" cy="173"/>
            </a:xfrm>
            <a:custGeom>
              <a:avLst/>
              <a:gdLst>
                <a:gd name="T0" fmla="*/ 170 w 321"/>
                <a:gd name="T1" fmla="*/ 132 h 260"/>
                <a:gd name="T2" fmla="*/ 138 w 321"/>
                <a:gd name="T3" fmla="*/ 132 h 260"/>
                <a:gd name="T4" fmla="*/ 138 w 321"/>
                <a:gd name="T5" fmla="*/ 100 h 260"/>
                <a:gd name="T6" fmla="*/ 128 w 321"/>
                <a:gd name="T7" fmla="*/ 89 h 260"/>
                <a:gd name="T8" fmla="*/ 53 w 321"/>
                <a:gd name="T9" fmla="*/ 89 h 260"/>
                <a:gd name="T10" fmla="*/ 42 w 321"/>
                <a:gd name="T11" fmla="*/ 100 h 260"/>
                <a:gd name="T12" fmla="*/ 42 w 321"/>
                <a:gd name="T13" fmla="*/ 132 h 260"/>
                <a:gd name="T14" fmla="*/ 10 w 321"/>
                <a:gd name="T15" fmla="*/ 132 h 260"/>
                <a:gd name="T16" fmla="*/ 0 w 321"/>
                <a:gd name="T17" fmla="*/ 143 h 260"/>
                <a:gd name="T18" fmla="*/ 0 w 321"/>
                <a:gd name="T19" fmla="*/ 249 h 260"/>
                <a:gd name="T20" fmla="*/ 10 w 321"/>
                <a:gd name="T21" fmla="*/ 260 h 260"/>
                <a:gd name="T22" fmla="*/ 170 w 321"/>
                <a:gd name="T23" fmla="*/ 260 h 260"/>
                <a:gd name="T24" fmla="*/ 181 w 321"/>
                <a:gd name="T25" fmla="*/ 249 h 260"/>
                <a:gd name="T26" fmla="*/ 181 w 321"/>
                <a:gd name="T27" fmla="*/ 143 h 260"/>
                <a:gd name="T28" fmla="*/ 170 w 321"/>
                <a:gd name="T29" fmla="*/ 132 h 260"/>
                <a:gd name="T30" fmla="*/ 64 w 321"/>
                <a:gd name="T31" fmla="*/ 153 h 260"/>
                <a:gd name="T32" fmla="*/ 117 w 321"/>
                <a:gd name="T33" fmla="*/ 153 h 260"/>
                <a:gd name="T34" fmla="*/ 117 w 321"/>
                <a:gd name="T35" fmla="*/ 239 h 260"/>
                <a:gd name="T36" fmla="*/ 64 w 321"/>
                <a:gd name="T37" fmla="*/ 239 h 260"/>
                <a:gd name="T38" fmla="*/ 64 w 321"/>
                <a:gd name="T39" fmla="*/ 153 h 260"/>
                <a:gd name="T40" fmla="*/ 117 w 321"/>
                <a:gd name="T41" fmla="*/ 111 h 260"/>
                <a:gd name="T42" fmla="*/ 117 w 321"/>
                <a:gd name="T43" fmla="*/ 132 h 260"/>
                <a:gd name="T44" fmla="*/ 64 w 321"/>
                <a:gd name="T45" fmla="*/ 132 h 260"/>
                <a:gd name="T46" fmla="*/ 64 w 321"/>
                <a:gd name="T47" fmla="*/ 111 h 260"/>
                <a:gd name="T48" fmla="*/ 117 w 321"/>
                <a:gd name="T49" fmla="*/ 111 h 260"/>
                <a:gd name="T50" fmla="*/ 21 w 321"/>
                <a:gd name="T51" fmla="*/ 153 h 260"/>
                <a:gd name="T52" fmla="*/ 42 w 321"/>
                <a:gd name="T53" fmla="*/ 153 h 260"/>
                <a:gd name="T54" fmla="*/ 42 w 321"/>
                <a:gd name="T55" fmla="*/ 239 h 260"/>
                <a:gd name="T56" fmla="*/ 21 w 321"/>
                <a:gd name="T57" fmla="*/ 239 h 260"/>
                <a:gd name="T58" fmla="*/ 21 w 321"/>
                <a:gd name="T59" fmla="*/ 153 h 260"/>
                <a:gd name="T60" fmla="*/ 160 w 321"/>
                <a:gd name="T61" fmla="*/ 239 h 260"/>
                <a:gd name="T62" fmla="*/ 138 w 321"/>
                <a:gd name="T63" fmla="*/ 239 h 260"/>
                <a:gd name="T64" fmla="*/ 138 w 321"/>
                <a:gd name="T65" fmla="*/ 153 h 260"/>
                <a:gd name="T66" fmla="*/ 160 w 321"/>
                <a:gd name="T67" fmla="*/ 153 h 260"/>
                <a:gd name="T68" fmla="*/ 160 w 321"/>
                <a:gd name="T69" fmla="*/ 239 h 260"/>
                <a:gd name="T70" fmla="*/ 317 w 321"/>
                <a:gd name="T71" fmla="*/ 146 h 260"/>
                <a:gd name="T72" fmla="*/ 266 w 321"/>
                <a:gd name="T73" fmla="*/ 96 h 260"/>
                <a:gd name="T74" fmla="*/ 278 w 321"/>
                <a:gd name="T75" fmla="*/ 61 h 260"/>
                <a:gd name="T76" fmla="*/ 260 w 321"/>
                <a:gd name="T77" fmla="*/ 18 h 260"/>
                <a:gd name="T78" fmla="*/ 217 w 321"/>
                <a:gd name="T79" fmla="*/ 0 h 260"/>
                <a:gd name="T80" fmla="*/ 173 w 321"/>
                <a:gd name="T81" fmla="*/ 18 h 260"/>
                <a:gd name="T82" fmla="*/ 156 w 321"/>
                <a:gd name="T83" fmla="*/ 61 h 260"/>
                <a:gd name="T84" fmla="*/ 173 w 321"/>
                <a:gd name="T85" fmla="*/ 104 h 260"/>
                <a:gd name="T86" fmla="*/ 217 w 321"/>
                <a:gd name="T87" fmla="*/ 122 h 260"/>
                <a:gd name="T88" fmla="*/ 251 w 321"/>
                <a:gd name="T89" fmla="*/ 111 h 260"/>
                <a:gd name="T90" fmla="*/ 301 w 321"/>
                <a:gd name="T91" fmla="*/ 161 h 260"/>
                <a:gd name="T92" fmla="*/ 309 w 321"/>
                <a:gd name="T93" fmla="*/ 164 h 260"/>
                <a:gd name="T94" fmla="*/ 317 w 321"/>
                <a:gd name="T95" fmla="*/ 161 h 260"/>
                <a:gd name="T96" fmla="*/ 317 w 321"/>
                <a:gd name="T97" fmla="*/ 146 h 260"/>
                <a:gd name="T98" fmla="*/ 189 w 321"/>
                <a:gd name="T99" fmla="*/ 89 h 260"/>
                <a:gd name="T100" fmla="*/ 189 w 321"/>
                <a:gd name="T101" fmla="*/ 33 h 260"/>
                <a:gd name="T102" fmla="*/ 217 w 321"/>
                <a:gd name="T103" fmla="*/ 21 h 260"/>
                <a:gd name="T104" fmla="*/ 245 w 321"/>
                <a:gd name="T105" fmla="*/ 33 h 260"/>
                <a:gd name="T106" fmla="*/ 256 w 321"/>
                <a:gd name="T107" fmla="*/ 61 h 260"/>
                <a:gd name="T108" fmla="*/ 245 w 321"/>
                <a:gd name="T109" fmla="*/ 89 h 260"/>
                <a:gd name="T110" fmla="*/ 189 w 321"/>
                <a:gd name="T111" fmla="*/ 89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1" h="260">
                  <a:moveTo>
                    <a:pt x="170" y="132"/>
                  </a:moveTo>
                  <a:cubicBezTo>
                    <a:pt x="138" y="132"/>
                    <a:pt x="138" y="132"/>
                    <a:pt x="138" y="132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8" y="94"/>
                    <a:pt x="134" y="89"/>
                    <a:pt x="128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47" y="89"/>
                    <a:pt x="42" y="94"/>
                    <a:pt x="42" y="100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10" y="132"/>
                    <a:pt x="10" y="132"/>
                    <a:pt x="10" y="132"/>
                  </a:cubicBezTo>
                  <a:cubicBezTo>
                    <a:pt x="4" y="132"/>
                    <a:pt x="0" y="137"/>
                    <a:pt x="0" y="143"/>
                  </a:cubicBezTo>
                  <a:cubicBezTo>
                    <a:pt x="0" y="249"/>
                    <a:pt x="0" y="249"/>
                    <a:pt x="0" y="249"/>
                  </a:cubicBezTo>
                  <a:cubicBezTo>
                    <a:pt x="0" y="255"/>
                    <a:pt x="4" y="260"/>
                    <a:pt x="10" y="260"/>
                  </a:cubicBezTo>
                  <a:cubicBezTo>
                    <a:pt x="170" y="260"/>
                    <a:pt x="170" y="260"/>
                    <a:pt x="170" y="260"/>
                  </a:cubicBezTo>
                  <a:cubicBezTo>
                    <a:pt x="176" y="260"/>
                    <a:pt x="181" y="255"/>
                    <a:pt x="181" y="249"/>
                  </a:cubicBezTo>
                  <a:cubicBezTo>
                    <a:pt x="181" y="143"/>
                    <a:pt x="181" y="143"/>
                    <a:pt x="181" y="143"/>
                  </a:cubicBezTo>
                  <a:cubicBezTo>
                    <a:pt x="181" y="137"/>
                    <a:pt x="176" y="132"/>
                    <a:pt x="170" y="132"/>
                  </a:cubicBezTo>
                  <a:close/>
                  <a:moveTo>
                    <a:pt x="64" y="153"/>
                  </a:moveTo>
                  <a:cubicBezTo>
                    <a:pt x="117" y="153"/>
                    <a:pt x="117" y="153"/>
                    <a:pt x="117" y="153"/>
                  </a:cubicBezTo>
                  <a:cubicBezTo>
                    <a:pt x="117" y="239"/>
                    <a:pt x="117" y="239"/>
                    <a:pt x="117" y="239"/>
                  </a:cubicBezTo>
                  <a:cubicBezTo>
                    <a:pt x="64" y="239"/>
                    <a:pt x="64" y="239"/>
                    <a:pt x="64" y="239"/>
                  </a:cubicBezTo>
                  <a:lnTo>
                    <a:pt x="64" y="153"/>
                  </a:lnTo>
                  <a:close/>
                  <a:moveTo>
                    <a:pt x="117" y="111"/>
                  </a:moveTo>
                  <a:cubicBezTo>
                    <a:pt x="117" y="132"/>
                    <a:pt x="117" y="132"/>
                    <a:pt x="117" y="132"/>
                  </a:cubicBezTo>
                  <a:cubicBezTo>
                    <a:pt x="64" y="132"/>
                    <a:pt x="64" y="132"/>
                    <a:pt x="64" y="132"/>
                  </a:cubicBezTo>
                  <a:cubicBezTo>
                    <a:pt x="64" y="111"/>
                    <a:pt x="64" y="111"/>
                    <a:pt x="64" y="111"/>
                  </a:cubicBezTo>
                  <a:lnTo>
                    <a:pt x="117" y="111"/>
                  </a:lnTo>
                  <a:close/>
                  <a:moveTo>
                    <a:pt x="21" y="153"/>
                  </a:moveTo>
                  <a:cubicBezTo>
                    <a:pt x="42" y="153"/>
                    <a:pt x="42" y="153"/>
                    <a:pt x="42" y="153"/>
                  </a:cubicBezTo>
                  <a:cubicBezTo>
                    <a:pt x="42" y="239"/>
                    <a:pt x="42" y="239"/>
                    <a:pt x="42" y="239"/>
                  </a:cubicBezTo>
                  <a:cubicBezTo>
                    <a:pt x="21" y="239"/>
                    <a:pt x="21" y="239"/>
                    <a:pt x="21" y="239"/>
                  </a:cubicBezTo>
                  <a:lnTo>
                    <a:pt x="21" y="153"/>
                  </a:lnTo>
                  <a:close/>
                  <a:moveTo>
                    <a:pt x="160" y="239"/>
                  </a:moveTo>
                  <a:cubicBezTo>
                    <a:pt x="138" y="239"/>
                    <a:pt x="138" y="239"/>
                    <a:pt x="138" y="239"/>
                  </a:cubicBezTo>
                  <a:cubicBezTo>
                    <a:pt x="138" y="153"/>
                    <a:pt x="138" y="153"/>
                    <a:pt x="138" y="153"/>
                  </a:cubicBezTo>
                  <a:cubicBezTo>
                    <a:pt x="160" y="153"/>
                    <a:pt x="160" y="153"/>
                    <a:pt x="160" y="153"/>
                  </a:cubicBezTo>
                  <a:lnTo>
                    <a:pt x="160" y="239"/>
                  </a:lnTo>
                  <a:close/>
                  <a:moveTo>
                    <a:pt x="317" y="146"/>
                  </a:moveTo>
                  <a:cubicBezTo>
                    <a:pt x="266" y="96"/>
                    <a:pt x="266" y="96"/>
                    <a:pt x="266" y="96"/>
                  </a:cubicBezTo>
                  <a:cubicBezTo>
                    <a:pt x="274" y="86"/>
                    <a:pt x="278" y="74"/>
                    <a:pt x="278" y="61"/>
                  </a:cubicBezTo>
                  <a:cubicBezTo>
                    <a:pt x="278" y="45"/>
                    <a:pt x="271" y="29"/>
                    <a:pt x="260" y="18"/>
                  </a:cubicBezTo>
                  <a:cubicBezTo>
                    <a:pt x="248" y="6"/>
                    <a:pt x="233" y="0"/>
                    <a:pt x="217" y="0"/>
                  </a:cubicBezTo>
                  <a:cubicBezTo>
                    <a:pt x="200" y="0"/>
                    <a:pt x="185" y="6"/>
                    <a:pt x="173" y="18"/>
                  </a:cubicBezTo>
                  <a:cubicBezTo>
                    <a:pt x="162" y="29"/>
                    <a:pt x="156" y="45"/>
                    <a:pt x="156" y="61"/>
                  </a:cubicBezTo>
                  <a:cubicBezTo>
                    <a:pt x="156" y="77"/>
                    <a:pt x="162" y="92"/>
                    <a:pt x="173" y="104"/>
                  </a:cubicBezTo>
                  <a:cubicBezTo>
                    <a:pt x="185" y="116"/>
                    <a:pt x="200" y="122"/>
                    <a:pt x="217" y="122"/>
                  </a:cubicBezTo>
                  <a:cubicBezTo>
                    <a:pt x="229" y="122"/>
                    <a:pt x="241" y="118"/>
                    <a:pt x="251" y="111"/>
                  </a:cubicBezTo>
                  <a:cubicBezTo>
                    <a:pt x="301" y="161"/>
                    <a:pt x="301" y="161"/>
                    <a:pt x="301" y="161"/>
                  </a:cubicBezTo>
                  <a:cubicBezTo>
                    <a:pt x="304" y="163"/>
                    <a:pt x="306" y="164"/>
                    <a:pt x="309" y="164"/>
                  </a:cubicBezTo>
                  <a:cubicBezTo>
                    <a:pt x="312" y="164"/>
                    <a:pt x="314" y="163"/>
                    <a:pt x="317" y="161"/>
                  </a:cubicBezTo>
                  <a:cubicBezTo>
                    <a:pt x="321" y="157"/>
                    <a:pt x="321" y="150"/>
                    <a:pt x="317" y="146"/>
                  </a:cubicBezTo>
                  <a:close/>
                  <a:moveTo>
                    <a:pt x="189" y="89"/>
                  </a:moveTo>
                  <a:cubicBezTo>
                    <a:pt x="173" y="73"/>
                    <a:pt x="173" y="48"/>
                    <a:pt x="189" y="33"/>
                  </a:cubicBezTo>
                  <a:cubicBezTo>
                    <a:pt x="196" y="25"/>
                    <a:pt x="206" y="21"/>
                    <a:pt x="217" y="21"/>
                  </a:cubicBezTo>
                  <a:cubicBezTo>
                    <a:pt x="227" y="21"/>
                    <a:pt x="237" y="25"/>
                    <a:pt x="245" y="33"/>
                  </a:cubicBezTo>
                  <a:cubicBezTo>
                    <a:pt x="252" y="40"/>
                    <a:pt x="256" y="50"/>
                    <a:pt x="256" y="61"/>
                  </a:cubicBezTo>
                  <a:cubicBezTo>
                    <a:pt x="256" y="71"/>
                    <a:pt x="252" y="81"/>
                    <a:pt x="245" y="89"/>
                  </a:cubicBezTo>
                  <a:cubicBezTo>
                    <a:pt x="229" y="104"/>
                    <a:pt x="204" y="104"/>
                    <a:pt x="189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2" name="Freeform 908"/>
          <p:cNvSpPr>
            <a:spLocks noChangeAspect="1" noEditPoints="1"/>
          </p:cNvSpPr>
          <p:nvPr/>
        </p:nvSpPr>
        <p:spPr bwMode="auto">
          <a:xfrm>
            <a:off x="2423946" y="2051054"/>
            <a:ext cx="369021" cy="369021"/>
          </a:xfrm>
          <a:custGeom>
            <a:avLst/>
            <a:gdLst>
              <a:gd name="T0" fmla="*/ 160 w 512"/>
              <a:gd name="T1" fmla="*/ 224 h 512"/>
              <a:gd name="T2" fmla="*/ 213 w 512"/>
              <a:gd name="T3" fmla="*/ 224 h 512"/>
              <a:gd name="T4" fmla="*/ 213 w 512"/>
              <a:gd name="T5" fmla="*/ 245 h 512"/>
              <a:gd name="T6" fmla="*/ 160 w 512"/>
              <a:gd name="T7" fmla="*/ 245 h 512"/>
              <a:gd name="T8" fmla="*/ 160 w 512"/>
              <a:gd name="T9" fmla="*/ 224 h 512"/>
              <a:gd name="T10" fmla="*/ 234 w 512"/>
              <a:gd name="T11" fmla="*/ 352 h 512"/>
              <a:gd name="T12" fmla="*/ 256 w 512"/>
              <a:gd name="T13" fmla="*/ 352 h 512"/>
              <a:gd name="T14" fmla="*/ 256 w 512"/>
              <a:gd name="T15" fmla="*/ 266 h 512"/>
              <a:gd name="T16" fmla="*/ 234 w 512"/>
              <a:gd name="T17" fmla="*/ 266 h 512"/>
              <a:gd name="T18" fmla="*/ 234 w 512"/>
              <a:gd name="T19" fmla="*/ 352 h 512"/>
              <a:gd name="T20" fmla="*/ 160 w 512"/>
              <a:gd name="T21" fmla="*/ 352 h 512"/>
              <a:gd name="T22" fmla="*/ 213 w 512"/>
              <a:gd name="T23" fmla="*/ 352 h 512"/>
              <a:gd name="T24" fmla="*/ 213 w 512"/>
              <a:gd name="T25" fmla="*/ 266 h 512"/>
              <a:gd name="T26" fmla="*/ 160 w 512"/>
              <a:gd name="T27" fmla="*/ 266 h 512"/>
              <a:gd name="T28" fmla="*/ 160 w 512"/>
              <a:gd name="T29" fmla="*/ 352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77 w 512"/>
              <a:gd name="T41" fmla="*/ 256 h 512"/>
              <a:gd name="T42" fmla="*/ 266 w 512"/>
              <a:gd name="T43" fmla="*/ 245 h 512"/>
              <a:gd name="T44" fmla="*/ 234 w 512"/>
              <a:gd name="T45" fmla="*/ 245 h 512"/>
              <a:gd name="T46" fmla="*/ 234 w 512"/>
              <a:gd name="T47" fmla="*/ 213 h 512"/>
              <a:gd name="T48" fmla="*/ 224 w 512"/>
              <a:gd name="T49" fmla="*/ 202 h 512"/>
              <a:gd name="T50" fmla="*/ 149 w 512"/>
              <a:gd name="T51" fmla="*/ 202 h 512"/>
              <a:gd name="T52" fmla="*/ 138 w 512"/>
              <a:gd name="T53" fmla="*/ 213 h 512"/>
              <a:gd name="T54" fmla="*/ 138 w 512"/>
              <a:gd name="T55" fmla="*/ 245 h 512"/>
              <a:gd name="T56" fmla="*/ 106 w 512"/>
              <a:gd name="T57" fmla="*/ 245 h 512"/>
              <a:gd name="T58" fmla="*/ 96 w 512"/>
              <a:gd name="T59" fmla="*/ 256 h 512"/>
              <a:gd name="T60" fmla="*/ 96 w 512"/>
              <a:gd name="T61" fmla="*/ 362 h 512"/>
              <a:gd name="T62" fmla="*/ 106 w 512"/>
              <a:gd name="T63" fmla="*/ 373 h 512"/>
              <a:gd name="T64" fmla="*/ 266 w 512"/>
              <a:gd name="T65" fmla="*/ 373 h 512"/>
              <a:gd name="T66" fmla="*/ 277 w 512"/>
              <a:gd name="T67" fmla="*/ 362 h 512"/>
              <a:gd name="T68" fmla="*/ 277 w 512"/>
              <a:gd name="T69" fmla="*/ 256 h 512"/>
              <a:gd name="T70" fmla="*/ 413 w 512"/>
              <a:gd name="T71" fmla="*/ 259 h 512"/>
              <a:gd name="T72" fmla="*/ 362 w 512"/>
              <a:gd name="T73" fmla="*/ 209 h 512"/>
              <a:gd name="T74" fmla="*/ 374 w 512"/>
              <a:gd name="T75" fmla="*/ 174 h 512"/>
              <a:gd name="T76" fmla="*/ 356 w 512"/>
              <a:gd name="T77" fmla="*/ 131 h 512"/>
              <a:gd name="T78" fmla="*/ 313 w 512"/>
              <a:gd name="T79" fmla="*/ 113 h 512"/>
              <a:gd name="T80" fmla="*/ 269 w 512"/>
              <a:gd name="T81" fmla="*/ 131 h 512"/>
              <a:gd name="T82" fmla="*/ 252 w 512"/>
              <a:gd name="T83" fmla="*/ 174 h 512"/>
              <a:gd name="T84" fmla="*/ 269 w 512"/>
              <a:gd name="T85" fmla="*/ 217 h 512"/>
              <a:gd name="T86" fmla="*/ 313 w 512"/>
              <a:gd name="T87" fmla="*/ 235 h 512"/>
              <a:gd name="T88" fmla="*/ 347 w 512"/>
              <a:gd name="T89" fmla="*/ 224 h 512"/>
              <a:gd name="T90" fmla="*/ 397 w 512"/>
              <a:gd name="T91" fmla="*/ 274 h 512"/>
              <a:gd name="T92" fmla="*/ 405 w 512"/>
              <a:gd name="T93" fmla="*/ 277 h 512"/>
              <a:gd name="T94" fmla="*/ 413 w 512"/>
              <a:gd name="T95" fmla="*/ 274 h 512"/>
              <a:gd name="T96" fmla="*/ 413 w 512"/>
              <a:gd name="T97" fmla="*/ 259 h 512"/>
              <a:gd name="T98" fmla="*/ 117 w 512"/>
              <a:gd name="T99" fmla="*/ 352 h 512"/>
              <a:gd name="T100" fmla="*/ 138 w 512"/>
              <a:gd name="T101" fmla="*/ 352 h 512"/>
              <a:gd name="T102" fmla="*/ 138 w 512"/>
              <a:gd name="T103" fmla="*/ 266 h 512"/>
              <a:gd name="T104" fmla="*/ 117 w 512"/>
              <a:gd name="T105" fmla="*/ 266 h 512"/>
              <a:gd name="T106" fmla="*/ 117 w 512"/>
              <a:gd name="T107" fmla="*/ 352 h 512"/>
              <a:gd name="T108" fmla="*/ 313 w 512"/>
              <a:gd name="T109" fmla="*/ 134 h 512"/>
              <a:gd name="T110" fmla="*/ 285 w 512"/>
              <a:gd name="T111" fmla="*/ 146 h 512"/>
              <a:gd name="T112" fmla="*/ 285 w 512"/>
              <a:gd name="T113" fmla="*/ 202 h 512"/>
              <a:gd name="T114" fmla="*/ 341 w 512"/>
              <a:gd name="T115" fmla="*/ 202 h 512"/>
              <a:gd name="T116" fmla="*/ 352 w 512"/>
              <a:gd name="T117" fmla="*/ 174 h 512"/>
              <a:gd name="T118" fmla="*/ 341 w 512"/>
              <a:gd name="T119" fmla="*/ 146 h 512"/>
              <a:gd name="T120" fmla="*/ 313 w 512"/>
              <a:gd name="T121" fmla="*/ 1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60" y="224"/>
                </a:moveTo>
                <a:cubicBezTo>
                  <a:pt x="213" y="224"/>
                  <a:pt x="213" y="224"/>
                  <a:pt x="213" y="224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160" y="245"/>
                  <a:pt x="160" y="245"/>
                  <a:pt x="160" y="245"/>
                </a:cubicBezTo>
                <a:lnTo>
                  <a:pt x="160" y="224"/>
                </a:lnTo>
                <a:close/>
                <a:moveTo>
                  <a:pt x="234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56" y="266"/>
                  <a:pt x="256" y="266"/>
                  <a:pt x="256" y="266"/>
                </a:cubicBezTo>
                <a:cubicBezTo>
                  <a:pt x="234" y="266"/>
                  <a:pt x="234" y="266"/>
                  <a:pt x="234" y="266"/>
                </a:cubicBezTo>
                <a:lnTo>
                  <a:pt x="234" y="352"/>
                </a:lnTo>
                <a:close/>
                <a:moveTo>
                  <a:pt x="160" y="352"/>
                </a:moveTo>
                <a:cubicBezTo>
                  <a:pt x="213" y="352"/>
                  <a:pt x="213" y="352"/>
                  <a:pt x="213" y="352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60" y="266"/>
                  <a:pt x="160" y="266"/>
                  <a:pt x="160" y="266"/>
                </a:cubicBezTo>
                <a:lnTo>
                  <a:pt x="160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77" y="256"/>
                </a:moveTo>
                <a:cubicBezTo>
                  <a:pt x="277" y="250"/>
                  <a:pt x="272" y="245"/>
                  <a:pt x="266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207"/>
                  <a:pt x="230" y="202"/>
                  <a:pt x="224" y="202"/>
                </a:cubicBezTo>
                <a:cubicBezTo>
                  <a:pt x="149" y="202"/>
                  <a:pt x="149" y="202"/>
                  <a:pt x="149" y="202"/>
                </a:cubicBezTo>
                <a:cubicBezTo>
                  <a:pt x="143" y="202"/>
                  <a:pt x="138" y="207"/>
                  <a:pt x="138" y="213"/>
                </a:cubicBezTo>
                <a:cubicBezTo>
                  <a:pt x="138" y="245"/>
                  <a:pt x="138" y="245"/>
                  <a:pt x="13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50"/>
                  <a:pt x="96" y="256"/>
                </a:cubicBezTo>
                <a:cubicBezTo>
                  <a:pt x="96" y="362"/>
                  <a:pt x="96" y="362"/>
                  <a:pt x="96" y="362"/>
                </a:cubicBezTo>
                <a:cubicBezTo>
                  <a:pt x="96" y="368"/>
                  <a:pt x="100" y="373"/>
                  <a:pt x="106" y="373"/>
                </a:cubicBezTo>
                <a:cubicBezTo>
                  <a:pt x="266" y="373"/>
                  <a:pt x="266" y="373"/>
                  <a:pt x="266" y="373"/>
                </a:cubicBezTo>
                <a:cubicBezTo>
                  <a:pt x="272" y="373"/>
                  <a:pt x="277" y="368"/>
                  <a:pt x="277" y="362"/>
                </a:cubicBezTo>
                <a:lnTo>
                  <a:pt x="277" y="256"/>
                </a:lnTo>
                <a:close/>
                <a:moveTo>
                  <a:pt x="413" y="259"/>
                </a:moveTo>
                <a:cubicBezTo>
                  <a:pt x="362" y="209"/>
                  <a:pt x="362" y="209"/>
                  <a:pt x="362" y="209"/>
                </a:cubicBezTo>
                <a:cubicBezTo>
                  <a:pt x="370" y="199"/>
                  <a:pt x="374" y="187"/>
                  <a:pt x="374" y="174"/>
                </a:cubicBezTo>
                <a:cubicBezTo>
                  <a:pt x="374" y="158"/>
                  <a:pt x="367" y="142"/>
                  <a:pt x="356" y="131"/>
                </a:cubicBezTo>
                <a:cubicBezTo>
                  <a:pt x="344" y="119"/>
                  <a:pt x="329" y="113"/>
                  <a:pt x="313" y="113"/>
                </a:cubicBezTo>
                <a:cubicBezTo>
                  <a:pt x="296" y="113"/>
                  <a:pt x="281" y="119"/>
                  <a:pt x="269" y="131"/>
                </a:cubicBezTo>
                <a:cubicBezTo>
                  <a:pt x="258" y="142"/>
                  <a:pt x="252" y="158"/>
                  <a:pt x="252" y="174"/>
                </a:cubicBezTo>
                <a:cubicBezTo>
                  <a:pt x="252" y="190"/>
                  <a:pt x="258" y="205"/>
                  <a:pt x="269" y="217"/>
                </a:cubicBezTo>
                <a:cubicBezTo>
                  <a:pt x="281" y="229"/>
                  <a:pt x="296" y="235"/>
                  <a:pt x="313" y="235"/>
                </a:cubicBezTo>
                <a:cubicBezTo>
                  <a:pt x="325" y="235"/>
                  <a:pt x="337" y="231"/>
                  <a:pt x="347" y="224"/>
                </a:cubicBezTo>
                <a:cubicBezTo>
                  <a:pt x="397" y="274"/>
                  <a:pt x="397" y="274"/>
                  <a:pt x="397" y="274"/>
                </a:cubicBezTo>
                <a:cubicBezTo>
                  <a:pt x="400" y="276"/>
                  <a:pt x="402" y="277"/>
                  <a:pt x="405" y="277"/>
                </a:cubicBezTo>
                <a:cubicBezTo>
                  <a:pt x="408" y="277"/>
                  <a:pt x="410" y="276"/>
                  <a:pt x="413" y="274"/>
                </a:cubicBezTo>
                <a:cubicBezTo>
                  <a:pt x="417" y="270"/>
                  <a:pt x="417" y="263"/>
                  <a:pt x="413" y="259"/>
                </a:cubicBezTo>
                <a:close/>
                <a:moveTo>
                  <a:pt x="117" y="352"/>
                </a:moveTo>
                <a:cubicBezTo>
                  <a:pt x="138" y="352"/>
                  <a:pt x="138" y="352"/>
                  <a:pt x="138" y="352"/>
                </a:cubicBezTo>
                <a:cubicBezTo>
                  <a:pt x="138" y="266"/>
                  <a:pt x="138" y="266"/>
                  <a:pt x="138" y="266"/>
                </a:cubicBezTo>
                <a:cubicBezTo>
                  <a:pt x="117" y="266"/>
                  <a:pt x="117" y="266"/>
                  <a:pt x="117" y="266"/>
                </a:cubicBezTo>
                <a:lnTo>
                  <a:pt x="117" y="352"/>
                </a:lnTo>
                <a:close/>
                <a:moveTo>
                  <a:pt x="313" y="134"/>
                </a:moveTo>
                <a:cubicBezTo>
                  <a:pt x="302" y="134"/>
                  <a:pt x="292" y="138"/>
                  <a:pt x="285" y="146"/>
                </a:cubicBezTo>
                <a:cubicBezTo>
                  <a:pt x="269" y="161"/>
                  <a:pt x="269" y="186"/>
                  <a:pt x="285" y="202"/>
                </a:cubicBezTo>
                <a:cubicBezTo>
                  <a:pt x="300" y="217"/>
                  <a:pt x="325" y="217"/>
                  <a:pt x="341" y="202"/>
                </a:cubicBezTo>
                <a:cubicBezTo>
                  <a:pt x="348" y="194"/>
                  <a:pt x="352" y="184"/>
                  <a:pt x="352" y="174"/>
                </a:cubicBezTo>
                <a:cubicBezTo>
                  <a:pt x="352" y="163"/>
                  <a:pt x="348" y="153"/>
                  <a:pt x="341" y="146"/>
                </a:cubicBezTo>
                <a:cubicBezTo>
                  <a:pt x="333" y="138"/>
                  <a:pt x="323" y="134"/>
                  <a:pt x="313" y="1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5163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6" y="2051050"/>
            <a:ext cx="2873000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r>
              <a:rPr lang="en-US" sz="1200" dirty="0"/>
              <a:t>To Generate a SSH Key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3440640"/>
            <a:ext cx="5996133" cy="21252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23821" lvl="1" indent="-123821">
              <a:spcBef>
                <a:spcPts val="650"/>
              </a:spcBef>
              <a:buSzPct val="100000"/>
              <a:buFont typeface="Arial"/>
              <a:buChar char="•"/>
              <a:defRPr/>
            </a:pPr>
            <a:r>
              <a:rPr lang="en-US" sz="1000" dirty="0"/>
              <a:t>Download and install GIT Bash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	</a:t>
            </a:r>
            <a:r>
              <a:rPr lang="en-US" sz="1200" dirty="0" err="1">
                <a:latin typeface="Courier MonoThai" panose="02070309020205020404" pitchFamily="49" charset="0"/>
                <a:cs typeface="Courier MonoThai" panose="02070309020205020404" pitchFamily="49" charset="0"/>
              </a:rPr>
              <a:t>ssh</a:t>
            </a: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-keygen</a:t>
            </a:r>
          </a:p>
          <a:p>
            <a:pPr marL="123821" lvl="1" indent="-123821">
              <a:spcBef>
                <a:spcPts val="650"/>
              </a:spcBef>
              <a:buSzPct val="100000"/>
              <a:buFont typeface="Arial"/>
              <a:buChar char="•"/>
              <a:defRPr/>
            </a:pPr>
            <a:r>
              <a:rPr lang="en-US" sz="1000" dirty="0"/>
              <a:t>Prompts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r>
              <a:rPr lang="en-US" sz="1000" dirty="0"/>
              <a:t>	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Enter file in which to save the key (/c/Users/</a:t>
            </a:r>
            <a:r>
              <a:rPr lang="en-US" sz="1000" dirty="0" err="1">
                <a:latin typeface="Courier MonoThai" panose="02070309020205020404" pitchFamily="49" charset="0"/>
                <a:cs typeface="Courier MonoThai" panose="02070309020205020404" pitchFamily="49" charset="0"/>
              </a:rPr>
              <a:t>viboyina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/.</a:t>
            </a:r>
            <a:r>
              <a:rPr lang="en-US" sz="1000" dirty="0" err="1">
                <a:latin typeface="Courier MonoThai" panose="02070309020205020404" pitchFamily="49" charset="0"/>
                <a:cs typeface="Courier MonoThai" panose="02070309020205020404" pitchFamily="49" charset="0"/>
              </a:rPr>
              <a:t>ssh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/</a:t>
            </a:r>
            <a:r>
              <a:rPr lang="en-US" sz="1000" dirty="0" err="1">
                <a:latin typeface="Courier MonoThai" panose="02070309020205020404" pitchFamily="49" charset="0"/>
                <a:cs typeface="Courier MonoThai" panose="02070309020205020404" pitchFamily="49" charset="0"/>
              </a:rPr>
              <a:t>id_rsa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):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Generates 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id_rsa.pub </a:t>
            </a:r>
            <a:r>
              <a:rPr lang="en-US" sz="1000" dirty="0"/>
              <a:t>file under the above mentioned location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Login to Bitbucket /GitHub repository in the browser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Navigate to manage account -&gt; SSH Keys -&gt; Add Key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Copy-paste the content from 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id_rsa.pub </a:t>
            </a:r>
            <a:r>
              <a:rPr lang="en-US" sz="1000" dirty="0"/>
              <a:t>and save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endParaRPr lang="en-US" sz="1000" dirty="0"/>
          </a:p>
        </p:txBody>
      </p:sp>
      <p:grpSp>
        <p:nvGrpSpPr>
          <p:cNvPr id="19" name="Group 294" descr="command">
            <a:extLst>
              <a:ext uri="{FF2B5EF4-FFF2-40B4-BE49-F238E27FC236}">
                <a16:creationId xmlns:a16="http://schemas.microsoft.com/office/drawing/2014/main" id="{B25475ED-AEE7-4CE9-80BC-35D290120E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2509" y="3669842"/>
            <a:ext cx="198783" cy="198783"/>
            <a:chOff x="799" y="1118"/>
            <a:chExt cx="340" cy="340"/>
          </a:xfrm>
          <a:solidFill>
            <a:schemeClr val="accent4"/>
          </a:solidFill>
        </p:grpSpPr>
        <p:sp>
          <p:nvSpPr>
            <p:cNvPr id="20" name="Freeform 295">
              <a:extLst>
                <a:ext uri="{FF2B5EF4-FFF2-40B4-BE49-F238E27FC236}">
                  <a16:creationId xmlns:a16="http://schemas.microsoft.com/office/drawing/2014/main" id="{0D0E01FB-20FF-4ABF-83C8-4A6CC306FA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Rectangle 296">
              <a:extLst>
                <a:ext uri="{FF2B5EF4-FFF2-40B4-BE49-F238E27FC236}">
                  <a16:creationId xmlns:a16="http://schemas.microsoft.com/office/drawing/2014/main" id="{933549FA-13A2-4157-A459-3CB59B75DE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" name="Group 493" descr="question/option">
            <a:extLst>
              <a:ext uri="{FF2B5EF4-FFF2-40B4-BE49-F238E27FC236}">
                <a16:creationId xmlns:a16="http://schemas.microsoft.com/office/drawing/2014/main" id="{3FF9CE0D-8629-42E0-AEF5-671622923B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2509" y="4184393"/>
            <a:ext cx="201674" cy="201674"/>
            <a:chOff x="6194" y="1960"/>
            <a:chExt cx="340" cy="340"/>
          </a:xfrm>
          <a:solidFill>
            <a:schemeClr val="accent6"/>
          </a:solidFill>
        </p:grpSpPr>
        <p:sp>
          <p:nvSpPr>
            <p:cNvPr id="23" name="Freeform 494">
              <a:extLst>
                <a:ext uri="{FF2B5EF4-FFF2-40B4-BE49-F238E27FC236}">
                  <a16:creationId xmlns:a16="http://schemas.microsoft.com/office/drawing/2014/main" id="{DD69813D-2A28-45AF-9382-C54339B78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" y="2038"/>
              <a:ext cx="97" cy="127"/>
            </a:xfrm>
            <a:custGeom>
              <a:avLst/>
              <a:gdLst>
                <a:gd name="T0" fmla="*/ 72 w 146"/>
                <a:gd name="T1" fmla="*/ 0 h 192"/>
                <a:gd name="T2" fmla="*/ 0 w 146"/>
                <a:gd name="T3" fmla="*/ 54 h 192"/>
                <a:gd name="T4" fmla="*/ 22 w 146"/>
                <a:gd name="T5" fmla="*/ 56 h 192"/>
                <a:gd name="T6" fmla="*/ 72 w 146"/>
                <a:gd name="T7" fmla="*/ 21 h 192"/>
                <a:gd name="T8" fmla="*/ 125 w 146"/>
                <a:gd name="T9" fmla="*/ 75 h 192"/>
                <a:gd name="T10" fmla="*/ 72 w 146"/>
                <a:gd name="T11" fmla="*/ 128 h 192"/>
                <a:gd name="T12" fmla="*/ 61 w 146"/>
                <a:gd name="T13" fmla="*/ 128 h 192"/>
                <a:gd name="T14" fmla="*/ 61 w 146"/>
                <a:gd name="T15" fmla="*/ 192 h 192"/>
                <a:gd name="T16" fmla="*/ 82 w 146"/>
                <a:gd name="T17" fmla="*/ 192 h 192"/>
                <a:gd name="T18" fmla="*/ 82 w 146"/>
                <a:gd name="T19" fmla="*/ 157 h 192"/>
                <a:gd name="T20" fmla="*/ 90 w 146"/>
                <a:gd name="T21" fmla="*/ 147 h 192"/>
                <a:gd name="T22" fmla="*/ 146 w 146"/>
                <a:gd name="T23" fmla="*/ 75 h 192"/>
                <a:gd name="T24" fmla="*/ 72 w 146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" h="192">
                  <a:moveTo>
                    <a:pt x="72" y="0"/>
                  </a:moveTo>
                  <a:cubicBezTo>
                    <a:pt x="38" y="0"/>
                    <a:pt x="9" y="22"/>
                    <a:pt x="0" y="54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9" y="35"/>
                    <a:pt x="49" y="21"/>
                    <a:pt x="72" y="21"/>
                  </a:cubicBezTo>
                  <a:cubicBezTo>
                    <a:pt x="101" y="21"/>
                    <a:pt x="125" y="45"/>
                    <a:pt x="125" y="75"/>
                  </a:cubicBezTo>
                  <a:cubicBezTo>
                    <a:pt x="125" y="104"/>
                    <a:pt x="101" y="128"/>
                    <a:pt x="72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2"/>
                    <a:pt x="86" y="148"/>
                    <a:pt x="90" y="147"/>
                  </a:cubicBezTo>
                  <a:cubicBezTo>
                    <a:pt x="123" y="138"/>
                    <a:pt x="146" y="109"/>
                    <a:pt x="146" y="75"/>
                  </a:cubicBezTo>
                  <a:cubicBezTo>
                    <a:pt x="146" y="33"/>
                    <a:pt x="113" y="0"/>
                    <a:pt x="7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95">
              <a:extLst>
                <a:ext uri="{FF2B5EF4-FFF2-40B4-BE49-F238E27FC236}">
                  <a16:creationId xmlns:a16="http://schemas.microsoft.com/office/drawing/2014/main" id="{3F4FF13A-0608-4FAF-9C37-02A935B59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4" y="196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16 h 512"/>
                <a:gd name="T12" fmla="*/ 224 w 512"/>
                <a:gd name="T13" fmla="*/ 384 h 512"/>
                <a:gd name="T14" fmla="*/ 256 w 512"/>
                <a:gd name="T15" fmla="*/ 352 h 512"/>
                <a:gd name="T16" fmla="*/ 288 w 512"/>
                <a:gd name="T17" fmla="*/ 384 h 512"/>
                <a:gd name="T18" fmla="*/ 256 w 512"/>
                <a:gd name="T19" fmla="*/ 416 h 512"/>
                <a:gd name="T20" fmla="*/ 288 w 512"/>
                <a:gd name="T21" fmla="*/ 282 h 512"/>
                <a:gd name="T22" fmla="*/ 288 w 512"/>
                <a:gd name="T23" fmla="*/ 320 h 512"/>
                <a:gd name="T24" fmla="*/ 277 w 512"/>
                <a:gd name="T25" fmla="*/ 330 h 512"/>
                <a:gd name="T26" fmla="*/ 234 w 512"/>
                <a:gd name="T27" fmla="*/ 330 h 512"/>
                <a:gd name="T28" fmla="*/ 224 w 512"/>
                <a:gd name="T29" fmla="*/ 320 h 512"/>
                <a:gd name="T30" fmla="*/ 224 w 512"/>
                <a:gd name="T31" fmla="*/ 234 h 512"/>
                <a:gd name="T32" fmla="*/ 227 w 512"/>
                <a:gd name="T33" fmla="*/ 227 h 512"/>
                <a:gd name="T34" fmla="*/ 234 w 512"/>
                <a:gd name="T35" fmla="*/ 224 h 512"/>
                <a:gd name="T36" fmla="*/ 256 w 512"/>
                <a:gd name="T37" fmla="*/ 224 h 512"/>
                <a:gd name="T38" fmla="*/ 288 w 512"/>
                <a:gd name="T39" fmla="*/ 192 h 512"/>
                <a:gd name="T40" fmla="*/ 256 w 512"/>
                <a:gd name="T41" fmla="*/ 160 h 512"/>
                <a:gd name="T42" fmla="*/ 224 w 512"/>
                <a:gd name="T43" fmla="*/ 186 h 512"/>
                <a:gd name="T44" fmla="*/ 214 w 512"/>
                <a:gd name="T45" fmla="*/ 195 h 512"/>
                <a:gd name="T46" fmla="*/ 171 w 512"/>
                <a:gd name="T47" fmla="*/ 192 h 512"/>
                <a:gd name="T48" fmla="*/ 161 w 512"/>
                <a:gd name="T49" fmla="*/ 181 h 512"/>
                <a:gd name="T50" fmla="*/ 161 w 512"/>
                <a:gd name="T51" fmla="*/ 176 h 512"/>
                <a:gd name="T52" fmla="*/ 256 w 512"/>
                <a:gd name="T53" fmla="*/ 96 h 512"/>
                <a:gd name="T54" fmla="*/ 352 w 512"/>
                <a:gd name="T55" fmla="*/ 192 h 512"/>
                <a:gd name="T56" fmla="*/ 288 w 512"/>
                <a:gd name="T57" fmla="*/ 2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238" y="416"/>
                    <a:pt x="224" y="401"/>
                    <a:pt x="224" y="384"/>
                  </a:cubicBezTo>
                  <a:cubicBezTo>
                    <a:pt x="224" y="366"/>
                    <a:pt x="238" y="352"/>
                    <a:pt x="256" y="352"/>
                  </a:cubicBezTo>
                  <a:cubicBezTo>
                    <a:pt x="273" y="352"/>
                    <a:pt x="288" y="366"/>
                    <a:pt x="288" y="384"/>
                  </a:cubicBezTo>
                  <a:cubicBezTo>
                    <a:pt x="288" y="401"/>
                    <a:pt x="273" y="416"/>
                    <a:pt x="256" y="416"/>
                  </a:cubicBezTo>
                  <a:close/>
                  <a:moveTo>
                    <a:pt x="288" y="282"/>
                  </a:move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24" y="232"/>
                    <a:pt x="225" y="229"/>
                    <a:pt x="227" y="227"/>
                  </a:cubicBezTo>
                  <a:cubicBezTo>
                    <a:pt x="229" y="225"/>
                    <a:pt x="231" y="224"/>
                    <a:pt x="234" y="224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72" y="224"/>
                    <a:pt x="288" y="208"/>
                    <a:pt x="288" y="192"/>
                  </a:cubicBezTo>
                  <a:cubicBezTo>
                    <a:pt x="288" y="174"/>
                    <a:pt x="273" y="160"/>
                    <a:pt x="256" y="160"/>
                  </a:cubicBezTo>
                  <a:cubicBezTo>
                    <a:pt x="240" y="160"/>
                    <a:pt x="227" y="171"/>
                    <a:pt x="224" y="186"/>
                  </a:cubicBezTo>
                  <a:cubicBezTo>
                    <a:pt x="223" y="191"/>
                    <a:pt x="219" y="195"/>
                    <a:pt x="214" y="195"/>
                  </a:cubicBezTo>
                  <a:cubicBezTo>
                    <a:pt x="171" y="192"/>
                    <a:pt x="171" y="192"/>
                    <a:pt x="171" y="192"/>
                  </a:cubicBezTo>
                  <a:cubicBezTo>
                    <a:pt x="165" y="191"/>
                    <a:pt x="161" y="187"/>
                    <a:pt x="161" y="181"/>
                  </a:cubicBezTo>
                  <a:cubicBezTo>
                    <a:pt x="161" y="181"/>
                    <a:pt x="161" y="178"/>
                    <a:pt x="161" y="176"/>
                  </a:cubicBezTo>
                  <a:cubicBezTo>
                    <a:pt x="169" y="129"/>
                    <a:pt x="208" y="96"/>
                    <a:pt x="256" y="96"/>
                  </a:cubicBezTo>
                  <a:cubicBezTo>
                    <a:pt x="309" y="96"/>
                    <a:pt x="352" y="139"/>
                    <a:pt x="352" y="192"/>
                  </a:cubicBezTo>
                  <a:cubicBezTo>
                    <a:pt x="352" y="233"/>
                    <a:pt x="326" y="269"/>
                    <a:pt x="288" y="2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496">
              <a:extLst>
                <a:ext uri="{FF2B5EF4-FFF2-40B4-BE49-F238E27FC236}">
                  <a16:creationId xmlns:a16="http://schemas.microsoft.com/office/drawing/2014/main" id="{B3B6F790-6A61-43D2-813C-5059440F5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7" y="2208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A1FCA-99B5-4F23-BBBD-EB467C6069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7DC690-B9B4-4C90-B971-8D560FC1A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87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6" y="2051050"/>
            <a:ext cx="2873000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r>
              <a:rPr lang="en-US" sz="1200" dirty="0"/>
              <a:t>To Clone the entire repository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3440640"/>
            <a:ext cx="5996133" cy="21252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Navigate to the desired location to place the project source code such as 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	</a:t>
            </a: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c:\Repo or c:\workspace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	git clone &lt;</a:t>
            </a:r>
            <a:r>
              <a:rPr lang="en-US" sz="1200" dirty="0" err="1">
                <a:latin typeface="Courier MonoThai" panose="02070309020205020404" pitchFamily="49" charset="0"/>
                <a:cs typeface="Courier MonoThai" panose="02070309020205020404" pitchFamily="49" charset="0"/>
              </a:rPr>
              <a:t>repository_url</a:t>
            </a: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&gt;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Navigate inside the folder clone and start your git operations</a:t>
            </a:r>
          </a:p>
          <a:p>
            <a:pPr marL="0" lvl="1">
              <a:spcBef>
                <a:spcPts val="650"/>
              </a:spcBef>
              <a:buSzPct val="100000"/>
              <a:defRPr/>
            </a:pPr>
            <a:endParaRPr lang="en-US" sz="1000" dirty="0"/>
          </a:p>
        </p:txBody>
      </p:sp>
      <p:grpSp>
        <p:nvGrpSpPr>
          <p:cNvPr id="19" name="Group 294" descr="command">
            <a:extLst>
              <a:ext uri="{FF2B5EF4-FFF2-40B4-BE49-F238E27FC236}">
                <a16:creationId xmlns:a16="http://schemas.microsoft.com/office/drawing/2014/main" id="{B25475ED-AEE7-4CE9-80BC-35D290120E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2509" y="3894603"/>
            <a:ext cx="198783" cy="198783"/>
            <a:chOff x="799" y="1118"/>
            <a:chExt cx="340" cy="340"/>
          </a:xfrm>
          <a:solidFill>
            <a:schemeClr val="accent4"/>
          </a:solidFill>
        </p:grpSpPr>
        <p:sp>
          <p:nvSpPr>
            <p:cNvPr id="20" name="Freeform 295">
              <a:extLst>
                <a:ext uri="{FF2B5EF4-FFF2-40B4-BE49-F238E27FC236}">
                  <a16:creationId xmlns:a16="http://schemas.microsoft.com/office/drawing/2014/main" id="{0D0E01FB-20FF-4ABF-83C8-4A6CC306FA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Rectangle 296">
              <a:extLst>
                <a:ext uri="{FF2B5EF4-FFF2-40B4-BE49-F238E27FC236}">
                  <a16:creationId xmlns:a16="http://schemas.microsoft.com/office/drawing/2014/main" id="{933549FA-13A2-4157-A459-3CB59B75DE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" name="Freeform 889">
            <a:extLst>
              <a:ext uri="{FF2B5EF4-FFF2-40B4-BE49-F238E27FC236}">
                <a16:creationId xmlns:a16="http://schemas.microsoft.com/office/drawing/2014/main" id="{A57F707D-A6D4-4780-B614-F4CA1DFAC6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57906" y="3629683"/>
            <a:ext cx="262583" cy="239414"/>
          </a:xfrm>
          <a:custGeom>
            <a:avLst/>
            <a:gdLst>
              <a:gd name="T0" fmla="*/ 281 w 562"/>
              <a:gd name="T1" fmla="*/ 21 h 512"/>
              <a:gd name="T2" fmla="*/ 447 w 562"/>
              <a:gd name="T3" fmla="*/ 90 h 512"/>
              <a:gd name="T4" fmla="*/ 447 w 562"/>
              <a:gd name="T5" fmla="*/ 422 h 512"/>
              <a:gd name="T6" fmla="*/ 281 w 562"/>
              <a:gd name="T7" fmla="*/ 490 h 512"/>
              <a:gd name="T8" fmla="*/ 115 w 562"/>
              <a:gd name="T9" fmla="*/ 422 h 512"/>
              <a:gd name="T10" fmla="*/ 115 w 562"/>
              <a:gd name="T11" fmla="*/ 90 h 512"/>
              <a:gd name="T12" fmla="*/ 281 w 562"/>
              <a:gd name="T13" fmla="*/ 21 h 512"/>
              <a:gd name="T14" fmla="*/ 281 w 562"/>
              <a:gd name="T15" fmla="*/ 0 h 512"/>
              <a:gd name="T16" fmla="*/ 100 w 562"/>
              <a:gd name="T17" fmla="*/ 75 h 512"/>
              <a:gd name="T18" fmla="*/ 100 w 562"/>
              <a:gd name="T19" fmla="*/ 437 h 512"/>
              <a:gd name="T20" fmla="*/ 281 w 562"/>
              <a:gd name="T21" fmla="*/ 512 h 512"/>
              <a:gd name="T22" fmla="*/ 462 w 562"/>
              <a:gd name="T23" fmla="*/ 437 h 512"/>
              <a:gd name="T24" fmla="*/ 462 w 562"/>
              <a:gd name="T25" fmla="*/ 75 h 512"/>
              <a:gd name="T26" fmla="*/ 281 w 562"/>
              <a:gd name="T27" fmla="*/ 0 h 512"/>
              <a:gd name="T28" fmla="*/ 409 w 562"/>
              <a:gd name="T29" fmla="*/ 213 h 512"/>
              <a:gd name="T30" fmla="*/ 302 w 562"/>
              <a:gd name="T31" fmla="*/ 213 h 512"/>
              <a:gd name="T32" fmla="*/ 403 w 562"/>
              <a:gd name="T33" fmla="*/ 149 h 512"/>
              <a:gd name="T34" fmla="*/ 414 w 562"/>
              <a:gd name="T35" fmla="*/ 138 h 512"/>
              <a:gd name="T36" fmla="*/ 403 w 562"/>
              <a:gd name="T37" fmla="*/ 128 h 512"/>
              <a:gd name="T38" fmla="*/ 280 w 562"/>
              <a:gd name="T39" fmla="*/ 213 h 512"/>
              <a:gd name="T40" fmla="*/ 246 w 562"/>
              <a:gd name="T41" fmla="*/ 213 h 512"/>
              <a:gd name="T42" fmla="*/ 232 w 562"/>
              <a:gd name="T43" fmla="*/ 196 h 512"/>
              <a:gd name="T44" fmla="*/ 224 w 562"/>
              <a:gd name="T45" fmla="*/ 192 h 512"/>
              <a:gd name="T46" fmla="*/ 153 w 562"/>
              <a:gd name="T47" fmla="*/ 192 h 512"/>
              <a:gd name="T48" fmla="*/ 142 w 562"/>
              <a:gd name="T49" fmla="*/ 202 h 512"/>
              <a:gd name="T50" fmla="*/ 142 w 562"/>
              <a:gd name="T51" fmla="*/ 384 h 512"/>
              <a:gd name="T52" fmla="*/ 153 w 562"/>
              <a:gd name="T53" fmla="*/ 394 h 512"/>
              <a:gd name="T54" fmla="*/ 409 w 562"/>
              <a:gd name="T55" fmla="*/ 394 h 512"/>
              <a:gd name="T56" fmla="*/ 419 w 562"/>
              <a:gd name="T57" fmla="*/ 384 h 512"/>
              <a:gd name="T58" fmla="*/ 419 w 562"/>
              <a:gd name="T59" fmla="*/ 224 h 512"/>
              <a:gd name="T60" fmla="*/ 409 w 562"/>
              <a:gd name="T61" fmla="*/ 213 h 512"/>
              <a:gd name="T62" fmla="*/ 398 w 562"/>
              <a:gd name="T63" fmla="*/ 373 h 512"/>
              <a:gd name="T64" fmla="*/ 163 w 562"/>
              <a:gd name="T65" fmla="*/ 373 h 512"/>
              <a:gd name="T66" fmla="*/ 163 w 562"/>
              <a:gd name="T67" fmla="*/ 213 h 512"/>
              <a:gd name="T68" fmla="*/ 219 w 562"/>
              <a:gd name="T69" fmla="*/ 213 h 512"/>
              <a:gd name="T70" fmla="*/ 233 w 562"/>
              <a:gd name="T71" fmla="*/ 230 h 512"/>
              <a:gd name="T72" fmla="*/ 241 w 562"/>
              <a:gd name="T73" fmla="*/ 234 h 512"/>
              <a:gd name="T74" fmla="*/ 275 w 562"/>
              <a:gd name="T75" fmla="*/ 234 h 512"/>
              <a:gd name="T76" fmla="*/ 270 w 562"/>
              <a:gd name="T77" fmla="*/ 283 h 512"/>
              <a:gd name="T78" fmla="*/ 246 w 562"/>
              <a:gd name="T79" fmla="*/ 259 h 512"/>
              <a:gd name="T80" fmla="*/ 230 w 562"/>
              <a:gd name="T81" fmla="*/ 259 h 512"/>
              <a:gd name="T82" fmla="*/ 230 w 562"/>
              <a:gd name="T83" fmla="*/ 274 h 512"/>
              <a:gd name="T84" fmla="*/ 273 w 562"/>
              <a:gd name="T85" fmla="*/ 317 h 512"/>
              <a:gd name="T86" fmla="*/ 281 w 562"/>
              <a:gd name="T87" fmla="*/ 320 h 512"/>
              <a:gd name="T88" fmla="*/ 288 w 562"/>
              <a:gd name="T89" fmla="*/ 317 h 512"/>
              <a:gd name="T90" fmla="*/ 331 w 562"/>
              <a:gd name="T91" fmla="*/ 274 h 512"/>
              <a:gd name="T92" fmla="*/ 331 w 562"/>
              <a:gd name="T93" fmla="*/ 259 h 512"/>
              <a:gd name="T94" fmla="*/ 316 w 562"/>
              <a:gd name="T95" fmla="*/ 259 h 512"/>
              <a:gd name="T96" fmla="*/ 291 w 562"/>
              <a:gd name="T97" fmla="*/ 283 h 512"/>
              <a:gd name="T98" fmla="*/ 296 w 562"/>
              <a:gd name="T99" fmla="*/ 234 h 512"/>
              <a:gd name="T100" fmla="*/ 398 w 562"/>
              <a:gd name="T101" fmla="*/ 234 h 512"/>
              <a:gd name="T102" fmla="*/ 398 w 562"/>
              <a:gd name="T10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62" h="512">
                <a:moveTo>
                  <a:pt x="281" y="21"/>
                </a:moveTo>
                <a:cubicBezTo>
                  <a:pt x="343" y="21"/>
                  <a:pt x="402" y="45"/>
                  <a:pt x="447" y="90"/>
                </a:cubicBezTo>
                <a:cubicBezTo>
                  <a:pt x="538" y="181"/>
                  <a:pt x="538" y="330"/>
                  <a:pt x="447" y="422"/>
                </a:cubicBezTo>
                <a:cubicBezTo>
                  <a:pt x="402" y="466"/>
                  <a:pt x="343" y="490"/>
                  <a:pt x="281" y="490"/>
                </a:cubicBezTo>
                <a:cubicBezTo>
                  <a:pt x="218" y="490"/>
                  <a:pt x="159" y="466"/>
                  <a:pt x="115" y="422"/>
                </a:cubicBezTo>
                <a:cubicBezTo>
                  <a:pt x="23" y="330"/>
                  <a:pt x="23" y="181"/>
                  <a:pt x="115" y="90"/>
                </a:cubicBezTo>
                <a:cubicBezTo>
                  <a:pt x="159" y="45"/>
                  <a:pt x="218" y="21"/>
                  <a:pt x="281" y="21"/>
                </a:cubicBezTo>
                <a:moveTo>
                  <a:pt x="281" y="0"/>
                </a:moveTo>
                <a:cubicBezTo>
                  <a:pt x="215" y="0"/>
                  <a:pt x="150" y="25"/>
                  <a:pt x="100" y="75"/>
                </a:cubicBezTo>
                <a:cubicBezTo>
                  <a:pt x="0" y="175"/>
                  <a:pt x="0" y="337"/>
                  <a:pt x="100" y="437"/>
                </a:cubicBezTo>
                <a:cubicBezTo>
                  <a:pt x="150" y="487"/>
                  <a:pt x="215" y="512"/>
                  <a:pt x="281" y="512"/>
                </a:cubicBezTo>
                <a:cubicBezTo>
                  <a:pt x="346" y="512"/>
                  <a:pt x="412" y="487"/>
                  <a:pt x="462" y="437"/>
                </a:cubicBezTo>
                <a:cubicBezTo>
                  <a:pt x="562" y="337"/>
                  <a:pt x="562" y="175"/>
                  <a:pt x="462" y="75"/>
                </a:cubicBezTo>
                <a:cubicBezTo>
                  <a:pt x="412" y="25"/>
                  <a:pt x="346" y="0"/>
                  <a:pt x="281" y="0"/>
                </a:cubicBezTo>
                <a:close/>
                <a:moveTo>
                  <a:pt x="409" y="213"/>
                </a:moveTo>
                <a:cubicBezTo>
                  <a:pt x="302" y="213"/>
                  <a:pt x="302" y="213"/>
                  <a:pt x="302" y="213"/>
                </a:cubicBezTo>
                <a:cubicBezTo>
                  <a:pt x="318" y="170"/>
                  <a:pt x="351" y="149"/>
                  <a:pt x="403" y="149"/>
                </a:cubicBezTo>
                <a:cubicBezTo>
                  <a:pt x="409" y="149"/>
                  <a:pt x="414" y="144"/>
                  <a:pt x="414" y="138"/>
                </a:cubicBezTo>
                <a:cubicBezTo>
                  <a:pt x="414" y="132"/>
                  <a:pt x="409" y="128"/>
                  <a:pt x="403" y="128"/>
                </a:cubicBezTo>
                <a:cubicBezTo>
                  <a:pt x="339" y="128"/>
                  <a:pt x="298" y="156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cubicBezTo>
                  <a:pt x="419" y="224"/>
                  <a:pt x="419" y="224"/>
                  <a:pt x="419" y="224"/>
                </a:cubicBezTo>
                <a:cubicBezTo>
                  <a:pt x="419" y="218"/>
                  <a:pt x="415" y="213"/>
                  <a:pt x="409" y="213"/>
                </a:cubicBezTo>
                <a:close/>
                <a:moveTo>
                  <a:pt x="398" y="373"/>
                </a:move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49"/>
                  <a:pt x="270" y="266"/>
                  <a:pt x="270" y="283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1" y="255"/>
                  <a:pt x="235" y="255"/>
                  <a:pt x="230" y="259"/>
                </a:cubicBezTo>
                <a:cubicBezTo>
                  <a:pt x="226" y="263"/>
                  <a:pt x="226" y="270"/>
                  <a:pt x="230" y="274"/>
                </a:cubicBezTo>
                <a:cubicBezTo>
                  <a:pt x="273" y="317"/>
                  <a:pt x="273" y="317"/>
                  <a:pt x="273" y="317"/>
                </a:cubicBezTo>
                <a:cubicBezTo>
                  <a:pt x="275" y="319"/>
                  <a:pt x="278" y="320"/>
                  <a:pt x="281" y="320"/>
                </a:cubicBezTo>
                <a:cubicBezTo>
                  <a:pt x="283" y="320"/>
                  <a:pt x="286" y="319"/>
                  <a:pt x="288" y="317"/>
                </a:cubicBezTo>
                <a:cubicBezTo>
                  <a:pt x="331" y="274"/>
                  <a:pt x="331" y="274"/>
                  <a:pt x="331" y="274"/>
                </a:cubicBezTo>
                <a:cubicBezTo>
                  <a:pt x="335" y="270"/>
                  <a:pt x="335" y="263"/>
                  <a:pt x="331" y="259"/>
                </a:cubicBezTo>
                <a:cubicBezTo>
                  <a:pt x="327" y="255"/>
                  <a:pt x="320" y="255"/>
                  <a:pt x="316" y="259"/>
                </a:cubicBezTo>
                <a:cubicBezTo>
                  <a:pt x="291" y="283"/>
                  <a:pt x="291" y="283"/>
                  <a:pt x="291" y="283"/>
                </a:cubicBezTo>
                <a:cubicBezTo>
                  <a:pt x="292" y="265"/>
                  <a:pt x="293" y="249"/>
                  <a:pt x="296" y="234"/>
                </a:cubicBezTo>
                <a:cubicBezTo>
                  <a:pt x="398" y="234"/>
                  <a:pt x="398" y="234"/>
                  <a:pt x="398" y="234"/>
                </a:cubicBezTo>
                <a:lnTo>
                  <a:pt x="398" y="37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2E719BF-FC4C-4AC5-AC0E-D7C915C48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692E64E-B15D-4A22-BF2D-54EBA7561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20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6" y="1636198"/>
            <a:ext cx="2873000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r>
              <a:rPr lang="en-US" sz="1200" dirty="0"/>
              <a:t>To follow a branching discipline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2657352"/>
            <a:ext cx="5996133" cy="41840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Creating and naming a branch predominantly follows the name of the particular Jira feature which the work is intended to such as </a:t>
            </a:r>
          </a:p>
          <a:p>
            <a:pPr marL="565190" lvl="2" indent="-171450" algn="ctr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If the Jira issue id is ABCD-1234 the corresponding branch name should be</a:t>
            </a:r>
          </a:p>
          <a:p>
            <a:pPr marL="393740" lvl="2" algn="ctr">
              <a:spcBef>
                <a:spcPts val="650"/>
              </a:spcBef>
              <a:buSzPct val="100000"/>
              <a:defRPr/>
            </a:pPr>
            <a:r>
              <a:rPr lang="en-US" sz="1000" dirty="0"/>
              <a:t> </a:t>
            </a:r>
            <a:r>
              <a:rPr lang="en-US" sz="1000" b="1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feature/ABCD-1234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Creation of a branch can be achieved in two ways</a:t>
            </a:r>
          </a:p>
          <a:p>
            <a:pPr marL="622340" lvl="2" indent="-228600">
              <a:spcBef>
                <a:spcPts val="650"/>
              </a:spcBef>
              <a:buSzPct val="100000"/>
              <a:buFont typeface="+mj-lt"/>
              <a:buAutoNum type="alphaUcPeriod"/>
              <a:defRPr/>
            </a:pPr>
            <a:r>
              <a:rPr lang="en-US" sz="1000" dirty="0"/>
              <a:t>Create and push from Local Repository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git checkout -b </a:t>
            </a:r>
            <a:r>
              <a:rPr lang="en-US" sz="1000" b="1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feature/ABCD-1234</a:t>
            </a:r>
            <a:endParaRPr lang="en-US" sz="1000" dirty="0">
              <a:latin typeface="Courier MonoThai" panose="02070309020205020404" pitchFamily="49" charset="0"/>
              <a:cs typeface="Courier MonoThai" panose="02070309020205020404" pitchFamily="49" charset="0"/>
            </a:endParaRP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lphaUcPeriod"/>
              <a:defRPr/>
            </a:pPr>
            <a:endParaRPr lang="en-US" sz="1000" dirty="0">
              <a:latin typeface="Courier MonoThai" panose="02070309020205020404" pitchFamily="49" charset="0"/>
              <a:cs typeface="Courier MonoThai" panose="02070309020205020404" pitchFamily="49" charset="0"/>
            </a:endParaRP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git push origin </a:t>
            </a:r>
            <a:r>
              <a:rPr lang="en-US" sz="1000" b="1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feature/ABCD-1234</a:t>
            </a:r>
            <a:endParaRPr lang="en-US" sz="1000" dirty="0">
              <a:latin typeface="Courier MonoThai" panose="02070309020205020404" pitchFamily="49" charset="0"/>
              <a:cs typeface="Courier MonoThai" panose="02070309020205020404" pitchFamily="49" charset="0"/>
            </a:endParaRPr>
          </a:p>
          <a:p>
            <a:pPr marL="622340" lvl="2" indent="-228600">
              <a:spcBef>
                <a:spcPts val="650"/>
              </a:spcBef>
              <a:buSzPct val="100000"/>
              <a:buFont typeface="+mj-lt"/>
              <a:buAutoNum type="alphaUcPeriod"/>
              <a:defRPr/>
            </a:pPr>
            <a:r>
              <a:rPr lang="en-US" sz="1000" dirty="0"/>
              <a:t>Create and pull from Remote Repository(Bitbucket Browser UI)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From the left navigation click on Create Branch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From the options select the </a:t>
            </a:r>
            <a:r>
              <a:rPr lang="en-US" sz="1000" b="1" dirty="0"/>
              <a:t>Branch type</a:t>
            </a:r>
            <a:r>
              <a:rPr lang="en-US" sz="1000" dirty="0"/>
              <a:t> as </a:t>
            </a:r>
            <a:r>
              <a:rPr lang="en-US" sz="1000" i="1" dirty="0"/>
              <a:t>feature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i="1" dirty="0"/>
              <a:t>		     </a:t>
            </a:r>
            <a:r>
              <a:rPr lang="en-US" sz="1000" b="1" dirty="0"/>
              <a:t>From Branch </a:t>
            </a:r>
            <a:r>
              <a:rPr lang="en-US" sz="1000" dirty="0"/>
              <a:t>as</a:t>
            </a:r>
            <a:r>
              <a:rPr lang="en-US" sz="1000" i="1" dirty="0"/>
              <a:t> develop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		     </a:t>
            </a:r>
            <a:r>
              <a:rPr lang="en-US" sz="1000" b="1" dirty="0"/>
              <a:t>Branch Name</a:t>
            </a:r>
            <a:r>
              <a:rPr lang="en-US" sz="1000" dirty="0"/>
              <a:t> as </a:t>
            </a:r>
            <a:r>
              <a:rPr lang="en-US" sz="1000" b="1" i="1" dirty="0"/>
              <a:t>ABCD-1234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Click on Create branch button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rabicPeriod"/>
              <a:defRPr/>
            </a:pPr>
            <a:r>
              <a:rPr lang="en-US" sz="1000" dirty="0"/>
              <a:t>Back to Git Bash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/>
              <a:t>	</a:t>
            </a: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git pull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	git checkout feature/ABCD-1234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endParaRPr lang="en-US" sz="1000" dirty="0"/>
          </a:p>
        </p:txBody>
      </p:sp>
      <p:sp>
        <p:nvSpPr>
          <p:cNvPr id="10" name="Freeform 841">
            <a:extLst>
              <a:ext uri="{FF2B5EF4-FFF2-40B4-BE49-F238E27FC236}">
                <a16:creationId xmlns:a16="http://schemas.microsoft.com/office/drawing/2014/main" id="{2DCA33EF-145C-4E48-BDB3-6821A4E1635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46869" y="3244646"/>
            <a:ext cx="262584" cy="262584"/>
          </a:xfrm>
          <a:custGeom>
            <a:avLst/>
            <a:gdLst>
              <a:gd name="T0" fmla="*/ 213 w 512"/>
              <a:gd name="T1" fmla="*/ 128 h 512"/>
              <a:gd name="T2" fmla="*/ 202 w 512"/>
              <a:gd name="T3" fmla="*/ 138 h 512"/>
              <a:gd name="T4" fmla="*/ 192 w 512"/>
              <a:gd name="T5" fmla="*/ 128 h 512"/>
              <a:gd name="T6" fmla="*/ 202 w 512"/>
              <a:gd name="T7" fmla="*/ 117 h 512"/>
              <a:gd name="T8" fmla="*/ 213 w 512"/>
              <a:gd name="T9" fmla="*/ 128 h 512"/>
              <a:gd name="T10" fmla="*/ 309 w 512"/>
              <a:gd name="T11" fmla="*/ 373 h 512"/>
              <a:gd name="T12" fmla="*/ 298 w 512"/>
              <a:gd name="T13" fmla="*/ 384 h 512"/>
              <a:gd name="T14" fmla="*/ 309 w 512"/>
              <a:gd name="T15" fmla="*/ 394 h 512"/>
              <a:gd name="T16" fmla="*/ 320 w 512"/>
              <a:gd name="T17" fmla="*/ 384 h 512"/>
              <a:gd name="T18" fmla="*/ 309 w 512"/>
              <a:gd name="T19" fmla="*/ 373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20 w 512"/>
              <a:gd name="T31" fmla="*/ 354 h 512"/>
              <a:gd name="T32" fmla="*/ 320 w 512"/>
              <a:gd name="T33" fmla="*/ 158 h 512"/>
              <a:gd name="T34" fmla="*/ 341 w 512"/>
              <a:gd name="T35" fmla="*/ 128 h 512"/>
              <a:gd name="T36" fmla="*/ 309 w 512"/>
              <a:gd name="T37" fmla="*/ 96 h 512"/>
              <a:gd name="T38" fmla="*/ 277 w 512"/>
              <a:gd name="T39" fmla="*/ 128 h 512"/>
              <a:gd name="T40" fmla="*/ 298 w 512"/>
              <a:gd name="T41" fmla="*/ 158 h 512"/>
              <a:gd name="T42" fmla="*/ 298 w 512"/>
              <a:gd name="T43" fmla="*/ 245 h 512"/>
              <a:gd name="T44" fmla="*/ 234 w 512"/>
              <a:gd name="T45" fmla="*/ 245 h 512"/>
              <a:gd name="T46" fmla="*/ 213 w 512"/>
              <a:gd name="T47" fmla="*/ 224 h 512"/>
              <a:gd name="T48" fmla="*/ 213 w 512"/>
              <a:gd name="T49" fmla="*/ 158 h 512"/>
              <a:gd name="T50" fmla="*/ 234 w 512"/>
              <a:gd name="T51" fmla="*/ 128 h 512"/>
              <a:gd name="T52" fmla="*/ 202 w 512"/>
              <a:gd name="T53" fmla="*/ 96 h 512"/>
              <a:gd name="T54" fmla="*/ 170 w 512"/>
              <a:gd name="T55" fmla="*/ 128 h 512"/>
              <a:gd name="T56" fmla="*/ 192 w 512"/>
              <a:gd name="T57" fmla="*/ 158 h 512"/>
              <a:gd name="T58" fmla="*/ 192 w 512"/>
              <a:gd name="T59" fmla="*/ 224 h 512"/>
              <a:gd name="T60" fmla="*/ 234 w 512"/>
              <a:gd name="T61" fmla="*/ 266 h 512"/>
              <a:gd name="T62" fmla="*/ 298 w 512"/>
              <a:gd name="T63" fmla="*/ 266 h 512"/>
              <a:gd name="T64" fmla="*/ 298 w 512"/>
              <a:gd name="T65" fmla="*/ 354 h 512"/>
              <a:gd name="T66" fmla="*/ 277 w 512"/>
              <a:gd name="T67" fmla="*/ 384 h 512"/>
              <a:gd name="T68" fmla="*/ 309 w 512"/>
              <a:gd name="T69" fmla="*/ 416 h 512"/>
              <a:gd name="T70" fmla="*/ 341 w 512"/>
              <a:gd name="T71" fmla="*/ 384 h 512"/>
              <a:gd name="T72" fmla="*/ 320 w 512"/>
              <a:gd name="T73" fmla="*/ 354 h 512"/>
              <a:gd name="T74" fmla="*/ 309 w 512"/>
              <a:gd name="T75" fmla="*/ 117 h 512"/>
              <a:gd name="T76" fmla="*/ 298 w 512"/>
              <a:gd name="T77" fmla="*/ 128 h 512"/>
              <a:gd name="T78" fmla="*/ 309 w 512"/>
              <a:gd name="T79" fmla="*/ 138 h 512"/>
              <a:gd name="T80" fmla="*/ 320 w 512"/>
              <a:gd name="T81" fmla="*/ 128 h 512"/>
              <a:gd name="T82" fmla="*/ 309 w 512"/>
              <a:gd name="T83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13" y="128"/>
                </a:moveTo>
                <a:cubicBezTo>
                  <a:pt x="213" y="134"/>
                  <a:pt x="208" y="138"/>
                  <a:pt x="202" y="138"/>
                </a:cubicBezTo>
                <a:cubicBezTo>
                  <a:pt x="196" y="138"/>
                  <a:pt x="192" y="134"/>
                  <a:pt x="192" y="128"/>
                </a:cubicBezTo>
                <a:cubicBezTo>
                  <a:pt x="192" y="122"/>
                  <a:pt x="196" y="117"/>
                  <a:pt x="202" y="117"/>
                </a:cubicBezTo>
                <a:cubicBezTo>
                  <a:pt x="208" y="117"/>
                  <a:pt x="213" y="122"/>
                  <a:pt x="213" y="128"/>
                </a:cubicBezTo>
                <a:close/>
                <a:moveTo>
                  <a:pt x="309" y="373"/>
                </a:move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15" y="394"/>
                  <a:pt x="320" y="390"/>
                  <a:pt x="320" y="384"/>
                </a:cubicBezTo>
                <a:cubicBezTo>
                  <a:pt x="320" y="378"/>
                  <a:pt x="315" y="373"/>
                  <a:pt x="309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0" y="354"/>
                </a:moveTo>
                <a:cubicBezTo>
                  <a:pt x="320" y="158"/>
                  <a:pt x="320" y="158"/>
                  <a:pt x="320" y="158"/>
                </a:cubicBezTo>
                <a:cubicBezTo>
                  <a:pt x="332" y="153"/>
                  <a:pt x="341" y="142"/>
                  <a:pt x="341" y="128"/>
                </a:cubicBezTo>
                <a:cubicBezTo>
                  <a:pt x="341" y="110"/>
                  <a:pt x="327" y="96"/>
                  <a:pt x="309" y="96"/>
                </a:cubicBezTo>
                <a:cubicBezTo>
                  <a:pt x="291" y="96"/>
                  <a:pt x="277" y="110"/>
                  <a:pt x="277" y="128"/>
                </a:cubicBezTo>
                <a:cubicBezTo>
                  <a:pt x="277" y="142"/>
                  <a:pt x="286" y="153"/>
                  <a:pt x="298" y="158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1" y="245"/>
                  <a:pt x="213" y="244"/>
                  <a:pt x="213" y="224"/>
                </a:cubicBezTo>
                <a:cubicBezTo>
                  <a:pt x="213" y="158"/>
                  <a:pt x="213" y="158"/>
                  <a:pt x="213" y="158"/>
                </a:cubicBezTo>
                <a:cubicBezTo>
                  <a:pt x="225" y="153"/>
                  <a:pt x="234" y="142"/>
                  <a:pt x="234" y="128"/>
                </a:cubicBezTo>
                <a:cubicBezTo>
                  <a:pt x="234" y="110"/>
                  <a:pt x="220" y="96"/>
                  <a:pt x="202" y="96"/>
                </a:cubicBezTo>
                <a:cubicBezTo>
                  <a:pt x="185" y="96"/>
                  <a:pt x="170" y="110"/>
                  <a:pt x="170" y="128"/>
                </a:cubicBezTo>
                <a:cubicBezTo>
                  <a:pt x="170" y="142"/>
                  <a:pt x="179" y="153"/>
                  <a:pt x="192" y="158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192" y="255"/>
                  <a:pt x="217" y="266"/>
                  <a:pt x="234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354"/>
                  <a:pt x="298" y="354"/>
                  <a:pt x="298" y="354"/>
                </a:cubicBezTo>
                <a:cubicBezTo>
                  <a:pt x="286" y="358"/>
                  <a:pt x="277" y="370"/>
                  <a:pt x="277" y="384"/>
                </a:cubicBezTo>
                <a:cubicBezTo>
                  <a:pt x="277" y="401"/>
                  <a:pt x="291" y="416"/>
                  <a:pt x="309" y="416"/>
                </a:cubicBezTo>
                <a:cubicBezTo>
                  <a:pt x="327" y="416"/>
                  <a:pt x="341" y="401"/>
                  <a:pt x="341" y="384"/>
                </a:cubicBezTo>
                <a:cubicBezTo>
                  <a:pt x="341" y="370"/>
                  <a:pt x="332" y="358"/>
                  <a:pt x="320" y="354"/>
                </a:cubicBezTo>
                <a:close/>
                <a:moveTo>
                  <a:pt x="309" y="117"/>
                </a:move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15" y="138"/>
                  <a:pt x="320" y="134"/>
                  <a:pt x="320" y="128"/>
                </a:cubicBezTo>
                <a:cubicBezTo>
                  <a:pt x="320" y="122"/>
                  <a:pt x="315" y="117"/>
                  <a:pt x="309" y="1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6" name="Group 294" descr="command">
            <a:extLst>
              <a:ext uri="{FF2B5EF4-FFF2-40B4-BE49-F238E27FC236}">
                <a16:creationId xmlns:a16="http://schemas.microsoft.com/office/drawing/2014/main" id="{118ECFBD-4048-4540-9F75-BAF1E784ED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680" y="4033192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17" name="Freeform 295">
              <a:extLst>
                <a:ext uri="{FF2B5EF4-FFF2-40B4-BE49-F238E27FC236}">
                  <a16:creationId xmlns:a16="http://schemas.microsoft.com/office/drawing/2014/main" id="{FDA5F775-C59D-43F4-8AA4-F8AB1EE30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Rectangle 296">
              <a:extLst>
                <a:ext uri="{FF2B5EF4-FFF2-40B4-BE49-F238E27FC236}">
                  <a16:creationId xmlns:a16="http://schemas.microsoft.com/office/drawing/2014/main" id="{23EA344D-36B6-49B9-8311-8628CB74C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" name="Group 294" descr="command">
            <a:extLst>
              <a:ext uri="{FF2B5EF4-FFF2-40B4-BE49-F238E27FC236}">
                <a16:creationId xmlns:a16="http://schemas.microsoft.com/office/drawing/2014/main" id="{70FC3C6C-253E-4670-999C-215A3A4208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47403" y="4466820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23" name="Freeform 295">
              <a:extLst>
                <a:ext uri="{FF2B5EF4-FFF2-40B4-BE49-F238E27FC236}">
                  <a16:creationId xmlns:a16="http://schemas.microsoft.com/office/drawing/2014/main" id="{C2BF4165-80B7-478E-9E3C-6C174FEA1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Rectangle 296">
              <a:extLst>
                <a:ext uri="{FF2B5EF4-FFF2-40B4-BE49-F238E27FC236}">
                  <a16:creationId xmlns:a16="http://schemas.microsoft.com/office/drawing/2014/main" id="{FE3EE499-7F97-4E5B-9AB5-A3E85BBAF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" name="Group 294" descr="command">
            <a:extLst>
              <a:ext uri="{FF2B5EF4-FFF2-40B4-BE49-F238E27FC236}">
                <a16:creationId xmlns:a16="http://schemas.microsoft.com/office/drawing/2014/main" id="{73A67A74-F072-41E3-8F75-2A1B0E4BB2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77387" y="6452030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26" name="Freeform 295">
              <a:extLst>
                <a:ext uri="{FF2B5EF4-FFF2-40B4-BE49-F238E27FC236}">
                  <a16:creationId xmlns:a16="http://schemas.microsoft.com/office/drawing/2014/main" id="{C025010D-69EA-4CA3-A697-939698FB3D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Rectangle 296">
              <a:extLst>
                <a:ext uri="{FF2B5EF4-FFF2-40B4-BE49-F238E27FC236}">
                  <a16:creationId xmlns:a16="http://schemas.microsoft.com/office/drawing/2014/main" id="{997740D6-4C7A-4A81-955D-CB4868EBE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" name="Group 294" descr="command">
            <a:extLst>
              <a:ext uri="{FF2B5EF4-FFF2-40B4-BE49-F238E27FC236}">
                <a16:creationId xmlns:a16="http://schemas.microsoft.com/office/drawing/2014/main" id="{E77CC0B6-7C4D-42E4-B030-79002D05CC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77386" y="6674054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29" name="Freeform 295">
              <a:extLst>
                <a:ext uri="{FF2B5EF4-FFF2-40B4-BE49-F238E27FC236}">
                  <a16:creationId xmlns:a16="http://schemas.microsoft.com/office/drawing/2014/main" id="{DFE2AD86-2F17-443B-BD20-03310270B4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Rectangle 296">
              <a:extLst>
                <a:ext uri="{FF2B5EF4-FFF2-40B4-BE49-F238E27FC236}">
                  <a16:creationId xmlns:a16="http://schemas.microsoft.com/office/drawing/2014/main" id="{265708E2-AAA7-4F4F-A2B0-3CEB1C185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846D3624-9976-4E16-90BF-C74A552FA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D65627-1A30-4556-94A6-2E7A297C2B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37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6" y="1636198"/>
            <a:ext cx="2873000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r>
              <a:rPr lang="en-US" sz="1200" dirty="0"/>
              <a:t>To use Stash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2657352"/>
            <a:ext cx="5996133" cy="41840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Stash temporarily shelves (or stashes) changes you've made to your working copy</a:t>
            </a:r>
          </a:p>
          <a:p>
            <a:pPr marL="171450" lvl="1" indent="-171450">
              <a:spcBef>
                <a:spcPts val="65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Once after a developer reaches a logical state on the code and just before starting any other git operations or executing any other commands its always advised to stash your changes in the first place</a:t>
            </a:r>
          </a:p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	git stash</a:t>
            </a:r>
          </a:p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The above command moves all your changes into a temporary cache location and will not be visible on purpose, but remember </a:t>
            </a:r>
            <a:r>
              <a:rPr lang="en-US" sz="1000" b="1" dirty="0"/>
              <a:t>the changes are safe and secure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/>
              <a:t>	</a:t>
            </a:r>
          </a:p>
        </p:txBody>
      </p:sp>
      <p:sp>
        <p:nvSpPr>
          <p:cNvPr id="10" name="Freeform 841">
            <a:extLst>
              <a:ext uri="{FF2B5EF4-FFF2-40B4-BE49-F238E27FC236}">
                <a16:creationId xmlns:a16="http://schemas.microsoft.com/office/drawing/2014/main" id="{2DCA33EF-145C-4E48-BDB3-6821A4E1635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46869" y="3244646"/>
            <a:ext cx="262584" cy="262584"/>
          </a:xfrm>
          <a:custGeom>
            <a:avLst/>
            <a:gdLst>
              <a:gd name="T0" fmla="*/ 213 w 512"/>
              <a:gd name="T1" fmla="*/ 128 h 512"/>
              <a:gd name="T2" fmla="*/ 202 w 512"/>
              <a:gd name="T3" fmla="*/ 138 h 512"/>
              <a:gd name="T4" fmla="*/ 192 w 512"/>
              <a:gd name="T5" fmla="*/ 128 h 512"/>
              <a:gd name="T6" fmla="*/ 202 w 512"/>
              <a:gd name="T7" fmla="*/ 117 h 512"/>
              <a:gd name="T8" fmla="*/ 213 w 512"/>
              <a:gd name="T9" fmla="*/ 128 h 512"/>
              <a:gd name="T10" fmla="*/ 309 w 512"/>
              <a:gd name="T11" fmla="*/ 373 h 512"/>
              <a:gd name="T12" fmla="*/ 298 w 512"/>
              <a:gd name="T13" fmla="*/ 384 h 512"/>
              <a:gd name="T14" fmla="*/ 309 w 512"/>
              <a:gd name="T15" fmla="*/ 394 h 512"/>
              <a:gd name="T16" fmla="*/ 320 w 512"/>
              <a:gd name="T17" fmla="*/ 384 h 512"/>
              <a:gd name="T18" fmla="*/ 309 w 512"/>
              <a:gd name="T19" fmla="*/ 373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20 w 512"/>
              <a:gd name="T31" fmla="*/ 354 h 512"/>
              <a:gd name="T32" fmla="*/ 320 w 512"/>
              <a:gd name="T33" fmla="*/ 158 h 512"/>
              <a:gd name="T34" fmla="*/ 341 w 512"/>
              <a:gd name="T35" fmla="*/ 128 h 512"/>
              <a:gd name="T36" fmla="*/ 309 w 512"/>
              <a:gd name="T37" fmla="*/ 96 h 512"/>
              <a:gd name="T38" fmla="*/ 277 w 512"/>
              <a:gd name="T39" fmla="*/ 128 h 512"/>
              <a:gd name="T40" fmla="*/ 298 w 512"/>
              <a:gd name="T41" fmla="*/ 158 h 512"/>
              <a:gd name="T42" fmla="*/ 298 w 512"/>
              <a:gd name="T43" fmla="*/ 245 h 512"/>
              <a:gd name="T44" fmla="*/ 234 w 512"/>
              <a:gd name="T45" fmla="*/ 245 h 512"/>
              <a:gd name="T46" fmla="*/ 213 w 512"/>
              <a:gd name="T47" fmla="*/ 224 h 512"/>
              <a:gd name="T48" fmla="*/ 213 w 512"/>
              <a:gd name="T49" fmla="*/ 158 h 512"/>
              <a:gd name="T50" fmla="*/ 234 w 512"/>
              <a:gd name="T51" fmla="*/ 128 h 512"/>
              <a:gd name="T52" fmla="*/ 202 w 512"/>
              <a:gd name="T53" fmla="*/ 96 h 512"/>
              <a:gd name="T54" fmla="*/ 170 w 512"/>
              <a:gd name="T55" fmla="*/ 128 h 512"/>
              <a:gd name="T56" fmla="*/ 192 w 512"/>
              <a:gd name="T57" fmla="*/ 158 h 512"/>
              <a:gd name="T58" fmla="*/ 192 w 512"/>
              <a:gd name="T59" fmla="*/ 224 h 512"/>
              <a:gd name="T60" fmla="*/ 234 w 512"/>
              <a:gd name="T61" fmla="*/ 266 h 512"/>
              <a:gd name="T62" fmla="*/ 298 w 512"/>
              <a:gd name="T63" fmla="*/ 266 h 512"/>
              <a:gd name="T64" fmla="*/ 298 w 512"/>
              <a:gd name="T65" fmla="*/ 354 h 512"/>
              <a:gd name="T66" fmla="*/ 277 w 512"/>
              <a:gd name="T67" fmla="*/ 384 h 512"/>
              <a:gd name="T68" fmla="*/ 309 w 512"/>
              <a:gd name="T69" fmla="*/ 416 h 512"/>
              <a:gd name="T70" fmla="*/ 341 w 512"/>
              <a:gd name="T71" fmla="*/ 384 h 512"/>
              <a:gd name="T72" fmla="*/ 320 w 512"/>
              <a:gd name="T73" fmla="*/ 354 h 512"/>
              <a:gd name="T74" fmla="*/ 309 w 512"/>
              <a:gd name="T75" fmla="*/ 117 h 512"/>
              <a:gd name="T76" fmla="*/ 298 w 512"/>
              <a:gd name="T77" fmla="*/ 128 h 512"/>
              <a:gd name="T78" fmla="*/ 309 w 512"/>
              <a:gd name="T79" fmla="*/ 138 h 512"/>
              <a:gd name="T80" fmla="*/ 320 w 512"/>
              <a:gd name="T81" fmla="*/ 128 h 512"/>
              <a:gd name="T82" fmla="*/ 309 w 512"/>
              <a:gd name="T83" fmla="*/ 11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2" h="512">
                <a:moveTo>
                  <a:pt x="213" y="128"/>
                </a:moveTo>
                <a:cubicBezTo>
                  <a:pt x="213" y="134"/>
                  <a:pt x="208" y="138"/>
                  <a:pt x="202" y="138"/>
                </a:cubicBezTo>
                <a:cubicBezTo>
                  <a:pt x="196" y="138"/>
                  <a:pt x="192" y="134"/>
                  <a:pt x="192" y="128"/>
                </a:cubicBezTo>
                <a:cubicBezTo>
                  <a:pt x="192" y="122"/>
                  <a:pt x="196" y="117"/>
                  <a:pt x="202" y="117"/>
                </a:cubicBezTo>
                <a:cubicBezTo>
                  <a:pt x="208" y="117"/>
                  <a:pt x="213" y="122"/>
                  <a:pt x="213" y="128"/>
                </a:cubicBezTo>
                <a:close/>
                <a:moveTo>
                  <a:pt x="309" y="373"/>
                </a:moveTo>
                <a:cubicBezTo>
                  <a:pt x="303" y="373"/>
                  <a:pt x="298" y="378"/>
                  <a:pt x="298" y="384"/>
                </a:cubicBezTo>
                <a:cubicBezTo>
                  <a:pt x="298" y="390"/>
                  <a:pt x="303" y="394"/>
                  <a:pt x="309" y="394"/>
                </a:cubicBezTo>
                <a:cubicBezTo>
                  <a:pt x="315" y="394"/>
                  <a:pt x="320" y="390"/>
                  <a:pt x="320" y="384"/>
                </a:cubicBezTo>
                <a:cubicBezTo>
                  <a:pt x="320" y="378"/>
                  <a:pt x="315" y="373"/>
                  <a:pt x="309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0" y="354"/>
                </a:moveTo>
                <a:cubicBezTo>
                  <a:pt x="320" y="158"/>
                  <a:pt x="320" y="158"/>
                  <a:pt x="320" y="158"/>
                </a:cubicBezTo>
                <a:cubicBezTo>
                  <a:pt x="332" y="153"/>
                  <a:pt x="341" y="142"/>
                  <a:pt x="341" y="128"/>
                </a:cubicBezTo>
                <a:cubicBezTo>
                  <a:pt x="341" y="110"/>
                  <a:pt x="327" y="96"/>
                  <a:pt x="309" y="96"/>
                </a:cubicBezTo>
                <a:cubicBezTo>
                  <a:pt x="291" y="96"/>
                  <a:pt x="277" y="110"/>
                  <a:pt x="277" y="128"/>
                </a:cubicBezTo>
                <a:cubicBezTo>
                  <a:pt x="277" y="142"/>
                  <a:pt x="286" y="153"/>
                  <a:pt x="298" y="158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1" y="245"/>
                  <a:pt x="213" y="244"/>
                  <a:pt x="213" y="224"/>
                </a:cubicBezTo>
                <a:cubicBezTo>
                  <a:pt x="213" y="158"/>
                  <a:pt x="213" y="158"/>
                  <a:pt x="213" y="158"/>
                </a:cubicBezTo>
                <a:cubicBezTo>
                  <a:pt x="225" y="153"/>
                  <a:pt x="234" y="142"/>
                  <a:pt x="234" y="128"/>
                </a:cubicBezTo>
                <a:cubicBezTo>
                  <a:pt x="234" y="110"/>
                  <a:pt x="220" y="96"/>
                  <a:pt x="202" y="96"/>
                </a:cubicBezTo>
                <a:cubicBezTo>
                  <a:pt x="185" y="96"/>
                  <a:pt x="170" y="110"/>
                  <a:pt x="170" y="128"/>
                </a:cubicBezTo>
                <a:cubicBezTo>
                  <a:pt x="170" y="142"/>
                  <a:pt x="179" y="153"/>
                  <a:pt x="192" y="158"/>
                </a:cubicBezTo>
                <a:cubicBezTo>
                  <a:pt x="192" y="224"/>
                  <a:pt x="192" y="224"/>
                  <a:pt x="192" y="224"/>
                </a:cubicBezTo>
                <a:cubicBezTo>
                  <a:pt x="192" y="255"/>
                  <a:pt x="217" y="266"/>
                  <a:pt x="234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8" y="354"/>
                  <a:pt x="298" y="354"/>
                  <a:pt x="298" y="354"/>
                </a:cubicBezTo>
                <a:cubicBezTo>
                  <a:pt x="286" y="358"/>
                  <a:pt x="277" y="370"/>
                  <a:pt x="277" y="384"/>
                </a:cubicBezTo>
                <a:cubicBezTo>
                  <a:pt x="277" y="401"/>
                  <a:pt x="291" y="416"/>
                  <a:pt x="309" y="416"/>
                </a:cubicBezTo>
                <a:cubicBezTo>
                  <a:pt x="327" y="416"/>
                  <a:pt x="341" y="401"/>
                  <a:pt x="341" y="384"/>
                </a:cubicBezTo>
                <a:cubicBezTo>
                  <a:pt x="341" y="370"/>
                  <a:pt x="332" y="358"/>
                  <a:pt x="320" y="354"/>
                </a:cubicBezTo>
                <a:close/>
                <a:moveTo>
                  <a:pt x="309" y="117"/>
                </a:moveTo>
                <a:cubicBezTo>
                  <a:pt x="303" y="117"/>
                  <a:pt x="298" y="122"/>
                  <a:pt x="298" y="128"/>
                </a:cubicBezTo>
                <a:cubicBezTo>
                  <a:pt x="298" y="134"/>
                  <a:pt x="303" y="138"/>
                  <a:pt x="309" y="138"/>
                </a:cubicBezTo>
                <a:cubicBezTo>
                  <a:pt x="315" y="138"/>
                  <a:pt x="320" y="134"/>
                  <a:pt x="320" y="128"/>
                </a:cubicBezTo>
                <a:cubicBezTo>
                  <a:pt x="320" y="122"/>
                  <a:pt x="315" y="117"/>
                  <a:pt x="309" y="11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1" name="Group 294" descr="command">
            <a:extLst>
              <a:ext uri="{FF2B5EF4-FFF2-40B4-BE49-F238E27FC236}">
                <a16:creationId xmlns:a16="http://schemas.microsoft.com/office/drawing/2014/main" id="{DDD10180-1EEA-455D-BDA0-4D9FAAB2A7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5875" y="3446942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31" name="Freeform 295">
              <a:extLst>
                <a:ext uri="{FF2B5EF4-FFF2-40B4-BE49-F238E27FC236}">
                  <a16:creationId xmlns:a16="http://schemas.microsoft.com/office/drawing/2014/main" id="{C6E75897-F4C8-4462-920E-A3B77DBCA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Rectangle 296">
              <a:extLst>
                <a:ext uri="{FF2B5EF4-FFF2-40B4-BE49-F238E27FC236}">
                  <a16:creationId xmlns:a16="http://schemas.microsoft.com/office/drawing/2014/main" id="{715A3568-89AB-4CAB-A6EC-6984F3041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E7587EFB-ABF8-4299-A64A-DFA890254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A48BF5-395C-4296-B547-BC6A2358F2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48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5" y="1636198"/>
            <a:ext cx="3765997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pPr lvl="1"/>
            <a:r>
              <a:rPr lang="en-US" dirty="0"/>
              <a:t>To pull before push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2657352"/>
            <a:ext cx="5996133" cy="41840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	</a:t>
            </a: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git pull</a:t>
            </a:r>
          </a:p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	Now the branch is </a:t>
            </a:r>
            <a:r>
              <a:rPr lang="en-US" sz="1000" dirty="0" err="1"/>
              <a:t>upto</a:t>
            </a:r>
            <a:r>
              <a:rPr lang="en-US" sz="1000" dirty="0"/>
              <a:t>-date with all the other changes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endParaRPr lang="en-US" sz="1000" dirty="0"/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200" dirty="0">
                <a:latin typeface="Courier MonoThai" panose="02070309020205020404" pitchFamily="49" charset="0"/>
                <a:cs typeface="Courier MonoThai" panose="02070309020205020404" pitchFamily="49" charset="0"/>
              </a:rPr>
              <a:t>git stash pop</a:t>
            </a:r>
            <a:r>
              <a:rPr lang="en-US" sz="1000" dirty="0"/>
              <a:t>	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/>
              <a:t>This will bring back all your changes and apply them. 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lphaUcPeriod"/>
              <a:defRPr/>
            </a:pPr>
            <a:r>
              <a:rPr lang="en-US" sz="1000" dirty="0"/>
              <a:t>Here you might end up in merge conflicts which need manual intervention which will be detailed later here</a:t>
            </a:r>
          </a:p>
          <a:p>
            <a:pPr marL="1016081" lvl="3" indent="-228600">
              <a:spcBef>
                <a:spcPts val="650"/>
              </a:spcBef>
              <a:buSzPct val="100000"/>
              <a:buFont typeface="+mj-lt"/>
              <a:buAutoNum type="alphaUcPeriod"/>
              <a:defRPr/>
            </a:pPr>
            <a:r>
              <a:rPr lang="en-US" sz="1000" dirty="0"/>
              <a:t>Otherwise to be continued</a:t>
            </a:r>
          </a:p>
        </p:txBody>
      </p:sp>
      <p:grpSp>
        <p:nvGrpSpPr>
          <p:cNvPr id="21" name="Group 294" descr="command">
            <a:extLst>
              <a:ext uri="{FF2B5EF4-FFF2-40B4-BE49-F238E27FC236}">
                <a16:creationId xmlns:a16="http://schemas.microsoft.com/office/drawing/2014/main" id="{DDD10180-1EEA-455D-BDA0-4D9FAAB2A7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5875" y="3362337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31" name="Freeform 295">
              <a:extLst>
                <a:ext uri="{FF2B5EF4-FFF2-40B4-BE49-F238E27FC236}">
                  <a16:creationId xmlns:a16="http://schemas.microsoft.com/office/drawing/2014/main" id="{C6E75897-F4C8-4462-920E-A3B77DBCA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Rectangle 296">
              <a:extLst>
                <a:ext uri="{FF2B5EF4-FFF2-40B4-BE49-F238E27FC236}">
                  <a16:creationId xmlns:a16="http://schemas.microsoft.com/office/drawing/2014/main" id="{715A3568-89AB-4CAB-A6EC-6984F3041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" name="Group 294" descr="command">
            <a:extLst>
              <a:ext uri="{FF2B5EF4-FFF2-40B4-BE49-F238E27FC236}">
                <a16:creationId xmlns:a16="http://schemas.microsoft.com/office/drawing/2014/main" id="{EA748339-587D-4CF4-94BE-555990E632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5875" y="2679673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12" name="Freeform 295">
              <a:extLst>
                <a:ext uri="{FF2B5EF4-FFF2-40B4-BE49-F238E27FC236}">
                  <a16:creationId xmlns:a16="http://schemas.microsoft.com/office/drawing/2014/main" id="{1A9050A0-5105-47CB-9181-1F7CBEB63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Rectangle 296">
              <a:extLst>
                <a:ext uri="{FF2B5EF4-FFF2-40B4-BE49-F238E27FC236}">
                  <a16:creationId xmlns:a16="http://schemas.microsoft.com/office/drawing/2014/main" id="{76F87E9B-2DB5-4190-981D-06A9BA807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AF954F73-D40F-4948-B5D4-02DCB6232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E1261C-EC1B-46E9-B8F5-C98C0ED9C8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9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gray">
          <a:xfrm>
            <a:off x="821905" y="1636198"/>
            <a:ext cx="3765997" cy="891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6000" tIns="96308" rIns="96308" bIns="96308" rtlCol="0" anchor="ctr"/>
          <a:lstStyle/>
          <a:p>
            <a:pPr lvl="1"/>
            <a:r>
              <a:rPr lang="en-US" dirty="0"/>
              <a:t>To commit with discipline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821906" y="2657352"/>
            <a:ext cx="5996133" cy="41840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	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git commit -m ‘ABCD-1234: Added Unit Tests‘</a:t>
            </a:r>
          </a:p>
          <a:p>
            <a:pPr marL="393740" lvl="2">
              <a:spcBef>
                <a:spcPts val="650"/>
              </a:spcBef>
              <a:buSzPct val="100000"/>
              <a:defRPr/>
            </a:pPr>
            <a:r>
              <a:rPr lang="en-US" sz="1000" dirty="0"/>
              <a:t>	Predominantly every repository comes with hooks installed which will not allow to push the commits which does not follow a set standard for commit message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000" dirty="0"/>
              <a:t> </a:t>
            </a:r>
          </a:p>
          <a:p>
            <a:pPr marL="787481" lvl="3">
              <a:spcBef>
                <a:spcPts val="650"/>
              </a:spcBef>
              <a:buSzPct val="100000"/>
              <a:defRPr/>
            </a:pP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git push origin feature/ABCD-1234</a:t>
            </a:r>
            <a:r>
              <a:rPr lang="en-US" sz="1000" dirty="0"/>
              <a:t>	</a:t>
            </a:r>
          </a:p>
        </p:txBody>
      </p:sp>
      <p:grpSp>
        <p:nvGrpSpPr>
          <p:cNvPr id="21" name="Group 294" descr="command">
            <a:extLst>
              <a:ext uri="{FF2B5EF4-FFF2-40B4-BE49-F238E27FC236}">
                <a16:creationId xmlns:a16="http://schemas.microsoft.com/office/drawing/2014/main" id="{DDD10180-1EEA-455D-BDA0-4D9FAAB2A7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18732" y="3571227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31" name="Freeform 295">
              <a:extLst>
                <a:ext uri="{FF2B5EF4-FFF2-40B4-BE49-F238E27FC236}">
                  <a16:creationId xmlns:a16="http://schemas.microsoft.com/office/drawing/2014/main" id="{C6E75897-F4C8-4462-920E-A3B77DBCA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Rectangle 296">
              <a:extLst>
                <a:ext uri="{FF2B5EF4-FFF2-40B4-BE49-F238E27FC236}">
                  <a16:creationId xmlns:a16="http://schemas.microsoft.com/office/drawing/2014/main" id="{715A3568-89AB-4CAB-A6EC-6984F3041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" name="Group 294" descr="command">
            <a:extLst>
              <a:ext uri="{FF2B5EF4-FFF2-40B4-BE49-F238E27FC236}">
                <a16:creationId xmlns:a16="http://schemas.microsoft.com/office/drawing/2014/main" id="{EA748339-587D-4CF4-94BE-555990E632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5875" y="2679673"/>
            <a:ext cx="181019" cy="181019"/>
            <a:chOff x="799" y="1118"/>
            <a:chExt cx="340" cy="340"/>
          </a:xfrm>
          <a:solidFill>
            <a:schemeClr val="accent4"/>
          </a:solidFill>
        </p:grpSpPr>
        <p:sp>
          <p:nvSpPr>
            <p:cNvPr id="12" name="Freeform 295">
              <a:extLst>
                <a:ext uri="{FF2B5EF4-FFF2-40B4-BE49-F238E27FC236}">
                  <a16:creationId xmlns:a16="http://schemas.microsoft.com/office/drawing/2014/main" id="{1A9050A0-5105-47CB-9181-1F7CBEB63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Rectangle 296">
              <a:extLst>
                <a:ext uri="{FF2B5EF4-FFF2-40B4-BE49-F238E27FC236}">
                  <a16:creationId xmlns:a16="http://schemas.microsoft.com/office/drawing/2014/main" id="{76F87E9B-2DB5-4190-981D-06A9BA807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5EA6800-7719-49BA-BF31-58AEF79D9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3816DC7-4F5F-438E-B475-B2BFCB9490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24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A4_Print_US.potx [Read-Only]" id="{3CA26396-C85B-44D9-821B-3A6B81053020}" vid="{BE6BBE58-BF28-42D8-9D6E-4CB8DD8E151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A4_Print_US</Template>
  <TotalTime>302</TotalTime>
  <Words>1239</Words>
  <Application>Microsoft Office PowerPoint</Application>
  <PresentationFormat>Custom</PresentationFormat>
  <Paragraphs>659</Paragraphs>
  <Slides>30</Slides>
  <Notes>9</Notes>
  <HiddenSlides>2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8" baseType="lpstr">
      <vt:lpstr>Arial</vt:lpstr>
      <vt:lpstr>Courier MonoThai</vt:lpstr>
      <vt:lpstr>Courier New</vt:lpstr>
      <vt:lpstr>Times New Roman</vt:lpstr>
      <vt:lpstr>Verdana</vt:lpstr>
      <vt:lpstr>Wingdings 2</vt:lpstr>
      <vt:lpstr>Deloitte_US_Onscreen</vt:lpstr>
      <vt:lpstr>think-cell Slide</vt:lpstr>
      <vt:lpstr>GIT Know How's</vt:lpstr>
      <vt:lpstr>Foreward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  <vt:lpstr>Appendix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 Do’s &amp; Don'ts</dc:title>
  <dc:creator>Boyina, Vijay Chaitanya</dc:creator>
  <cp:lastModifiedBy>Boyina, Vijay Chaitanya</cp:lastModifiedBy>
  <cp:revision>20</cp:revision>
  <cp:lastPrinted>2014-06-25T02:16:22Z</cp:lastPrinted>
  <dcterms:created xsi:type="dcterms:W3CDTF">2020-06-19T12:40:23Z</dcterms:created>
  <dcterms:modified xsi:type="dcterms:W3CDTF">2020-06-22T06:34:05Z</dcterms:modified>
</cp:coreProperties>
</file>